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524" r:id="rId4"/>
    <p:sldMasterId id="2147484552" r:id="rId5"/>
  </p:sldMasterIdLst>
  <p:notesMasterIdLst>
    <p:notesMasterId r:id="rId21"/>
  </p:notesMasterIdLst>
  <p:sldIdLst>
    <p:sldId id="304" r:id="rId6"/>
    <p:sldId id="547" r:id="rId7"/>
    <p:sldId id="557" r:id="rId8"/>
    <p:sldId id="559" r:id="rId9"/>
    <p:sldId id="569" r:id="rId10"/>
    <p:sldId id="567" r:id="rId11"/>
    <p:sldId id="562" r:id="rId12"/>
    <p:sldId id="565" r:id="rId13"/>
    <p:sldId id="566" r:id="rId14"/>
    <p:sldId id="568" r:id="rId15"/>
    <p:sldId id="560" r:id="rId16"/>
    <p:sldId id="561" r:id="rId17"/>
    <p:sldId id="563" r:id="rId18"/>
    <p:sldId id="564" r:id="rId19"/>
    <p:sldId id="342" r:id="rId20"/>
  </p:sldIdLst>
  <p:sldSz cx="12192000" cy="6858000"/>
  <p:notesSz cx="6858000" cy="9144000"/>
  <p:custDataLst>
    <p:tags r:id="rId22"/>
  </p:custDataLst>
  <p:defaultTextStyle>
    <a:defPPr>
      <a:defRPr lang="da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D757"/>
    <a:srgbClr val="FEFFC5"/>
    <a:srgbClr val="FBFF6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78" autoAdjust="0"/>
    <p:restoredTop sz="89083" autoAdjust="0"/>
  </p:normalViewPr>
  <p:slideViewPr>
    <p:cSldViewPr snapToGrid="0" showGuides="1">
      <p:cViewPr varScale="1">
        <p:scale>
          <a:sx n="47" d="100"/>
          <a:sy n="47" d="100"/>
        </p:scale>
        <p:origin x="957" y="21"/>
      </p:cViewPr>
      <p:guideLst/>
    </p:cSldViewPr>
  </p:slideViewPr>
  <p:outlineViewPr>
    <p:cViewPr>
      <p:scale>
        <a:sx n="33" d="100"/>
        <a:sy n="33" d="100"/>
      </p:scale>
      <p:origin x="0" y="-18768"/>
    </p:cViewPr>
  </p:outlin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ags" Target="tags/tag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F86ED53-680A-4EB4-8094-1FD92870BFEB}" type="doc">
      <dgm:prSet loTypeId="urn:microsoft.com/office/officeart/2008/layout/AlternatingHexagons" loCatId="list" qsTypeId="urn:microsoft.com/office/officeart/2005/8/quickstyle/simple4" qsCatId="simple" csTypeId="urn:microsoft.com/office/officeart/2005/8/colors/accent2_2" csCatId="accent2" phldr="1"/>
      <dgm:spPr/>
      <dgm:t>
        <a:bodyPr/>
        <a:lstStyle/>
        <a:p>
          <a:endParaRPr lang="en-US"/>
        </a:p>
      </dgm:t>
    </dgm:pt>
    <dgm:pt modelId="{7D21391C-E151-41A8-8300-C0DCE15EA30C}">
      <dgm:prSet custT="1"/>
      <dgm:spPr>
        <a:solidFill>
          <a:schemeClr val="accent5"/>
        </a:solidFill>
      </dgm:spPr>
      <dgm:t>
        <a:bodyPr/>
        <a:lstStyle/>
        <a:p>
          <a:r>
            <a:rPr lang="da-DK" sz="1100" i="1" dirty="0" err="1"/>
            <a:t>Grants</a:t>
          </a:r>
          <a:endParaRPr lang="en-US" sz="1100" dirty="0"/>
        </a:p>
      </dgm:t>
    </dgm:pt>
    <dgm:pt modelId="{A0977447-8483-4563-BE5E-28E5F04A1E70}" type="parTrans" cxnId="{1552907B-DC5C-4170-89B0-A38E7732CB24}">
      <dgm:prSet/>
      <dgm:spPr/>
      <dgm:t>
        <a:bodyPr/>
        <a:lstStyle/>
        <a:p>
          <a:endParaRPr lang="en-US"/>
        </a:p>
      </dgm:t>
    </dgm:pt>
    <dgm:pt modelId="{D587B8FB-038E-4BE4-B9D1-81790E0E483B}" type="sibTrans" cxnId="{1552907B-DC5C-4170-89B0-A38E7732CB24}">
      <dgm:prSet/>
      <dgm:spPr>
        <a:solidFill>
          <a:schemeClr val="accent3"/>
        </a:solidFill>
      </dgm:spPr>
      <dgm:t>
        <a:bodyPr/>
        <a:lstStyle/>
        <a:p>
          <a:endParaRPr lang="en-US"/>
        </a:p>
      </dgm:t>
    </dgm:pt>
    <dgm:pt modelId="{97DE0DAE-47C3-4BCF-8DC7-3D631DDBE874}">
      <dgm:prSet custT="1"/>
      <dgm:spPr>
        <a:solidFill>
          <a:schemeClr val="accent5"/>
        </a:solidFill>
      </dgm:spPr>
      <dgm:t>
        <a:bodyPr/>
        <a:lstStyle/>
        <a:p>
          <a:r>
            <a:rPr lang="en-GB" sz="800" dirty="0"/>
            <a:t>Risk mitigation</a:t>
          </a:r>
          <a:endParaRPr lang="en-US" sz="800" dirty="0"/>
        </a:p>
      </dgm:t>
    </dgm:pt>
    <dgm:pt modelId="{74C9DBF6-F8ED-4273-A82A-A3FD01DBF971}" type="parTrans" cxnId="{99EC3784-36BD-4B83-A694-7CB95FA645E8}">
      <dgm:prSet/>
      <dgm:spPr/>
      <dgm:t>
        <a:bodyPr/>
        <a:lstStyle/>
        <a:p>
          <a:endParaRPr lang="en-US"/>
        </a:p>
      </dgm:t>
    </dgm:pt>
    <dgm:pt modelId="{C2937730-3740-486D-846D-C2D8490BA8AC}" type="sibTrans" cxnId="{99EC3784-36BD-4B83-A694-7CB95FA645E8}">
      <dgm:prSet/>
      <dgm:spPr>
        <a:solidFill>
          <a:schemeClr val="accent3"/>
        </a:solidFill>
      </dgm:spPr>
      <dgm:t>
        <a:bodyPr/>
        <a:lstStyle/>
        <a:p>
          <a:endParaRPr lang="en-US"/>
        </a:p>
      </dgm:t>
    </dgm:pt>
    <dgm:pt modelId="{49A8B42E-C754-432C-8246-708E64B589BD}">
      <dgm:prSet custT="1"/>
      <dgm:spPr>
        <a:solidFill>
          <a:schemeClr val="accent5"/>
        </a:solidFill>
      </dgm:spPr>
      <dgm:t>
        <a:bodyPr/>
        <a:lstStyle/>
        <a:p>
          <a:r>
            <a:rPr lang="da-DK" sz="800" i="1" dirty="0" err="1"/>
            <a:t>Regulations</a:t>
          </a:r>
          <a:r>
            <a:rPr lang="da-DK" sz="800" i="1" dirty="0"/>
            <a:t> for </a:t>
          </a:r>
          <a:r>
            <a:rPr lang="da-DK" sz="800" i="1" dirty="0" err="1"/>
            <a:t>noise</a:t>
          </a:r>
          <a:r>
            <a:rPr lang="da-DK" sz="800" i="1" dirty="0"/>
            <a:t>, </a:t>
          </a:r>
          <a:r>
            <a:rPr lang="da-DK" sz="800" i="1" dirty="0" err="1"/>
            <a:t>optics</a:t>
          </a:r>
          <a:endParaRPr lang="en-US" sz="800" dirty="0"/>
        </a:p>
      </dgm:t>
    </dgm:pt>
    <dgm:pt modelId="{38839E7B-7621-4CAF-BFA0-38C57B36CF52}" type="parTrans" cxnId="{E26210B0-184B-4435-BA62-63C4AFB5F59A}">
      <dgm:prSet/>
      <dgm:spPr/>
      <dgm:t>
        <a:bodyPr/>
        <a:lstStyle/>
        <a:p>
          <a:endParaRPr lang="da-DK"/>
        </a:p>
      </dgm:t>
    </dgm:pt>
    <dgm:pt modelId="{BD3BA4B6-7EE0-439B-BB38-AAAE37340134}" type="sibTrans" cxnId="{E26210B0-184B-4435-BA62-63C4AFB5F59A}">
      <dgm:prSet/>
      <dgm:spPr/>
      <dgm:t>
        <a:bodyPr/>
        <a:lstStyle/>
        <a:p>
          <a:endParaRPr lang="da-DK"/>
        </a:p>
      </dgm:t>
    </dgm:pt>
    <dgm:pt modelId="{EB461D84-7382-4BE0-A0D8-CD8720521C0A}">
      <dgm:prSet custT="1"/>
      <dgm:spPr>
        <a:solidFill>
          <a:schemeClr val="accent5"/>
        </a:solidFill>
      </dgm:spPr>
      <dgm:t>
        <a:bodyPr/>
        <a:lstStyle/>
        <a:p>
          <a:r>
            <a:rPr lang="en-US" sz="1000" i="1" dirty="0"/>
            <a:t>HP deployment target</a:t>
          </a:r>
        </a:p>
      </dgm:t>
    </dgm:pt>
    <dgm:pt modelId="{A2FB912B-A1E8-477E-936C-F0104A003169}" type="parTrans" cxnId="{A2D7DC4B-6EC6-4A79-9073-2C32AFE39625}">
      <dgm:prSet/>
      <dgm:spPr/>
      <dgm:t>
        <a:bodyPr/>
        <a:lstStyle/>
        <a:p>
          <a:endParaRPr lang="da-DK"/>
        </a:p>
      </dgm:t>
    </dgm:pt>
    <dgm:pt modelId="{853779D2-8D7D-402A-999C-E265D88C2CE0}" type="sibTrans" cxnId="{A2D7DC4B-6EC6-4A79-9073-2C32AFE39625}">
      <dgm:prSet/>
      <dgm:spPr/>
      <dgm:t>
        <a:bodyPr/>
        <a:lstStyle/>
        <a:p>
          <a:endParaRPr lang="da-DK"/>
        </a:p>
      </dgm:t>
    </dgm:pt>
    <dgm:pt modelId="{989D390C-ADC5-427B-A0E0-BCE8CD6E65B6}">
      <dgm:prSet custT="1"/>
      <dgm:spPr>
        <a:solidFill>
          <a:schemeClr val="accent5"/>
        </a:solidFill>
      </dgm:spPr>
      <dgm:t>
        <a:bodyPr/>
        <a:lstStyle/>
        <a:p>
          <a:r>
            <a:rPr lang="en-US" sz="1000" i="1" dirty="0"/>
            <a:t>DH staff training</a:t>
          </a:r>
        </a:p>
      </dgm:t>
    </dgm:pt>
    <dgm:pt modelId="{A7876963-0C14-4A15-8CC2-C0B95C57185C}" type="parTrans" cxnId="{65E1D0DE-DB33-4325-B3C6-B187A63FAA82}">
      <dgm:prSet/>
      <dgm:spPr/>
      <dgm:t>
        <a:bodyPr/>
        <a:lstStyle/>
        <a:p>
          <a:endParaRPr lang="da-DK"/>
        </a:p>
      </dgm:t>
    </dgm:pt>
    <dgm:pt modelId="{56B25D8F-69DE-424A-9BC5-7695569DDD0A}" type="sibTrans" cxnId="{65E1D0DE-DB33-4325-B3C6-B187A63FAA82}">
      <dgm:prSet/>
      <dgm:spPr/>
      <dgm:t>
        <a:bodyPr/>
        <a:lstStyle/>
        <a:p>
          <a:endParaRPr lang="da-DK"/>
        </a:p>
      </dgm:t>
    </dgm:pt>
    <dgm:pt modelId="{0E6DFCBD-23D9-44F7-A4F1-E066BD22E3CE}">
      <dgm:prSet custT="1"/>
      <dgm:spPr>
        <a:solidFill>
          <a:schemeClr val="accent5"/>
        </a:solidFill>
      </dgm:spPr>
      <dgm:t>
        <a:bodyPr/>
        <a:lstStyle/>
        <a:p>
          <a:r>
            <a:rPr lang="en-US" sz="1100" i="1" dirty="0" err="1"/>
            <a:t>Campains</a:t>
          </a:r>
          <a:endParaRPr lang="en-US" sz="1100" i="1" dirty="0"/>
        </a:p>
      </dgm:t>
    </dgm:pt>
    <dgm:pt modelId="{78653700-58F4-4F06-92B0-747C179ACE9A}" type="parTrans" cxnId="{3AADFA1C-A7A6-46F1-A309-690B60D17547}">
      <dgm:prSet/>
      <dgm:spPr/>
      <dgm:t>
        <a:bodyPr/>
        <a:lstStyle/>
        <a:p>
          <a:endParaRPr lang="da-DK"/>
        </a:p>
      </dgm:t>
    </dgm:pt>
    <dgm:pt modelId="{E4F5BE27-6F18-447A-88F2-B2B46137DA7B}" type="sibTrans" cxnId="{3AADFA1C-A7A6-46F1-A309-690B60D17547}">
      <dgm:prSet/>
      <dgm:spPr>
        <a:solidFill>
          <a:schemeClr val="accent3"/>
        </a:solidFill>
      </dgm:spPr>
      <dgm:t>
        <a:bodyPr/>
        <a:lstStyle/>
        <a:p>
          <a:endParaRPr lang="da-DK"/>
        </a:p>
      </dgm:t>
    </dgm:pt>
    <dgm:pt modelId="{C93FD24B-2962-4E5D-BF30-98B4FE62D8E5}">
      <dgm:prSet custT="1"/>
      <dgm:spPr>
        <a:solidFill>
          <a:schemeClr val="accent5"/>
        </a:solidFill>
      </dgm:spPr>
      <dgm:t>
        <a:bodyPr/>
        <a:lstStyle/>
        <a:p>
          <a:r>
            <a:rPr lang="en-US" sz="600" i="1" dirty="0"/>
            <a:t>Revision of decision making </a:t>
          </a:r>
          <a:r>
            <a:rPr lang="en-US" sz="600" i="1" dirty="0" err="1"/>
            <a:t>rulesconsumption</a:t>
          </a:r>
          <a:endParaRPr lang="en-US" sz="600" i="1" dirty="0"/>
        </a:p>
      </dgm:t>
    </dgm:pt>
    <dgm:pt modelId="{4E7888BF-832C-4415-97D8-F50A7FCBD904}" type="parTrans" cxnId="{B1192FE5-9416-4F35-B6AB-2DDE9056AF93}">
      <dgm:prSet/>
      <dgm:spPr/>
      <dgm:t>
        <a:bodyPr/>
        <a:lstStyle/>
        <a:p>
          <a:endParaRPr lang="da-DK"/>
        </a:p>
      </dgm:t>
    </dgm:pt>
    <dgm:pt modelId="{9FAB28D7-822B-4AE9-86E5-D4C4B07A2174}" type="sibTrans" cxnId="{B1192FE5-9416-4F35-B6AB-2DDE9056AF93}">
      <dgm:prSet/>
      <dgm:spPr/>
      <dgm:t>
        <a:bodyPr/>
        <a:lstStyle/>
        <a:p>
          <a:endParaRPr lang="da-DK"/>
        </a:p>
      </dgm:t>
    </dgm:pt>
    <dgm:pt modelId="{E665B81B-559D-43B9-A384-F598A731651A}">
      <dgm:prSet custT="1"/>
      <dgm:spPr>
        <a:solidFill>
          <a:schemeClr val="accent5"/>
        </a:solidFill>
      </dgm:spPr>
      <dgm:t>
        <a:bodyPr/>
        <a:lstStyle/>
        <a:p>
          <a:r>
            <a:rPr lang="en-US" sz="800" i="1" dirty="0"/>
            <a:t>Electricity tariff reform</a:t>
          </a:r>
        </a:p>
      </dgm:t>
    </dgm:pt>
    <dgm:pt modelId="{16915E98-0022-4CA9-A731-6A3CB6BBB789}" type="parTrans" cxnId="{485BFF5A-372F-4E59-8A69-06384D733622}">
      <dgm:prSet/>
      <dgm:spPr/>
      <dgm:t>
        <a:bodyPr/>
        <a:lstStyle/>
        <a:p>
          <a:endParaRPr lang="da-DK"/>
        </a:p>
      </dgm:t>
    </dgm:pt>
    <dgm:pt modelId="{8FD0218F-B701-45AD-8A0C-93835EB6CB6B}" type="sibTrans" cxnId="{485BFF5A-372F-4E59-8A69-06384D733622}">
      <dgm:prSet/>
      <dgm:spPr/>
      <dgm:t>
        <a:bodyPr/>
        <a:lstStyle/>
        <a:p>
          <a:endParaRPr lang="da-DK"/>
        </a:p>
      </dgm:t>
    </dgm:pt>
    <dgm:pt modelId="{7D4C8E59-418B-4F4A-BAF1-CE61C38471F9}" type="pres">
      <dgm:prSet presAssocID="{9F86ED53-680A-4EB4-8094-1FD92870BFEB}" presName="Name0" presStyleCnt="0">
        <dgm:presLayoutVars>
          <dgm:chMax/>
          <dgm:chPref/>
          <dgm:dir/>
          <dgm:animLvl val="lvl"/>
        </dgm:presLayoutVars>
      </dgm:prSet>
      <dgm:spPr/>
    </dgm:pt>
    <dgm:pt modelId="{37EBA73E-61FD-4FE5-B927-695BF9A8AFD2}" type="pres">
      <dgm:prSet presAssocID="{7D21391C-E151-41A8-8300-C0DCE15EA30C}" presName="composite" presStyleCnt="0"/>
      <dgm:spPr/>
    </dgm:pt>
    <dgm:pt modelId="{7F72F978-046F-4AFE-B768-78A424EC0944}" type="pres">
      <dgm:prSet presAssocID="{7D21391C-E151-41A8-8300-C0DCE15EA30C}" presName="Parent1" presStyleLbl="node1" presStyleIdx="0" presStyleCnt="16">
        <dgm:presLayoutVars>
          <dgm:chMax val="1"/>
          <dgm:chPref val="1"/>
          <dgm:bulletEnabled val="1"/>
        </dgm:presLayoutVars>
      </dgm:prSet>
      <dgm:spPr/>
    </dgm:pt>
    <dgm:pt modelId="{0743E3AA-0A5F-4A2F-8A41-D2E664520B8E}" type="pres">
      <dgm:prSet presAssocID="{7D21391C-E151-41A8-8300-C0DCE15EA30C}" presName="Childtext1" presStyleLbl="revTx" presStyleIdx="0" presStyleCnt="8">
        <dgm:presLayoutVars>
          <dgm:chMax val="0"/>
          <dgm:chPref val="0"/>
          <dgm:bulletEnabled val="1"/>
        </dgm:presLayoutVars>
      </dgm:prSet>
      <dgm:spPr/>
    </dgm:pt>
    <dgm:pt modelId="{E317D49D-878E-4954-9EA8-7B81E7061C46}" type="pres">
      <dgm:prSet presAssocID="{7D21391C-E151-41A8-8300-C0DCE15EA30C}" presName="BalanceSpacing" presStyleCnt="0"/>
      <dgm:spPr/>
    </dgm:pt>
    <dgm:pt modelId="{03C0AC46-1629-4E09-B19E-5B97B386D885}" type="pres">
      <dgm:prSet presAssocID="{7D21391C-E151-41A8-8300-C0DCE15EA30C}" presName="BalanceSpacing1" presStyleCnt="0"/>
      <dgm:spPr/>
    </dgm:pt>
    <dgm:pt modelId="{930D302E-24CA-428A-82C4-85500B2151B6}" type="pres">
      <dgm:prSet presAssocID="{D587B8FB-038E-4BE4-B9D1-81790E0E483B}" presName="Accent1Text" presStyleLbl="node1" presStyleIdx="1" presStyleCnt="16"/>
      <dgm:spPr/>
    </dgm:pt>
    <dgm:pt modelId="{02FF5361-9114-4AE2-9DE8-9A5865358E95}" type="pres">
      <dgm:prSet presAssocID="{D587B8FB-038E-4BE4-B9D1-81790E0E483B}" presName="spaceBetweenRectangles" presStyleCnt="0"/>
      <dgm:spPr/>
    </dgm:pt>
    <dgm:pt modelId="{901F60DE-DDB3-48A4-BEFD-A430E762A723}" type="pres">
      <dgm:prSet presAssocID="{97DE0DAE-47C3-4BCF-8DC7-3D631DDBE874}" presName="composite" presStyleCnt="0"/>
      <dgm:spPr/>
    </dgm:pt>
    <dgm:pt modelId="{CCA4BF79-B5DE-46EC-9F07-45527DB64924}" type="pres">
      <dgm:prSet presAssocID="{97DE0DAE-47C3-4BCF-8DC7-3D631DDBE874}" presName="Parent1" presStyleLbl="node1" presStyleIdx="2" presStyleCnt="16">
        <dgm:presLayoutVars>
          <dgm:chMax val="1"/>
          <dgm:chPref val="1"/>
          <dgm:bulletEnabled val="1"/>
        </dgm:presLayoutVars>
      </dgm:prSet>
      <dgm:spPr/>
    </dgm:pt>
    <dgm:pt modelId="{7AE97A09-5B06-40C2-9772-6D35E876E0F2}" type="pres">
      <dgm:prSet presAssocID="{97DE0DAE-47C3-4BCF-8DC7-3D631DDBE874}" presName="Childtext1" presStyleLbl="revTx" presStyleIdx="1" presStyleCnt="8">
        <dgm:presLayoutVars>
          <dgm:chMax val="0"/>
          <dgm:chPref val="0"/>
          <dgm:bulletEnabled val="1"/>
        </dgm:presLayoutVars>
      </dgm:prSet>
      <dgm:spPr/>
    </dgm:pt>
    <dgm:pt modelId="{B76FD8B9-5703-4139-9914-95A335AAE548}" type="pres">
      <dgm:prSet presAssocID="{97DE0DAE-47C3-4BCF-8DC7-3D631DDBE874}" presName="BalanceSpacing" presStyleCnt="0"/>
      <dgm:spPr/>
    </dgm:pt>
    <dgm:pt modelId="{0A87DB4B-D038-4285-B985-1A978B10AD9A}" type="pres">
      <dgm:prSet presAssocID="{97DE0DAE-47C3-4BCF-8DC7-3D631DDBE874}" presName="BalanceSpacing1" presStyleCnt="0"/>
      <dgm:spPr/>
    </dgm:pt>
    <dgm:pt modelId="{51AC0AE5-F446-4499-A775-6D5C32E6EBEA}" type="pres">
      <dgm:prSet presAssocID="{C2937730-3740-486D-846D-C2D8490BA8AC}" presName="Accent1Text" presStyleLbl="node1" presStyleIdx="3" presStyleCnt="16"/>
      <dgm:spPr/>
    </dgm:pt>
    <dgm:pt modelId="{2063EBC1-5A8F-4934-8206-342EB727072B}" type="pres">
      <dgm:prSet presAssocID="{C2937730-3740-486D-846D-C2D8490BA8AC}" presName="spaceBetweenRectangles" presStyleCnt="0"/>
      <dgm:spPr/>
    </dgm:pt>
    <dgm:pt modelId="{063FAFC3-AD6C-464C-B2CE-49AB8184E615}" type="pres">
      <dgm:prSet presAssocID="{49A8B42E-C754-432C-8246-708E64B589BD}" presName="composite" presStyleCnt="0"/>
      <dgm:spPr/>
    </dgm:pt>
    <dgm:pt modelId="{19209DEF-5946-4973-91C0-19F2805B1E6B}" type="pres">
      <dgm:prSet presAssocID="{49A8B42E-C754-432C-8246-708E64B589BD}" presName="Parent1" presStyleLbl="node1" presStyleIdx="4" presStyleCnt="16">
        <dgm:presLayoutVars>
          <dgm:chMax val="1"/>
          <dgm:chPref val="1"/>
          <dgm:bulletEnabled val="1"/>
        </dgm:presLayoutVars>
      </dgm:prSet>
      <dgm:spPr/>
    </dgm:pt>
    <dgm:pt modelId="{DE96624E-7214-4FD1-AD69-0DBBE9B74A20}" type="pres">
      <dgm:prSet presAssocID="{49A8B42E-C754-432C-8246-708E64B589BD}" presName="Childtext1" presStyleLbl="revTx" presStyleIdx="2" presStyleCnt="8">
        <dgm:presLayoutVars>
          <dgm:chMax val="0"/>
          <dgm:chPref val="0"/>
          <dgm:bulletEnabled val="1"/>
        </dgm:presLayoutVars>
      </dgm:prSet>
      <dgm:spPr/>
    </dgm:pt>
    <dgm:pt modelId="{C8A4FCE2-7C4A-4CB0-A86B-29DFB9D4225A}" type="pres">
      <dgm:prSet presAssocID="{49A8B42E-C754-432C-8246-708E64B589BD}" presName="BalanceSpacing" presStyleCnt="0"/>
      <dgm:spPr/>
    </dgm:pt>
    <dgm:pt modelId="{FFFCD7B3-E475-47CF-B1D3-38B02280DAAD}" type="pres">
      <dgm:prSet presAssocID="{49A8B42E-C754-432C-8246-708E64B589BD}" presName="BalanceSpacing1" presStyleCnt="0"/>
      <dgm:spPr/>
    </dgm:pt>
    <dgm:pt modelId="{C0026A9C-A72D-4F16-8E62-5CDF95DE737D}" type="pres">
      <dgm:prSet presAssocID="{BD3BA4B6-7EE0-439B-BB38-AAAE37340134}" presName="Accent1Text" presStyleLbl="node1" presStyleIdx="5" presStyleCnt="16"/>
      <dgm:spPr/>
    </dgm:pt>
    <dgm:pt modelId="{02E75150-A65B-443E-AFC4-D1BC4838CFF3}" type="pres">
      <dgm:prSet presAssocID="{BD3BA4B6-7EE0-439B-BB38-AAAE37340134}" presName="spaceBetweenRectangles" presStyleCnt="0"/>
      <dgm:spPr/>
    </dgm:pt>
    <dgm:pt modelId="{56DDB849-78B5-4DAC-B319-7C04E913F95B}" type="pres">
      <dgm:prSet presAssocID="{EB461D84-7382-4BE0-A0D8-CD8720521C0A}" presName="composite" presStyleCnt="0"/>
      <dgm:spPr/>
    </dgm:pt>
    <dgm:pt modelId="{ADD3EC98-FBD6-4828-88AA-9EAB4A899048}" type="pres">
      <dgm:prSet presAssocID="{EB461D84-7382-4BE0-A0D8-CD8720521C0A}" presName="Parent1" presStyleLbl="node1" presStyleIdx="6" presStyleCnt="16" custScaleX="100257" custLinFactX="-10356" custLinFactY="-67423" custLinFactNeighborX="-100000" custLinFactNeighborY="-100000">
        <dgm:presLayoutVars>
          <dgm:chMax val="1"/>
          <dgm:chPref val="1"/>
          <dgm:bulletEnabled val="1"/>
        </dgm:presLayoutVars>
      </dgm:prSet>
      <dgm:spPr/>
    </dgm:pt>
    <dgm:pt modelId="{54CD6BE5-3FC7-42F7-A7A9-183A9BE430E0}" type="pres">
      <dgm:prSet presAssocID="{EB461D84-7382-4BE0-A0D8-CD8720521C0A}" presName="Childtext1" presStyleLbl="revTx" presStyleIdx="3" presStyleCnt="8">
        <dgm:presLayoutVars>
          <dgm:chMax val="0"/>
          <dgm:chPref val="0"/>
          <dgm:bulletEnabled val="1"/>
        </dgm:presLayoutVars>
      </dgm:prSet>
      <dgm:spPr/>
    </dgm:pt>
    <dgm:pt modelId="{A1C3E033-F1EC-45CC-9E87-CD9FEEEF7E40}" type="pres">
      <dgm:prSet presAssocID="{EB461D84-7382-4BE0-A0D8-CD8720521C0A}" presName="BalanceSpacing" presStyleCnt="0"/>
      <dgm:spPr/>
    </dgm:pt>
    <dgm:pt modelId="{E8E80B4F-8A12-4BE4-B59A-F4A73D5483CA}" type="pres">
      <dgm:prSet presAssocID="{EB461D84-7382-4BE0-A0D8-CD8720521C0A}" presName="BalanceSpacing1" presStyleCnt="0"/>
      <dgm:spPr/>
    </dgm:pt>
    <dgm:pt modelId="{7BC0E11E-66AF-435A-B703-EE65C51D1D04}" type="pres">
      <dgm:prSet presAssocID="{853779D2-8D7D-402A-999C-E265D88C2CE0}" presName="Accent1Text" presStyleLbl="node1" presStyleIdx="7" presStyleCnt="16"/>
      <dgm:spPr/>
    </dgm:pt>
    <dgm:pt modelId="{C5D270B6-300B-4769-915D-86C20E3A9D1F}" type="pres">
      <dgm:prSet presAssocID="{853779D2-8D7D-402A-999C-E265D88C2CE0}" presName="spaceBetweenRectangles" presStyleCnt="0"/>
      <dgm:spPr/>
    </dgm:pt>
    <dgm:pt modelId="{53DBB232-308B-4A84-BD9D-DBBA36403C6E}" type="pres">
      <dgm:prSet presAssocID="{989D390C-ADC5-427B-A0E0-BCE8CD6E65B6}" presName="composite" presStyleCnt="0"/>
      <dgm:spPr/>
    </dgm:pt>
    <dgm:pt modelId="{3ACF6E1D-9F4E-49C0-ACA0-00A30E69FC0D}" type="pres">
      <dgm:prSet presAssocID="{989D390C-ADC5-427B-A0E0-BCE8CD6E65B6}" presName="Parent1" presStyleLbl="node1" presStyleIdx="8" presStyleCnt="16" custLinFactX="-100000" custLinFactY="-69216" custLinFactNeighborX="-118030" custLinFactNeighborY="-100000">
        <dgm:presLayoutVars>
          <dgm:chMax val="1"/>
          <dgm:chPref val="1"/>
          <dgm:bulletEnabled val="1"/>
        </dgm:presLayoutVars>
      </dgm:prSet>
      <dgm:spPr/>
    </dgm:pt>
    <dgm:pt modelId="{DA90BF5C-630C-4A4D-A5E7-C28171C2D77F}" type="pres">
      <dgm:prSet presAssocID="{989D390C-ADC5-427B-A0E0-BCE8CD6E65B6}" presName="Childtext1" presStyleLbl="revTx" presStyleIdx="4" presStyleCnt="8">
        <dgm:presLayoutVars>
          <dgm:chMax val="0"/>
          <dgm:chPref val="0"/>
          <dgm:bulletEnabled val="1"/>
        </dgm:presLayoutVars>
      </dgm:prSet>
      <dgm:spPr/>
    </dgm:pt>
    <dgm:pt modelId="{6D71BE29-6FA3-4F43-9185-4025C90EC463}" type="pres">
      <dgm:prSet presAssocID="{989D390C-ADC5-427B-A0E0-BCE8CD6E65B6}" presName="BalanceSpacing" presStyleCnt="0"/>
      <dgm:spPr/>
    </dgm:pt>
    <dgm:pt modelId="{A18BD055-3E6E-42A0-9F0F-1F7A6C388BA9}" type="pres">
      <dgm:prSet presAssocID="{989D390C-ADC5-427B-A0E0-BCE8CD6E65B6}" presName="BalanceSpacing1" presStyleCnt="0"/>
      <dgm:spPr/>
    </dgm:pt>
    <dgm:pt modelId="{59169D05-1A65-4928-885F-3D6A4577654F}" type="pres">
      <dgm:prSet presAssocID="{56B25D8F-69DE-424A-9BC5-7695569DDD0A}" presName="Accent1Text" presStyleLbl="node1" presStyleIdx="9" presStyleCnt="16" custLinFactNeighborX="-65880" custLinFactNeighborY="-79907"/>
      <dgm:spPr/>
    </dgm:pt>
    <dgm:pt modelId="{D96421E5-6B8E-4A54-B691-9FB4A1F13A36}" type="pres">
      <dgm:prSet presAssocID="{56B25D8F-69DE-424A-9BC5-7695569DDD0A}" presName="spaceBetweenRectangles" presStyleCnt="0"/>
      <dgm:spPr/>
    </dgm:pt>
    <dgm:pt modelId="{E9976CE6-8488-4B97-A504-55EE44CA2AA4}" type="pres">
      <dgm:prSet presAssocID="{0E6DFCBD-23D9-44F7-A4F1-E066BD22E3CE}" presName="composite" presStyleCnt="0"/>
      <dgm:spPr/>
    </dgm:pt>
    <dgm:pt modelId="{3588A053-1CF0-49BA-B262-0B1DC41256DE}" type="pres">
      <dgm:prSet presAssocID="{0E6DFCBD-23D9-44F7-A4F1-E066BD22E3CE}" presName="Parent1" presStyleLbl="node1" presStyleIdx="10" presStyleCnt="16" custLinFactY="-64787" custLinFactNeighborY="-100000">
        <dgm:presLayoutVars>
          <dgm:chMax val="1"/>
          <dgm:chPref val="1"/>
          <dgm:bulletEnabled val="1"/>
        </dgm:presLayoutVars>
      </dgm:prSet>
      <dgm:spPr/>
    </dgm:pt>
    <dgm:pt modelId="{C690E09E-BF3F-42D9-932D-0685B83485D0}" type="pres">
      <dgm:prSet presAssocID="{0E6DFCBD-23D9-44F7-A4F1-E066BD22E3CE}" presName="Childtext1" presStyleLbl="revTx" presStyleIdx="5" presStyleCnt="8">
        <dgm:presLayoutVars>
          <dgm:chMax val="0"/>
          <dgm:chPref val="0"/>
          <dgm:bulletEnabled val="1"/>
        </dgm:presLayoutVars>
      </dgm:prSet>
      <dgm:spPr/>
    </dgm:pt>
    <dgm:pt modelId="{872BB114-88CB-429B-ABEA-E909EA40E968}" type="pres">
      <dgm:prSet presAssocID="{0E6DFCBD-23D9-44F7-A4F1-E066BD22E3CE}" presName="BalanceSpacing" presStyleCnt="0"/>
      <dgm:spPr/>
    </dgm:pt>
    <dgm:pt modelId="{16AC87AB-1A12-45D4-8957-463A65A1EB15}" type="pres">
      <dgm:prSet presAssocID="{0E6DFCBD-23D9-44F7-A4F1-E066BD22E3CE}" presName="BalanceSpacing1" presStyleCnt="0"/>
      <dgm:spPr/>
    </dgm:pt>
    <dgm:pt modelId="{B37E7FA4-E3E2-4002-BED5-024A9CE28524}" type="pres">
      <dgm:prSet presAssocID="{E4F5BE27-6F18-447A-88F2-B2B46137DA7B}" presName="Accent1Text" presStyleLbl="node1" presStyleIdx="11" presStyleCnt="16" custLinFactNeighborX="-56468" custLinFactNeighborY="-79150"/>
      <dgm:spPr/>
    </dgm:pt>
    <dgm:pt modelId="{4DB99720-BC0F-446E-8219-A7E5FAC831CA}" type="pres">
      <dgm:prSet presAssocID="{E4F5BE27-6F18-447A-88F2-B2B46137DA7B}" presName="spaceBetweenRectangles" presStyleCnt="0"/>
      <dgm:spPr/>
    </dgm:pt>
    <dgm:pt modelId="{4BBA043D-997D-4937-B625-CA44FB0DD982}" type="pres">
      <dgm:prSet presAssocID="{C93FD24B-2962-4E5D-BF30-98B4FE62D8E5}" presName="composite" presStyleCnt="0"/>
      <dgm:spPr/>
    </dgm:pt>
    <dgm:pt modelId="{74266CAC-F40D-45A4-8D5E-4C2DDCE50132}" type="pres">
      <dgm:prSet presAssocID="{C93FD24B-2962-4E5D-BF30-98B4FE62D8E5}" presName="Parent1" presStyleLbl="node1" presStyleIdx="12" presStyleCnt="16" custLinFactX="-14505" custLinFactY="-59664" custLinFactNeighborX="-100000" custLinFactNeighborY="-100000">
        <dgm:presLayoutVars>
          <dgm:chMax val="1"/>
          <dgm:chPref val="1"/>
          <dgm:bulletEnabled val="1"/>
        </dgm:presLayoutVars>
      </dgm:prSet>
      <dgm:spPr/>
    </dgm:pt>
    <dgm:pt modelId="{54821CED-91D2-4AA3-9032-A6CDB3AF175A}" type="pres">
      <dgm:prSet presAssocID="{C93FD24B-2962-4E5D-BF30-98B4FE62D8E5}" presName="Childtext1" presStyleLbl="revTx" presStyleIdx="6" presStyleCnt="8">
        <dgm:presLayoutVars>
          <dgm:chMax val="0"/>
          <dgm:chPref val="0"/>
          <dgm:bulletEnabled val="1"/>
        </dgm:presLayoutVars>
      </dgm:prSet>
      <dgm:spPr/>
    </dgm:pt>
    <dgm:pt modelId="{A1C499C6-52C0-4965-AA15-1A7650FA6982}" type="pres">
      <dgm:prSet presAssocID="{C93FD24B-2962-4E5D-BF30-98B4FE62D8E5}" presName="BalanceSpacing" presStyleCnt="0"/>
      <dgm:spPr/>
    </dgm:pt>
    <dgm:pt modelId="{D6AC7506-32F7-45C1-9D11-351853F4982D}" type="pres">
      <dgm:prSet presAssocID="{C93FD24B-2962-4E5D-BF30-98B4FE62D8E5}" presName="BalanceSpacing1" presStyleCnt="0"/>
      <dgm:spPr/>
    </dgm:pt>
    <dgm:pt modelId="{AD695B6D-7970-4DD8-8817-32E9A0F34198}" type="pres">
      <dgm:prSet presAssocID="{9FAB28D7-822B-4AE9-86E5-D4C4B07A2174}" presName="Accent1Text" presStyleLbl="node1" presStyleIdx="13" presStyleCnt="16" custLinFactX="100000" custLinFactY="-139211" custLinFactNeighborX="120293" custLinFactNeighborY="-200000"/>
      <dgm:spPr/>
    </dgm:pt>
    <dgm:pt modelId="{D6AA7024-32C8-43FE-9D79-22DE18CA24DF}" type="pres">
      <dgm:prSet presAssocID="{9FAB28D7-822B-4AE9-86E5-D4C4B07A2174}" presName="spaceBetweenRectangles" presStyleCnt="0"/>
      <dgm:spPr/>
    </dgm:pt>
    <dgm:pt modelId="{945970E2-7F03-4605-A541-A82B20834D1B}" type="pres">
      <dgm:prSet presAssocID="{E665B81B-559D-43B9-A384-F598A731651A}" presName="composite" presStyleCnt="0"/>
      <dgm:spPr/>
    </dgm:pt>
    <dgm:pt modelId="{AE9EB8B5-4AAB-48E4-AFB1-0C40D7EAA661}" type="pres">
      <dgm:prSet presAssocID="{E665B81B-559D-43B9-A384-F598A731651A}" presName="Parent1" presStyleLbl="node1" presStyleIdx="14" presStyleCnt="16" custLinFactX="-70754" custLinFactY="-100000" custLinFactNeighborX="-100000" custLinFactNeighborY="-142002">
        <dgm:presLayoutVars>
          <dgm:chMax val="1"/>
          <dgm:chPref val="1"/>
          <dgm:bulletEnabled val="1"/>
        </dgm:presLayoutVars>
      </dgm:prSet>
      <dgm:spPr/>
    </dgm:pt>
    <dgm:pt modelId="{D1FFC622-016A-4E43-97CB-CAC7B41E5854}" type="pres">
      <dgm:prSet presAssocID="{E665B81B-559D-43B9-A384-F598A731651A}" presName="Childtext1" presStyleLbl="revTx" presStyleIdx="7" presStyleCnt="8">
        <dgm:presLayoutVars>
          <dgm:chMax val="0"/>
          <dgm:chPref val="0"/>
          <dgm:bulletEnabled val="1"/>
        </dgm:presLayoutVars>
      </dgm:prSet>
      <dgm:spPr/>
    </dgm:pt>
    <dgm:pt modelId="{9EB90DE1-7F39-40DE-ACD1-C53980FFC16C}" type="pres">
      <dgm:prSet presAssocID="{E665B81B-559D-43B9-A384-F598A731651A}" presName="BalanceSpacing" presStyleCnt="0"/>
      <dgm:spPr/>
    </dgm:pt>
    <dgm:pt modelId="{2B2746A2-9D75-42ED-A010-E48C32D8E290}" type="pres">
      <dgm:prSet presAssocID="{E665B81B-559D-43B9-A384-F598A731651A}" presName="BalanceSpacing1" presStyleCnt="0"/>
      <dgm:spPr/>
    </dgm:pt>
    <dgm:pt modelId="{DD451432-6326-414D-A561-0080C84941A3}" type="pres">
      <dgm:prSet presAssocID="{8FD0218F-B701-45AD-8A0C-93835EB6CB6B}" presName="Accent1Text" presStyleLbl="node1" presStyleIdx="15" presStyleCnt="16" custLinFactX="-8787" custLinFactY="-57613" custLinFactNeighborX="-100000" custLinFactNeighborY="-100000"/>
      <dgm:spPr/>
    </dgm:pt>
  </dgm:ptLst>
  <dgm:cxnLst>
    <dgm:cxn modelId="{42BDD60F-A2E2-48CD-9D0B-80ED94812C18}" type="presOf" srcId="{E4F5BE27-6F18-447A-88F2-B2B46137DA7B}" destId="{B37E7FA4-E3E2-4002-BED5-024A9CE28524}" srcOrd="0" destOrd="0" presId="urn:microsoft.com/office/officeart/2008/layout/AlternatingHexagons"/>
    <dgm:cxn modelId="{F9D6D018-8741-46DF-B3FA-BC23C7230B2E}" type="presOf" srcId="{EB461D84-7382-4BE0-A0D8-CD8720521C0A}" destId="{ADD3EC98-FBD6-4828-88AA-9EAB4A899048}" srcOrd="0" destOrd="0" presId="urn:microsoft.com/office/officeart/2008/layout/AlternatingHexagons"/>
    <dgm:cxn modelId="{3AADFA1C-A7A6-46F1-A309-690B60D17547}" srcId="{9F86ED53-680A-4EB4-8094-1FD92870BFEB}" destId="{0E6DFCBD-23D9-44F7-A4F1-E066BD22E3CE}" srcOrd="5" destOrd="0" parTransId="{78653700-58F4-4F06-92B0-747C179ACE9A}" sibTransId="{E4F5BE27-6F18-447A-88F2-B2B46137DA7B}"/>
    <dgm:cxn modelId="{93CE2028-DEC1-43D6-B464-F4CE61067F31}" type="presOf" srcId="{C2937730-3740-486D-846D-C2D8490BA8AC}" destId="{51AC0AE5-F446-4499-A775-6D5C32E6EBEA}" srcOrd="0" destOrd="0" presId="urn:microsoft.com/office/officeart/2008/layout/AlternatingHexagons"/>
    <dgm:cxn modelId="{3DF34D2E-2085-4272-B2C2-4316DAA1EAF5}" type="presOf" srcId="{989D390C-ADC5-427B-A0E0-BCE8CD6E65B6}" destId="{3ACF6E1D-9F4E-49C0-ACA0-00A30E69FC0D}" srcOrd="0" destOrd="0" presId="urn:microsoft.com/office/officeart/2008/layout/AlternatingHexagons"/>
    <dgm:cxn modelId="{5DDE4760-CB60-4C71-AAB2-B386FB60E695}" type="presOf" srcId="{9F86ED53-680A-4EB4-8094-1FD92870BFEB}" destId="{7D4C8E59-418B-4F4A-BAF1-CE61C38471F9}" srcOrd="0" destOrd="0" presId="urn:microsoft.com/office/officeart/2008/layout/AlternatingHexagons"/>
    <dgm:cxn modelId="{5E245046-7E21-4134-9A54-F84480515896}" type="presOf" srcId="{56B25D8F-69DE-424A-9BC5-7695569DDD0A}" destId="{59169D05-1A65-4928-885F-3D6A4577654F}" srcOrd="0" destOrd="0" presId="urn:microsoft.com/office/officeart/2008/layout/AlternatingHexagons"/>
    <dgm:cxn modelId="{57B86069-B06C-4093-A097-088B3BA49F74}" type="presOf" srcId="{D587B8FB-038E-4BE4-B9D1-81790E0E483B}" destId="{930D302E-24CA-428A-82C4-85500B2151B6}" srcOrd="0" destOrd="0" presId="urn:microsoft.com/office/officeart/2008/layout/AlternatingHexagons"/>
    <dgm:cxn modelId="{A2D7DC4B-6EC6-4A79-9073-2C32AFE39625}" srcId="{9F86ED53-680A-4EB4-8094-1FD92870BFEB}" destId="{EB461D84-7382-4BE0-A0D8-CD8720521C0A}" srcOrd="3" destOrd="0" parTransId="{A2FB912B-A1E8-477E-936C-F0104A003169}" sibTransId="{853779D2-8D7D-402A-999C-E265D88C2CE0}"/>
    <dgm:cxn modelId="{9ADC746F-0B14-4CE9-A86F-5102F944E97F}" type="presOf" srcId="{E665B81B-559D-43B9-A384-F598A731651A}" destId="{AE9EB8B5-4AAB-48E4-AFB1-0C40D7EAA661}" srcOrd="0" destOrd="0" presId="urn:microsoft.com/office/officeart/2008/layout/AlternatingHexagons"/>
    <dgm:cxn modelId="{1035D273-91FF-4E91-8050-1DEA88B9F673}" type="presOf" srcId="{97DE0DAE-47C3-4BCF-8DC7-3D631DDBE874}" destId="{CCA4BF79-B5DE-46EC-9F07-45527DB64924}" srcOrd="0" destOrd="0" presId="urn:microsoft.com/office/officeart/2008/layout/AlternatingHexagons"/>
    <dgm:cxn modelId="{485BFF5A-372F-4E59-8A69-06384D733622}" srcId="{9F86ED53-680A-4EB4-8094-1FD92870BFEB}" destId="{E665B81B-559D-43B9-A384-F598A731651A}" srcOrd="7" destOrd="0" parTransId="{16915E98-0022-4CA9-A731-6A3CB6BBB789}" sibTransId="{8FD0218F-B701-45AD-8A0C-93835EB6CB6B}"/>
    <dgm:cxn modelId="{1552907B-DC5C-4170-89B0-A38E7732CB24}" srcId="{9F86ED53-680A-4EB4-8094-1FD92870BFEB}" destId="{7D21391C-E151-41A8-8300-C0DCE15EA30C}" srcOrd="0" destOrd="0" parTransId="{A0977447-8483-4563-BE5E-28E5F04A1E70}" sibTransId="{D587B8FB-038E-4BE4-B9D1-81790E0E483B}"/>
    <dgm:cxn modelId="{14781D7F-DD44-4821-AEE4-A42472B2A714}" type="presOf" srcId="{8FD0218F-B701-45AD-8A0C-93835EB6CB6B}" destId="{DD451432-6326-414D-A561-0080C84941A3}" srcOrd="0" destOrd="0" presId="urn:microsoft.com/office/officeart/2008/layout/AlternatingHexagons"/>
    <dgm:cxn modelId="{99EC3784-36BD-4B83-A694-7CB95FA645E8}" srcId="{9F86ED53-680A-4EB4-8094-1FD92870BFEB}" destId="{97DE0DAE-47C3-4BCF-8DC7-3D631DDBE874}" srcOrd="1" destOrd="0" parTransId="{74C9DBF6-F8ED-4273-A82A-A3FD01DBF971}" sibTransId="{C2937730-3740-486D-846D-C2D8490BA8AC}"/>
    <dgm:cxn modelId="{2EAB54A1-9101-4A24-99A9-F1CD09ECDA4A}" type="presOf" srcId="{BD3BA4B6-7EE0-439B-BB38-AAAE37340134}" destId="{C0026A9C-A72D-4F16-8E62-5CDF95DE737D}" srcOrd="0" destOrd="0" presId="urn:microsoft.com/office/officeart/2008/layout/AlternatingHexagons"/>
    <dgm:cxn modelId="{E26210B0-184B-4435-BA62-63C4AFB5F59A}" srcId="{9F86ED53-680A-4EB4-8094-1FD92870BFEB}" destId="{49A8B42E-C754-432C-8246-708E64B589BD}" srcOrd="2" destOrd="0" parTransId="{38839E7B-7621-4CAF-BFA0-38C57B36CF52}" sibTransId="{BD3BA4B6-7EE0-439B-BB38-AAAE37340134}"/>
    <dgm:cxn modelId="{65E1D0DE-DB33-4325-B3C6-B187A63FAA82}" srcId="{9F86ED53-680A-4EB4-8094-1FD92870BFEB}" destId="{989D390C-ADC5-427B-A0E0-BCE8CD6E65B6}" srcOrd="4" destOrd="0" parTransId="{A7876963-0C14-4A15-8CC2-C0B95C57185C}" sibTransId="{56B25D8F-69DE-424A-9BC5-7695569DDD0A}"/>
    <dgm:cxn modelId="{44BA02E1-C218-412A-A39B-08A1DA1DDFCD}" type="presOf" srcId="{7D21391C-E151-41A8-8300-C0DCE15EA30C}" destId="{7F72F978-046F-4AFE-B768-78A424EC0944}" srcOrd="0" destOrd="0" presId="urn:microsoft.com/office/officeart/2008/layout/AlternatingHexagons"/>
    <dgm:cxn modelId="{8385F0E1-82E7-43F6-89BF-F78DC7AA270D}" type="presOf" srcId="{49A8B42E-C754-432C-8246-708E64B589BD}" destId="{19209DEF-5946-4973-91C0-19F2805B1E6B}" srcOrd="0" destOrd="0" presId="urn:microsoft.com/office/officeart/2008/layout/AlternatingHexagons"/>
    <dgm:cxn modelId="{5063A8E4-8D58-47F5-8BA8-0C630F385979}" type="presOf" srcId="{C93FD24B-2962-4E5D-BF30-98B4FE62D8E5}" destId="{74266CAC-F40D-45A4-8D5E-4C2DDCE50132}" srcOrd="0" destOrd="0" presId="urn:microsoft.com/office/officeart/2008/layout/AlternatingHexagons"/>
    <dgm:cxn modelId="{B1192FE5-9416-4F35-B6AB-2DDE9056AF93}" srcId="{9F86ED53-680A-4EB4-8094-1FD92870BFEB}" destId="{C93FD24B-2962-4E5D-BF30-98B4FE62D8E5}" srcOrd="6" destOrd="0" parTransId="{4E7888BF-832C-4415-97D8-F50A7FCBD904}" sibTransId="{9FAB28D7-822B-4AE9-86E5-D4C4B07A2174}"/>
    <dgm:cxn modelId="{DC8FB9EC-FAB7-4A8E-8347-BFE8BDE685FA}" type="presOf" srcId="{0E6DFCBD-23D9-44F7-A4F1-E066BD22E3CE}" destId="{3588A053-1CF0-49BA-B262-0B1DC41256DE}" srcOrd="0" destOrd="0" presId="urn:microsoft.com/office/officeart/2008/layout/AlternatingHexagons"/>
    <dgm:cxn modelId="{BA9D3DEE-5BA4-4D88-A166-C7E9BE4364C9}" type="presOf" srcId="{853779D2-8D7D-402A-999C-E265D88C2CE0}" destId="{7BC0E11E-66AF-435A-B703-EE65C51D1D04}" srcOrd="0" destOrd="0" presId="urn:microsoft.com/office/officeart/2008/layout/AlternatingHexagons"/>
    <dgm:cxn modelId="{DDCD1CEF-5183-460F-BDAF-A1384519247C}" type="presOf" srcId="{9FAB28D7-822B-4AE9-86E5-D4C4B07A2174}" destId="{AD695B6D-7970-4DD8-8817-32E9A0F34198}" srcOrd="0" destOrd="0" presId="urn:microsoft.com/office/officeart/2008/layout/AlternatingHexagons"/>
    <dgm:cxn modelId="{5ED29B71-CEDE-4A8D-BF63-E46035C1CDB8}" type="presParOf" srcId="{7D4C8E59-418B-4F4A-BAF1-CE61C38471F9}" destId="{37EBA73E-61FD-4FE5-B927-695BF9A8AFD2}" srcOrd="0" destOrd="0" presId="urn:microsoft.com/office/officeart/2008/layout/AlternatingHexagons"/>
    <dgm:cxn modelId="{FCDFE7CF-4258-4CB5-A4D7-C279E0A5D0EA}" type="presParOf" srcId="{37EBA73E-61FD-4FE5-B927-695BF9A8AFD2}" destId="{7F72F978-046F-4AFE-B768-78A424EC0944}" srcOrd="0" destOrd="0" presId="urn:microsoft.com/office/officeart/2008/layout/AlternatingHexagons"/>
    <dgm:cxn modelId="{DAAD1B88-6CFF-41DF-BB20-DB3F3F1D29AF}" type="presParOf" srcId="{37EBA73E-61FD-4FE5-B927-695BF9A8AFD2}" destId="{0743E3AA-0A5F-4A2F-8A41-D2E664520B8E}" srcOrd="1" destOrd="0" presId="urn:microsoft.com/office/officeart/2008/layout/AlternatingHexagons"/>
    <dgm:cxn modelId="{7E9F9BE9-6173-4BAB-8576-9EEA52FD2B12}" type="presParOf" srcId="{37EBA73E-61FD-4FE5-B927-695BF9A8AFD2}" destId="{E317D49D-878E-4954-9EA8-7B81E7061C46}" srcOrd="2" destOrd="0" presId="urn:microsoft.com/office/officeart/2008/layout/AlternatingHexagons"/>
    <dgm:cxn modelId="{735BF4C8-B767-478D-B660-210C5161DAB9}" type="presParOf" srcId="{37EBA73E-61FD-4FE5-B927-695BF9A8AFD2}" destId="{03C0AC46-1629-4E09-B19E-5B97B386D885}" srcOrd="3" destOrd="0" presId="urn:microsoft.com/office/officeart/2008/layout/AlternatingHexagons"/>
    <dgm:cxn modelId="{999DF5AB-76E4-4262-80B3-FA937CE4CABC}" type="presParOf" srcId="{37EBA73E-61FD-4FE5-B927-695BF9A8AFD2}" destId="{930D302E-24CA-428A-82C4-85500B2151B6}" srcOrd="4" destOrd="0" presId="urn:microsoft.com/office/officeart/2008/layout/AlternatingHexagons"/>
    <dgm:cxn modelId="{FBD34646-5276-483A-815F-F87F5A1F378E}" type="presParOf" srcId="{7D4C8E59-418B-4F4A-BAF1-CE61C38471F9}" destId="{02FF5361-9114-4AE2-9DE8-9A5865358E95}" srcOrd="1" destOrd="0" presId="urn:microsoft.com/office/officeart/2008/layout/AlternatingHexagons"/>
    <dgm:cxn modelId="{114FB190-E473-4C60-93A3-3472669913E1}" type="presParOf" srcId="{7D4C8E59-418B-4F4A-BAF1-CE61C38471F9}" destId="{901F60DE-DDB3-48A4-BEFD-A430E762A723}" srcOrd="2" destOrd="0" presId="urn:microsoft.com/office/officeart/2008/layout/AlternatingHexagons"/>
    <dgm:cxn modelId="{E3A9156E-411C-4344-AA97-5D2348C786D9}" type="presParOf" srcId="{901F60DE-DDB3-48A4-BEFD-A430E762A723}" destId="{CCA4BF79-B5DE-46EC-9F07-45527DB64924}" srcOrd="0" destOrd="0" presId="urn:microsoft.com/office/officeart/2008/layout/AlternatingHexagons"/>
    <dgm:cxn modelId="{2730E765-CE8D-4635-9B4F-2E0C51DFFADC}" type="presParOf" srcId="{901F60DE-DDB3-48A4-BEFD-A430E762A723}" destId="{7AE97A09-5B06-40C2-9772-6D35E876E0F2}" srcOrd="1" destOrd="0" presId="urn:microsoft.com/office/officeart/2008/layout/AlternatingHexagons"/>
    <dgm:cxn modelId="{9A4EDEA9-04A0-4F5E-BCEC-D1773D0AB3DA}" type="presParOf" srcId="{901F60DE-DDB3-48A4-BEFD-A430E762A723}" destId="{B76FD8B9-5703-4139-9914-95A335AAE548}" srcOrd="2" destOrd="0" presId="urn:microsoft.com/office/officeart/2008/layout/AlternatingHexagons"/>
    <dgm:cxn modelId="{B135E79C-136F-4896-9EDA-03A8A587DD63}" type="presParOf" srcId="{901F60DE-DDB3-48A4-BEFD-A430E762A723}" destId="{0A87DB4B-D038-4285-B985-1A978B10AD9A}" srcOrd="3" destOrd="0" presId="urn:microsoft.com/office/officeart/2008/layout/AlternatingHexagons"/>
    <dgm:cxn modelId="{135CF78D-494D-46CA-B17D-03E5D9BE5B63}" type="presParOf" srcId="{901F60DE-DDB3-48A4-BEFD-A430E762A723}" destId="{51AC0AE5-F446-4499-A775-6D5C32E6EBEA}" srcOrd="4" destOrd="0" presId="urn:microsoft.com/office/officeart/2008/layout/AlternatingHexagons"/>
    <dgm:cxn modelId="{26193BFD-8BC5-4068-9181-22652D7BA6BD}" type="presParOf" srcId="{7D4C8E59-418B-4F4A-BAF1-CE61C38471F9}" destId="{2063EBC1-5A8F-4934-8206-342EB727072B}" srcOrd="3" destOrd="0" presId="urn:microsoft.com/office/officeart/2008/layout/AlternatingHexagons"/>
    <dgm:cxn modelId="{024D6839-1E4D-428B-8AFF-EEFDF399F7EA}" type="presParOf" srcId="{7D4C8E59-418B-4F4A-BAF1-CE61C38471F9}" destId="{063FAFC3-AD6C-464C-B2CE-49AB8184E615}" srcOrd="4" destOrd="0" presId="urn:microsoft.com/office/officeart/2008/layout/AlternatingHexagons"/>
    <dgm:cxn modelId="{6F0A49F7-5A40-470F-8FBE-1CFFA127EED1}" type="presParOf" srcId="{063FAFC3-AD6C-464C-B2CE-49AB8184E615}" destId="{19209DEF-5946-4973-91C0-19F2805B1E6B}" srcOrd="0" destOrd="0" presId="urn:microsoft.com/office/officeart/2008/layout/AlternatingHexagons"/>
    <dgm:cxn modelId="{7FE500B8-78BB-447A-9C55-44EC5C631FED}" type="presParOf" srcId="{063FAFC3-AD6C-464C-B2CE-49AB8184E615}" destId="{DE96624E-7214-4FD1-AD69-0DBBE9B74A20}" srcOrd="1" destOrd="0" presId="urn:microsoft.com/office/officeart/2008/layout/AlternatingHexagons"/>
    <dgm:cxn modelId="{5AE6549E-7831-4EC6-8D73-17D9E5D5B4BE}" type="presParOf" srcId="{063FAFC3-AD6C-464C-B2CE-49AB8184E615}" destId="{C8A4FCE2-7C4A-4CB0-A86B-29DFB9D4225A}" srcOrd="2" destOrd="0" presId="urn:microsoft.com/office/officeart/2008/layout/AlternatingHexagons"/>
    <dgm:cxn modelId="{8ACD263E-4F83-4A9C-AD7A-E1AE0F748C2A}" type="presParOf" srcId="{063FAFC3-AD6C-464C-B2CE-49AB8184E615}" destId="{FFFCD7B3-E475-47CF-B1D3-38B02280DAAD}" srcOrd="3" destOrd="0" presId="urn:microsoft.com/office/officeart/2008/layout/AlternatingHexagons"/>
    <dgm:cxn modelId="{8D4495E8-1576-465C-8247-C179944D039E}" type="presParOf" srcId="{063FAFC3-AD6C-464C-B2CE-49AB8184E615}" destId="{C0026A9C-A72D-4F16-8E62-5CDF95DE737D}" srcOrd="4" destOrd="0" presId="urn:microsoft.com/office/officeart/2008/layout/AlternatingHexagons"/>
    <dgm:cxn modelId="{3A2B5EC4-746D-46BE-BF0C-56339FD2D686}" type="presParOf" srcId="{7D4C8E59-418B-4F4A-BAF1-CE61C38471F9}" destId="{02E75150-A65B-443E-AFC4-D1BC4838CFF3}" srcOrd="5" destOrd="0" presId="urn:microsoft.com/office/officeart/2008/layout/AlternatingHexagons"/>
    <dgm:cxn modelId="{38F75A69-952A-4990-B0EE-280A8FF29246}" type="presParOf" srcId="{7D4C8E59-418B-4F4A-BAF1-CE61C38471F9}" destId="{56DDB849-78B5-4DAC-B319-7C04E913F95B}" srcOrd="6" destOrd="0" presId="urn:microsoft.com/office/officeart/2008/layout/AlternatingHexagons"/>
    <dgm:cxn modelId="{7741ED65-026B-487D-867A-CBDF7C79E220}" type="presParOf" srcId="{56DDB849-78B5-4DAC-B319-7C04E913F95B}" destId="{ADD3EC98-FBD6-4828-88AA-9EAB4A899048}" srcOrd="0" destOrd="0" presId="urn:microsoft.com/office/officeart/2008/layout/AlternatingHexagons"/>
    <dgm:cxn modelId="{44A9ECA5-D3C2-4A91-BC5F-0EE7A40636F2}" type="presParOf" srcId="{56DDB849-78B5-4DAC-B319-7C04E913F95B}" destId="{54CD6BE5-3FC7-42F7-A7A9-183A9BE430E0}" srcOrd="1" destOrd="0" presId="urn:microsoft.com/office/officeart/2008/layout/AlternatingHexagons"/>
    <dgm:cxn modelId="{410E37E0-01D5-4F2B-BD0A-E9DA9E7E831F}" type="presParOf" srcId="{56DDB849-78B5-4DAC-B319-7C04E913F95B}" destId="{A1C3E033-F1EC-45CC-9E87-CD9FEEEF7E40}" srcOrd="2" destOrd="0" presId="urn:microsoft.com/office/officeart/2008/layout/AlternatingHexagons"/>
    <dgm:cxn modelId="{77C43CBD-FBD2-4E34-8B31-AB3E50224160}" type="presParOf" srcId="{56DDB849-78B5-4DAC-B319-7C04E913F95B}" destId="{E8E80B4F-8A12-4BE4-B59A-F4A73D5483CA}" srcOrd="3" destOrd="0" presId="urn:microsoft.com/office/officeart/2008/layout/AlternatingHexagons"/>
    <dgm:cxn modelId="{FC59EF5A-B23C-4418-9C2B-4542CC87458A}" type="presParOf" srcId="{56DDB849-78B5-4DAC-B319-7C04E913F95B}" destId="{7BC0E11E-66AF-435A-B703-EE65C51D1D04}" srcOrd="4" destOrd="0" presId="urn:microsoft.com/office/officeart/2008/layout/AlternatingHexagons"/>
    <dgm:cxn modelId="{302113C7-4D83-4045-A895-E498A4F422CF}" type="presParOf" srcId="{7D4C8E59-418B-4F4A-BAF1-CE61C38471F9}" destId="{C5D270B6-300B-4769-915D-86C20E3A9D1F}" srcOrd="7" destOrd="0" presId="urn:microsoft.com/office/officeart/2008/layout/AlternatingHexagons"/>
    <dgm:cxn modelId="{4E6B2CC1-F4CC-4585-BE5C-097B6CBA9458}" type="presParOf" srcId="{7D4C8E59-418B-4F4A-BAF1-CE61C38471F9}" destId="{53DBB232-308B-4A84-BD9D-DBBA36403C6E}" srcOrd="8" destOrd="0" presId="urn:microsoft.com/office/officeart/2008/layout/AlternatingHexagons"/>
    <dgm:cxn modelId="{15EDC0D8-E9E7-43F9-8491-1FB989A778C1}" type="presParOf" srcId="{53DBB232-308B-4A84-BD9D-DBBA36403C6E}" destId="{3ACF6E1D-9F4E-49C0-ACA0-00A30E69FC0D}" srcOrd="0" destOrd="0" presId="urn:microsoft.com/office/officeart/2008/layout/AlternatingHexagons"/>
    <dgm:cxn modelId="{5D0A5022-9611-4769-94AC-FB43110FBF99}" type="presParOf" srcId="{53DBB232-308B-4A84-BD9D-DBBA36403C6E}" destId="{DA90BF5C-630C-4A4D-A5E7-C28171C2D77F}" srcOrd="1" destOrd="0" presId="urn:microsoft.com/office/officeart/2008/layout/AlternatingHexagons"/>
    <dgm:cxn modelId="{6F8F9353-04A9-4F36-B51C-76238D001B91}" type="presParOf" srcId="{53DBB232-308B-4A84-BD9D-DBBA36403C6E}" destId="{6D71BE29-6FA3-4F43-9185-4025C90EC463}" srcOrd="2" destOrd="0" presId="urn:microsoft.com/office/officeart/2008/layout/AlternatingHexagons"/>
    <dgm:cxn modelId="{F65F9F85-80B9-4BE0-AB35-9C1FD203EA9D}" type="presParOf" srcId="{53DBB232-308B-4A84-BD9D-DBBA36403C6E}" destId="{A18BD055-3E6E-42A0-9F0F-1F7A6C388BA9}" srcOrd="3" destOrd="0" presId="urn:microsoft.com/office/officeart/2008/layout/AlternatingHexagons"/>
    <dgm:cxn modelId="{11169693-14DE-4783-92AD-11064A15AAA1}" type="presParOf" srcId="{53DBB232-308B-4A84-BD9D-DBBA36403C6E}" destId="{59169D05-1A65-4928-885F-3D6A4577654F}" srcOrd="4" destOrd="0" presId="urn:microsoft.com/office/officeart/2008/layout/AlternatingHexagons"/>
    <dgm:cxn modelId="{6C0BC42A-654A-430B-81F5-63C16833631F}" type="presParOf" srcId="{7D4C8E59-418B-4F4A-BAF1-CE61C38471F9}" destId="{D96421E5-6B8E-4A54-B691-9FB4A1F13A36}" srcOrd="9" destOrd="0" presId="urn:microsoft.com/office/officeart/2008/layout/AlternatingHexagons"/>
    <dgm:cxn modelId="{43EB1CDC-5CC2-4C15-9288-A8C11753A3D5}" type="presParOf" srcId="{7D4C8E59-418B-4F4A-BAF1-CE61C38471F9}" destId="{E9976CE6-8488-4B97-A504-55EE44CA2AA4}" srcOrd="10" destOrd="0" presId="urn:microsoft.com/office/officeart/2008/layout/AlternatingHexagons"/>
    <dgm:cxn modelId="{CB1AE211-D404-4E8C-ADCA-A8FA99CAB6D9}" type="presParOf" srcId="{E9976CE6-8488-4B97-A504-55EE44CA2AA4}" destId="{3588A053-1CF0-49BA-B262-0B1DC41256DE}" srcOrd="0" destOrd="0" presId="urn:microsoft.com/office/officeart/2008/layout/AlternatingHexagons"/>
    <dgm:cxn modelId="{301D06A8-9F39-4824-A14F-268E7B4B5E41}" type="presParOf" srcId="{E9976CE6-8488-4B97-A504-55EE44CA2AA4}" destId="{C690E09E-BF3F-42D9-932D-0685B83485D0}" srcOrd="1" destOrd="0" presId="urn:microsoft.com/office/officeart/2008/layout/AlternatingHexagons"/>
    <dgm:cxn modelId="{8A9AB59E-C2A3-4842-A460-9A70AC159F1E}" type="presParOf" srcId="{E9976CE6-8488-4B97-A504-55EE44CA2AA4}" destId="{872BB114-88CB-429B-ABEA-E909EA40E968}" srcOrd="2" destOrd="0" presId="urn:microsoft.com/office/officeart/2008/layout/AlternatingHexagons"/>
    <dgm:cxn modelId="{65A9A4B1-7C68-43BF-BB3D-D936EFB59609}" type="presParOf" srcId="{E9976CE6-8488-4B97-A504-55EE44CA2AA4}" destId="{16AC87AB-1A12-45D4-8957-463A65A1EB15}" srcOrd="3" destOrd="0" presId="urn:microsoft.com/office/officeart/2008/layout/AlternatingHexagons"/>
    <dgm:cxn modelId="{F0F420EC-6425-41F3-B0A7-FEF555B11A21}" type="presParOf" srcId="{E9976CE6-8488-4B97-A504-55EE44CA2AA4}" destId="{B37E7FA4-E3E2-4002-BED5-024A9CE28524}" srcOrd="4" destOrd="0" presId="urn:microsoft.com/office/officeart/2008/layout/AlternatingHexagons"/>
    <dgm:cxn modelId="{380226BC-CA8D-4CCB-88A6-31A2E129EBCC}" type="presParOf" srcId="{7D4C8E59-418B-4F4A-BAF1-CE61C38471F9}" destId="{4DB99720-BC0F-446E-8219-A7E5FAC831CA}" srcOrd="11" destOrd="0" presId="urn:microsoft.com/office/officeart/2008/layout/AlternatingHexagons"/>
    <dgm:cxn modelId="{0711CF20-7BDC-41E8-BA0A-5499106811D1}" type="presParOf" srcId="{7D4C8E59-418B-4F4A-BAF1-CE61C38471F9}" destId="{4BBA043D-997D-4937-B625-CA44FB0DD982}" srcOrd="12" destOrd="0" presId="urn:microsoft.com/office/officeart/2008/layout/AlternatingHexagons"/>
    <dgm:cxn modelId="{AB155E32-89D3-450D-8604-5A397B24EBEE}" type="presParOf" srcId="{4BBA043D-997D-4937-B625-CA44FB0DD982}" destId="{74266CAC-F40D-45A4-8D5E-4C2DDCE50132}" srcOrd="0" destOrd="0" presId="urn:microsoft.com/office/officeart/2008/layout/AlternatingHexagons"/>
    <dgm:cxn modelId="{DD3A0308-7B60-4C50-9B59-152B84D20A76}" type="presParOf" srcId="{4BBA043D-997D-4937-B625-CA44FB0DD982}" destId="{54821CED-91D2-4AA3-9032-A6CDB3AF175A}" srcOrd="1" destOrd="0" presId="urn:microsoft.com/office/officeart/2008/layout/AlternatingHexagons"/>
    <dgm:cxn modelId="{5FF2499E-8A58-48A9-8D94-5B1AA9A22371}" type="presParOf" srcId="{4BBA043D-997D-4937-B625-CA44FB0DD982}" destId="{A1C499C6-52C0-4965-AA15-1A7650FA6982}" srcOrd="2" destOrd="0" presId="urn:microsoft.com/office/officeart/2008/layout/AlternatingHexagons"/>
    <dgm:cxn modelId="{1A6FFEA4-F743-4A88-9EE7-9E3E19033AF1}" type="presParOf" srcId="{4BBA043D-997D-4937-B625-CA44FB0DD982}" destId="{D6AC7506-32F7-45C1-9D11-351853F4982D}" srcOrd="3" destOrd="0" presId="urn:microsoft.com/office/officeart/2008/layout/AlternatingHexagons"/>
    <dgm:cxn modelId="{D7DA0E1E-61C0-4688-85AE-F9207DFF0619}" type="presParOf" srcId="{4BBA043D-997D-4937-B625-CA44FB0DD982}" destId="{AD695B6D-7970-4DD8-8817-32E9A0F34198}" srcOrd="4" destOrd="0" presId="urn:microsoft.com/office/officeart/2008/layout/AlternatingHexagons"/>
    <dgm:cxn modelId="{D391651E-4474-4B75-A5B7-06D33C1C9F88}" type="presParOf" srcId="{7D4C8E59-418B-4F4A-BAF1-CE61C38471F9}" destId="{D6AA7024-32C8-43FE-9D79-22DE18CA24DF}" srcOrd="13" destOrd="0" presId="urn:microsoft.com/office/officeart/2008/layout/AlternatingHexagons"/>
    <dgm:cxn modelId="{62CA1999-A1A0-42A8-B3B8-C280C10E36CF}" type="presParOf" srcId="{7D4C8E59-418B-4F4A-BAF1-CE61C38471F9}" destId="{945970E2-7F03-4605-A541-A82B20834D1B}" srcOrd="14" destOrd="0" presId="urn:microsoft.com/office/officeart/2008/layout/AlternatingHexagons"/>
    <dgm:cxn modelId="{CB6E5916-EAA1-46EB-8CA2-45B8CE38E355}" type="presParOf" srcId="{945970E2-7F03-4605-A541-A82B20834D1B}" destId="{AE9EB8B5-4AAB-48E4-AFB1-0C40D7EAA661}" srcOrd="0" destOrd="0" presId="urn:microsoft.com/office/officeart/2008/layout/AlternatingHexagons"/>
    <dgm:cxn modelId="{246E0DC3-77CE-466E-AD7A-D04FFC64E7DB}" type="presParOf" srcId="{945970E2-7F03-4605-A541-A82B20834D1B}" destId="{D1FFC622-016A-4E43-97CB-CAC7B41E5854}" srcOrd="1" destOrd="0" presId="urn:microsoft.com/office/officeart/2008/layout/AlternatingHexagons"/>
    <dgm:cxn modelId="{E58F4AD2-E5BD-4397-AA5C-55EB5F2EF959}" type="presParOf" srcId="{945970E2-7F03-4605-A541-A82B20834D1B}" destId="{9EB90DE1-7F39-40DE-ACD1-C53980FFC16C}" srcOrd="2" destOrd="0" presId="urn:microsoft.com/office/officeart/2008/layout/AlternatingHexagons"/>
    <dgm:cxn modelId="{B17CCC5F-00D9-44D8-9A4D-6F1D3FED337E}" type="presParOf" srcId="{945970E2-7F03-4605-A541-A82B20834D1B}" destId="{2B2746A2-9D75-42ED-A010-E48C32D8E290}" srcOrd="3" destOrd="0" presId="urn:microsoft.com/office/officeart/2008/layout/AlternatingHexagons"/>
    <dgm:cxn modelId="{1C4EFE21-0702-4BFC-BC9A-A80AB5A5FCBC}" type="presParOf" srcId="{945970E2-7F03-4605-A541-A82B20834D1B}" destId="{DD451432-6326-414D-A561-0080C84941A3}" srcOrd="4" destOrd="0" presId="urn:microsoft.com/office/officeart/2008/layout/AlternatingHexagons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F72F978-046F-4AFE-B768-78A424EC0944}">
      <dsp:nvSpPr>
        <dsp:cNvPr id="0" name=""/>
        <dsp:cNvSpPr/>
      </dsp:nvSpPr>
      <dsp:spPr>
        <a:xfrm rot="5400000">
          <a:off x="4314011" y="57477"/>
          <a:ext cx="867332" cy="754579"/>
        </a:xfrm>
        <a:prstGeom prst="hexagon">
          <a:avLst>
            <a:gd name="adj" fmla="val 25000"/>
            <a:gd name="vf" fmla="val 115470"/>
          </a:avLst>
        </a:prstGeom>
        <a:solidFill>
          <a:schemeClr val="accent5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1100" i="1" kern="1200" dirty="0" err="1"/>
            <a:t>Grants</a:t>
          </a:r>
          <a:endParaRPr lang="en-US" sz="1100" kern="1200" dirty="0"/>
        </a:p>
      </dsp:txBody>
      <dsp:txXfrm rot="-5400000">
        <a:off x="4487976" y="136260"/>
        <a:ext cx="519401" cy="597014"/>
      </dsp:txXfrm>
    </dsp:sp>
    <dsp:sp modelId="{0743E3AA-0A5F-4A2F-8A41-D2E664520B8E}">
      <dsp:nvSpPr>
        <dsp:cNvPr id="0" name=""/>
        <dsp:cNvSpPr/>
      </dsp:nvSpPr>
      <dsp:spPr>
        <a:xfrm>
          <a:off x="5147865" y="174567"/>
          <a:ext cx="967943" cy="52039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30D302E-24CA-428A-82C4-85500B2151B6}">
      <dsp:nvSpPr>
        <dsp:cNvPr id="0" name=""/>
        <dsp:cNvSpPr/>
      </dsp:nvSpPr>
      <dsp:spPr>
        <a:xfrm rot="5400000">
          <a:off x="3499065" y="57477"/>
          <a:ext cx="867332" cy="754579"/>
        </a:xfrm>
        <a:prstGeom prst="hexagon">
          <a:avLst>
            <a:gd name="adj" fmla="val 25000"/>
            <a:gd name="vf" fmla="val 115470"/>
          </a:avLst>
        </a:prstGeom>
        <a:solidFill>
          <a:schemeClr val="accent3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600" kern="1200"/>
        </a:p>
      </dsp:txBody>
      <dsp:txXfrm rot="-5400000">
        <a:off x="3673030" y="136260"/>
        <a:ext cx="519401" cy="597014"/>
      </dsp:txXfrm>
    </dsp:sp>
    <dsp:sp modelId="{CCA4BF79-B5DE-46EC-9F07-45527DB64924}">
      <dsp:nvSpPr>
        <dsp:cNvPr id="0" name=""/>
        <dsp:cNvSpPr/>
      </dsp:nvSpPr>
      <dsp:spPr>
        <a:xfrm rot="5400000">
          <a:off x="3904977" y="793669"/>
          <a:ext cx="867332" cy="754579"/>
        </a:xfrm>
        <a:prstGeom prst="hexagon">
          <a:avLst>
            <a:gd name="adj" fmla="val 25000"/>
            <a:gd name="vf" fmla="val 115470"/>
          </a:avLst>
        </a:prstGeom>
        <a:solidFill>
          <a:schemeClr val="accent5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800" kern="1200" dirty="0"/>
            <a:t>Risk mitigation</a:t>
          </a:r>
          <a:endParaRPr lang="en-US" sz="800" kern="1200" dirty="0"/>
        </a:p>
      </dsp:txBody>
      <dsp:txXfrm rot="-5400000">
        <a:off x="4078942" y="872452"/>
        <a:ext cx="519401" cy="597014"/>
      </dsp:txXfrm>
    </dsp:sp>
    <dsp:sp modelId="{7AE97A09-5B06-40C2-9772-6D35E876E0F2}">
      <dsp:nvSpPr>
        <dsp:cNvPr id="0" name=""/>
        <dsp:cNvSpPr/>
      </dsp:nvSpPr>
      <dsp:spPr>
        <a:xfrm>
          <a:off x="2993410" y="910759"/>
          <a:ext cx="936719" cy="52039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1AC0AE5-F446-4499-A775-6D5C32E6EBEA}">
      <dsp:nvSpPr>
        <dsp:cNvPr id="0" name=""/>
        <dsp:cNvSpPr/>
      </dsp:nvSpPr>
      <dsp:spPr>
        <a:xfrm rot="5400000">
          <a:off x="4719923" y="793669"/>
          <a:ext cx="867332" cy="754579"/>
        </a:xfrm>
        <a:prstGeom prst="hexagon">
          <a:avLst>
            <a:gd name="adj" fmla="val 25000"/>
            <a:gd name="vf" fmla="val 115470"/>
          </a:avLst>
        </a:prstGeom>
        <a:solidFill>
          <a:schemeClr val="accent3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600" kern="1200"/>
        </a:p>
      </dsp:txBody>
      <dsp:txXfrm rot="-5400000">
        <a:off x="4893888" y="872452"/>
        <a:ext cx="519401" cy="597014"/>
      </dsp:txXfrm>
    </dsp:sp>
    <dsp:sp modelId="{19209DEF-5946-4973-91C0-19F2805B1E6B}">
      <dsp:nvSpPr>
        <dsp:cNvPr id="0" name=""/>
        <dsp:cNvSpPr/>
      </dsp:nvSpPr>
      <dsp:spPr>
        <a:xfrm rot="5400000">
          <a:off x="4314011" y="1529861"/>
          <a:ext cx="867332" cy="754579"/>
        </a:xfrm>
        <a:prstGeom prst="hexagon">
          <a:avLst>
            <a:gd name="adj" fmla="val 25000"/>
            <a:gd name="vf" fmla="val 115470"/>
          </a:avLst>
        </a:prstGeom>
        <a:solidFill>
          <a:schemeClr val="accent5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800" i="1" kern="1200" dirty="0" err="1"/>
            <a:t>Regulations</a:t>
          </a:r>
          <a:r>
            <a:rPr lang="da-DK" sz="800" i="1" kern="1200" dirty="0"/>
            <a:t> for </a:t>
          </a:r>
          <a:r>
            <a:rPr lang="da-DK" sz="800" i="1" kern="1200" dirty="0" err="1"/>
            <a:t>noise</a:t>
          </a:r>
          <a:r>
            <a:rPr lang="da-DK" sz="800" i="1" kern="1200" dirty="0"/>
            <a:t>, </a:t>
          </a:r>
          <a:r>
            <a:rPr lang="da-DK" sz="800" i="1" kern="1200" dirty="0" err="1"/>
            <a:t>optics</a:t>
          </a:r>
          <a:endParaRPr lang="en-US" sz="800" kern="1200" dirty="0"/>
        </a:p>
      </dsp:txBody>
      <dsp:txXfrm rot="-5400000">
        <a:off x="4487976" y="1608644"/>
        <a:ext cx="519401" cy="597014"/>
      </dsp:txXfrm>
    </dsp:sp>
    <dsp:sp modelId="{DE96624E-7214-4FD1-AD69-0DBBE9B74A20}">
      <dsp:nvSpPr>
        <dsp:cNvPr id="0" name=""/>
        <dsp:cNvSpPr/>
      </dsp:nvSpPr>
      <dsp:spPr>
        <a:xfrm>
          <a:off x="5147865" y="1646951"/>
          <a:ext cx="967943" cy="52039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0026A9C-A72D-4F16-8E62-5CDF95DE737D}">
      <dsp:nvSpPr>
        <dsp:cNvPr id="0" name=""/>
        <dsp:cNvSpPr/>
      </dsp:nvSpPr>
      <dsp:spPr>
        <a:xfrm rot="5400000">
          <a:off x="3499065" y="1529861"/>
          <a:ext cx="867332" cy="754579"/>
        </a:xfrm>
        <a:prstGeom prst="hexagon">
          <a:avLst>
            <a:gd name="adj" fmla="val 25000"/>
            <a:gd name="vf" fmla="val 115470"/>
          </a:avLst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a-DK" sz="3600" kern="1200"/>
        </a:p>
      </dsp:txBody>
      <dsp:txXfrm rot="-5400000">
        <a:off x="3673030" y="1608644"/>
        <a:ext cx="519401" cy="597014"/>
      </dsp:txXfrm>
    </dsp:sp>
    <dsp:sp modelId="{ADD3EC98-FBD6-4828-88AA-9EAB4A899048}">
      <dsp:nvSpPr>
        <dsp:cNvPr id="0" name=""/>
        <dsp:cNvSpPr/>
      </dsp:nvSpPr>
      <dsp:spPr>
        <a:xfrm rot="5400000">
          <a:off x="3072253" y="812969"/>
          <a:ext cx="867332" cy="756518"/>
        </a:xfrm>
        <a:prstGeom prst="hexagon">
          <a:avLst>
            <a:gd name="adj" fmla="val 25000"/>
            <a:gd name="vf" fmla="val 115470"/>
          </a:avLst>
        </a:prstGeom>
        <a:solidFill>
          <a:schemeClr val="accent5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i="1" kern="1200" dirty="0"/>
            <a:t>HP deployment target</a:t>
          </a:r>
        </a:p>
      </dsp:txBody>
      <dsp:txXfrm rot="-5400000">
        <a:off x="3245692" y="892883"/>
        <a:ext cx="520454" cy="596690"/>
      </dsp:txXfrm>
    </dsp:sp>
    <dsp:sp modelId="{54CD6BE5-3FC7-42F7-A7A9-183A9BE430E0}">
      <dsp:nvSpPr>
        <dsp:cNvPr id="0" name=""/>
        <dsp:cNvSpPr/>
      </dsp:nvSpPr>
      <dsp:spPr>
        <a:xfrm>
          <a:off x="2993410" y="2383144"/>
          <a:ext cx="936719" cy="52039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BC0E11E-66AF-435A-B703-EE65C51D1D04}">
      <dsp:nvSpPr>
        <dsp:cNvPr id="0" name=""/>
        <dsp:cNvSpPr/>
      </dsp:nvSpPr>
      <dsp:spPr>
        <a:xfrm rot="5400000">
          <a:off x="4719923" y="2266054"/>
          <a:ext cx="867332" cy="754579"/>
        </a:xfrm>
        <a:prstGeom prst="hexagon">
          <a:avLst>
            <a:gd name="adj" fmla="val 25000"/>
            <a:gd name="vf" fmla="val 115470"/>
          </a:avLst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a-DK" sz="3600" kern="1200"/>
        </a:p>
      </dsp:txBody>
      <dsp:txXfrm rot="-5400000">
        <a:off x="4893888" y="2344837"/>
        <a:ext cx="519401" cy="597014"/>
      </dsp:txXfrm>
    </dsp:sp>
    <dsp:sp modelId="{3ACF6E1D-9F4E-49C0-ACA0-00A30E69FC0D}">
      <dsp:nvSpPr>
        <dsp:cNvPr id="0" name=""/>
        <dsp:cNvSpPr/>
      </dsp:nvSpPr>
      <dsp:spPr>
        <a:xfrm rot="5400000">
          <a:off x="2668801" y="1534580"/>
          <a:ext cx="867332" cy="754579"/>
        </a:xfrm>
        <a:prstGeom prst="hexagon">
          <a:avLst>
            <a:gd name="adj" fmla="val 25000"/>
            <a:gd name="vf" fmla="val 115470"/>
          </a:avLst>
        </a:prstGeom>
        <a:solidFill>
          <a:schemeClr val="accent5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i="1" kern="1200" dirty="0"/>
            <a:t>DH staff training</a:t>
          </a:r>
        </a:p>
      </dsp:txBody>
      <dsp:txXfrm rot="-5400000">
        <a:off x="2842766" y="1613363"/>
        <a:ext cx="519401" cy="597014"/>
      </dsp:txXfrm>
    </dsp:sp>
    <dsp:sp modelId="{DA90BF5C-630C-4A4D-A5E7-C28171C2D77F}">
      <dsp:nvSpPr>
        <dsp:cNvPr id="0" name=""/>
        <dsp:cNvSpPr/>
      </dsp:nvSpPr>
      <dsp:spPr>
        <a:xfrm>
          <a:off x="5147865" y="3119336"/>
          <a:ext cx="967943" cy="52039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9169D05-1A65-4928-885F-3D6A4577654F}">
      <dsp:nvSpPr>
        <dsp:cNvPr id="0" name=""/>
        <dsp:cNvSpPr/>
      </dsp:nvSpPr>
      <dsp:spPr>
        <a:xfrm rot="5400000">
          <a:off x="3001948" y="2309186"/>
          <a:ext cx="867332" cy="754579"/>
        </a:xfrm>
        <a:prstGeom prst="hexagon">
          <a:avLst>
            <a:gd name="adj" fmla="val 25000"/>
            <a:gd name="vf" fmla="val 115470"/>
          </a:avLst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a-DK" sz="3600" kern="1200"/>
        </a:p>
      </dsp:txBody>
      <dsp:txXfrm rot="-5400000">
        <a:off x="3175913" y="2387969"/>
        <a:ext cx="519401" cy="597014"/>
      </dsp:txXfrm>
    </dsp:sp>
    <dsp:sp modelId="{3588A053-1CF0-49BA-B262-0B1DC41256DE}">
      <dsp:nvSpPr>
        <dsp:cNvPr id="0" name=""/>
        <dsp:cNvSpPr/>
      </dsp:nvSpPr>
      <dsp:spPr>
        <a:xfrm rot="5400000">
          <a:off x="3904977" y="2309186"/>
          <a:ext cx="867332" cy="754579"/>
        </a:xfrm>
        <a:prstGeom prst="hexagon">
          <a:avLst>
            <a:gd name="adj" fmla="val 25000"/>
            <a:gd name="vf" fmla="val 115470"/>
          </a:avLst>
        </a:prstGeom>
        <a:solidFill>
          <a:schemeClr val="accent5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i="1" kern="1200" dirty="0" err="1"/>
            <a:t>Campains</a:t>
          </a:r>
          <a:endParaRPr lang="en-US" sz="1100" i="1" kern="1200" dirty="0"/>
        </a:p>
      </dsp:txBody>
      <dsp:txXfrm rot="-5400000">
        <a:off x="4078942" y="2387969"/>
        <a:ext cx="519401" cy="597014"/>
      </dsp:txXfrm>
    </dsp:sp>
    <dsp:sp modelId="{C690E09E-BF3F-42D9-932D-0685B83485D0}">
      <dsp:nvSpPr>
        <dsp:cNvPr id="0" name=""/>
        <dsp:cNvSpPr/>
      </dsp:nvSpPr>
      <dsp:spPr>
        <a:xfrm>
          <a:off x="2993410" y="3855528"/>
          <a:ext cx="936719" cy="52039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37E7FA4-E3E2-4002-BED5-024A9CE28524}">
      <dsp:nvSpPr>
        <dsp:cNvPr id="0" name=""/>
        <dsp:cNvSpPr/>
      </dsp:nvSpPr>
      <dsp:spPr>
        <a:xfrm rot="5400000">
          <a:off x="4293827" y="3051944"/>
          <a:ext cx="867332" cy="754579"/>
        </a:xfrm>
        <a:prstGeom prst="hexagon">
          <a:avLst>
            <a:gd name="adj" fmla="val 25000"/>
            <a:gd name="vf" fmla="val 115470"/>
          </a:avLst>
        </a:prstGeom>
        <a:solidFill>
          <a:schemeClr val="accent3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a-DK" sz="3600" kern="1200"/>
        </a:p>
      </dsp:txBody>
      <dsp:txXfrm rot="-5400000">
        <a:off x="4467792" y="3130727"/>
        <a:ext cx="519401" cy="597014"/>
      </dsp:txXfrm>
    </dsp:sp>
    <dsp:sp modelId="{74266CAC-F40D-45A4-8D5E-4C2DDCE50132}">
      <dsp:nvSpPr>
        <dsp:cNvPr id="0" name=""/>
        <dsp:cNvSpPr/>
      </dsp:nvSpPr>
      <dsp:spPr>
        <a:xfrm rot="5400000">
          <a:off x="3449980" y="3089812"/>
          <a:ext cx="867332" cy="754579"/>
        </a:xfrm>
        <a:prstGeom prst="hexagon">
          <a:avLst>
            <a:gd name="adj" fmla="val 25000"/>
            <a:gd name="vf" fmla="val 115470"/>
          </a:avLst>
        </a:prstGeom>
        <a:solidFill>
          <a:schemeClr val="accent5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i="1" kern="1200" dirty="0"/>
            <a:t>Revision of decision making </a:t>
          </a:r>
          <a:r>
            <a:rPr lang="en-US" sz="600" i="1" kern="1200" dirty="0" err="1"/>
            <a:t>rulesconsumption</a:t>
          </a:r>
          <a:endParaRPr lang="en-US" sz="600" i="1" kern="1200" dirty="0"/>
        </a:p>
      </dsp:txBody>
      <dsp:txXfrm rot="-5400000">
        <a:off x="3623945" y="3168595"/>
        <a:ext cx="519401" cy="597014"/>
      </dsp:txXfrm>
    </dsp:sp>
    <dsp:sp modelId="{54821CED-91D2-4AA3-9032-A6CDB3AF175A}">
      <dsp:nvSpPr>
        <dsp:cNvPr id="0" name=""/>
        <dsp:cNvSpPr/>
      </dsp:nvSpPr>
      <dsp:spPr>
        <a:xfrm>
          <a:off x="5147865" y="4591720"/>
          <a:ext cx="967943" cy="52039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D695B6D-7970-4DD8-8817-32E9A0F34198}">
      <dsp:nvSpPr>
        <dsp:cNvPr id="0" name=""/>
        <dsp:cNvSpPr/>
      </dsp:nvSpPr>
      <dsp:spPr>
        <a:xfrm rot="5400000">
          <a:off x="5161351" y="1532541"/>
          <a:ext cx="867332" cy="754579"/>
        </a:xfrm>
        <a:prstGeom prst="hexagon">
          <a:avLst>
            <a:gd name="adj" fmla="val 25000"/>
            <a:gd name="vf" fmla="val 115470"/>
          </a:avLst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a-DK" sz="3600" kern="1200"/>
        </a:p>
      </dsp:txBody>
      <dsp:txXfrm rot="-5400000">
        <a:off x="5335316" y="1611324"/>
        <a:ext cx="519401" cy="597014"/>
      </dsp:txXfrm>
    </dsp:sp>
    <dsp:sp modelId="{AE9EB8B5-4AAB-48E4-AFB1-0C40D7EAA661}">
      <dsp:nvSpPr>
        <dsp:cNvPr id="0" name=""/>
        <dsp:cNvSpPr/>
      </dsp:nvSpPr>
      <dsp:spPr>
        <a:xfrm rot="5400000">
          <a:off x="2616502" y="3111859"/>
          <a:ext cx="867332" cy="754579"/>
        </a:xfrm>
        <a:prstGeom prst="hexagon">
          <a:avLst>
            <a:gd name="adj" fmla="val 25000"/>
            <a:gd name="vf" fmla="val 115470"/>
          </a:avLst>
        </a:prstGeom>
        <a:solidFill>
          <a:schemeClr val="accent5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i="1" kern="1200" dirty="0"/>
            <a:t>Electricity tariff reform</a:t>
          </a:r>
        </a:p>
      </dsp:txBody>
      <dsp:txXfrm rot="-5400000">
        <a:off x="2790467" y="3190642"/>
        <a:ext cx="519401" cy="597014"/>
      </dsp:txXfrm>
    </dsp:sp>
    <dsp:sp modelId="{D1FFC622-016A-4E43-97CB-CAC7B41E5854}">
      <dsp:nvSpPr>
        <dsp:cNvPr id="0" name=""/>
        <dsp:cNvSpPr/>
      </dsp:nvSpPr>
      <dsp:spPr>
        <a:xfrm>
          <a:off x="2993410" y="5327912"/>
          <a:ext cx="936719" cy="52039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D451432-6326-414D-A561-0080C84941A3}">
      <dsp:nvSpPr>
        <dsp:cNvPr id="0" name=""/>
        <dsp:cNvSpPr/>
      </dsp:nvSpPr>
      <dsp:spPr>
        <a:xfrm rot="5400000">
          <a:off x="3899039" y="3843793"/>
          <a:ext cx="867332" cy="754579"/>
        </a:xfrm>
        <a:prstGeom prst="hexagon">
          <a:avLst>
            <a:gd name="adj" fmla="val 25000"/>
            <a:gd name="vf" fmla="val 115470"/>
          </a:avLst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a-DK" sz="3600" kern="1200"/>
        </a:p>
      </dsp:txBody>
      <dsp:txXfrm rot="-5400000">
        <a:off x="4073004" y="3922576"/>
        <a:ext cx="519401" cy="59701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AlternatingHexagons">
  <dgm:title val=""/>
  <dgm:desc val=""/>
  <dgm:catLst>
    <dgm:cat type="list" pri="1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1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Name0">
    <dgm:varLst>
      <dgm:chMax/>
      <dgm:chPref/>
      <dgm:dir/>
      <dgm:animLvl val="lvl"/>
    </dgm:varLst>
    <dgm:alg type="lin">
      <dgm:param type="linDir" val="fromT"/>
    </dgm:alg>
    <dgm:shape xmlns:r="http://schemas.openxmlformats.org/officeDocument/2006/relationships" r:blip="">
      <dgm:adjLst/>
    </dgm:shape>
    <dgm:constrLst>
      <dgm:constr type="primFontSz" for="des" forName="Parent1" val="65"/>
      <dgm:constr type="primFontSz" for="des" forName="Childtext1" refType="primFontSz" refFor="des" refForName="Parent1" op="lte"/>
      <dgm:constr type="w" for="ch" forName="composite" refType="w"/>
      <dgm:constr type="h" for="ch" forName="composite" refType="h"/>
      <dgm:constr type="h" for="ch" forName="spaceBetweenRectangles" refType="w" refFor="ch" refForName="composite" fact="-0.042"/>
      <dgm:constr type="sp" refType="h" refFor="ch" refForName="composite" op="equ" fact="0.1"/>
    </dgm:constrLst>
    <dgm:forEach name="nodesForEach" axis="ch" ptType="node">
      <dgm:layoutNode name="composite">
        <dgm:alg type="composite">
          <dgm:param type="ar" val="3.6"/>
        </dgm:alg>
        <dgm:shape xmlns:r="http://schemas.openxmlformats.org/officeDocument/2006/relationships" r:blip="">
          <dgm:adjLst/>
        </dgm:shape>
        <dgm:choose name="Name1">
          <dgm:if name="Name2" func="var" arg="dir" op="equ" val="norm">
            <dgm:choose name="Name3">
              <dgm:if name="Name4" axis="self" ptType="node" func="posOdd" op="equ" val="1">
                <dgm:constrLst>
                  <dgm:constr type="l" for="ch" forName="Accent1" refType="w" fact="0.18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18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44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.69"/>
                  <dgm:constr type="t" for="ch" forName="Childtext1" refType="h" fact="0.2"/>
                  <dgm:constr type="w" for="ch" forName="Childtext1" refType="w" fact="0.31"/>
                  <dgm:constr type="h" for="ch" forName="Childtext1" refType="h" fact="0.6"/>
                  <dgm:constr type="l" for="ch" forName="BalanceSpacing" refType="w" fact="0"/>
                  <dgm:constr type="t" for="ch" forName="BalanceSpacing" refType="h" fact="0"/>
                  <dgm:constr type="w" for="ch" forName="BalanceSpacing" refType="w"/>
                  <dgm:constr type="h" for="ch" forName="BalanceSpacing" refType="h" fact="0.1"/>
                  <dgm:constr type="l" for="ch" forName="BalanceSpacing1" refType="w" fact="0.69"/>
                  <dgm:constr type="t" for="ch" forName="BalanceSpacing1" refType="h" fact="0.2"/>
                  <dgm:constr type="w" for="ch" forName="BalanceSpacing1" refType="w" fact="0.31"/>
                  <dgm:constr type="h" for="ch" forName="BalanceSpacing1" refType="h" fact="0.6"/>
                </dgm:constrLst>
              </dgm:if>
              <dgm:else name="Name5">
                <dgm:constrLst>
                  <dgm:constr type="l" for="ch" forName="Accent1" refType="w" fact="0.571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571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3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"/>
                  <dgm:constr type="t" for="ch" forName="Childtext1" refType="h" fact="0.2"/>
                  <dgm:constr type="w" for="ch" forName="Childtext1" refType="w" fact="0.3"/>
                  <dgm:constr type="h" for="ch" forName="Childtext1" refType="h" fact="0.6"/>
                  <dgm:constr type="l" for="ch" forName="BalanceSpacing" refType="w" fact="0.82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  <dgm:constr type="l" for="ch" forName="BalanceSpacing1" refType="w" fact="0"/>
                  <dgm:constr type="t" for="ch" forName="BalanceSpacing1" refType="h" fact="0.2"/>
                  <dgm:constr type="w" for="ch" forName="BalanceSpacing1" refType="w" fact="0.3"/>
                  <dgm:constr type="h" for="ch" forName="BalanceSpacing1" refType="h" fact="0.6"/>
                </dgm:constrLst>
              </dgm:else>
            </dgm:choose>
          </dgm:if>
          <dgm:else name="Name6">
            <dgm:choose name="Name7">
              <dgm:if name="Name8" axis="self" ptType="node" func="posOdd" op="equ" val="1">
                <dgm:constrLst>
                  <dgm:constr type="l" for="ch" forName="Accent1" refType="w" fact="0.571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571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3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"/>
                  <dgm:constr type="t" for="ch" forName="Childtext1" refType="h" fact="0.2"/>
                  <dgm:constr type="w" for="ch" forName="Childtext1" refType="w" fact="0.3"/>
                  <dgm:constr type="h" for="ch" forName="Childtext1" refType="h" fact="0.6"/>
                  <dgm:constr type="l" for="ch" forName="BalanceSpacing" refType="w" fact="0.82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</dgm:constrLst>
              </dgm:if>
              <dgm:else name="Name9">
                <dgm:constrLst>
                  <dgm:constr type="l" for="ch" forName="Accent1" refType="w" fact="0.18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18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44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.69"/>
                  <dgm:constr type="t" for="ch" forName="Childtext1" refType="h" fact="0.2"/>
                  <dgm:constr type="w" for="ch" forName="Childtext1" refType="w" fact="0.31"/>
                  <dgm:constr type="h" for="ch" forName="Childtext1" refType="h" fact="0.6"/>
                  <dgm:constr type="l" for="ch" forName="BalanceSpacing" refType="w" fact="0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</dgm:constrLst>
              </dgm:else>
            </dgm:choose>
          </dgm:else>
        </dgm:choose>
        <dgm:layoutNode name="Parent1" styleLbl="node1">
          <dgm:varLst>
            <dgm:chMax val="1"/>
            <dgm:chPref val="1"/>
            <dgm:bulletEnabled val="1"/>
          </dgm:varLst>
          <dgm:alg type="tx"/>
          <dgm:shape xmlns:r="http://schemas.openxmlformats.org/officeDocument/2006/relationships" rot="90" type="hexagon" r:blip="">
            <dgm:adjLst>
              <dgm:adj idx="1" val="0.25"/>
              <dgm:adj idx="2" val="1.1547"/>
            </dgm:adjLst>
          </dgm:shape>
          <dgm:presOf axis="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hildtext1" styleLbl="revTx">
          <dgm:varLst>
            <dgm:chMax val="0"/>
            <dgm:chPref val="0"/>
            <dgm:bulletEnabled val="1"/>
          </dgm:varLst>
          <dgm:choose name="Name10">
            <dgm:if name="Name11" func="var" arg="dir" op="equ" val="norm">
              <dgm:choose name="Name12">
                <dgm:if name="Name13" axis="self" ptType="node" func="posOdd" op="equ" val="1">
                  <dgm:alg type="tx">
                    <dgm:param type="parTxLTRAlign" val="l"/>
                  </dgm:alg>
                </dgm:if>
                <dgm:else name="Name14">
                  <dgm:alg type="tx">
                    <dgm:param type="parTxLTRAlign" val="r"/>
                  </dgm:alg>
                </dgm:else>
              </dgm:choose>
            </dgm:if>
            <dgm:else name="Name15">
              <dgm:choose name="Name16">
                <dgm:if name="Name17" axis="self" ptType="node" func="posOdd" op="equ" val="1">
                  <dgm:alg type="tx">
                    <dgm:param type="parTxLTRAlign" val="r"/>
                  </dgm:alg>
                </dgm:if>
                <dgm:else name="Name18">
                  <dgm:alg type="tx">
                    <dgm:param type="parTxLTRAlign" val="l"/>
                  </dgm:alg>
                </dgm:else>
              </dgm:choose>
            </dgm:else>
          </dgm:choose>
          <dgm:shape xmlns:r="http://schemas.openxmlformats.org/officeDocument/2006/relationships" type="rect" r:blip="">
            <dgm:adjLst/>
          </dgm:shape>
          <dgm:presOf axis="des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BalanceSpacing">
          <dgm:alg type="sp"/>
          <dgm:shape xmlns:r="http://schemas.openxmlformats.org/officeDocument/2006/relationships" r:blip="">
            <dgm:adjLst/>
          </dgm:shape>
        </dgm:layoutNode>
        <dgm:layoutNode name="BalanceSpacing1">
          <dgm:alg type="sp"/>
          <dgm:shape xmlns:r="http://schemas.openxmlformats.org/officeDocument/2006/relationships" r:blip="">
            <dgm:adjLst/>
          </dgm:shape>
        </dgm:layoutNode>
        <dgm:forEach name="Name19" axis="followSib" ptType="sibTrans" hideLastTrans="0" cnt="1">
          <dgm:layoutNode name="Accent1Text" styleLbl="node1">
            <dgm:alg type="tx"/>
            <dgm:shape xmlns:r="http://schemas.openxmlformats.org/officeDocument/2006/relationships" rot="90" type="hexagon" r:blip="">
              <dgm:adjLst>
                <dgm:adj idx="1" val="0.25"/>
                <dgm:adj idx="2" val="1.1547"/>
              </dgm:adjLst>
            </dgm:shape>
            <dgm:presOf axis="self" ptType="sibTrans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forEach>
      </dgm:layoutNode>
      <dgm:forEach name="Name2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412884C-B714-4DEF-9360-9095C79A5034}" type="datetimeFigureOut">
              <a:rPr lang="da-DK" smtClean="0"/>
              <a:t>19-04-2023</a:t>
            </a:fld>
            <a:endParaRPr lang="da-DK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a-DK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3895909-989E-46E9-BDF9-A472421A36D1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50677746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895909-989E-46E9-BDF9-A472421A36D1}" type="slidenum">
              <a:rPr lang="da-DK" smtClean="0"/>
              <a:t>1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2805868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895909-989E-46E9-BDF9-A472421A36D1}" type="slidenum">
              <a:rPr lang="da-DK" smtClean="0"/>
              <a:t>11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07989665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895909-989E-46E9-BDF9-A472421A36D1}" type="slidenum">
              <a:rPr lang="da-DK" smtClean="0"/>
              <a:t>12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47856698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895909-989E-46E9-BDF9-A472421A36D1}" type="slidenum">
              <a:rPr lang="da-DK" smtClean="0"/>
              <a:t>13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72714758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895909-989E-46E9-BDF9-A472421A36D1}" type="slidenum">
              <a:rPr lang="da-DK" smtClean="0"/>
              <a:t>14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41212395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  <a:p>
            <a:r>
              <a:rPr lang="is-IS" dirty="0"/>
              <a:t>https://balkangreenenergynews.com/renewables-get-increasing-role-in-district-heating-in-serbia/</a:t>
            </a:r>
          </a:p>
          <a:p>
            <a:r>
              <a:rPr lang="is-IS" dirty="0"/>
              <a:t>Nøgleord: energy efficiency, reducing irrational consuption, start using more renewables. </a:t>
            </a:r>
          </a:p>
          <a:p>
            <a:endParaRPr lang="is-IS" i="1" dirty="0"/>
          </a:p>
          <a:p>
            <a:r>
              <a:rPr lang="en-US" i="1" dirty="0"/>
              <a:t>introducing renewable energy sources for district heating systems, improving energy efficiency in district heating systems and improving regulatory framework at state and local level</a:t>
            </a:r>
            <a:endParaRPr lang="is-IS" i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t>1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951481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895909-989E-46E9-BDF9-A472421A36D1}" type="slidenum">
              <a:rPr lang="da-DK" smtClean="0"/>
              <a:t>3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3394020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895909-989E-46E9-BDF9-A472421A36D1}" type="slidenum">
              <a:rPr lang="da-DK" smtClean="0"/>
              <a:t>4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79003474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895909-989E-46E9-BDF9-A472421A36D1}" type="slidenum">
              <a:rPr lang="da-DK" smtClean="0"/>
              <a:t>5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21412798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895909-989E-46E9-BDF9-A472421A36D1}" type="slidenum">
              <a:rPr lang="da-DK" smtClean="0"/>
              <a:t>6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72431584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895909-989E-46E9-BDF9-A472421A36D1}" type="slidenum">
              <a:rPr lang="da-DK" smtClean="0"/>
              <a:t>7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82070861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895909-989E-46E9-BDF9-A472421A36D1}" type="slidenum">
              <a:rPr lang="da-DK" smtClean="0"/>
              <a:t>8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10571497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895909-989E-46E9-BDF9-A472421A36D1}" type="slidenum">
              <a:rPr lang="da-DK" smtClean="0"/>
              <a:t>9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83626194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895909-989E-46E9-BDF9-A472421A36D1}" type="slidenum">
              <a:rPr lang="da-DK" smtClean="0"/>
              <a:t>10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595157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image" Target="../media/image12.emf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14.png"/><Relationship Id="rId7" Type="http://schemas.openxmlformats.org/officeDocument/2006/relationships/image" Target="../media/image5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4.png"/><Relationship Id="rId11" Type="http://schemas.openxmlformats.org/officeDocument/2006/relationships/image" Target="../media/image20.png"/><Relationship Id="rId5" Type="http://schemas.openxmlformats.org/officeDocument/2006/relationships/image" Target="../media/image16.svg"/><Relationship Id="rId10" Type="http://schemas.openxmlformats.org/officeDocument/2006/relationships/image" Target="../media/image19.svg"/><Relationship Id="rId4" Type="http://schemas.openxmlformats.org/officeDocument/2006/relationships/image" Target="../media/image15.png"/><Relationship Id="rId9" Type="http://schemas.openxmlformats.org/officeDocument/2006/relationships/image" Target="../media/image18.png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4/19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511916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4/19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383006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4/19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01147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Image coll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aphic 4">
            <a:extLst>
              <a:ext uri="{FF2B5EF4-FFF2-40B4-BE49-F238E27FC236}">
                <a16:creationId xmlns:a16="http://schemas.microsoft.com/office/drawing/2014/main" id="{A2D4C4CC-2C2B-4E4A-BABE-191099A7DF52}"/>
              </a:ext>
            </a:extLst>
          </p:cNvPr>
          <p:cNvGrpSpPr/>
          <p:nvPr/>
        </p:nvGrpSpPr>
        <p:grpSpPr>
          <a:xfrm>
            <a:off x="10752600" y="6339508"/>
            <a:ext cx="1075757" cy="333967"/>
            <a:chOff x="10752600" y="6339508"/>
            <a:chExt cx="1075757" cy="333967"/>
          </a:xfrm>
          <a:solidFill>
            <a:srgbClr val="B70D18"/>
          </a:solidFill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71D26526-0348-41C0-8F96-4FFE4213BD27}"/>
                </a:ext>
              </a:extLst>
            </p:cNvPr>
            <p:cNvSpPr/>
            <p:nvPr/>
          </p:nvSpPr>
          <p:spPr>
            <a:xfrm>
              <a:off x="10752600" y="6494402"/>
              <a:ext cx="217421" cy="174789"/>
            </a:xfrm>
            <a:custGeom>
              <a:avLst/>
              <a:gdLst>
                <a:gd name="connsiteX0" fmla="*/ 0 w 217421"/>
                <a:gd name="connsiteY0" fmla="*/ 0 h 174789"/>
                <a:gd name="connsiteX1" fmla="*/ 0 w 217421"/>
                <a:gd name="connsiteY1" fmla="*/ 174790 h 174789"/>
                <a:gd name="connsiteX2" fmla="*/ 52579 w 217421"/>
                <a:gd name="connsiteY2" fmla="*/ 174790 h 174789"/>
                <a:gd name="connsiteX3" fmla="*/ 59684 w 217421"/>
                <a:gd name="connsiteY3" fmla="*/ 69632 h 174789"/>
                <a:gd name="connsiteX4" fmla="*/ 164842 w 217421"/>
                <a:gd name="connsiteY4" fmla="*/ 174790 h 174789"/>
                <a:gd name="connsiteX5" fmla="*/ 217421 w 217421"/>
                <a:gd name="connsiteY5" fmla="*/ 174790 h 174789"/>
                <a:gd name="connsiteX6" fmla="*/ 217421 w 217421"/>
                <a:gd name="connsiteY6" fmla="*/ 0 h 174789"/>
                <a:gd name="connsiteX7" fmla="*/ 162000 w 217421"/>
                <a:gd name="connsiteY7" fmla="*/ 0 h 174789"/>
                <a:gd name="connsiteX8" fmla="*/ 156316 w 217421"/>
                <a:gd name="connsiteY8" fmla="*/ 92369 h 174789"/>
                <a:gd name="connsiteX9" fmla="*/ 66789 w 217421"/>
                <a:gd name="connsiteY9" fmla="*/ 0 h 1747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7421" h="174789">
                  <a:moveTo>
                    <a:pt x="0" y="0"/>
                  </a:moveTo>
                  <a:lnTo>
                    <a:pt x="0" y="174790"/>
                  </a:lnTo>
                  <a:lnTo>
                    <a:pt x="52579" y="174790"/>
                  </a:lnTo>
                  <a:lnTo>
                    <a:pt x="59684" y="69632"/>
                  </a:lnTo>
                  <a:lnTo>
                    <a:pt x="164842" y="174790"/>
                  </a:lnTo>
                  <a:lnTo>
                    <a:pt x="217421" y="174790"/>
                  </a:lnTo>
                  <a:lnTo>
                    <a:pt x="217421" y="0"/>
                  </a:lnTo>
                  <a:lnTo>
                    <a:pt x="162000" y="0"/>
                  </a:lnTo>
                  <a:lnTo>
                    <a:pt x="156316" y="92369"/>
                  </a:lnTo>
                  <a:lnTo>
                    <a:pt x="66789" y="0"/>
                  </a:lnTo>
                  <a:close/>
                </a:path>
              </a:pathLst>
            </a:custGeom>
            <a:solidFill>
              <a:srgbClr val="B70D18"/>
            </a:solidFill>
            <a:ln w="1416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1806EF12-398C-4FA4-9EBB-F4BA09658974}"/>
                </a:ext>
              </a:extLst>
            </p:cNvPr>
            <p:cNvSpPr/>
            <p:nvPr/>
          </p:nvSpPr>
          <p:spPr>
            <a:xfrm>
              <a:off x="11021178" y="6494402"/>
              <a:ext cx="58263" cy="176210"/>
            </a:xfrm>
            <a:custGeom>
              <a:avLst/>
              <a:gdLst>
                <a:gd name="connsiteX0" fmla="*/ 0 w 58263"/>
                <a:gd name="connsiteY0" fmla="*/ 0 h 176210"/>
                <a:gd name="connsiteX1" fmla="*/ 58263 w 58263"/>
                <a:gd name="connsiteY1" fmla="*/ 0 h 176210"/>
                <a:gd name="connsiteX2" fmla="*/ 58263 w 58263"/>
                <a:gd name="connsiteY2" fmla="*/ 176211 h 176210"/>
                <a:gd name="connsiteX3" fmla="*/ 0 w 58263"/>
                <a:gd name="connsiteY3" fmla="*/ 176211 h 1762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263" h="176210">
                  <a:moveTo>
                    <a:pt x="0" y="0"/>
                  </a:moveTo>
                  <a:lnTo>
                    <a:pt x="58263" y="0"/>
                  </a:lnTo>
                  <a:lnTo>
                    <a:pt x="58263" y="176211"/>
                  </a:lnTo>
                  <a:lnTo>
                    <a:pt x="0" y="176211"/>
                  </a:lnTo>
                  <a:close/>
                </a:path>
              </a:pathLst>
            </a:custGeom>
            <a:solidFill>
              <a:srgbClr val="B70D18"/>
            </a:solidFill>
            <a:ln w="1416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grpSp>
          <p:nvGrpSpPr>
            <p:cNvPr id="9" name="Graphic 4">
              <a:extLst>
                <a:ext uri="{FF2B5EF4-FFF2-40B4-BE49-F238E27FC236}">
                  <a16:creationId xmlns:a16="http://schemas.microsoft.com/office/drawing/2014/main" id="{A2D4C4CC-2C2B-4E4A-BABE-191099A7DF52}"/>
                </a:ext>
              </a:extLst>
            </p:cNvPr>
            <p:cNvGrpSpPr/>
            <p:nvPr/>
          </p:nvGrpSpPr>
          <p:grpSpPr>
            <a:xfrm>
              <a:off x="11130600" y="6339508"/>
              <a:ext cx="697757" cy="333967"/>
              <a:chOff x="11130600" y="6339508"/>
              <a:chExt cx="697757" cy="333967"/>
            </a:xfrm>
            <a:solidFill>
              <a:srgbClr val="B70D18"/>
            </a:solidFill>
          </p:grpSpPr>
          <p:sp>
            <p:nvSpPr>
              <p:cNvPr id="10" name="Freeform: Shape 9">
                <a:extLst>
                  <a:ext uri="{FF2B5EF4-FFF2-40B4-BE49-F238E27FC236}">
                    <a16:creationId xmlns:a16="http://schemas.microsoft.com/office/drawing/2014/main" id="{78693BFF-818B-4A5E-928F-B07A728B5490}"/>
                  </a:ext>
                </a:extLst>
              </p:cNvPr>
              <p:cNvSpPr/>
              <p:nvPr/>
            </p:nvSpPr>
            <p:spPr>
              <a:xfrm>
                <a:off x="11130600" y="6490139"/>
                <a:ext cx="200489" cy="180473"/>
              </a:xfrm>
              <a:custGeom>
                <a:avLst/>
                <a:gdLst>
                  <a:gd name="connsiteX0" fmla="*/ 200368 w 200489"/>
                  <a:gd name="connsiteY0" fmla="*/ 55421 h 180473"/>
                  <a:gd name="connsiteX1" fmla="*/ 108000 w 200489"/>
                  <a:gd name="connsiteY1" fmla="*/ 0 h 180473"/>
                  <a:gd name="connsiteX2" fmla="*/ 0 w 200489"/>
                  <a:gd name="connsiteY2" fmla="*/ 2842 h 180473"/>
                  <a:gd name="connsiteX3" fmla="*/ 0 w 200489"/>
                  <a:gd name="connsiteY3" fmla="*/ 179053 h 180473"/>
                  <a:gd name="connsiteX4" fmla="*/ 52579 w 200489"/>
                  <a:gd name="connsiteY4" fmla="*/ 179053 h 180473"/>
                  <a:gd name="connsiteX5" fmla="*/ 61105 w 200489"/>
                  <a:gd name="connsiteY5" fmla="*/ 38368 h 180473"/>
                  <a:gd name="connsiteX6" fmla="*/ 96632 w 200489"/>
                  <a:gd name="connsiteY6" fmla="*/ 36947 h 180473"/>
                  <a:gd name="connsiteX7" fmla="*/ 136421 w 200489"/>
                  <a:gd name="connsiteY7" fmla="*/ 59684 h 180473"/>
                  <a:gd name="connsiteX8" fmla="*/ 81000 w 200489"/>
                  <a:gd name="connsiteY8" fmla="*/ 90947 h 180473"/>
                  <a:gd name="connsiteX9" fmla="*/ 81000 w 200489"/>
                  <a:gd name="connsiteY9" fmla="*/ 119369 h 180473"/>
                  <a:gd name="connsiteX10" fmla="*/ 137842 w 200489"/>
                  <a:gd name="connsiteY10" fmla="*/ 180474 h 180473"/>
                  <a:gd name="connsiteX11" fmla="*/ 198947 w 200489"/>
                  <a:gd name="connsiteY11" fmla="*/ 180474 h 180473"/>
                  <a:gd name="connsiteX12" fmla="*/ 153474 w 200489"/>
                  <a:gd name="connsiteY12" fmla="*/ 116526 h 180473"/>
                  <a:gd name="connsiteX13" fmla="*/ 200368 w 200489"/>
                  <a:gd name="connsiteY13" fmla="*/ 55421 h 1804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00489" h="180473">
                    <a:moveTo>
                      <a:pt x="200368" y="55421"/>
                    </a:moveTo>
                    <a:cubicBezTo>
                      <a:pt x="197526" y="9947"/>
                      <a:pt x="147789" y="1421"/>
                      <a:pt x="108000" y="0"/>
                    </a:cubicBezTo>
                    <a:cubicBezTo>
                      <a:pt x="75316" y="0"/>
                      <a:pt x="0" y="2842"/>
                      <a:pt x="0" y="2842"/>
                    </a:cubicBezTo>
                    <a:lnTo>
                      <a:pt x="0" y="179053"/>
                    </a:lnTo>
                    <a:lnTo>
                      <a:pt x="52579" y="179053"/>
                    </a:lnTo>
                    <a:lnTo>
                      <a:pt x="61105" y="38368"/>
                    </a:lnTo>
                    <a:cubicBezTo>
                      <a:pt x="61105" y="38368"/>
                      <a:pt x="82421" y="36947"/>
                      <a:pt x="96632" y="36947"/>
                    </a:cubicBezTo>
                    <a:cubicBezTo>
                      <a:pt x="119368" y="36947"/>
                      <a:pt x="135000" y="45474"/>
                      <a:pt x="136421" y="59684"/>
                    </a:cubicBezTo>
                    <a:cubicBezTo>
                      <a:pt x="137842" y="73895"/>
                      <a:pt x="132158" y="90947"/>
                      <a:pt x="81000" y="90947"/>
                    </a:cubicBezTo>
                    <a:lnTo>
                      <a:pt x="81000" y="119369"/>
                    </a:lnTo>
                    <a:lnTo>
                      <a:pt x="137842" y="180474"/>
                    </a:lnTo>
                    <a:lnTo>
                      <a:pt x="198947" y="180474"/>
                    </a:lnTo>
                    <a:lnTo>
                      <a:pt x="153474" y="116526"/>
                    </a:lnTo>
                    <a:cubicBezTo>
                      <a:pt x="154895" y="115105"/>
                      <a:pt x="203211" y="102316"/>
                      <a:pt x="200368" y="55421"/>
                    </a:cubicBezTo>
                  </a:path>
                </a:pathLst>
              </a:custGeom>
              <a:solidFill>
                <a:srgbClr val="B70D18"/>
              </a:solidFill>
              <a:ln w="1416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11" name="Freeform: Shape 10">
                <a:extLst>
                  <a:ext uri="{FF2B5EF4-FFF2-40B4-BE49-F238E27FC236}">
                    <a16:creationId xmlns:a16="http://schemas.microsoft.com/office/drawing/2014/main" id="{1B46F5E6-A5F0-4105-B4BA-6AEC5163ACC5}"/>
                  </a:ext>
                </a:extLst>
              </p:cNvPr>
              <p:cNvSpPr/>
              <p:nvPr/>
            </p:nvSpPr>
            <p:spPr>
              <a:xfrm>
                <a:off x="11357968" y="6471666"/>
                <a:ext cx="261473" cy="197526"/>
              </a:xfrm>
              <a:custGeom>
                <a:avLst/>
                <a:gdLst>
                  <a:gd name="connsiteX0" fmla="*/ 176211 w 261473"/>
                  <a:gd name="connsiteY0" fmla="*/ 22737 h 197526"/>
                  <a:gd name="connsiteX1" fmla="*/ 89526 w 261473"/>
                  <a:gd name="connsiteY1" fmla="*/ 22737 h 197526"/>
                  <a:gd name="connsiteX2" fmla="*/ 52579 w 261473"/>
                  <a:gd name="connsiteY2" fmla="*/ 92369 h 197526"/>
                  <a:gd name="connsiteX3" fmla="*/ 1421 w 261473"/>
                  <a:gd name="connsiteY3" fmla="*/ 0 h 197526"/>
                  <a:gd name="connsiteX4" fmla="*/ 0 w 261473"/>
                  <a:gd name="connsiteY4" fmla="*/ 0 h 197526"/>
                  <a:gd name="connsiteX5" fmla="*/ 0 w 261473"/>
                  <a:gd name="connsiteY5" fmla="*/ 75316 h 197526"/>
                  <a:gd name="connsiteX6" fmla="*/ 32684 w 261473"/>
                  <a:gd name="connsiteY6" fmla="*/ 135000 h 197526"/>
                  <a:gd name="connsiteX7" fmla="*/ 2842 w 261473"/>
                  <a:gd name="connsiteY7" fmla="*/ 197527 h 197526"/>
                  <a:gd name="connsiteX8" fmla="*/ 59684 w 261473"/>
                  <a:gd name="connsiteY8" fmla="*/ 197527 h 197526"/>
                  <a:gd name="connsiteX9" fmla="*/ 78158 w 261473"/>
                  <a:gd name="connsiteY9" fmla="*/ 163421 h 197526"/>
                  <a:gd name="connsiteX10" fmla="*/ 78158 w 261473"/>
                  <a:gd name="connsiteY10" fmla="*/ 163421 h 197526"/>
                  <a:gd name="connsiteX11" fmla="*/ 133579 w 261473"/>
                  <a:gd name="connsiteY11" fmla="*/ 173369 h 197526"/>
                  <a:gd name="connsiteX12" fmla="*/ 133579 w 261473"/>
                  <a:gd name="connsiteY12" fmla="*/ 123632 h 197526"/>
                  <a:gd name="connsiteX13" fmla="*/ 102316 w 261473"/>
                  <a:gd name="connsiteY13" fmla="*/ 117948 h 197526"/>
                  <a:gd name="connsiteX14" fmla="*/ 130737 w 261473"/>
                  <a:gd name="connsiteY14" fmla="*/ 66790 h 197526"/>
                  <a:gd name="connsiteX15" fmla="*/ 204632 w 261473"/>
                  <a:gd name="connsiteY15" fmla="*/ 197527 h 197526"/>
                  <a:gd name="connsiteX16" fmla="*/ 261474 w 261473"/>
                  <a:gd name="connsiteY16" fmla="*/ 197527 h 197526"/>
                  <a:gd name="connsiteX17" fmla="*/ 217421 w 261473"/>
                  <a:gd name="connsiteY17" fmla="*/ 105158 h 197526"/>
                  <a:gd name="connsiteX18" fmla="*/ 176211 w 261473"/>
                  <a:gd name="connsiteY18" fmla="*/ 22737 h 1975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61473" h="197526">
                    <a:moveTo>
                      <a:pt x="176211" y="22737"/>
                    </a:moveTo>
                    <a:lnTo>
                      <a:pt x="89526" y="22737"/>
                    </a:lnTo>
                    <a:cubicBezTo>
                      <a:pt x="89526" y="22737"/>
                      <a:pt x="81000" y="35526"/>
                      <a:pt x="52579" y="92369"/>
                    </a:cubicBezTo>
                    <a:cubicBezTo>
                      <a:pt x="14211" y="61105"/>
                      <a:pt x="4263" y="19895"/>
                      <a:pt x="1421" y="0"/>
                    </a:cubicBezTo>
                    <a:lnTo>
                      <a:pt x="0" y="0"/>
                    </a:lnTo>
                    <a:lnTo>
                      <a:pt x="0" y="75316"/>
                    </a:lnTo>
                    <a:cubicBezTo>
                      <a:pt x="0" y="75316"/>
                      <a:pt x="5684" y="108000"/>
                      <a:pt x="32684" y="135000"/>
                    </a:cubicBezTo>
                    <a:cubicBezTo>
                      <a:pt x="7105" y="187579"/>
                      <a:pt x="2842" y="197527"/>
                      <a:pt x="2842" y="197527"/>
                    </a:cubicBezTo>
                    <a:lnTo>
                      <a:pt x="59684" y="197527"/>
                    </a:lnTo>
                    <a:lnTo>
                      <a:pt x="78158" y="163421"/>
                    </a:lnTo>
                    <a:cubicBezTo>
                      <a:pt x="78158" y="163421"/>
                      <a:pt x="78158" y="163421"/>
                      <a:pt x="78158" y="163421"/>
                    </a:cubicBezTo>
                    <a:cubicBezTo>
                      <a:pt x="106579" y="173369"/>
                      <a:pt x="133579" y="173369"/>
                      <a:pt x="133579" y="173369"/>
                    </a:cubicBezTo>
                    <a:lnTo>
                      <a:pt x="133579" y="123632"/>
                    </a:lnTo>
                    <a:cubicBezTo>
                      <a:pt x="133579" y="123632"/>
                      <a:pt x="120789" y="123632"/>
                      <a:pt x="102316" y="117948"/>
                    </a:cubicBezTo>
                    <a:lnTo>
                      <a:pt x="130737" y="66790"/>
                    </a:lnTo>
                    <a:lnTo>
                      <a:pt x="204632" y="197527"/>
                    </a:lnTo>
                    <a:lnTo>
                      <a:pt x="261474" y="197527"/>
                    </a:lnTo>
                    <a:cubicBezTo>
                      <a:pt x="261474" y="197527"/>
                      <a:pt x="254368" y="180474"/>
                      <a:pt x="217421" y="105158"/>
                    </a:cubicBezTo>
                    <a:cubicBezTo>
                      <a:pt x="184737" y="35526"/>
                      <a:pt x="176211" y="22737"/>
                      <a:pt x="176211" y="22737"/>
                    </a:cubicBezTo>
                  </a:path>
                </a:pathLst>
              </a:custGeom>
              <a:solidFill>
                <a:srgbClr val="B70D18"/>
              </a:solidFill>
              <a:ln w="1416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12" name="Freeform: Shape 11">
                <a:extLst>
                  <a:ext uri="{FF2B5EF4-FFF2-40B4-BE49-F238E27FC236}">
                    <a16:creationId xmlns:a16="http://schemas.microsoft.com/office/drawing/2014/main" id="{CD2B355B-A69B-4385-9164-C01A9C7BD298}"/>
                  </a:ext>
                </a:extLst>
              </p:cNvPr>
              <p:cNvSpPr/>
              <p:nvPr/>
            </p:nvSpPr>
            <p:spPr>
              <a:xfrm>
                <a:off x="11636494" y="6485648"/>
                <a:ext cx="191863" cy="187826"/>
              </a:xfrm>
              <a:custGeom>
                <a:avLst/>
                <a:gdLst>
                  <a:gd name="connsiteX0" fmla="*/ 95211 w 191863"/>
                  <a:gd name="connsiteY0" fmla="*/ 69860 h 187826"/>
                  <a:gd name="connsiteX1" fmla="*/ 66789 w 191863"/>
                  <a:gd name="connsiteY1" fmla="*/ 55649 h 187826"/>
                  <a:gd name="connsiteX2" fmla="*/ 110842 w 191863"/>
                  <a:gd name="connsiteY2" fmla="*/ 40018 h 187826"/>
                  <a:gd name="connsiteX3" fmla="*/ 180474 w 191863"/>
                  <a:gd name="connsiteY3" fmla="*/ 45702 h 187826"/>
                  <a:gd name="connsiteX4" fmla="*/ 180474 w 191863"/>
                  <a:gd name="connsiteY4" fmla="*/ 4491 h 187826"/>
                  <a:gd name="connsiteX5" fmla="*/ 90947 w 191863"/>
                  <a:gd name="connsiteY5" fmla="*/ 228 h 187826"/>
                  <a:gd name="connsiteX6" fmla="*/ 0 w 191863"/>
                  <a:gd name="connsiteY6" fmla="*/ 59912 h 187826"/>
                  <a:gd name="connsiteX7" fmla="*/ 105158 w 191863"/>
                  <a:gd name="connsiteY7" fmla="*/ 119597 h 187826"/>
                  <a:gd name="connsiteX8" fmla="*/ 129316 w 191863"/>
                  <a:gd name="connsiteY8" fmla="*/ 130965 h 187826"/>
                  <a:gd name="connsiteX9" fmla="*/ 73895 w 191863"/>
                  <a:gd name="connsiteY9" fmla="*/ 146597 h 187826"/>
                  <a:gd name="connsiteX10" fmla="*/ 7105 w 191863"/>
                  <a:gd name="connsiteY10" fmla="*/ 138070 h 187826"/>
                  <a:gd name="connsiteX11" fmla="*/ 7105 w 191863"/>
                  <a:gd name="connsiteY11" fmla="*/ 182123 h 187826"/>
                  <a:gd name="connsiteX12" fmla="*/ 89526 w 191863"/>
                  <a:gd name="connsiteY12" fmla="*/ 187807 h 187826"/>
                  <a:gd name="connsiteX13" fmla="*/ 191842 w 191863"/>
                  <a:gd name="connsiteY13" fmla="*/ 128123 h 187826"/>
                  <a:gd name="connsiteX14" fmla="*/ 95211 w 191863"/>
                  <a:gd name="connsiteY14" fmla="*/ 69860 h 1878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91863" h="187826">
                    <a:moveTo>
                      <a:pt x="95211" y="69860"/>
                    </a:moveTo>
                    <a:cubicBezTo>
                      <a:pt x="76737" y="68439"/>
                      <a:pt x="66789" y="64176"/>
                      <a:pt x="66789" y="55649"/>
                    </a:cubicBezTo>
                    <a:cubicBezTo>
                      <a:pt x="66789" y="44281"/>
                      <a:pt x="81000" y="40018"/>
                      <a:pt x="110842" y="40018"/>
                    </a:cubicBezTo>
                    <a:cubicBezTo>
                      <a:pt x="140684" y="40018"/>
                      <a:pt x="180474" y="45702"/>
                      <a:pt x="180474" y="45702"/>
                    </a:cubicBezTo>
                    <a:lnTo>
                      <a:pt x="180474" y="4491"/>
                    </a:lnTo>
                    <a:cubicBezTo>
                      <a:pt x="180474" y="4491"/>
                      <a:pt x="135000" y="-1193"/>
                      <a:pt x="90947" y="228"/>
                    </a:cubicBezTo>
                    <a:cubicBezTo>
                      <a:pt x="75316" y="228"/>
                      <a:pt x="0" y="228"/>
                      <a:pt x="0" y="59912"/>
                    </a:cubicBezTo>
                    <a:cubicBezTo>
                      <a:pt x="0" y="116755"/>
                      <a:pt x="73895" y="118176"/>
                      <a:pt x="105158" y="119597"/>
                    </a:cubicBezTo>
                    <a:cubicBezTo>
                      <a:pt x="116526" y="119597"/>
                      <a:pt x="129316" y="122439"/>
                      <a:pt x="129316" y="130965"/>
                    </a:cubicBezTo>
                    <a:cubicBezTo>
                      <a:pt x="130737" y="143755"/>
                      <a:pt x="108000" y="146597"/>
                      <a:pt x="73895" y="146597"/>
                    </a:cubicBezTo>
                    <a:cubicBezTo>
                      <a:pt x="39789" y="146597"/>
                      <a:pt x="7105" y="138070"/>
                      <a:pt x="7105" y="138070"/>
                    </a:cubicBezTo>
                    <a:lnTo>
                      <a:pt x="7105" y="182123"/>
                    </a:lnTo>
                    <a:cubicBezTo>
                      <a:pt x="7105" y="182123"/>
                      <a:pt x="54000" y="187807"/>
                      <a:pt x="89526" y="187807"/>
                    </a:cubicBezTo>
                    <a:cubicBezTo>
                      <a:pt x="105158" y="187807"/>
                      <a:pt x="193263" y="190649"/>
                      <a:pt x="191842" y="128123"/>
                    </a:cubicBezTo>
                    <a:cubicBezTo>
                      <a:pt x="193263" y="64176"/>
                      <a:pt x="122211" y="71281"/>
                      <a:pt x="95211" y="69860"/>
                    </a:cubicBezTo>
                  </a:path>
                </a:pathLst>
              </a:custGeom>
              <a:solidFill>
                <a:srgbClr val="B70D18"/>
              </a:solidFill>
              <a:ln w="1416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13" name="Freeform: Shape 12">
                <a:extLst>
                  <a:ext uri="{FF2B5EF4-FFF2-40B4-BE49-F238E27FC236}">
                    <a16:creationId xmlns:a16="http://schemas.microsoft.com/office/drawing/2014/main" id="{0221DD12-4B4F-4911-85F2-7657655003F6}"/>
                  </a:ext>
                </a:extLst>
              </p:cNvPr>
              <p:cNvSpPr/>
              <p:nvPr/>
            </p:nvSpPr>
            <p:spPr>
              <a:xfrm>
                <a:off x="11392023" y="6339508"/>
                <a:ext cx="100945" cy="137842"/>
              </a:xfrm>
              <a:custGeom>
                <a:avLst/>
                <a:gdLst>
                  <a:gd name="connsiteX0" fmla="*/ 4314 w 100945"/>
                  <a:gd name="connsiteY0" fmla="*/ 137842 h 137842"/>
                  <a:gd name="connsiteX1" fmla="*/ 100945 w 100945"/>
                  <a:gd name="connsiteY1" fmla="*/ 55421 h 137842"/>
                  <a:gd name="connsiteX2" fmla="*/ 100945 w 100945"/>
                  <a:gd name="connsiteY2" fmla="*/ 0 h 137842"/>
                  <a:gd name="connsiteX3" fmla="*/ 51 w 100945"/>
                  <a:gd name="connsiteY3" fmla="*/ 109421 h 137842"/>
                  <a:gd name="connsiteX4" fmla="*/ 4314 w 100945"/>
                  <a:gd name="connsiteY4" fmla="*/ 137842 h 137842"/>
                  <a:gd name="connsiteX5" fmla="*/ 4314 w 100945"/>
                  <a:gd name="connsiteY5" fmla="*/ 137842 h 137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00945" h="137842">
                    <a:moveTo>
                      <a:pt x="4314" y="137842"/>
                    </a:moveTo>
                    <a:cubicBezTo>
                      <a:pt x="11419" y="99474"/>
                      <a:pt x="49787" y="56842"/>
                      <a:pt x="100945" y="55421"/>
                    </a:cubicBezTo>
                    <a:lnTo>
                      <a:pt x="100945" y="0"/>
                    </a:lnTo>
                    <a:cubicBezTo>
                      <a:pt x="27051" y="8526"/>
                      <a:pt x="-1370" y="72474"/>
                      <a:pt x="51" y="109421"/>
                    </a:cubicBezTo>
                    <a:cubicBezTo>
                      <a:pt x="51" y="119369"/>
                      <a:pt x="1472" y="129316"/>
                      <a:pt x="4314" y="137842"/>
                    </a:cubicBezTo>
                    <a:lnTo>
                      <a:pt x="4314" y="137842"/>
                    </a:lnTo>
                    <a:close/>
                  </a:path>
                </a:pathLst>
              </a:custGeom>
              <a:solidFill>
                <a:srgbClr val="B70D18"/>
              </a:solidFill>
              <a:ln w="1416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</p:grpSp>
      </p:grp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8EAF4C72-F900-4059-9C84-2813E8024B7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2899611" cy="192282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17" name="Picture Placeholder 14">
            <a:extLst>
              <a:ext uri="{FF2B5EF4-FFF2-40B4-BE49-F238E27FC236}">
                <a16:creationId xmlns:a16="http://schemas.microsoft.com/office/drawing/2014/main" id="{42F63370-8532-4D34-9446-E54D6CC8C191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097463" y="0"/>
            <a:ext cx="2899611" cy="192282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err="1"/>
              <a:t>Click</a:t>
            </a:r>
            <a:r>
              <a:rPr lang="da-DK" sz="1600"/>
              <a:t> to </a:t>
            </a:r>
            <a:r>
              <a:rPr lang="da-DK" sz="1600" err="1"/>
              <a:t>insert</a:t>
            </a:r>
            <a:r>
              <a:rPr lang="da-DK" sz="1600"/>
              <a:t> image</a:t>
            </a:r>
          </a:p>
          <a:p>
            <a:endParaRPr lang="da-DK" sz="1600"/>
          </a:p>
          <a:p>
            <a:endParaRPr lang="da-DK"/>
          </a:p>
        </p:txBody>
      </p:sp>
      <p:sp>
        <p:nvSpPr>
          <p:cNvPr id="18" name="Picture Placeholder 14">
            <a:extLst>
              <a:ext uri="{FF2B5EF4-FFF2-40B4-BE49-F238E27FC236}">
                <a16:creationId xmlns:a16="http://schemas.microsoft.com/office/drawing/2014/main" id="{171A715E-F61B-4612-B801-1A94422B829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9292389" y="0"/>
            <a:ext cx="2899611" cy="192282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err="1"/>
              <a:t>Click</a:t>
            </a:r>
            <a:r>
              <a:rPr lang="da-DK" sz="1600"/>
              <a:t> to </a:t>
            </a:r>
            <a:r>
              <a:rPr lang="da-DK" sz="1600" err="1"/>
              <a:t>insert</a:t>
            </a:r>
            <a:r>
              <a:rPr lang="da-DK" sz="1600"/>
              <a:t> image</a:t>
            </a:r>
          </a:p>
          <a:p>
            <a:endParaRPr lang="da-DK" sz="1600"/>
          </a:p>
          <a:p>
            <a:endParaRPr lang="da-DK"/>
          </a:p>
        </p:txBody>
      </p:sp>
      <p:sp>
        <p:nvSpPr>
          <p:cNvPr id="19" name="Picture Placeholder 14">
            <a:extLst>
              <a:ext uri="{FF2B5EF4-FFF2-40B4-BE49-F238E27FC236}">
                <a16:creationId xmlns:a16="http://schemas.microsoft.com/office/drawing/2014/main" id="{EB3AB690-E499-4D45-A7C5-BDF760163EA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194926" y="0"/>
            <a:ext cx="2899611" cy="192282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err="1"/>
              <a:t>Click</a:t>
            </a:r>
            <a:r>
              <a:rPr lang="da-DK" sz="1600"/>
              <a:t> to </a:t>
            </a:r>
            <a:r>
              <a:rPr lang="da-DK" sz="1600" err="1"/>
              <a:t>insert</a:t>
            </a:r>
            <a:r>
              <a:rPr lang="da-DK" sz="1600"/>
              <a:t> image</a:t>
            </a:r>
          </a:p>
          <a:p>
            <a:endParaRPr lang="da-DK" sz="1600"/>
          </a:p>
          <a:p>
            <a:endParaRPr lang="da-DK"/>
          </a:p>
        </p:txBody>
      </p:sp>
      <p:sp>
        <p:nvSpPr>
          <p:cNvPr id="20" name="Picture Placeholder 14">
            <a:extLst>
              <a:ext uri="{FF2B5EF4-FFF2-40B4-BE49-F238E27FC236}">
                <a16:creationId xmlns:a16="http://schemas.microsoft.com/office/drawing/2014/main" id="{0DC306A9-D475-4FEB-A51C-B49BDF16759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2120513"/>
            <a:ext cx="2899611" cy="192282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err="1"/>
              <a:t>Click</a:t>
            </a:r>
            <a:r>
              <a:rPr lang="da-DK" sz="1600"/>
              <a:t> to </a:t>
            </a:r>
            <a:r>
              <a:rPr lang="da-DK" sz="1600" err="1"/>
              <a:t>insert</a:t>
            </a:r>
            <a:r>
              <a:rPr lang="da-DK" sz="1600"/>
              <a:t> image</a:t>
            </a:r>
          </a:p>
          <a:p>
            <a:endParaRPr lang="da-DK" sz="1600"/>
          </a:p>
          <a:p>
            <a:endParaRPr lang="da-DK"/>
          </a:p>
        </p:txBody>
      </p:sp>
      <p:sp>
        <p:nvSpPr>
          <p:cNvPr id="21" name="Picture Placeholder 14">
            <a:extLst>
              <a:ext uri="{FF2B5EF4-FFF2-40B4-BE49-F238E27FC236}">
                <a16:creationId xmlns:a16="http://schemas.microsoft.com/office/drawing/2014/main" id="{B6329C3A-A9AF-419A-B247-3089AE0F22C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097463" y="2120513"/>
            <a:ext cx="2899611" cy="192282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err="1"/>
              <a:t>Click</a:t>
            </a:r>
            <a:r>
              <a:rPr lang="da-DK" sz="1600"/>
              <a:t> to </a:t>
            </a:r>
            <a:r>
              <a:rPr lang="da-DK" sz="1600" err="1"/>
              <a:t>insert</a:t>
            </a:r>
            <a:r>
              <a:rPr lang="da-DK" sz="1600"/>
              <a:t> image</a:t>
            </a:r>
          </a:p>
          <a:p>
            <a:endParaRPr lang="da-DK" sz="1600"/>
          </a:p>
          <a:p>
            <a:endParaRPr lang="da-DK"/>
          </a:p>
        </p:txBody>
      </p:sp>
      <p:sp>
        <p:nvSpPr>
          <p:cNvPr id="22" name="Picture Placeholder 14">
            <a:extLst>
              <a:ext uri="{FF2B5EF4-FFF2-40B4-BE49-F238E27FC236}">
                <a16:creationId xmlns:a16="http://schemas.microsoft.com/office/drawing/2014/main" id="{F11B47FB-3100-49F0-8967-F6148B9AA7B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292389" y="2120513"/>
            <a:ext cx="2899611" cy="192282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err="1"/>
              <a:t>Click</a:t>
            </a:r>
            <a:r>
              <a:rPr lang="da-DK" sz="1600"/>
              <a:t> to </a:t>
            </a:r>
            <a:r>
              <a:rPr lang="da-DK" sz="1600" err="1"/>
              <a:t>insert</a:t>
            </a:r>
            <a:r>
              <a:rPr lang="da-DK" sz="1600"/>
              <a:t> image</a:t>
            </a:r>
          </a:p>
          <a:p>
            <a:endParaRPr lang="da-DK" sz="1600"/>
          </a:p>
          <a:p>
            <a:endParaRPr lang="da-DK"/>
          </a:p>
        </p:txBody>
      </p:sp>
      <p:sp>
        <p:nvSpPr>
          <p:cNvPr id="23" name="Picture Placeholder 14">
            <a:extLst>
              <a:ext uri="{FF2B5EF4-FFF2-40B4-BE49-F238E27FC236}">
                <a16:creationId xmlns:a16="http://schemas.microsoft.com/office/drawing/2014/main" id="{E4CD6A19-31A7-4B97-967B-C1BACF39AE0D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194926" y="2120513"/>
            <a:ext cx="2899611" cy="192282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err="1"/>
              <a:t>Click</a:t>
            </a:r>
            <a:r>
              <a:rPr lang="da-DK" sz="1600"/>
              <a:t> to </a:t>
            </a:r>
            <a:r>
              <a:rPr lang="da-DK" sz="1600" err="1"/>
              <a:t>insert</a:t>
            </a:r>
            <a:r>
              <a:rPr lang="da-DK" sz="1600"/>
              <a:t> image</a:t>
            </a:r>
          </a:p>
          <a:p>
            <a:endParaRPr lang="da-DK" sz="1600"/>
          </a:p>
          <a:p>
            <a:endParaRPr lang="da-DK"/>
          </a:p>
        </p:txBody>
      </p:sp>
      <p:sp>
        <p:nvSpPr>
          <p:cNvPr id="24" name="Picture Placeholder 14">
            <a:extLst>
              <a:ext uri="{FF2B5EF4-FFF2-40B4-BE49-F238E27FC236}">
                <a16:creationId xmlns:a16="http://schemas.microsoft.com/office/drawing/2014/main" id="{FBF60AD9-F665-408B-A07D-3DA9848947EC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4241025"/>
            <a:ext cx="2899611" cy="192282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err="1"/>
              <a:t>Click</a:t>
            </a:r>
            <a:r>
              <a:rPr lang="da-DK" sz="1600"/>
              <a:t> to </a:t>
            </a:r>
            <a:r>
              <a:rPr lang="da-DK" sz="1600" err="1"/>
              <a:t>insert</a:t>
            </a:r>
            <a:r>
              <a:rPr lang="da-DK" sz="1600"/>
              <a:t> image</a:t>
            </a:r>
          </a:p>
          <a:p>
            <a:endParaRPr lang="da-DK" sz="1600"/>
          </a:p>
          <a:p>
            <a:endParaRPr lang="da-DK"/>
          </a:p>
        </p:txBody>
      </p:sp>
      <p:sp>
        <p:nvSpPr>
          <p:cNvPr id="25" name="Picture Placeholder 14">
            <a:extLst>
              <a:ext uri="{FF2B5EF4-FFF2-40B4-BE49-F238E27FC236}">
                <a16:creationId xmlns:a16="http://schemas.microsoft.com/office/drawing/2014/main" id="{DEA30BE2-219A-43AF-BF54-8195F9E3A878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097463" y="4241025"/>
            <a:ext cx="2899611" cy="192282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err="1"/>
              <a:t>Click</a:t>
            </a:r>
            <a:r>
              <a:rPr lang="da-DK" sz="1600"/>
              <a:t> to </a:t>
            </a:r>
            <a:r>
              <a:rPr lang="da-DK" sz="1600" err="1"/>
              <a:t>insert</a:t>
            </a:r>
            <a:r>
              <a:rPr lang="da-DK" sz="1600"/>
              <a:t> image</a:t>
            </a:r>
          </a:p>
          <a:p>
            <a:endParaRPr lang="da-DK" sz="1600"/>
          </a:p>
          <a:p>
            <a:endParaRPr lang="da-DK"/>
          </a:p>
        </p:txBody>
      </p:sp>
      <p:sp>
        <p:nvSpPr>
          <p:cNvPr id="26" name="Picture Placeholder 14">
            <a:extLst>
              <a:ext uri="{FF2B5EF4-FFF2-40B4-BE49-F238E27FC236}">
                <a16:creationId xmlns:a16="http://schemas.microsoft.com/office/drawing/2014/main" id="{85B17022-B96A-4BA4-B52D-1737627682A5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9292389" y="4241025"/>
            <a:ext cx="2899611" cy="192282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err="1"/>
              <a:t>Click</a:t>
            </a:r>
            <a:r>
              <a:rPr lang="da-DK" sz="1600"/>
              <a:t> to </a:t>
            </a:r>
            <a:r>
              <a:rPr lang="da-DK" sz="1600" err="1"/>
              <a:t>insert</a:t>
            </a:r>
            <a:r>
              <a:rPr lang="da-DK" sz="1600"/>
              <a:t> image</a:t>
            </a:r>
          </a:p>
          <a:p>
            <a:endParaRPr lang="da-DK" sz="1600"/>
          </a:p>
          <a:p>
            <a:endParaRPr lang="da-DK"/>
          </a:p>
        </p:txBody>
      </p:sp>
      <p:sp>
        <p:nvSpPr>
          <p:cNvPr id="27" name="Picture Placeholder 14">
            <a:extLst>
              <a:ext uri="{FF2B5EF4-FFF2-40B4-BE49-F238E27FC236}">
                <a16:creationId xmlns:a16="http://schemas.microsoft.com/office/drawing/2014/main" id="{3D74F5FE-7F34-46A1-8FEF-A8ADA2AC5B78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194926" y="4241025"/>
            <a:ext cx="2899611" cy="192282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err="1"/>
              <a:t>Click</a:t>
            </a:r>
            <a:r>
              <a:rPr lang="da-DK" sz="1600"/>
              <a:t> to </a:t>
            </a:r>
            <a:r>
              <a:rPr lang="da-DK" sz="1600" err="1"/>
              <a:t>insert</a:t>
            </a:r>
            <a:r>
              <a:rPr lang="da-DK" sz="1600"/>
              <a:t> image</a:t>
            </a:r>
          </a:p>
          <a:p>
            <a:endParaRPr lang="da-DK" sz="1600"/>
          </a:p>
          <a:p>
            <a:endParaRPr lang="da-DK"/>
          </a:p>
        </p:txBody>
      </p:sp>
      <p:sp>
        <p:nvSpPr>
          <p:cNvPr id="29" name="Slide Number Placeholder 5">
            <a:extLst>
              <a:ext uri="{FF2B5EF4-FFF2-40B4-BE49-F238E27FC236}">
                <a16:creationId xmlns:a16="http://schemas.microsoft.com/office/drawing/2014/main" id="{2178E2D9-12FA-44EB-9399-062F9145CF1E}"/>
              </a:ext>
            </a:extLst>
          </p:cNvPr>
          <p:cNvSpPr txBox="1">
            <a:spLocks/>
          </p:cNvSpPr>
          <p:nvPr/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da-DK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53988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pos="1825">
          <p15:clr>
            <a:srgbClr val="A4A3A4"/>
          </p15:clr>
        </p15:guide>
        <p15:guide id="12" pos="1950">
          <p15:clr>
            <a:srgbClr val="A4A3A4"/>
          </p15:clr>
        </p15:guide>
        <p15:guide id="13" pos="3775">
          <p15:clr>
            <a:srgbClr val="A4A3A4"/>
          </p15:clr>
        </p15:guide>
        <p15:guide id="14" pos="3902">
          <p15:clr>
            <a:srgbClr val="A4A3A4"/>
          </p15:clr>
        </p15:guide>
        <p15:guide id="15" pos="5728">
          <p15:clr>
            <a:srgbClr val="A4A3A4"/>
          </p15:clr>
        </p15:guide>
        <p15:guide id="16" pos="5852">
          <p15:clr>
            <a:srgbClr val="A4A3A4"/>
          </p15:clr>
        </p15:guide>
        <p15:guide id="17" orient="horz" pos="1335">
          <p15:clr>
            <a:srgbClr val="A4A3A4"/>
          </p15:clr>
        </p15:guide>
        <p15:guide id="18" orient="horz" pos="1210">
          <p15:clr>
            <a:srgbClr val="A4A3A4"/>
          </p15:clr>
        </p15:guide>
        <p15:guide id="19" orient="horz" pos="2546">
          <p15:clr>
            <a:srgbClr val="A4A3A4"/>
          </p15:clr>
        </p15:guide>
        <p15:guide id="20" orient="horz" pos="2671">
          <p15:clr>
            <a:srgbClr val="A4A3A4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ull image &amp; titl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FD8C2F4C-FD8E-4BC1-8470-ED613BBC34C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3200" cy="6857999"/>
          </a:xfrm>
          <a:prstGeom prst="rect">
            <a:avLst/>
          </a:prstGeom>
          <a:solidFill>
            <a:schemeClr val="accent6"/>
          </a:solidFill>
        </p:spPr>
        <p:txBody>
          <a:bodyPr lIns="0" tIns="900000" anchor="ctr" anchorCtr="0"/>
          <a:lstStyle>
            <a:lvl1pPr marL="0" indent="0" algn="ctr">
              <a:buNone/>
              <a:defRPr sz="16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Click and insert 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C263996-270B-49F6-AC9C-5FC3D40EF87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0000" y="1765041"/>
            <a:ext cx="10333037" cy="914151"/>
          </a:xfrm>
          <a:prstGeom prst="rect">
            <a:avLst/>
          </a:prstGeom>
        </p:spPr>
        <p:txBody>
          <a:bodyPr lIns="72000" tIns="36000" rIns="72000" bIns="36000" anchor="t"/>
          <a:lstStyle>
            <a:lvl1pPr algn="l">
              <a:defRPr sz="600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</a:lstStyle>
          <a:p>
            <a:pPr lvl="0"/>
            <a:r>
              <a:rPr lang="en-US"/>
              <a:t>Click to edit headlin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79446C3-1B3E-43F7-897B-450B7777A27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0000" y="2871743"/>
            <a:ext cx="5572062" cy="1655762"/>
          </a:xfrm>
          <a:prstGeom prst="rect">
            <a:avLst/>
          </a:prstGeom>
        </p:spPr>
        <p:txBody>
          <a:bodyPr lIns="72000" tIns="36000" rIns="72000" bIns="36000"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/>
              <a:t>Click to edit text</a:t>
            </a:r>
            <a:endParaRPr lang="da-DK"/>
          </a:p>
        </p:txBody>
      </p:sp>
      <p:sp>
        <p:nvSpPr>
          <p:cNvPr id="12" name="Logo on top">
            <a:extLst>
              <a:ext uri="{FF2B5EF4-FFF2-40B4-BE49-F238E27FC236}">
                <a16:creationId xmlns:a16="http://schemas.microsoft.com/office/drawing/2014/main" id="{65075359-2A7A-450A-9B61-C30CE49C3225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10753200" y="6339600"/>
            <a:ext cx="1080000" cy="340069"/>
          </a:xfrm>
          <a:custGeom>
            <a:avLst/>
            <a:gdLst>
              <a:gd name="connsiteX0" fmla="*/ 968375 w 3876676"/>
              <a:gd name="connsiteY0" fmla="*/ 557213 h 1212806"/>
              <a:gd name="connsiteX1" fmla="*/ 1176338 w 3876676"/>
              <a:gd name="connsiteY1" fmla="*/ 557213 h 1212806"/>
              <a:gd name="connsiteX2" fmla="*/ 1176338 w 3876676"/>
              <a:gd name="connsiteY2" fmla="*/ 1193801 h 1212806"/>
              <a:gd name="connsiteX3" fmla="*/ 968375 w 3876676"/>
              <a:gd name="connsiteY3" fmla="*/ 1193801 h 1212806"/>
              <a:gd name="connsiteX4" fmla="*/ 0 w 3876676"/>
              <a:gd name="connsiteY4" fmla="*/ 557213 h 1212806"/>
              <a:gd name="connsiteX5" fmla="*/ 239712 w 3876676"/>
              <a:gd name="connsiteY5" fmla="*/ 557213 h 1212806"/>
              <a:gd name="connsiteX6" fmla="*/ 561975 w 3876676"/>
              <a:gd name="connsiteY6" fmla="*/ 893763 h 1212806"/>
              <a:gd name="connsiteX7" fmla="*/ 581025 w 3876676"/>
              <a:gd name="connsiteY7" fmla="*/ 560388 h 1212806"/>
              <a:gd name="connsiteX8" fmla="*/ 782638 w 3876676"/>
              <a:gd name="connsiteY8" fmla="*/ 560388 h 1212806"/>
              <a:gd name="connsiteX9" fmla="*/ 782638 w 3876676"/>
              <a:gd name="connsiteY9" fmla="*/ 1193801 h 1212806"/>
              <a:gd name="connsiteX10" fmla="*/ 590550 w 3876676"/>
              <a:gd name="connsiteY10" fmla="*/ 1193801 h 1212806"/>
              <a:gd name="connsiteX11" fmla="*/ 214312 w 3876676"/>
              <a:gd name="connsiteY11" fmla="*/ 811213 h 1212806"/>
              <a:gd name="connsiteX12" fmla="*/ 192087 w 3876676"/>
              <a:gd name="connsiteY12" fmla="*/ 1193801 h 1212806"/>
              <a:gd name="connsiteX13" fmla="*/ 0 w 3876676"/>
              <a:gd name="connsiteY13" fmla="*/ 1193801 h 1212806"/>
              <a:gd name="connsiteX14" fmla="*/ 1748787 w 3876676"/>
              <a:gd name="connsiteY14" fmla="*/ 547727 h 1212806"/>
              <a:gd name="connsiteX15" fmla="*/ 2081150 w 3876676"/>
              <a:gd name="connsiteY15" fmla="*/ 743800 h 1212806"/>
              <a:gd name="connsiteX16" fmla="*/ 1918165 w 3876676"/>
              <a:gd name="connsiteY16" fmla="*/ 962372 h 1212806"/>
              <a:gd name="connsiteX17" fmla="*/ 2081150 w 3876676"/>
              <a:gd name="connsiteY17" fmla="*/ 1193801 h 1212806"/>
              <a:gd name="connsiteX18" fmla="*/ 1860640 w 3876676"/>
              <a:gd name="connsiteY18" fmla="*/ 1193801 h 1212806"/>
              <a:gd name="connsiteX19" fmla="*/ 1656109 w 3876676"/>
              <a:gd name="connsiteY19" fmla="*/ 972015 h 1212806"/>
              <a:gd name="connsiteX20" fmla="*/ 1656109 w 3876676"/>
              <a:gd name="connsiteY20" fmla="*/ 872371 h 1212806"/>
              <a:gd name="connsiteX21" fmla="*/ 1854249 w 3876676"/>
              <a:gd name="connsiteY21" fmla="*/ 756657 h 1212806"/>
              <a:gd name="connsiteX22" fmla="*/ 1710438 w 3876676"/>
              <a:gd name="connsiteY22" fmla="*/ 676299 h 1212806"/>
              <a:gd name="connsiteX23" fmla="*/ 1582606 w 3876676"/>
              <a:gd name="connsiteY23" fmla="*/ 682728 h 1212806"/>
              <a:gd name="connsiteX24" fmla="*/ 1550648 w 3876676"/>
              <a:gd name="connsiteY24" fmla="*/ 1193801 h 1212806"/>
              <a:gd name="connsiteX25" fmla="*/ 1358900 w 3876676"/>
              <a:gd name="connsiteY25" fmla="*/ 1193801 h 1212806"/>
              <a:gd name="connsiteX26" fmla="*/ 1358900 w 3876676"/>
              <a:gd name="connsiteY26" fmla="*/ 557370 h 1212806"/>
              <a:gd name="connsiteX27" fmla="*/ 1748787 w 3876676"/>
              <a:gd name="connsiteY27" fmla="*/ 547727 h 1212806"/>
              <a:gd name="connsiteX28" fmla="*/ 3505842 w 3876676"/>
              <a:gd name="connsiteY28" fmla="*/ 533444 h 1212806"/>
              <a:gd name="connsiteX29" fmla="*/ 3831920 w 3876676"/>
              <a:gd name="connsiteY29" fmla="*/ 549540 h 1212806"/>
              <a:gd name="connsiteX30" fmla="*/ 3831920 w 3876676"/>
              <a:gd name="connsiteY30" fmla="*/ 697618 h 1212806"/>
              <a:gd name="connsiteX31" fmla="*/ 3579369 w 3876676"/>
              <a:gd name="connsiteY31" fmla="*/ 675085 h 1212806"/>
              <a:gd name="connsiteX32" fmla="*/ 3419527 w 3876676"/>
              <a:gd name="connsiteY32" fmla="*/ 729809 h 1212806"/>
              <a:gd name="connsiteX33" fmla="*/ 3521826 w 3876676"/>
              <a:gd name="connsiteY33" fmla="*/ 778096 h 1212806"/>
              <a:gd name="connsiteX34" fmla="*/ 3876676 w 3876676"/>
              <a:gd name="connsiteY34" fmla="*/ 996994 h 1212806"/>
              <a:gd name="connsiteX35" fmla="*/ 3505842 w 3876676"/>
              <a:gd name="connsiteY35" fmla="*/ 1212674 h 1212806"/>
              <a:gd name="connsiteX36" fmla="*/ 3208535 w 3876676"/>
              <a:gd name="connsiteY36" fmla="*/ 1193359 h 1212806"/>
              <a:gd name="connsiteX37" fmla="*/ 3208535 w 3876676"/>
              <a:gd name="connsiteY37" fmla="*/ 1032404 h 1212806"/>
              <a:gd name="connsiteX38" fmla="*/ 3451495 w 3876676"/>
              <a:gd name="connsiteY38" fmla="*/ 1064595 h 1212806"/>
              <a:gd name="connsiteX39" fmla="*/ 3649700 w 3876676"/>
              <a:gd name="connsiteY39" fmla="*/ 1006652 h 1212806"/>
              <a:gd name="connsiteX40" fmla="*/ 3560188 w 3876676"/>
              <a:gd name="connsiteY40" fmla="*/ 964803 h 1212806"/>
              <a:gd name="connsiteX41" fmla="*/ 3179763 w 3876676"/>
              <a:gd name="connsiteY41" fmla="*/ 749124 h 1212806"/>
              <a:gd name="connsiteX42" fmla="*/ 3505842 w 3876676"/>
              <a:gd name="connsiteY42" fmla="*/ 533444 h 1212806"/>
              <a:gd name="connsiteX43" fmla="*/ 2179638 w 3876676"/>
              <a:gd name="connsiteY43" fmla="*/ 476250 h 1212806"/>
              <a:gd name="connsiteX44" fmla="*/ 2182834 w 3876676"/>
              <a:gd name="connsiteY44" fmla="*/ 476250 h 1212806"/>
              <a:gd name="connsiteX45" fmla="*/ 2368233 w 3876676"/>
              <a:gd name="connsiteY45" fmla="*/ 810892 h 1212806"/>
              <a:gd name="connsiteX46" fmla="*/ 2499290 w 3876676"/>
              <a:gd name="connsiteY46" fmla="*/ 556693 h 1212806"/>
              <a:gd name="connsiteX47" fmla="*/ 2812550 w 3876676"/>
              <a:gd name="connsiteY47" fmla="*/ 556693 h 1212806"/>
              <a:gd name="connsiteX48" fmla="*/ 2962787 w 3876676"/>
              <a:gd name="connsiteY48" fmla="*/ 855940 h 1212806"/>
              <a:gd name="connsiteX49" fmla="*/ 3122613 w 3876676"/>
              <a:gd name="connsiteY49" fmla="*/ 1193800 h 1212806"/>
              <a:gd name="connsiteX50" fmla="*/ 2918035 w 3876676"/>
              <a:gd name="connsiteY50" fmla="*/ 1193800 h 1212806"/>
              <a:gd name="connsiteX51" fmla="*/ 2652724 w 3876676"/>
              <a:gd name="connsiteY51" fmla="*/ 720796 h 1212806"/>
              <a:gd name="connsiteX52" fmla="*/ 2550435 w 3876676"/>
              <a:gd name="connsiteY52" fmla="*/ 907424 h 1212806"/>
              <a:gd name="connsiteX53" fmla="*/ 2662313 w 3876676"/>
              <a:gd name="connsiteY53" fmla="*/ 926730 h 1212806"/>
              <a:gd name="connsiteX54" fmla="*/ 2662313 w 3876676"/>
              <a:gd name="connsiteY54" fmla="*/ 1103704 h 1212806"/>
              <a:gd name="connsiteX55" fmla="*/ 2460932 w 3876676"/>
              <a:gd name="connsiteY55" fmla="*/ 1068309 h 1212806"/>
              <a:gd name="connsiteX56" fmla="*/ 2393805 w 3876676"/>
              <a:gd name="connsiteY56" fmla="*/ 1193800 h 1212806"/>
              <a:gd name="connsiteX57" fmla="*/ 2189227 w 3876676"/>
              <a:gd name="connsiteY57" fmla="*/ 1193800 h 1212806"/>
              <a:gd name="connsiteX58" fmla="*/ 2294713 w 3876676"/>
              <a:gd name="connsiteY58" fmla="*/ 965343 h 1212806"/>
              <a:gd name="connsiteX59" fmla="*/ 2179638 w 3876676"/>
              <a:gd name="connsiteY59" fmla="*/ 749756 h 1212806"/>
              <a:gd name="connsiteX60" fmla="*/ 2179638 w 3876676"/>
              <a:gd name="connsiteY60" fmla="*/ 476250 h 1212806"/>
              <a:gd name="connsiteX61" fmla="*/ 2665413 w 3876676"/>
              <a:gd name="connsiteY61" fmla="*/ 0 h 1212806"/>
              <a:gd name="connsiteX62" fmla="*/ 2665413 w 3876676"/>
              <a:gd name="connsiteY62" fmla="*/ 199390 h 1212806"/>
              <a:gd name="connsiteX63" fmla="*/ 2313126 w 3876676"/>
              <a:gd name="connsiteY63" fmla="*/ 498475 h 1212806"/>
              <a:gd name="connsiteX64" fmla="*/ 2300315 w 3876676"/>
              <a:gd name="connsiteY64" fmla="*/ 395564 h 1212806"/>
              <a:gd name="connsiteX65" fmla="*/ 2665413 w 3876676"/>
              <a:gd name="connsiteY65" fmla="*/ 0 h 12128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</a:cxnLst>
            <a:rect l="l" t="t" r="r" b="b"/>
            <a:pathLst>
              <a:path w="3876676" h="1212806">
                <a:moveTo>
                  <a:pt x="968375" y="557213"/>
                </a:moveTo>
                <a:lnTo>
                  <a:pt x="1176338" y="557213"/>
                </a:lnTo>
                <a:lnTo>
                  <a:pt x="1176338" y="1193801"/>
                </a:lnTo>
                <a:lnTo>
                  <a:pt x="968375" y="1193801"/>
                </a:lnTo>
                <a:close/>
                <a:moveTo>
                  <a:pt x="0" y="557213"/>
                </a:moveTo>
                <a:lnTo>
                  <a:pt x="239712" y="557213"/>
                </a:lnTo>
                <a:lnTo>
                  <a:pt x="561975" y="893763"/>
                </a:lnTo>
                <a:lnTo>
                  <a:pt x="581025" y="560388"/>
                </a:lnTo>
                <a:lnTo>
                  <a:pt x="782638" y="560388"/>
                </a:lnTo>
                <a:lnTo>
                  <a:pt x="782638" y="1193801"/>
                </a:lnTo>
                <a:lnTo>
                  <a:pt x="590550" y="1193801"/>
                </a:lnTo>
                <a:lnTo>
                  <a:pt x="214312" y="811213"/>
                </a:lnTo>
                <a:lnTo>
                  <a:pt x="192087" y="1193801"/>
                </a:lnTo>
                <a:lnTo>
                  <a:pt x="0" y="1193801"/>
                </a:lnTo>
                <a:close/>
                <a:moveTo>
                  <a:pt x="1748787" y="547727"/>
                </a:moveTo>
                <a:cubicBezTo>
                  <a:pt x="1892598" y="547727"/>
                  <a:pt x="2068367" y="583085"/>
                  <a:pt x="2081150" y="743800"/>
                </a:cubicBezTo>
                <a:cubicBezTo>
                  <a:pt x="2090738" y="917372"/>
                  <a:pt x="1918165" y="962372"/>
                  <a:pt x="1918165" y="962372"/>
                </a:cubicBezTo>
                <a:cubicBezTo>
                  <a:pt x="1918165" y="962372"/>
                  <a:pt x="1918165" y="962372"/>
                  <a:pt x="2081150" y="1193801"/>
                </a:cubicBezTo>
                <a:cubicBezTo>
                  <a:pt x="2081150" y="1193801"/>
                  <a:pt x="2081150" y="1193801"/>
                  <a:pt x="1860640" y="1193801"/>
                </a:cubicBezTo>
                <a:cubicBezTo>
                  <a:pt x="1860640" y="1193801"/>
                  <a:pt x="1860640" y="1193801"/>
                  <a:pt x="1656109" y="972015"/>
                </a:cubicBezTo>
                <a:cubicBezTo>
                  <a:pt x="1656109" y="972015"/>
                  <a:pt x="1656109" y="972015"/>
                  <a:pt x="1656109" y="872371"/>
                </a:cubicBezTo>
                <a:cubicBezTo>
                  <a:pt x="1838270" y="872371"/>
                  <a:pt x="1857444" y="811300"/>
                  <a:pt x="1854249" y="756657"/>
                </a:cubicBezTo>
                <a:cubicBezTo>
                  <a:pt x="1851053" y="705228"/>
                  <a:pt x="1790333" y="676299"/>
                  <a:pt x="1710438" y="676299"/>
                </a:cubicBezTo>
                <a:cubicBezTo>
                  <a:pt x="1659305" y="676299"/>
                  <a:pt x="1582606" y="682728"/>
                  <a:pt x="1582606" y="682728"/>
                </a:cubicBezTo>
                <a:cubicBezTo>
                  <a:pt x="1582606" y="682728"/>
                  <a:pt x="1582606" y="682728"/>
                  <a:pt x="1550648" y="1193801"/>
                </a:cubicBezTo>
                <a:cubicBezTo>
                  <a:pt x="1550648" y="1193801"/>
                  <a:pt x="1550648" y="1193801"/>
                  <a:pt x="1358900" y="1193801"/>
                </a:cubicBezTo>
                <a:cubicBezTo>
                  <a:pt x="1358900" y="1193801"/>
                  <a:pt x="1358900" y="1193801"/>
                  <a:pt x="1358900" y="557370"/>
                </a:cubicBezTo>
                <a:cubicBezTo>
                  <a:pt x="1358900" y="557370"/>
                  <a:pt x="1633738" y="544513"/>
                  <a:pt x="1748787" y="547727"/>
                </a:cubicBezTo>
                <a:close/>
                <a:moveTo>
                  <a:pt x="3505842" y="533444"/>
                </a:moveTo>
                <a:cubicBezTo>
                  <a:pt x="3668881" y="530225"/>
                  <a:pt x="3831920" y="549540"/>
                  <a:pt x="3831920" y="549540"/>
                </a:cubicBezTo>
                <a:cubicBezTo>
                  <a:pt x="3831920" y="549540"/>
                  <a:pt x="3831920" y="549540"/>
                  <a:pt x="3831920" y="697618"/>
                </a:cubicBezTo>
                <a:cubicBezTo>
                  <a:pt x="3831920" y="697618"/>
                  <a:pt x="3688062" y="675085"/>
                  <a:pt x="3579369" y="675085"/>
                </a:cubicBezTo>
                <a:cubicBezTo>
                  <a:pt x="3470676" y="675085"/>
                  <a:pt x="3416330" y="687961"/>
                  <a:pt x="3419527" y="729809"/>
                </a:cubicBezTo>
                <a:cubicBezTo>
                  <a:pt x="3419527" y="758781"/>
                  <a:pt x="3454692" y="774877"/>
                  <a:pt x="3521826" y="778096"/>
                </a:cubicBezTo>
                <a:cubicBezTo>
                  <a:pt x="3617731" y="784534"/>
                  <a:pt x="3876676" y="762000"/>
                  <a:pt x="3876676" y="996994"/>
                </a:cubicBezTo>
                <a:cubicBezTo>
                  <a:pt x="3876676" y="1225550"/>
                  <a:pt x="3566582" y="1212674"/>
                  <a:pt x="3505842" y="1212674"/>
                </a:cubicBezTo>
                <a:cubicBezTo>
                  <a:pt x="3377968" y="1212674"/>
                  <a:pt x="3208535" y="1193359"/>
                  <a:pt x="3208535" y="1193359"/>
                </a:cubicBezTo>
                <a:cubicBezTo>
                  <a:pt x="3208535" y="1193359"/>
                  <a:pt x="3208535" y="1193359"/>
                  <a:pt x="3208535" y="1032404"/>
                </a:cubicBezTo>
                <a:cubicBezTo>
                  <a:pt x="3208535" y="1032404"/>
                  <a:pt x="3326818" y="1064595"/>
                  <a:pt x="3451495" y="1064595"/>
                </a:cubicBezTo>
                <a:cubicBezTo>
                  <a:pt x="3576172" y="1064595"/>
                  <a:pt x="3656094" y="1054938"/>
                  <a:pt x="3649700" y="1006652"/>
                </a:cubicBezTo>
                <a:cubicBezTo>
                  <a:pt x="3646503" y="974461"/>
                  <a:pt x="3604944" y="964803"/>
                  <a:pt x="3560188" y="964803"/>
                </a:cubicBezTo>
                <a:cubicBezTo>
                  <a:pt x="3448299" y="964803"/>
                  <a:pt x="3182960" y="958365"/>
                  <a:pt x="3179763" y="749124"/>
                </a:cubicBezTo>
                <a:cubicBezTo>
                  <a:pt x="3179763" y="533444"/>
                  <a:pt x="3448299" y="536663"/>
                  <a:pt x="3505842" y="533444"/>
                </a:cubicBezTo>
                <a:close/>
                <a:moveTo>
                  <a:pt x="2179638" y="476250"/>
                </a:moveTo>
                <a:cubicBezTo>
                  <a:pt x="2179638" y="476250"/>
                  <a:pt x="2179638" y="476250"/>
                  <a:pt x="2182834" y="476250"/>
                </a:cubicBezTo>
                <a:cubicBezTo>
                  <a:pt x="2192424" y="547040"/>
                  <a:pt x="2230782" y="695055"/>
                  <a:pt x="2368233" y="810892"/>
                </a:cubicBezTo>
                <a:cubicBezTo>
                  <a:pt x="2467325" y="604959"/>
                  <a:pt x="2499290" y="556693"/>
                  <a:pt x="2499290" y="556693"/>
                </a:cubicBezTo>
                <a:cubicBezTo>
                  <a:pt x="2499290" y="556693"/>
                  <a:pt x="2499290" y="556693"/>
                  <a:pt x="2812550" y="556693"/>
                </a:cubicBezTo>
                <a:cubicBezTo>
                  <a:pt x="2812550" y="556693"/>
                  <a:pt x="2841319" y="604959"/>
                  <a:pt x="2962787" y="855940"/>
                </a:cubicBezTo>
                <a:cubicBezTo>
                  <a:pt x="3097041" y="1132664"/>
                  <a:pt x="3122613" y="1193800"/>
                  <a:pt x="3122613" y="1193800"/>
                </a:cubicBezTo>
                <a:cubicBezTo>
                  <a:pt x="3122613" y="1193800"/>
                  <a:pt x="3122613" y="1193800"/>
                  <a:pt x="2918035" y="1193800"/>
                </a:cubicBezTo>
                <a:cubicBezTo>
                  <a:pt x="2918035" y="1193800"/>
                  <a:pt x="2918035" y="1193800"/>
                  <a:pt x="2652724" y="720796"/>
                </a:cubicBezTo>
                <a:cubicBezTo>
                  <a:pt x="2652724" y="720796"/>
                  <a:pt x="2652724" y="720796"/>
                  <a:pt x="2550435" y="907424"/>
                </a:cubicBezTo>
                <a:cubicBezTo>
                  <a:pt x="2617562" y="929948"/>
                  <a:pt x="2662313" y="926730"/>
                  <a:pt x="2662313" y="926730"/>
                </a:cubicBezTo>
                <a:cubicBezTo>
                  <a:pt x="2662313" y="926730"/>
                  <a:pt x="2662313" y="926730"/>
                  <a:pt x="2662313" y="1103704"/>
                </a:cubicBezTo>
                <a:cubicBezTo>
                  <a:pt x="2662313" y="1103704"/>
                  <a:pt x="2563221" y="1106922"/>
                  <a:pt x="2460932" y="1068309"/>
                </a:cubicBezTo>
                <a:cubicBezTo>
                  <a:pt x="2460932" y="1068309"/>
                  <a:pt x="2460932" y="1068309"/>
                  <a:pt x="2393805" y="1193800"/>
                </a:cubicBezTo>
                <a:cubicBezTo>
                  <a:pt x="2393805" y="1193800"/>
                  <a:pt x="2393805" y="1193800"/>
                  <a:pt x="2189227" y="1193800"/>
                </a:cubicBezTo>
                <a:cubicBezTo>
                  <a:pt x="2189227" y="1193800"/>
                  <a:pt x="2205210" y="1155188"/>
                  <a:pt x="2294713" y="965343"/>
                </a:cubicBezTo>
                <a:cubicBezTo>
                  <a:pt x="2202013" y="865593"/>
                  <a:pt x="2179638" y="749756"/>
                  <a:pt x="2179638" y="749756"/>
                </a:cubicBezTo>
                <a:cubicBezTo>
                  <a:pt x="2179638" y="749756"/>
                  <a:pt x="2179638" y="749756"/>
                  <a:pt x="2179638" y="476250"/>
                </a:cubicBezTo>
                <a:close/>
                <a:moveTo>
                  <a:pt x="2665413" y="0"/>
                </a:moveTo>
                <a:cubicBezTo>
                  <a:pt x="2665413" y="0"/>
                  <a:pt x="2665413" y="0"/>
                  <a:pt x="2665413" y="199390"/>
                </a:cubicBezTo>
                <a:cubicBezTo>
                  <a:pt x="2476459" y="205822"/>
                  <a:pt x="2341949" y="356972"/>
                  <a:pt x="2313126" y="498475"/>
                </a:cubicBezTo>
                <a:cubicBezTo>
                  <a:pt x="2303518" y="466315"/>
                  <a:pt x="2300315" y="430940"/>
                  <a:pt x="2300315" y="395564"/>
                </a:cubicBezTo>
                <a:cubicBezTo>
                  <a:pt x="2297113" y="260493"/>
                  <a:pt x="2399596" y="32160"/>
                  <a:pt x="2665413" y="0"/>
                </a:cubicBezTo>
                <a:close/>
              </a:path>
            </a:pathLst>
          </a:custGeom>
          <a:solidFill>
            <a:srgbClr val="FFFFFF"/>
          </a:solidFill>
        </p:spPr>
        <p:txBody>
          <a:bodyPr lIns="0" tIns="0" rIns="0" bIns="0">
            <a:norm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14" name="White line">
            <a:extLst>
              <a:ext uri="{FF2B5EF4-FFF2-40B4-BE49-F238E27FC236}">
                <a16:creationId xmlns:a16="http://schemas.microsoft.com/office/drawing/2014/main" id="{107ED4AD-E914-48D0-8885-D4F41984010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 rot="5400000">
            <a:off x="1653150" y="1470467"/>
            <a:ext cx="90000" cy="252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15" name="White line">
            <a:extLst>
              <a:ext uri="{FF2B5EF4-FFF2-40B4-BE49-F238E27FC236}">
                <a16:creationId xmlns:a16="http://schemas.microsoft.com/office/drawing/2014/main" id="{C1A7A007-4677-42A8-9824-D5CAB828B47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 rot="5400000">
            <a:off x="10922999" y="-728609"/>
            <a:ext cx="18000" cy="252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C2353EBE-706E-4F26-8C7D-B11CBD9D831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800">
                <a:solidFill>
                  <a:schemeClr val="bg1"/>
                </a:solidFill>
                <a:latin typeface="+mn-lt"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8166106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ull imag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accent1"/>
          </a:solidFill>
        </p:spPr>
        <p:txBody>
          <a:bodyPr lIns="0" tIns="900000"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aseline="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Click and insert image</a:t>
            </a:r>
            <a:endParaRPr lang="en-US"/>
          </a:p>
        </p:txBody>
      </p:sp>
      <p:sp>
        <p:nvSpPr>
          <p:cNvPr id="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US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/>
          </a:p>
        </p:txBody>
      </p:sp>
      <p:sp>
        <p:nvSpPr>
          <p:cNvPr id="20" name="Logo on top">
            <a:extLst>
              <a:ext uri="{FF2B5EF4-FFF2-40B4-BE49-F238E27FC236}">
                <a16:creationId xmlns:a16="http://schemas.microsoft.com/office/drawing/2014/main" id="{E62EE4E3-C4C4-4FC3-A816-7A23933DD733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10753200" y="6339600"/>
            <a:ext cx="1080000" cy="340069"/>
          </a:xfrm>
          <a:custGeom>
            <a:avLst/>
            <a:gdLst>
              <a:gd name="connsiteX0" fmla="*/ 968375 w 3876676"/>
              <a:gd name="connsiteY0" fmla="*/ 557213 h 1212806"/>
              <a:gd name="connsiteX1" fmla="*/ 1176338 w 3876676"/>
              <a:gd name="connsiteY1" fmla="*/ 557213 h 1212806"/>
              <a:gd name="connsiteX2" fmla="*/ 1176338 w 3876676"/>
              <a:gd name="connsiteY2" fmla="*/ 1193801 h 1212806"/>
              <a:gd name="connsiteX3" fmla="*/ 968375 w 3876676"/>
              <a:gd name="connsiteY3" fmla="*/ 1193801 h 1212806"/>
              <a:gd name="connsiteX4" fmla="*/ 0 w 3876676"/>
              <a:gd name="connsiteY4" fmla="*/ 557213 h 1212806"/>
              <a:gd name="connsiteX5" fmla="*/ 239712 w 3876676"/>
              <a:gd name="connsiteY5" fmla="*/ 557213 h 1212806"/>
              <a:gd name="connsiteX6" fmla="*/ 561975 w 3876676"/>
              <a:gd name="connsiteY6" fmla="*/ 893763 h 1212806"/>
              <a:gd name="connsiteX7" fmla="*/ 581025 w 3876676"/>
              <a:gd name="connsiteY7" fmla="*/ 560388 h 1212806"/>
              <a:gd name="connsiteX8" fmla="*/ 782638 w 3876676"/>
              <a:gd name="connsiteY8" fmla="*/ 560388 h 1212806"/>
              <a:gd name="connsiteX9" fmla="*/ 782638 w 3876676"/>
              <a:gd name="connsiteY9" fmla="*/ 1193801 h 1212806"/>
              <a:gd name="connsiteX10" fmla="*/ 590550 w 3876676"/>
              <a:gd name="connsiteY10" fmla="*/ 1193801 h 1212806"/>
              <a:gd name="connsiteX11" fmla="*/ 214312 w 3876676"/>
              <a:gd name="connsiteY11" fmla="*/ 811213 h 1212806"/>
              <a:gd name="connsiteX12" fmla="*/ 192087 w 3876676"/>
              <a:gd name="connsiteY12" fmla="*/ 1193801 h 1212806"/>
              <a:gd name="connsiteX13" fmla="*/ 0 w 3876676"/>
              <a:gd name="connsiteY13" fmla="*/ 1193801 h 1212806"/>
              <a:gd name="connsiteX14" fmla="*/ 1748787 w 3876676"/>
              <a:gd name="connsiteY14" fmla="*/ 547727 h 1212806"/>
              <a:gd name="connsiteX15" fmla="*/ 2081150 w 3876676"/>
              <a:gd name="connsiteY15" fmla="*/ 743800 h 1212806"/>
              <a:gd name="connsiteX16" fmla="*/ 1918165 w 3876676"/>
              <a:gd name="connsiteY16" fmla="*/ 962372 h 1212806"/>
              <a:gd name="connsiteX17" fmla="*/ 2081150 w 3876676"/>
              <a:gd name="connsiteY17" fmla="*/ 1193801 h 1212806"/>
              <a:gd name="connsiteX18" fmla="*/ 1860640 w 3876676"/>
              <a:gd name="connsiteY18" fmla="*/ 1193801 h 1212806"/>
              <a:gd name="connsiteX19" fmla="*/ 1656109 w 3876676"/>
              <a:gd name="connsiteY19" fmla="*/ 972015 h 1212806"/>
              <a:gd name="connsiteX20" fmla="*/ 1656109 w 3876676"/>
              <a:gd name="connsiteY20" fmla="*/ 872371 h 1212806"/>
              <a:gd name="connsiteX21" fmla="*/ 1854249 w 3876676"/>
              <a:gd name="connsiteY21" fmla="*/ 756657 h 1212806"/>
              <a:gd name="connsiteX22" fmla="*/ 1710438 w 3876676"/>
              <a:gd name="connsiteY22" fmla="*/ 676299 h 1212806"/>
              <a:gd name="connsiteX23" fmla="*/ 1582606 w 3876676"/>
              <a:gd name="connsiteY23" fmla="*/ 682728 h 1212806"/>
              <a:gd name="connsiteX24" fmla="*/ 1550648 w 3876676"/>
              <a:gd name="connsiteY24" fmla="*/ 1193801 h 1212806"/>
              <a:gd name="connsiteX25" fmla="*/ 1358900 w 3876676"/>
              <a:gd name="connsiteY25" fmla="*/ 1193801 h 1212806"/>
              <a:gd name="connsiteX26" fmla="*/ 1358900 w 3876676"/>
              <a:gd name="connsiteY26" fmla="*/ 557370 h 1212806"/>
              <a:gd name="connsiteX27" fmla="*/ 1748787 w 3876676"/>
              <a:gd name="connsiteY27" fmla="*/ 547727 h 1212806"/>
              <a:gd name="connsiteX28" fmla="*/ 3505842 w 3876676"/>
              <a:gd name="connsiteY28" fmla="*/ 533444 h 1212806"/>
              <a:gd name="connsiteX29" fmla="*/ 3831920 w 3876676"/>
              <a:gd name="connsiteY29" fmla="*/ 549540 h 1212806"/>
              <a:gd name="connsiteX30" fmla="*/ 3831920 w 3876676"/>
              <a:gd name="connsiteY30" fmla="*/ 697618 h 1212806"/>
              <a:gd name="connsiteX31" fmla="*/ 3579369 w 3876676"/>
              <a:gd name="connsiteY31" fmla="*/ 675085 h 1212806"/>
              <a:gd name="connsiteX32" fmla="*/ 3419527 w 3876676"/>
              <a:gd name="connsiteY32" fmla="*/ 729809 h 1212806"/>
              <a:gd name="connsiteX33" fmla="*/ 3521826 w 3876676"/>
              <a:gd name="connsiteY33" fmla="*/ 778096 h 1212806"/>
              <a:gd name="connsiteX34" fmla="*/ 3876676 w 3876676"/>
              <a:gd name="connsiteY34" fmla="*/ 996994 h 1212806"/>
              <a:gd name="connsiteX35" fmla="*/ 3505842 w 3876676"/>
              <a:gd name="connsiteY35" fmla="*/ 1212674 h 1212806"/>
              <a:gd name="connsiteX36" fmla="*/ 3208535 w 3876676"/>
              <a:gd name="connsiteY36" fmla="*/ 1193359 h 1212806"/>
              <a:gd name="connsiteX37" fmla="*/ 3208535 w 3876676"/>
              <a:gd name="connsiteY37" fmla="*/ 1032404 h 1212806"/>
              <a:gd name="connsiteX38" fmla="*/ 3451495 w 3876676"/>
              <a:gd name="connsiteY38" fmla="*/ 1064595 h 1212806"/>
              <a:gd name="connsiteX39" fmla="*/ 3649700 w 3876676"/>
              <a:gd name="connsiteY39" fmla="*/ 1006652 h 1212806"/>
              <a:gd name="connsiteX40" fmla="*/ 3560188 w 3876676"/>
              <a:gd name="connsiteY40" fmla="*/ 964803 h 1212806"/>
              <a:gd name="connsiteX41" fmla="*/ 3179763 w 3876676"/>
              <a:gd name="connsiteY41" fmla="*/ 749124 h 1212806"/>
              <a:gd name="connsiteX42" fmla="*/ 3505842 w 3876676"/>
              <a:gd name="connsiteY42" fmla="*/ 533444 h 1212806"/>
              <a:gd name="connsiteX43" fmla="*/ 2179638 w 3876676"/>
              <a:gd name="connsiteY43" fmla="*/ 476250 h 1212806"/>
              <a:gd name="connsiteX44" fmla="*/ 2182834 w 3876676"/>
              <a:gd name="connsiteY44" fmla="*/ 476250 h 1212806"/>
              <a:gd name="connsiteX45" fmla="*/ 2368233 w 3876676"/>
              <a:gd name="connsiteY45" fmla="*/ 810892 h 1212806"/>
              <a:gd name="connsiteX46" fmla="*/ 2499290 w 3876676"/>
              <a:gd name="connsiteY46" fmla="*/ 556693 h 1212806"/>
              <a:gd name="connsiteX47" fmla="*/ 2812550 w 3876676"/>
              <a:gd name="connsiteY47" fmla="*/ 556693 h 1212806"/>
              <a:gd name="connsiteX48" fmla="*/ 2962787 w 3876676"/>
              <a:gd name="connsiteY48" fmla="*/ 855940 h 1212806"/>
              <a:gd name="connsiteX49" fmla="*/ 3122613 w 3876676"/>
              <a:gd name="connsiteY49" fmla="*/ 1193800 h 1212806"/>
              <a:gd name="connsiteX50" fmla="*/ 2918035 w 3876676"/>
              <a:gd name="connsiteY50" fmla="*/ 1193800 h 1212806"/>
              <a:gd name="connsiteX51" fmla="*/ 2652724 w 3876676"/>
              <a:gd name="connsiteY51" fmla="*/ 720796 h 1212806"/>
              <a:gd name="connsiteX52" fmla="*/ 2550435 w 3876676"/>
              <a:gd name="connsiteY52" fmla="*/ 907424 h 1212806"/>
              <a:gd name="connsiteX53" fmla="*/ 2662313 w 3876676"/>
              <a:gd name="connsiteY53" fmla="*/ 926730 h 1212806"/>
              <a:gd name="connsiteX54" fmla="*/ 2662313 w 3876676"/>
              <a:gd name="connsiteY54" fmla="*/ 1103704 h 1212806"/>
              <a:gd name="connsiteX55" fmla="*/ 2460932 w 3876676"/>
              <a:gd name="connsiteY55" fmla="*/ 1068309 h 1212806"/>
              <a:gd name="connsiteX56" fmla="*/ 2393805 w 3876676"/>
              <a:gd name="connsiteY56" fmla="*/ 1193800 h 1212806"/>
              <a:gd name="connsiteX57" fmla="*/ 2189227 w 3876676"/>
              <a:gd name="connsiteY57" fmla="*/ 1193800 h 1212806"/>
              <a:gd name="connsiteX58" fmla="*/ 2294713 w 3876676"/>
              <a:gd name="connsiteY58" fmla="*/ 965343 h 1212806"/>
              <a:gd name="connsiteX59" fmla="*/ 2179638 w 3876676"/>
              <a:gd name="connsiteY59" fmla="*/ 749756 h 1212806"/>
              <a:gd name="connsiteX60" fmla="*/ 2179638 w 3876676"/>
              <a:gd name="connsiteY60" fmla="*/ 476250 h 1212806"/>
              <a:gd name="connsiteX61" fmla="*/ 2665413 w 3876676"/>
              <a:gd name="connsiteY61" fmla="*/ 0 h 1212806"/>
              <a:gd name="connsiteX62" fmla="*/ 2665413 w 3876676"/>
              <a:gd name="connsiteY62" fmla="*/ 199390 h 1212806"/>
              <a:gd name="connsiteX63" fmla="*/ 2313126 w 3876676"/>
              <a:gd name="connsiteY63" fmla="*/ 498475 h 1212806"/>
              <a:gd name="connsiteX64" fmla="*/ 2300315 w 3876676"/>
              <a:gd name="connsiteY64" fmla="*/ 395564 h 1212806"/>
              <a:gd name="connsiteX65" fmla="*/ 2665413 w 3876676"/>
              <a:gd name="connsiteY65" fmla="*/ 0 h 12128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</a:cxnLst>
            <a:rect l="l" t="t" r="r" b="b"/>
            <a:pathLst>
              <a:path w="3876676" h="1212806">
                <a:moveTo>
                  <a:pt x="968375" y="557213"/>
                </a:moveTo>
                <a:lnTo>
                  <a:pt x="1176338" y="557213"/>
                </a:lnTo>
                <a:lnTo>
                  <a:pt x="1176338" y="1193801"/>
                </a:lnTo>
                <a:lnTo>
                  <a:pt x="968375" y="1193801"/>
                </a:lnTo>
                <a:close/>
                <a:moveTo>
                  <a:pt x="0" y="557213"/>
                </a:moveTo>
                <a:lnTo>
                  <a:pt x="239712" y="557213"/>
                </a:lnTo>
                <a:lnTo>
                  <a:pt x="561975" y="893763"/>
                </a:lnTo>
                <a:lnTo>
                  <a:pt x="581025" y="560388"/>
                </a:lnTo>
                <a:lnTo>
                  <a:pt x="782638" y="560388"/>
                </a:lnTo>
                <a:lnTo>
                  <a:pt x="782638" y="1193801"/>
                </a:lnTo>
                <a:lnTo>
                  <a:pt x="590550" y="1193801"/>
                </a:lnTo>
                <a:lnTo>
                  <a:pt x="214312" y="811213"/>
                </a:lnTo>
                <a:lnTo>
                  <a:pt x="192087" y="1193801"/>
                </a:lnTo>
                <a:lnTo>
                  <a:pt x="0" y="1193801"/>
                </a:lnTo>
                <a:close/>
                <a:moveTo>
                  <a:pt x="1748787" y="547727"/>
                </a:moveTo>
                <a:cubicBezTo>
                  <a:pt x="1892598" y="547727"/>
                  <a:pt x="2068367" y="583085"/>
                  <a:pt x="2081150" y="743800"/>
                </a:cubicBezTo>
                <a:cubicBezTo>
                  <a:pt x="2090738" y="917372"/>
                  <a:pt x="1918165" y="962372"/>
                  <a:pt x="1918165" y="962372"/>
                </a:cubicBezTo>
                <a:cubicBezTo>
                  <a:pt x="1918165" y="962372"/>
                  <a:pt x="1918165" y="962372"/>
                  <a:pt x="2081150" y="1193801"/>
                </a:cubicBezTo>
                <a:cubicBezTo>
                  <a:pt x="2081150" y="1193801"/>
                  <a:pt x="2081150" y="1193801"/>
                  <a:pt x="1860640" y="1193801"/>
                </a:cubicBezTo>
                <a:cubicBezTo>
                  <a:pt x="1860640" y="1193801"/>
                  <a:pt x="1860640" y="1193801"/>
                  <a:pt x="1656109" y="972015"/>
                </a:cubicBezTo>
                <a:cubicBezTo>
                  <a:pt x="1656109" y="972015"/>
                  <a:pt x="1656109" y="972015"/>
                  <a:pt x="1656109" y="872371"/>
                </a:cubicBezTo>
                <a:cubicBezTo>
                  <a:pt x="1838270" y="872371"/>
                  <a:pt x="1857444" y="811300"/>
                  <a:pt x="1854249" y="756657"/>
                </a:cubicBezTo>
                <a:cubicBezTo>
                  <a:pt x="1851053" y="705228"/>
                  <a:pt x="1790333" y="676299"/>
                  <a:pt x="1710438" y="676299"/>
                </a:cubicBezTo>
                <a:cubicBezTo>
                  <a:pt x="1659305" y="676299"/>
                  <a:pt x="1582606" y="682728"/>
                  <a:pt x="1582606" y="682728"/>
                </a:cubicBezTo>
                <a:cubicBezTo>
                  <a:pt x="1582606" y="682728"/>
                  <a:pt x="1582606" y="682728"/>
                  <a:pt x="1550648" y="1193801"/>
                </a:cubicBezTo>
                <a:cubicBezTo>
                  <a:pt x="1550648" y="1193801"/>
                  <a:pt x="1550648" y="1193801"/>
                  <a:pt x="1358900" y="1193801"/>
                </a:cubicBezTo>
                <a:cubicBezTo>
                  <a:pt x="1358900" y="1193801"/>
                  <a:pt x="1358900" y="1193801"/>
                  <a:pt x="1358900" y="557370"/>
                </a:cubicBezTo>
                <a:cubicBezTo>
                  <a:pt x="1358900" y="557370"/>
                  <a:pt x="1633738" y="544513"/>
                  <a:pt x="1748787" y="547727"/>
                </a:cubicBezTo>
                <a:close/>
                <a:moveTo>
                  <a:pt x="3505842" y="533444"/>
                </a:moveTo>
                <a:cubicBezTo>
                  <a:pt x="3668881" y="530225"/>
                  <a:pt x="3831920" y="549540"/>
                  <a:pt x="3831920" y="549540"/>
                </a:cubicBezTo>
                <a:cubicBezTo>
                  <a:pt x="3831920" y="549540"/>
                  <a:pt x="3831920" y="549540"/>
                  <a:pt x="3831920" y="697618"/>
                </a:cubicBezTo>
                <a:cubicBezTo>
                  <a:pt x="3831920" y="697618"/>
                  <a:pt x="3688062" y="675085"/>
                  <a:pt x="3579369" y="675085"/>
                </a:cubicBezTo>
                <a:cubicBezTo>
                  <a:pt x="3470676" y="675085"/>
                  <a:pt x="3416330" y="687961"/>
                  <a:pt x="3419527" y="729809"/>
                </a:cubicBezTo>
                <a:cubicBezTo>
                  <a:pt x="3419527" y="758781"/>
                  <a:pt x="3454692" y="774877"/>
                  <a:pt x="3521826" y="778096"/>
                </a:cubicBezTo>
                <a:cubicBezTo>
                  <a:pt x="3617731" y="784534"/>
                  <a:pt x="3876676" y="762000"/>
                  <a:pt x="3876676" y="996994"/>
                </a:cubicBezTo>
                <a:cubicBezTo>
                  <a:pt x="3876676" y="1225550"/>
                  <a:pt x="3566582" y="1212674"/>
                  <a:pt x="3505842" y="1212674"/>
                </a:cubicBezTo>
                <a:cubicBezTo>
                  <a:pt x="3377968" y="1212674"/>
                  <a:pt x="3208535" y="1193359"/>
                  <a:pt x="3208535" y="1193359"/>
                </a:cubicBezTo>
                <a:cubicBezTo>
                  <a:pt x="3208535" y="1193359"/>
                  <a:pt x="3208535" y="1193359"/>
                  <a:pt x="3208535" y="1032404"/>
                </a:cubicBezTo>
                <a:cubicBezTo>
                  <a:pt x="3208535" y="1032404"/>
                  <a:pt x="3326818" y="1064595"/>
                  <a:pt x="3451495" y="1064595"/>
                </a:cubicBezTo>
                <a:cubicBezTo>
                  <a:pt x="3576172" y="1064595"/>
                  <a:pt x="3656094" y="1054938"/>
                  <a:pt x="3649700" y="1006652"/>
                </a:cubicBezTo>
                <a:cubicBezTo>
                  <a:pt x="3646503" y="974461"/>
                  <a:pt x="3604944" y="964803"/>
                  <a:pt x="3560188" y="964803"/>
                </a:cubicBezTo>
                <a:cubicBezTo>
                  <a:pt x="3448299" y="964803"/>
                  <a:pt x="3182960" y="958365"/>
                  <a:pt x="3179763" y="749124"/>
                </a:cubicBezTo>
                <a:cubicBezTo>
                  <a:pt x="3179763" y="533444"/>
                  <a:pt x="3448299" y="536663"/>
                  <a:pt x="3505842" y="533444"/>
                </a:cubicBezTo>
                <a:close/>
                <a:moveTo>
                  <a:pt x="2179638" y="476250"/>
                </a:moveTo>
                <a:cubicBezTo>
                  <a:pt x="2179638" y="476250"/>
                  <a:pt x="2179638" y="476250"/>
                  <a:pt x="2182834" y="476250"/>
                </a:cubicBezTo>
                <a:cubicBezTo>
                  <a:pt x="2192424" y="547040"/>
                  <a:pt x="2230782" y="695055"/>
                  <a:pt x="2368233" y="810892"/>
                </a:cubicBezTo>
                <a:cubicBezTo>
                  <a:pt x="2467325" y="604959"/>
                  <a:pt x="2499290" y="556693"/>
                  <a:pt x="2499290" y="556693"/>
                </a:cubicBezTo>
                <a:cubicBezTo>
                  <a:pt x="2499290" y="556693"/>
                  <a:pt x="2499290" y="556693"/>
                  <a:pt x="2812550" y="556693"/>
                </a:cubicBezTo>
                <a:cubicBezTo>
                  <a:pt x="2812550" y="556693"/>
                  <a:pt x="2841319" y="604959"/>
                  <a:pt x="2962787" y="855940"/>
                </a:cubicBezTo>
                <a:cubicBezTo>
                  <a:pt x="3097041" y="1132664"/>
                  <a:pt x="3122613" y="1193800"/>
                  <a:pt x="3122613" y="1193800"/>
                </a:cubicBezTo>
                <a:cubicBezTo>
                  <a:pt x="3122613" y="1193800"/>
                  <a:pt x="3122613" y="1193800"/>
                  <a:pt x="2918035" y="1193800"/>
                </a:cubicBezTo>
                <a:cubicBezTo>
                  <a:pt x="2918035" y="1193800"/>
                  <a:pt x="2918035" y="1193800"/>
                  <a:pt x="2652724" y="720796"/>
                </a:cubicBezTo>
                <a:cubicBezTo>
                  <a:pt x="2652724" y="720796"/>
                  <a:pt x="2652724" y="720796"/>
                  <a:pt x="2550435" y="907424"/>
                </a:cubicBezTo>
                <a:cubicBezTo>
                  <a:pt x="2617562" y="929948"/>
                  <a:pt x="2662313" y="926730"/>
                  <a:pt x="2662313" y="926730"/>
                </a:cubicBezTo>
                <a:cubicBezTo>
                  <a:pt x="2662313" y="926730"/>
                  <a:pt x="2662313" y="926730"/>
                  <a:pt x="2662313" y="1103704"/>
                </a:cubicBezTo>
                <a:cubicBezTo>
                  <a:pt x="2662313" y="1103704"/>
                  <a:pt x="2563221" y="1106922"/>
                  <a:pt x="2460932" y="1068309"/>
                </a:cubicBezTo>
                <a:cubicBezTo>
                  <a:pt x="2460932" y="1068309"/>
                  <a:pt x="2460932" y="1068309"/>
                  <a:pt x="2393805" y="1193800"/>
                </a:cubicBezTo>
                <a:cubicBezTo>
                  <a:pt x="2393805" y="1193800"/>
                  <a:pt x="2393805" y="1193800"/>
                  <a:pt x="2189227" y="1193800"/>
                </a:cubicBezTo>
                <a:cubicBezTo>
                  <a:pt x="2189227" y="1193800"/>
                  <a:pt x="2205210" y="1155188"/>
                  <a:pt x="2294713" y="965343"/>
                </a:cubicBezTo>
                <a:cubicBezTo>
                  <a:pt x="2202013" y="865593"/>
                  <a:pt x="2179638" y="749756"/>
                  <a:pt x="2179638" y="749756"/>
                </a:cubicBezTo>
                <a:cubicBezTo>
                  <a:pt x="2179638" y="749756"/>
                  <a:pt x="2179638" y="749756"/>
                  <a:pt x="2179638" y="476250"/>
                </a:cubicBezTo>
                <a:close/>
                <a:moveTo>
                  <a:pt x="2665413" y="0"/>
                </a:moveTo>
                <a:cubicBezTo>
                  <a:pt x="2665413" y="0"/>
                  <a:pt x="2665413" y="0"/>
                  <a:pt x="2665413" y="199390"/>
                </a:cubicBezTo>
                <a:cubicBezTo>
                  <a:pt x="2476459" y="205822"/>
                  <a:pt x="2341949" y="356972"/>
                  <a:pt x="2313126" y="498475"/>
                </a:cubicBezTo>
                <a:cubicBezTo>
                  <a:pt x="2303518" y="466315"/>
                  <a:pt x="2300315" y="430940"/>
                  <a:pt x="2300315" y="395564"/>
                </a:cubicBezTo>
                <a:cubicBezTo>
                  <a:pt x="2297113" y="260493"/>
                  <a:pt x="2399596" y="32160"/>
                  <a:pt x="2665413" y="0"/>
                </a:cubicBezTo>
                <a:close/>
              </a:path>
            </a:pathLst>
          </a:custGeom>
          <a:solidFill>
            <a:srgbClr val="FFFFFF"/>
          </a:solidFill>
        </p:spPr>
        <p:txBody>
          <a:bodyPr lIns="0" tIns="0" rIns="0" bIns="0">
            <a:norm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21" name="White line">
            <a:extLst>
              <a:ext uri="{FF2B5EF4-FFF2-40B4-BE49-F238E27FC236}">
                <a16:creationId xmlns:a16="http://schemas.microsoft.com/office/drawing/2014/main" id="{B16DEDED-6C8F-4CF2-AFA4-2AA6843B215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 rot="5400000">
            <a:off x="1215000" y="4933757"/>
            <a:ext cx="90000" cy="252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22" name="White line">
            <a:extLst>
              <a:ext uri="{FF2B5EF4-FFF2-40B4-BE49-F238E27FC236}">
                <a16:creationId xmlns:a16="http://schemas.microsoft.com/office/drawing/2014/main" id="{5D1CA2FF-258B-4403-BC7E-7A21CDA0057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 rot="5400000">
            <a:off x="10922999" y="-728609"/>
            <a:ext cx="18000" cy="252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5D6E7766-B064-47AD-88DF-F66F05D38D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A74B0496-0B0B-4655-8059-FD85131AC819}"/>
              </a:ext>
            </a:extLst>
          </p:cNvPr>
          <p:cNvSpPr txBox="1">
            <a:spLocks/>
          </p:cNvSpPr>
          <p:nvPr/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z="800" smtClean="0">
                <a:solidFill>
                  <a:schemeClr val="bg1"/>
                </a:solidFill>
              </a:rPr>
              <a:pPr/>
              <a:t>‹#›</a:t>
            </a:fld>
            <a:endParaRPr lang="en-GB" sz="800">
              <a:solidFill>
                <a:schemeClr val="bg1"/>
              </a:solidFill>
            </a:endParaRP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37FFA538-566E-4FDC-BB2C-8416095693AF}"/>
              </a:ext>
            </a:extLst>
          </p:cNvPr>
          <p:cNvSpPr txBox="1">
            <a:spLocks/>
          </p:cNvSpPr>
          <p:nvPr userDrawn="1"/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z="800" smtClean="0">
                <a:solidFill>
                  <a:schemeClr val="bg1"/>
                </a:solidFill>
              </a:rPr>
              <a:pPr/>
              <a:t>‹#›</a:t>
            </a:fld>
            <a:endParaRPr lang="en-GB" sz="8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368011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text or 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5B374C-F223-47F3-BBF5-AB0E43943D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360001"/>
            <a:ext cx="11473200" cy="619713"/>
          </a:xfrm>
          <a:prstGeom prst="rect">
            <a:avLst/>
          </a:prstGeom>
        </p:spPr>
        <p:txBody>
          <a:bodyPr lIns="72000" tIns="36000" rIns="72000" bIns="36000"/>
          <a:lstStyle/>
          <a:p>
            <a:r>
              <a:rPr lang="en-US"/>
              <a:t>Click to edit headline</a:t>
            </a:r>
            <a:endParaRPr lang="da-DK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EEC09FC0-046C-4680-8863-00E867AAE76C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438150" y="1001374"/>
            <a:ext cx="11394450" cy="369332"/>
          </a:xfrm>
          <a:prstGeom prst="rect">
            <a:avLst/>
          </a:prstGeom>
        </p:spPr>
        <p:txBody>
          <a:bodyPr wrap="square" lIns="72000" tIns="36000" rIns="72000" bIns="36000">
            <a:no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2pPr>
            <a:lvl3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5pPr>
            <a:lvl6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6pPr>
            <a:lvl7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7pPr>
            <a:lvl8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8pPr>
            <a:lvl9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9pPr>
          </a:lstStyle>
          <a:p>
            <a:r>
              <a:rPr lang="en-US"/>
              <a:t>Click to edit subtitle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E14FBFAE-6F7B-4E9C-BCC3-47A94886710C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60000" y="1512000"/>
            <a:ext cx="11473200" cy="4647600"/>
          </a:xfrm>
          <a:ln w="19050">
            <a:noFill/>
          </a:ln>
        </p:spPr>
        <p:txBody>
          <a:bodyPr lIns="72000" tIns="36000" rIns="72000" bIns="36000"/>
          <a:lstStyle>
            <a:lvl1pPr>
              <a:defRPr baseline="0"/>
            </a:lvl1pPr>
          </a:lstStyle>
          <a:p>
            <a:pPr lvl="0"/>
            <a:r>
              <a:rPr lang="en-US" noProof="0"/>
              <a:t>Click to edit text or add media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CC387FF6-39B2-4DBD-BCE1-59066521BC9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52600" y="6339508"/>
            <a:ext cx="1080000" cy="341053"/>
          </a:xfrm>
          <a:prstGeom prst="rect">
            <a:avLst/>
          </a:prstGeom>
        </p:spPr>
      </p:pic>
      <p:sp>
        <p:nvSpPr>
          <p:cNvPr id="10" name="Slide Number Placeholder 8">
            <a:extLst>
              <a:ext uri="{FF2B5EF4-FFF2-40B4-BE49-F238E27FC236}">
                <a16:creationId xmlns:a16="http://schemas.microsoft.com/office/drawing/2014/main" id="{7B51CE33-A654-4FEC-9FDE-2F5A1C8CD5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29600" y="6375818"/>
            <a:ext cx="511868" cy="365125"/>
          </a:xfrm>
          <a:prstGeom prst="rect">
            <a:avLst/>
          </a:prstGeom>
        </p:spPr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6B6A2B6-A4A4-4A4A-8CD5-698879BC50F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600">
                <a:noFill/>
              </a:defRPr>
            </a:lvl1pPr>
          </a:lstStyle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8676331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52">
          <p15:clr>
            <a:srgbClr val="A4A3A4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anm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 err="1"/>
              <a:t>Enter</a:t>
            </a:r>
            <a:r>
              <a:rPr lang="da-DK"/>
              <a:t> </a:t>
            </a:r>
            <a:r>
              <a:rPr lang="da-DK" err="1"/>
              <a:t>title</a:t>
            </a:r>
            <a:endParaRPr lang="da-DK"/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27089" y="1208078"/>
            <a:ext cx="10741024" cy="307777"/>
          </a:xfrm>
        </p:spPr>
        <p:txBody>
          <a:bodyPr>
            <a:sp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2pPr>
            <a:lvl3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5pPr>
            <a:lvl6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6pPr>
            <a:lvl7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7pPr>
            <a:lvl8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8pPr>
            <a:lvl9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9pPr>
          </a:lstStyle>
          <a:p>
            <a:r>
              <a:rPr lang="da-DK" err="1"/>
              <a:t>Enter</a:t>
            </a:r>
            <a:r>
              <a:rPr lang="da-DK"/>
              <a:t> </a:t>
            </a:r>
            <a:r>
              <a:rPr lang="da-DK" err="1"/>
              <a:t>subtitle</a:t>
            </a:r>
            <a:endParaRPr lang="da-DK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AutoShape 3"/>
          <p:cNvSpPr>
            <a:spLocks noChangeAspect="1" noChangeArrowheads="1" noTextEdit="1"/>
          </p:cNvSpPr>
          <p:nvPr userDrawn="1"/>
        </p:nvSpPr>
        <p:spPr bwMode="auto">
          <a:xfrm>
            <a:off x="3744913" y="1236663"/>
            <a:ext cx="6913562" cy="5494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/>
          </a:p>
        </p:txBody>
      </p:sp>
      <p:sp>
        <p:nvSpPr>
          <p:cNvPr id="9" name="Freeform 5"/>
          <p:cNvSpPr>
            <a:spLocks/>
          </p:cNvSpPr>
          <p:nvPr userDrawn="1"/>
        </p:nvSpPr>
        <p:spPr bwMode="auto">
          <a:xfrm>
            <a:off x="6627813" y="6053138"/>
            <a:ext cx="874712" cy="642937"/>
          </a:xfrm>
          <a:custGeom>
            <a:avLst/>
            <a:gdLst>
              <a:gd name="T0" fmla="*/ 574 w 592"/>
              <a:gd name="T1" fmla="*/ 355 h 434"/>
              <a:gd name="T2" fmla="*/ 583 w 592"/>
              <a:gd name="T3" fmla="*/ 326 h 434"/>
              <a:gd name="T4" fmla="*/ 567 w 592"/>
              <a:gd name="T5" fmla="*/ 306 h 434"/>
              <a:gd name="T6" fmla="*/ 577 w 592"/>
              <a:gd name="T7" fmla="*/ 272 h 434"/>
              <a:gd name="T8" fmla="*/ 586 w 592"/>
              <a:gd name="T9" fmla="*/ 257 h 434"/>
              <a:gd name="T10" fmla="*/ 562 w 592"/>
              <a:gd name="T11" fmla="*/ 224 h 434"/>
              <a:gd name="T12" fmla="*/ 538 w 592"/>
              <a:gd name="T13" fmla="*/ 169 h 434"/>
              <a:gd name="T14" fmla="*/ 511 w 592"/>
              <a:gd name="T15" fmla="*/ 150 h 434"/>
              <a:gd name="T16" fmla="*/ 508 w 592"/>
              <a:gd name="T17" fmla="*/ 124 h 434"/>
              <a:gd name="T18" fmla="*/ 482 w 592"/>
              <a:gd name="T19" fmla="*/ 102 h 434"/>
              <a:gd name="T20" fmla="*/ 443 w 592"/>
              <a:gd name="T21" fmla="*/ 77 h 434"/>
              <a:gd name="T22" fmla="*/ 438 w 592"/>
              <a:gd name="T23" fmla="*/ 126 h 434"/>
              <a:gd name="T24" fmla="*/ 398 w 592"/>
              <a:gd name="T25" fmla="*/ 145 h 434"/>
              <a:gd name="T26" fmla="*/ 416 w 592"/>
              <a:gd name="T27" fmla="*/ 180 h 434"/>
              <a:gd name="T28" fmla="*/ 389 w 592"/>
              <a:gd name="T29" fmla="*/ 160 h 434"/>
              <a:gd name="T30" fmla="*/ 340 w 592"/>
              <a:gd name="T31" fmla="*/ 141 h 434"/>
              <a:gd name="T32" fmla="*/ 256 w 592"/>
              <a:gd name="T33" fmla="*/ 93 h 434"/>
              <a:gd name="T34" fmla="*/ 223 w 592"/>
              <a:gd name="T35" fmla="*/ 39 h 434"/>
              <a:gd name="T36" fmla="*/ 154 w 592"/>
              <a:gd name="T37" fmla="*/ 5 h 434"/>
              <a:gd name="T38" fmla="*/ 83 w 592"/>
              <a:gd name="T39" fmla="*/ 29 h 434"/>
              <a:gd name="T40" fmla="*/ 54 w 592"/>
              <a:gd name="T41" fmla="*/ 31 h 434"/>
              <a:gd name="T42" fmla="*/ 22 w 592"/>
              <a:gd name="T43" fmla="*/ 94 h 434"/>
              <a:gd name="T44" fmla="*/ 42 w 592"/>
              <a:gd name="T45" fmla="*/ 118 h 434"/>
              <a:gd name="T46" fmla="*/ 59 w 592"/>
              <a:gd name="T47" fmla="*/ 152 h 434"/>
              <a:gd name="T48" fmla="*/ 75 w 592"/>
              <a:gd name="T49" fmla="*/ 186 h 434"/>
              <a:gd name="T50" fmla="*/ 42 w 592"/>
              <a:gd name="T51" fmla="*/ 196 h 434"/>
              <a:gd name="T52" fmla="*/ 19 w 592"/>
              <a:gd name="T53" fmla="*/ 188 h 434"/>
              <a:gd name="T54" fmla="*/ 3 w 592"/>
              <a:gd name="T55" fmla="*/ 221 h 434"/>
              <a:gd name="T56" fmla="*/ 28 w 592"/>
              <a:gd name="T57" fmla="*/ 262 h 434"/>
              <a:gd name="T58" fmla="*/ 99 w 592"/>
              <a:gd name="T59" fmla="*/ 280 h 434"/>
              <a:gd name="T60" fmla="*/ 167 w 592"/>
              <a:gd name="T61" fmla="*/ 314 h 434"/>
              <a:gd name="T62" fmla="*/ 251 w 592"/>
              <a:gd name="T63" fmla="*/ 365 h 434"/>
              <a:gd name="T64" fmla="*/ 287 w 592"/>
              <a:gd name="T65" fmla="*/ 395 h 434"/>
              <a:gd name="T66" fmla="*/ 290 w 592"/>
              <a:gd name="T67" fmla="*/ 432 h 434"/>
              <a:gd name="T68" fmla="*/ 337 w 592"/>
              <a:gd name="T69" fmla="*/ 422 h 434"/>
              <a:gd name="T70" fmla="*/ 372 w 592"/>
              <a:gd name="T71" fmla="*/ 376 h 434"/>
              <a:gd name="T72" fmla="*/ 402 w 592"/>
              <a:gd name="T73" fmla="*/ 349 h 434"/>
              <a:gd name="T74" fmla="*/ 439 w 592"/>
              <a:gd name="T75" fmla="*/ 363 h 434"/>
              <a:gd name="T76" fmla="*/ 472 w 592"/>
              <a:gd name="T77" fmla="*/ 350 h 434"/>
              <a:gd name="T78" fmla="*/ 483 w 592"/>
              <a:gd name="T79" fmla="*/ 364 h 434"/>
              <a:gd name="T80" fmla="*/ 512 w 592"/>
              <a:gd name="T81" fmla="*/ 356 h 434"/>
              <a:gd name="T82" fmla="*/ 526 w 592"/>
              <a:gd name="T83" fmla="*/ 370 h 434"/>
              <a:gd name="T84" fmla="*/ 553 w 592"/>
              <a:gd name="T85" fmla="*/ 376 h 434"/>
              <a:gd name="T86" fmla="*/ 574 w 592"/>
              <a:gd name="T87" fmla="*/ 355 h 4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592" h="434">
                <a:moveTo>
                  <a:pt x="574" y="355"/>
                </a:moveTo>
                <a:cubicBezTo>
                  <a:pt x="576" y="347"/>
                  <a:pt x="580" y="339"/>
                  <a:pt x="583" y="326"/>
                </a:cubicBezTo>
                <a:cubicBezTo>
                  <a:pt x="586" y="313"/>
                  <a:pt x="573" y="319"/>
                  <a:pt x="567" y="306"/>
                </a:cubicBezTo>
                <a:cubicBezTo>
                  <a:pt x="562" y="294"/>
                  <a:pt x="569" y="273"/>
                  <a:pt x="577" y="272"/>
                </a:cubicBezTo>
                <a:cubicBezTo>
                  <a:pt x="586" y="271"/>
                  <a:pt x="592" y="270"/>
                  <a:pt x="586" y="257"/>
                </a:cubicBezTo>
                <a:cubicBezTo>
                  <a:pt x="580" y="245"/>
                  <a:pt x="576" y="241"/>
                  <a:pt x="562" y="224"/>
                </a:cubicBezTo>
                <a:cubicBezTo>
                  <a:pt x="549" y="208"/>
                  <a:pt x="547" y="179"/>
                  <a:pt x="538" y="169"/>
                </a:cubicBezTo>
                <a:cubicBezTo>
                  <a:pt x="529" y="159"/>
                  <a:pt x="511" y="150"/>
                  <a:pt x="511" y="150"/>
                </a:cubicBezTo>
                <a:cubicBezTo>
                  <a:pt x="511" y="150"/>
                  <a:pt x="509" y="132"/>
                  <a:pt x="508" y="124"/>
                </a:cubicBezTo>
                <a:cubicBezTo>
                  <a:pt x="507" y="115"/>
                  <a:pt x="491" y="112"/>
                  <a:pt x="482" y="102"/>
                </a:cubicBezTo>
                <a:cubicBezTo>
                  <a:pt x="473" y="91"/>
                  <a:pt x="445" y="66"/>
                  <a:pt x="443" y="77"/>
                </a:cubicBezTo>
                <a:cubicBezTo>
                  <a:pt x="441" y="87"/>
                  <a:pt x="451" y="120"/>
                  <a:pt x="438" y="126"/>
                </a:cubicBezTo>
                <a:cubicBezTo>
                  <a:pt x="426" y="132"/>
                  <a:pt x="398" y="145"/>
                  <a:pt x="398" y="145"/>
                </a:cubicBezTo>
                <a:cubicBezTo>
                  <a:pt x="398" y="145"/>
                  <a:pt x="429" y="182"/>
                  <a:pt x="416" y="180"/>
                </a:cubicBezTo>
                <a:cubicBezTo>
                  <a:pt x="402" y="177"/>
                  <a:pt x="400" y="162"/>
                  <a:pt x="389" y="160"/>
                </a:cubicBezTo>
                <a:cubicBezTo>
                  <a:pt x="379" y="158"/>
                  <a:pt x="364" y="149"/>
                  <a:pt x="340" y="141"/>
                </a:cubicBezTo>
                <a:cubicBezTo>
                  <a:pt x="317" y="134"/>
                  <a:pt x="266" y="109"/>
                  <a:pt x="256" y="93"/>
                </a:cubicBezTo>
                <a:cubicBezTo>
                  <a:pt x="245" y="77"/>
                  <a:pt x="234" y="50"/>
                  <a:pt x="223" y="39"/>
                </a:cubicBezTo>
                <a:cubicBezTo>
                  <a:pt x="211" y="28"/>
                  <a:pt x="183" y="0"/>
                  <a:pt x="154" y="5"/>
                </a:cubicBezTo>
                <a:cubicBezTo>
                  <a:pt x="126" y="10"/>
                  <a:pt x="97" y="15"/>
                  <a:pt x="83" y="29"/>
                </a:cubicBezTo>
                <a:cubicBezTo>
                  <a:pt x="69" y="43"/>
                  <a:pt x="54" y="31"/>
                  <a:pt x="54" y="31"/>
                </a:cubicBezTo>
                <a:cubicBezTo>
                  <a:pt x="54" y="31"/>
                  <a:pt x="11" y="89"/>
                  <a:pt x="22" y="94"/>
                </a:cubicBezTo>
                <a:cubicBezTo>
                  <a:pt x="32" y="99"/>
                  <a:pt x="27" y="106"/>
                  <a:pt x="42" y="118"/>
                </a:cubicBezTo>
                <a:cubicBezTo>
                  <a:pt x="56" y="129"/>
                  <a:pt x="49" y="150"/>
                  <a:pt x="59" y="152"/>
                </a:cubicBezTo>
                <a:cubicBezTo>
                  <a:pt x="70" y="154"/>
                  <a:pt x="92" y="181"/>
                  <a:pt x="75" y="186"/>
                </a:cubicBezTo>
                <a:cubicBezTo>
                  <a:pt x="57" y="191"/>
                  <a:pt x="65" y="203"/>
                  <a:pt x="42" y="196"/>
                </a:cubicBezTo>
                <a:cubicBezTo>
                  <a:pt x="19" y="188"/>
                  <a:pt x="29" y="179"/>
                  <a:pt x="19" y="188"/>
                </a:cubicBezTo>
                <a:cubicBezTo>
                  <a:pt x="8" y="197"/>
                  <a:pt x="0" y="209"/>
                  <a:pt x="3" y="221"/>
                </a:cubicBezTo>
                <a:cubicBezTo>
                  <a:pt x="6" y="233"/>
                  <a:pt x="9" y="258"/>
                  <a:pt x="28" y="262"/>
                </a:cubicBezTo>
                <a:cubicBezTo>
                  <a:pt x="47" y="266"/>
                  <a:pt x="92" y="276"/>
                  <a:pt x="99" y="280"/>
                </a:cubicBezTo>
                <a:cubicBezTo>
                  <a:pt x="107" y="285"/>
                  <a:pt x="127" y="280"/>
                  <a:pt x="167" y="314"/>
                </a:cubicBezTo>
                <a:cubicBezTo>
                  <a:pt x="208" y="348"/>
                  <a:pt x="235" y="362"/>
                  <a:pt x="251" y="365"/>
                </a:cubicBezTo>
                <a:cubicBezTo>
                  <a:pt x="267" y="368"/>
                  <a:pt x="290" y="381"/>
                  <a:pt x="287" y="395"/>
                </a:cubicBezTo>
                <a:cubicBezTo>
                  <a:pt x="284" y="408"/>
                  <a:pt x="276" y="434"/>
                  <a:pt x="290" y="432"/>
                </a:cubicBezTo>
                <a:cubicBezTo>
                  <a:pt x="305" y="429"/>
                  <a:pt x="318" y="432"/>
                  <a:pt x="337" y="422"/>
                </a:cubicBezTo>
                <a:cubicBezTo>
                  <a:pt x="356" y="412"/>
                  <a:pt x="367" y="387"/>
                  <a:pt x="372" y="376"/>
                </a:cubicBezTo>
                <a:cubicBezTo>
                  <a:pt x="377" y="366"/>
                  <a:pt x="393" y="353"/>
                  <a:pt x="402" y="349"/>
                </a:cubicBezTo>
                <a:cubicBezTo>
                  <a:pt x="411" y="346"/>
                  <a:pt x="427" y="363"/>
                  <a:pt x="439" y="363"/>
                </a:cubicBezTo>
                <a:cubicBezTo>
                  <a:pt x="450" y="362"/>
                  <a:pt x="472" y="350"/>
                  <a:pt x="472" y="350"/>
                </a:cubicBezTo>
                <a:cubicBezTo>
                  <a:pt x="472" y="350"/>
                  <a:pt x="474" y="365"/>
                  <a:pt x="483" y="364"/>
                </a:cubicBezTo>
                <a:cubicBezTo>
                  <a:pt x="491" y="363"/>
                  <a:pt x="512" y="356"/>
                  <a:pt x="512" y="356"/>
                </a:cubicBezTo>
                <a:cubicBezTo>
                  <a:pt x="526" y="370"/>
                  <a:pt x="526" y="370"/>
                  <a:pt x="526" y="370"/>
                </a:cubicBezTo>
                <a:cubicBezTo>
                  <a:pt x="526" y="370"/>
                  <a:pt x="538" y="378"/>
                  <a:pt x="553" y="376"/>
                </a:cubicBezTo>
                <a:cubicBezTo>
                  <a:pt x="567" y="373"/>
                  <a:pt x="574" y="355"/>
                  <a:pt x="574" y="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/>
          </a:p>
        </p:txBody>
      </p:sp>
      <p:sp>
        <p:nvSpPr>
          <p:cNvPr id="10" name="Freeform 6"/>
          <p:cNvSpPr>
            <a:spLocks/>
          </p:cNvSpPr>
          <p:nvPr userDrawn="1"/>
        </p:nvSpPr>
        <p:spPr bwMode="auto">
          <a:xfrm>
            <a:off x="6478588" y="4006850"/>
            <a:ext cx="1771650" cy="2028825"/>
          </a:xfrm>
          <a:custGeom>
            <a:avLst/>
            <a:gdLst>
              <a:gd name="T0" fmla="*/ 1175 w 1199"/>
              <a:gd name="T1" fmla="*/ 523 h 1371"/>
              <a:gd name="T2" fmla="*/ 1124 w 1199"/>
              <a:gd name="T3" fmla="*/ 345 h 1371"/>
              <a:gd name="T4" fmla="*/ 1120 w 1199"/>
              <a:gd name="T5" fmla="*/ 138 h 1371"/>
              <a:gd name="T6" fmla="*/ 1028 w 1199"/>
              <a:gd name="T7" fmla="*/ 32 h 1371"/>
              <a:gd name="T8" fmla="*/ 825 w 1199"/>
              <a:gd name="T9" fmla="*/ 45 h 1371"/>
              <a:gd name="T10" fmla="*/ 650 w 1199"/>
              <a:gd name="T11" fmla="*/ 212 h 1371"/>
              <a:gd name="T12" fmla="*/ 772 w 1199"/>
              <a:gd name="T13" fmla="*/ 243 h 1371"/>
              <a:gd name="T14" fmla="*/ 817 w 1199"/>
              <a:gd name="T15" fmla="*/ 450 h 1371"/>
              <a:gd name="T16" fmla="*/ 771 w 1199"/>
              <a:gd name="T17" fmla="*/ 527 h 1371"/>
              <a:gd name="T18" fmla="*/ 718 w 1199"/>
              <a:gd name="T19" fmla="*/ 524 h 1371"/>
              <a:gd name="T20" fmla="*/ 788 w 1199"/>
              <a:gd name="T21" fmla="*/ 430 h 1371"/>
              <a:gd name="T22" fmla="*/ 744 w 1199"/>
              <a:gd name="T23" fmla="*/ 298 h 1371"/>
              <a:gd name="T24" fmla="*/ 689 w 1199"/>
              <a:gd name="T25" fmla="*/ 240 h 1371"/>
              <a:gd name="T26" fmla="*/ 675 w 1199"/>
              <a:gd name="T27" fmla="*/ 384 h 1371"/>
              <a:gd name="T28" fmla="*/ 649 w 1199"/>
              <a:gd name="T29" fmla="*/ 499 h 1371"/>
              <a:gd name="T30" fmla="*/ 581 w 1199"/>
              <a:gd name="T31" fmla="*/ 448 h 1371"/>
              <a:gd name="T32" fmla="*/ 491 w 1199"/>
              <a:gd name="T33" fmla="*/ 413 h 1371"/>
              <a:gd name="T34" fmla="*/ 573 w 1199"/>
              <a:gd name="T35" fmla="*/ 380 h 1371"/>
              <a:gd name="T36" fmla="*/ 514 w 1199"/>
              <a:gd name="T37" fmla="*/ 264 h 1371"/>
              <a:gd name="T38" fmla="*/ 599 w 1199"/>
              <a:gd name="T39" fmla="*/ 204 h 1371"/>
              <a:gd name="T40" fmla="*/ 459 w 1199"/>
              <a:gd name="T41" fmla="*/ 208 h 1371"/>
              <a:gd name="T42" fmla="*/ 346 w 1199"/>
              <a:gd name="T43" fmla="*/ 201 h 1371"/>
              <a:gd name="T44" fmla="*/ 399 w 1199"/>
              <a:gd name="T45" fmla="*/ 229 h 1371"/>
              <a:gd name="T46" fmla="*/ 379 w 1199"/>
              <a:gd name="T47" fmla="*/ 350 h 1371"/>
              <a:gd name="T48" fmla="*/ 332 w 1199"/>
              <a:gd name="T49" fmla="*/ 415 h 1371"/>
              <a:gd name="T50" fmla="*/ 264 w 1199"/>
              <a:gd name="T51" fmla="*/ 487 h 1371"/>
              <a:gd name="T52" fmla="*/ 222 w 1199"/>
              <a:gd name="T53" fmla="*/ 515 h 1371"/>
              <a:gd name="T54" fmla="*/ 190 w 1199"/>
              <a:gd name="T55" fmla="*/ 452 h 1371"/>
              <a:gd name="T56" fmla="*/ 93 w 1199"/>
              <a:gd name="T57" fmla="*/ 478 h 1371"/>
              <a:gd name="T58" fmla="*/ 35 w 1199"/>
              <a:gd name="T59" fmla="*/ 495 h 1371"/>
              <a:gd name="T60" fmla="*/ 149 w 1199"/>
              <a:gd name="T61" fmla="*/ 549 h 1371"/>
              <a:gd name="T62" fmla="*/ 50 w 1199"/>
              <a:gd name="T63" fmla="*/ 563 h 1371"/>
              <a:gd name="T64" fmla="*/ 195 w 1199"/>
              <a:gd name="T65" fmla="*/ 662 h 1371"/>
              <a:gd name="T66" fmla="*/ 157 w 1199"/>
              <a:gd name="T67" fmla="*/ 749 h 1371"/>
              <a:gd name="T68" fmla="*/ 217 w 1199"/>
              <a:gd name="T69" fmla="*/ 802 h 1371"/>
              <a:gd name="T70" fmla="*/ 199 w 1199"/>
              <a:gd name="T71" fmla="*/ 901 h 1371"/>
              <a:gd name="T72" fmla="*/ 201 w 1199"/>
              <a:gd name="T73" fmla="*/ 932 h 1371"/>
              <a:gd name="T74" fmla="*/ 244 w 1199"/>
              <a:gd name="T75" fmla="*/ 991 h 1371"/>
              <a:gd name="T76" fmla="*/ 290 w 1199"/>
              <a:gd name="T77" fmla="*/ 1046 h 1371"/>
              <a:gd name="T78" fmla="*/ 280 w 1199"/>
              <a:gd name="T79" fmla="*/ 1114 h 1371"/>
              <a:gd name="T80" fmla="*/ 331 w 1199"/>
              <a:gd name="T81" fmla="*/ 1100 h 1371"/>
              <a:gd name="T82" fmla="*/ 441 w 1199"/>
              <a:gd name="T83" fmla="*/ 1108 h 1371"/>
              <a:gd name="T84" fmla="*/ 566 w 1199"/>
              <a:gd name="T85" fmla="*/ 1102 h 1371"/>
              <a:gd name="T86" fmla="*/ 599 w 1199"/>
              <a:gd name="T87" fmla="*/ 1157 h 1371"/>
              <a:gd name="T88" fmla="*/ 586 w 1199"/>
              <a:gd name="T89" fmla="*/ 1205 h 1371"/>
              <a:gd name="T90" fmla="*/ 663 w 1199"/>
              <a:gd name="T91" fmla="*/ 1283 h 1371"/>
              <a:gd name="T92" fmla="*/ 563 w 1199"/>
              <a:gd name="T93" fmla="*/ 1262 h 1371"/>
              <a:gd name="T94" fmla="*/ 676 w 1199"/>
              <a:gd name="T95" fmla="*/ 1330 h 1371"/>
              <a:gd name="T96" fmla="*/ 715 w 1199"/>
              <a:gd name="T97" fmla="*/ 1340 h 1371"/>
              <a:gd name="T98" fmla="*/ 816 w 1199"/>
              <a:gd name="T99" fmla="*/ 1366 h 1371"/>
              <a:gd name="T100" fmla="*/ 875 w 1199"/>
              <a:gd name="T101" fmla="*/ 1294 h 1371"/>
              <a:gd name="T102" fmla="*/ 833 w 1199"/>
              <a:gd name="T103" fmla="*/ 1224 h 1371"/>
              <a:gd name="T104" fmla="*/ 844 w 1199"/>
              <a:gd name="T105" fmla="*/ 1173 h 1371"/>
              <a:gd name="T106" fmla="*/ 820 w 1199"/>
              <a:gd name="T107" fmla="*/ 1120 h 1371"/>
              <a:gd name="T108" fmla="*/ 840 w 1199"/>
              <a:gd name="T109" fmla="*/ 1125 h 1371"/>
              <a:gd name="T110" fmla="*/ 1009 w 1199"/>
              <a:gd name="T111" fmla="*/ 1038 h 1371"/>
              <a:gd name="T112" fmla="*/ 1071 w 1199"/>
              <a:gd name="T113" fmla="*/ 987 h 1371"/>
              <a:gd name="T114" fmla="*/ 1016 w 1199"/>
              <a:gd name="T115" fmla="*/ 871 h 1371"/>
              <a:gd name="T116" fmla="*/ 894 w 1199"/>
              <a:gd name="T117" fmla="*/ 717 h 1371"/>
              <a:gd name="T118" fmla="*/ 1040 w 1199"/>
              <a:gd name="T119" fmla="*/ 596 h 1371"/>
              <a:gd name="T120" fmla="*/ 1111 w 1199"/>
              <a:gd name="T121" fmla="*/ 550 h 1371"/>
              <a:gd name="T122" fmla="*/ 1123 w 1199"/>
              <a:gd name="T123" fmla="*/ 582 h 1371"/>
              <a:gd name="T124" fmla="*/ 1164 w 1199"/>
              <a:gd name="T125" fmla="*/ 642 h 13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199" h="1371">
                <a:moveTo>
                  <a:pt x="1182" y="636"/>
                </a:moveTo>
                <a:cubicBezTo>
                  <a:pt x="1182" y="636"/>
                  <a:pt x="1199" y="598"/>
                  <a:pt x="1198" y="586"/>
                </a:cubicBezTo>
                <a:cubicBezTo>
                  <a:pt x="1198" y="575"/>
                  <a:pt x="1184" y="550"/>
                  <a:pt x="1175" y="523"/>
                </a:cubicBezTo>
                <a:cubicBezTo>
                  <a:pt x="1167" y="496"/>
                  <a:pt x="1155" y="460"/>
                  <a:pt x="1155" y="449"/>
                </a:cubicBezTo>
                <a:cubicBezTo>
                  <a:pt x="1154" y="438"/>
                  <a:pt x="1150" y="431"/>
                  <a:pt x="1143" y="424"/>
                </a:cubicBezTo>
                <a:cubicBezTo>
                  <a:pt x="1136" y="417"/>
                  <a:pt x="1126" y="376"/>
                  <a:pt x="1124" y="345"/>
                </a:cubicBezTo>
                <a:cubicBezTo>
                  <a:pt x="1122" y="314"/>
                  <a:pt x="1116" y="304"/>
                  <a:pt x="1104" y="291"/>
                </a:cubicBezTo>
                <a:cubicBezTo>
                  <a:pt x="1093" y="277"/>
                  <a:pt x="1073" y="281"/>
                  <a:pt x="1084" y="231"/>
                </a:cubicBezTo>
                <a:cubicBezTo>
                  <a:pt x="1094" y="180"/>
                  <a:pt x="1109" y="150"/>
                  <a:pt x="1120" y="138"/>
                </a:cubicBezTo>
                <a:cubicBezTo>
                  <a:pt x="1131" y="126"/>
                  <a:pt x="1137" y="111"/>
                  <a:pt x="1131" y="99"/>
                </a:cubicBezTo>
                <a:cubicBezTo>
                  <a:pt x="1125" y="86"/>
                  <a:pt x="1140" y="84"/>
                  <a:pt x="1108" y="60"/>
                </a:cubicBezTo>
                <a:cubicBezTo>
                  <a:pt x="1077" y="37"/>
                  <a:pt x="1045" y="44"/>
                  <a:pt x="1028" y="32"/>
                </a:cubicBezTo>
                <a:cubicBezTo>
                  <a:pt x="1011" y="20"/>
                  <a:pt x="960" y="10"/>
                  <a:pt x="953" y="5"/>
                </a:cubicBezTo>
                <a:cubicBezTo>
                  <a:pt x="945" y="1"/>
                  <a:pt x="926" y="0"/>
                  <a:pt x="913" y="8"/>
                </a:cubicBezTo>
                <a:cubicBezTo>
                  <a:pt x="900" y="17"/>
                  <a:pt x="845" y="41"/>
                  <a:pt x="825" y="45"/>
                </a:cubicBezTo>
                <a:cubicBezTo>
                  <a:pt x="804" y="49"/>
                  <a:pt x="767" y="108"/>
                  <a:pt x="755" y="112"/>
                </a:cubicBezTo>
                <a:cubicBezTo>
                  <a:pt x="743" y="115"/>
                  <a:pt x="713" y="153"/>
                  <a:pt x="689" y="159"/>
                </a:cubicBezTo>
                <a:cubicBezTo>
                  <a:pt x="666" y="165"/>
                  <a:pt x="632" y="208"/>
                  <a:pt x="650" y="212"/>
                </a:cubicBezTo>
                <a:cubicBezTo>
                  <a:pt x="669" y="216"/>
                  <a:pt x="679" y="210"/>
                  <a:pt x="699" y="206"/>
                </a:cubicBezTo>
                <a:cubicBezTo>
                  <a:pt x="719" y="202"/>
                  <a:pt x="735" y="182"/>
                  <a:pt x="746" y="193"/>
                </a:cubicBezTo>
                <a:cubicBezTo>
                  <a:pt x="758" y="204"/>
                  <a:pt x="775" y="213"/>
                  <a:pt x="772" y="243"/>
                </a:cubicBezTo>
                <a:cubicBezTo>
                  <a:pt x="768" y="273"/>
                  <a:pt x="785" y="299"/>
                  <a:pt x="785" y="299"/>
                </a:cubicBezTo>
                <a:cubicBezTo>
                  <a:pt x="785" y="299"/>
                  <a:pt x="787" y="358"/>
                  <a:pt x="798" y="371"/>
                </a:cubicBezTo>
                <a:cubicBezTo>
                  <a:pt x="809" y="385"/>
                  <a:pt x="810" y="418"/>
                  <a:pt x="817" y="450"/>
                </a:cubicBezTo>
                <a:cubicBezTo>
                  <a:pt x="825" y="483"/>
                  <a:pt x="807" y="515"/>
                  <a:pt x="809" y="530"/>
                </a:cubicBezTo>
                <a:cubicBezTo>
                  <a:pt x="812" y="544"/>
                  <a:pt x="808" y="577"/>
                  <a:pt x="800" y="558"/>
                </a:cubicBezTo>
                <a:cubicBezTo>
                  <a:pt x="793" y="540"/>
                  <a:pt x="787" y="528"/>
                  <a:pt x="771" y="527"/>
                </a:cubicBezTo>
                <a:cubicBezTo>
                  <a:pt x="754" y="526"/>
                  <a:pt x="734" y="505"/>
                  <a:pt x="728" y="529"/>
                </a:cubicBezTo>
                <a:cubicBezTo>
                  <a:pt x="723" y="553"/>
                  <a:pt x="712" y="568"/>
                  <a:pt x="710" y="553"/>
                </a:cubicBezTo>
                <a:cubicBezTo>
                  <a:pt x="707" y="539"/>
                  <a:pt x="705" y="547"/>
                  <a:pt x="718" y="524"/>
                </a:cubicBezTo>
                <a:cubicBezTo>
                  <a:pt x="731" y="502"/>
                  <a:pt x="728" y="518"/>
                  <a:pt x="734" y="491"/>
                </a:cubicBezTo>
                <a:cubicBezTo>
                  <a:pt x="739" y="465"/>
                  <a:pt x="764" y="495"/>
                  <a:pt x="773" y="477"/>
                </a:cubicBezTo>
                <a:cubicBezTo>
                  <a:pt x="782" y="460"/>
                  <a:pt x="787" y="438"/>
                  <a:pt x="788" y="430"/>
                </a:cubicBezTo>
                <a:cubicBezTo>
                  <a:pt x="790" y="422"/>
                  <a:pt x="779" y="395"/>
                  <a:pt x="776" y="381"/>
                </a:cubicBezTo>
                <a:cubicBezTo>
                  <a:pt x="774" y="366"/>
                  <a:pt x="769" y="348"/>
                  <a:pt x="756" y="332"/>
                </a:cubicBezTo>
                <a:cubicBezTo>
                  <a:pt x="743" y="315"/>
                  <a:pt x="744" y="298"/>
                  <a:pt x="744" y="298"/>
                </a:cubicBezTo>
                <a:cubicBezTo>
                  <a:pt x="744" y="298"/>
                  <a:pt x="765" y="300"/>
                  <a:pt x="756" y="281"/>
                </a:cubicBezTo>
                <a:cubicBezTo>
                  <a:pt x="746" y="263"/>
                  <a:pt x="742" y="254"/>
                  <a:pt x="729" y="251"/>
                </a:cubicBezTo>
                <a:cubicBezTo>
                  <a:pt x="715" y="248"/>
                  <a:pt x="698" y="225"/>
                  <a:pt x="689" y="240"/>
                </a:cubicBezTo>
                <a:cubicBezTo>
                  <a:pt x="680" y="255"/>
                  <a:pt x="686" y="309"/>
                  <a:pt x="695" y="319"/>
                </a:cubicBezTo>
                <a:cubicBezTo>
                  <a:pt x="704" y="329"/>
                  <a:pt x="708" y="336"/>
                  <a:pt x="704" y="343"/>
                </a:cubicBezTo>
                <a:cubicBezTo>
                  <a:pt x="699" y="350"/>
                  <a:pt x="688" y="376"/>
                  <a:pt x="675" y="384"/>
                </a:cubicBezTo>
                <a:cubicBezTo>
                  <a:pt x="662" y="393"/>
                  <a:pt x="655" y="400"/>
                  <a:pt x="655" y="414"/>
                </a:cubicBezTo>
                <a:cubicBezTo>
                  <a:pt x="655" y="428"/>
                  <a:pt x="657" y="472"/>
                  <a:pt x="657" y="472"/>
                </a:cubicBezTo>
                <a:cubicBezTo>
                  <a:pt x="657" y="472"/>
                  <a:pt x="651" y="488"/>
                  <a:pt x="649" y="499"/>
                </a:cubicBezTo>
                <a:cubicBezTo>
                  <a:pt x="646" y="509"/>
                  <a:pt x="625" y="558"/>
                  <a:pt x="617" y="545"/>
                </a:cubicBezTo>
                <a:cubicBezTo>
                  <a:pt x="608" y="532"/>
                  <a:pt x="624" y="521"/>
                  <a:pt x="614" y="502"/>
                </a:cubicBezTo>
                <a:cubicBezTo>
                  <a:pt x="604" y="484"/>
                  <a:pt x="581" y="448"/>
                  <a:pt x="581" y="448"/>
                </a:cubicBezTo>
                <a:cubicBezTo>
                  <a:pt x="581" y="448"/>
                  <a:pt x="602" y="441"/>
                  <a:pt x="583" y="426"/>
                </a:cubicBezTo>
                <a:cubicBezTo>
                  <a:pt x="564" y="411"/>
                  <a:pt x="544" y="413"/>
                  <a:pt x="531" y="421"/>
                </a:cubicBezTo>
                <a:cubicBezTo>
                  <a:pt x="518" y="429"/>
                  <a:pt x="488" y="426"/>
                  <a:pt x="491" y="413"/>
                </a:cubicBezTo>
                <a:cubicBezTo>
                  <a:pt x="494" y="399"/>
                  <a:pt x="507" y="419"/>
                  <a:pt x="511" y="400"/>
                </a:cubicBezTo>
                <a:cubicBezTo>
                  <a:pt x="515" y="381"/>
                  <a:pt x="515" y="381"/>
                  <a:pt x="515" y="381"/>
                </a:cubicBezTo>
                <a:cubicBezTo>
                  <a:pt x="515" y="381"/>
                  <a:pt x="576" y="408"/>
                  <a:pt x="573" y="380"/>
                </a:cubicBezTo>
                <a:cubicBezTo>
                  <a:pt x="571" y="351"/>
                  <a:pt x="573" y="366"/>
                  <a:pt x="559" y="343"/>
                </a:cubicBezTo>
                <a:cubicBezTo>
                  <a:pt x="544" y="321"/>
                  <a:pt x="512" y="303"/>
                  <a:pt x="513" y="283"/>
                </a:cubicBezTo>
                <a:cubicBezTo>
                  <a:pt x="514" y="264"/>
                  <a:pt x="498" y="261"/>
                  <a:pt x="514" y="264"/>
                </a:cubicBezTo>
                <a:cubicBezTo>
                  <a:pt x="530" y="268"/>
                  <a:pt x="578" y="305"/>
                  <a:pt x="581" y="292"/>
                </a:cubicBezTo>
                <a:cubicBezTo>
                  <a:pt x="583" y="279"/>
                  <a:pt x="578" y="239"/>
                  <a:pt x="580" y="231"/>
                </a:cubicBezTo>
                <a:cubicBezTo>
                  <a:pt x="581" y="223"/>
                  <a:pt x="612" y="223"/>
                  <a:pt x="599" y="204"/>
                </a:cubicBezTo>
                <a:cubicBezTo>
                  <a:pt x="586" y="185"/>
                  <a:pt x="576" y="194"/>
                  <a:pt x="555" y="203"/>
                </a:cubicBezTo>
                <a:cubicBezTo>
                  <a:pt x="533" y="213"/>
                  <a:pt x="489" y="223"/>
                  <a:pt x="479" y="221"/>
                </a:cubicBezTo>
                <a:cubicBezTo>
                  <a:pt x="468" y="218"/>
                  <a:pt x="473" y="205"/>
                  <a:pt x="459" y="208"/>
                </a:cubicBezTo>
                <a:cubicBezTo>
                  <a:pt x="445" y="211"/>
                  <a:pt x="423" y="220"/>
                  <a:pt x="413" y="215"/>
                </a:cubicBezTo>
                <a:cubicBezTo>
                  <a:pt x="403" y="210"/>
                  <a:pt x="385" y="201"/>
                  <a:pt x="385" y="201"/>
                </a:cubicBezTo>
                <a:cubicBezTo>
                  <a:pt x="385" y="201"/>
                  <a:pt x="362" y="204"/>
                  <a:pt x="346" y="201"/>
                </a:cubicBezTo>
                <a:cubicBezTo>
                  <a:pt x="330" y="198"/>
                  <a:pt x="272" y="171"/>
                  <a:pt x="270" y="182"/>
                </a:cubicBezTo>
                <a:cubicBezTo>
                  <a:pt x="267" y="193"/>
                  <a:pt x="310" y="216"/>
                  <a:pt x="323" y="218"/>
                </a:cubicBezTo>
                <a:cubicBezTo>
                  <a:pt x="336" y="221"/>
                  <a:pt x="389" y="224"/>
                  <a:pt x="399" y="229"/>
                </a:cubicBezTo>
                <a:cubicBezTo>
                  <a:pt x="409" y="234"/>
                  <a:pt x="437" y="273"/>
                  <a:pt x="428" y="304"/>
                </a:cubicBezTo>
                <a:cubicBezTo>
                  <a:pt x="418" y="336"/>
                  <a:pt x="418" y="350"/>
                  <a:pt x="407" y="348"/>
                </a:cubicBezTo>
                <a:cubicBezTo>
                  <a:pt x="397" y="345"/>
                  <a:pt x="379" y="350"/>
                  <a:pt x="379" y="350"/>
                </a:cubicBezTo>
                <a:cubicBezTo>
                  <a:pt x="379" y="350"/>
                  <a:pt x="367" y="370"/>
                  <a:pt x="359" y="368"/>
                </a:cubicBezTo>
                <a:cubicBezTo>
                  <a:pt x="351" y="366"/>
                  <a:pt x="315" y="348"/>
                  <a:pt x="323" y="363"/>
                </a:cubicBezTo>
                <a:cubicBezTo>
                  <a:pt x="331" y="379"/>
                  <a:pt x="335" y="402"/>
                  <a:pt x="332" y="415"/>
                </a:cubicBezTo>
                <a:cubicBezTo>
                  <a:pt x="329" y="429"/>
                  <a:pt x="347" y="460"/>
                  <a:pt x="323" y="455"/>
                </a:cubicBezTo>
                <a:cubicBezTo>
                  <a:pt x="299" y="450"/>
                  <a:pt x="302" y="465"/>
                  <a:pt x="290" y="470"/>
                </a:cubicBezTo>
                <a:cubicBezTo>
                  <a:pt x="277" y="476"/>
                  <a:pt x="277" y="490"/>
                  <a:pt x="264" y="487"/>
                </a:cubicBezTo>
                <a:cubicBezTo>
                  <a:pt x="251" y="484"/>
                  <a:pt x="263" y="476"/>
                  <a:pt x="237" y="484"/>
                </a:cubicBezTo>
                <a:cubicBezTo>
                  <a:pt x="210" y="493"/>
                  <a:pt x="204" y="466"/>
                  <a:pt x="212" y="482"/>
                </a:cubicBezTo>
                <a:cubicBezTo>
                  <a:pt x="220" y="498"/>
                  <a:pt x="238" y="518"/>
                  <a:pt x="222" y="515"/>
                </a:cubicBezTo>
                <a:cubicBezTo>
                  <a:pt x="206" y="511"/>
                  <a:pt x="181" y="512"/>
                  <a:pt x="181" y="498"/>
                </a:cubicBezTo>
                <a:cubicBezTo>
                  <a:pt x="181" y="484"/>
                  <a:pt x="170" y="484"/>
                  <a:pt x="180" y="475"/>
                </a:cubicBezTo>
                <a:cubicBezTo>
                  <a:pt x="190" y="466"/>
                  <a:pt x="213" y="452"/>
                  <a:pt x="190" y="452"/>
                </a:cubicBezTo>
                <a:cubicBezTo>
                  <a:pt x="168" y="453"/>
                  <a:pt x="156" y="472"/>
                  <a:pt x="148" y="475"/>
                </a:cubicBezTo>
                <a:cubicBezTo>
                  <a:pt x="140" y="479"/>
                  <a:pt x="140" y="492"/>
                  <a:pt x="127" y="489"/>
                </a:cubicBezTo>
                <a:cubicBezTo>
                  <a:pt x="114" y="486"/>
                  <a:pt x="102" y="484"/>
                  <a:pt x="93" y="478"/>
                </a:cubicBezTo>
                <a:cubicBezTo>
                  <a:pt x="85" y="472"/>
                  <a:pt x="71" y="476"/>
                  <a:pt x="41" y="474"/>
                </a:cubicBezTo>
                <a:cubicBezTo>
                  <a:pt x="11" y="472"/>
                  <a:pt x="0" y="475"/>
                  <a:pt x="8" y="481"/>
                </a:cubicBezTo>
                <a:cubicBezTo>
                  <a:pt x="15" y="486"/>
                  <a:pt x="15" y="491"/>
                  <a:pt x="35" y="495"/>
                </a:cubicBezTo>
                <a:cubicBezTo>
                  <a:pt x="55" y="499"/>
                  <a:pt x="68" y="499"/>
                  <a:pt x="77" y="509"/>
                </a:cubicBezTo>
                <a:cubicBezTo>
                  <a:pt x="86" y="519"/>
                  <a:pt x="77" y="537"/>
                  <a:pt x="94" y="538"/>
                </a:cubicBezTo>
                <a:cubicBezTo>
                  <a:pt x="112" y="539"/>
                  <a:pt x="149" y="549"/>
                  <a:pt x="149" y="549"/>
                </a:cubicBezTo>
                <a:cubicBezTo>
                  <a:pt x="149" y="549"/>
                  <a:pt x="162" y="559"/>
                  <a:pt x="152" y="563"/>
                </a:cubicBezTo>
                <a:cubicBezTo>
                  <a:pt x="141" y="566"/>
                  <a:pt x="148" y="580"/>
                  <a:pt x="122" y="573"/>
                </a:cubicBezTo>
                <a:cubicBezTo>
                  <a:pt x="95" y="566"/>
                  <a:pt x="50" y="557"/>
                  <a:pt x="50" y="563"/>
                </a:cubicBezTo>
                <a:cubicBezTo>
                  <a:pt x="50" y="570"/>
                  <a:pt x="79" y="578"/>
                  <a:pt x="88" y="580"/>
                </a:cubicBezTo>
                <a:cubicBezTo>
                  <a:pt x="98" y="582"/>
                  <a:pt x="153" y="595"/>
                  <a:pt x="160" y="603"/>
                </a:cubicBezTo>
                <a:cubicBezTo>
                  <a:pt x="167" y="612"/>
                  <a:pt x="199" y="644"/>
                  <a:pt x="195" y="662"/>
                </a:cubicBezTo>
                <a:cubicBezTo>
                  <a:pt x="191" y="681"/>
                  <a:pt x="198" y="703"/>
                  <a:pt x="192" y="703"/>
                </a:cubicBezTo>
                <a:cubicBezTo>
                  <a:pt x="186" y="704"/>
                  <a:pt x="161" y="718"/>
                  <a:pt x="157" y="728"/>
                </a:cubicBezTo>
                <a:cubicBezTo>
                  <a:pt x="154" y="738"/>
                  <a:pt x="151" y="753"/>
                  <a:pt x="157" y="749"/>
                </a:cubicBezTo>
                <a:cubicBezTo>
                  <a:pt x="164" y="745"/>
                  <a:pt x="167" y="730"/>
                  <a:pt x="176" y="732"/>
                </a:cubicBezTo>
                <a:cubicBezTo>
                  <a:pt x="185" y="734"/>
                  <a:pt x="201" y="760"/>
                  <a:pt x="202" y="767"/>
                </a:cubicBezTo>
                <a:cubicBezTo>
                  <a:pt x="204" y="774"/>
                  <a:pt x="211" y="792"/>
                  <a:pt x="217" y="802"/>
                </a:cubicBezTo>
                <a:cubicBezTo>
                  <a:pt x="223" y="812"/>
                  <a:pt x="219" y="847"/>
                  <a:pt x="226" y="859"/>
                </a:cubicBezTo>
                <a:cubicBezTo>
                  <a:pt x="233" y="872"/>
                  <a:pt x="231" y="895"/>
                  <a:pt x="226" y="894"/>
                </a:cubicBezTo>
                <a:cubicBezTo>
                  <a:pt x="220" y="893"/>
                  <a:pt x="213" y="894"/>
                  <a:pt x="199" y="901"/>
                </a:cubicBezTo>
                <a:cubicBezTo>
                  <a:pt x="185" y="908"/>
                  <a:pt x="170" y="908"/>
                  <a:pt x="169" y="917"/>
                </a:cubicBezTo>
                <a:cubicBezTo>
                  <a:pt x="169" y="927"/>
                  <a:pt x="171" y="956"/>
                  <a:pt x="179" y="956"/>
                </a:cubicBezTo>
                <a:cubicBezTo>
                  <a:pt x="188" y="955"/>
                  <a:pt x="192" y="933"/>
                  <a:pt x="201" y="932"/>
                </a:cubicBezTo>
                <a:cubicBezTo>
                  <a:pt x="209" y="931"/>
                  <a:pt x="229" y="935"/>
                  <a:pt x="228" y="943"/>
                </a:cubicBezTo>
                <a:cubicBezTo>
                  <a:pt x="226" y="951"/>
                  <a:pt x="200" y="956"/>
                  <a:pt x="210" y="963"/>
                </a:cubicBezTo>
                <a:cubicBezTo>
                  <a:pt x="219" y="971"/>
                  <a:pt x="239" y="985"/>
                  <a:pt x="244" y="991"/>
                </a:cubicBezTo>
                <a:cubicBezTo>
                  <a:pt x="250" y="998"/>
                  <a:pt x="270" y="1023"/>
                  <a:pt x="268" y="1030"/>
                </a:cubicBezTo>
                <a:cubicBezTo>
                  <a:pt x="267" y="1037"/>
                  <a:pt x="262" y="1051"/>
                  <a:pt x="268" y="1049"/>
                </a:cubicBezTo>
                <a:cubicBezTo>
                  <a:pt x="274" y="1048"/>
                  <a:pt x="290" y="1033"/>
                  <a:pt x="290" y="1046"/>
                </a:cubicBezTo>
                <a:cubicBezTo>
                  <a:pt x="290" y="1058"/>
                  <a:pt x="292" y="1070"/>
                  <a:pt x="280" y="1067"/>
                </a:cubicBezTo>
                <a:cubicBezTo>
                  <a:pt x="268" y="1065"/>
                  <a:pt x="260" y="1062"/>
                  <a:pt x="266" y="1081"/>
                </a:cubicBezTo>
                <a:cubicBezTo>
                  <a:pt x="271" y="1100"/>
                  <a:pt x="269" y="1112"/>
                  <a:pt x="280" y="1114"/>
                </a:cubicBezTo>
                <a:cubicBezTo>
                  <a:pt x="290" y="1117"/>
                  <a:pt x="308" y="1127"/>
                  <a:pt x="311" y="1120"/>
                </a:cubicBezTo>
                <a:cubicBezTo>
                  <a:pt x="314" y="1112"/>
                  <a:pt x="312" y="1099"/>
                  <a:pt x="312" y="1099"/>
                </a:cubicBezTo>
                <a:cubicBezTo>
                  <a:pt x="312" y="1099"/>
                  <a:pt x="316" y="1100"/>
                  <a:pt x="331" y="1100"/>
                </a:cubicBezTo>
                <a:cubicBezTo>
                  <a:pt x="347" y="1101"/>
                  <a:pt x="358" y="1092"/>
                  <a:pt x="369" y="1087"/>
                </a:cubicBezTo>
                <a:cubicBezTo>
                  <a:pt x="380" y="1083"/>
                  <a:pt x="375" y="1077"/>
                  <a:pt x="392" y="1082"/>
                </a:cubicBezTo>
                <a:cubicBezTo>
                  <a:pt x="409" y="1087"/>
                  <a:pt x="431" y="1107"/>
                  <a:pt x="441" y="1108"/>
                </a:cubicBezTo>
                <a:cubicBezTo>
                  <a:pt x="451" y="1109"/>
                  <a:pt x="456" y="1106"/>
                  <a:pt x="472" y="1109"/>
                </a:cubicBezTo>
                <a:cubicBezTo>
                  <a:pt x="488" y="1112"/>
                  <a:pt x="518" y="1128"/>
                  <a:pt x="531" y="1131"/>
                </a:cubicBezTo>
                <a:cubicBezTo>
                  <a:pt x="544" y="1134"/>
                  <a:pt x="536" y="1093"/>
                  <a:pt x="566" y="1102"/>
                </a:cubicBezTo>
                <a:cubicBezTo>
                  <a:pt x="596" y="1111"/>
                  <a:pt x="571" y="1133"/>
                  <a:pt x="574" y="1144"/>
                </a:cubicBezTo>
                <a:cubicBezTo>
                  <a:pt x="577" y="1156"/>
                  <a:pt x="574" y="1153"/>
                  <a:pt x="577" y="1156"/>
                </a:cubicBezTo>
                <a:cubicBezTo>
                  <a:pt x="581" y="1160"/>
                  <a:pt x="592" y="1158"/>
                  <a:pt x="599" y="1157"/>
                </a:cubicBezTo>
                <a:cubicBezTo>
                  <a:pt x="607" y="1155"/>
                  <a:pt x="639" y="1155"/>
                  <a:pt x="638" y="1166"/>
                </a:cubicBezTo>
                <a:cubicBezTo>
                  <a:pt x="637" y="1177"/>
                  <a:pt x="633" y="1193"/>
                  <a:pt x="620" y="1190"/>
                </a:cubicBezTo>
                <a:cubicBezTo>
                  <a:pt x="607" y="1187"/>
                  <a:pt x="586" y="1193"/>
                  <a:pt x="586" y="1205"/>
                </a:cubicBezTo>
                <a:cubicBezTo>
                  <a:pt x="586" y="1218"/>
                  <a:pt x="591" y="1236"/>
                  <a:pt x="606" y="1239"/>
                </a:cubicBezTo>
                <a:cubicBezTo>
                  <a:pt x="620" y="1242"/>
                  <a:pt x="637" y="1237"/>
                  <a:pt x="642" y="1246"/>
                </a:cubicBezTo>
                <a:cubicBezTo>
                  <a:pt x="647" y="1256"/>
                  <a:pt x="672" y="1274"/>
                  <a:pt x="663" y="1283"/>
                </a:cubicBezTo>
                <a:cubicBezTo>
                  <a:pt x="654" y="1292"/>
                  <a:pt x="636" y="1287"/>
                  <a:pt x="629" y="1280"/>
                </a:cubicBezTo>
                <a:cubicBezTo>
                  <a:pt x="622" y="1273"/>
                  <a:pt x="605" y="1261"/>
                  <a:pt x="597" y="1259"/>
                </a:cubicBezTo>
                <a:cubicBezTo>
                  <a:pt x="589" y="1258"/>
                  <a:pt x="564" y="1257"/>
                  <a:pt x="563" y="1262"/>
                </a:cubicBezTo>
                <a:cubicBezTo>
                  <a:pt x="562" y="1267"/>
                  <a:pt x="570" y="1276"/>
                  <a:pt x="582" y="1277"/>
                </a:cubicBezTo>
                <a:cubicBezTo>
                  <a:pt x="595" y="1278"/>
                  <a:pt x="620" y="1285"/>
                  <a:pt x="632" y="1293"/>
                </a:cubicBezTo>
                <a:cubicBezTo>
                  <a:pt x="644" y="1301"/>
                  <a:pt x="677" y="1322"/>
                  <a:pt x="676" y="1330"/>
                </a:cubicBezTo>
                <a:cubicBezTo>
                  <a:pt x="674" y="1338"/>
                  <a:pt x="662" y="1351"/>
                  <a:pt x="673" y="1356"/>
                </a:cubicBezTo>
                <a:cubicBezTo>
                  <a:pt x="684" y="1361"/>
                  <a:pt x="691" y="1368"/>
                  <a:pt x="698" y="1358"/>
                </a:cubicBezTo>
                <a:cubicBezTo>
                  <a:pt x="704" y="1348"/>
                  <a:pt x="703" y="1340"/>
                  <a:pt x="715" y="1340"/>
                </a:cubicBezTo>
                <a:cubicBezTo>
                  <a:pt x="728" y="1340"/>
                  <a:pt x="738" y="1350"/>
                  <a:pt x="746" y="1353"/>
                </a:cubicBezTo>
                <a:cubicBezTo>
                  <a:pt x="754" y="1356"/>
                  <a:pt x="756" y="1371"/>
                  <a:pt x="772" y="1370"/>
                </a:cubicBezTo>
                <a:cubicBezTo>
                  <a:pt x="787" y="1369"/>
                  <a:pt x="813" y="1371"/>
                  <a:pt x="816" y="1366"/>
                </a:cubicBezTo>
                <a:cubicBezTo>
                  <a:pt x="818" y="1361"/>
                  <a:pt x="831" y="1342"/>
                  <a:pt x="837" y="1339"/>
                </a:cubicBezTo>
                <a:cubicBezTo>
                  <a:pt x="843" y="1336"/>
                  <a:pt x="881" y="1340"/>
                  <a:pt x="884" y="1328"/>
                </a:cubicBezTo>
                <a:cubicBezTo>
                  <a:pt x="886" y="1316"/>
                  <a:pt x="883" y="1303"/>
                  <a:pt x="875" y="1294"/>
                </a:cubicBezTo>
                <a:cubicBezTo>
                  <a:pt x="867" y="1285"/>
                  <a:pt x="865" y="1272"/>
                  <a:pt x="855" y="1263"/>
                </a:cubicBezTo>
                <a:cubicBezTo>
                  <a:pt x="846" y="1254"/>
                  <a:pt x="851" y="1253"/>
                  <a:pt x="849" y="1247"/>
                </a:cubicBezTo>
                <a:cubicBezTo>
                  <a:pt x="848" y="1241"/>
                  <a:pt x="832" y="1228"/>
                  <a:pt x="833" y="1224"/>
                </a:cubicBezTo>
                <a:cubicBezTo>
                  <a:pt x="834" y="1220"/>
                  <a:pt x="869" y="1238"/>
                  <a:pt x="878" y="1228"/>
                </a:cubicBezTo>
                <a:cubicBezTo>
                  <a:pt x="887" y="1217"/>
                  <a:pt x="887" y="1186"/>
                  <a:pt x="881" y="1182"/>
                </a:cubicBezTo>
                <a:cubicBezTo>
                  <a:pt x="875" y="1178"/>
                  <a:pt x="857" y="1176"/>
                  <a:pt x="844" y="1173"/>
                </a:cubicBezTo>
                <a:cubicBezTo>
                  <a:pt x="830" y="1170"/>
                  <a:pt x="804" y="1172"/>
                  <a:pt x="800" y="1163"/>
                </a:cubicBezTo>
                <a:cubicBezTo>
                  <a:pt x="796" y="1153"/>
                  <a:pt x="789" y="1144"/>
                  <a:pt x="794" y="1132"/>
                </a:cubicBezTo>
                <a:cubicBezTo>
                  <a:pt x="799" y="1121"/>
                  <a:pt x="810" y="1117"/>
                  <a:pt x="820" y="1120"/>
                </a:cubicBezTo>
                <a:cubicBezTo>
                  <a:pt x="831" y="1122"/>
                  <a:pt x="817" y="1144"/>
                  <a:pt x="817" y="1148"/>
                </a:cubicBezTo>
                <a:cubicBezTo>
                  <a:pt x="817" y="1152"/>
                  <a:pt x="829" y="1165"/>
                  <a:pt x="833" y="1156"/>
                </a:cubicBezTo>
                <a:cubicBezTo>
                  <a:pt x="838" y="1147"/>
                  <a:pt x="839" y="1130"/>
                  <a:pt x="840" y="1125"/>
                </a:cubicBezTo>
                <a:cubicBezTo>
                  <a:pt x="841" y="1120"/>
                  <a:pt x="847" y="1081"/>
                  <a:pt x="869" y="1068"/>
                </a:cubicBezTo>
                <a:cubicBezTo>
                  <a:pt x="890" y="1056"/>
                  <a:pt x="912" y="1037"/>
                  <a:pt x="929" y="1038"/>
                </a:cubicBezTo>
                <a:cubicBezTo>
                  <a:pt x="945" y="1040"/>
                  <a:pt x="1001" y="1046"/>
                  <a:pt x="1009" y="1038"/>
                </a:cubicBezTo>
                <a:cubicBezTo>
                  <a:pt x="1016" y="1031"/>
                  <a:pt x="1026" y="1016"/>
                  <a:pt x="1034" y="1016"/>
                </a:cubicBezTo>
                <a:cubicBezTo>
                  <a:pt x="1041" y="1016"/>
                  <a:pt x="1060" y="1012"/>
                  <a:pt x="1063" y="1007"/>
                </a:cubicBezTo>
                <a:cubicBezTo>
                  <a:pt x="1066" y="1002"/>
                  <a:pt x="1080" y="998"/>
                  <a:pt x="1071" y="987"/>
                </a:cubicBezTo>
                <a:cubicBezTo>
                  <a:pt x="1063" y="976"/>
                  <a:pt x="1061" y="968"/>
                  <a:pt x="1062" y="962"/>
                </a:cubicBezTo>
                <a:cubicBezTo>
                  <a:pt x="1063" y="957"/>
                  <a:pt x="1067" y="926"/>
                  <a:pt x="1056" y="909"/>
                </a:cubicBezTo>
                <a:cubicBezTo>
                  <a:pt x="1045" y="892"/>
                  <a:pt x="1034" y="880"/>
                  <a:pt x="1016" y="871"/>
                </a:cubicBezTo>
                <a:cubicBezTo>
                  <a:pt x="997" y="862"/>
                  <a:pt x="951" y="844"/>
                  <a:pt x="938" y="836"/>
                </a:cubicBezTo>
                <a:cubicBezTo>
                  <a:pt x="925" y="828"/>
                  <a:pt x="893" y="804"/>
                  <a:pt x="890" y="791"/>
                </a:cubicBezTo>
                <a:cubicBezTo>
                  <a:pt x="887" y="777"/>
                  <a:pt x="889" y="740"/>
                  <a:pt x="894" y="717"/>
                </a:cubicBezTo>
                <a:cubicBezTo>
                  <a:pt x="899" y="694"/>
                  <a:pt x="930" y="662"/>
                  <a:pt x="954" y="644"/>
                </a:cubicBezTo>
                <a:cubicBezTo>
                  <a:pt x="978" y="627"/>
                  <a:pt x="1001" y="623"/>
                  <a:pt x="1005" y="607"/>
                </a:cubicBezTo>
                <a:cubicBezTo>
                  <a:pt x="1008" y="591"/>
                  <a:pt x="1027" y="587"/>
                  <a:pt x="1040" y="596"/>
                </a:cubicBezTo>
                <a:cubicBezTo>
                  <a:pt x="1053" y="604"/>
                  <a:pt x="1075" y="614"/>
                  <a:pt x="1077" y="605"/>
                </a:cubicBezTo>
                <a:cubicBezTo>
                  <a:pt x="1079" y="597"/>
                  <a:pt x="1073" y="584"/>
                  <a:pt x="1082" y="577"/>
                </a:cubicBezTo>
                <a:cubicBezTo>
                  <a:pt x="1091" y="569"/>
                  <a:pt x="1105" y="571"/>
                  <a:pt x="1111" y="550"/>
                </a:cubicBezTo>
                <a:cubicBezTo>
                  <a:pt x="1117" y="529"/>
                  <a:pt x="1124" y="534"/>
                  <a:pt x="1130" y="533"/>
                </a:cubicBezTo>
                <a:cubicBezTo>
                  <a:pt x="1134" y="532"/>
                  <a:pt x="1142" y="524"/>
                  <a:pt x="1136" y="543"/>
                </a:cubicBezTo>
                <a:cubicBezTo>
                  <a:pt x="1130" y="563"/>
                  <a:pt x="1129" y="564"/>
                  <a:pt x="1123" y="582"/>
                </a:cubicBezTo>
                <a:cubicBezTo>
                  <a:pt x="1118" y="599"/>
                  <a:pt x="1102" y="605"/>
                  <a:pt x="1109" y="623"/>
                </a:cubicBezTo>
                <a:cubicBezTo>
                  <a:pt x="1116" y="641"/>
                  <a:pt x="1104" y="663"/>
                  <a:pt x="1130" y="663"/>
                </a:cubicBezTo>
                <a:cubicBezTo>
                  <a:pt x="1156" y="663"/>
                  <a:pt x="1164" y="642"/>
                  <a:pt x="1164" y="642"/>
                </a:cubicBezTo>
                <a:lnTo>
                  <a:pt x="1182" y="63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/>
          </a:p>
        </p:txBody>
      </p:sp>
      <p:sp>
        <p:nvSpPr>
          <p:cNvPr id="11" name="Freeform 7"/>
          <p:cNvSpPr>
            <a:spLocks/>
          </p:cNvSpPr>
          <p:nvPr userDrawn="1"/>
        </p:nvSpPr>
        <p:spPr bwMode="auto">
          <a:xfrm>
            <a:off x="7367588" y="4595813"/>
            <a:ext cx="58737" cy="65087"/>
          </a:xfrm>
          <a:custGeom>
            <a:avLst/>
            <a:gdLst>
              <a:gd name="T0" fmla="*/ 35 w 39"/>
              <a:gd name="T1" fmla="*/ 41 h 44"/>
              <a:gd name="T2" fmla="*/ 39 w 39"/>
              <a:gd name="T3" fmla="*/ 15 h 44"/>
              <a:gd name="T4" fmla="*/ 28 w 39"/>
              <a:gd name="T5" fmla="*/ 2 h 44"/>
              <a:gd name="T6" fmla="*/ 4 w 39"/>
              <a:gd name="T7" fmla="*/ 19 h 44"/>
              <a:gd name="T8" fmla="*/ 13 w 39"/>
              <a:gd name="T9" fmla="*/ 40 h 44"/>
              <a:gd name="T10" fmla="*/ 35 w 39"/>
              <a:gd name="T11" fmla="*/ 41 h 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9" h="44">
                <a:moveTo>
                  <a:pt x="35" y="41"/>
                </a:moveTo>
                <a:cubicBezTo>
                  <a:pt x="35" y="41"/>
                  <a:pt x="39" y="21"/>
                  <a:pt x="39" y="15"/>
                </a:cubicBezTo>
                <a:cubicBezTo>
                  <a:pt x="38" y="10"/>
                  <a:pt x="38" y="2"/>
                  <a:pt x="28" y="2"/>
                </a:cubicBezTo>
                <a:cubicBezTo>
                  <a:pt x="19" y="2"/>
                  <a:pt x="8" y="0"/>
                  <a:pt x="4" y="19"/>
                </a:cubicBezTo>
                <a:cubicBezTo>
                  <a:pt x="0" y="39"/>
                  <a:pt x="8" y="35"/>
                  <a:pt x="13" y="40"/>
                </a:cubicBezTo>
                <a:cubicBezTo>
                  <a:pt x="18" y="44"/>
                  <a:pt x="35" y="41"/>
                  <a:pt x="35" y="4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/>
          </a:p>
        </p:txBody>
      </p:sp>
      <p:sp>
        <p:nvSpPr>
          <p:cNvPr id="12" name="Freeform 8"/>
          <p:cNvSpPr>
            <a:spLocks/>
          </p:cNvSpPr>
          <p:nvPr userDrawn="1"/>
        </p:nvSpPr>
        <p:spPr bwMode="auto">
          <a:xfrm>
            <a:off x="3729038" y="1235076"/>
            <a:ext cx="2816225" cy="5116512"/>
          </a:xfrm>
          <a:custGeom>
            <a:avLst/>
            <a:gdLst>
              <a:gd name="T0" fmla="*/ 1487 w 1905"/>
              <a:gd name="T1" fmla="*/ 1358 h 3458"/>
              <a:gd name="T2" fmla="*/ 1497 w 1905"/>
              <a:gd name="T3" fmla="*/ 1284 h 3458"/>
              <a:gd name="T4" fmla="*/ 1467 w 1905"/>
              <a:gd name="T5" fmla="*/ 1229 h 3458"/>
              <a:gd name="T6" fmla="*/ 1299 w 1905"/>
              <a:gd name="T7" fmla="*/ 812 h 3458"/>
              <a:gd name="T8" fmla="*/ 1509 w 1905"/>
              <a:gd name="T9" fmla="*/ 842 h 3458"/>
              <a:gd name="T10" fmla="*/ 1544 w 1905"/>
              <a:gd name="T11" fmla="*/ 273 h 3458"/>
              <a:gd name="T12" fmla="*/ 1218 w 1905"/>
              <a:gd name="T13" fmla="*/ 217 h 3458"/>
              <a:gd name="T14" fmla="*/ 634 w 1905"/>
              <a:gd name="T15" fmla="*/ 693 h 3458"/>
              <a:gd name="T16" fmla="*/ 161 w 1905"/>
              <a:gd name="T17" fmla="*/ 1052 h 3458"/>
              <a:gd name="T18" fmla="*/ 316 w 1905"/>
              <a:gd name="T19" fmla="*/ 1336 h 3458"/>
              <a:gd name="T20" fmla="*/ 302 w 1905"/>
              <a:gd name="T21" fmla="*/ 1269 h 3458"/>
              <a:gd name="T22" fmla="*/ 309 w 1905"/>
              <a:gd name="T23" fmla="*/ 1178 h 3458"/>
              <a:gd name="T24" fmla="*/ 464 w 1905"/>
              <a:gd name="T25" fmla="*/ 944 h 3458"/>
              <a:gd name="T26" fmla="*/ 615 w 1905"/>
              <a:gd name="T27" fmla="*/ 866 h 3458"/>
              <a:gd name="T28" fmla="*/ 687 w 1905"/>
              <a:gd name="T29" fmla="*/ 789 h 3458"/>
              <a:gd name="T30" fmla="*/ 971 w 1905"/>
              <a:gd name="T31" fmla="*/ 828 h 3458"/>
              <a:gd name="T32" fmla="*/ 1182 w 1905"/>
              <a:gd name="T33" fmla="*/ 828 h 3458"/>
              <a:gd name="T34" fmla="*/ 1000 w 1905"/>
              <a:gd name="T35" fmla="*/ 911 h 3458"/>
              <a:gd name="T36" fmla="*/ 750 w 1905"/>
              <a:gd name="T37" fmla="*/ 1029 h 3458"/>
              <a:gd name="T38" fmla="*/ 789 w 1905"/>
              <a:gd name="T39" fmla="*/ 1239 h 3458"/>
              <a:gd name="T40" fmla="*/ 869 w 1905"/>
              <a:gd name="T41" fmla="*/ 1423 h 3458"/>
              <a:gd name="T42" fmla="*/ 742 w 1905"/>
              <a:gd name="T43" fmla="*/ 1329 h 3458"/>
              <a:gd name="T44" fmla="*/ 667 w 1905"/>
              <a:gd name="T45" fmla="*/ 1380 h 3458"/>
              <a:gd name="T46" fmla="*/ 698 w 1905"/>
              <a:gd name="T47" fmla="*/ 1140 h 3458"/>
              <a:gd name="T48" fmla="*/ 530 w 1905"/>
              <a:gd name="T49" fmla="*/ 1212 h 3458"/>
              <a:gd name="T50" fmla="*/ 433 w 1905"/>
              <a:gd name="T51" fmla="*/ 1354 h 3458"/>
              <a:gd name="T52" fmla="*/ 368 w 1905"/>
              <a:gd name="T53" fmla="*/ 1452 h 3458"/>
              <a:gd name="T54" fmla="*/ 167 w 1905"/>
              <a:gd name="T55" fmla="*/ 1387 h 3458"/>
              <a:gd name="T56" fmla="*/ 74 w 1905"/>
              <a:gd name="T57" fmla="*/ 1327 h 3458"/>
              <a:gd name="T58" fmla="*/ 133 w 1905"/>
              <a:gd name="T59" fmla="*/ 1572 h 3458"/>
              <a:gd name="T60" fmla="*/ 125 w 1905"/>
              <a:gd name="T61" fmla="*/ 1674 h 3458"/>
              <a:gd name="T62" fmla="*/ 36 w 1905"/>
              <a:gd name="T63" fmla="*/ 1899 h 3458"/>
              <a:gd name="T64" fmla="*/ 163 w 1905"/>
              <a:gd name="T65" fmla="*/ 1998 h 3458"/>
              <a:gd name="T66" fmla="*/ 89 w 1905"/>
              <a:gd name="T67" fmla="*/ 2215 h 3458"/>
              <a:gd name="T68" fmla="*/ 16 w 1905"/>
              <a:gd name="T69" fmla="*/ 2578 h 3458"/>
              <a:gd name="T70" fmla="*/ 116 w 1905"/>
              <a:gd name="T71" fmla="*/ 2578 h 3458"/>
              <a:gd name="T72" fmla="*/ 387 w 1905"/>
              <a:gd name="T73" fmla="*/ 2967 h 3458"/>
              <a:gd name="T74" fmla="*/ 547 w 1905"/>
              <a:gd name="T75" fmla="*/ 3339 h 3458"/>
              <a:gd name="T76" fmla="*/ 902 w 1905"/>
              <a:gd name="T77" fmla="*/ 3446 h 3458"/>
              <a:gd name="T78" fmla="*/ 1057 w 1905"/>
              <a:gd name="T79" fmla="*/ 3335 h 3458"/>
              <a:gd name="T80" fmla="*/ 1119 w 1905"/>
              <a:gd name="T81" fmla="*/ 3387 h 3458"/>
              <a:gd name="T82" fmla="*/ 1000 w 1905"/>
              <a:gd name="T83" fmla="*/ 3183 h 3458"/>
              <a:gd name="T84" fmla="*/ 955 w 1905"/>
              <a:gd name="T85" fmla="*/ 3078 h 3458"/>
              <a:gd name="T86" fmla="*/ 1076 w 1905"/>
              <a:gd name="T87" fmla="*/ 2922 h 3458"/>
              <a:gd name="T88" fmla="*/ 1016 w 1905"/>
              <a:gd name="T89" fmla="*/ 2734 h 3458"/>
              <a:gd name="T90" fmla="*/ 996 w 1905"/>
              <a:gd name="T91" fmla="*/ 2630 h 3458"/>
              <a:gd name="T92" fmla="*/ 1156 w 1905"/>
              <a:gd name="T93" fmla="*/ 2519 h 3458"/>
              <a:gd name="T94" fmla="*/ 994 w 1905"/>
              <a:gd name="T95" fmla="*/ 2398 h 3458"/>
              <a:gd name="T96" fmla="*/ 1288 w 1905"/>
              <a:gd name="T97" fmla="*/ 2389 h 3458"/>
              <a:gd name="T98" fmla="*/ 1207 w 1905"/>
              <a:gd name="T99" fmla="*/ 2224 h 3458"/>
              <a:gd name="T100" fmla="*/ 1410 w 1905"/>
              <a:gd name="T101" fmla="*/ 2194 h 3458"/>
              <a:gd name="T102" fmla="*/ 1447 w 1905"/>
              <a:gd name="T103" fmla="*/ 1950 h 3458"/>
              <a:gd name="T104" fmla="*/ 1577 w 1905"/>
              <a:gd name="T105" fmla="*/ 1721 h 3458"/>
              <a:gd name="T106" fmla="*/ 1538 w 1905"/>
              <a:gd name="T107" fmla="*/ 1873 h 3458"/>
              <a:gd name="T108" fmla="*/ 1633 w 1905"/>
              <a:gd name="T109" fmla="*/ 1840 h 3458"/>
              <a:gd name="T110" fmla="*/ 1755 w 1905"/>
              <a:gd name="T111" fmla="*/ 1870 h 3458"/>
              <a:gd name="T112" fmla="*/ 1881 w 1905"/>
              <a:gd name="T113" fmla="*/ 1555 h 34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905" h="3458">
                <a:moveTo>
                  <a:pt x="1841" y="1468"/>
                </a:moveTo>
                <a:cubicBezTo>
                  <a:pt x="1836" y="1454"/>
                  <a:pt x="1835" y="1445"/>
                  <a:pt x="1830" y="1440"/>
                </a:cubicBezTo>
                <a:cubicBezTo>
                  <a:pt x="1826" y="1435"/>
                  <a:pt x="1787" y="1413"/>
                  <a:pt x="1780" y="1416"/>
                </a:cubicBezTo>
                <a:cubicBezTo>
                  <a:pt x="1772" y="1418"/>
                  <a:pt x="1762" y="1427"/>
                  <a:pt x="1754" y="1426"/>
                </a:cubicBezTo>
                <a:cubicBezTo>
                  <a:pt x="1746" y="1424"/>
                  <a:pt x="1707" y="1431"/>
                  <a:pt x="1702" y="1432"/>
                </a:cubicBezTo>
                <a:cubicBezTo>
                  <a:pt x="1698" y="1432"/>
                  <a:pt x="1629" y="1461"/>
                  <a:pt x="1607" y="1453"/>
                </a:cubicBezTo>
                <a:cubicBezTo>
                  <a:pt x="1585" y="1446"/>
                  <a:pt x="1521" y="1420"/>
                  <a:pt x="1509" y="1397"/>
                </a:cubicBezTo>
                <a:cubicBezTo>
                  <a:pt x="1497" y="1373"/>
                  <a:pt x="1504" y="1362"/>
                  <a:pt x="1487" y="1358"/>
                </a:cubicBezTo>
                <a:cubicBezTo>
                  <a:pt x="1469" y="1355"/>
                  <a:pt x="1463" y="1371"/>
                  <a:pt x="1456" y="1377"/>
                </a:cubicBezTo>
                <a:cubicBezTo>
                  <a:pt x="1450" y="1383"/>
                  <a:pt x="1434" y="1389"/>
                  <a:pt x="1431" y="1404"/>
                </a:cubicBezTo>
                <a:cubicBezTo>
                  <a:pt x="1428" y="1418"/>
                  <a:pt x="1426" y="1475"/>
                  <a:pt x="1423" y="1484"/>
                </a:cubicBezTo>
                <a:cubicBezTo>
                  <a:pt x="1419" y="1493"/>
                  <a:pt x="1414" y="1479"/>
                  <a:pt x="1412" y="1454"/>
                </a:cubicBezTo>
                <a:cubicBezTo>
                  <a:pt x="1411" y="1429"/>
                  <a:pt x="1406" y="1410"/>
                  <a:pt x="1418" y="1394"/>
                </a:cubicBezTo>
                <a:cubicBezTo>
                  <a:pt x="1430" y="1378"/>
                  <a:pt x="1446" y="1355"/>
                  <a:pt x="1461" y="1339"/>
                </a:cubicBezTo>
                <a:cubicBezTo>
                  <a:pt x="1477" y="1323"/>
                  <a:pt x="1505" y="1319"/>
                  <a:pt x="1504" y="1310"/>
                </a:cubicBezTo>
                <a:cubicBezTo>
                  <a:pt x="1503" y="1302"/>
                  <a:pt x="1509" y="1289"/>
                  <a:pt x="1497" y="1284"/>
                </a:cubicBezTo>
                <a:cubicBezTo>
                  <a:pt x="1484" y="1278"/>
                  <a:pt x="1469" y="1271"/>
                  <a:pt x="1464" y="1262"/>
                </a:cubicBezTo>
                <a:cubicBezTo>
                  <a:pt x="1459" y="1252"/>
                  <a:pt x="1461" y="1237"/>
                  <a:pt x="1446" y="1234"/>
                </a:cubicBezTo>
                <a:cubicBezTo>
                  <a:pt x="1431" y="1231"/>
                  <a:pt x="1426" y="1254"/>
                  <a:pt x="1410" y="1250"/>
                </a:cubicBezTo>
                <a:cubicBezTo>
                  <a:pt x="1394" y="1247"/>
                  <a:pt x="1386" y="1248"/>
                  <a:pt x="1383" y="1236"/>
                </a:cubicBezTo>
                <a:cubicBezTo>
                  <a:pt x="1380" y="1224"/>
                  <a:pt x="1369" y="1218"/>
                  <a:pt x="1378" y="1213"/>
                </a:cubicBezTo>
                <a:cubicBezTo>
                  <a:pt x="1387" y="1208"/>
                  <a:pt x="1393" y="1227"/>
                  <a:pt x="1407" y="1222"/>
                </a:cubicBezTo>
                <a:cubicBezTo>
                  <a:pt x="1420" y="1216"/>
                  <a:pt x="1418" y="1210"/>
                  <a:pt x="1426" y="1210"/>
                </a:cubicBezTo>
                <a:cubicBezTo>
                  <a:pt x="1434" y="1211"/>
                  <a:pt x="1460" y="1234"/>
                  <a:pt x="1467" y="1229"/>
                </a:cubicBezTo>
                <a:cubicBezTo>
                  <a:pt x="1473" y="1223"/>
                  <a:pt x="1488" y="1212"/>
                  <a:pt x="1487" y="1205"/>
                </a:cubicBezTo>
                <a:cubicBezTo>
                  <a:pt x="1486" y="1198"/>
                  <a:pt x="1468" y="1164"/>
                  <a:pt x="1460" y="1149"/>
                </a:cubicBezTo>
                <a:cubicBezTo>
                  <a:pt x="1451" y="1135"/>
                  <a:pt x="1442" y="1061"/>
                  <a:pt x="1441" y="1046"/>
                </a:cubicBezTo>
                <a:cubicBezTo>
                  <a:pt x="1440" y="1032"/>
                  <a:pt x="1440" y="996"/>
                  <a:pt x="1444" y="976"/>
                </a:cubicBezTo>
                <a:cubicBezTo>
                  <a:pt x="1449" y="956"/>
                  <a:pt x="1476" y="901"/>
                  <a:pt x="1445" y="902"/>
                </a:cubicBezTo>
                <a:cubicBezTo>
                  <a:pt x="1414" y="904"/>
                  <a:pt x="1392" y="893"/>
                  <a:pt x="1385" y="889"/>
                </a:cubicBezTo>
                <a:cubicBezTo>
                  <a:pt x="1377" y="884"/>
                  <a:pt x="1363" y="859"/>
                  <a:pt x="1344" y="852"/>
                </a:cubicBezTo>
                <a:cubicBezTo>
                  <a:pt x="1324" y="845"/>
                  <a:pt x="1308" y="819"/>
                  <a:pt x="1299" y="812"/>
                </a:cubicBezTo>
                <a:cubicBezTo>
                  <a:pt x="1291" y="805"/>
                  <a:pt x="1268" y="807"/>
                  <a:pt x="1279" y="795"/>
                </a:cubicBezTo>
                <a:cubicBezTo>
                  <a:pt x="1290" y="784"/>
                  <a:pt x="1297" y="784"/>
                  <a:pt x="1305" y="791"/>
                </a:cubicBezTo>
                <a:cubicBezTo>
                  <a:pt x="1313" y="798"/>
                  <a:pt x="1307" y="811"/>
                  <a:pt x="1327" y="818"/>
                </a:cubicBezTo>
                <a:cubicBezTo>
                  <a:pt x="1348" y="825"/>
                  <a:pt x="1375" y="841"/>
                  <a:pt x="1375" y="849"/>
                </a:cubicBezTo>
                <a:cubicBezTo>
                  <a:pt x="1375" y="857"/>
                  <a:pt x="1396" y="877"/>
                  <a:pt x="1405" y="880"/>
                </a:cubicBezTo>
                <a:cubicBezTo>
                  <a:pt x="1414" y="883"/>
                  <a:pt x="1420" y="892"/>
                  <a:pt x="1435" y="888"/>
                </a:cubicBezTo>
                <a:cubicBezTo>
                  <a:pt x="1450" y="884"/>
                  <a:pt x="1476" y="884"/>
                  <a:pt x="1483" y="877"/>
                </a:cubicBezTo>
                <a:cubicBezTo>
                  <a:pt x="1490" y="870"/>
                  <a:pt x="1508" y="850"/>
                  <a:pt x="1509" y="842"/>
                </a:cubicBezTo>
                <a:cubicBezTo>
                  <a:pt x="1509" y="834"/>
                  <a:pt x="1509" y="817"/>
                  <a:pt x="1517" y="788"/>
                </a:cubicBezTo>
                <a:cubicBezTo>
                  <a:pt x="1526" y="759"/>
                  <a:pt x="1539" y="712"/>
                  <a:pt x="1551" y="696"/>
                </a:cubicBezTo>
                <a:cubicBezTo>
                  <a:pt x="1562" y="681"/>
                  <a:pt x="1600" y="629"/>
                  <a:pt x="1614" y="618"/>
                </a:cubicBezTo>
                <a:cubicBezTo>
                  <a:pt x="1629" y="607"/>
                  <a:pt x="1616" y="558"/>
                  <a:pt x="1608" y="537"/>
                </a:cubicBezTo>
                <a:cubicBezTo>
                  <a:pt x="1600" y="516"/>
                  <a:pt x="1595" y="412"/>
                  <a:pt x="1600" y="395"/>
                </a:cubicBezTo>
                <a:cubicBezTo>
                  <a:pt x="1605" y="378"/>
                  <a:pt x="1613" y="368"/>
                  <a:pt x="1610" y="359"/>
                </a:cubicBezTo>
                <a:cubicBezTo>
                  <a:pt x="1608" y="351"/>
                  <a:pt x="1609" y="319"/>
                  <a:pt x="1596" y="310"/>
                </a:cubicBezTo>
                <a:cubicBezTo>
                  <a:pt x="1582" y="302"/>
                  <a:pt x="1548" y="284"/>
                  <a:pt x="1544" y="273"/>
                </a:cubicBezTo>
                <a:cubicBezTo>
                  <a:pt x="1539" y="262"/>
                  <a:pt x="1530" y="166"/>
                  <a:pt x="1537" y="150"/>
                </a:cubicBezTo>
                <a:cubicBezTo>
                  <a:pt x="1545" y="135"/>
                  <a:pt x="1578" y="81"/>
                  <a:pt x="1597" y="67"/>
                </a:cubicBezTo>
                <a:cubicBezTo>
                  <a:pt x="1615" y="53"/>
                  <a:pt x="1659" y="27"/>
                  <a:pt x="1660" y="16"/>
                </a:cubicBezTo>
                <a:cubicBezTo>
                  <a:pt x="1661" y="5"/>
                  <a:pt x="1629" y="0"/>
                  <a:pt x="1614" y="4"/>
                </a:cubicBezTo>
                <a:cubicBezTo>
                  <a:pt x="1599" y="8"/>
                  <a:pt x="1556" y="50"/>
                  <a:pt x="1542" y="64"/>
                </a:cubicBezTo>
                <a:cubicBezTo>
                  <a:pt x="1528" y="77"/>
                  <a:pt x="1478" y="142"/>
                  <a:pt x="1453" y="149"/>
                </a:cubicBezTo>
                <a:cubicBezTo>
                  <a:pt x="1427" y="157"/>
                  <a:pt x="1347" y="195"/>
                  <a:pt x="1301" y="189"/>
                </a:cubicBezTo>
                <a:cubicBezTo>
                  <a:pt x="1255" y="182"/>
                  <a:pt x="1229" y="175"/>
                  <a:pt x="1218" y="217"/>
                </a:cubicBezTo>
                <a:cubicBezTo>
                  <a:pt x="1208" y="259"/>
                  <a:pt x="1159" y="292"/>
                  <a:pt x="1153" y="304"/>
                </a:cubicBezTo>
                <a:cubicBezTo>
                  <a:pt x="1146" y="315"/>
                  <a:pt x="1119" y="359"/>
                  <a:pt x="1107" y="389"/>
                </a:cubicBezTo>
                <a:cubicBezTo>
                  <a:pt x="1095" y="418"/>
                  <a:pt x="1023" y="564"/>
                  <a:pt x="1005" y="582"/>
                </a:cubicBezTo>
                <a:cubicBezTo>
                  <a:pt x="988" y="599"/>
                  <a:pt x="887" y="695"/>
                  <a:pt x="873" y="692"/>
                </a:cubicBezTo>
                <a:cubicBezTo>
                  <a:pt x="860" y="689"/>
                  <a:pt x="850" y="695"/>
                  <a:pt x="845" y="700"/>
                </a:cubicBezTo>
                <a:cubicBezTo>
                  <a:pt x="840" y="704"/>
                  <a:pt x="813" y="714"/>
                  <a:pt x="798" y="712"/>
                </a:cubicBezTo>
                <a:cubicBezTo>
                  <a:pt x="783" y="710"/>
                  <a:pt x="739" y="716"/>
                  <a:pt x="711" y="709"/>
                </a:cubicBezTo>
                <a:cubicBezTo>
                  <a:pt x="683" y="702"/>
                  <a:pt x="645" y="687"/>
                  <a:pt x="634" y="693"/>
                </a:cubicBezTo>
                <a:cubicBezTo>
                  <a:pt x="623" y="699"/>
                  <a:pt x="582" y="707"/>
                  <a:pt x="576" y="714"/>
                </a:cubicBezTo>
                <a:cubicBezTo>
                  <a:pt x="571" y="721"/>
                  <a:pt x="506" y="765"/>
                  <a:pt x="491" y="762"/>
                </a:cubicBezTo>
                <a:cubicBezTo>
                  <a:pt x="476" y="759"/>
                  <a:pt x="426" y="761"/>
                  <a:pt x="405" y="742"/>
                </a:cubicBezTo>
                <a:cubicBezTo>
                  <a:pt x="383" y="724"/>
                  <a:pt x="373" y="741"/>
                  <a:pt x="364" y="748"/>
                </a:cubicBezTo>
                <a:cubicBezTo>
                  <a:pt x="356" y="754"/>
                  <a:pt x="338" y="823"/>
                  <a:pt x="320" y="826"/>
                </a:cubicBezTo>
                <a:cubicBezTo>
                  <a:pt x="303" y="829"/>
                  <a:pt x="278" y="863"/>
                  <a:pt x="267" y="879"/>
                </a:cubicBezTo>
                <a:cubicBezTo>
                  <a:pt x="257" y="895"/>
                  <a:pt x="220" y="936"/>
                  <a:pt x="216" y="944"/>
                </a:cubicBezTo>
                <a:cubicBezTo>
                  <a:pt x="212" y="951"/>
                  <a:pt x="170" y="1041"/>
                  <a:pt x="161" y="1052"/>
                </a:cubicBezTo>
                <a:cubicBezTo>
                  <a:pt x="152" y="1062"/>
                  <a:pt x="143" y="1086"/>
                  <a:pt x="140" y="1100"/>
                </a:cubicBezTo>
                <a:cubicBezTo>
                  <a:pt x="137" y="1115"/>
                  <a:pt x="130" y="1215"/>
                  <a:pt x="140" y="1213"/>
                </a:cubicBezTo>
                <a:cubicBezTo>
                  <a:pt x="150" y="1211"/>
                  <a:pt x="155" y="1201"/>
                  <a:pt x="151" y="1193"/>
                </a:cubicBezTo>
                <a:cubicBezTo>
                  <a:pt x="147" y="1185"/>
                  <a:pt x="142" y="1152"/>
                  <a:pt x="151" y="1148"/>
                </a:cubicBezTo>
                <a:cubicBezTo>
                  <a:pt x="160" y="1145"/>
                  <a:pt x="183" y="1153"/>
                  <a:pt x="185" y="1164"/>
                </a:cubicBezTo>
                <a:cubicBezTo>
                  <a:pt x="187" y="1176"/>
                  <a:pt x="192" y="1232"/>
                  <a:pt x="196" y="1236"/>
                </a:cubicBezTo>
                <a:cubicBezTo>
                  <a:pt x="201" y="1240"/>
                  <a:pt x="269" y="1276"/>
                  <a:pt x="274" y="1283"/>
                </a:cubicBezTo>
                <a:cubicBezTo>
                  <a:pt x="280" y="1290"/>
                  <a:pt x="314" y="1326"/>
                  <a:pt x="316" y="1336"/>
                </a:cubicBezTo>
                <a:cubicBezTo>
                  <a:pt x="318" y="1347"/>
                  <a:pt x="322" y="1374"/>
                  <a:pt x="329" y="1368"/>
                </a:cubicBezTo>
                <a:cubicBezTo>
                  <a:pt x="335" y="1363"/>
                  <a:pt x="349" y="1359"/>
                  <a:pt x="355" y="1350"/>
                </a:cubicBezTo>
                <a:cubicBezTo>
                  <a:pt x="361" y="1342"/>
                  <a:pt x="362" y="1336"/>
                  <a:pt x="363" y="1325"/>
                </a:cubicBezTo>
                <a:cubicBezTo>
                  <a:pt x="364" y="1314"/>
                  <a:pt x="361" y="1313"/>
                  <a:pt x="355" y="1303"/>
                </a:cubicBezTo>
                <a:cubicBezTo>
                  <a:pt x="349" y="1293"/>
                  <a:pt x="352" y="1284"/>
                  <a:pt x="354" y="1272"/>
                </a:cubicBezTo>
                <a:cubicBezTo>
                  <a:pt x="357" y="1260"/>
                  <a:pt x="357" y="1256"/>
                  <a:pt x="350" y="1252"/>
                </a:cubicBezTo>
                <a:cubicBezTo>
                  <a:pt x="344" y="1248"/>
                  <a:pt x="338" y="1249"/>
                  <a:pt x="330" y="1258"/>
                </a:cubicBezTo>
                <a:cubicBezTo>
                  <a:pt x="321" y="1268"/>
                  <a:pt x="315" y="1275"/>
                  <a:pt x="302" y="1269"/>
                </a:cubicBezTo>
                <a:cubicBezTo>
                  <a:pt x="289" y="1264"/>
                  <a:pt x="289" y="1260"/>
                  <a:pt x="283" y="1254"/>
                </a:cubicBezTo>
                <a:cubicBezTo>
                  <a:pt x="277" y="1249"/>
                  <a:pt x="275" y="1264"/>
                  <a:pt x="270" y="1257"/>
                </a:cubicBezTo>
                <a:cubicBezTo>
                  <a:pt x="264" y="1250"/>
                  <a:pt x="249" y="1244"/>
                  <a:pt x="262" y="1240"/>
                </a:cubicBezTo>
                <a:cubicBezTo>
                  <a:pt x="276" y="1236"/>
                  <a:pt x="273" y="1237"/>
                  <a:pt x="286" y="1241"/>
                </a:cubicBezTo>
                <a:cubicBezTo>
                  <a:pt x="299" y="1245"/>
                  <a:pt x="315" y="1255"/>
                  <a:pt x="317" y="1245"/>
                </a:cubicBezTo>
                <a:cubicBezTo>
                  <a:pt x="319" y="1234"/>
                  <a:pt x="326" y="1224"/>
                  <a:pt x="314" y="1219"/>
                </a:cubicBezTo>
                <a:cubicBezTo>
                  <a:pt x="303" y="1214"/>
                  <a:pt x="296" y="1211"/>
                  <a:pt x="299" y="1200"/>
                </a:cubicBezTo>
                <a:cubicBezTo>
                  <a:pt x="301" y="1190"/>
                  <a:pt x="309" y="1183"/>
                  <a:pt x="309" y="1178"/>
                </a:cubicBezTo>
                <a:cubicBezTo>
                  <a:pt x="309" y="1172"/>
                  <a:pt x="293" y="1149"/>
                  <a:pt x="295" y="1136"/>
                </a:cubicBezTo>
                <a:cubicBezTo>
                  <a:pt x="298" y="1122"/>
                  <a:pt x="304" y="1110"/>
                  <a:pt x="320" y="1100"/>
                </a:cubicBezTo>
                <a:cubicBezTo>
                  <a:pt x="335" y="1091"/>
                  <a:pt x="361" y="1067"/>
                  <a:pt x="368" y="1063"/>
                </a:cubicBezTo>
                <a:cubicBezTo>
                  <a:pt x="374" y="1059"/>
                  <a:pt x="385" y="1040"/>
                  <a:pt x="387" y="1031"/>
                </a:cubicBezTo>
                <a:cubicBezTo>
                  <a:pt x="389" y="1022"/>
                  <a:pt x="382" y="1009"/>
                  <a:pt x="387" y="999"/>
                </a:cubicBezTo>
                <a:cubicBezTo>
                  <a:pt x="392" y="989"/>
                  <a:pt x="412" y="979"/>
                  <a:pt x="414" y="969"/>
                </a:cubicBezTo>
                <a:cubicBezTo>
                  <a:pt x="416" y="958"/>
                  <a:pt x="417" y="940"/>
                  <a:pt x="425" y="939"/>
                </a:cubicBezTo>
                <a:cubicBezTo>
                  <a:pt x="432" y="937"/>
                  <a:pt x="456" y="949"/>
                  <a:pt x="464" y="944"/>
                </a:cubicBezTo>
                <a:cubicBezTo>
                  <a:pt x="472" y="939"/>
                  <a:pt x="486" y="929"/>
                  <a:pt x="493" y="920"/>
                </a:cubicBezTo>
                <a:cubicBezTo>
                  <a:pt x="499" y="910"/>
                  <a:pt x="522" y="912"/>
                  <a:pt x="520" y="903"/>
                </a:cubicBezTo>
                <a:cubicBezTo>
                  <a:pt x="518" y="894"/>
                  <a:pt x="504" y="884"/>
                  <a:pt x="508" y="880"/>
                </a:cubicBezTo>
                <a:cubicBezTo>
                  <a:pt x="512" y="875"/>
                  <a:pt x="531" y="889"/>
                  <a:pt x="536" y="881"/>
                </a:cubicBezTo>
                <a:cubicBezTo>
                  <a:pt x="540" y="874"/>
                  <a:pt x="531" y="857"/>
                  <a:pt x="541" y="857"/>
                </a:cubicBezTo>
                <a:cubicBezTo>
                  <a:pt x="550" y="858"/>
                  <a:pt x="546" y="871"/>
                  <a:pt x="558" y="873"/>
                </a:cubicBezTo>
                <a:cubicBezTo>
                  <a:pt x="570" y="876"/>
                  <a:pt x="581" y="891"/>
                  <a:pt x="587" y="882"/>
                </a:cubicBezTo>
                <a:cubicBezTo>
                  <a:pt x="593" y="874"/>
                  <a:pt x="603" y="866"/>
                  <a:pt x="615" y="866"/>
                </a:cubicBezTo>
                <a:cubicBezTo>
                  <a:pt x="628" y="866"/>
                  <a:pt x="621" y="857"/>
                  <a:pt x="631" y="857"/>
                </a:cubicBezTo>
                <a:cubicBezTo>
                  <a:pt x="641" y="856"/>
                  <a:pt x="644" y="862"/>
                  <a:pt x="656" y="863"/>
                </a:cubicBezTo>
                <a:cubicBezTo>
                  <a:pt x="669" y="865"/>
                  <a:pt x="666" y="849"/>
                  <a:pt x="676" y="847"/>
                </a:cubicBezTo>
                <a:cubicBezTo>
                  <a:pt x="687" y="845"/>
                  <a:pt x="693" y="848"/>
                  <a:pt x="699" y="838"/>
                </a:cubicBezTo>
                <a:cubicBezTo>
                  <a:pt x="706" y="828"/>
                  <a:pt x="706" y="824"/>
                  <a:pt x="697" y="818"/>
                </a:cubicBezTo>
                <a:cubicBezTo>
                  <a:pt x="687" y="811"/>
                  <a:pt x="677" y="802"/>
                  <a:pt x="672" y="790"/>
                </a:cubicBezTo>
                <a:cubicBezTo>
                  <a:pt x="666" y="778"/>
                  <a:pt x="645" y="744"/>
                  <a:pt x="655" y="742"/>
                </a:cubicBezTo>
                <a:cubicBezTo>
                  <a:pt x="666" y="740"/>
                  <a:pt x="683" y="777"/>
                  <a:pt x="687" y="789"/>
                </a:cubicBezTo>
                <a:cubicBezTo>
                  <a:pt x="692" y="801"/>
                  <a:pt x="724" y="837"/>
                  <a:pt x="731" y="839"/>
                </a:cubicBezTo>
                <a:cubicBezTo>
                  <a:pt x="738" y="840"/>
                  <a:pt x="767" y="892"/>
                  <a:pt x="781" y="887"/>
                </a:cubicBezTo>
                <a:cubicBezTo>
                  <a:pt x="795" y="881"/>
                  <a:pt x="809" y="865"/>
                  <a:pt x="825" y="861"/>
                </a:cubicBezTo>
                <a:cubicBezTo>
                  <a:pt x="841" y="858"/>
                  <a:pt x="871" y="849"/>
                  <a:pt x="879" y="843"/>
                </a:cubicBezTo>
                <a:cubicBezTo>
                  <a:pt x="887" y="838"/>
                  <a:pt x="901" y="833"/>
                  <a:pt x="915" y="830"/>
                </a:cubicBezTo>
                <a:cubicBezTo>
                  <a:pt x="930" y="828"/>
                  <a:pt x="931" y="831"/>
                  <a:pt x="940" y="824"/>
                </a:cubicBezTo>
                <a:cubicBezTo>
                  <a:pt x="950" y="818"/>
                  <a:pt x="953" y="815"/>
                  <a:pt x="959" y="816"/>
                </a:cubicBezTo>
                <a:cubicBezTo>
                  <a:pt x="964" y="817"/>
                  <a:pt x="963" y="830"/>
                  <a:pt x="971" y="828"/>
                </a:cubicBezTo>
                <a:cubicBezTo>
                  <a:pt x="980" y="826"/>
                  <a:pt x="991" y="832"/>
                  <a:pt x="1003" y="825"/>
                </a:cubicBezTo>
                <a:cubicBezTo>
                  <a:pt x="1014" y="818"/>
                  <a:pt x="1039" y="798"/>
                  <a:pt x="1047" y="798"/>
                </a:cubicBezTo>
                <a:cubicBezTo>
                  <a:pt x="1056" y="798"/>
                  <a:pt x="1088" y="811"/>
                  <a:pt x="1096" y="806"/>
                </a:cubicBezTo>
                <a:cubicBezTo>
                  <a:pt x="1104" y="800"/>
                  <a:pt x="1130" y="782"/>
                  <a:pt x="1136" y="781"/>
                </a:cubicBezTo>
                <a:cubicBezTo>
                  <a:pt x="1142" y="779"/>
                  <a:pt x="1158" y="777"/>
                  <a:pt x="1165" y="780"/>
                </a:cubicBezTo>
                <a:cubicBezTo>
                  <a:pt x="1173" y="783"/>
                  <a:pt x="1220" y="800"/>
                  <a:pt x="1218" y="806"/>
                </a:cubicBezTo>
                <a:cubicBezTo>
                  <a:pt x="1217" y="813"/>
                  <a:pt x="1215" y="814"/>
                  <a:pt x="1205" y="819"/>
                </a:cubicBezTo>
                <a:cubicBezTo>
                  <a:pt x="1194" y="823"/>
                  <a:pt x="1188" y="819"/>
                  <a:pt x="1182" y="828"/>
                </a:cubicBezTo>
                <a:cubicBezTo>
                  <a:pt x="1176" y="836"/>
                  <a:pt x="1178" y="839"/>
                  <a:pt x="1166" y="837"/>
                </a:cubicBezTo>
                <a:cubicBezTo>
                  <a:pt x="1154" y="834"/>
                  <a:pt x="1145" y="832"/>
                  <a:pt x="1136" y="833"/>
                </a:cubicBezTo>
                <a:cubicBezTo>
                  <a:pt x="1127" y="834"/>
                  <a:pt x="1074" y="829"/>
                  <a:pt x="1070" y="845"/>
                </a:cubicBezTo>
                <a:cubicBezTo>
                  <a:pt x="1065" y="860"/>
                  <a:pt x="1038" y="896"/>
                  <a:pt x="1033" y="905"/>
                </a:cubicBezTo>
                <a:cubicBezTo>
                  <a:pt x="1029" y="914"/>
                  <a:pt x="1004" y="930"/>
                  <a:pt x="1004" y="930"/>
                </a:cubicBezTo>
                <a:cubicBezTo>
                  <a:pt x="1004" y="930"/>
                  <a:pt x="1000" y="958"/>
                  <a:pt x="996" y="957"/>
                </a:cubicBezTo>
                <a:cubicBezTo>
                  <a:pt x="992" y="956"/>
                  <a:pt x="973" y="941"/>
                  <a:pt x="980" y="929"/>
                </a:cubicBezTo>
                <a:cubicBezTo>
                  <a:pt x="986" y="916"/>
                  <a:pt x="1000" y="922"/>
                  <a:pt x="1000" y="911"/>
                </a:cubicBezTo>
                <a:cubicBezTo>
                  <a:pt x="1000" y="899"/>
                  <a:pt x="997" y="892"/>
                  <a:pt x="988" y="889"/>
                </a:cubicBezTo>
                <a:cubicBezTo>
                  <a:pt x="979" y="885"/>
                  <a:pt x="938" y="873"/>
                  <a:pt x="922" y="872"/>
                </a:cubicBezTo>
                <a:cubicBezTo>
                  <a:pt x="905" y="871"/>
                  <a:pt x="840" y="877"/>
                  <a:pt x="819" y="896"/>
                </a:cubicBezTo>
                <a:cubicBezTo>
                  <a:pt x="798" y="916"/>
                  <a:pt x="814" y="908"/>
                  <a:pt x="807" y="913"/>
                </a:cubicBezTo>
                <a:cubicBezTo>
                  <a:pt x="801" y="919"/>
                  <a:pt x="794" y="917"/>
                  <a:pt x="787" y="923"/>
                </a:cubicBezTo>
                <a:cubicBezTo>
                  <a:pt x="780" y="929"/>
                  <a:pt x="782" y="948"/>
                  <a:pt x="778" y="952"/>
                </a:cubicBezTo>
                <a:cubicBezTo>
                  <a:pt x="775" y="955"/>
                  <a:pt x="747" y="973"/>
                  <a:pt x="745" y="985"/>
                </a:cubicBezTo>
                <a:cubicBezTo>
                  <a:pt x="742" y="997"/>
                  <a:pt x="739" y="1020"/>
                  <a:pt x="750" y="1029"/>
                </a:cubicBezTo>
                <a:cubicBezTo>
                  <a:pt x="760" y="1038"/>
                  <a:pt x="767" y="1057"/>
                  <a:pt x="762" y="1064"/>
                </a:cubicBezTo>
                <a:cubicBezTo>
                  <a:pt x="756" y="1071"/>
                  <a:pt x="737" y="1107"/>
                  <a:pt x="745" y="1119"/>
                </a:cubicBezTo>
                <a:cubicBezTo>
                  <a:pt x="752" y="1130"/>
                  <a:pt x="750" y="1145"/>
                  <a:pt x="758" y="1148"/>
                </a:cubicBezTo>
                <a:cubicBezTo>
                  <a:pt x="766" y="1151"/>
                  <a:pt x="790" y="1156"/>
                  <a:pt x="788" y="1165"/>
                </a:cubicBezTo>
                <a:cubicBezTo>
                  <a:pt x="786" y="1175"/>
                  <a:pt x="785" y="1191"/>
                  <a:pt x="773" y="1210"/>
                </a:cubicBezTo>
                <a:cubicBezTo>
                  <a:pt x="761" y="1228"/>
                  <a:pt x="727" y="1268"/>
                  <a:pt x="742" y="1271"/>
                </a:cubicBezTo>
                <a:cubicBezTo>
                  <a:pt x="756" y="1274"/>
                  <a:pt x="765" y="1272"/>
                  <a:pt x="768" y="1260"/>
                </a:cubicBezTo>
                <a:cubicBezTo>
                  <a:pt x="770" y="1248"/>
                  <a:pt x="781" y="1242"/>
                  <a:pt x="789" y="1239"/>
                </a:cubicBezTo>
                <a:cubicBezTo>
                  <a:pt x="796" y="1237"/>
                  <a:pt x="821" y="1231"/>
                  <a:pt x="828" y="1251"/>
                </a:cubicBezTo>
                <a:cubicBezTo>
                  <a:pt x="835" y="1270"/>
                  <a:pt x="831" y="1289"/>
                  <a:pt x="828" y="1305"/>
                </a:cubicBezTo>
                <a:cubicBezTo>
                  <a:pt x="825" y="1321"/>
                  <a:pt x="820" y="1338"/>
                  <a:pt x="823" y="1343"/>
                </a:cubicBezTo>
                <a:cubicBezTo>
                  <a:pt x="826" y="1348"/>
                  <a:pt x="815" y="1379"/>
                  <a:pt x="820" y="1385"/>
                </a:cubicBezTo>
                <a:cubicBezTo>
                  <a:pt x="824" y="1392"/>
                  <a:pt x="811" y="1401"/>
                  <a:pt x="820" y="1402"/>
                </a:cubicBezTo>
                <a:cubicBezTo>
                  <a:pt x="830" y="1403"/>
                  <a:pt x="845" y="1396"/>
                  <a:pt x="856" y="1393"/>
                </a:cubicBezTo>
                <a:cubicBezTo>
                  <a:pt x="866" y="1389"/>
                  <a:pt x="872" y="1381"/>
                  <a:pt x="877" y="1397"/>
                </a:cubicBezTo>
                <a:cubicBezTo>
                  <a:pt x="882" y="1414"/>
                  <a:pt x="877" y="1425"/>
                  <a:pt x="869" y="1423"/>
                </a:cubicBezTo>
                <a:cubicBezTo>
                  <a:pt x="861" y="1422"/>
                  <a:pt x="834" y="1424"/>
                  <a:pt x="832" y="1430"/>
                </a:cubicBezTo>
                <a:cubicBezTo>
                  <a:pt x="831" y="1435"/>
                  <a:pt x="821" y="1445"/>
                  <a:pt x="817" y="1438"/>
                </a:cubicBezTo>
                <a:cubicBezTo>
                  <a:pt x="813" y="1430"/>
                  <a:pt x="814" y="1431"/>
                  <a:pt x="803" y="1419"/>
                </a:cubicBezTo>
                <a:cubicBezTo>
                  <a:pt x="791" y="1407"/>
                  <a:pt x="799" y="1399"/>
                  <a:pt x="795" y="1387"/>
                </a:cubicBezTo>
                <a:cubicBezTo>
                  <a:pt x="792" y="1375"/>
                  <a:pt x="784" y="1375"/>
                  <a:pt x="794" y="1367"/>
                </a:cubicBezTo>
                <a:cubicBezTo>
                  <a:pt x="804" y="1360"/>
                  <a:pt x="818" y="1354"/>
                  <a:pt x="811" y="1342"/>
                </a:cubicBezTo>
                <a:cubicBezTo>
                  <a:pt x="803" y="1329"/>
                  <a:pt x="799" y="1315"/>
                  <a:pt x="787" y="1320"/>
                </a:cubicBezTo>
                <a:cubicBezTo>
                  <a:pt x="775" y="1324"/>
                  <a:pt x="753" y="1323"/>
                  <a:pt x="742" y="1329"/>
                </a:cubicBezTo>
                <a:cubicBezTo>
                  <a:pt x="731" y="1335"/>
                  <a:pt x="738" y="1329"/>
                  <a:pt x="735" y="1319"/>
                </a:cubicBezTo>
                <a:cubicBezTo>
                  <a:pt x="731" y="1308"/>
                  <a:pt x="732" y="1297"/>
                  <a:pt x="725" y="1305"/>
                </a:cubicBezTo>
                <a:cubicBezTo>
                  <a:pt x="718" y="1314"/>
                  <a:pt x="719" y="1307"/>
                  <a:pt x="716" y="1323"/>
                </a:cubicBezTo>
                <a:cubicBezTo>
                  <a:pt x="712" y="1339"/>
                  <a:pt x="715" y="1351"/>
                  <a:pt x="709" y="1349"/>
                </a:cubicBezTo>
                <a:cubicBezTo>
                  <a:pt x="702" y="1348"/>
                  <a:pt x="699" y="1337"/>
                  <a:pt x="696" y="1345"/>
                </a:cubicBezTo>
                <a:cubicBezTo>
                  <a:pt x="693" y="1353"/>
                  <a:pt x="690" y="1372"/>
                  <a:pt x="690" y="1372"/>
                </a:cubicBezTo>
                <a:cubicBezTo>
                  <a:pt x="690" y="1372"/>
                  <a:pt x="701" y="1405"/>
                  <a:pt x="686" y="1399"/>
                </a:cubicBezTo>
                <a:cubicBezTo>
                  <a:pt x="670" y="1393"/>
                  <a:pt x="663" y="1393"/>
                  <a:pt x="667" y="1380"/>
                </a:cubicBezTo>
                <a:cubicBezTo>
                  <a:pt x="672" y="1367"/>
                  <a:pt x="668" y="1366"/>
                  <a:pt x="676" y="1359"/>
                </a:cubicBezTo>
                <a:cubicBezTo>
                  <a:pt x="684" y="1353"/>
                  <a:pt x="688" y="1356"/>
                  <a:pt x="684" y="1346"/>
                </a:cubicBezTo>
                <a:cubicBezTo>
                  <a:pt x="681" y="1335"/>
                  <a:pt x="668" y="1331"/>
                  <a:pt x="670" y="1320"/>
                </a:cubicBezTo>
                <a:cubicBezTo>
                  <a:pt x="672" y="1310"/>
                  <a:pt x="688" y="1298"/>
                  <a:pt x="693" y="1293"/>
                </a:cubicBezTo>
                <a:cubicBezTo>
                  <a:pt x="698" y="1289"/>
                  <a:pt x="711" y="1271"/>
                  <a:pt x="719" y="1248"/>
                </a:cubicBezTo>
                <a:cubicBezTo>
                  <a:pt x="726" y="1226"/>
                  <a:pt x="732" y="1227"/>
                  <a:pt x="729" y="1213"/>
                </a:cubicBezTo>
                <a:cubicBezTo>
                  <a:pt x="726" y="1199"/>
                  <a:pt x="715" y="1193"/>
                  <a:pt x="710" y="1178"/>
                </a:cubicBezTo>
                <a:cubicBezTo>
                  <a:pt x="705" y="1163"/>
                  <a:pt x="705" y="1156"/>
                  <a:pt x="698" y="1140"/>
                </a:cubicBezTo>
                <a:cubicBezTo>
                  <a:pt x="692" y="1123"/>
                  <a:pt x="690" y="1113"/>
                  <a:pt x="682" y="1111"/>
                </a:cubicBezTo>
                <a:cubicBezTo>
                  <a:pt x="674" y="1110"/>
                  <a:pt x="674" y="1108"/>
                  <a:pt x="662" y="1113"/>
                </a:cubicBezTo>
                <a:cubicBezTo>
                  <a:pt x="650" y="1117"/>
                  <a:pt x="649" y="1128"/>
                  <a:pt x="638" y="1123"/>
                </a:cubicBezTo>
                <a:cubicBezTo>
                  <a:pt x="627" y="1118"/>
                  <a:pt x="615" y="1112"/>
                  <a:pt x="608" y="1112"/>
                </a:cubicBezTo>
                <a:cubicBezTo>
                  <a:pt x="601" y="1112"/>
                  <a:pt x="595" y="1110"/>
                  <a:pt x="587" y="1122"/>
                </a:cubicBezTo>
                <a:cubicBezTo>
                  <a:pt x="578" y="1134"/>
                  <a:pt x="572" y="1145"/>
                  <a:pt x="562" y="1153"/>
                </a:cubicBezTo>
                <a:cubicBezTo>
                  <a:pt x="552" y="1160"/>
                  <a:pt x="551" y="1164"/>
                  <a:pt x="547" y="1177"/>
                </a:cubicBezTo>
                <a:cubicBezTo>
                  <a:pt x="543" y="1191"/>
                  <a:pt x="521" y="1208"/>
                  <a:pt x="530" y="1212"/>
                </a:cubicBezTo>
                <a:cubicBezTo>
                  <a:pt x="539" y="1215"/>
                  <a:pt x="544" y="1212"/>
                  <a:pt x="557" y="1216"/>
                </a:cubicBezTo>
                <a:cubicBezTo>
                  <a:pt x="570" y="1220"/>
                  <a:pt x="573" y="1227"/>
                  <a:pt x="568" y="1232"/>
                </a:cubicBezTo>
                <a:cubicBezTo>
                  <a:pt x="563" y="1236"/>
                  <a:pt x="579" y="1245"/>
                  <a:pt x="556" y="1243"/>
                </a:cubicBezTo>
                <a:cubicBezTo>
                  <a:pt x="532" y="1241"/>
                  <a:pt x="527" y="1248"/>
                  <a:pt x="515" y="1251"/>
                </a:cubicBezTo>
                <a:cubicBezTo>
                  <a:pt x="503" y="1255"/>
                  <a:pt x="491" y="1266"/>
                  <a:pt x="488" y="1272"/>
                </a:cubicBezTo>
                <a:cubicBezTo>
                  <a:pt x="485" y="1279"/>
                  <a:pt x="466" y="1316"/>
                  <a:pt x="457" y="1320"/>
                </a:cubicBezTo>
                <a:cubicBezTo>
                  <a:pt x="448" y="1324"/>
                  <a:pt x="421" y="1325"/>
                  <a:pt x="420" y="1332"/>
                </a:cubicBezTo>
                <a:cubicBezTo>
                  <a:pt x="419" y="1338"/>
                  <a:pt x="430" y="1349"/>
                  <a:pt x="433" y="1354"/>
                </a:cubicBezTo>
                <a:cubicBezTo>
                  <a:pt x="436" y="1359"/>
                  <a:pt x="432" y="1365"/>
                  <a:pt x="442" y="1374"/>
                </a:cubicBezTo>
                <a:cubicBezTo>
                  <a:pt x="451" y="1383"/>
                  <a:pt x="469" y="1385"/>
                  <a:pt x="467" y="1395"/>
                </a:cubicBezTo>
                <a:cubicBezTo>
                  <a:pt x="465" y="1404"/>
                  <a:pt x="477" y="1413"/>
                  <a:pt x="473" y="1419"/>
                </a:cubicBezTo>
                <a:cubicBezTo>
                  <a:pt x="468" y="1426"/>
                  <a:pt x="458" y="1422"/>
                  <a:pt x="457" y="1433"/>
                </a:cubicBezTo>
                <a:cubicBezTo>
                  <a:pt x="456" y="1444"/>
                  <a:pt x="473" y="1464"/>
                  <a:pt x="463" y="1473"/>
                </a:cubicBezTo>
                <a:cubicBezTo>
                  <a:pt x="452" y="1482"/>
                  <a:pt x="428" y="1487"/>
                  <a:pt x="418" y="1486"/>
                </a:cubicBezTo>
                <a:cubicBezTo>
                  <a:pt x="409" y="1485"/>
                  <a:pt x="371" y="1476"/>
                  <a:pt x="369" y="1469"/>
                </a:cubicBezTo>
                <a:cubicBezTo>
                  <a:pt x="366" y="1461"/>
                  <a:pt x="366" y="1464"/>
                  <a:pt x="368" y="1452"/>
                </a:cubicBezTo>
                <a:cubicBezTo>
                  <a:pt x="371" y="1440"/>
                  <a:pt x="365" y="1434"/>
                  <a:pt x="361" y="1427"/>
                </a:cubicBezTo>
                <a:cubicBezTo>
                  <a:pt x="357" y="1419"/>
                  <a:pt x="356" y="1406"/>
                  <a:pt x="354" y="1396"/>
                </a:cubicBezTo>
                <a:cubicBezTo>
                  <a:pt x="352" y="1386"/>
                  <a:pt x="351" y="1377"/>
                  <a:pt x="341" y="1382"/>
                </a:cubicBezTo>
                <a:cubicBezTo>
                  <a:pt x="332" y="1387"/>
                  <a:pt x="338" y="1409"/>
                  <a:pt x="333" y="1408"/>
                </a:cubicBezTo>
                <a:cubicBezTo>
                  <a:pt x="328" y="1407"/>
                  <a:pt x="308" y="1413"/>
                  <a:pt x="298" y="1402"/>
                </a:cubicBezTo>
                <a:cubicBezTo>
                  <a:pt x="288" y="1392"/>
                  <a:pt x="268" y="1383"/>
                  <a:pt x="255" y="1381"/>
                </a:cubicBezTo>
                <a:cubicBezTo>
                  <a:pt x="242" y="1378"/>
                  <a:pt x="188" y="1369"/>
                  <a:pt x="184" y="1385"/>
                </a:cubicBezTo>
                <a:cubicBezTo>
                  <a:pt x="181" y="1401"/>
                  <a:pt x="166" y="1395"/>
                  <a:pt x="167" y="1387"/>
                </a:cubicBezTo>
                <a:cubicBezTo>
                  <a:pt x="169" y="1379"/>
                  <a:pt x="181" y="1362"/>
                  <a:pt x="174" y="1358"/>
                </a:cubicBezTo>
                <a:cubicBezTo>
                  <a:pt x="166" y="1354"/>
                  <a:pt x="149" y="1356"/>
                  <a:pt x="140" y="1350"/>
                </a:cubicBezTo>
                <a:cubicBezTo>
                  <a:pt x="132" y="1344"/>
                  <a:pt x="135" y="1328"/>
                  <a:pt x="129" y="1324"/>
                </a:cubicBezTo>
                <a:cubicBezTo>
                  <a:pt x="123" y="1320"/>
                  <a:pt x="109" y="1325"/>
                  <a:pt x="111" y="1306"/>
                </a:cubicBezTo>
                <a:cubicBezTo>
                  <a:pt x="112" y="1287"/>
                  <a:pt x="112" y="1280"/>
                  <a:pt x="116" y="1267"/>
                </a:cubicBezTo>
                <a:cubicBezTo>
                  <a:pt x="120" y="1253"/>
                  <a:pt x="144" y="1246"/>
                  <a:pt x="128" y="1236"/>
                </a:cubicBezTo>
                <a:cubicBezTo>
                  <a:pt x="112" y="1225"/>
                  <a:pt x="108" y="1248"/>
                  <a:pt x="102" y="1262"/>
                </a:cubicBezTo>
                <a:cubicBezTo>
                  <a:pt x="96" y="1276"/>
                  <a:pt x="78" y="1307"/>
                  <a:pt x="74" y="1327"/>
                </a:cubicBezTo>
                <a:cubicBezTo>
                  <a:pt x="70" y="1347"/>
                  <a:pt x="59" y="1374"/>
                  <a:pt x="57" y="1389"/>
                </a:cubicBezTo>
                <a:cubicBezTo>
                  <a:pt x="55" y="1404"/>
                  <a:pt x="54" y="1462"/>
                  <a:pt x="53" y="1479"/>
                </a:cubicBezTo>
                <a:cubicBezTo>
                  <a:pt x="53" y="1495"/>
                  <a:pt x="49" y="1591"/>
                  <a:pt x="50" y="1599"/>
                </a:cubicBezTo>
                <a:cubicBezTo>
                  <a:pt x="51" y="1608"/>
                  <a:pt x="59" y="1610"/>
                  <a:pt x="60" y="1606"/>
                </a:cubicBezTo>
                <a:cubicBezTo>
                  <a:pt x="61" y="1602"/>
                  <a:pt x="65" y="1589"/>
                  <a:pt x="67" y="1575"/>
                </a:cubicBezTo>
                <a:cubicBezTo>
                  <a:pt x="68" y="1561"/>
                  <a:pt x="62" y="1543"/>
                  <a:pt x="70" y="1539"/>
                </a:cubicBezTo>
                <a:cubicBezTo>
                  <a:pt x="78" y="1536"/>
                  <a:pt x="97" y="1549"/>
                  <a:pt x="106" y="1551"/>
                </a:cubicBezTo>
                <a:cubicBezTo>
                  <a:pt x="116" y="1553"/>
                  <a:pt x="132" y="1564"/>
                  <a:pt x="133" y="1572"/>
                </a:cubicBezTo>
                <a:cubicBezTo>
                  <a:pt x="134" y="1581"/>
                  <a:pt x="134" y="1592"/>
                  <a:pt x="128" y="1587"/>
                </a:cubicBezTo>
                <a:cubicBezTo>
                  <a:pt x="122" y="1581"/>
                  <a:pt x="110" y="1569"/>
                  <a:pt x="102" y="1570"/>
                </a:cubicBezTo>
                <a:cubicBezTo>
                  <a:pt x="95" y="1571"/>
                  <a:pt x="82" y="1577"/>
                  <a:pt x="84" y="1583"/>
                </a:cubicBezTo>
                <a:cubicBezTo>
                  <a:pt x="87" y="1589"/>
                  <a:pt x="134" y="1644"/>
                  <a:pt x="146" y="1647"/>
                </a:cubicBezTo>
                <a:cubicBezTo>
                  <a:pt x="158" y="1651"/>
                  <a:pt x="170" y="1673"/>
                  <a:pt x="164" y="1682"/>
                </a:cubicBezTo>
                <a:cubicBezTo>
                  <a:pt x="158" y="1690"/>
                  <a:pt x="134" y="1724"/>
                  <a:pt x="132" y="1715"/>
                </a:cubicBezTo>
                <a:cubicBezTo>
                  <a:pt x="129" y="1707"/>
                  <a:pt x="135" y="1695"/>
                  <a:pt x="132" y="1689"/>
                </a:cubicBezTo>
                <a:cubicBezTo>
                  <a:pt x="129" y="1683"/>
                  <a:pt x="131" y="1675"/>
                  <a:pt x="125" y="1674"/>
                </a:cubicBezTo>
                <a:cubicBezTo>
                  <a:pt x="120" y="1673"/>
                  <a:pt x="90" y="1669"/>
                  <a:pt x="90" y="1669"/>
                </a:cubicBezTo>
                <a:cubicBezTo>
                  <a:pt x="90" y="1669"/>
                  <a:pt x="91" y="1666"/>
                  <a:pt x="86" y="1661"/>
                </a:cubicBezTo>
                <a:cubicBezTo>
                  <a:pt x="82" y="1656"/>
                  <a:pt x="76" y="1670"/>
                  <a:pt x="69" y="1663"/>
                </a:cubicBezTo>
                <a:cubicBezTo>
                  <a:pt x="62" y="1656"/>
                  <a:pt x="69" y="1631"/>
                  <a:pt x="65" y="1630"/>
                </a:cubicBezTo>
                <a:cubicBezTo>
                  <a:pt x="61" y="1629"/>
                  <a:pt x="53" y="1621"/>
                  <a:pt x="55" y="1637"/>
                </a:cubicBezTo>
                <a:cubicBezTo>
                  <a:pt x="57" y="1652"/>
                  <a:pt x="57" y="1739"/>
                  <a:pt x="57" y="1739"/>
                </a:cubicBezTo>
                <a:cubicBezTo>
                  <a:pt x="57" y="1739"/>
                  <a:pt x="60" y="1824"/>
                  <a:pt x="58" y="1836"/>
                </a:cubicBezTo>
                <a:cubicBezTo>
                  <a:pt x="55" y="1848"/>
                  <a:pt x="38" y="1877"/>
                  <a:pt x="36" y="1899"/>
                </a:cubicBezTo>
                <a:cubicBezTo>
                  <a:pt x="34" y="1921"/>
                  <a:pt x="38" y="2058"/>
                  <a:pt x="47" y="2060"/>
                </a:cubicBezTo>
                <a:cubicBezTo>
                  <a:pt x="56" y="2062"/>
                  <a:pt x="61" y="2053"/>
                  <a:pt x="59" y="2047"/>
                </a:cubicBezTo>
                <a:cubicBezTo>
                  <a:pt x="58" y="2041"/>
                  <a:pt x="60" y="1983"/>
                  <a:pt x="61" y="1975"/>
                </a:cubicBezTo>
                <a:cubicBezTo>
                  <a:pt x="61" y="1967"/>
                  <a:pt x="57" y="1950"/>
                  <a:pt x="55" y="1942"/>
                </a:cubicBezTo>
                <a:cubicBezTo>
                  <a:pt x="53" y="1933"/>
                  <a:pt x="44" y="1927"/>
                  <a:pt x="54" y="1925"/>
                </a:cubicBezTo>
                <a:cubicBezTo>
                  <a:pt x="65" y="1923"/>
                  <a:pt x="74" y="1939"/>
                  <a:pt x="82" y="1940"/>
                </a:cubicBezTo>
                <a:cubicBezTo>
                  <a:pt x="90" y="1942"/>
                  <a:pt x="105" y="1947"/>
                  <a:pt x="112" y="1954"/>
                </a:cubicBezTo>
                <a:cubicBezTo>
                  <a:pt x="119" y="1961"/>
                  <a:pt x="163" y="1984"/>
                  <a:pt x="163" y="1998"/>
                </a:cubicBezTo>
                <a:cubicBezTo>
                  <a:pt x="163" y="2012"/>
                  <a:pt x="170" y="2059"/>
                  <a:pt x="174" y="2065"/>
                </a:cubicBezTo>
                <a:cubicBezTo>
                  <a:pt x="178" y="2072"/>
                  <a:pt x="211" y="2107"/>
                  <a:pt x="217" y="2130"/>
                </a:cubicBezTo>
                <a:cubicBezTo>
                  <a:pt x="223" y="2154"/>
                  <a:pt x="220" y="2182"/>
                  <a:pt x="213" y="2184"/>
                </a:cubicBezTo>
                <a:cubicBezTo>
                  <a:pt x="206" y="2185"/>
                  <a:pt x="187" y="2188"/>
                  <a:pt x="183" y="2195"/>
                </a:cubicBezTo>
                <a:cubicBezTo>
                  <a:pt x="178" y="2203"/>
                  <a:pt x="154" y="2231"/>
                  <a:pt x="147" y="2232"/>
                </a:cubicBezTo>
                <a:cubicBezTo>
                  <a:pt x="140" y="2234"/>
                  <a:pt x="94" y="2272"/>
                  <a:pt x="90" y="2264"/>
                </a:cubicBezTo>
                <a:cubicBezTo>
                  <a:pt x="86" y="2256"/>
                  <a:pt x="78" y="2250"/>
                  <a:pt x="80" y="2239"/>
                </a:cubicBezTo>
                <a:cubicBezTo>
                  <a:pt x="82" y="2229"/>
                  <a:pt x="89" y="2226"/>
                  <a:pt x="89" y="2215"/>
                </a:cubicBezTo>
                <a:cubicBezTo>
                  <a:pt x="90" y="2204"/>
                  <a:pt x="72" y="2137"/>
                  <a:pt x="71" y="2116"/>
                </a:cubicBezTo>
                <a:cubicBezTo>
                  <a:pt x="70" y="2095"/>
                  <a:pt x="62" y="2088"/>
                  <a:pt x="59" y="2100"/>
                </a:cubicBezTo>
                <a:cubicBezTo>
                  <a:pt x="57" y="2112"/>
                  <a:pt x="73" y="2195"/>
                  <a:pt x="72" y="2207"/>
                </a:cubicBezTo>
                <a:cubicBezTo>
                  <a:pt x="70" y="2219"/>
                  <a:pt x="72" y="2279"/>
                  <a:pt x="76" y="2287"/>
                </a:cubicBezTo>
                <a:cubicBezTo>
                  <a:pt x="80" y="2295"/>
                  <a:pt x="84" y="2347"/>
                  <a:pt x="78" y="2361"/>
                </a:cubicBezTo>
                <a:cubicBezTo>
                  <a:pt x="72" y="2376"/>
                  <a:pt x="60" y="2419"/>
                  <a:pt x="57" y="2434"/>
                </a:cubicBezTo>
                <a:cubicBezTo>
                  <a:pt x="54" y="2448"/>
                  <a:pt x="48" y="2505"/>
                  <a:pt x="38" y="2513"/>
                </a:cubicBezTo>
                <a:cubicBezTo>
                  <a:pt x="28" y="2521"/>
                  <a:pt x="0" y="2562"/>
                  <a:pt x="16" y="2578"/>
                </a:cubicBezTo>
                <a:cubicBezTo>
                  <a:pt x="32" y="2594"/>
                  <a:pt x="57" y="2585"/>
                  <a:pt x="72" y="2596"/>
                </a:cubicBezTo>
                <a:cubicBezTo>
                  <a:pt x="87" y="2606"/>
                  <a:pt x="119" y="2643"/>
                  <a:pt x="131" y="2654"/>
                </a:cubicBezTo>
                <a:cubicBezTo>
                  <a:pt x="142" y="2665"/>
                  <a:pt x="163" y="2681"/>
                  <a:pt x="164" y="2676"/>
                </a:cubicBezTo>
                <a:cubicBezTo>
                  <a:pt x="165" y="2671"/>
                  <a:pt x="168" y="2667"/>
                  <a:pt x="160" y="2654"/>
                </a:cubicBezTo>
                <a:cubicBezTo>
                  <a:pt x="152" y="2641"/>
                  <a:pt x="145" y="2619"/>
                  <a:pt x="136" y="2617"/>
                </a:cubicBezTo>
                <a:cubicBezTo>
                  <a:pt x="126" y="2615"/>
                  <a:pt x="122" y="2618"/>
                  <a:pt x="121" y="2613"/>
                </a:cubicBezTo>
                <a:cubicBezTo>
                  <a:pt x="121" y="2607"/>
                  <a:pt x="132" y="2600"/>
                  <a:pt x="133" y="2596"/>
                </a:cubicBezTo>
                <a:cubicBezTo>
                  <a:pt x="134" y="2592"/>
                  <a:pt x="118" y="2587"/>
                  <a:pt x="116" y="2578"/>
                </a:cubicBezTo>
                <a:cubicBezTo>
                  <a:pt x="114" y="2569"/>
                  <a:pt x="111" y="2558"/>
                  <a:pt x="118" y="2549"/>
                </a:cubicBezTo>
                <a:cubicBezTo>
                  <a:pt x="125" y="2541"/>
                  <a:pt x="174" y="2529"/>
                  <a:pt x="180" y="2540"/>
                </a:cubicBezTo>
                <a:cubicBezTo>
                  <a:pt x="186" y="2551"/>
                  <a:pt x="156" y="2552"/>
                  <a:pt x="157" y="2561"/>
                </a:cubicBezTo>
                <a:cubicBezTo>
                  <a:pt x="158" y="2569"/>
                  <a:pt x="235" y="2680"/>
                  <a:pt x="245" y="2682"/>
                </a:cubicBezTo>
                <a:cubicBezTo>
                  <a:pt x="254" y="2684"/>
                  <a:pt x="349" y="2704"/>
                  <a:pt x="356" y="2708"/>
                </a:cubicBezTo>
                <a:cubicBezTo>
                  <a:pt x="364" y="2713"/>
                  <a:pt x="379" y="2780"/>
                  <a:pt x="381" y="2796"/>
                </a:cubicBezTo>
                <a:cubicBezTo>
                  <a:pt x="383" y="2811"/>
                  <a:pt x="393" y="2862"/>
                  <a:pt x="385" y="2880"/>
                </a:cubicBezTo>
                <a:cubicBezTo>
                  <a:pt x="378" y="2898"/>
                  <a:pt x="382" y="2949"/>
                  <a:pt x="387" y="2967"/>
                </a:cubicBezTo>
                <a:cubicBezTo>
                  <a:pt x="391" y="2984"/>
                  <a:pt x="413" y="3054"/>
                  <a:pt x="410" y="3063"/>
                </a:cubicBezTo>
                <a:cubicBezTo>
                  <a:pt x="406" y="3072"/>
                  <a:pt x="381" y="3140"/>
                  <a:pt x="378" y="3153"/>
                </a:cubicBezTo>
                <a:cubicBezTo>
                  <a:pt x="375" y="3166"/>
                  <a:pt x="370" y="3218"/>
                  <a:pt x="383" y="3244"/>
                </a:cubicBezTo>
                <a:cubicBezTo>
                  <a:pt x="395" y="3271"/>
                  <a:pt x="400" y="3293"/>
                  <a:pt x="397" y="3296"/>
                </a:cubicBezTo>
                <a:cubicBezTo>
                  <a:pt x="393" y="3299"/>
                  <a:pt x="379" y="3333"/>
                  <a:pt x="379" y="3333"/>
                </a:cubicBezTo>
                <a:cubicBezTo>
                  <a:pt x="379" y="3333"/>
                  <a:pt x="413" y="3376"/>
                  <a:pt x="434" y="3362"/>
                </a:cubicBezTo>
                <a:cubicBezTo>
                  <a:pt x="455" y="3349"/>
                  <a:pt x="480" y="3336"/>
                  <a:pt x="494" y="3336"/>
                </a:cubicBezTo>
                <a:cubicBezTo>
                  <a:pt x="508" y="3336"/>
                  <a:pt x="528" y="3333"/>
                  <a:pt x="547" y="3339"/>
                </a:cubicBezTo>
                <a:cubicBezTo>
                  <a:pt x="565" y="3344"/>
                  <a:pt x="606" y="3347"/>
                  <a:pt x="606" y="3360"/>
                </a:cubicBezTo>
                <a:cubicBezTo>
                  <a:pt x="606" y="3372"/>
                  <a:pt x="647" y="3379"/>
                  <a:pt x="655" y="3378"/>
                </a:cubicBezTo>
                <a:cubicBezTo>
                  <a:pt x="664" y="3377"/>
                  <a:pt x="717" y="3390"/>
                  <a:pt x="722" y="3391"/>
                </a:cubicBezTo>
                <a:cubicBezTo>
                  <a:pt x="728" y="3392"/>
                  <a:pt x="781" y="3402"/>
                  <a:pt x="777" y="3423"/>
                </a:cubicBezTo>
                <a:cubicBezTo>
                  <a:pt x="772" y="3445"/>
                  <a:pt x="788" y="3458"/>
                  <a:pt x="798" y="3456"/>
                </a:cubicBezTo>
                <a:cubicBezTo>
                  <a:pt x="803" y="3454"/>
                  <a:pt x="825" y="3451"/>
                  <a:pt x="845" y="3446"/>
                </a:cubicBezTo>
                <a:cubicBezTo>
                  <a:pt x="861" y="3442"/>
                  <a:pt x="877" y="3438"/>
                  <a:pt x="883" y="3434"/>
                </a:cubicBezTo>
                <a:cubicBezTo>
                  <a:pt x="890" y="3431"/>
                  <a:pt x="896" y="3438"/>
                  <a:pt x="902" y="3446"/>
                </a:cubicBezTo>
                <a:cubicBezTo>
                  <a:pt x="919" y="3434"/>
                  <a:pt x="919" y="3434"/>
                  <a:pt x="919" y="3434"/>
                </a:cubicBezTo>
                <a:cubicBezTo>
                  <a:pt x="919" y="3434"/>
                  <a:pt x="937" y="3430"/>
                  <a:pt x="945" y="3417"/>
                </a:cubicBezTo>
                <a:cubicBezTo>
                  <a:pt x="954" y="3403"/>
                  <a:pt x="953" y="3400"/>
                  <a:pt x="957" y="3392"/>
                </a:cubicBezTo>
                <a:cubicBezTo>
                  <a:pt x="962" y="3383"/>
                  <a:pt x="965" y="3375"/>
                  <a:pt x="972" y="3377"/>
                </a:cubicBezTo>
                <a:cubicBezTo>
                  <a:pt x="978" y="3378"/>
                  <a:pt x="984" y="3385"/>
                  <a:pt x="988" y="3373"/>
                </a:cubicBezTo>
                <a:cubicBezTo>
                  <a:pt x="992" y="3361"/>
                  <a:pt x="996" y="3352"/>
                  <a:pt x="1001" y="3345"/>
                </a:cubicBezTo>
                <a:cubicBezTo>
                  <a:pt x="1005" y="3338"/>
                  <a:pt x="1013" y="3313"/>
                  <a:pt x="1028" y="3316"/>
                </a:cubicBezTo>
                <a:cubicBezTo>
                  <a:pt x="1042" y="3319"/>
                  <a:pt x="1061" y="3317"/>
                  <a:pt x="1057" y="3335"/>
                </a:cubicBezTo>
                <a:cubicBezTo>
                  <a:pt x="1054" y="3352"/>
                  <a:pt x="1044" y="3339"/>
                  <a:pt x="1038" y="3347"/>
                </a:cubicBezTo>
                <a:cubicBezTo>
                  <a:pt x="1032" y="3356"/>
                  <a:pt x="1038" y="3358"/>
                  <a:pt x="1038" y="3371"/>
                </a:cubicBezTo>
                <a:cubicBezTo>
                  <a:pt x="1039" y="3384"/>
                  <a:pt x="1028" y="3401"/>
                  <a:pt x="1042" y="3402"/>
                </a:cubicBezTo>
                <a:cubicBezTo>
                  <a:pt x="1055" y="3404"/>
                  <a:pt x="1056" y="3398"/>
                  <a:pt x="1066" y="3400"/>
                </a:cubicBezTo>
                <a:cubicBezTo>
                  <a:pt x="1075" y="3402"/>
                  <a:pt x="1093" y="3403"/>
                  <a:pt x="1095" y="3418"/>
                </a:cubicBezTo>
                <a:cubicBezTo>
                  <a:pt x="1098" y="3432"/>
                  <a:pt x="1104" y="3438"/>
                  <a:pt x="1112" y="3431"/>
                </a:cubicBezTo>
                <a:cubicBezTo>
                  <a:pt x="1120" y="3425"/>
                  <a:pt x="1123" y="3418"/>
                  <a:pt x="1124" y="3413"/>
                </a:cubicBezTo>
                <a:cubicBezTo>
                  <a:pt x="1125" y="3407"/>
                  <a:pt x="1124" y="3392"/>
                  <a:pt x="1119" y="3387"/>
                </a:cubicBezTo>
                <a:cubicBezTo>
                  <a:pt x="1113" y="3381"/>
                  <a:pt x="1093" y="3371"/>
                  <a:pt x="1096" y="3364"/>
                </a:cubicBezTo>
                <a:cubicBezTo>
                  <a:pt x="1099" y="3356"/>
                  <a:pt x="1111" y="3357"/>
                  <a:pt x="1116" y="3358"/>
                </a:cubicBezTo>
                <a:cubicBezTo>
                  <a:pt x="1122" y="3359"/>
                  <a:pt x="1136" y="3368"/>
                  <a:pt x="1136" y="3358"/>
                </a:cubicBezTo>
                <a:cubicBezTo>
                  <a:pt x="1135" y="3348"/>
                  <a:pt x="1126" y="3339"/>
                  <a:pt x="1124" y="3326"/>
                </a:cubicBezTo>
                <a:cubicBezTo>
                  <a:pt x="1123" y="3314"/>
                  <a:pt x="1115" y="3292"/>
                  <a:pt x="1114" y="3278"/>
                </a:cubicBezTo>
                <a:cubicBezTo>
                  <a:pt x="1112" y="3264"/>
                  <a:pt x="1111" y="3258"/>
                  <a:pt x="1104" y="3252"/>
                </a:cubicBezTo>
                <a:cubicBezTo>
                  <a:pt x="1097" y="3247"/>
                  <a:pt x="1043" y="3236"/>
                  <a:pt x="1034" y="3225"/>
                </a:cubicBezTo>
                <a:cubicBezTo>
                  <a:pt x="1025" y="3215"/>
                  <a:pt x="1009" y="3180"/>
                  <a:pt x="1000" y="3183"/>
                </a:cubicBezTo>
                <a:cubicBezTo>
                  <a:pt x="991" y="3187"/>
                  <a:pt x="984" y="3187"/>
                  <a:pt x="961" y="3196"/>
                </a:cubicBezTo>
                <a:cubicBezTo>
                  <a:pt x="938" y="3205"/>
                  <a:pt x="934" y="3217"/>
                  <a:pt x="923" y="3203"/>
                </a:cubicBezTo>
                <a:cubicBezTo>
                  <a:pt x="912" y="3190"/>
                  <a:pt x="906" y="3191"/>
                  <a:pt x="915" y="3184"/>
                </a:cubicBezTo>
                <a:cubicBezTo>
                  <a:pt x="923" y="3176"/>
                  <a:pt x="966" y="3166"/>
                  <a:pt x="968" y="3157"/>
                </a:cubicBezTo>
                <a:cubicBezTo>
                  <a:pt x="970" y="3148"/>
                  <a:pt x="971" y="3140"/>
                  <a:pt x="966" y="3127"/>
                </a:cubicBezTo>
                <a:cubicBezTo>
                  <a:pt x="960" y="3115"/>
                  <a:pt x="958" y="3106"/>
                  <a:pt x="948" y="3100"/>
                </a:cubicBezTo>
                <a:cubicBezTo>
                  <a:pt x="938" y="3094"/>
                  <a:pt x="923" y="3110"/>
                  <a:pt x="927" y="3091"/>
                </a:cubicBezTo>
                <a:cubicBezTo>
                  <a:pt x="931" y="3073"/>
                  <a:pt x="958" y="3091"/>
                  <a:pt x="955" y="3078"/>
                </a:cubicBezTo>
                <a:cubicBezTo>
                  <a:pt x="952" y="3065"/>
                  <a:pt x="935" y="3061"/>
                  <a:pt x="939" y="3054"/>
                </a:cubicBezTo>
                <a:cubicBezTo>
                  <a:pt x="944" y="3046"/>
                  <a:pt x="969" y="3036"/>
                  <a:pt x="977" y="3035"/>
                </a:cubicBezTo>
                <a:cubicBezTo>
                  <a:pt x="984" y="3034"/>
                  <a:pt x="996" y="3011"/>
                  <a:pt x="1006" y="3010"/>
                </a:cubicBezTo>
                <a:cubicBezTo>
                  <a:pt x="1015" y="3010"/>
                  <a:pt x="1017" y="3028"/>
                  <a:pt x="1026" y="3027"/>
                </a:cubicBezTo>
                <a:cubicBezTo>
                  <a:pt x="1034" y="3026"/>
                  <a:pt x="1044" y="3012"/>
                  <a:pt x="1053" y="3004"/>
                </a:cubicBezTo>
                <a:cubicBezTo>
                  <a:pt x="1062" y="2996"/>
                  <a:pt x="1066" y="2969"/>
                  <a:pt x="1070" y="2964"/>
                </a:cubicBezTo>
                <a:cubicBezTo>
                  <a:pt x="1073" y="2959"/>
                  <a:pt x="1081" y="2965"/>
                  <a:pt x="1083" y="2954"/>
                </a:cubicBezTo>
                <a:cubicBezTo>
                  <a:pt x="1085" y="2944"/>
                  <a:pt x="1084" y="2924"/>
                  <a:pt x="1076" y="2922"/>
                </a:cubicBezTo>
                <a:cubicBezTo>
                  <a:pt x="1068" y="2920"/>
                  <a:pt x="1032" y="2900"/>
                  <a:pt x="1033" y="2895"/>
                </a:cubicBezTo>
                <a:cubicBezTo>
                  <a:pt x="1034" y="2890"/>
                  <a:pt x="1046" y="2889"/>
                  <a:pt x="1045" y="2882"/>
                </a:cubicBezTo>
                <a:cubicBezTo>
                  <a:pt x="1044" y="2875"/>
                  <a:pt x="1033" y="2874"/>
                  <a:pt x="1033" y="2865"/>
                </a:cubicBezTo>
                <a:cubicBezTo>
                  <a:pt x="1034" y="2855"/>
                  <a:pt x="1041" y="2849"/>
                  <a:pt x="1040" y="2845"/>
                </a:cubicBezTo>
                <a:cubicBezTo>
                  <a:pt x="1040" y="2841"/>
                  <a:pt x="1036" y="2827"/>
                  <a:pt x="1035" y="2817"/>
                </a:cubicBezTo>
                <a:cubicBezTo>
                  <a:pt x="1034" y="2808"/>
                  <a:pt x="1016" y="2809"/>
                  <a:pt x="1020" y="2795"/>
                </a:cubicBezTo>
                <a:cubicBezTo>
                  <a:pt x="1025" y="2781"/>
                  <a:pt x="1028" y="2776"/>
                  <a:pt x="1024" y="2765"/>
                </a:cubicBezTo>
                <a:cubicBezTo>
                  <a:pt x="1019" y="2754"/>
                  <a:pt x="1013" y="2749"/>
                  <a:pt x="1016" y="2734"/>
                </a:cubicBezTo>
                <a:cubicBezTo>
                  <a:pt x="1019" y="2720"/>
                  <a:pt x="1024" y="2723"/>
                  <a:pt x="1037" y="2718"/>
                </a:cubicBezTo>
                <a:cubicBezTo>
                  <a:pt x="1049" y="2712"/>
                  <a:pt x="1057" y="2708"/>
                  <a:pt x="1059" y="2697"/>
                </a:cubicBezTo>
                <a:cubicBezTo>
                  <a:pt x="1061" y="2687"/>
                  <a:pt x="1067" y="2681"/>
                  <a:pt x="1061" y="2673"/>
                </a:cubicBezTo>
                <a:cubicBezTo>
                  <a:pt x="1056" y="2665"/>
                  <a:pt x="1051" y="2655"/>
                  <a:pt x="1038" y="2657"/>
                </a:cubicBezTo>
                <a:cubicBezTo>
                  <a:pt x="1025" y="2658"/>
                  <a:pt x="1021" y="2652"/>
                  <a:pt x="1015" y="2655"/>
                </a:cubicBezTo>
                <a:cubicBezTo>
                  <a:pt x="1009" y="2657"/>
                  <a:pt x="967" y="2672"/>
                  <a:pt x="966" y="2657"/>
                </a:cubicBezTo>
                <a:cubicBezTo>
                  <a:pt x="965" y="2641"/>
                  <a:pt x="975" y="2634"/>
                  <a:pt x="980" y="2633"/>
                </a:cubicBezTo>
                <a:cubicBezTo>
                  <a:pt x="986" y="2633"/>
                  <a:pt x="995" y="2638"/>
                  <a:pt x="996" y="2630"/>
                </a:cubicBezTo>
                <a:cubicBezTo>
                  <a:pt x="998" y="2622"/>
                  <a:pt x="990" y="2613"/>
                  <a:pt x="1000" y="2614"/>
                </a:cubicBezTo>
                <a:cubicBezTo>
                  <a:pt x="1009" y="2614"/>
                  <a:pt x="1030" y="2637"/>
                  <a:pt x="1040" y="2629"/>
                </a:cubicBezTo>
                <a:cubicBezTo>
                  <a:pt x="1050" y="2621"/>
                  <a:pt x="1051" y="2630"/>
                  <a:pt x="1060" y="2625"/>
                </a:cubicBezTo>
                <a:cubicBezTo>
                  <a:pt x="1070" y="2620"/>
                  <a:pt x="1072" y="2615"/>
                  <a:pt x="1079" y="2608"/>
                </a:cubicBezTo>
                <a:cubicBezTo>
                  <a:pt x="1086" y="2601"/>
                  <a:pt x="1095" y="2607"/>
                  <a:pt x="1099" y="2604"/>
                </a:cubicBezTo>
                <a:cubicBezTo>
                  <a:pt x="1104" y="2601"/>
                  <a:pt x="1118" y="2581"/>
                  <a:pt x="1125" y="2576"/>
                </a:cubicBezTo>
                <a:cubicBezTo>
                  <a:pt x="1132" y="2570"/>
                  <a:pt x="1128" y="2574"/>
                  <a:pt x="1137" y="2551"/>
                </a:cubicBezTo>
                <a:cubicBezTo>
                  <a:pt x="1146" y="2528"/>
                  <a:pt x="1142" y="2522"/>
                  <a:pt x="1156" y="2519"/>
                </a:cubicBezTo>
                <a:cubicBezTo>
                  <a:pt x="1171" y="2515"/>
                  <a:pt x="1195" y="2508"/>
                  <a:pt x="1186" y="2501"/>
                </a:cubicBezTo>
                <a:cubicBezTo>
                  <a:pt x="1178" y="2494"/>
                  <a:pt x="1174" y="2486"/>
                  <a:pt x="1167" y="2487"/>
                </a:cubicBezTo>
                <a:cubicBezTo>
                  <a:pt x="1160" y="2489"/>
                  <a:pt x="1125" y="2501"/>
                  <a:pt x="1115" y="2495"/>
                </a:cubicBezTo>
                <a:cubicBezTo>
                  <a:pt x="1106" y="2488"/>
                  <a:pt x="1106" y="2484"/>
                  <a:pt x="1103" y="2470"/>
                </a:cubicBezTo>
                <a:cubicBezTo>
                  <a:pt x="1099" y="2455"/>
                  <a:pt x="1089" y="2449"/>
                  <a:pt x="1085" y="2446"/>
                </a:cubicBezTo>
                <a:cubicBezTo>
                  <a:pt x="1081" y="2444"/>
                  <a:pt x="1063" y="2420"/>
                  <a:pt x="1050" y="2415"/>
                </a:cubicBezTo>
                <a:cubicBezTo>
                  <a:pt x="1037" y="2411"/>
                  <a:pt x="1006" y="2414"/>
                  <a:pt x="1002" y="2410"/>
                </a:cubicBezTo>
                <a:cubicBezTo>
                  <a:pt x="999" y="2405"/>
                  <a:pt x="987" y="2404"/>
                  <a:pt x="994" y="2398"/>
                </a:cubicBezTo>
                <a:cubicBezTo>
                  <a:pt x="1000" y="2392"/>
                  <a:pt x="1016" y="2397"/>
                  <a:pt x="1030" y="2393"/>
                </a:cubicBezTo>
                <a:cubicBezTo>
                  <a:pt x="1043" y="2389"/>
                  <a:pt x="1064" y="2390"/>
                  <a:pt x="1075" y="2396"/>
                </a:cubicBezTo>
                <a:cubicBezTo>
                  <a:pt x="1086" y="2401"/>
                  <a:pt x="1109" y="2435"/>
                  <a:pt x="1120" y="2429"/>
                </a:cubicBezTo>
                <a:cubicBezTo>
                  <a:pt x="1131" y="2423"/>
                  <a:pt x="1139" y="2436"/>
                  <a:pt x="1155" y="2438"/>
                </a:cubicBezTo>
                <a:cubicBezTo>
                  <a:pt x="1172" y="2440"/>
                  <a:pt x="1180" y="2434"/>
                  <a:pt x="1186" y="2429"/>
                </a:cubicBezTo>
                <a:cubicBezTo>
                  <a:pt x="1193" y="2423"/>
                  <a:pt x="1191" y="2412"/>
                  <a:pt x="1204" y="2413"/>
                </a:cubicBezTo>
                <a:cubicBezTo>
                  <a:pt x="1216" y="2414"/>
                  <a:pt x="1238" y="2415"/>
                  <a:pt x="1249" y="2407"/>
                </a:cubicBezTo>
                <a:cubicBezTo>
                  <a:pt x="1261" y="2400"/>
                  <a:pt x="1281" y="2387"/>
                  <a:pt x="1288" y="2389"/>
                </a:cubicBezTo>
                <a:cubicBezTo>
                  <a:pt x="1295" y="2390"/>
                  <a:pt x="1303" y="2392"/>
                  <a:pt x="1297" y="2384"/>
                </a:cubicBezTo>
                <a:cubicBezTo>
                  <a:pt x="1292" y="2376"/>
                  <a:pt x="1283" y="2373"/>
                  <a:pt x="1288" y="2368"/>
                </a:cubicBezTo>
                <a:cubicBezTo>
                  <a:pt x="1293" y="2364"/>
                  <a:pt x="1307" y="2372"/>
                  <a:pt x="1312" y="2361"/>
                </a:cubicBezTo>
                <a:cubicBezTo>
                  <a:pt x="1317" y="2349"/>
                  <a:pt x="1323" y="2354"/>
                  <a:pt x="1317" y="2349"/>
                </a:cubicBezTo>
                <a:cubicBezTo>
                  <a:pt x="1311" y="2344"/>
                  <a:pt x="1292" y="2338"/>
                  <a:pt x="1293" y="2330"/>
                </a:cubicBezTo>
                <a:cubicBezTo>
                  <a:pt x="1295" y="2322"/>
                  <a:pt x="1325" y="2268"/>
                  <a:pt x="1318" y="2267"/>
                </a:cubicBezTo>
                <a:cubicBezTo>
                  <a:pt x="1311" y="2266"/>
                  <a:pt x="1199" y="2243"/>
                  <a:pt x="1200" y="2237"/>
                </a:cubicBezTo>
                <a:cubicBezTo>
                  <a:pt x="1202" y="2230"/>
                  <a:pt x="1196" y="2233"/>
                  <a:pt x="1207" y="2224"/>
                </a:cubicBezTo>
                <a:cubicBezTo>
                  <a:pt x="1219" y="2216"/>
                  <a:pt x="1261" y="2231"/>
                  <a:pt x="1265" y="2222"/>
                </a:cubicBezTo>
                <a:cubicBezTo>
                  <a:pt x="1268" y="2213"/>
                  <a:pt x="1268" y="2198"/>
                  <a:pt x="1277" y="2196"/>
                </a:cubicBezTo>
                <a:cubicBezTo>
                  <a:pt x="1286" y="2193"/>
                  <a:pt x="1303" y="2197"/>
                  <a:pt x="1308" y="2194"/>
                </a:cubicBezTo>
                <a:cubicBezTo>
                  <a:pt x="1313" y="2191"/>
                  <a:pt x="1326" y="2187"/>
                  <a:pt x="1345" y="2191"/>
                </a:cubicBezTo>
                <a:cubicBezTo>
                  <a:pt x="1364" y="2194"/>
                  <a:pt x="1369" y="2208"/>
                  <a:pt x="1376" y="2218"/>
                </a:cubicBezTo>
                <a:cubicBezTo>
                  <a:pt x="1382" y="2228"/>
                  <a:pt x="1387" y="2258"/>
                  <a:pt x="1402" y="2249"/>
                </a:cubicBezTo>
                <a:cubicBezTo>
                  <a:pt x="1418" y="2239"/>
                  <a:pt x="1418" y="2227"/>
                  <a:pt x="1416" y="2219"/>
                </a:cubicBezTo>
                <a:cubicBezTo>
                  <a:pt x="1413" y="2212"/>
                  <a:pt x="1407" y="2202"/>
                  <a:pt x="1410" y="2194"/>
                </a:cubicBezTo>
                <a:cubicBezTo>
                  <a:pt x="1413" y="2187"/>
                  <a:pt x="1422" y="2180"/>
                  <a:pt x="1434" y="2170"/>
                </a:cubicBezTo>
                <a:cubicBezTo>
                  <a:pt x="1446" y="2160"/>
                  <a:pt x="1447" y="2142"/>
                  <a:pt x="1451" y="2125"/>
                </a:cubicBezTo>
                <a:cubicBezTo>
                  <a:pt x="1454" y="2108"/>
                  <a:pt x="1454" y="2084"/>
                  <a:pt x="1450" y="2073"/>
                </a:cubicBezTo>
                <a:cubicBezTo>
                  <a:pt x="1447" y="2063"/>
                  <a:pt x="1459" y="2054"/>
                  <a:pt x="1461" y="2042"/>
                </a:cubicBezTo>
                <a:cubicBezTo>
                  <a:pt x="1464" y="2030"/>
                  <a:pt x="1474" y="2014"/>
                  <a:pt x="1464" y="2018"/>
                </a:cubicBezTo>
                <a:cubicBezTo>
                  <a:pt x="1453" y="2021"/>
                  <a:pt x="1444" y="2032"/>
                  <a:pt x="1445" y="2019"/>
                </a:cubicBezTo>
                <a:cubicBezTo>
                  <a:pt x="1446" y="2007"/>
                  <a:pt x="1462" y="1994"/>
                  <a:pt x="1460" y="1986"/>
                </a:cubicBezTo>
                <a:cubicBezTo>
                  <a:pt x="1459" y="1979"/>
                  <a:pt x="1451" y="1958"/>
                  <a:pt x="1447" y="1950"/>
                </a:cubicBezTo>
                <a:cubicBezTo>
                  <a:pt x="1443" y="1942"/>
                  <a:pt x="1436" y="1916"/>
                  <a:pt x="1436" y="1899"/>
                </a:cubicBezTo>
                <a:cubicBezTo>
                  <a:pt x="1435" y="1882"/>
                  <a:pt x="1433" y="1872"/>
                  <a:pt x="1441" y="1853"/>
                </a:cubicBezTo>
                <a:cubicBezTo>
                  <a:pt x="1449" y="1834"/>
                  <a:pt x="1460" y="1803"/>
                  <a:pt x="1473" y="1798"/>
                </a:cubicBezTo>
                <a:cubicBezTo>
                  <a:pt x="1487" y="1794"/>
                  <a:pt x="1488" y="1793"/>
                  <a:pt x="1492" y="1775"/>
                </a:cubicBezTo>
                <a:cubicBezTo>
                  <a:pt x="1496" y="1756"/>
                  <a:pt x="1497" y="1751"/>
                  <a:pt x="1507" y="1746"/>
                </a:cubicBezTo>
                <a:cubicBezTo>
                  <a:pt x="1516" y="1741"/>
                  <a:pt x="1519" y="1727"/>
                  <a:pt x="1529" y="1720"/>
                </a:cubicBezTo>
                <a:cubicBezTo>
                  <a:pt x="1539" y="1712"/>
                  <a:pt x="1538" y="1705"/>
                  <a:pt x="1552" y="1708"/>
                </a:cubicBezTo>
                <a:cubicBezTo>
                  <a:pt x="1567" y="1711"/>
                  <a:pt x="1573" y="1721"/>
                  <a:pt x="1577" y="1721"/>
                </a:cubicBezTo>
                <a:cubicBezTo>
                  <a:pt x="1581" y="1722"/>
                  <a:pt x="1604" y="1730"/>
                  <a:pt x="1599" y="1738"/>
                </a:cubicBezTo>
                <a:cubicBezTo>
                  <a:pt x="1594" y="1747"/>
                  <a:pt x="1577" y="1748"/>
                  <a:pt x="1574" y="1764"/>
                </a:cubicBezTo>
                <a:cubicBezTo>
                  <a:pt x="1571" y="1780"/>
                  <a:pt x="1570" y="1810"/>
                  <a:pt x="1563" y="1805"/>
                </a:cubicBezTo>
                <a:cubicBezTo>
                  <a:pt x="1556" y="1799"/>
                  <a:pt x="1550" y="1787"/>
                  <a:pt x="1546" y="1791"/>
                </a:cubicBezTo>
                <a:cubicBezTo>
                  <a:pt x="1542" y="1796"/>
                  <a:pt x="1529" y="1805"/>
                  <a:pt x="1522" y="1804"/>
                </a:cubicBezTo>
                <a:cubicBezTo>
                  <a:pt x="1515" y="1804"/>
                  <a:pt x="1499" y="1805"/>
                  <a:pt x="1502" y="1820"/>
                </a:cubicBezTo>
                <a:cubicBezTo>
                  <a:pt x="1506" y="1835"/>
                  <a:pt x="1526" y="1839"/>
                  <a:pt x="1524" y="1849"/>
                </a:cubicBezTo>
                <a:cubicBezTo>
                  <a:pt x="1522" y="1860"/>
                  <a:pt x="1529" y="1877"/>
                  <a:pt x="1538" y="1873"/>
                </a:cubicBezTo>
                <a:cubicBezTo>
                  <a:pt x="1548" y="1870"/>
                  <a:pt x="1564" y="1845"/>
                  <a:pt x="1572" y="1844"/>
                </a:cubicBezTo>
                <a:cubicBezTo>
                  <a:pt x="1581" y="1843"/>
                  <a:pt x="1602" y="1849"/>
                  <a:pt x="1610" y="1859"/>
                </a:cubicBezTo>
                <a:cubicBezTo>
                  <a:pt x="1617" y="1869"/>
                  <a:pt x="1619" y="1881"/>
                  <a:pt x="1612" y="1882"/>
                </a:cubicBezTo>
                <a:cubicBezTo>
                  <a:pt x="1605" y="1883"/>
                  <a:pt x="1588" y="1878"/>
                  <a:pt x="1595" y="1891"/>
                </a:cubicBezTo>
                <a:cubicBezTo>
                  <a:pt x="1602" y="1903"/>
                  <a:pt x="1609" y="1934"/>
                  <a:pt x="1621" y="1931"/>
                </a:cubicBezTo>
                <a:cubicBezTo>
                  <a:pt x="1633" y="1928"/>
                  <a:pt x="1642" y="1938"/>
                  <a:pt x="1644" y="1919"/>
                </a:cubicBezTo>
                <a:cubicBezTo>
                  <a:pt x="1647" y="1900"/>
                  <a:pt x="1642" y="1891"/>
                  <a:pt x="1635" y="1877"/>
                </a:cubicBezTo>
                <a:cubicBezTo>
                  <a:pt x="1628" y="1863"/>
                  <a:pt x="1623" y="1848"/>
                  <a:pt x="1633" y="1840"/>
                </a:cubicBezTo>
                <a:cubicBezTo>
                  <a:pt x="1643" y="1833"/>
                  <a:pt x="1646" y="1824"/>
                  <a:pt x="1647" y="1820"/>
                </a:cubicBezTo>
                <a:cubicBezTo>
                  <a:pt x="1648" y="1816"/>
                  <a:pt x="1662" y="1785"/>
                  <a:pt x="1668" y="1786"/>
                </a:cubicBezTo>
                <a:cubicBezTo>
                  <a:pt x="1675" y="1788"/>
                  <a:pt x="1710" y="1780"/>
                  <a:pt x="1713" y="1787"/>
                </a:cubicBezTo>
                <a:cubicBezTo>
                  <a:pt x="1715" y="1795"/>
                  <a:pt x="1724" y="1805"/>
                  <a:pt x="1716" y="1817"/>
                </a:cubicBezTo>
                <a:cubicBezTo>
                  <a:pt x="1708" y="1830"/>
                  <a:pt x="1695" y="1831"/>
                  <a:pt x="1698" y="1836"/>
                </a:cubicBezTo>
                <a:cubicBezTo>
                  <a:pt x="1701" y="1841"/>
                  <a:pt x="1724" y="1857"/>
                  <a:pt x="1723" y="1865"/>
                </a:cubicBezTo>
                <a:cubicBezTo>
                  <a:pt x="1721" y="1873"/>
                  <a:pt x="1721" y="1887"/>
                  <a:pt x="1731" y="1883"/>
                </a:cubicBezTo>
                <a:cubicBezTo>
                  <a:pt x="1742" y="1880"/>
                  <a:pt x="1752" y="1882"/>
                  <a:pt x="1755" y="1870"/>
                </a:cubicBezTo>
                <a:cubicBezTo>
                  <a:pt x="1758" y="1858"/>
                  <a:pt x="1756" y="1844"/>
                  <a:pt x="1756" y="1831"/>
                </a:cubicBezTo>
                <a:cubicBezTo>
                  <a:pt x="1756" y="1819"/>
                  <a:pt x="1758" y="1803"/>
                  <a:pt x="1762" y="1791"/>
                </a:cubicBezTo>
                <a:cubicBezTo>
                  <a:pt x="1766" y="1779"/>
                  <a:pt x="1805" y="1746"/>
                  <a:pt x="1807" y="1736"/>
                </a:cubicBezTo>
                <a:cubicBezTo>
                  <a:pt x="1809" y="1727"/>
                  <a:pt x="1805" y="1719"/>
                  <a:pt x="1815" y="1711"/>
                </a:cubicBezTo>
                <a:cubicBezTo>
                  <a:pt x="1825" y="1704"/>
                  <a:pt x="1856" y="1662"/>
                  <a:pt x="1865" y="1657"/>
                </a:cubicBezTo>
                <a:cubicBezTo>
                  <a:pt x="1875" y="1652"/>
                  <a:pt x="1871" y="1636"/>
                  <a:pt x="1870" y="1628"/>
                </a:cubicBezTo>
                <a:cubicBezTo>
                  <a:pt x="1869" y="1621"/>
                  <a:pt x="1874" y="1589"/>
                  <a:pt x="1876" y="1578"/>
                </a:cubicBezTo>
                <a:cubicBezTo>
                  <a:pt x="1879" y="1567"/>
                  <a:pt x="1870" y="1563"/>
                  <a:pt x="1881" y="1555"/>
                </a:cubicBezTo>
                <a:cubicBezTo>
                  <a:pt x="1892" y="1548"/>
                  <a:pt x="1905" y="1534"/>
                  <a:pt x="1900" y="1527"/>
                </a:cubicBezTo>
                <a:cubicBezTo>
                  <a:pt x="1894" y="1521"/>
                  <a:pt x="1847" y="1481"/>
                  <a:pt x="1841" y="146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/>
          </a:p>
        </p:txBody>
      </p:sp>
      <p:sp>
        <p:nvSpPr>
          <p:cNvPr id="13" name="Freeform 9"/>
          <p:cNvSpPr>
            <a:spLocks/>
          </p:cNvSpPr>
          <p:nvPr userDrawn="1"/>
        </p:nvSpPr>
        <p:spPr bwMode="auto">
          <a:xfrm>
            <a:off x="4100513" y="5656263"/>
            <a:ext cx="139700" cy="246062"/>
          </a:xfrm>
          <a:custGeom>
            <a:avLst/>
            <a:gdLst>
              <a:gd name="T0" fmla="*/ 68 w 94"/>
              <a:gd name="T1" fmla="*/ 134 h 166"/>
              <a:gd name="T2" fmla="*/ 63 w 94"/>
              <a:gd name="T3" fmla="*/ 83 h 166"/>
              <a:gd name="T4" fmla="*/ 71 w 94"/>
              <a:gd name="T5" fmla="*/ 64 h 166"/>
              <a:gd name="T6" fmla="*/ 75 w 94"/>
              <a:gd name="T7" fmla="*/ 37 h 166"/>
              <a:gd name="T8" fmla="*/ 85 w 94"/>
              <a:gd name="T9" fmla="*/ 13 h 166"/>
              <a:gd name="T10" fmla="*/ 58 w 94"/>
              <a:gd name="T11" fmla="*/ 11 h 166"/>
              <a:gd name="T12" fmla="*/ 33 w 94"/>
              <a:gd name="T13" fmla="*/ 8 h 166"/>
              <a:gd name="T14" fmla="*/ 8 w 94"/>
              <a:gd name="T15" fmla="*/ 19 h 166"/>
              <a:gd name="T16" fmla="*/ 12 w 94"/>
              <a:gd name="T17" fmla="*/ 54 h 166"/>
              <a:gd name="T18" fmla="*/ 0 w 94"/>
              <a:gd name="T19" fmla="*/ 77 h 166"/>
              <a:gd name="T20" fmla="*/ 2 w 94"/>
              <a:gd name="T21" fmla="*/ 118 h 166"/>
              <a:gd name="T22" fmla="*/ 19 w 94"/>
              <a:gd name="T23" fmla="*/ 163 h 166"/>
              <a:gd name="T24" fmla="*/ 43 w 94"/>
              <a:gd name="T25" fmla="*/ 153 h 166"/>
              <a:gd name="T26" fmla="*/ 68 w 94"/>
              <a:gd name="T27" fmla="*/ 134 h 1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94" h="166">
                <a:moveTo>
                  <a:pt x="68" y="134"/>
                </a:moveTo>
                <a:cubicBezTo>
                  <a:pt x="67" y="121"/>
                  <a:pt x="60" y="91"/>
                  <a:pt x="63" y="83"/>
                </a:cubicBezTo>
                <a:cubicBezTo>
                  <a:pt x="67" y="74"/>
                  <a:pt x="79" y="71"/>
                  <a:pt x="71" y="64"/>
                </a:cubicBezTo>
                <a:cubicBezTo>
                  <a:pt x="63" y="57"/>
                  <a:pt x="68" y="41"/>
                  <a:pt x="75" y="37"/>
                </a:cubicBezTo>
                <a:cubicBezTo>
                  <a:pt x="81" y="33"/>
                  <a:pt x="94" y="19"/>
                  <a:pt x="85" y="13"/>
                </a:cubicBezTo>
                <a:cubicBezTo>
                  <a:pt x="77" y="8"/>
                  <a:pt x="64" y="11"/>
                  <a:pt x="58" y="11"/>
                </a:cubicBezTo>
                <a:cubicBezTo>
                  <a:pt x="52" y="12"/>
                  <a:pt x="43" y="10"/>
                  <a:pt x="33" y="8"/>
                </a:cubicBezTo>
                <a:cubicBezTo>
                  <a:pt x="22" y="5"/>
                  <a:pt x="12" y="0"/>
                  <a:pt x="8" y="19"/>
                </a:cubicBezTo>
                <a:cubicBezTo>
                  <a:pt x="4" y="39"/>
                  <a:pt x="17" y="45"/>
                  <a:pt x="12" y="54"/>
                </a:cubicBezTo>
                <a:cubicBezTo>
                  <a:pt x="7" y="62"/>
                  <a:pt x="0" y="77"/>
                  <a:pt x="0" y="77"/>
                </a:cubicBezTo>
                <a:cubicBezTo>
                  <a:pt x="0" y="77"/>
                  <a:pt x="2" y="102"/>
                  <a:pt x="2" y="118"/>
                </a:cubicBezTo>
                <a:cubicBezTo>
                  <a:pt x="2" y="135"/>
                  <a:pt x="6" y="160"/>
                  <a:pt x="19" y="163"/>
                </a:cubicBezTo>
                <a:cubicBezTo>
                  <a:pt x="31" y="165"/>
                  <a:pt x="35" y="166"/>
                  <a:pt x="43" y="153"/>
                </a:cubicBezTo>
                <a:cubicBezTo>
                  <a:pt x="51" y="140"/>
                  <a:pt x="68" y="134"/>
                  <a:pt x="68" y="134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/>
          </a:p>
        </p:txBody>
      </p:sp>
      <p:sp>
        <p:nvSpPr>
          <p:cNvPr id="14" name="Freeform 10"/>
          <p:cNvSpPr>
            <a:spLocks/>
          </p:cNvSpPr>
          <p:nvPr userDrawn="1"/>
        </p:nvSpPr>
        <p:spPr bwMode="auto">
          <a:xfrm>
            <a:off x="3981450" y="5181600"/>
            <a:ext cx="141287" cy="246062"/>
          </a:xfrm>
          <a:custGeom>
            <a:avLst/>
            <a:gdLst>
              <a:gd name="T0" fmla="*/ 90 w 96"/>
              <a:gd name="T1" fmla="*/ 160 h 166"/>
              <a:gd name="T2" fmla="*/ 79 w 96"/>
              <a:gd name="T3" fmla="*/ 106 h 166"/>
              <a:gd name="T4" fmla="*/ 88 w 96"/>
              <a:gd name="T5" fmla="*/ 54 h 166"/>
              <a:gd name="T6" fmla="*/ 62 w 96"/>
              <a:gd name="T7" fmla="*/ 54 h 166"/>
              <a:gd name="T8" fmla="*/ 48 w 96"/>
              <a:gd name="T9" fmla="*/ 22 h 166"/>
              <a:gd name="T10" fmla="*/ 30 w 96"/>
              <a:gd name="T11" fmla="*/ 10 h 166"/>
              <a:gd name="T12" fmla="*/ 13 w 96"/>
              <a:gd name="T13" fmla="*/ 33 h 166"/>
              <a:gd name="T14" fmla="*/ 42 w 96"/>
              <a:gd name="T15" fmla="*/ 106 h 166"/>
              <a:gd name="T16" fmla="*/ 76 w 96"/>
              <a:gd name="T17" fmla="*/ 165 h 166"/>
              <a:gd name="T18" fmla="*/ 90 w 96"/>
              <a:gd name="T19" fmla="*/ 160 h 1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96" h="166">
                <a:moveTo>
                  <a:pt x="90" y="160"/>
                </a:moveTo>
                <a:cubicBezTo>
                  <a:pt x="86" y="150"/>
                  <a:pt x="77" y="126"/>
                  <a:pt x="79" y="106"/>
                </a:cubicBezTo>
                <a:cubicBezTo>
                  <a:pt x="81" y="86"/>
                  <a:pt x="96" y="61"/>
                  <a:pt x="88" y="54"/>
                </a:cubicBezTo>
                <a:cubicBezTo>
                  <a:pt x="80" y="47"/>
                  <a:pt x="69" y="57"/>
                  <a:pt x="62" y="54"/>
                </a:cubicBezTo>
                <a:cubicBezTo>
                  <a:pt x="55" y="51"/>
                  <a:pt x="47" y="38"/>
                  <a:pt x="48" y="22"/>
                </a:cubicBezTo>
                <a:cubicBezTo>
                  <a:pt x="50" y="5"/>
                  <a:pt x="44" y="0"/>
                  <a:pt x="30" y="10"/>
                </a:cubicBezTo>
                <a:cubicBezTo>
                  <a:pt x="17" y="21"/>
                  <a:pt x="0" y="21"/>
                  <a:pt x="13" y="33"/>
                </a:cubicBezTo>
                <a:cubicBezTo>
                  <a:pt x="25" y="45"/>
                  <a:pt x="29" y="94"/>
                  <a:pt x="42" y="106"/>
                </a:cubicBezTo>
                <a:cubicBezTo>
                  <a:pt x="54" y="118"/>
                  <a:pt x="70" y="164"/>
                  <a:pt x="76" y="165"/>
                </a:cubicBezTo>
                <a:cubicBezTo>
                  <a:pt x="81" y="166"/>
                  <a:pt x="90" y="160"/>
                  <a:pt x="90" y="16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/>
          </a:p>
        </p:txBody>
      </p:sp>
      <p:sp>
        <p:nvSpPr>
          <p:cNvPr id="15" name="Freeform 11"/>
          <p:cNvSpPr>
            <a:spLocks/>
          </p:cNvSpPr>
          <p:nvPr userDrawn="1"/>
        </p:nvSpPr>
        <p:spPr bwMode="auto">
          <a:xfrm>
            <a:off x="4138613" y="5511800"/>
            <a:ext cx="88900" cy="38100"/>
          </a:xfrm>
          <a:custGeom>
            <a:avLst/>
            <a:gdLst>
              <a:gd name="T0" fmla="*/ 36 w 60"/>
              <a:gd name="T1" fmla="*/ 0 h 26"/>
              <a:gd name="T2" fmla="*/ 22 w 60"/>
              <a:gd name="T3" fmla="*/ 21 h 26"/>
              <a:gd name="T4" fmla="*/ 55 w 60"/>
              <a:gd name="T5" fmla="*/ 15 h 26"/>
              <a:gd name="T6" fmla="*/ 36 w 60"/>
              <a:gd name="T7" fmla="*/ 0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60" h="26">
                <a:moveTo>
                  <a:pt x="36" y="0"/>
                </a:moveTo>
                <a:cubicBezTo>
                  <a:pt x="23" y="14"/>
                  <a:pt x="0" y="20"/>
                  <a:pt x="22" y="21"/>
                </a:cubicBezTo>
                <a:cubicBezTo>
                  <a:pt x="44" y="22"/>
                  <a:pt x="60" y="26"/>
                  <a:pt x="55" y="15"/>
                </a:cubicBezTo>
                <a:cubicBezTo>
                  <a:pt x="49" y="5"/>
                  <a:pt x="36" y="0"/>
                  <a:pt x="36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/>
          </a:p>
        </p:txBody>
      </p:sp>
      <p:sp>
        <p:nvSpPr>
          <p:cNvPr id="16" name="Freeform 12"/>
          <p:cNvSpPr>
            <a:spLocks/>
          </p:cNvSpPr>
          <p:nvPr userDrawn="1"/>
        </p:nvSpPr>
        <p:spPr bwMode="auto">
          <a:xfrm>
            <a:off x="3883025" y="4443413"/>
            <a:ext cx="33337" cy="68262"/>
          </a:xfrm>
          <a:custGeom>
            <a:avLst/>
            <a:gdLst>
              <a:gd name="T0" fmla="*/ 23 w 23"/>
              <a:gd name="T1" fmla="*/ 33 h 46"/>
              <a:gd name="T2" fmla="*/ 9 w 23"/>
              <a:gd name="T3" fmla="*/ 12 h 46"/>
              <a:gd name="T4" fmla="*/ 4 w 23"/>
              <a:gd name="T5" fmla="*/ 9 h 46"/>
              <a:gd name="T6" fmla="*/ 1 w 23"/>
              <a:gd name="T7" fmla="*/ 42 h 46"/>
              <a:gd name="T8" fmla="*/ 17 w 23"/>
              <a:gd name="T9" fmla="*/ 45 h 46"/>
              <a:gd name="T10" fmla="*/ 23 w 23"/>
              <a:gd name="T11" fmla="*/ 33 h 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3" h="46">
                <a:moveTo>
                  <a:pt x="23" y="33"/>
                </a:moveTo>
                <a:cubicBezTo>
                  <a:pt x="15" y="19"/>
                  <a:pt x="14" y="15"/>
                  <a:pt x="9" y="12"/>
                </a:cubicBezTo>
                <a:cubicBezTo>
                  <a:pt x="4" y="9"/>
                  <a:pt x="8" y="0"/>
                  <a:pt x="4" y="9"/>
                </a:cubicBezTo>
                <a:cubicBezTo>
                  <a:pt x="0" y="17"/>
                  <a:pt x="1" y="42"/>
                  <a:pt x="1" y="42"/>
                </a:cubicBezTo>
                <a:cubicBezTo>
                  <a:pt x="1" y="42"/>
                  <a:pt x="11" y="46"/>
                  <a:pt x="17" y="45"/>
                </a:cubicBezTo>
                <a:cubicBezTo>
                  <a:pt x="22" y="44"/>
                  <a:pt x="23" y="33"/>
                  <a:pt x="23" y="33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/>
          </a:p>
        </p:txBody>
      </p:sp>
      <p:sp>
        <p:nvSpPr>
          <p:cNvPr id="17" name="Freeform 13"/>
          <p:cNvSpPr>
            <a:spLocks/>
          </p:cNvSpPr>
          <p:nvPr userDrawn="1"/>
        </p:nvSpPr>
        <p:spPr bwMode="auto">
          <a:xfrm>
            <a:off x="4286250" y="3248025"/>
            <a:ext cx="49212" cy="74612"/>
          </a:xfrm>
          <a:custGeom>
            <a:avLst/>
            <a:gdLst>
              <a:gd name="T0" fmla="*/ 13 w 33"/>
              <a:gd name="T1" fmla="*/ 50 h 50"/>
              <a:gd name="T2" fmla="*/ 32 w 33"/>
              <a:gd name="T3" fmla="*/ 13 h 50"/>
              <a:gd name="T4" fmla="*/ 19 w 33"/>
              <a:gd name="T5" fmla="*/ 12 h 50"/>
              <a:gd name="T6" fmla="*/ 3 w 33"/>
              <a:gd name="T7" fmla="*/ 37 h 50"/>
              <a:gd name="T8" fmla="*/ 13 w 33"/>
              <a:gd name="T9" fmla="*/ 50 h 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3" h="50">
                <a:moveTo>
                  <a:pt x="13" y="50"/>
                </a:moveTo>
                <a:cubicBezTo>
                  <a:pt x="17" y="38"/>
                  <a:pt x="31" y="18"/>
                  <a:pt x="32" y="13"/>
                </a:cubicBezTo>
                <a:cubicBezTo>
                  <a:pt x="33" y="8"/>
                  <a:pt x="31" y="0"/>
                  <a:pt x="19" y="12"/>
                </a:cubicBezTo>
                <a:cubicBezTo>
                  <a:pt x="7" y="25"/>
                  <a:pt x="0" y="25"/>
                  <a:pt x="3" y="37"/>
                </a:cubicBezTo>
                <a:cubicBezTo>
                  <a:pt x="6" y="48"/>
                  <a:pt x="13" y="50"/>
                  <a:pt x="13" y="5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/>
          </a:p>
        </p:txBody>
      </p:sp>
      <p:sp>
        <p:nvSpPr>
          <p:cNvPr id="18" name="Freeform 14"/>
          <p:cNvSpPr>
            <a:spLocks/>
          </p:cNvSpPr>
          <p:nvPr userDrawn="1"/>
        </p:nvSpPr>
        <p:spPr bwMode="auto">
          <a:xfrm>
            <a:off x="4627563" y="2811463"/>
            <a:ext cx="84137" cy="65087"/>
          </a:xfrm>
          <a:custGeom>
            <a:avLst/>
            <a:gdLst>
              <a:gd name="T0" fmla="*/ 29 w 57"/>
              <a:gd name="T1" fmla="*/ 0 h 44"/>
              <a:gd name="T2" fmla="*/ 0 w 57"/>
              <a:gd name="T3" fmla="*/ 15 h 44"/>
              <a:gd name="T4" fmla="*/ 30 w 57"/>
              <a:gd name="T5" fmla="*/ 41 h 44"/>
              <a:gd name="T6" fmla="*/ 46 w 57"/>
              <a:gd name="T7" fmla="*/ 25 h 44"/>
              <a:gd name="T8" fmla="*/ 57 w 57"/>
              <a:gd name="T9" fmla="*/ 10 h 44"/>
              <a:gd name="T10" fmla="*/ 29 w 57"/>
              <a:gd name="T11" fmla="*/ 0 h 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7" h="44">
                <a:moveTo>
                  <a:pt x="29" y="0"/>
                </a:moveTo>
                <a:cubicBezTo>
                  <a:pt x="18" y="2"/>
                  <a:pt x="0" y="15"/>
                  <a:pt x="0" y="15"/>
                </a:cubicBezTo>
                <a:cubicBezTo>
                  <a:pt x="0" y="15"/>
                  <a:pt x="22" y="44"/>
                  <a:pt x="30" y="41"/>
                </a:cubicBezTo>
                <a:cubicBezTo>
                  <a:pt x="38" y="39"/>
                  <a:pt x="36" y="30"/>
                  <a:pt x="46" y="25"/>
                </a:cubicBezTo>
                <a:cubicBezTo>
                  <a:pt x="57" y="19"/>
                  <a:pt x="57" y="10"/>
                  <a:pt x="57" y="10"/>
                </a:cubicBezTo>
                <a:lnTo>
                  <a:pt x="29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/>
          </a:p>
        </p:txBody>
      </p:sp>
      <p:sp>
        <p:nvSpPr>
          <p:cNvPr id="19" name="Freeform 15"/>
          <p:cNvSpPr>
            <a:spLocks/>
          </p:cNvSpPr>
          <p:nvPr userDrawn="1"/>
        </p:nvSpPr>
        <p:spPr bwMode="auto">
          <a:xfrm>
            <a:off x="4702175" y="2692400"/>
            <a:ext cx="92075" cy="58737"/>
          </a:xfrm>
          <a:custGeom>
            <a:avLst/>
            <a:gdLst>
              <a:gd name="T0" fmla="*/ 40 w 62"/>
              <a:gd name="T1" fmla="*/ 34 h 40"/>
              <a:gd name="T2" fmla="*/ 31 w 62"/>
              <a:gd name="T3" fmla="*/ 14 h 40"/>
              <a:gd name="T4" fmla="*/ 22 w 62"/>
              <a:gd name="T5" fmla="*/ 32 h 40"/>
              <a:gd name="T6" fmla="*/ 35 w 62"/>
              <a:gd name="T7" fmla="*/ 40 h 40"/>
              <a:gd name="T8" fmla="*/ 40 w 62"/>
              <a:gd name="T9" fmla="*/ 34 h 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2" h="40">
                <a:moveTo>
                  <a:pt x="40" y="34"/>
                </a:moveTo>
                <a:cubicBezTo>
                  <a:pt x="40" y="34"/>
                  <a:pt x="62" y="0"/>
                  <a:pt x="31" y="14"/>
                </a:cubicBezTo>
                <a:cubicBezTo>
                  <a:pt x="0" y="28"/>
                  <a:pt x="22" y="32"/>
                  <a:pt x="22" y="32"/>
                </a:cubicBezTo>
                <a:cubicBezTo>
                  <a:pt x="35" y="40"/>
                  <a:pt x="35" y="40"/>
                  <a:pt x="35" y="40"/>
                </a:cubicBezTo>
                <a:lnTo>
                  <a:pt x="40" y="3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/>
          </a:p>
        </p:txBody>
      </p:sp>
      <p:sp>
        <p:nvSpPr>
          <p:cNvPr id="20" name="Freeform 16"/>
          <p:cNvSpPr>
            <a:spLocks/>
          </p:cNvSpPr>
          <p:nvPr userDrawn="1"/>
        </p:nvSpPr>
        <p:spPr bwMode="auto">
          <a:xfrm>
            <a:off x="4291013" y="3124200"/>
            <a:ext cx="30162" cy="41275"/>
          </a:xfrm>
          <a:custGeom>
            <a:avLst/>
            <a:gdLst>
              <a:gd name="T0" fmla="*/ 18 w 21"/>
              <a:gd name="T1" fmla="*/ 26 h 28"/>
              <a:gd name="T2" fmla="*/ 13 w 21"/>
              <a:gd name="T3" fmla="*/ 3 h 28"/>
              <a:gd name="T4" fmla="*/ 0 w 21"/>
              <a:gd name="T5" fmla="*/ 4 h 28"/>
              <a:gd name="T6" fmla="*/ 1 w 21"/>
              <a:gd name="T7" fmla="*/ 28 h 28"/>
              <a:gd name="T8" fmla="*/ 18 w 21"/>
              <a:gd name="T9" fmla="*/ 26 h 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" h="28">
                <a:moveTo>
                  <a:pt x="18" y="26"/>
                </a:moveTo>
                <a:cubicBezTo>
                  <a:pt x="21" y="21"/>
                  <a:pt x="18" y="6"/>
                  <a:pt x="13" y="3"/>
                </a:cubicBezTo>
                <a:cubicBezTo>
                  <a:pt x="8" y="0"/>
                  <a:pt x="0" y="4"/>
                  <a:pt x="0" y="4"/>
                </a:cubicBezTo>
                <a:cubicBezTo>
                  <a:pt x="1" y="28"/>
                  <a:pt x="1" y="28"/>
                  <a:pt x="1" y="28"/>
                </a:cubicBezTo>
                <a:lnTo>
                  <a:pt x="18" y="2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/>
          </a:p>
        </p:txBody>
      </p:sp>
      <p:sp>
        <p:nvSpPr>
          <p:cNvPr id="21" name="Freeform 17"/>
          <p:cNvSpPr>
            <a:spLocks/>
          </p:cNvSpPr>
          <p:nvPr userDrawn="1"/>
        </p:nvSpPr>
        <p:spPr bwMode="auto">
          <a:xfrm>
            <a:off x="4194175" y="2605088"/>
            <a:ext cx="384175" cy="493712"/>
          </a:xfrm>
          <a:custGeom>
            <a:avLst/>
            <a:gdLst>
              <a:gd name="T0" fmla="*/ 165 w 260"/>
              <a:gd name="T1" fmla="*/ 311 h 334"/>
              <a:gd name="T2" fmla="*/ 188 w 260"/>
              <a:gd name="T3" fmla="*/ 265 h 334"/>
              <a:gd name="T4" fmla="*/ 210 w 260"/>
              <a:gd name="T5" fmla="*/ 239 h 334"/>
              <a:gd name="T6" fmla="*/ 239 w 260"/>
              <a:gd name="T7" fmla="*/ 200 h 334"/>
              <a:gd name="T8" fmla="*/ 229 w 260"/>
              <a:gd name="T9" fmla="*/ 166 h 334"/>
              <a:gd name="T10" fmla="*/ 215 w 260"/>
              <a:gd name="T11" fmla="*/ 143 h 334"/>
              <a:gd name="T12" fmla="*/ 219 w 260"/>
              <a:gd name="T13" fmla="*/ 92 h 334"/>
              <a:gd name="T14" fmla="*/ 251 w 260"/>
              <a:gd name="T15" fmla="*/ 97 h 334"/>
              <a:gd name="T16" fmla="*/ 260 w 260"/>
              <a:gd name="T17" fmla="*/ 0 h 334"/>
              <a:gd name="T18" fmla="*/ 246 w 260"/>
              <a:gd name="T19" fmla="*/ 18 h 334"/>
              <a:gd name="T20" fmla="*/ 215 w 260"/>
              <a:gd name="T21" fmla="*/ 37 h 334"/>
              <a:gd name="T22" fmla="*/ 196 w 260"/>
              <a:gd name="T23" fmla="*/ 68 h 334"/>
              <a:gd name="T24" fmla="*/ 136 w 260"/>
              <a:gd name="T25" fmla="*/ 80 h 334"/>
              <a:gd name="T26" fmla="*/ 87 w 260"/>
              <a:gd name="T27" fmla="*/ 94 h 334"/>
              <a:gd name="T28" fmla="*/ 86 w 260"/>
              <a:gd name="T29" fmla="*/ 142 h 334"/>
              <a:gd name="T30" fmla="*/ 74 w 260"/>
              <a:gd name="T31" fmla="*/ 160 h 334"/>
              <a:gd name="T32" fmla="*/ 95 w 260"/>
              <a:gd name="T33" fmla="*/ 179 h 334"/>
              <a:gd name="T34" fmla="*/ 53 w 260"/>
              <a:gd name="T35" fmla="*/ 202 h 334"/>
              <a:gd name="T36" fmla="*/ 27 w 260"/>
              <a:gd name="T37" fmla="*/ 211 h 334"/>
              <a:gd name="T38" fmla="*/ 22 w 260"/>
              <a:gd name="T39" fmla="*/ 234 h 334"/>
              <a:gd name="T40" fmla="*/ 4 w 260"/>
              <a:gd name="T41" fmla="*/ 264 h 334"/>
              <a:gd name="T42" fmla="*/ 11 w 260"/>
              <a:gd name="T43" fmla="*/ 276 h 334"/>
              <a:gd name="T44" fmla="*/ 21 w 260"/>
              <a:gd name="T45" fmla="*/ 262 h 334"/>
              <a:gd name="T46" fmla="*/ 58 w 260"/>
              <a:gd name="T47" fmla="*/ 284 h 334"/>
              <a:gd name="T48" fmla="*/ 81 w 260"/>
              <a:gd name="T49" fmla="*/ 325 h 334"/>
              <a:gd name="T50" fmla="*/ 134 w 260"/>
              <a:gd name="T51" fmla="*/ 328 h 334"/>
              <a:gd name="T52" fmla="*/ 165 w 260"/>
              <a:gd name="T53" fmla="*/ 311 h 3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260" h="334">
                <a:moveTo>
                  <a:pt x="165" y="311"/>
                </a:moveTo>
                <a:cubicBezTo>
                  <a:pt x="165" y="311"/>
                  <a:pt x="173" y="264"/>
                  <a:pt x="188" y="265"/>
                </a:cubicBezTo>
                <a:cubicBezTo>
                  <a:pt x="202" y="267"/>
                  <a:pt x="199" y="249"/>
                  <a:pt x="210" y="239"/>
                </a:cubicBezTo>
                <a:cubicBezTo>
                  <a:pt x="222" y="228"/>
                  <a:pt x="243" y="216"/>
                  <a:pt x="239" y="200"/>
                </a:cubicBezTo>
                <a:cubicBezTo>
                  <a:pt x="235" y="184"/>
                  <a:pt x="246" y="175"/>
                  <a:pt x="229" y="166"/>
                </a:cubicBezTo>
                <a:cubicBezTo>
                  <a:pt x="212" y="157"/>
                  <a:pt x="209" y="172"/>
                  <a:pt x="215" y="143"/>
                </a:cubicBezTo>
                <a:cubicBezTo>
                  <a:pt x="221" y="115"/>
                  <a:pt x="213" y="94"/>
                  <a:pt x="219" y="92"/>
                </a:cubicBezTo>
                <a:cubicBezTo>
                  <a:pt x="225" y="89"/>
                  <a:pt x="247" y="115"/>
                  <a:pt x="251" y="97"/>
                </a:cubicBezTo>
                <a:cubicBezTo>
                  <a:pt x="255" y="79"/>
                  <a:pt x="260" y="0"/>
                  <a:pt x="260" y="0"/>
                </a:cubicBezTo>
                <a:cubicBezTo>
                  <a:pt x="260" y="0"/>
                  <a:pt x="258" y="13"/>
                  <a:pt x="246" y="18"/>
                </a:cubicBezTo>
                <a:cubicBezTo>
                  <a:pt x="233" y="22"/>
                  <a:pt x="226" y="15"/>
                  <a:pt x="215" y="37"/>
                </a:cubicBezTo>
                <a:cubicBezTo>
                  <a:pt x="205" y="59"/>
                  <a:pt x="202" y="66"/>
                  <a:pt x="196" y="68"/>
                </a:cubicBezTo>
                <a:cubicBezTo>
                  <a:pt x="190" y="71"/>
                  <a:pt x="168" y="68"/>
                  <a:pt x="136" y="80"/>
                </a:cubicBezTo>
                <a:cubicBezTo>
                  <a:pt x="104" y="92"/>
                  <a:pt x="85" y="84"/>
                  <a:pt x="87" y="94"/>
                </a:cubicBezTo>
                <a:cubicBezTo>
                  <a:pt x="88" y="103"/>
                  <a:pt x="93" y="132"/>
                  <a:pt x="86" y="142"/>
                </a:cubicBezTo>
                <a:cubicBezTo>
                  <a:pt x="78" y="151"/>
                  <a:pt x="64" y="158"/>
                  <a:pt x="74" y="160"/>
                </a:cubicBezTo>
                <a:cubicBezTo>
                  <a:pt x="85" y="162"/>
                  <a:pt x="100" y="171"/>
                  <a:pt x="95" y="179"/>
                </a:cubicBezTo>
                <a:cubicBezTo>
                  <a:pt x="89" y="187"/>
                  <a:pt x="62" y="204"/>
                  <a:pt x="53" y="202"/>
                </a:cubicBezTo>
                <a:cubicBezTo>
                  <a:pt x="44" y="200"/>
                  <a:pt x="28" y="202"/>
                  <a:pt x="27" y="211"/>
                </a:cubicBezTo>
                <a:cubicBezTo>
                  <a:pt x="25" y="220"/>
                  <a:pt x="28" y="230"/>
                  <a:pt x="22" y="234"/>
                </a:cubicBezTo>
                <a:cubicBezTo>
                  <a:pt x="15" y="238"/>
                  <a:pt x="0" y="257"/>
                  <a:pt x="4" y="264"/>
                </a:cubicBezTo>
                <a:cubicBezTo>
                  <a:pt x="9" y="270"/>
                  <a:pt x="5" y="286"/>
                  <a:pt x="11" y="276"/>
                </a:cubicBezTo>
                <a:cubicBezTo>
                  <a:pt x="17" y="267"/>
                  <a:pt x="11" y="260"/>
                  <a:pt x="21" y="262"/>
                </a:cubicBezTo>
                <a:cubicBezTo>
                  <a:pt x="32" y="264"/>
                  <a:pt x="54" y="274"/>
                  <a:pt x="58" y="284"/>
                </a:cubicBezTo>
                <a:cubicBezTo>
                  <a:pt x="61" y="294"/>
                  <a:pt x="59" y="320"/>
                  <a:pt x="81" y="325"/>
                </a:cubicBezTo>
                <a:cubicBezTo>
                  <a:pt x="102" y="329"/>
                  <a:pt x="118" y="334"/>
                  <a:pt x="134" y="328"/>
                </a:cubicBezTo>
                <a:cubicBezTo>
                  <a:pt x="150" y="322"/>
                  <a:pt x="165" y="311"/>
                  <a:pt x="165" y="31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/>
          </a:p>
        </p:txBody>
      </p:sp>
      <p:sp>
        <p:nvSpPr>
          <p:cNvPr id="22" name="Freeform 18"/>
          <p:cNvSpPr>
            <a:spLocks/>
          </p:cNvSpPr>
          <p:nvPr userDrawn="1"/>
        </p:nvSpPr>
        <p:spPr bwMode="auto">
          <a:xfrm>
            <a:off x="5822950" y="6059488"/>
            <a:ext cx="317500" cy="273050"/>
          </a:xfrm>
          <a:custGeom>
            <a:avLst/>
            <a:gdLst>
              <a:gd name="T0" fmla="*/ 164 w 215"/>
              <a:gd name="T1" fmla="*/ 170 h 185"/>
              <a:gd name="T2" fmla="*/ 211 w 215"/>
              <a:gd name="T3" fmla="*/ 146 h 185"/>
              <a:gd name="T4" fmla="*/ 215 w 215"/>
              <a:gd name="T5" fmla="*/ 128 h 185"/>
              <a:gd name="T6" fmla="*/ 202 w 215"/>
              <a:gd name="T7" fmla="*/ 97 h 185"/>
              <a:gd name="T8" fmla="*/ 182 w 215"/>
              <a:gd name="T9" fmla="*/ 112 h 185"/>
              <a:gd name="T10" fmla="*/ 190 w 215"/>
              <a:gd name="T11" fmla="*/ 128 h 185"/>
              <a:gd name="T12" fmla="*/ 171 w 215"/>
              <a:gd name="T13" fmla="*/ 124 h 185"/>
              <a:gd name="T14" fmla="*/ 158 w 215"/>
              <a:gd name="T15" fmla="*/ 93 h 185"/>
              <a:gd name="T16" fmla="*/ 147 w 215"/>
              <a:gd name="T17" fmla="*/ 69 h 185"/>
              <a:gd name="T18" fmla="*/ 138 w 215"/>
              <a:gd name="T19" fmla="*/ 95 h 185"/>
              <a:gd name="T20" fmla="*/ 134 w 215"/>
              <a:gd name="T21" fmla="*/ 105 h 185"/>
              <a:gd name="T22" fmla="*/ 107 w 215"/>
              <a:gd name="T23" fmla="*/ 74 h 185"/>
              <a:gd name="T24" fmla="*/ 76 w 215"/>
              <a:gd name="T25" fmla="*/ 46 h 185"/>
              <a:gd name="T26" fmla="*/ 33 w 215"/>
              <a:gd name="T27" fmla="*/ 28 h 185"/>
              <a:gd name="T28" fmla="*/ 15 w 215"/>
              <a:gd name="T29" fmla="*/ 5 h 185"/>
              <a:gd name="T30" fmla="*/ 10 w 215"/>
              <a:gd name="T31" fmla="*/ 32 h 185"/>
              <a:gd name="T32" fmla="*/ 46 w 215"/>
              <a:gd name="T33" fmla="*/ 84 h 185"/>
              <a:gd name="T34" fmla="*/ 100 w 215"/>
              <a:gd name="T35" fmla="*/ 134 h 185"/>
              <a:gd name="T36" fmla="*/ 150 w 215"/>
              <a:gd name="T37" fmla="*/ 184 h 185"/>
              <a:gd name="T38" fmla="*/ 164 w 215"/>
              <a:gd name="T39" fmla="*/ 170 h 1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215" h="185">
                <a:moveTo>
                  <a:pt x="164" y="170"/>
                </a:moveTo>
                <a:cubicBezTo>
                  <a:pt x="168" y="154"/>
                  <a:pt x="211" y="146"/>
                  <a:pt x="211" y="146"/>
                </a:cubicBezTo>
                <a:cubicBezTo>
                  <a:pt x="215" y="128"/>
                  <a:pt x="215" y="128"/>
                  <a:pt x="215" y="128"/>
                </a:cubicBezTo>
                <a:cubicBezTo>
                  <a:pt x="215" y="128"/>
                  <a:pt x="210" y="99"/>
                  <a:pt x="202" y="97"/>
                </a:cubicBezTo>
                <a:cubicBezTo>
                  <a:pt x="194" y="95"/>
                  <a:pt x="182" y="112"/>
                  <a:pt x="182" y="112"/>
                </a:cubicBezTo>
                <a:cubicBezTo>
                  <a:pt x="190" y="128"/>
                  <a:pt x="190" y="128"/>
                  <a:pt x="190" y="128"/>
                </a:cubicBezTo>
                <a:cubicBezTo>
                  <a:pt x="190" y="128"/>
                  <a:pt x="182" y="137"/>
                  <a:pt x="171" y="124"/>
                </a:cubicBezTo>
                <a:cubicBezTo>
                  <a:pt x="160" y="111"/>
                  <a:pt x="162" y="103"/>
                  <a:pt x="158" y="93"/>
                </a:cubicBezTo>
                <a:cubicBezTo>
                  <a:pt x="155" y="84"/>
                  <a:pt x="147" y="69"/>
                  <a:pt x="147" y="69"/>
                </a:cubicBezTo>
                <a:cubicBezTo>
                  <a:pt x="138" y="95"/>
                  <a:pt x="138" y="95"/>
                  <a:pt x="138" y="95"/>
                </a:cubicBezTo>
                <a:cubicBezTo>
                  <a:pt x="138" y="95"/>
                  <a:pt x="145" y="118"/>
                  <a:pt x="134" y="105"/>
                </a:cubicBezTo>
                <a:cubicBezTo>
                  <a:pt x="122" y="91"/>
                  <a:pt x="115" y="87"/>
                  <a:pt x="107" y="74"/>
                </a:cubicBezTo>
                <a:cubicBezTo>
                  <a:pt x="98" y="61"/>
                  <a:pt x="86" y="53"/>
                  <a:pt x="76" y="46"/>
                </a:cubicBezTo>
                <a:cubicBezTo>
                  <a:pt x="67" y="38"/>
                  <a:pt x="45" y="34"/>
                  <a:pt x="33" y="28"/>
                </a:cubicBezTo>
                <a:cubicBezTo>
                  <a:pt x="20" y="23"/>
                  <a:pt x="25" y="10"/>
                  <a:pt x="15" y="5"/>
                </a:cubicBezTo>
                <a:cubicBezTo>
                  <a:pt x="5" y="0"/>
                  <a:pt x="0" y="27"/>
                  <a:pt x="10" y="32"/>
                </a:cubicBezTo>
                <a:cubicBezTo>
                  <a:pt x="20" y="36"/>
                  <a:pt x="32" y="70"/>
                  <a:pt x="46" y="84"/>
                </a:cubicBezTo>
                <a:cubicBezTo>
                  <a:pt x="60" y="98"/>
                  <a:pt x="100" y="134"/>
                  <a:pt x="100" y="134"/>
                </a:cubicBezTo>
                <a:cubicBezTo>
                  <a:pt x="100" y="134"/>
                  <a:pt x="142" y="182"/>
                  <a:pt x="150" y="184"/>
                </a:cubicBezTo>
                <a:cubicBezTo>
                  <a:pt x="158" y="185"/>
                  <a:pt x="164" y="170"/>
                  <a:pt x="164" y="17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/>
          </a:p>
        </p:txBody>
      </p:sp>
      <p:sp>
        <p:nvSpPr>
          <p:cNvPr id="23" name="Freeform 19"/>
          <p:cNvSpPr>
            <a:spLocks/>
          </p:cNvSpPr>
          <p:nvPr userDrawn="1"/>
        </p:nvSpPr>
        <p:spPr bwMode="auto">
          <a:xfrm>
            <a:off x="5213350" y="5873750"/>
            <a:ext cx="498475" cy="407987"/>
          </a:xfrm>
          <a:custGeom>
            <a:avLst/>
            <a:gdLst>
              <a:gd name="T0" fmla="*/ 333 w 338"/>
              <a:gd name="T1" fmla="*/ 228 h 276"/>
              <a:gd name="T2" fmla="*/ 309 w 338"/>
              <a:gd name="T3" fmla="*/ 153 h 276"/>
              <a:gd name="T4" fmla="*/ 281 w 338"/>
              <a:gd name="T5" fmla="*/ 117 h 276"/>
              <a:gd name="T6" fmla="*/ 225 w 338"/>
              <a:gd name="T7" fmla="*/ 77 h 276"/>
              <a:gd name="T8" fmla="*/ 185 w 338"/>
              <a:gd name="T9" fmla="*/ 41 h 276"/>
              <a:gd name="T10" fmla="*/ 138 w 338"/>
              <a:gd name="T11" fmla="*/ 14 h 276"/>
              <a:gd name="T12" fmla="*/ 63 w 338"/>
              <a:gd name="T13" fmla="*/ 12 h 276"/>
              <a:gd name="T14" fmla="*/ 38 w 338"/>
              <a:gd name="T15" fmla="*/ 40 h 276"/>
              <a:gd name="T16" fmla="*/ 84 w 338"/>
              <a:gd name="T17" fmla="*/ 47 h 276"/>
              <a:gd name="T18" fmla="*/ 63 w 338"/>
              <a:gd name="T19" fmla="*/ 68 h 276"/>
              <a:gd name="T20" fmla="*/ 100 w 338"/>
              <a:gd name="T21" fmla="*/ 90 h 276"/>
              <a:gd name="T22" fmla="*/ 142 w 338"/>
              <a:gd name="T23" fmla="*/ 90 h 276"/>
              <a:gd name="T24" fmla="*/ 159 w 338"/>
              <a:gd name="T25" fmla="*/ 127 h 276"/>
              <a:gd name="T26" fmla="*/ 187 w 338"/>
              <a:gd name="T27" fmla="*/ 166 h 276"/>
              <a:gd name="T28" fmla="*/ 170 w 338"/>
              <a:gd name="T29" fmla="*/ 180 h 276"/>
              <a:gd name="T30" fmla="*/ 146 w 338"/>
              <a:gd name="T31" fmla="*/ 147 h 276"/>
              <a:gd name="T32" fmla="*/ 128 w 338"/>
              <a:gd name="T33" fmla="*/ 154 h 276"/>
              <a:gd name="T34" fmla="*/ 151 w 338"/>
              <a:gd name="T35" fmla="*/ 217 h 276"/>
              <a:gd name="T36" fmla="*/ 177 w 338"/>
              <a:gd name="T37" fmla="*/ 228 h 276"/>
              <a:gd name="T38" fmla="*/ 204 w 338"/>
              <a:gd name="T39" fmla="*/ 217 h 276"/>
              <a:gd name="T40" fmla="*/ 243 w 338"/>
              <a:gd name="T41" fmla="*/ 228 h 276"/>
              <a:gd name="T42" fmla="*/ 221 w 338"/>
              <a:gd name="T43" fmla="*/ 229 h 276"/>
              <a:gd name="T44" fmla="*/ 208 w 338"/>
              <a:gd name="T45" fmla="*/ 252 h 276"/>
              <a:gd name="T46" fmla="*/ 254 w 338"/>
              <a:gd name="T47" fmla="*/ 270 h 276"/>
              <a:gd name="T48" fmla="*/ 273 w 338"/>
              <a:gd name="T49" fmla="*/ 249 h 276"/>
              <a:gd name="T50" fmla="*/ 305 w 338"/>
              <a:gd name="T51" fmla="*/ 239 h 276"/>
              <a:gd name="T52" fmla="*/ 333 w 338"/>
              <a:gd name="T53" fmla="*/ 228 h 2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338" h="276">
                <a:moveTo>
                  <a:pt x="333" y="228"/>
                </a:moveTo>
                <a:cubicBezTo>
                  <a:pt x="324" y="204"/>
                  <a:pt x="319" y="172"/>
                  <a:pt x="309" y="153"/>
                </a:cubicBezTo>
                <a:cubicBezTo>
                  <a:pt x="299" y="134"/>
                  <a:pt x="305" y="133"/>
                  <a:pt x="281" y="117"/>
                </a:cubicBezTo>
                <a:cubicBezTo>
                  <a:pt x="256" y="100"/>
                  <a:pt x="252" y="97"/>
                  <a:pt x="225" y="77"/>
                </a:cubicBezTo>
                <a:cubicBezTo>
                  <a:pt x="199" y="58"/>
                  <a:pt x="198" y="49"/>
                  <a:pt x="185" y="41"/>
                </a:cubicBezTo>
                <a:cubicBezTo>
                  <a:pt x="173" y="33"/>
                  <a:pt x="165" y="20"/>
                  <a:pt x="138" y="14"/>
                </a:cubicBezTo>
                <a:cubicBezTo>
                  <a:pt x="111" y="9"/>
                  <a:pt x="83" y="0"/>
                  <a:pt x="63" y="12"/>
                </a:cubicBezTo>
                <a:cubicBezTo>
                  <a:pt x="44" y="25"/>
                  <a:pt x="0" y="35"/>
                  <a:pt x="38" y="40"/>
                </a:cubicBezTo>
                <a:cubicBezTo>
                  <a:pt x="76" y="46"/>
                  <a:pt x="84" y="47"/>
                  <a:pt x="84" y="47"/>
                </a:cubicBezTo>
                <a:cubicBezTo>
                  <a:pt x="84" y="47"/>
                  <a:pt x="49" y="65"/>
                  <a:pt x="63" y="68"/>
                </a:cubicBezTo>
                <a:cubicBezTo>
                  <a:pt x="76" y="71"/>
                  <a:pt x="100" y="90"/>
                  <a:pt x="100" y="90"/>
                </a:cubicBezTo>
                <a:cubicBezTo>
                  <a:pt x="100" y="90"/>
                  <a:pt x="127" y="81"/>
                  <a:pt x="142" y="90"/>
                </a:cubicBezTo>
                <a:cubicBezTo>
                  <a:pt x="157" y="99"/>
                  <a:pt x="135" y="119"/>
                  <a:pt x="159" y="127"/>
                </a:cubicBezTo>
                <a:cubicBezTo>
                  <a:pt x="182" y="135"/>
                  <a:pt x="195" y="154"/>
                  <a:pt x="187" y="166"/>
                </a:cubicBezTo>
                <a:cubicBezTo>
                  <a:pt x="179" y="179"/>
                  <a:pt x="176" y="192"/>
                  <a:pt x="170" y="180"/>
                </a:cubicBezTo>
                <a:cubicBezTo>
                  <a:pt x="164" y="167"/>
                  <a:pt x="154" y="151"/>
                  <a:pt x="146" y="147"/>
                </a:cubicBezTo>
                <a:cubicBezTo>
                  <a:pt x="139" y="142"/>
                  <a:pt x="131" y="127"/>
                  <a:pt x="128" y="154"/>
                </a:cubicBezTo>
                <a:cubicBezTo>
                  <a:pt x="125" y="181"/>
                  <a:pt x="139" y="209"/>
                  <a:pt x="151" y="217"/>
                </a:cubicBezTo>
                <a:cubicBezTo>
                  <a:pt x="163" y="226"/>
                  <a:pt x="166" y="237"/>
                  <a:pt x="177" y="228"/>
                </a:cubicBezTo>
                <a:cubicBezTo>
                  <a:pt x="187" y="219"/>
                  <a:pt x="193" y="215"/>
                  <a:pt x="204" y="217"/>
                </a:cubicBezTo>
                <a:cubicBezTo>
                  <a:pt x="215" y="220"/>
                  <a:pt x="251" y="219"/>
                  <a:pt x="243" y="228"/>
                </a:cubicBezTo>
                <a:cubicBezTo>
                  <a:pt x="236" y="238"/>
                  <a:pt x="235" y="229"/>
                  <a:pt x="221" y="229"/>
                </a:cubicBezTo>
                <a:cubicBezTo>
                  <a:pt x="207" y="229"/>
                  <a:pt x="198" y="247"/>
                  <a:pt x="208" y="252"/>
                </a:cubicBezTo>
                <a:cubicBezTo>
                  <a:pt x="218" y="257"/>
                  <a:pt x="245" y="276"/>
                  <a:pt x="254" y="270"/>
                </a:cubicBezTo>
                <a:cubicBezTo>
                  <a:pt x="264" y="263"/>
                  <a:pt x="273" y="249"/>
                  <a:pt x="273" y="249"/>
                </a:cubicBezTo>
                <a:cubicBezTo>
                  <a:pt x="273" y="249"/>
                  <a:pt x="272" y="237"/>
                  <a:pt x="305" y="239"/>
                </a:cubicBezTo>
                <a:cubicBezTo>
                  <a:pt x="338" y="240"/>
                  <a:pt x="333" y="228"/>
                  <a:pt x="333" y="22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/>
          </a:p>
        </p:txBody>
      </p:sp>
      <p:sp>
        <p:nvSpPr>
          <p:cNvPr id="24" name="Freeform 20"/>
          <p:cNvSpPr>
            <a:spLocks/>
          </p:cNvSpPr>
          <p:nvPr userDrawn="1"/>
        </p:nvSpPr>
        <p:spPr bwMode="auto">
          <a:xfrm>
            <a:off x="5378450" y="5454650"/>
            <a:ext cx="98425" cy="53975"/>
          </a:xfrm>
          <a:custGeom>
            <a:avLst/>
            <a:gdLst>
              <a:gd name="T0" fmla="*/ 44 w 67"/>
              <a:gd name="T1" fmla="*/ 0 h 37"/>
              <a:gd name="T2" fmla="*/ 29 w 67"/>
              <a:gd name="T3" fmla="*/ 30 h 37"/>
              <a:gd name="T4" fmla="*/ 61 w 67"/>
              <a:gd name="T5" fmla="*/ 26 h 37"/>
              <a:gd name="T6" fmla="*/ 44 w 67"/>
              <a:gd name="T7" fmla="*/ 0 h 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67" h="37">
                <a:moveTo>
                  <a:pt x="44" y="0"/>
                </a:moveTo>
                <a:cubicBezTo>
                  <a:pt x="32" y="6"/>
                  <a:pt x="0" y="24"/>
                  <a:pt x="29" y="30"/>
                </a:cubicBezTo>
                <a:cubicBezTo>
                  <a:pt x="59" y="37"/>
                  <a:pt x="67" y="36"/>
                  <a:pt x="61" y="26"/>
                </a:cubicBezTo>
                <a:cubicBezTo>
                  <a:pt x="55" y="16"/>
                  <a:pt x="44" y="0"/>
                  <a:pt x="44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/>
          </a:p>
        </p:txBody>
      </p:sp>
      <p:sp>
        <p:nvSpPr>
          <p:cNvPr id="25" name="Freeform 21"/>
          <p:cNvSpPr>
            <a:spLocks/>
          </p:cNvSpPr>
          <p:nvPr userDrawn="1"/>
        </p:nvSpPr>
        <p:spPr bwMode="auto">
          <a:xfrm>
            <a:off x="5316538" y="5545138"/>
            <a:ext cx="95250" cy="58737"/>
          </a:xfrm>
          <a:custGeom>
            <a:avLst/>
            <a:gdLst>
              <a:gd name="T0" fmla="*/ 31 w 65"/>
              <a:gd name="T1" fmla="*/ 0 h 40"/>
              <a:gd name="T2" fmla="*/ 28 w 65"/>
              <a:gd name="T3" fmla="*/ 27 h 40"/>
              <a:gd name="T4" fmla="*/ 57 w 65"/>
              <a:gd name="T5" fmla="*/ 25 h 40"/>
              <a:gd name="T6" fmla="*/ 31 w 65"/>
              <a:gd name="T7" fmla="*/ 0 h 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65" h="40">
                <a:moveTo>
                  <a:pt x="31" y="0"/>
                </a:moveTo>
                <a:cubicBezTo>
                  <a:pt x="31" y="0"/>
                  <a:pt x="0" y="30"/>
                  <a:pt x="28" y="27"/>
                </a:cubicBezTo>
                <a:cubicBezTo>
                  <a:pt x="57" y="25"/>
                  <a:pt x="65" y="40"/>
                  <a:pt x="57" y="25"/>
                </a:cubicBezTo>
                <a:cubicBezTo>
                  <a:pt x="49" y="9"/>
                  <a:pt x="31" y="0"/>
                  <a:pt x="31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/>
          </a:p>
        </p:txBody>
      </p:sp>
      <p:sp>
        <p:nvSpPr>
          <p:cNvPr id="26" name="Freeform 22"/>
          <p:cNvSpPr>
            <a:spLocks/>
          </p:cNvSpPr>
          <p:nvPr userDrawn="1"/>
        </p:nvSpPr>
        <p:spPr bwMode="auto">
          <a:xfrm>
            <a:off x="5984875" y="6029325"/>
            <a:ext cx="74612" cy="39687"/>
          </a:xfrm>
          <a:custGeom>
            <a:avLst/>
            <a:gdLst>
              <a:gd name="T0" fmla="*/ 13 w 51"/>
              <a:gd name="T1" fmla="*/ 6 h 27"/>
              <a:gd name="T2" fmla="*/ 22 w 51"/>
              <a:gd name="T3" fmla="*/ 19 h 27"/>
              <a:gd name="T4" fmla="*/ 51 w 51"/>
              <a:gd name="T5" fmla="*/ 13 h 27"/>
              <a:gd name="T6" fmla="*/ 13 w 51"/>
              <a:gd name="T7" fmla="*/ 6 h 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1" h="27">
                <a:moveTo>
                  <a:pt x="13" y="6"/>
                </a:moveTo>
                <a:cubicBezTo>
                  <a:pt x="13" y="6"/>
                  <a:pt x="0" y="14"/>
                  <a:pt x="22" y="19"/>
                </a:cubicBezTo>
                <a:cubicBezTo>
                  <a:pt x="43" y="23"/>
                  <a:pt x="51" y="27"/>
                  <a:pt x="51" y="13"/>
                </a:cubicBezTo>
                <a:cubicBezTo>
                  <a:pt x="51" y="0"/>
                  <a:pt x="13" y="6"/>
                  <a:pt x="13" y="6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/>
          </a:p>
        </p:txBody>
      </p:sp>
      <p:sp>
        <p:nvSpPr>
          <p:cNvPr id="27" name="Freeform 23"/>
          <p:cNvSpPr>
            <a:spLocks/>
          </p:cNvSpPr>
          <p:nvPr userDrawn="1"/>
        </p:nvSpPr>
        <p:spPr bwMode="auto">
          <a:xfrm>
            <a:off x="6115050" y="5922963"/>
            <a:ext cx="219075" cy="198437"/>
          </a:xfrm>
          <a:custGeom>
            <a:avLst/>
            <a:gdLst>
              <a:gd name="T0" fmla="*/ 100 w 148"/>
              <a:gd name="T1" fmla="*/ 109 h 134"/>
              <a:gd name="T2" fmla="*/ 132 w 148"/>
              <a:gd name="T3" fmla="*/ 88 h 134"/>
              <a:gd name="T4" fmla="*/ 137 w 148"/>
              <a:gd name="T5" fmla="*/ 66 h 134"/>
              <a:gd name="T6" fmla="*/ 111 w 148"/>
              <a:gd name="T7" fmla="*/ 58 h 134"/>
              <a:gd name="T8" fmla="*/ 115 w 148"/>
              <a:gd name="T9" fmla="*/ 37 h 134"/>
              <a:gd name="T10" fmla="*/ 99 w 148"/>
              <a:gd name="T11" fmla="*/ 6 h 134"/>
              <a:gd name="T12" fmla="*/ 55 w 148"/>
              <a:gd name="T13" fmla="*/ 44 h 134"/>
              <a:gd name="T14" fmla="*/ 16 w 148"/>
              <a:gd name="T15" fmla="*/ 69 h 134"/>
              <a:gd name="T16" fmla="*/ 60 w 148"/>
              <a:gd name="T17" fmla="*/ 128 h 134"/>
              <a:gd name="T18" fmla="*/ 80 w 148"/>
              <a:gd name="T19" fmla="*/ 110 h 134"/>
              <a:gd name="T20" fmla="*/ 100 w 148"/>
              <a:gd name="T21" fmla="*/ 109 h 1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48" h="134">
                <a:moveTo>
                  <a:pt x="100" y="109"/>
                </a:moveTo>
                <a:cubicBezTo>
                  <a:pt x="105" y="99"/>
                  <a:pt x="125" y="95"/>
                  <a:pt x="132" y="88"/>
                </a:cubicBezTo>
                <a:cubicBezTo>
                  <a:pt x="139" y="81"/>
                  <a:pt x="148" y="66"/>
                  <a:pt x="137" y="66"/>
                </a:cubicBezTo>
                <a:cubicBezTo>
                  <a:pt x="125" y="67"/>
                  <a:pt x="106" y="79"/>
                  <a:pt x="111" y="58"/>
                </a:cubicBezTo>
                <a:cubicBezTo>
                  <a:pt x="115" y="37"/>
                  <a:pt x="115" y="37"/>
                  <a:pt x="115" y="37"/>
                </a:cubicBezTo>
                <a:cubicBezTo>
                  <a:pt x="115" y="37"/>
                  <a:pt x="112" y="0"/>
                  <a:pt x="99" y="6"/>
                </a:cubicBezTo>
                <a:cubicBezTo>
                  <a:pt x="87" y="11"/>
                  <a:pt x="63" y="45"/>
                  <a:pt x="55" y="44"/>
                </a:cubicBezTo>
                <a:cubicBezTo>
                  <a:pt x="47" y="42"/>
                  <a:pt x="0" y="66"/>
                  <a:pt x="16" y="69"/>
                </a:cubicBezTo>
                <a:cubicBezTo>
                  <a:pt x="32" y="72"/>
                  <a:pt x="50" y="134"/>
                  <a:pt x="60" y="128"/>
                </a:cubicBezTo>
                <a:cubicBezTo>
                  <a:pt x="69" y="122"/>
                  <a:pt x="80" y="110"/>
                  <a:pt x="80" y="110"/>
                </a:cubicBezTo>
                <a:lnTo>
                  <a:pt x="100" y="10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/>
          </a:p>
        </p:txBody>
      </p:sp>
      <p:sp>
        <p:nvSpPr>
          <p:cNvPr id="28" name="Freeform 24"/>
          <p:cNvSpPr>
            <a:spLocks/>
          </p:cNvSpPr>
          <p:nvPr userDrawn="1"/>
        </p:nvSpPr>
        <p:spPr bwMode="auto">
          <a:xfrm>
            <a:off x="6216650" y="6156325"/>
            <a:ext cx="39687" cy="46037"/>
          </a:xfrm>
          <a:custGeom>
            <a:avLst/>
            <a:gdLst>
              <a:gd name="T0" fmla="*/ 12 w 27"/>
              <a:gd name="T1" fmla="*/ 0 h 31"/>
              <a:gd name="T2" fmla="*/ 14 w 27"/>
              <a:gd name="T3" fmla="*/ 20 h 31"/>
              <a:gd name="T4" fmla="*/ 12 w 27"/>
              <a:gd name="T5" fmla="*/ 0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7" h="31">
                <a:moveTo>
                  <a:pt x="12" y="0"/>
                </a:moveTo>
                <a:cubicBezTo>
                  <a:pt x="6" y="18"/>
                  <a:pt x="0" y="31"/>
                  <a:pt x="14" y="20"/>
                </a:cubicBezTo>
                <a:cubicBezTo>
                  <a:pt x="27" y="8"/>
                  <a:pt x="12" y="0"/>
                  <a:pt x="12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/>
          </a:p>
        </p:txBody>
      </p:sp>
      <p:sp>
        <p:nvSpPr>
          <p:cNvPr id="29" name="Freeform 25"/>
          <p:cNvSpPr>
            <a:spLocks/>
          </p:cNvSpPr>
          <p:nvPr userDrawn="1"/>
        </p:nvSpPr>
        <p:spPr bwMode="auto">
          <a:xfrm>
            <a:off x="6248400" y="5730875"/>
            <a:ext cx="317500" cy="760412"/>
          </a:xfrm>
          <a:custGeom>
            <a:avLst/>
            <a:gdLst>
              <a:gd name="T0" fmla="*/ 77 w 214"/>
              <a:gd name="T1" fmla="*/ 459 h 514"/>
              <a:gd name="T2" fmla="*/ 113 w 214"/>
              <a:gd name="T3" fmla="*/ 327 h 514"/>
              <a:gd name="T4" fmla="*/ 145 w 214"/>
              <a:gd name="T5" fmla="*/ 228 h 514"/>
              <a:gd name="T6" fmla="*/ 178 w 214"/>
              <a:gd name="T7" fmla="*/ 177 h 514"/>
              <a:gd name="T8" fmla="*/ 208 w 214"/>
              <a:gd name="T9" fmla="*/ 88 h 514"/>
              <a:gd name="T10" fmla="*/ 212 w 214"/>
              <a:gd name="T11" fmla="*/ 14 h 514"/>
              <a:gd name="T12" fmla="*/ 188 w 214"/>
              <a:gd name="T13" fmla="*/ 12 h 514"/>
              <a:gd name="T14" fmla="*/ 164 w 214"/>
              <a:gd name="T15" fmla="*/ 60 h 514"/>
              <a:gd name="T16" fmla="*/ 154 w 214"/>
              <a:gd name="T17" fmla="*/ 116 h 514"/>
              <a:gd name="T18" fmla="*/ 129 w 214"/>
              <a:gd name="T19" fmla="*/ 169 h 514"/>
              <a:gd name="T20" fmla="*/ 68 w 214"/>
              <a:gd name="T21" fmla="*/ 237 h 514"/>
              <a:gd name="T22" fmla="*/ 43 w 214"/>
              <a:gd name="T23" fmla="*/ 290 h 514"/>
              <a:gd name="T24" fmla="*/ 64 w 214"/>
              <a:gd name="T25" fmla="*/ 320 h 514"/>
              <a:gd name="T26" fmla="*/ 36 w 214"/>
              <a:gd name="T27" fmla="*/ 348 h 514"/>
              <a:gd name="T28" fmla="*/ 24 w 214"/>
              <a:gd name="T29" fmla="*/ 381 h 514"/>
              <a:gd name="T30" fmla="*/ 11 w 214"/>
              <a:gd name="T31" fmla="*/ 401 h 514"/>
              <a:gd name="T32" fmla="*/ 34 w 214"/>
              <a:gd name="T33" fmla="*/ 464 h 514"/>
              <a:gd name="T34" fmla="*/ 52 w 214"/>
              <a:gd name="T35" fmla="*/ 510 h 514"/>
              <a:gd name="T36" fmla="*/ 73 w 214"/>
              <a:gd name="T37" fmla="*/ 489 h 514"/>
              <a:gd name="T38" fmla="*/ 77 w 214"/>
              <a:gd name="T39" fmla="*/ 459 h 5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214" h="514">
                <a:moveTo>
                  <a:pt x="77" y="459"/>
                </a:moveTo>
                <a:cubicBezTo>
                  <a:pt x="77" y="459"/>
                  <a:pt x="103" y="359"/>
                  <a:pt x="113" y="327"/>
                </a:cubicBezTo>
                <a:cubicBezTo>
                  <a:pt x="122" y="296"/>
                  <a:pt x="139" y="241"/>
                  <a:pt x="145" y="228"/>
                </a:cubicBezTo>
                <a:cubicBezTo>
                  <a:pt x="150" y="216"/>
                  <a:pt x="172" y="206"/>
                  <a:pt x="178" y="177"/>
                </a:cubicBezTo>
                <a:cubicBezTo>
                  <a:pt x="184" y="147"/>
                  <a:pt x="201" y="118"/>
                  <a:pt x="208" y="88"/>
                </a:cubicBezTo>
                <a:cubicBezTo>
                  <a:pt x="214" y="59"/>
                  <a:pt x="212" y="14"/>
                  <a:pt x="212" y="14"/>
                </a:cubicBezTo>
                <a:cubicBezTo>
                  <a:pt x="212" y="14"/>
                  <a:pt x="198" y="0"/>
                  <a:pt x="188" y="12"/>
                </a:cubicBezTo>
                <a:cubicBezTo>
                  <a:pt x="177" y="23"/>
                  <a:pt x="158" y="31"/>
                  <a:pt x="164" y="60"/>
                </a:cubicBezTo>
                <a:cubicBezTo>
                  <a:pt x="169" y="88"/>
                  <a:pt x="159" y="109"/>
                  <a:pt x="154" y="116"/>
                </a:cubicBezTo>
                <a:cubicBezTo>
                  <a:pt x="150" y="124"/>
                  <a:pt x="140" y="158"/>
                  <a:pt x="129" y="169"/>
                </a:cubicBezTo>
                <a:cubicBezTo>
                  <a:pt x="119" y="181"/>
                  <a:pt x="75" y="216"/>
                  <a:pt x="68" y="237"/>
                </a:cubicBezTo>
                <a:cubicBezTo>
                  <a:pt x="61" y="258"/>
                  <a:pt x="32" y="288"/>
                  <a:pt x="43" y="290"/>
                </a:cubicBezTo>
                <a:cubicBezTo>
                  <a:pt x="53" y="293"/>
                  <a:pt x="72" y="310"/>
                  <a:pt x="64" y="320"/>
                </a:cubicBezTo>
                <a:cubicBezTo>
                  <a:pt x="57" y="330"/>
                  <a:pt x="51" y="342"/>
                  <a:pt x="36" y="348"/>
                </a:cubicBezTo>
                <a:cubicBezTo>
                  <a:pt x="21" y="353"/>
                  <a:pt x="35" y="381"/>
                  <a:pt x="24" y="381"/>
                </a:cubicBezTo>
                <a:cubicBezTo>
                  <a:pt x="12" y="381"/>
                  <a:pt x="0" y="398"/>
                  <a:pt x="11" y="401"/>
                </a:cubicBezTo>
                <a:cubicBezTo>
                  <a:pt x="22" y="403"/>
                  <a:pt x="38" y="443"/>
                  <a:pt x="34" y="464"/>
                </a:cubicBezTo>
                <a:cubicBezTo>
                  <a:pt x="29" y="485"/>
                  <a:pt x="35" y="514"/>
                  <a:pt x="52" y="510"/>
                </a:cubicBezTo>
                <a:cubicBezTo>
                  <a:pt x="70" y="505"/>
                  <a:pt x="73" y="489"/>
                  <a:pt x="73" y="489"/>
                </a:cubicBezTo>
                <a:lnTo>
                  <a:pt x="77" y="45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/>
          </a:p>
        </p:txBody>
      </p:sp>
      <p:sp>
        <p:nvSpPr>
          <p:cNvPr id="30" name="Freeform 26"/>
          <p:cNvSpPr>
            <a:spLocks/>
          </p:cNvSpPr>
          <p:nvPr userDrawn="1"/>
        </p:nvSpPr>
        <p:spPr bwMode="auto">
          <a:xfrm>
            <a:off x="5318125" y="4919663"/>
            <a:ext cx="1141412" cy="1041400"/>
          </a:xfrm>
          <a:custGeom>
            <a:avLst/>
            <a:gdLst>
              <a:gd name="T0" fmla="*/ 750 w 772"/>
              <a:gd name="T1" fmla="*/ 523 h 703"/>
              <a:gd name="T2" fmla="*/ 740 w 772"/>
              <a:gd name="T3" fmla="*/ 387 h 703"/>
              <a:gd name="T4" fmla="*/ 745 w 772"/>
              <a:gd name="T5" fmla="*/ 333 h 703"/>
              <a:gd name="T6" fmla="*/ 673 w 772"/>
              <a:gd name="T7" fmla="*/ 189 h 703"/>
              <a:gd name="T8" fmla="*/ 673 w 772"/>
              <a:gd name="T9" fmla="*/ 123 h 703"/>
              <a:gd name="T10" fmla="*/ 622 w 772"/>
              <a:gd name="T11" fmla="*/ 17 h 703"/>
              <a:gd name="T12" fmla="*/ 608 w 772"/>
              <a:gd name="T13" fmla="*/ 62 h 703"/>
              <a:gd name="T14" fmla="*/ 624 w 772"/>
              <a:gd name="T15" fmla="*/ 118 h 703"/>
              <a:gd name="T16" fmla="*/ 623 w 772"/>
              <a:gd name="T17" fmla="*/ 148 h 703"/>
              <a:gd name="T18" fmla="*/ 572 w 772"/>
              <a:gd name="T19" fmla="*/ 191 h 703"/>
              <a:gd name="T20" fmla="*/ 533 w 772"/>
              <a:gd name="T21" fmla="*/ 216 h 703"/>
              <a:gd name="T22" fmla="*/ 522 w 772"/>
              <a:gd name="T23" fmla="*/ 163 h 703"/>
              <a:gd name="T24" fmla="*/ 530 w 772"/>
              <a:gd name="T25" fmla="*/ 112 h 703"/>
              <a:gd name="T26" fmla="*/ 537 w 772"/>
              <a:gd name="T27" fmla="*/ 94 h 703"/>
              <a:gd name="T28" fmla="*/ 493 w 772"/>
              <a:gd name="T29" fmla="*/ 49 h 703"/>
              <a:gd name="T30" fmla="*/ 416 w 772"/>
              <a:gd name="T31" fmla="*/ 7 h 703"/>
              <a:gd name="T32" fmla="*/ 392 w 772"/>
              <a:gd name="T33" fmla="*/ 27 h 703"/>
              <a:gd name="T34" fmla="*/ 312 w 772"/>
              <a:gd name="T35" fmla="*/ 61 h 703"/>
              <a:gd name="T36" fmla="*/ 205 w 772"/>
              <a:gd name="T37" fmla="*/ 97 h 703"/>
              <a:gd name="T38" fmla="*/ 108 w 772"/>
              <a:gd name="T39" fmla="*/ 118 h 703"/>
              <a:gd name="T40" fmla="*/ 70 w 772"/>
              <a:gd name="T41" fmla="*/ 102 h 703"/>
              <a:gd name="T42" fmla="*/ 14 w 772"/>
              <a:gd name="T43" fmla="*/ 154 h 703"/>
              <a:gd name="T44" fmla="*/ 73 w 772"/>
              <a:gd name="T45" fmla="*/ 194 h 703"/>
              <a:gd name="T46" fmla="*/ 48 w 772"/>
              <a:gd name="T47" fmla="*/ 220 h 703"/>
              <a:gd name="T48" fmla="*/ 28 w 772"/>
              <a:gd name="T49" fmla="*/ 224 h 703"/>
              <a:gd name="T50" fmla="*/ 87 w 772"/>
              <a:gd name="T51" fmla="*/ 247 h 703"/>
              <a:gd name="T52" fmla="*/ 74 w 772"/>
              <a:gd name="T53" fmla="*/ 267 h 703"/>
              <a:gd name="T54" fmla="*/ 96 w 772"/>
              <a:gd name="T55" fmla="*/ 283 h 703"/>
              <a:gd name="T56" fmla="*/ 116 w 772"/>
              <a:gd name="T57" fmla="*/ 331 h 703"/>
              <a:gd name="T58" fmla="*/ 133 w 772"/>
              <a:gd name="T59" fmla="*/ 371 h 703"/>
              <a:gd name="T60" fmla="*/ 149 w 772"/>
              <a:gd name="T61" fmla="*/ 469 h 703"/>
              <a:gd name="T62" fmla="*/ 201 w 772"/>
              <a:gd name="T63" fmla="*/ 539 h 703"/>
              <a:gd name="T64" fmla="*/ 216 w 772"/>
              <a:gd name="T65" fmla="*/ 600 h 703"/>
              <a:gd name="T66" fmla="*/ 221 w 772"/>
              <a:gd name="T67" fmla="*/ 548 h 703"/>
              <a:gd name="T68" fmla="*/ 255 w 772"/>
              <a:gd name="T69" fmla="*/ 531 h 703"/>
              <a:gd name="T70" fmla="*/ 324 w 772"/>
              <a:gd name="T71" fmla="*/ 576 h 703"/>
              <a:gd name="T72" fmla="*/ 273 w 772"/>
              <a:gd name="T73" fmla="*/ 635 h 703"/>
              <a:gd name="T74" fmla="*/ 342 w 772"/>
              <a:gd name="T75" fmla="*/ 663 h 703"/>
              <a:gd name="T76" fmla="*/ 433 w 772"/>
              <a:gd name="T77" fmla="*/ 665 h 703"/>
              <a:gd name="T78" fmla="*/ 492 w 772"/>
              <a:gd name="T79" fmla="*/ 692 h 703"/>
              <a:gd name="T80" fmla="*/ 559 w 772"/>
              <a:gd name="T81" fmla="*/ 703 h 703"/>
              <a:gd name="T82" fmla="*/ 679 w 772"/>
              <a:gd name="T83" fmla="*/ 664 h 703"/>
              <a:gd name="T84" fmla="*/ 711 w 772"/>
              <a:gd name="T85" fmla="*/ 657 h 703"/>
              <a:gd name="T86" fmla="*/ 729 w 772"/>
              <a:gd name="T87" fmla="*/ 608 h 7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772" h="703">
                <a:moveTo>
                  <a:pt x="729" y="608"/>
                </a:moveTo>
                <a:cubicBezTo>
                  <a:pt x="729" y="608"/>
                  <a:pt x="743" y="541"/>
                  <a:pt x="750" y="523"/>
                </a:cubicBezTo>
                <a:cubicBezTo>
                  <a:pt x="757" y="505"/>
                  <a:pt x="753" y="482"/>
                  <a:pt x="749" y="473"/>
                </a:cubicBezTo>
                <a:cubicBezTo>
                  <a:pt x="746" y="464"/>
                  <a:pt x="740" y="387"/>
                  <a:pt x="740" y="387"/>
                </a:cubicBezTo>
                <a:cubicBezTo>
                  <a:pt x="740" y="387"/>
                  <a:pt x="759" y="416"/>
                  <a:pt x="765" y="384"/>
                </a:cubicBezTo>
                <a:cubicBezTo>
                  <a:pt x="772" y="352"/>
                  <a:pt x="754" y="343"/>
                  <a:pt x="745" y="333"/>
                </a:cubicBezTo>
                <a:cubicBezTo>
                  <a:pt x="736" y="323"/>
                  <a:pt x="710" y="278"/>
                  <a:pt x="691" y="246"/>
                </a:cubicBezTo>
                <a:cubicBezTo>
                  <a:pt x="673" y="215"/>
                  <a:pt x="670" y="203"/>
                  <a:pt x="673" y="189"/>
                </a:cubicBezTo>
                <a:cubicBezTo>
                  <a:pt x="675" y="176"/>
                  <a:pt x="700" y="192"/>
                  <a:pt x="704" y="174"/>
                </a:cubicBezTo>
                <a:cubicBezTo>
                  <a:pt x="708" y="155"/>
                  <a:pt x="679" y="144"/>
                  <a:pt x="673" y="123"/>
                </a:cubicBezTo>
                <a:cubicBezTo>
                  <a:pt x="666" y="102"/>
                  <a:pt x="657" y="78"/>
                  <a:pt x="643" y="50"/>
                </a:cubicBezTo>
                <a:cubicBezTo>
                  <a:pt x="630" y="22"/>
                  <a:pt x="624" y="9"/>
                  <a:pt x="622" y="17"/>
                </a:cubicBezTo>
                <a:cubicBezTo>
                  <a:pt x="621" y="25"/>
                  <a:pt x="623" y="56"/>
                  <a:pt x="623" y="56"/>
                </a:cubicBezTo>
                <a:cubicBezTo>
                  <a:pt x="608" y="62"/>
                  <a:pt x="608" y="62"/>
                  <a:pt x="608" y="62"/>
                </a:cubicBezTo>
                <a:cubicBezTo>
                  <a:pt x="608" y="62"/>
                  <a:pt x="630" y="72"/>
                  <a:pt x="623" y="93"/>
                </a:cubicBezTo>
                <a:cubicBezTo>
                  <a:pt x="616" y="114"/>
                  <a:pt x="637" y="121"/>
                  <a:pt x="624" y="118"/>
                </a:cubicBezTo>
                <a:cubicBezTo>
                  <a:pt x="610" y="115"/>
                  <a:pt x="599" y="102"/>
                  <a:pt x="597" y="112"/>
                </a:cubicBezTo>
                <a:cubicBezTo>
                  <a:pt x="595" y="123"/>
                  <a:pt x="626" y="135"/>
                  <a:pt x="623" y="148"/>
                </a:cubicBezTo>
                <a:cubicBezTo>
                  <a:pt x="620" y="162"/>
                  <a:pt x="607" y="170"/>
                  <a:pt x="596" y="168"/>
                </a:cubicBezTo>
                <a:cubicBezTo>
                  <a:pt x="586" y="166"/>
                  <a:pt x="572" y="191"/>
                  <a:pt x="572" y="191"/>
                </a:cubicBezTo>
                <a:cubicBezTo>
                  <a:pt x="541" y="192"/>
                  <a:pt x="541" y="192"/>
                  <a:pt x="541" y="192"/>
                </a:cubicBezTo>
                <a:cubicBezTo>
                  <a:pt x="541" y="192"/>
                  <a:pt x="547" y="219"/>
                  <a:pt x="533" y="216"/>
                </a:cubicBezTo>
                <a:cubicBezTo>
                  <a:pt x="520" y="213"/>
                  <a:pt x="491" y="218"/>
                  <a:pt x="494" y="202"/>
                </a:cubicBezTo>
                <a:cubicBezTo>
                  <a:pt x="498" y="186"/>
                  <a:pt x="506" y="171"/>
                  <a:pt x="522" y="163"/>
                </a:cubicBezTo>
                <a:cubicBezTo>
                  <a:pt x="538" y="156"/>
                  <a:pt x="549" y="155"/>
                  <a:pt x="540" y="145"/>
                </a:cubicBezTo>
                <a:cubicBezTo>
                  <a:pt x="531" y="135"/>
                  <a:pt x="530" y="112"/>
                  <a:pt x="530" y="112"/>
                </a:cubicBezTo>
                <a:cubicBezTo>
                  <a:pt x="530" y="112"/>
                  <a:pt x="555" y="115"/>
                  <a:pt x="554" y="106"/>
                </a:cubicBezTo>
                <a:cubicBezTo>
                  <a:pt x="553" y="97"/>
                  <a:pt x="537" y="94"/>
                  <a:pt x="537" y="94"/>
                </a:cubicBezTo>
                <a:cubicBezTo>
                  <a:pt x="537" y="94"/>
                  <a:pt x="512" y="94"/>
                  <a:pt x="506" y="82"/>
                </a:cubicBezTo>
                <a:cubicBezTo>
                  <a:pt x="500" y="70"/>
                  <a:pt x="509" y="66"/>
                  <a:pt x="493" y="49"/>
                </a:cubicBezTo>
                <a:cubicBezTo>
                  <a:pt x="477" y="31"/>
                  <a:pt x="448" y="28"/>
                  <a:pt x="448" y="28"/>
                </a:cubicBezTo>
                <a:cubicBezTo>
                  <a:pt x="448" y="28"/>
                  <a:pt x="423" y="0"/>
                  <a:pt x="416" y="7"/>
                </a:cubicBezTo>
                <a:cubicBezTo>
                  <a:pt x="409" y="14"/>
                  <a:pt x="402" y="44"/>
                  <a:pt x="402" y="44"/>
                </a:cubicBezTo>
                <a:cubicBezTo>
                  <a:pt x="402" y="44"/>
                  <a:pt x="405" y="30"/>
                  <a:pt x="392" y="27"/>
                </a:cubicBezTo>
                <a:cubicBezTo>
                  <a:pt x="379" y="25"/>
                  <a:pt x="363" y="19"/>
                  <a:pt x="356" y="28"/>
                </a:cubicBezTo>
                <a:cubicBezTo>
                  <a:pt x="348" y="38"/>
                  <a:pt x="325" y="55"/>
                  <a:pt x="312" y="61"/>
                </a:cubicBezTo>
                <a:cubicBezTo>
                  <a:pt x="300" y="67"/>
                  <a:pt x="263" y="73"/>
                  <a:pt x="263" y="73"/>
                </a:cubicBezTo>
                <a:cubicBezTo>
                  <a:pt x="263" y="73"/>
                  <a:pt x="215" y="85"/>
                  <a:pt x="205" y="97"/>
                </a:cubicBezTo>
                <a:cubicBezTo>
                  <a:pt x="194" y="108"/>
                  <a:pt x="164" y="146"/>
                  <a:pt x="150" y="144"/>
                </a:cubicBezTo>
                <a:cubicBezTo>
                  <a:pt x="137" y="141"/>
                  <a:pt x="110" y="135"/>
                  <a:pt x="108" y="118"/>
                </a:cubicBezTo>
                <a:cubicBezTo>
                  <a:pt x="106" y="101"/>
                  <a:pt x="97" y="93"/>
                  <a:pt x="89" y="92"/>
                </a:cubicBezTo>
                <a:cubicBezTo>
                  <a:pt x="81" y="90"/>
                  <a:pt x="82" y="99"/>
                  <a:pt x="70" y="102"/>
                </a:cubicBezTo>
                <a:cubicBezTo>
                  <a:pt x="58" y="105"/>
                  <a:pt x="58" y="107"/>
                  <a:pt x="47" y="116"/>
                </a:cubicBezTo>
                <a:cubicBezTo>
                  <a:pt x="37" y="125"/>
                  <a:pt x="0" y="143"/>
                  <a:pt x="14" y="154"/>
                </a:cubicBezTo>
                <a:cubicBezTo>
                  <a:pt x="29" y="165"/>
                  <a:pt x="12" y="179"/>
                  <a:pt x="31" y="183"/>
                </a:cubicBezTo>
                <a:cubicBezTo>
                  <a:pt x="49" y="187"/>
                  <a:pt x="67" y="182"/>
                  <a:pt x="73" y="194"/>
                </a:cubicBezTo>
                <a:cubicBezTo>
                  <a:pt x="79" y="207"/>
                  <a:pt x="96" y="230"/>
                  <a:pt x="85" y="227"/>
                </a:cubicBezTo>
                <a:cubicBezTo>
                  <a:pt x="75" y="225"/>
                  <a:pt x="56" y="235"/>
                  <a:pt x="48" y="220"/>
                </a:cubicBezTo>
                <a:cubicBezTo>
                  <a:pt x="40" y="204"/>
                  <a:pt x="28" y="193"/>
                  <a:pt x="28" y="193"/>
                </a:cubicBezTo>
                <a:cubicBezTo>
                  <a:pt x="28" y="193"/>
                  <a:pt x="20" y="222"/>
                  <a:pt x="28" y="224"/>
                </a:cubicBezTo>
                <a:cubicBezTo>
                  <a:pt x="36" y="225"/>
                  <a:pt x="76" y="245"/>
                  <a:pt x="76" y="245"/>
                </a:cubicBezTo>
                <a:cubicBezTo>
                  <a:pt x="87" y="247"/>
                  <a:pt x="87" y="247"/>
                  <a:pt x="87" y="247"/>
                </a:cubicBezTo>
                <a:cubicBezTo>
                  <a:pt x="87" y="247"/>
                  <a:pt x="76" y="245"/>
                  <a:pt x="68" y="255"/>
                </a:cubicBezTo>
                <a:cubicBezTo>
                  <a:pt x="61" y="264"/>
                  <a:pt x="56" y="272"/>
                  <a:pt x="74" y="267"/>
                </a:cubicBezTo>
                <a:cubicBezTo>
                  <a:pt x="92" y="262"/>
                  <a:pt x="105" y="254"/>
                  <a:pt x="106" y="262"/>
                </a:cubicBezTo>
                <a:cubicBezTo>
                  <a:pt x="107" y="271"/>
                  <a:pt x="96" y="283"/>
                  <a:pt x="96" y="283"/>
                </a:cubicBezTo>
                <a:cubicBezTo>
                  <a:pt x="96" y="283"/>
                  <a:pt x="57" y="280"/>
                  <a:pt x="75" y="301"/>
                </a:cubicBezTo>
                <a:cubicBezTo>
                  <a:pt x="93" y="321"/>
                  <a:pt x="105" y="332"/>
                  <a:pt x="116" y="331"/>
                </a:cubicBezTo>
                <a:cubicBezTo>
                  <a:pt x="128" y="331"/>
                  <a:pt x="141" y="331"/>
                  <a:pt x="139" y="342"/>
                </a:cubicBezTo>
                <a:cubicBezTo>
                  <a:pt x="137" y="353"/>
                  <a:pt x="125" y="356"/>
                  <a:pt x="133" y="371"/>
                </a:cubicBezTo>
                <a:cubicBezTo>
                  <a:pt x="141" y="387"/>
                  <a:pt x="147" y="399"/>
                  <a:pt x="144" y="412"/>
                </a:cubicBezTo>
                <a:cubicBezTo>
                  <a:pt x="141" y="426"/>
                  <a:pt x="131" y="463"/>
                  <a:pt x="149" y="469"/>
                </a:cubicBezTo>
                <a:cubicBezTo>
                  <a:pt x="167" y="476"/>
                  <a:pt x="204" y="470"/>
                  <a:pt x="204" y="486"/>
                </a:cubicBezTo>
                <a:cubicBezTo>
                  <a:pt x="203" y="503"/>
                  <a:pt x="194" y="532"/>
                  <a:pt x="201" y="539"/>
                </a:cubicBezTo>
                <a:cubicBezTo>
                  <a:pt x="208" y="546"/>
                  <a:pt x="216" y="584"/>
                  <a:pt x="216" y="584"/>
                </a:cubicBezTo>
                <a:cubicBezTo>
                  <a:pt x="216" y="584"/>
                  <a:pt x="206" y="609"/>
                  <a:pt x="216" y="600"/>
                </a:cubicBezTo>
                <a:cubicBezTo>
                  <a:pt x="226" y="591"/>
                  <a:pt x="235" y="590"/>
                  <a:pt x="236" y="582"/>
                </a:cubicBezTo>
                <a:cubicBezTo>
                  <a:pt x="238" y="574"/>
                  <a:pt x="224" y="560"/>
                  <a:pt x="221" y="548"/>
                </a:cubicBezTo>
                <a:cubicBezTo>
                  <a:pt x="218" y="537"/>
                  <a:pt x="203" y="503"/>
                  <a:pt x="219" y="506"/>
                </a:cubicBezTo>
                <a:cubicBezTo>
                  <a:pt x="235" y="510"/>
                  <a:pt x="237" y="527"/>
                  <a:pt x="255" y="531"/>
                </a:cubicBezTo>
                <a:cubicBezTo>
                  <a:pt x="274" y="535"/>
                  <a:pt x="268" y="511"/>
                  <a:pt x="284" y="514"/>
                </a:cubicBezTo>
                <a:cubicBezTo>
                  <a:pt x="300" y="518"/>
                  <a:pt x="326" y="565"/>
                  <a:pt x="324" y="576"/>
                </a:cubicBezTo>
                <a:cubicBezTo>
                  <a:pt x="322" y="586"/>
                  <a:pt x="282" y="614"/>
                  <a:pt x="282" y="614"/>
                </a:cubicBezTo>
                <a:cubicBezTo>
                  <a:pt x="282" y="614"/>
                  <a:pt x="259" y="632"/>
                  <a:pt x="273" y="635"/>
                </a:cubicBezTo>
                <a:cubicBezTo>
                  <a:pt x="286" y="637"/>
                  <a:pt x="301" y="632"/>
                  <a:pt x="314" y="635"/>
                </a:cubicBezTo>
                <a:cubicBezTo>
                  <a:pt x="328" y="638"/>
                  <a:pt x="342" y="663"/>
                  <a:pt x="342" y="663"/>
                </a:cubicBezTo>
                <a:cubicBezTo>
                  <a:pt x="342" y="663"/>
                  <a:pt x="351" y="620"/>
                  <a:pt x="359" y="619"/>
                </a:cubicBezTo>
                <a:cubicBezTo>
                  <a:pt x="368" y="618"/>
                  <a:pt x="415" y="662"/>
                  <a:pt x="433" y="665"/>
                </a:cubicBezTo>
                <a:cubicBezTo>
                  <a:pt x="452" y="669"/>
                  <a:pt x="478" y="666"/>
                  <a:pt x="478" y="666"/>
                </a:cubicBezTo>
                <a:cubicBezTo>
                  <a:pt x="478" y="666"/>
                  <a:pt x="484" y="690"/>
                  <a:pt x="492" y="692"/>
                </a:cubicBezTo>
                <a:cubicBezTo>
                  <a:pt x="500" y="693"/>
                  <a:pt x="527" y="685"/>
                  <a:pt x="527" y="685"/>
                </a:cubicBezTo>
                <a:cubicBezTo>
                  <a:pt x="527" y="685"/>
                  <a:pt x="545" y="703"/>
                  <a:pt x="559" y="703"/>
                </a:cubicBezTo>
                <a:cubicBezTo>
                  <a:pt x="573" y="703"/>
                  <a:pt x="620" y="666"/>
                  <a:pt x="629" y="662"/>
                </a:cubicBezTo>
                <a:cubicBezTo>
                  <a:pt x="638" y="658"/>
                  <a:pt x="667" y="667"/>
                  <a:pt x="679" y="664"/>
                </a:cubicBezTo>
                <a:cubicBezTo>
                  <a:pt x="690" y="661"/>
                  <a:pt x="672" y="654"/>
                  <a:pt x="683" y="654"/>
                </a:cubicBezTo>
                <a:cubicBezTo>
                  <a:pt x="695" y="654"/>
                  <a:pt x="700" y="666"/>
                  <a:pt x="711" y="657"/>
                </a:cubicBezTo>
                <a:cubicBezTo>
                  <a:pt x="721" y="648"/>
                  <a:pt x="725" y="629"/>
                  <a:pt x="725" y="629"/>
                </a:cubicBezTo>
                <a:lnTo>
                  <a:pt x="729" y="60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/>
          </a:p>
        </p:txBody>
      </p:sp>
      <p:sp>
        <p:nvSpPr>
          <p:cNvPr id="31" name="Freeform 27"/>
          <p:cNvSpPr>
            <a:spLocks/>
          </p:cNvSpPr>
          <p:nvPr userDrawn="1"/>
        </p:nvSpPr>
        <p:spPr bwMode="auto">
          <a:xfrm>
            <a:off x="7707313" y="5876925"/>
            <a:ext cx="481012" cy="311150"/>
          </a:xfrm>
          <a:custGeom>
            <a:avLst/>
            <a:gdLst>
              <a:gd name="T0" fmla="*/ 120 w 325"/>
              <a:gd name="T1" fmla="*/ 151 h 210"/>
              <a:gd name="T2" fmla="*/ 168 w 325"/>
              <a:gd name="T3" fmla="*/ 105 h 210"/>
              <a:gd name="T4" fmla="*/ 260 w 325"/>
              <a:gd name="T5" fmla="*/ 119 h 210"/>
              <a:gd name="T6" fmla="*/ 307 w 325"/>
              <a:gd name="T7" fmla="*/ 109 h 210"/>
              <a:gd name="T8" fmla="*/ 303 w 325"/>
              <a:gd name="T9" fmla="*/ 61 h 210"/>
              <a:gd name="T10" fmla="*/ 255 w 325"/>
              <a:gd name="T11" fmla="*/ 26 h 210"/>
              <a:gd name="T12" fmla="*/ 153 w 325"/>
              <a:gd name="T13" fmla="*/ 21 h 210"/>
              <a:gd name="T14" fmla="*/ 111 w 325"/>
              <a:gd name="T15" fmla="*/ 7 h 210"/>
              <a:gd name="T16" fmla="*/ 125 w 325"/>
              <a:gd name="T17" fmla="*/ 32 h 210"/>
              <a:gd name="T18" fmla="*/ 116 w 325"/>
              <a:gd name="T19" fmla="*/ 75 h 210"/>
              <a:gd name="T20" fmla="*/ 87 w 325"/>
              <a:gd name="T21" fmla="*/ 84 h 210"/>
              <a:gd name="T22" fmla="*/ 63 w 325"/>
              <a:gd name="T23" fmla="*/ 87 h 210"/>
              <a:gd name="T24" fmla="*/ 38 w 325"/>
              <a:gd name="T25" fmla="*/ 100 h 210"/>
              <a:gd name="T26" fmla="*/ 17 w 325"/>
              <a:gd name="T27" fmla="*/ 121 h 210"/>
              <a:gd name="T28" fmla="*/ 39 w 325"/>
              <a:gd name="T29" fmla="*/ 139 h 210"/>
              <a:gd name="T30" fmla="*/ 23 w 325"/>
              <a:gd name="T31" fmla="*/ 175 h 210"/>
              <a:gd name="T32" fmla="*/ 49 w 325"/>
              <a:gd name="T33" fmla="*/ 194 h 210"/>
              <a:gd name="T34" fmla="*/ 66 w 325"/>
              <a:gd name="T35" fmla="*/ 209 h 210"/>
              <a:gd name="T36" fmla="*/ 107 w 325"/>
              <a:gd name="T37" fmla="*/ 184 h 210"/>
              <a:gd name="T38" fmla="*/ 120 w 325"/>
              <a:gd name="T39" fmla="*/ 151 h 2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325" h="210">
                <a:moveTo>
                  <a:pt x="120" y="151"/>
                </a:moveTo>
                <a:cubicBezTo>
                  <a:pt x="120" y="151"/>
                  <a:pt x="132" y="103"/>
                  <a:pt x="168" y="105"/>
                </a:cubicBezTo>
                <a:cubicBezTo>
                  <a:pt x="204" y="107"/>
                  <a:pt x="230" y="115"/>
                  <a:pt x="260" y="119"/>
                </a:cubicBezTo>
                <a:cubicBezTo>
                  <a:pt x="290" y="122"/>
                  <a:pt x="301" y="138"/>
                  <a:pt x="307" y="109"/>
                </a:cubicBezTo>
                <a:cubicBezTo>
                  <a:pt x="313" y="80"/>
                  <a:pt x="325" y="74"/>
                  <a:pt x="303" y="61"/>
                </a:cubicBezTo>
                <a:cubicBezTo>
                  <a:pt x="281" y="48"/>
                  <a:pt x="268" y="29"/>
                  <a:pt x="255" y="26"/>
                </a:cubicBezTo>
                <a:cubicBezTo>
                  <a:pt x="241" y="23"/>
                  <a:pt x="158" y="36"/>
                  <a:pt x="153" y="21"/>
                </a:cubicBezTo>
                <a:cubicBezTo>
                  <a:pt x="147" y="6"/>
                  <a:pt x="118" y="0"/>
                  <a:pt x="111" y="7"/>
                </a:cubicBezTo>
                <a:cubicBezTo>
                  <a:pt x="104" y="14"/>
                  <a:pt x="123" y="17"/>
                  <a:pt x="125" y="32"/>
                </a:cubicBezTo>
                <a:cubicBezTo>
                  <a:pt x="131" y="67"/>
                  <a:pt x="145" y="58"/>
                  <a:pt x="116" y="75"/>
                </a:cubicBezTo>
                <a:cubicBezTo>
                  <a:pt x="104" y="82"/>
                  <a:pt x="95" y="83"/>
                  <a:pt x="87" y="84"/>
                </a:cubicBezTo>
                <a:cubicBezTo>
                  <a:pt x="81" y="85"/>
                  <a:pt x="69" y="83"/>
                  <a:pt x="63" y="87"/>
                </a:cubicBezTo>
                <a:cubicBezTo>
                  <a:pt x="47" y="94"/>
                  <a:pt x="38" y="100"/>
                  <a:pt x="38" y="100"/>
                </a:cubicBezTo>
                <a:cubicBezTo>
                  <a:pt x="38" y="100"/>
                  <a:pt x="0" y="111"/>
                  <a:pt x="17" y="121"/>
                </a:cubicBezTo>
                <a:cubicBezTo>
                  <a:pt x="35" y="130"/>
                  <a:pt x="48" y="133"/>
                  <a:pt x="39" y="139"/>
                </a:cubicBezTo>
                <a:cubicBezTo>
                  <a:pt x="29" y="145"/>
                  <a:pt x="7" y="169"/>
                  <a:pt x="23" y="175"/>
                </a:cubicBezTo>
                <a:cubicBezTo>
                  <a:pt x="38" y="181"/>
                  <a:pt x="49" y="194"/>
                  <a:pt x="49" y="194"/>
                </a:cubicBezTo>
                <a:cubicBezTo>
                  <a:pt x="49" y="194"/>
                  <a:pt x="57" y="210"/>
                  <a:pt x="66" y="209"/>
                </a:cubicBezTo>
                <a:cubicBezTo>
                  <a:pt x="74" y="208"/>
                  <a:pt x="104" y="200"/>
                  <a:pt x="107" y="184"/>
                </a:cubicBezTo>
                <a:cubicBezTo>
                  <a:pt x="110" y="168"/>
                  <a:pt x="120" y="151"/>
                  <a:pt x="120" y="15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/>
          </a:p>
        </p:txBody>
      </p:sp>
      <p:sp>
        <p:nvSpPr>
          <p:cNvPr id="32" name="Freeform 28"/>
          <p:cNvSpPr>
            <a:spLocks/>
          </p:cNvSpPr>
          <p:nvPr userDrawn="1"/>
        </p:nvSpPr>
        <p:spPr bwMode="auto">
          <a:xfrm>
            <a:off x="7654925" y="6088063"/>
            <a:ext cx="68262" cy="28575"/>
          </a:xfrm>
          <a:custGeom>
            <a:avLst/>
            <a:gdLst>
              <a:gd name="T0" fmla="*/ 7 w 46"/>
              <a:gd name="T1" fmla="*/ 0 h 20"/>
              <a:gd name="T2" fmla="*/ 12 w 46"/>
              <a:gd name="T3" fmla="*/ 17 h 20"/>
              <a:gd name="T4" fmla="*/ 36 w 46"/>
              <a:gd name="T5" fmla="*/ 8 h 20"/>
              <a:gd name="T6" fmla="*/ 7 w 46"/>
              <a:gd name="T7" fmla="*/ 0 h 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6" h="20">
                <a:moveTo>
                  <a:pt x="7" y="0"/>
                </a:moveTo>
                <a:cubicBezTo>
                  <a:pt x="0" y="9"/>
                  <a:pt x="1" y="15"/>
                  <a:pt x="12" y="17"/>
                </a:cubicBezTo>
                <a:cubicBezTo>
                  <a:pt x="23" y="20"/>
                  <a:pt x="46" y="16"/>
                  <a:pt x="36" y="8"/>
                </a:cubicBezTo>
                <a:cubicBezTo>
                  <a:pt x="26" y="1"/>
                  <a:pt x="7" y="0"/>
                  <a:pt x="7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/>
          </a:p>
        </p:txBody>
      </p:sp>
      <p:sp>
        <p:nvSpPr>
          <p:cNvPr id="33" name="Freeform 29"/>
          <p:cNvSpPr>
            <a:spLocks/>
          </p:cNvSpPr>
          <p:nvPr userDrawn="1"/>
        </p:nvSpPr>
        <p:spPr bwMode="auto">
          <a:xfrm>
            <a:off x="7140575" y="6002338"/>
            <a:ext cx="61912" cy="79375"/>
          </a:xfrm>
          <a:custGeom>
            <a:avLst/>
            <a:gdLst>
              <a:gd name="T0" fmla="*/ 42 w 42"/>
              <a:gd name="T1" fmla="*/ 25 h 54"/>
              <a:gd name="T2" fmla="*/ 18 w 42"/>
              <a:gd name="T3" fmla="*/ 4 h 54"/>
              <a:gd name="T4" fmla="*/ 4 w 42"/>
              <a:gd name="T5" fmla="*/ 20 h 54"/>
              <a:gd name="T6" fmla="*/ 17 w 42"/>
              <a:gd name="T7" fmla="*/ 48 h 54"/>
              <a:gd name="T8" fmla="*/ 42 w 42"/>
              <a:gd name="T9" fmla="*/ 25 h 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2" h="54">
                <a:moveTo>
                  <a:pt x="42" y="25"/>
                </a:moveTo>
                <a:cubicBezTo>
                  <a:pt x="42" y="25"/>
                  <a:pt x="30" y="0"/>
                  <a:pt x="18" y="4"/>
                </a:cubicBezTo>
                <a:cubicBezTo>
                  <a:pt x="7" y="7"/>
                  <a:pt x="0" y="0"/>
                  <a:pt x="4" y="20"/>
                </a:cubicBezTo>
                <a:cubicBezTo>
                  <a:pt x="8" y="40"/>
                  <a:pt x="5" y="54"/>
                  <a:pt x="17" y="48"/>
                </a:cubicBezTo>
                <a:cubicBezTo>
                  <a:pt x="30" y="42"/>
                  <a:pt x="42" y="25"/>
                  <a:pt x="42" y="2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/>
          </a:p>
        </p:txBody>
      </p:sp>
      <p:sp>
        <p:nvSpPr>
          <p:cNvPr id="34" name="Freeform 30"/>
          <p:cNvSpPr>
            <a:spLocks/>
          </p:cNvSpPr>
          <p:nvPr userDrawn="1"/>
        </p:nvSpPr>
        <p:spPr bwMode="auto">
          <a:xfrm>
            <a:off x="7005638" y="6045200"/>
            <a:ext cx="79375" cy="52387"/>
          </a:xfrm>
          <a:custGeom>
            <a:avLst/>
            <a:gdLst>
              <a:gd name="T0" fmla="*/ 17 w 53"/>
              <a:gd name="T1" fmla="*/ 5 h 36"/>
              <a:gd name="T2" fmla="*/ 18 w 53"/>
              <a:gd name="T3" fmla="*/ 25 h 36"/>
              <a:gd name="T4" fmla="*/ 49 w 53"/>
              <a:gd name="T5" fmla="*/ 23 h 36"/>
              <a:gd name="T6" fmla="*/ 42 w 53"/>
              <a:gd name="T7" fmla="*/ 2 h 36"/>
              <a:gd name="T8" fmla="*/ 17 w 53"/>
              <a:gd name="T9" fmla="*/ 5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3" h="36">
                <a:moveTo>
                  <a:pt x="17" y="5"/>
                </a:moveTo>
                <a:cubicBezTo>
                  <a:pt x="12" y="13"/>
                  <a:pt x="0" y="18"/>
                  <a:pt x="18" y="25"/>
                </a:cubicBezTo>
                <a:cubicBezTo>
                  <a:pt x="36" y="32"/>
                  <a:pt x="46" y="36"/>
                  <a:pt x="49" y="23"/>
                </a:cubicBezTo>
                <a:cubicBezTo>
                  <a:pt x="52" y="10"/>
                  <a:pt x="53" y="4"/>
                  <a:pt x="42" y="2"/>
                </a:cubicBezTo>
                <a:cubicBezTo>
                  <a:pt x="32" y="0"/>
                  <a:pt x="17" y="5"/>
                  <a:pt x="17" y="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/>
          </a:p>
        </p:txBody>
      </p:sp>
      <p:sp>
        <p:nvSpPr>
          <p:cNvPr id="35" name="Freeform 31"/>
          <p:cNvSpPr>
            <a:spLocks/>
          </p:cNvSpPr>
          <p:nvPr userDrawn="1"/>
        </p:nvSpPr>
        <p:spPr bwMode="auto">
          <a:xfrm>
            <a:off x="7310438" y="6046788"/>
            <a:ext cx="484187" cy="692150"/>
          </a:xfrm>
          <a:custGeom>
            <a:avLst/>
            <a:gdLst>
              <a:gd name="T0" fmla="*/ 206 w 328"/>
              <a:gd name="T1" fmla="*/ 444 h 468"/>
              <a:gd name="T2" fmla="*/ 205 w 328"/>
              <a:gd name="T3" fmla="*/ 299 h 468"/>
              <a:gd name="T4" fmla="*/ 236 w 328"/>
              <a:gd name="T5" fmla="*/ 261 h 468"/>
              <a:gd name="T6" fmla="*/ 243 w 328"/>
              <a:gd name="T7" fmla="*/ 226 h 468"/>
              <a:gd name="T8" fmla="*/ 285 w 328"/>
              <a:gd name="T9" fmla="*/ 187 h 468"/>
              <a:gd name="T10" fmla="*/ 318 w 328"/>
              <a:gd name="T11" fmla="*/ 133 h 468"/>
              <a:gd name="T12" fmla="*/ 288 w 328"/>
              <a:gd name="T13" fmla="*/ 77 h 468"/>
              <a:gd name="T14" fmla="*/ 239 w 328"/>
              <a:gd name="T15" fmla="*/ 75 h 468"/>
              <a:gd name="T16" fmla="*/ 198 w 328"/>
              <a:gd name="T17" fmla="*/ 55 h 468"/>
              <a:gd name="T18" fmla="*/ 173 w 328"/>
              <a:gd name="T19" fmla="*/ 27 h 468"/>
              <a:gd name="T20" fmla="*/ 148 w 328"/>
              <a:gd name="T21" fmla="*/ 44 h 468"/>
              <a:gd name="T22" fmla="*/ 104 w 328"/>
              <a:gd name="T23" fmla="*/ 2 h 468"/>
              <a:gd name="T24" fmla="*/ 84 w 328"/>
              <a:gd name="T25" fmla="*/ 28 h 468"/>
              <a:gd name="T26" fmla="*/ 47 w 328"/>
              <a:gd name="T27" fmla="*/ 6 h 468"/>
              <a:gd name="T28" fmla="*/ 21 w 328"/>
              <a:gd name="T29" fmla="*/ 37 h 468"/>
              <a:gd name="T30" fmla="*/ 50 w 328"/>
              <a:gd name="T31" fmla="*/ 71 h 468"/>
              <a:gd name="T32" fmla="*/ 59 w 328"/>
              <a:gd name="T33" fmla="*/ 123 h 468"/>
              <a:gd name="T34" fmla="*/ 102 w 328"/>
              <a:gd name="T35" fmla="*/ 157 h 468"/>
              <a:gd name="T36" fmla="*/ 104 w 328"/>
              <a:gd name="T37" fmla="*/ 197 h 468"/>
              <a:gd name="T38" fmla="*/ 143 w 328"/>
              <a:gd name="T39" fmla="*/ 250 h 468"/>
              <a:gd name="T40" fmla="*/ 147 w 328"/>
              <a:gd name="T41" fmla="*/ 298 h 468"/>
              <a:gd name="T42" fmla="*/ 137 w 328"/>
              <a:gd name="T43" fmla="*/ 360 h 468"/>
              <a:gd name="T44" fmla="*/ 169 w 328"/>
              <a:gd name="T45" fmla="*/ 433 h 468"/>
              <a:gd name="T46" fmla="*/ 196 w 328"/>
              <a:gd name="T47" fmla="*/ 464 h 468"/>
              <a:gd name="T48" fmla="*/ 206 w 328"/>
              <a:gd name="T49" fmla="*/ 444 h 4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328" h="468">
                <a:moveTo>
                  <a:pt x="206" y="444"/>
                </a:moveTo>
                <a:cubicBezTo>
                  <a:pt x="206" y="444"/>
                  <a:pt x="183" y="327"/>
                  <a:pt x="205" y="299"/>
                </a:cubicBezTo>
                <a:cubicBezTo>
                  <a:pt x="228" y="270"/>
                  <a:pt x="234" y="271"/>
                  <a:pt x="236" y="261"/>
                </a:cubicBezTo>
                <a:cubicBezTo>
                  <a:pt x="238" y="250"/>
                  <a:pt x="227" y="236"/>
                  <a:pt x="243" y="226"/>
                </a:cubicBezTo>
                <a:cubicBezTo>
                  <a:pt x="259" y="215"/>
                  <a:pt x="280" y="197"/>
                  <a:pt x="285" y="187"/>
                </a:cubicBezTo>
                <a:cubicBezTo>
                  <a:pt x="290" y="177"/>
                  <a:pt x="328" y="155"/>
                  <a:pt x="318" y="133"/>
                </a:cubicBezTo>
                <a:cubicBezTo>
                  <a:pt x="309" y="112"/>
                  <a:pt x="296" y="78"/>
                  <a:pt x="288" y="77"/>
                </a:cubicBezTo>
                <a:cubicBezTo>
                  <a:pt x="280" y="75"/>
                  <a:pt x="261" y="88"/>
                  <a:pt x="239" y="75"/>
                </a:cubicBezTo>
                <a:cubicBezTo>
                  <a:pt x="216" y="62"/>
                  <a:pt x="213" y="78"/>
                  <a:pt x="198" y="55"/>
                </a:cubicBezTo>
                <a:cubicBezTo>
                  <a:pt x="184" y="32"/>
                  <a:pt x="173" y="27"/>
                  <a:pt x="173" y="27"/>
                </a:cubicBezTo>
                <a:cubicBezTo>
                  <a:pt x="173" y="27"/>
                  <a:pt x="158" y="47"/>
                  <a:pt x="148" y="44"/>
                </a:cubicBezTo>
                <a:cubicBezTo>
                  <a:pt x="137" y="42"/>
                  <a:pt x="112" y="3"/>
                  <a:pt x="104" y="2"/>
                </a:cubicBezTo>
                <a:cubicBezTo>
                  <a:pt x="96" y="0"/>
                  <a:pt x="84" y="28"/>
                  <a:pt x="84" y="28"/>
                </a:cubicBezTo>
                <a:cubicBezTo>
                  <a:pt x="84" y="28"/>
                  <a:pt x="62" y="1"/>
                  <a:pt x="47" y="6"/>
                </a:cubicBezTo>
                <a:cubicBezTo>
                  <a:pt x="32" y="12"/>
                  <a:pt x="0" y="30"/>
                  <a:pt x="21" y="37"/>
                </a:cubicBezTo>
                <a:cubicBezTo>
                  <a:pt x="42" y="44"/>
                  <a:pt x="53" y="58"/>
                  <a:pt x="50" y="71"/>
                </a:cubicBezTo>
                <a:cubicBezTo>
                  <a:pt x="47" y="85"/>
                  <a:pt x="45" y="120"/>
                  <a:pt x="59" y="123"/>
                </a:cubicBezTo>
                <a:cubicBezTo>
                  <a:pt x="72" y="126"/>
                  <a:pt x="103" y="149"/>
                  <a:pt x="102" y="157"/>
                </a:cubicBezTo>
                <a:cubicBezTo>
                  <a:pt x="100" y="165"/>
                  <a:pt x="98" y="190"/>
                  <a:pt x="104" y="197"/>
                </a:cubicBezTo>
                <a:cubicBezTo>
                  <a:pt x="111" y="204"/>
                  <a:pt x="144" y="236"/>
                  <a:pt x="143" y="250"/>
                </a:cubicBezTo>
                <a:cubicBezTo>
                  <a:pt x="143" y="263"/>
                  <a:pt x="152" y="290"/>
                  <a:pt x="147" y="298"/>
                </a:cubicBezTo>
                <a:cubicBezTo>
                  <a:pt x="143" y="305"/>
                  <a:pt x="129" y="344"/>
                  <a:pt x="137" y="360"/>
                </a:cubicBezTo>
                <a:cubicBezTo>
                  <a:pt x="145" y="375"/>
                  <a:pt x="157" y="422"/>
                  <a:pt x="169" y="433"/>
                </a:cubicBezTo>
                <a:cubicBezTo>
                  <a:pt x="181" y="444"/>
                  <a:pt x="187" y="468"/>
                  <a:pt x="196" y="464"/>
                </a:cubicBezTo>
                <a:cubicBezTo>
                  <a:pt x="205" y="460"/>
                  <a:pt x="206" y="444"/>
                  <a:pt x="206" y="44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/>
          </a:p>
        </p:txBody>
      </p:sp>
      <p:sp>
        <p:nvSpPr>
          <p:cNvPr id="36" name="Freeform 32"/>
          <p:cNvSpPr>
            <a:spLocks/>
          </p:cNvSpPr>
          <p:nvPr userDrawn="1"/>
        </p:nvSpPr>
        <p:spPr bwMode="auto">
          <a:xfrm>
            <a:off x="10166350" y="5475288"/>
            <a:ext cx="495300" cy="549275"/>
          </a:xfrm>
          <a:custGeom>
            <a:avLst/>
            <a:gdLst>
              <a:gd name="T0" fmla="*/ 49 w 335"/>
              <a:gd name="T1" fmla="*/ 50 h 371"/>
              <a:gd name="T2" fmla="*/ 65 w 335"/>
              <a:gd name="T3" fmla="*/ 18 h 371"/>
              <a:gd name="T4" fmla="*/ 77 w 335"/>
              <a:gd name="T5" fmla="*/ 2 h 371"/>
              <a:gd name="T6" fmla="*/ 97 w 335"/>
              <a:gd name="T7" fmla="*/ 14 h 371"/>
              <a:gd name="T8" fmla="*/ 101 w 335"/>
              <a:gd name="T9" fmla="*/ 26 h 371"/>
              <a:gd name="T10" fmla="*/ 109 w 335"/>
              <a:gd name="T11" fmla="*/ 50 h 371"/>
              <a:gd name="T12" fmla="*/ 105 w 335"/>
              <a:gd name="T13" fmla="*/ 42 h 371"/>
              <a:gd name="T14" fmla="*/ 125 w 335"/>
              <a:gd name="T15" fmla="*/ 58 h 371"/>
              <a:gd name="T16" fmla="*/ 145 w 335"/>
              <a:gd name="T17" fmla="*/ 70 h 371"/>
              <a:gd name="T18" fmla="*/ 157 w 335"/>
              <a:gd name="T19" fmla="*/ 78 h 371"/>
              <a:gd name="T20" fmla="*/ 169 w 335"/>
              <a:gd name="T21" fmla="*/ 90 h 371"/>
              <a:gd name="T22" fmla="*/ 169 w 335"/>
              <a:gd name="T23" fmla="*/ 90 h 371"/>
              <a:gd name="T24" fmla="*/ 169 w 335"/>
              <a:gd name="T25" fmla="*/ 90 h 371"/>
              <a:gd name="T26" fmla="*/ 181 w 335"/>
              <a:gd name="T27" fmla="*/ 98 h 371"/>
              <a:gd name="T28" fmla="*/ 213 w 335"/>
              <a:gd name="T29" fmla="*/ 98 h 371"/>
              <a:gd name="T30" fmla="*/ 213 w 335"/>
              <a:gd name="T31" fmla="*/ 98 h 371"/>
              <a:gd name="T32" fmla="*/ 221 w 335"/>
              <a:gd name="T33" fmla="*/ 110 h 371"/>
              <a:gd name="T34" fmla="*/ 221 w 335"/>
              <a:gd name="T35" fmla="*/ 134 h 371"/>
              <a:gd name="T36" fmla="*/ 241 w 335"/>
              <a:gd name="T37" fmla="*/ 146 h 371"/>
              <a:gd name="T38" fmla="*/ 261 w 335"/>
              <a:gd name="T39" fmla="*/ 154 h 371"/>
              <a:gd name="T40" fmla="*/ 281 w 335"/>
              <a:gd name="T41" fmla="*/ 170 h 371"/>
              <a:gd name="T42" fmla="*/ 297 w 335"/>
              <a:gd name="T43" fmla="*/ 190 h 371"/>
              <a:gd name="T44" fmla="*/ 297 w 335"/>
              <a:gd name="T45" fmla="*/ 190 h 371"/>
              <a:gd name="T46" fmla="*/ 321 w 335"/>
              <a:gd name="T47" fmla="*/ 198 h 371"/>
              <a:gd name="T48" fmla="*/ 333 w 335"/>
              <a:gd name="T49" fmla="*/ 210 h 371"/>
              <a:gd name="T50" fmla="*/ 333 w 335"/>
              <a:gd name="T51" fmla="*/ 226 h 371"/>
              <a:gd name="T52" fmla="*/ 333 w 335"/>
              <a:gd name="T53" fmla="*/ 270 h 371"/>
              <a:gd name="T54" fmla="*/ 333 w 335"/>
              <a:gd name="T55" fmla="*/ 286 h 371"/>
              <a:gd name="T56" fmla="*/ 317 w 335"/>
              <a:gd name="T57" fmla="*/ 302 h 371"/>
              <a:gd name="T58" fmla="*/ 305 w 335"/>
              <a:gd name="T59" fmla="*/ 318 h 371"/>
              <a:gd name="T60" fmla="*/ 301 w 335"/>
              <a:gd name="T61" fmla="*/ 334 h 371"/>
              <a:gd name="T62" fmla="*/ 297 w 335"/>
              <a:gd name="T63" fmla="*/ 350 h 371"/>
              <a:gd name="T64" fmla="*/ 281 w 335"/>
              <a:gd name="T65" fmla="*/ 366 h 371"/>
              <a:gd name="T66" fmla="*/ 253 w 335"/>
              <a:gd name="T67" fmla="*/ 366 h 371"/>
              <a:gd name="T68" fmla="*/ 197 w 335"/>
              <a:gd name="T69" fmla="*/ 338 h 371"/>
              <a:gd name="T70" fmla="*/ 129 w 335"/>
              <a:gd name="T71" fmla="*/ 310 h 371"/>
              <a:gd name="T72" fmla="*/ 61 w 335"/>
              <a:gd name="T73" fmla="*/ 286 h 371"/>
              <a:gd name="T74" fmla="*/ 29 w 335"/>
              <a:gd name="T75" fmla="*/ 270 h 371"/>
              <a:gd name="T76" fmla="*/ 9 w 335"/>
              <a:gd name="T77" fmla="*/ 258 h 371"/>
              <a:gd name="T78" fmla="*/ 9 w 335"/>
              <a:gd name="T79" fmla="*/ 222 h 371"/>
              <a:gd name="T80" fmla="*/ 9 w 335"/>
              <a:gd name="T81" fmla="*/ 134 h 371"/>
              <a:gd name="T82" fmla="*/ 49 w 335"/>
              <a:gd name="T83" fmla="*/ 50 h 3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335" h="371">
                <a:moveTo>
                  <a:pt x="49" y="50"/>
                </a:moveTo>
                <a:cubicBezTo>
                  <a:pt x="53" y="39"/>
                  <a:pt x="60" y="29"/>
                  <a:pt x="65" y="18"/>
                </a:cubicBezTo>
                <a:cubicBezTo>
                  <a:pt x="70" y="8"/>
                  <a:pt x="72" y="3"/>
                  <a:pt x="77" y="2"/>
                </a:cubicBezTo>
                <a:cubicBezTo>
                  <a:pt x="84" y="0"/>
                  <a:pt x="93" y="7"/>
                  <a:pt x="97" y="14"/>
                </a:cubicBezTo>
                <a:cubicBezTo>
                  <a:pt x="99" y="17"/>
                  <a:pt x="98" y="18"/>
                  <a:pt x="101" y="26"/>
                </a:cubicBezTo>
                <a:cubicBezTo>
                  <a:pt x="106" y="42"/>
                  <a:pt x="110" y="50"/>
                  <a:pt x="109" y="50"/>
                </a:cubicBezTo>
                <a:cubicBezTo>
                  <a:pt x="108" y="50"/>
                  <a:pt x="104" y="43"/>
                  <a:pt x="105" y="42"/>
                </a:cubicBezTo>
                <a:cubicBezTo>
                  <a:pt x="106" y="41"/>
                  <a:pt x="112" y="49"/>
                  <a:pt x="125" y="58"/>
                </a:cubicBezTo>
                <a:cubicBezTo>
                  <a:pt x="129" y="61"/>
                  <a:pt x="129" y="60"/>
                  <a:pt x="145" y="70"/>
                </a:cubicBezTo>
                <a:cubicBezTo>
                  <a:pt x="153" y="75"/>
                  <a:pt x="155" y="76"/>
                  <a:pt x="157" y="78"/>
                </a:cubicBezTo>
                <a:cubicBezTo>
                  <a:pt x="160" y="80"/>
                  <a:pt x="161" y="82"/>
                  <a:pt x="169" y="90"/>
                </a:cubicBezTo>
                <a:cubicBezTo>
                  <a:pt x="169" y="90"/>
                  <a:pt x="169" y="90"/>
                  <a:pt x="169" y="90"/>
                </a:cubicBezTo>
                <a:cubicBezTo>
                  <a:pt x="169" y="90"/>
                  <a:pt x="169" y="90"/>
                  <a:pt x="169" y="90"/>
                </a:cubicBezTo>
                <a:cubicBezTo>
                  <a:pt x="177" y="95"/>
                  <a:pt x="181" y="98"/>
                  <a:pt x="181" y="98"/>
                </a:cubicBezTo>
                <a:cubicBezTo>
                  <a:pt x="181" y="98"/>
                  <a:pt x="191" y="103"/>
                  <a:pt x="213" y="98"/>
                </a:cubicBezTo>
                <a:cubicBezTo>
                  <a:pt x="213" y="98"/>
                  <a:pt x="213" y="98"/>
                  <a:pt x="213" y="98"/>
                </a:cubicBezTo>
                <a:cubicBezTo>
                  <a:pt x="213" y="98"/>
                  <a:pt x="219" y="105"/>
                  <a:pt x="221" y="110"/>
                </a:cubicBezTo>
                <a:cubicBezTo>
                  <a:pt x="225" y="120"/>
                  <a:pt x="217" y="126"/>
                  <a:pt x="221" y="134"/>
                </a:cubicBezTo>
                <a:cubicBezTo>
                  <a:pt x="223" y="138"/>
                  <a:pt x="229" y="141"/>
                  <a:pt x="241" y="146"/>
                </a:cubicBezTo>
                <a:cubicBezTo>
                  <a:pt x="253" y="151"/>
                  <a:pt x="254" y="150"/>
                  <a:pt x="261" y="154"/>
                </a:cubicBezTo>
                <a:cubicBezTo>
                  <a:pt x="271" y="159"/>
                  <a:pt x="277" y="166"/>
                  <a:pt x="281" y="170"/>
                </a:cubicBezTo>
                <a:cubicBezTo>
                  <a:pt x="289" y="179"/>
                  <a:pt x="297" y="190"/>
                  <a:pt x="297" y="190"/>
                </a:cubicBezTo>
                <a:cubicBezTo>
                  <a:pt x="297" y="190"/>
                  <a:pt x="297" y="190"/>
                  <a:pt x="297" y="190"/>
                </a:cubicBezTo>
                <a:cubicBezTo>
                  <a:pt x="297" y="190"/>
                  <a:pt x="310" y="191"/>
                  <a:pt x="321" y="198"/>
                </a:cubicBezTo>
                <a:cubicBezTo>
                  <a:pt x="325" y="200"/>
                  <a:pt x="330" y="204"/>
                  <a:pt x="333" y="210"/>
                </a:cubicBezTo>
                <a:cubicBezTo>
                  <a:pt x="335" y="215"/>
                  <a:pt x="334" y="219"/>
                  <a:pt x="333" y="226"/>
                </a:cubicBezTo>
                <a:cubicBezTo>
                  <a:pt x="331" y="243"/>
                  <a:pt x="332" y="260"/>
                  <a:pt x="333" y="270"/>
                </a:cubicBezTo>
                <a:cubicBezTo>
                  <a:pt x="334" y="279"/>
                  <a:pt x="335" y="282"/>
                  <a:pt x="333" y="286"/>
                </a:cubicBezTo>
                <a:cubicBezTo>
                  <a:pt x="330" y="292"/>
                  <a:pt x="326" y="292"/>
                  <a:pt x="317" y="302"/>
                </a:cubicBezTo>
                <a:cubicBezTo>
                  <a:pt x="312" y="307"/>
                  <a:pt x="308" y="311"/>
                  <a:pt x="305" y="318"/>
                </a:cubicBezTo>
                <a:cubicBezTo>
                  <a:pt x="304" y="320"/>
                  <a:pt x="304" y="321"/>
                  <a:pt x="301" y="334"/>
                </a:cubicBezTo>
                <a:cubicBezTo>
                  <a:pt x="298" y="348"/>
                  <a:pt x="298" y="349"/>
                  <a:pt x="297" y="350"/>
                </a:cubicBezTo>
                <a:cubicBezTo>
                  <a:pt x="297" y="351"/>
                  <a:pt x="292" y="361"/>
                  <a:pt x="281" y="366"/>
                </a:cubicBezTo>
                <a:cubicBezTo>
                  <a:pt x="271" y="371"/>
                  <a:pt x="261" y="368"/>
                  <a:pt x="253" y="366"/>
                </a:cubicBezTo>
                <a:cubicBezTo>
                  <a:pt x="228" y="359"/>
                  <a:pt x="211" y="347"/>
                  <a:pt x="197" y="338"/>
                </a:cubicBezTo>
                <a:cubicBezTo>
                  <a:pt x="181" y="328"/>
                  <a:pt x="163" y="322"/>
                  <a:pt x="129" y="310"/>
                </a:cubicBezTo>
                <a:cubicBezTo>
                  <a:pt x="100" y="300"/>
                  <a:pt x="86" y="297"/>
                  <a:pt x="61" y="286"/>
                </a:cubicBezTo>
                <a:cubicBezTo>
                  <a:pt x="47" y="280"/>
                  <a:pt x="51" y="280"/>
                  <a:pt x="29" y="270"/>
                </a:cubicBezTo>
                <a:cubicBezTo>
                  <a:pt x="16" y="264"/>
                  <a:pt x="12" y="263"/>
                  <a:pt x="9" y="258"/>
                </a:cubicBezTo>
                <a:cubicBezTo>
                  <a:pt x="1" y="247"/>
                  <a:pt x="6" y="232"/>
                  <a:pt x="9" y="222"/>
                </a:cubicBezTo>
                <a:cubicBezTo>
                  <a:pt x="20" y="180"/>
                  <a:pt x="0" y="175"/>
                  <a:pt x="9" y="134"/>
                </a:cubicBezTo>
                <a:cubicBezTo>
                  <a:pt x="17" y="99"/>
                  <a:pt x="33" y="92"/>
                  <a:pt x="49" y="5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/>
          </a:p>
        </p:txBody>
      </p:sp>
      <p:pic>
        <p:nvPicPr>
          <p:cNvPr id="37" name="Graphic 36">
            <a:extLst>
              <a:ext uri="{FF2B5EF4-FFF2-40B4-BE49-F238E27FC236}">
                <a16:creationId xmlns:a16="http://schemas.microsoft.com/office/drawing/2014/main" id="{69648564-AD79-42E1-B8E5-1BEA8D7B5DE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52600" y="6339508"/>
            <a:ext cx="1080000" cy="3410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59022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urop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27089" y="1208078"/>
            <a:ext cx="10741024" cy="307777"/>
          </a:xfrm>
        </p:spPr>
        <p:txBody>
          <a:bodyPr>
            <a:sp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2pPr>
            <a:lvl3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5pPr>
            <a:lvl6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6pPr>
            <a:lvl7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7pPr>
            <a:lvl8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8pPr>
            <a:lvl9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9pPr>
          </a:lstStyle>
          <a:p>
            <a:r>
              <a:rPr lang="da-DK" err="1"/>
              <a:t>Enter</a:t>
            </a:r>
            <a:r>
              <a:rPr lang="da-DK"/>
              <a:t> </a:t>
            </a:r>
            <a:r>
              <a:rPr lang="da-DK" err="1"/>
              <a:t>subtitle</a:t>
            </a:r>
            <a:endParaRPr lang="da-DK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 err="1"/>
              <a:t>Enter</a:t>
            </a:r>
            <a:r>
              <a:rPr lang="da-DK"/>
              <a:t> </a:t>
            </a:r>
            <a:r>
              <a:rPr lang="da-DK" err="1"/>
              <a:t>title</a:t>
            </a:r>
            <a:endParaRPr lang="da-DK"/>
          </a:p>
        </p:txBody>
      </p:sp>
      <p:pic>
        <p:nvPicPr>
          <p:cNvPr id="639" name="Logo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26185" y="6270269"/>
            <a:ext cx="1041149" cy="326626"/>
          </a:xfrm>
          <a:prstGeom prst="rect">
            <a:avLst/>
          </a:prstGeom>
        </p:spPr>
      </p:pic>
      <p:grpSp>
        <p:nvGrpSpPr>
          <p:cNvPr id="1663" name="Group 205"/>
          <p:cNvGrpSpPr>
            <a:grpSpLocks/>
          </p:cNvGrpSpPr>
          <p:nvPr userDrawn="1"/>
        </p:nvGrpSpPr>
        <p:grpSpPr bwMode="auto">
          <a:xfrm>
            <a:off x="2559051" y="-387351"/>
            <a:ext cx="9632949" cy="7240589"/>
            <a:chOff x="1612" y="-244"/>
            <a:chExt cx="6068" cy="4561"/>
          </a:xfrm>
        </p:grpSpPr>
        <p:sp>
          <p:nvSpPr>
            <p:cNvPr id="1664" name="Freeform 5"/>
            <p:cNvSpPr>
              <a:spLocks/>
            </p:cNvSpPr>
            <p:nvPr userDrawn="1"/>
          </p:nvSpPr>
          <p:spPr bwMode="auto">
            <a:xfrm>
              <a:off x="4929" y="1568"/>
              <a:ext cx="291" cy="238"/>
            </a:xfrm>
            <a:custGeom>
              <a:avLst/>
              <a:gdLst>
                <a:gd name="T0" fmla="*/ 136 w 291"/>
                <a:gd name="T1" fmla="*/ 195 h 238"/>
                <a:gd name="T2" fmla="*/ 204 w 291"/>
                <a:gd name="T3" fmla="*/ 238 h 238"/>
                <a:gd name="T4" fmla="*/ 250 w 291"/>
                <a:gd name="T5" fmla="*/ 238 h 238"/>
                <a:gd name="T6" fmla="*/ 279 w 291"/>
                <a:gd name="T7" fmla="*/ 216 h 238"/>
                <a:gd name="T8" fmla="*/ 261 w 291"/>
                <a:gd name="T9" fmla="*/ 175 h 238"/>
                <a:gd name="T10" fmla="*/ 243 w 291"/>
                <a:gd name="T11" fmla="*/ 128 h 238"/>
                <a:gd name="T12" fmla="*/ 279 w 291"/>
                <a:gd name="T13" fmla="*/ 82 h 238"/>
                <a:gd name="T14" fmla="*/ 291 w 291"/>
                <a:gd name="T15" fmla="*/ 35 h 238"/>
                <a:gd name="T16" fmla="*/ 271 w 291"/>
                <a:gd name="T17" fmla="*/ 29 h 238"/>
                <a:gd name="T18" fmla="*/ 256 w 291"/>
                <a:gd name="T19" fmla="*/ 24 h 238"/>
                <a:gd name="T20" fmla="*/ 202 w 291"/>
                <a:gd name="T21" fmla="*/ 11 h 238"/>
                <a:gd name="T22" fmla="*/ 161 w 291"/>
                <a:gd name="T23" fmla="*/ 0 h 238"/>
                <a:gd name="T24" fmla="*/ 140 w 291"/>
                <a:gd name="T25" fmla="*/ 2 h 238"/>
                <a:gd name="T26" fmla="*/ 130 w 291"/>
                <a:gd name="T27" fmla="*/ 3 h 238"/>
                <a:gd name="T28" fmla="*/ 133 w 291"/>
                <a:gd name="T29" fmla="*/ 14 h 238"/>
                <a:gd name="T30" fmla="*/ 98 w 291"/>
                <a:gd name="T31" fmla="*/ 18 h 238"/>
                <a:gd name="T32" fmla="*/ 83 w 291"/>
                <a:gd name="T33" fmla="*/ 23 h 238"/>
                <a:gd name="T34" fmla="*/ 53 w 291"/>
                <a:gd name="T35" fmla="*/ 29 h 238"/>
                <a:gd name="T36" fmla="*/ 39 w 291"/>
                <a:gd name="T37" fmla="*/ 41 h 238"/>
                <a:gd name="T38" fmla="*/ 3 w 291"/>
                <a:gd name="T39" fmla="*/ 57 h 238"/>
                <a:gd name="T40" fmla="*/ 10 w 291"/>
                <a:gd name="T41" fmla="*/ 79 h 238"/>
                <a:gd name="T42" fmla="*/ 4 w 291"/>
                <a:gd name="T43" fmla="*/ 98 h 238"/>
                <a:gd name="T44" fmla="*/ 23 w 291"/>
                <a:gd name="T45" fmla="*/ 107 h 238"/>
                <a:gd name="T46" fmla="*/ 12 w 291"/>
                <a:gd name="T47" fmla="*/ 115 h 238"/>
                <a:gd name="T48" fmla="*/ 3 w 291"/>
                <a:gd name="T49" fmla="*/ 127 h 238"/>
                <a:gd name="T50" fmla="*/ 17 w 291"/>
                <a:gd name="T51" fmla="*/ 155 h 238"/>
                <a:gd name="T52" fmla="*/ 21 w 291"/>
                <a:gd name="T53" fmla="*/ 160 h 238"/>
                <a:gd name="T54" fmla="*/ 45 w 291"/>
                <a:gd name="T55" fmla="*/ 171 h 238"/>
                <a:gd name="T56" fmla="*/ 56 w 291"/>
                <a:gd name="T57" fmla="*/ 160 h 238"/>
                <a:gd name="T58" fmla="*/ 72 w 291"/>
                <a:gd name="T59" fmla="*/ 159 h 238"/>
                <a:gd name="T60" fmla="*/ 65 w 291"/>
                <a:gd name="T61" fmla="*/ 181 h 238"/>
                <a:gd name="T62" fmla="*/ 104 w 291"/>
                <a:gd name="T63" fmla="*/ 181 h 238"/>
                <a:gd name="T64" fmla="*/ 115 w 291"/>
                <a:gd name="T65" fmla="*/ 192 h 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91" h="238">
                  <a:moveTo>
                    <a:pt x="115" y="192"/>
                  </a:moveTo>
                  <a:lnTo>
                    <a:pt x="136" y="195"/>
                  </a:lnTo>
                  <a:lnTo>
                    <a:pt x="143" y="204"/>
                  </a:lnTo>
                  <a:lnTo>
                    <a:pt x="204" y="238"/>
                  </a:lnTo>
                  <a:lnTo>
                    <a:pt x="217" y="229"/>
                  </a:lnTo>
                  <a:lnTo>
                    <a:pt x="250" y="238"/>
                  </a:lnTo>
                  <a:lnTo>
                    <a:pt x="267" y="237"/>
                  </a:lnTo>
                  <a:lnTo>
                    <a:pt x="279" y="216"/>
                  </a:lnTo>
                  <a:lnTo>
                    <a:pt x="282" y="201"/>
                  </a:lnTo>
                  <a:lnTo>
                    <a:pt x="261" y="175"/>
                  </a:lnTo>
                  <a:lnTo>
                    <a:pt x="249" y="142"/>
                  </a:lnTo>
                  <a:lnTo>
                    <a:pt x="243" y="128"/>
                  </a:lnTo>
                  <a:lnTo>
                    <a:pt x="249" y="97"/>
                  </a:lnTo>
                  <a:lnTo>
                    <a:pt x="279" y="82"/>
                  </a:lnTo>
                  <a:lnTo>
                    <a:pt x="288" y="66"/>
                  </a:lnTo>
                  <a:lnTo>
                    <a:pt x="291" y="35"/>
                  </a:lnTo>
                  <a:lnTo>
                    <a:pt x="283" y="26"/>
                  </a:lnTo>
                  <a:lnTo>
                    <a:pt x="271" y="29"/>
                  </a:lnTo>
                  <a:lnTo>
                    <a:pt x="268" y="29"/>
                  </a:lnTo>
                  <a:lnTo>
                    <a:pt x="256" y="24"/>
                  </a:lnTo>
                  <a:lnTo>
                    <a:pt x="225" y="26"/>
                  </a:lnTo>
                  <a:lnTo>
                    <a:pt x="202" y="11"/>
                  </a:lnTo>
                  <a:lnTo>
                    <a:pt x="184" y="9"/>
                  </a:lnTo>
                  <a:lnTo>
                    <a:pt x="161" y="0"/>
                  </a:lnTo>
                  <a:lnTo>
                    <a:pt x="151" y="6"/>
                  </a:lnTo>
                  <a:lnTo>
                    <a:pt x="140" y="2"/>
                  </a:lnTo>
                  <a:lnTo>
                    <a:pt x="136" y="5"/>
                  </a:lnTo>
                  <a:lnTo>
                    <a:pt x="130" y="3"/>
                  </a:lnTo>
                  <a:lnTo>
                    <a:pt x="125" y="8"/>
                  </a:lnTo>
                  <a:lnTo>
                    <a:pt x="133" y="14"/>
                  </a:lnTo>
                  <a:lnTo>
                    <a:pt x="104" y="17"/>
                  </a:lnTo>
                  <a:lnTo>
                    <a:pt x="98" y="18"/>
                  </a:lnTo>
                  <a:lnTo>
                    <a:pt x="90" y="14"/>
                  </a:lnTo>
                  <a:lnTo>
                    <a:pt x="83" y="23"/>
                  </a:lnTo>
                  <a:lnTo>
                    <a:pt x="62" y="23"/>
                  </a:lnTo>
                  <a:lnTo>
                    <a:pt x="53" y="29"/>
                  </a:lnTo>
                  <a:lnTo>
                    <a:pt x="39" y="30"/>
                  </a:lnTo>
                  <a:lnTo>
                    <a:pt x="39" y="41"/>
                  </a:lnTo>
                  <a:lnTo>
                    <a:pt x="27" y="45"/>
                  </a:lnTo>
                  <a:lnTo>
                    <a:pt x="3" y="57"/>
                  </a:lnTo>
                  <a:lnTo>
                    <a:pt x="0" y="69"/>
                  </a:lnTo>
                  <a:lnTo>
                    <a:pt x="10" y="79"/>
                  </a:lnTo>
                  <a:lnTo>
                    <a:pt x="4" y="83"/>
                  </a:lnTo>
                  <a:lnTo>
                    <a:pt x="4" y="98"/>
                  </a:lnTo>
                  <a:lnTo>
                    <a:pt x="9" y="103"/>
                  </a:lnTo>
                  <a:lnTo>
                    <a:pt x="23" y="107"/>
                  </a:lnTo>
                  <a:lnTo>
                    <a:pt x="24" y="110"/>
                  </a:lnTo>
                  <a:lnTo>
                    <a:pt x="12" y="115"/>
                  </a:lnTo>
                  <a:lnTo>
                    <a:pt x="3" y="122"/>
                  </a:lnTo>
                  <a:lnTo>
                    <a:pt x="3" y="127"/>
                  </a:lnTo>
                  <a:lnTo>
                    <a:pt x="15" y="137"/>
                  </a:lnTo>
                  <a:lnTo>
                    <a:pt x="17" y="155"/>
                  </a:lnTo>
                  <a:lnTo>
                    <a:pt x="18" y="157"/>
                  </a:lnTo>
                  <a:lnTo>
                    <a:pt x="21" y="160"/>
                  </a:lnTo>
                  <a:lnTo>
                    <a:pt x="30" y="154"/>
                  </a:lnTo>
                  <a:lnTo>
                    <a:pt x="45" y="171"/>
                  </a:lnTo>
                  <a:lnTo>
                    <a:pt x="53" y="168"/>
                  </a:lnTo>
                  <a:lnTo>
                    <a:pt x="56" y="160"/>
                  </a:lnTo>
                  <a:lnTo>
                    <a:pt x="68" y="151"/>
                  </a:lnTo>
                  <a:lnTo>
                    <a:pt x="72" y="159"/>
                  </a:lnTo>
                  <a:lnTo>
                    <a:pt x="69" y="172"/>
                  </a:lnTo>
                  <a:lnTo>
                    <a:pt x="65" y="181"/>
                  </a:lnTo>
                  <a:lnTo>
                    <a:pt x="57" y="210"/>
                  </a:lnTo>
                  <a:lnTo>
                    <a:pt x="104" y="181"/>
                  </a:lnTo>
                  <a:lnTo>
                    <a:pt x="115" y="192"/>
                  </a:lnTo>
                  <a:lnTo>
                    <a:pt x="115" y="192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665" name="Freeform 6"/>
            <p:cNvSpPr>
              <a:spLocks/>
            </p:cNvSpPr>
            <p:nvPr userDrawn="1"/>
          </p:nvSpPr>
          <p:spPr bwMode="auto">
            <a:xfrm>
              <a:off x="5178" y="1710"/>
              <a:ext cx="2045" cy="1697"/>
            </a:xfrm>
            <a:custGeom>
              <a:avLst/>
              <a:gdLst>
                <a:gd name="T0" fmla="*/ 30 w 2045"/>
                <a:gd name="T1" fmla="*/ 74 h 1697"/>
                <a:gd name="T2" fmla="*/ 51 w 2045"/>
                <a:gd name="T3" fmla="*/ 182 h 1697"/>
                <a:gd name="T4" fmla="*/ 86 w 2045"/>
                <a:gd name="T5" fmla="*/ 274 h 1697"/>
                <a:gd name="T6" fmla="*/ 169 w 2045"/>
                <a:gd name="T7" fmla="*/ 311 h 1697"/>
                <a:gd name="T8" fmla="*/ 234 w 2045"/>
                <a:gd name="T9" fmla="*/ 398 h 1697"/>
                <a:gd name="T10" fmla="*/ 312 w 2045"/>
                <a:gd name="T11" fmla="*/ 525 h 1697"/>
                <a:gd name="T12" fmla="*/ 279 w 2045"/>
                <a:gd name="T13" fmla="*/ 599 h 1697"/>
                <a:gd name="T14" fmla="*/ 294 w 2045"/>
                <a:gd name="T15" fmla="*/ 698 h 1697"/>
                <a:gd name="T16" fmla="*/ 359 w 2045"/>
                <a:gd name="T17" fmla="*/ 691 h 1697"/>
                <a:gd name="T18" fmla="*/ 451 w 2045"/>
                <a:gd name="T19" fmla="*/ 778 h 1697"/>
                <a:gd name="T20" fmla="*/ 529 w 2045"/>
                <a:gd name="T21" fmla="*/ 876 h 1697"/>
                <a:gd name="T22" fmla="*/ 669 w 2045"/>
                <a:gd name="T23" fmla="*/ 892 h 1697"/>
                <a:gd name="T24" fmla="*/ 765 w 2045"/>
                <a:gd name="T25" fmla="*/ 932 h 1697"/>
                <a:gd name="T26" fmla="*/ 826 w 2045"/>
                <a:gd name="T27" fmla="*/ 990 h 1697"/>
                <a:gd name="T28" fmla="*/ 807 w 2045"/>
                <a:gd name="T29" fmla="*/ 1041 h 1697"/>
                <a:gd name="T30" fmla="*/ 712 w 2045"/>
                <a:gd name="T31" fmla="*/ 1160 h 1697"/>
                <a:gd name="T32" fmla="*/ 766 w 2045"/>
                <a:gd name="T33" fmla="*/ 1180 h 1697"/>
                <a:gd name="T34" fmla="*/ 728 w 2045"/>
                <a:gd name="T35" fmla="*/ 1211 h 1697"/>
                <a:gd name="T36" fmla="*/ 724 w 2045"/>
                <a:gd name="T37" fmla="*/ 1226 h 1697"/>
                <a:gd name="T38" fmla="*/ 685 w 2045"/>
                <a:gd name="T39" fmla="*/ 1236 h 1697"/>
                <a:gd name="T40" fmla="*/ 713 w 2045"/>
                <a:gd name="T41" fmla="*/ 1275 h 1697"/>
                <a:gd name="T42" fmla="*/ 704 w 2045"/>
                <a:gd name="T43" fmla="*/ 1281 h 1697"/>
                <a:gd name="T44" fmla="*/ 704 w 2045"/>
                <a:gd name="T45" fmla="*/ 1299 h 1697"/>
                <a:gd name="T46" fmla="*/ 686 w 2045"/>
                <a:gd name="T47" fmla="*/ 1287 h 1697"/>
                <a:gd name="T48" fmla="*/ 648 w 2045"/>
                <a:gd name="T49" fmla="*/ 1353 h 1697"/>
                <a:gd name="T50" fmla="*/ 611 w 2045"/>
                <a:gd name="T51" fmla="*/ 1343 h 1697"/>
                <a:gd name="T52" fmla="*/ 605 w 2045"/>
                <a:gd name="T53" fmla="*/ 1373 h 1697"/>
                <a:gd name="T54" fmla="*/ 666 w 2045"/>
                <a:gd name="T55" fmla="*/ 1423 h 1697"/>
                <a:gd name="T56" fmla="*/ 716 w 2045"/>
                <a:gd name="T57" fmla="*/ 1442 h 1697"/>
                <a:gd name="T58" fmla="*/ 846 w 2045"/>
                <a:gd name="T59" fmla="*/ 1512 h 1697"/>
                <a:gd name="T60" fmla="*/ 1028 w 2045"/>
                <a:gd name="T61" fmla="*/ 1555 h 1697"/>
                <a:gd name="T62" fmla="*/ 1116 w 2045"/>
                <a:gd name="T63" fmla="*/ 1575 h 1697"/>
                <a:gd name="T64" fmla="*/ 1197 w 2045"/>
                <a:gd name="T65" fmla="*/ 1635 h 1697"/>
                <a:gd name="T66" fmla="*/ 1353 w 2045"/>
                <a:gd name="T67" fmla="*/ 1644 h 1697"/>
                <a:gd name="T68" fmla="*/ 1286 w 2045"/>
                <a:gd name="T69" fmla="*/ 1548 h 1697"/>
                <a:gd name="T70" fmla="*/ 1286 w 2045"/>
                <a:gd name="T71" fmla="*/ 1509 h 1697"/>
                <a:gd name="T72" fmla="*/ 1280 w 2045"/>
                <a:gd name="T73" fmla="*/ 1501 h 1697"/>
                <a:gd name="T74" fmla="*/ 1270 w 2045"/>
                <a:gd name="T75" fmla="*/ 1460 h 1697"/>
                <a:gd name="T76" fmla="*/ 1238 w 2045"/>
                <a:gd name="T77" fmla="*/ 1430 h 1697"/>
                <a:gd name="T78" fmla="*/ 1259 w 2045"/>
                <a:gd name="T79" fmla="*/ 1379 h 1697"/>
                <a:gd name="T80" fmla="*/ 1270 w 2045"/>
                <a:gd name="T81" fmla="*/ 1356 h 1697"/>
                <a:gd name="T82" fmla="*/ 1282 w 2045"/>
                <a:gd name="T83" fmla="*/ 1316 h 1697"/>
                <a:gd name="T84" fmla="*/ 1298 w 2045"/>
                <a:gd name="T85" fmla="*/ 1306 h 1697"/>
                <a:gd name="T86" fmla="*/ 1306 w 2045"/>
                <a:gd name="T87" fmla="*/ 1291 h 1697"/>
                <a:gd name="T88" fmla="*/ 1339 w 2045"/>
                <a:gd name="T89" fmla="*/ 1294 h 1697"/>
                <a:gd name="T90" fmla="*/ 1351 w 2045"/>
                <a:gd name="T91" fmla="*/ 1272 h 1697"/>
                <a:gd name="T92" fmla="*/ 1378 w 2045"/>
                <a:gd name="T93" fmla="*/ 1261 h 1697"/>
                <a:gd name="T94" fmla="*/ 1323 w 2045"/>
                <a:gd name="T95" fmla="*/ 1154 h 1697"/>
                <a:gd name="T96" fmla="*/ 1240 w 2045"/>
                <a:gd name="T97" fmla="*/ 1000 h 1697"/>
                <a:gd name="T98" fmla="*/ 1259 w 2045"/>
                <a:gd name="T99" fmla="*/ 893 h 1697"/>
                <a:gd name="T100" fmla="*/ 1332 w 2045"/>
                <a:gd name="T101" fmla="*/ 849 h 1697"/>
                <a:gd name="T102" fmla="*/ 1463 w 2045"/>
                <a:gd name="T103" fmla="*/ 750 h 1697"/>
                <a:gd name="T104" fmla="*/ 1532 w 2045"/>
                <a:gd name="T105" fmla="*/ 747 h 1697"/>
                <a:gd name="T106" fmla="*/ 1679 w 2045"/>
                <a:gd name="T107" fmla="*/ 769 h 1697"/>
                <a:gd name="T108" fmla="*/ 1740 w 2045"/>
                <a:gd name="T109" fmla="*/ 809 h 1697"/>
                <a:gd name="T110" fmla="*/ 1835 w 2045"/>
                <a:gd name="T111" fmla="*/ 819 h 1697"/>
                <a:gd name="T112" fmla="*/ 1924 w 2045"/>
                <a:gd name="T113" fmla="*/ 611 h 1697"/>
                <a:gd name="T114" fmla="*/ 2012 w 2045"/>
                <a:gd name="T115" fmla="*/ 0 h 16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045" h="1697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12" y="33"/>
                  </a:lnTo>
                  <a:lnTo>
                    <a:pt x="33" y="59"/>
                  </a:lnTo>
                  <a:lnTo>
                    <a:pt x="30" y="74"/>
                  </a:lnTo>
                  <a:lnTo>
                    <a:pt x="38" y="83"/>
                  </a:lnTo>
                  <a:lnTo>
                    <a:pt x="60" y="87"/>
                  </a:lnTo>
                  <a:lnTo>
                    <a:pt x="59" y="130"/>
                  </a:lnTo>
                  <a:lnTo>
                    <a:pt x="72" y="139"/>
                  </a:lnTo>
                  <a:lnTo>
                    <a:pt x="71" y="176"/>
                  </a:lnTo>
                  <a:lnTo>
                    <a:pt x="51" y="182"/>
                  </a:lnTo>
                  <a:lnTo>
                    <a:pt x="44" y="192"/>
                  </a:lnTo>
                  <a:lnTo>
                    <a:pt x="50" y="223"/>
                  </a:lnTo>
                  <a:lnTo>
                    <a:pt x="62" y="246"/>
                  </a:lnTo>
                  <a:lnTo>
                    <a:pt x="57" y="271"/>
                  </a:lnTo>
                  <a:lnTo>
                    <a:pt x="68" y="279"/>
                  </a:lnTo>
                  <a:lnTo>
                    <a:pt x="86" y="274"/>
                  </a:lnTo>
                  <a:lnTo>
                    <a:pt x="96" y="284"/>
                  </a:lnTo>
                  <a:lnTo>
                    <a:pt x="117" y="284"/>
                  </a:lnTo>
                  <a:lnTo>
                    <a:pt x="120" y="278"/>
                  </a:lnTo>
                  <a:lnTo>
                    <a:pt x="140" y="284"/>
                  </a:lnTo>
                  <a:lnTo>
                    <a:pt x="151" y="311"/>
                  </a:lnTo>
                  <a:lnTo>
                    <a:pt x="169" y="311"/>
                  </a:lnTo>
                  <a:lnTo>
                    <a:pt x="178" y="302"/>
                  </a:lnTo>
                  <a:lnTo>
                    <a:pt x="214" y="302"/>
                  </a:lnTo>
                  <a:lnTo>
                    <a:pt x="237" y="318"/>
                  </a:lnTo>
                  <a:lnTo>
                    <a:pt x="234" y="359"/>
                  </a:lnTo>
                  <a:lnTo>
                    <a:pt x="243" y="371"/>
                  </a:lnTo>
                  <a:lnTo>
                    <a:pt x="234" y="398"/>
                  </a:lnTo>
                  <a:lnTo>
                    <a:pt x="262" y="462"/>
                  </a:lnTo>
                  <a:lnTo>
                    <a:pt x="262" y="469"/>
                  </a:lnTo>
                  <a:lnTo>
                    <a:pt x="294" y="498"/>
                  </a:lnTo>
                  <a:lnTo>
                    <a:pt x="300" y="520"/>
                  </a:lnTo>
                  <a:lnTo>
                    <a:pt x="300" y="528"/>
                  </a:lnTo>
                  <a:lnTo>
                    <a:pt x="312" y="525"/>
                  </a:lnTo>
                  <a:lnTo>
                    <a:pt x="330" y="526"/>
                  </a:lnTo>
                  <a:lnTo>
                    <a:pt x="335" y="539"/>
                  </a:lnTo>
                  <a:lnTo>
                    <a:pt x="351" y="549"/>
                  </a:lnTo>
                  <a:lnTo>
                    <a:pt x="348" y="573"/>
                  </a:lnTo>
                  <a:lnTo>
                    <a:pt x="312" y="603"/>
                  </a:lnTo>
                  <a:lnTo>
                    <a:pt x="279" y="599"/>
                  </a:lnTo>
                  <a:lnTo>
                    <a:pt x="270" y="615"/>
                  </a:lnTo>
                  <a:lnTo>
                    <a:pt x="285" y="643"/>
                  </a:lnTo>
                  <a:lnTo>
                    <a:pt x="276" y="664"/>
                  </a:lnTo>
                  <a:lnTo>
                    <a:pt x="283" y="667"/>
                  </a:lnTo>
                  <a:lnTo>
                    <a:pt x="282" y="677"/>
                  </a:lnTo>
                  <a:lnTo>
                    <a:pt x="294" y="698"/>
                  </a:lnTo>
                  <a:lnTo>
                    <a:pt x="315" y="704"/>
                  </a:lnTo>
                  <a:lnTo>
                    <a:pt x="326" y="694"/>
                  </a:lnTo>
                  <a:lnTo>
                    <a:pt x="327" y="688"/>
                  </a:lnTo>
                  <a:lnTo>
                    <a:pt x="333" y="688"/>
                  </a:lnTo>
                  <a:lnTo>
                    <a:pt x="342" y="683"/>
                  </a:lnTo>
                  <a:lnTo>
                    <a:pt x="359" y="691"/>
                  </a:lnTo>
                  <a:lnTo>
                    <a:pt x="401" y="682"/>
                  </a:lnTo>
                  <a:lnTo>
                    <a:pt x="422" y="685"/>
                  </a:lnTo>
                  <a:lnTo>
                    <a:pt x="454" y="724"/>
                  </a:lnTo>
                  <a:lnTo>
                    <a:pt x="440" y="736"/>
                  </a:lnTo>
                  <a:lnTo>
                    <a:pt x="449" y="750"/>
                  </a:lnTo>
                  <a:lnTo>
                    <a:pt x="451" y="778"/>
                  </a:lnTo>
                  <a:lnTo>
                    <a:pt x="504" y="786"/>
                  </a:lnTo>
                  <a:lnTo>
                    <a:pt x="508" y="807"/>
                  </a:lnTo>
                  <a:lnTo>
                    <a:pt x="525" y="843"/>
                  </a:lnTo>
                  <a:lnTo>
                    <a:pt x="531" y="849"/>
                  </a:lnTo>
                  <a:lnTo>
                    <a:pt x="534" y="866"/>
                  </a:lnTo>
                  <a:lnTo>
                    <a:pt x="529" y="876"/>
                  </a:lnTo>
                  <a:lnTo>
                    <a:pt x="546" y="886"/>
                  </a:lnTo>
                  <a:lnTo>
                    <a:pt x="570" y="866"/>
                  </a:lnTo>
                  <a:lnTo>
                    <a:pt x="608" y="887"/>
                  </a:lnTo>
                  <a:lnTo>
                    <a:pt x="635" y="886"/>
                  </a:lnTo>
                  <a:lnTo>
                    <a:pt x="648" y="872"/>
                  </a:lnTo>
                  <a:lnTo>
                    <a:pt x="669" y="892"/>
                  </a:lnTo>
                  <a:lnTo>
                    <a:pt x="674" y="905"/>
                  </a:lnTo>
                  <a:lnTo>
                    <a:pt x="688" y="917"/>
                  </a:lnTo>
                  <a:lnTo>
                    <a:pt x="707" y="907"/>
                  </a:lnTo>
                  <a:lnTo>
                    <a:pt x="728" y="920"/>
                  </a:lnTo>
                  <a:lnTo>
                    <a:pt x="737" y="935"/>
                  </a:lnTo>
                  <a:lnTo>
                    <a:pt x="765" y="932"/>
                  </a:lnTo>
                  <a:lnTo>
                    <a:pt x="772" y="944"/>
                  </a:lnTo>
                  <a:lnTo>
                    <a:pt x="796" y="965"/>
                  </a:lnTo>
                  <a:lnTo>
                    <a:pt x="817" y="958"/>
                  </a:lnTo>
                  <a:lnTo>
                    <a:pt x="829" y="964"/>
                  </a:lnTo>
                  <a:lnTo>
                    <a:pt x="820" y="975"/>
                  </a:lnTo>
                  <a:lnTo>
                    <a:pt x="826" y="990"/>
                  </a:lnTo>
                  <a:lnTo>
                    <a:pt x="802" y="1011"/>
                  </a:lnTo>
                  <a:lnTo>
                    <a:pt x="796" y="1012"/>
                  </a:lnTo>
                  <a:lnTo>
                    <a:pt x="805" y="1024"/>
                  </a:lnTo>
                  <a:lnTo>
                    <a:pt x="823" y="1020"/>
                  </a:lnTo>
                  <a:lnTo>
                    <a:pt x="822" y="1029"/>
                  </a:lnTo>
                  <a:lnTo>
                    <a:pt x="807" y="1041"/>
                  </a:lnTo>
                  <a:lnTo>
                    <a:pt x="817" y="1058"/>
                  </a:lnTo>
                  <a:lnTo>
                    <a:pt x="819" y="1088"/>
                  </a:lnTo>
                  <a:lnTo>
                    <a:pt x="802" y="1100"/>
                  </a:lnTo>
                  <a:lnTo>
                    <a:pt x="793" y="1119"/>
                  </a:lnTo>
                  <a:lnTo>
                    <a:pt x="742" y="1125"/>
                  </a:lnTo>
                  <a:lnTo>
                    <a:pt x="712" y="1160"/>
                  </a:lnTo>
                  <a:lnTo>
                    <a:pt x="706" y="1187"/>
                  </a:lnTo>
                  <a:lnTo>
                    <a:pt x="721" y="1186"/>
                  </a:lnTo>
                  <a:lnTo>
                    <a:pt x="739" y="1184"/>
                  </a:lnTo>
                  <a:lnTo>
                    <a:pt x="748" y="1177"/>
                  </a:lnTo>
                  <a:lnTo>
                    <a:pt x="763" y="1174"/>
                  </a:lnTo>
                  <a:lnTo>
                    <a:pt x="766" y="1180"/>
                  </a:lnTo>
                  <a:lnTo>
                    <a:pt x="765" y="1186"/>
                  </a:lnTo>
                  <a:lnTo>
                    <a:pt x="772" y="1190"/>
                  </a:lnTo>
                  <a:lnTo>
                    <a:pt x="772" y="1195"/>
                  </a:lnTo>
                  <a:lnTo>
                    <a:pt x="743" y="1202"/>
                  </a:lnTo>
                  <a:lnTo>
                    <a:pt x="736" y="1205"/>
                  </a:lnTo>
                  <a:lnTo>
                    <a:pt x="728" y="1211"/>
                  </a:lnTo>
                  <a:lnTo>
                    <a:pt x="712" y="1211"/>
                  </a:lnTo>
                  <a:lnTo>
                    <a:pt x="709" y="1214"/>
                  </a:lnTo>
                  <a:lnTo>
                    <a:pt x="707" y="1220"/>
                  </a:lnTo>
                  <a:lnTo>
                    <a:pt x="710" y="1226"/>
                  </a:lnTo>
                  <a:lnTo>
                    <a:pt x="715" y="1220"/>
                  </a:lnTo>
                  <a:lnTo>
                    <a:pt x="724" y="1226"/>
                  </a:lnTo>
                  <a:lnTo>
                    <a:pt x="724" y="1233"/>
                  </a:lnTo>
                  <a:lnTo>
                    <a:pt x="710" y="1233"/>
                  </a:lnTo>
                  <a:lnTo>
                    <a:pt x="704" y="1228"/>
                  </a:lnTo>
                  <a:lnTo>
                    <a:pt x="698" y="1226"/>
                  </a:lnTo>
                  <a:lnTo>
                    <a:pt x="697" y="1231"/>
                  </a:lnTo>
                  <a:lnTo>
                    <a:pt x="685" y="1236"/>
                  </a:lnTo>
                  <a:lnTo>
                    <a:pt x="673" y="1228"/>
                  </a:lnTo>
                  <a:lnTo>
                    <a:pt x="676" y="1242"/>
                  </a:lnTo>
                  <a:lnTo>
                    <a:pt x="682" y="1254"/>
                  </a:lnTo>
                  <a:lnTo>
                    <a:pt x="689" y="1263"/>
                  </a:lnTo>
                  <a:lnTo>
                    <a:pt x="692" y="1258"/>
                  </a:lnTo>
                  <a:lnTo>
                    <a:pt x="713" y="1275"/>
                  </a:lnTo>
                  <a:lnTo>
                    <a:pt x="715" y="1278"/>
                  </a:lnTo>
                  <a:lnTo>
                    <a:pt x="725" y="1285"/>
                  </a:lnTo>
                  <a:lnTo>
                    <a:pt x="719" y="1290"/>
                  </a:lnTo>
                  <a:lnTo>
                    <a:pt x="713" y="1288"/>
                  </a:lnTo>
                  <a:lnTo>
                    <a:pt x="707" y="1281"/>
                  </a:lnTo>
                  <a:lnTo>
                    <a:pt x="704" y="1281"/>
                  </a:lnTo>
                  <a:lnTo>
                    <a:pt x="698" y="1288"/>
                  </a:lnTo>
                  <a:lnTo>
                    <a:pt x="695" y="1291"/>
                  </a:lnTo>
                  <a:lnTo>
                    <a:pt x="697" y="1296"/>
                  </a:lnTo>
                  <a:lnTo>
                    <a:pt x="701" y="1300"/>
                  </a:lnTo>
                  <a:lnTo>
                    <a:pt x="701" y="1294"/>
                  </a:lnTo>
                  <a:lnTo>
                    <a:pt x="704" y="1299"/>
                  </a:lnTo>
                  <a:lnTo>
                    <a:pt x="704" y="1302"/>
                  </a:lnTo>
                  <a:lnTo>
                    <a:pt x="698" y="1308"/>
                  </a:lnTo>
                  <a:lnTo>
                    <a:pt x="689" y="1302"/>
                  </a:lnTo>
                  <a:lnTo>
                    <a:pt x="688" y="1293"/>
                  </a:lnTo>
                  <a:lnTo>
                    <a:pt x="692" y="1287"/>
                  </a:lnTo>
                  <a:lnTo>
                    <a:pt x="686" y="1287"/>
                  </a:lnTo>
                  <a:lnTo>
                    <a:pt x="673" y="1308"/>
                  </a:lnTo>
                  <a:lnTo>
                    <a:pt x="671" y="1322"/>
                  </a:lnTo>
                  <a:lnTo>
                    <a:pt x="660" y="1326"/>
                  </a:lnTo>
                  <a:lnTo>
                    <a:pt x="654" y="1335"/>
                  </a:lnTo>
                  <a:lnTo>
                    <a:pt x="653" y="1347"/>
                  </a:lnTo>
                  <a:lnTo>
                    <a:pt x="648" y="1353"/>
                  </a:lnTo>
                  <a:lnTo>
                    <a:pt x="636" y="1352"/>
                  </a:lnTo>
                  <a:lnTo>
                    <a:pt x="642" y="1358"/>
                  </a:lnTo>
                  <a:lnTo>
                    <a:pt x="630" y="1358"/>
                  </a:lnTo>
                  <a:lnTo>
                    <a:pt x="632" y="1352"/>
                  </a:lnTo>
                  <a:lnTo>
                    <a:pt x="624" y="1346"/>
                  </a:lnTo>
                  <a:lnTo>
                    <a:pt x="611" y="1343"/>
                  </a:lnTo>
                  <a:lnTo>
                    <a:pt x="609" y="1355"/>
                  </a:lnTo>
                  <a:lnTo>
                    <a:pt x="612" y="1352"/>
                  </a:lnTo>
                  <a:lnTo>
                    <a:pt x="620" y="1352"/>
                  </a:lnTo>
                  <a:lnTo>
                    <a:pt x="621" y="1359"/>
                  </a:lnTo>
                  <a:lnTo>
                    <a:pt x="600" y="1364"/>
                  </a:lnTo>
                  <a:lnTo>
                    <a:pt x="605" y="1373"/>
                  </a:lnTo>
                  <a:lnTo>
                    <a:pt x="615" y="1373"/>
                  </a:lnTo>
                  <a:lnTo>
                    <a:pt x="627" y="1376"/>
                  </a:lnTo>
                  <a:lnTo>
                    <a:pt x="639" y="1400"/>
                  </a:lnTo>
                  <a:lnTo>
                    <a:pt x="650" y="1420"/>
                  </a:lnTo>
                  <a:lnTo>
                    <a:pt x="656" y="1421"/>
                  </a:lnTo>
                  <a:lnTo>
                    <a:pt x="666" y="1423"/>
                  </a:lnTo>
                  <a:lnTo>
                    <a:pt x="674" y="1424"/>
                  </a:lnTo>
                  <a:lnTo>
                    <a:pt x="677" y="1420"/>
                  </a:lnTo>
                  <a:lnTo>
                    <a:pt x="686" y="1424"/>
                  </a:lnTo>
                  <a:lnTo>
                    <a:pt x="686" y="1432"/>
                  </a:lnTo>
                  <a:lnTo>
                    <a:pt x="700" y="1439"/>
                  </a:lnTo>
                  <a:lnTo>
                    <a:pt x="716" y="1442"/>
                  </a:lnTo>
                  <a:lnTo>
                    <a:pt x="734" y="1450"/>
                  </a:lnTo>
                  <a:lnTo>
                    <a:pt x="765" y="1469"/>
                  </a:lnTo>
                  <a:lnTo>
                    <a:pt x="787" y="1498"/>
                  </a:lnTo>
                  <a:lnTo>
                    <a:pt x="802" y="1510"/>
                  </a:lnTo>
                  <a:lnTo>
                    <a:pt x="822" y="1503"/>
                  </a:lnTo>
                  <a:lnTo>
                    <a:pt x="846" y="1512"/>
                  </a:lnTo>
                  <a:lnTo>
                    <a:pt x="881" y="1515"/>
                  </a:lnTo>
                  <a:lnTo>
                    <a:pt x="899" y="1522"/>
                  </a:lnTo>
                  <a:lnTo>
                    <a:pt x="926" y="1525"/>
                  </a:lnTo>
                  <a:lnTo>
                    <a:pt x="970" y="1540"/>
                  </a:lnTo>
                  <a:lnTo>
                    <a:pt x="1009" y="1548"/>
                  </a:lnTo>
                  <a:lnTo>
                    <a:pt x="1028" y="1555"/>
                  </a:lnTo>
                  <a:lnTo>
                    <a:pt x="1042" y="1572"/>
                  </a:lnTo>
                  <a:lnTo>
                    <a:pt x="1062" y="1580"/>
                  </a:lnTo>
                  <a:lnTo>
                    <a:pt x="1065" y="1589"/>
                  </a:lnTo>
                  <a:lnTo>
                    <a:pt x="1077" y="1590"/>
                  </a:lnTo>
                  <a:lnTo>
                    <a:pt x="1102" y="1583"/>
                  </a:lnTo>
                  <a:lnTo>
                    <a:pt x="1116" y="1575"/>
                  </a:lnTo>
                  <a:lnTo>
                    <a:pt x="1133" y="1590"/>
                  </a:lnTo>
                  <a:lnTo>
                    <a:pt x="1158" y="1595"/>
                  </a:lnTo>
                  <a:lnTo>
                    <a:pt x="1167" y="1607"/>
                  </a:lnTo>
                  <a:lnTo>
                    <a:pt x="1166" y="1617"/>
                  </a:lnTo>
                  <a:lnTo>
                    <a:pt x="1185" y="1631"/>
                  </a:lnTo>
                  <a:lnTo>
                    <a:pt x="1197" y="1635"/>
                  </a:lnTo>
                  <a:lnTo>
                    <a:pt x="1222" y="1635"/>
                  </a:lnTo>
                  <a:lnTo>
                    <a:pt x="1255" y="1653"/>
                  </a:lnTo>
                  <a:lnTo>
                    <a:pt x="1294" y="1697"/>
                  </a:lnTo>
                  <a:lnTo>
                    <a:pt x="1333" y="1691"/>
                  </a:lnTo>
                  <a:lnTo>
                    <a:pt x="1344" y="1663"/>
                  </a:lnTo>
                  <a:lnTo>
                    <a:pt x="1353" y="1644"/>
                  </a:lnTo>
                  <a:lnTo>
                    <a:pt x="1345" y="1637"/>
                  </a:lnTo>
                  <a:lnTo>
                    <a:pt x="1335" y="1629"/>
                  </a:lnTo>
                  <a:lnTo>
                    <a:pt x="1324" y="1596"/>
                  </a:lnTo>
                  <a:lnTo>
                    <a:pt x="1317" y="1581"/>
                  </a:lnTo>
                  <a:lnTo>
                    <a:pt x="1308" y="1569"/>
                  </a:lnTo>
                  <a:lnTo>
                    <a:pt x="1286" y="1548"/>
                  </a:lnTo>
                  <a:lnTo>
                    <a:pt x="1283" y="1536"/>
                  </a:lnTo>
                  <a:lnTo>
                    <a:pt x="1286" y="1527"/>
                  </a:lnTo>
                  <a:lnTo>
                    <a:pt x="1292" y="1519"/>
                  </a:lnTo>
                  <a:lnTo>
                    <a:pt x="1292" y="1510"/>
                  </a:lnTo>
                  <a:lnTo>
                    <a:pt x="1288" y="1516"/>
                  </a:lnTo>
                  <a:lnTo>
                    <a:pt x="1286" y="1509"/>
                  </a:lnTo>
                  <a:lnTo>
                    <a:pt x="1292" y="1498"/>
                  </a:lnTo>
                  <a:lnTo>
                    <a:pt x="1295" y="1483"/>
                  </a:lnTo>
                  <a:lnTo>
                    <a:pt x="1294" y="1472"/>
                  </a:lnTo>
                  <a:lnTo>
                    <a:pt x="1292" y="1481"/>
                  </a:lnTo>
                  <a:lnTo>
                    <a:pt x="1288" y="1489"/>
                  </a:lnTo>
                  <a:lnTo>
                    <a:pt x="1280" y="1501"/>
                  </a:lnTo>
                  <a:lnTo>
                    <a:pt x="1277" y="1498"/>
                  </a:lnTo>
                  <a:lnTo>
                    <a:pt x="1277" y="1483"/>
                  </a:lnTo>
                  <a:lnTo>
                    <a:pt x="1282" y="1472"/>
                  </a:lnTo>
                  <a:lnTo>
                    <a:pt x="1280" y="1466"/>
                  </a:lnTo>
                  <a:lnTo>
                    <a:pt x="1277" y="1466"/>
                  </a:lnTo>
                  <a:lnTo>
                    <a:pt x="1270" y="1460"/>
                  </a:lnTo>
                  <a:lnTo>
                    <a:pt x="1268" y="1453"/>
                  </a:lnTo>
                  <a:lnTo>
                    <a:pt x="1265" y="1433"/>
                  </a:lnTo>
                  <a:lnTo>
                    <a:pt x="1253" y="1432"/>
                  </a:lnTo>
                  <a:lnTo>
                    <a:pt x="1250" y="1438"/>
                  </a:lnTo>
                  <a:lnTo>
                    <a:pt x="1243" y="1439"/>
                  </a:lnTo>
                  <a:lnTo>
                    <a:pt x="1238" y="1430"/>
                  </a:lnTo>
                  <a:lnTo>
                    <a:pt x="1232" y="1409"/>
                  </a:lnTo>
                  <a:lnTo>
                    <a:pt x="1241" y="1398"/>
                  </a:lnTo>
                  <a:lnTo>
                    <a:pt x="1246" y="1389"/>
                  </a:lnTo>
                  <a:lnTo>
                    <a:pt x="1253" y="1385"/>
                  </a:lnTo>
                  <a:lnTo>
                    <a:pt x="1259" y="1379"/>
                  </a:lnTo>
                  <a:lnTo>
                    <a:pt x="1259" y="1379"/>
                  </a:lnTo>
                  <a:lnTo>
                    <a:pt x="1256" y="1373"/>
                  </a:lnTo>
                  <a:lnTo>
                    <a:pt x="1256" y="1373"/>
                  </a:lnTo>
                  <a:lnTo>
                    <a:pt x="1256" y="1365"/>
                  </a:lnTo>
                  <a:lnTo>
                    <a:pt x="1258" y="1359"/>
                  </a:lnTo>
                  <a:lnTo>
                    <a:pt x="1268" y="1353"/>
                  </a:lnTo>
                  <a:lnTo>
                    <a:pt x="1270" y="1356"/>
                  </a:lnTo>
                  <a:lnTo>
                    <a:pt x="1270" y="1364"/>
                  </a:lnTo>
                  <a:lnTo>
                    <a:pt x="1277" y="1358"/>
                  </a:lnTo>
                  <a:lnTo>
                    <a:pt x="1279" y="1349"/>
                  </a:lnTo>
                  <a:lnTo>
                    <a:pt x="1270" y="1334"/>
                  </a:lnTo>
                  <a:lnTo>
                    <a:pt x="1276" y="1322"/>
                  </a:lnTo>
                  <a:lnTo>
                    <a:pt x="1282" y="1316"/>
                  </a:lnTo>
                  <a:lnTo>
                    <a:pt x="1285" y="1329"/>
                  </a:lnTo>
                  <a:lnTo>
                    <a:pt x="1288" y="1332"/>
                  </a:lnTo>
                  <a:lnTo>
                    <a:pt x="1292" y="1322"/>
                  </a:lnTo>
                  <a:lnTo>
                    <a:pt x="1291" y="1316"/>
                  </a:lnTo>
                  <a:lnTo>
                    <a:pt x="1295" y="1314"/>
                  </a:lnTo>
                  <a:lnTo>
                    <a:pt x="1298" y="1306"/>
                  </a:lnTo>
                  <a:lnTo>
                    <a:pt x="1291" y="1302"/>
                  </a:lnTo>
                  <a:lnTo>
                    <a:pt x="1294" y="1296"/>
                  </a:lnTo>
                  <a:lnTo>
                    <a:pt x="1298" y="1300"/>
                  </a:lnTo>
                  <a:lnTo>
                    <a:pt x="1308" y="1300"/>
                  </a:lnTo>
                  <a:lnTo>
                    <a:pt x="1312" y="1293"/>
                  </a:lnTo>
                  <a:lnTo>
                    <a:pt x="1306" y="1291"/>
                  </a:lnTo>
                  <a:lnTo>
                    <a:pt x="1304" y="1285"/>
                  </a:lnTo>
                  <a:lnTo>
                    <a:pt x="1309" y="1284"/>
                  </a:lnTo>
                  <a:lnTo>
                    <a:pt x="1320" y="1293"/>
                  </a:lnTo>
                  <a:lnTo>
                    <a:pt x="1326" y="1296"/>
                  </a:lnTo>
                  <a:lnTo>
                    <a:pt x="1335" y="1297"/>
                  </a:lnTo>
                  <a:lnTo>
                    <a:pt x="1339" y="1294"/>
                  </a:lnTo>
                  <a:lnTo>
                    <a:pt x="1338" y="1288"/>
                  </a:lnTo>
                  <a:lnTo>
                    <a:pt x="1339" y="1285"/>
                  </a:lnTo>
                  <a:lnTo>
                    <a:pt x="1348" y="1287"/>
                  </a:lnTo>
                  <a:lnTo>
                    <a:pt x="1350" y="1279"/>
                  </a:lnTo>
                  <a:lnTo>
                    <a:pt x="1348" y="1273"/>
                  </a:lnTo>
                  <a:lnTo>
                    <a:pt x="1351" y="1272"/>
                  </a:lnTo>
                  <a:lnTo>
                    <a:pt x="1354" y="1263"/>
                  </a:lnTo>
                  <a:lnTo>
                    <a:pt x="1362" y="1260"/>
                  </a:lnTo>
                  <a:lnTo>
                    <a:pt x="1362" y="1266"/>
                  </a:lnTo>
                  <a:lnTo>
                    <a:pt x="1366" y="1266"/>
                  </a:lnTo>
                  <a:lnTo>
                    <a:pt x="1371" y="1260"/>
                  </a:lnTo>
                  <a:lnTo>
                    <a:pt x="1378" y="1261"/>
                  </a:lnTo>
                  <a:lnTo>
                    <a:pt x="1383" y="1257"/>
                  </a:lnTo>
                  <a:lnTo>
                    <a:pt x="1351" y="1239"/>
                  </a:lnTo>
                  <a:lnTo>
                    <a:pt x="1351" y="1226"/>
                  </a:lnTo>
                  <a:lnTo>
                    <a:pt x="1377" y="1223"/>
                  </a:lnTo>
                  <a:lnTo>
                    <a:pt x="1378" y="1220"/>
                  </a:lnTo>
                  <a:lnTo>
                    <a:pt x="1323" y="1154"/>
                  </a:lnTo>
                  <a:lnTo>
                    <a:pt x="1304" y="1145"/>
                  </a:lnTo>
                  <a:lnTo>
                    <a:pt x="1264" y="1116"/>
                  </a:lnTo>
                  <a:lnTo>
                    <a:pt x="1264" y="1101"/>
                  </a:lnTo>
                  <a:lnTo>
                    <a:pt x="1258" y="1076"/>
                  </a:lnTo>
                  <a:lnTo>
                    <a:pt x="1223" y="1053"/>
                  </a:lnTo>
                  <a:lnTo>
                    <a:pt x="1240" y="1000"/>
                  </a:lnTo>
                  <a:lnTo>
                    <a:pt x="1253" y="987"/>
                  </a:lnTo>
                  <a:lnTo>
                    <a:pt x="1246" y="972"/>
                  </a:lnTo>
                  <a:lnTo>
                    <a:pt x="1247" y="952"/>
                  </a:lnTo>
                  <a:lnTo>
                    <a:pt x="1246" y="934"/>
                  </a:lnTo>
                  <a:lnTo>
                    <a:pt x="1262" y="908"/>
                  </a:lnTo>
                  <a:lnTo>
                    <a:pt x="1259" y="893"/>
                  </a:lnTo>
                  <a:lnTo>
                    <a:pt x="1271" y="870"/>
                  </a:lnTo>
                  <a:lnTo>
                    <a:pt x="1324" y="916"/>
                  </a:lnTo>
                  <a:lnTo>
                    <a:pt x="1339" y="917"/>
                  </a:lnTo>
                  <a:lnTo>
                    <a:pt x="1360" y="898"/>
                  </a:lnTo>
                  <a:lnTo>
                    <a:pt x="1324" y="849"/>
                  </a:lnTo>
                  <a:lnTo>
                    <a:pt x="1332" y="849"/>
                  </a:lnTo>
                  <a:lnTo>
                    <a:pt x="1345" y="839"/>
                  </a:lnTo>
                  <a:lnTo>
                    <a:pt x="1357" y="840"/>
                  </a:lnTo>
                  <a:lnTo>
                    <a:pt x="1403" y="789"/>
                  </a:lnTo>
                  <a:lnTo>
                    <a:pt x="1445" y="772"/>
                  </a:lnTo>
                  <a:lnTo>
                    <a:pt x="1464" y="763"/>
                  </a:lnTo>
                  <a:lnTo>
                    <a:pt x="1463" y="750"/>
                  </a:lnTo>
                  <a:lnTo>
                    <a:pt x="1470" y="751"/>
                  </a:lnTo>
                  <a:lnTo>
                    <a:pt x="1469" y="738"/>
                  </a:lnTo>
                  <a:lnTo>
                    <a:pt x="1484" y="741"/>
                  </a:lnTo>
                  <a:lnTo>
                    <a:pt x="1488" y="748"/>
                  </a:lnTo>
                  <a:lnTo>
                    <a:pt x="1522" y="768"/>
                  </a:lnTo>
                  <a:lnTo>
                    <a:pt x="1532" y="747"/>
                  </a:lnTo>
                  <a:lnTo>
                    <a:pt x="1558" y="741"/>
                  </a:lnTo>
                  <a:lnTo>
                    <a:pt x="1585" y="757"/>
                  </a:lnTo>
                  <a:lnTo>
                    <a:pt x="1600" y="745"/>
                  </a:lnTo>
                  <a:lnTo>
                    <a:pt x="1624" y="751"/>
                  </a:lnTo>
                  <a:lnTo>
                    <a:pt x="1657" y="748"/>
                  </a:lnTo>
                  <a:lnTo>
                    <a:pt x="1679" y="769"/>
                  </a:lnTo>
                  <a:lnTo>
                    <a:pt x="1716" y="798"/>
                  </a:lnTo>
                  <a:lnTo>
                    <a:pt x="1715" y="831"/>
                  </a:lnTo>
                  <a:lnTo>
                    <a:pt x="1721" y="843"/>
                  </a:lnTo>
                  <a:lnTo>
                    <a:pt x="1731" y="846"/>
                  </a:lnTo>
                  <a:lnTo>
                    <a:pt x="1728" y="834"/>
                  </a:lnTo>
                  <a:lnTo>
                    <a:pt x="1740" y="809"/>
                  </a:lnTo>
                  <a:lnTo>
                    <a:pt x="1763" y="809"/>
                  </a:lnTo>
                  <a:lnTo>
                    <a:pt x="1774" y="830"/>
                  </a:lnTo>
                  <a:lnTo>
                    <a:pt x="1804" y="846"/>
                  </a:lnTo>
                  <a:lnTo>
                    <a:pt x="1814" y="846"/>
                  </a:lnTo>
                  <a:lnTo>
                    <a:pt x="1829" y="818"/>
                  </a:lnTo>
                  <a:lnTo>
                    <a:pt x="1835" y="819"/>
                  </a:lnTo>
                  <a:lnTo>
                    <a:pt x="1847" y="809"/>
                  </a:lnTo>
                  <a:lnTo>
                    <a:pt x="1860" y="806"/>
                  </a:lnTo>
                  <a:lnTo>
                    <a:pt x="1867" y="801"/>
                  </a:lnTo>
                  <a:lnTo>
                    <a:pt x="1882" y="812"/>
                  </a:lnTo>
                  <a:lnTo>
                    <a:pt x="1924" y="821"/>
                  </a:lnTo>
                  <a:lnTo>
                    <a:pt x="1924" y="611"/>
                  </a:lnTo>
                  <a:lnTo>
                    <a:pt x="1980" y="486"/>
                  </a:lnTo>
                  <a:lnTo>
                    <a:pt x="2045" y="401"/>
                  </a:lnTo>
                  <a:lnTo>
                    <a:pt x="2013" y="244"/>
                  </a:lnTo>
                  <a:lnTo>
                    <a:pt x="2003" y="86"/>
                  </a:lnTo>
                  <a:lnTo>
                    <a:pt x="2003" y="86"/>
                  </a:lnTo>
                  <a:lnTo>
                    <a:pt x="2012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666" name="Freeform 7"/>
            <p:cNvSpPr>
              <a:spLocks/>
            </p:cNvSpPr>
            <p:nvPr userDrawn="1"/>
          </p:nvSpPr>
          <p:spPr bwMode="auto">
            <a:xfrm>
              <a:off x="5172" y="14"/>
              <a:ext cx="2508" cy="1696"/>
            </a:xfrm>
            <a:custGeom>
              <a:avLst/>
              <a:gdLst>
                <a:gd name="T0" fmla="*/ 2044 w 2508"/>
                <a:gd name="T1" fmla="*/ 877 h 1696"/>
                <a:gd name="T2" fmla="*/ 2475 w 2508"/>
                <a:gd name="T3" fmla="*/ 145 h 1696"/>
                <a:gd name="T4" fmla="*/ 2354 w 2508"/>
                <a:gd name="T5" fmla="*/ 83 h 1696"/>
                <a:gd name="T6" fmla="*/ 2128 w 2508"/>
                <a:gd name="T7" fmla="*/ 24 h 1696"/>
                <a:gd name="T8" fmla="*/ 2139 w 2508"/>
                <a:gd name="T9" fmla="*/ 143 h 1696"/>
                <a:gd name="T10" fmla="*/ 2021 w 2508"/>
                <a:gd name="T11" fmla="*/ 263 h 1696"/>
                <a:gd name="T12" fmla="*/ 1968 w 2508"/>
                <a:gd name="T13" fmla="*/ 183 h 1696"/>
                <a:gd name="T14" fmla="*/ 1920 w 2508"/>
                <a:gd name="T15" fmla="*/ 202 h 1696"/>
                <a:gd name="T16" fmla="*/ 1752 w 2508"/>
                <a:gd name="T17" fmla="*/ 300 h 1696"/>
                <a:gd name="T18" fmla="*/ 1651 w 2508"/>
                <a:gd name="T19" fmla="*/ 386 h 1696"/>
                <a:gd name="T20" fmla="*/ 1596 w 2508"/>
                <a:gd name="T21" fmla="*/ 585 h 1696"/>
                <a:gd name="T22" fmla="*/ 1582 w 2508"/>
                <a:gd name="T23" fmla="*/ 478 h 1696"/>
                <a:gd name="T24" fmla="*/ 1629 w 2508"/>
                <a:gd name="T25" fmla="*/ 314 h 1696"/>
                <a:gd name="T26" fmla="*/ 1689 w 2508"/>
                <a:gd name="T27" fmla="*/ 246 h 1696"/>
                <a:gd name="T28" fmla="*/ 1679 w 2508"/>
                <a:gd name="T29" fmla="*/ 174 h 1696"/>
                <a:gd name="T30" fmla="*/ 1650 w 2508"/>
                <a:gd name="T31" fmla="*/ 214 h 1696"/>
                <a:gd name="T32" fmla="*/ 1594 w 2508"/>
                <a:gd name="T33" fmla="*/ 273 h 1696"/>
                <a:gd name="T34" fmla="*/ 1360 w 2508"/>
                <a:gd name="T35" fmla="*/ 365 h 1696"/>
                <a:gd name="T36" fmla="*/ 1292 w 2508"/>
                <a:gd name="T37" fmla="*/ 451 h 1696"/>
                <a:gd name="T38" fmla="*/ 1218 w 2508"/>
                <a:gd name="T39" fmla="*/ 536 h 1696"/>
                <a:gd name="T40" fmla="*/ 1139 w 2508"/>
                <a:gd name="T41" fmla="*/ 410 h 1696"/>
                <a:gd name="T42" fmla="*/ 1218 w 2508"/>
                <a:gd name="T43" fmla="*/ 324 h 1696"/>
                <a:gd name="T44" fmla="*/ 1003 w 2508"/>
                <a:gd name="T45" fmla="*/ 231 h 1696"/>
                <a:gd name="T46" fmla="*/ 1047 w 2508"/>
                <a:gd name="T47" fmla="*/ 480 h 1696"/>
                <a:gd name="T48" fmla="*/ 1087 w 2508"/>
                <a:gd name="T49" fmla="*/ 724 h 1696"/>
                <a:gd name="T50" fmla="*/ 1004 w 2508"/>
                <a:gd name="T51" fmla="*/ 608 h 1696"/>
                <a:gd name="T52" fmla="*/ 837 w 2508"/>
                <a:gd name="T53" fmla="*/ 694 h 1696"/>
                <a:gd name="T54" fmla="*/ 900 w 2508"/>
                <a:gd name="T55" fmla="*/ 913 h 1696"/>
                <a:gd name="T56" fmla="*/ 866 w 2508"/>
                <a:gd name="T57" fmla="*/ 905 h 1696"/>
                <a:gd name="T58" fmla="*/ 709 w 2508"/>
                <a:gd name="T59" fmla="*/ 854 h 1696"/>
                <a:gd name="T60" fmla="*/ 659 w 2508"/>
                <a:gd name="T61" fmla="*/ 812 h 1696"/>
                <a:gd name="T62" fmla="*/ 669 w 2508"/>
                <a:gd name="T63" fmla="*/ 914 h 1696"/>
                <a:gd name="T64" fmla="*/ 612 w 2508"/>
                <a:gd name="T65" fmla="*/ 985 h 1696"/>
                <a:gd name="T66" fmla="*/ 490 w 2508"/>
                <a:gd name="T67" fmla="*/ 908 h 1696"/>
                <a:gd name="T68" fmla="*/ 519 w 2508"/>
                <a:gd name="T69" fmla="*/ 1035 h 1696"/>
                <a:gd name="T70" fmla="*/ 452 w 2508"/>
                <a:gd name="T71" fmla="*/ 1009 h 1696"/>
                <a:gd name="T72" fmla="*/ 482 w 2508"/>
                <a:gd name="T73" fmla="*/ 831 h 1696"/>
                <a:gd name="T74" fmla="*/ 475 w 2508"/>
                <a:gd name="T75" fmla="*/ 682 h 1696"/>
                <a:gd name="T76" fmla="*/ 401 w 2508"/>
                <a:gd name="T77" fmla="*/ 602 h 1696"/>
                <a:gd name="T78" fmla="*/ 304 w 2508"/>
                <a:gd name="T79" fmla="*/ 492 h 1696"/>
                <a:gd name="T80" fmla="*/ 425 w 2508"/>
                <a:gd name="T81" fmla="*/ 546 h 1696"/>
                <a:gd name="T82" fmla="*/ 546 w 2508"/>
                <a:gd name="T83" fmla="*/ 610 h 1696"/>
                <a:gd name="T84" fmla="*/ 878 w 2508"/>
                <a:gd name="T85" fmla="*/ 480 h 1696"/>
                <a:gd name="T86" fmla="*/ 819 w 2508"/>
                <a:gd name="T87" fmla="*/ 350 h 1696"/>
                <a:gd name="T88" fmla="*/ 713 w 2508"/>
                <a:gd name="T89" fmla="*/ 290 h 1696"/>
                <a:gd name="T90" fmla="*/ 544 w 2508"/>
                <a:gd name="T91" fmla="*/ 154 h 1696"/>
                <a:gd name="T92" fmla="*/ 398 w 2508"/>
                <a:gd name="T93" fmla="*/ 127 h 1696"/>
                <a:gd name="T94" fmla="*/ 371 w 2508"/>
                <a:gd name="T95" fmla="*/ 118 h 1696"/>
                <a:gd name="T96" fmla="*/ 292 w 2508"/>
                <a:gd name="T97" fmla="*/ 79 h 1696"/>
                <a:gd name="T98" fmla="*/ 289 w 2508"/>
                <a:gd name="T99" fmla="*/ 8 h 1696"/>
                <a:gd name="T100" fmla="*/ 232 w 2508"/>
                <a:gd name="T101" fmla="*/ 39 h 1696"/>
                <a:gd name="T102" fmla="*/ 68 w 2508"/>
                <a:gd name="T103" fmla="*/ 190 h 1696"/>
                <a:gd name="T104" fmla="*/ 105 w 2508"/>
                <a:gd name="T105" fmla="*/ 557 h 1696"/>
                <a:gd name="T106" fmla="*/ 151 w 2508"/>
                <a:gd name="T107" fmla="*/ 862 h 1696"/>
                <a:gd name="T108" fmla="*/ 247 w 2508"/>
                <a:gd name="T109" fmla="*/ 1089 h 1696"/>
                <a:gd name="T110" fmla="*/ 60 w 2508"/>
                <a:gd name="T111" fmla="*/ 1436 h 1696"/>
                <a:gd name="T112" fmla="*/ 77 w 2508"/>
                <a:gd name="T113" fmla="*/ 1456 h 1696"/>
                <a:gd name="T114" fmla="*/ 188 w 2508"/>
                <a:gd name="T115" fmla="*/ 1510 h 1696"/>
                <a:gd name="T116" fmla="*/ 53 w 2508"/>
                <a:gd name="T117" fmla="*/ 1536 h 1696"/>
                <a:gd name="T118" fmla="*/ 6 w 2508"/>
                <a:gd name="T119" fmla="*/ 1696 h 16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508" h="1696">
                  <a:moveTo>
                    <a:pt x="2018" y="1696"/>
                  </a:moveTo>
                  <a:lnTo>
                    <a:pt x="2018" y="1696"/>
                  </a:lnTo>
                  <a:lnTo>
                    <a:pt x="2027" y="1598"/>
                  </a:lnTo>
                  <a:lnTo>
                    <a:pt x="2015" y="1405"/>
                  </a:lnTo>
                  <a:lnTo>
                    <a:pt x="2041" y="1295"/>
                  </a:lnTo>
                  <a:lnTo>
                    <a:pt x="2015" y="1218"/>
                  </a:lnTo>
                  <a:lnTo>
                    <a:pt x="2028" y="1136"/>
                  </a:lnTo>
                  <a:lnTo>
                    <a:pt x="2010" y="1115"/>
                  </a:lnTo>
                  <a:lnTo>
                    <a:pt x="2012" y="1034"/>
                  </a:lnTo>
                  <a:lnTo>
                    <a:pt x="2054" y="943"/>
                  </a:lnTo>
                  <a:lnTo>
                    <a:pt x="2044" y="877"/>
                  </a:lnTo>
                  <a:lnTo>
                    <a:pt x="2065" y="771"/>
                  </a:lnTo>
                  <a:lnTo>
                    <a:pt x="2139" y="753"/>
                  </a:lnTo>
                  <a:lnTo>
                    <a:pt x="2200" y="691"/>
                  </a:lnTo>
                  <a:lnTo>
                    <a:pt x="2261" y="638"/>
                  </a:lnTo>
                  <a:lnTo>
                    <a:pt x="2344" y="525"/>
                  </a:lnTo>
                  <a:lnTo>
                    <a:pt x="2455" y="498"/>
                  </a:lnTo>
                  <a:lnTo>
                    <a:pt x="2469" y="364"/>
                  </a:lnTo>
                  <a:lnTo>
                    <a:pt x="2508" y="293"/>
                  </a:lnTo>
                  <a:lnTo>
                    <a:pt x="2508" y="168"/>
                  </a:lnTo>
                  <a:lnTo>
                    <a:pt x="2485" y="157"/>
                  </a:lnTo>
                  <a:lnTo>
                    <a:pt x="2475" y="145"/>
                  </a:lnTo>
                  <a:lnTo>
                    <a:pt x="2455" y="134"/>
                  </a:lnTo>
                  <a:lnTo>
                    <a:pt x="2463" y="127"/>
                  </a:lnTo>
                  <a:lnTo>
                    <a:pt x="2463" y="121"/>
                  </a:lnTo>
                  <a:lnTo>
                    <a:pt x="2416" y="121"/>
                  </a:lnTo>
                  <a:lnTo>
                    <a:pt x="2409" y="110"/>
                  </a:lnTo>
                  <a:lnTo>
                    <a:pt x="2396" y="119"/>
                  </a:lnTo>
                  <a:lnTo>
                    <a:pt x="2387" y="110"/>
                  </a:lnTo>
                  <a:lnTo>
                    <a:pt x="2395" y="107"/>
                  </a:lnTo>
                  <a:lnTo>
                    <a:pt x="2389" y="98"/>
                  </a:lnTo>
                  <a:lnTo>
                    <a:pt x="2377" y="94"/>
                  </a:lnTo>
                  <a:lnTo>
                    <a:pt x="2354" y="83"/>
                  </a:lnTo>
                  <a:lnTo>
                    <a:pt x="2338" y="57"/>
                  </a:lnTo>
                  <a:lnTo>
                    <a:pt x="2323" y="57"/>
                  </a:lnTo>
                  <a:lnTo>
                    <a:pt x="2306" y="44"/>
                  </a:lnTo>
                  <a:lnTo>
                    <a:pt x="2274" y="36"/>
                  </a:lnTo>
                  <a:lnTo>
                    <a:pt x="2267" y="41"/>
                  </a:lnTo>
                  <a:lnTo>
                    <a:pt x="2253" y="26"/>
                  </a:lnTo>
                  <a:lnTo>
                    <a:pt x="2222" y="26"/>
                  </a:lnTo>
                  <a:lnTo>
                    <a:pt x="2169" y="18"/>
                  </a:lnTo>
                  <a:lnTo>
                    <a:pt x="2166" y="14"/>
                  </a:lnTo>
                  <a:lnTo>
                    <a:pt x="2128" y="3"/>
                  </a:lnTo>
                  <a:lnTo>
                    <a:pt x="2128" y="24"/>
                  </a:lnTo>
                  <a:lnTo>
                    <a:pt x="2119" y="35"/>
                  </a:lnTo>
                  <a:lnTo>
                    <a:pt x="2133" y="57"/>
                  </a:lnTo>
                  <a:lnTo>
                    <a:pt x="2131" y="63"/>
                  </a:lnTo>
                  <a:lnTo>
                    <a:pt x="2117" y="39"/>
                  </a:lnTo>
                  <a:lnTo>
                    <a:pt x="2090" y="48"/>
                  </a:lnTo>
                  <a:lnTo>
                    <a:pt x="2119" y="112"/>
                  </a:lnTo>
                  <a:lnTo>
                    <a:pt x="2117" y="130"/>
                  </a:lnTo>
                  <a:lnTo>
                    <a:pt x="2126" y="139"/>
                  </a:lnTo>
                  <a:lnTo>
                    <a:pt x="2130" y="125"/>
                  </a:lnTo>
                  <a:lnTo>
                    <a:pt x="2137" y="131"/>
                  </a:lnTo>
                  <a:lnTo>
                    <a:pt x="2139" y="143"/>
                  </a:lnTo>
                  <a:lnTo>
                    <a:pt x="2131" y="148"/>
                  </a:lnTo>
                  <a:lnTo>
                    <a:pt x="2130" y="171"/>
                  </a:lnTo>
                  <a:lnTo>
                    <a:pt x="2104" y="208"/>
                  </a:lnTo>
                  <a:lnTo>
                    <a:pt x="2093" y="207"/>
                  </a:lnTo>
                  <a:lnTo>
                    <a:pt x="2083" y="210"/>
                  </a:lnTo>
                  <a:lnTo>
                    <a:pt x="2068" y="205"/>
                  </a:lnTo>
                  <a:lnTo>
                    <a:pt x="2063" y="225"/>
                  </a:lnTo>
                  <a:lnTo>
                    <a:pt x="2071" y="237"/>
                  </a:lnTo>
                  <a:lnTo>
                    <a:pt x="2072" y="249"/>
                  </a:lnTo>
                  <a:lnTo>
                    <a:pt x="2048" y="273"/>
                  </a:lnTo>
                  <a:lnTo>
                    <a:pt x="2021" y="263"/>
                  </a:lnTo>
                  <a:lnTo>
                    <a:pt x="2018" y="234"/>
                  </a:lnTo>
                  <a:lnTo>
                    <a:pt x="2013" y="223"/>
                  </a:lnTo>
                  <a:lnTo>
                    <a:pt x="2022" y="225"/>
                  </a:lnTo>
                  <a:lnTo>
                    <a:pt x="2024" y="211"/>
                  </a:lnTo>
                  <a:lnTo>
                    <a:pt x="2034" y="210"/>
                  </a:lnTo>
                  <a:lnTo>
                    <a:pt x="2037" y="202"/>
                  </a:lnTo>
                  <a:lnTo>
                    <a:pt x="2009" y="172"/>
                  </a:lnTo>
                  <a:lnTo>
                    <a:pt x="2015" y="163"/>
                  </a:lnTo>
                  <a:lnTo>
                    <a:pt x="2001" y="157"/>
                  </a:lnTo>
                  <a:lnTo>
                    <a:pt x="1970" y="174"/>
                  </a:lnTo>
                  <a:lnTo>
                    <a:pt x="1968" y="183"/>
                  </a:lnTo>
                  <a:lnTo>
                    <a:pt x="1977" y="199"/>
                  </a:lnTo>
                  <a:lnTo>
                    <a:pt x="1965" y="211"/>
                  </a:lnTo>
                  <a:lnTo>
                    <a:pt x="1950" y="205"/>
                  </a:lnTo>
                  <a:lnTo>
                    <a:pt x="1970" y="196"/>
                  </a:lnTo>
                  <a:lnTo>
                    <a:pt x="1964" y="183"/>
                  </a:lnTo>
                  <a:lnTo>
                    <a:pt x="1949" y="184"/>
                  </a:lnTo>
                  <a:lnTo>
                    <a:pt x="1942" y="202"/>
                  </a:lnTo>
                  <a:lnTo>
                    <a:pt x="1929" y="190"/>
                  </a:lnTo>
                  <a:lnTo>
                    <a:pt x="1911" y="201"/>
                  </a:lnTo>
                  <a:lnTo>
                    <a:pt x="1912" y="202"/>
                  </a:lnTo>
                  <a:lnTo>
                    <a:pt x="1920" y="202"/>
                  </a:lnTo>
                  <a:lnTo>
                    <a:pt x="1921" y="229"/>
                  </a:lnTo>
                  <a:lnTo>
                    <a:pt x="1896" y="248"/>
                  </a:lnTo>
                  <a:lnTo>
                    <a:pt x="1885" y="232"/>
                  </a:lnTo>
                  <a:lnTo>
                    <a:pt x="1878" y="234"/>
                  </a:lnTo>
                  <a:lnTo>
                    <a:pt x="1863" y="226"/>
                  </a:lnTo>
                  <a:lnTo>
                    <a:pt x="1834" y="229"/>
                  </a:lnTo>
                  <a:lnTo>
                    <a:pt x="1822" y="222"/>
                  </a:lnTo>
                  <a:lnTo>
                    <a:pt x="1795" y="238"/>
                  </a:lnTo>
                  <a:lnTo>
                    <a:pt x="1784" y="237"/>
                  </a:lnTo>
                  <a:lnTo>
                    <a:pt x="1758" y="260"/>
                  </a:lnTo>
                  <a:lnTo>
                    <a:pt x="1752" y="300"/>
                  </a:lnTo>
                  <a:lnTo>
                    <a:pt x="1739" y="308"/>
                  </a:lnTo>
                  <a:lnTo>
                    <a:pt x="1739" y="308"/>
                  </a:lnTo>
                  <a:lnTo>
                    <a:pt x="1731" y="302"/>
                  </a:lnTo>
                  <a:lnTo>
                    <a:pt x="1731" y="302"/>
                  </a:lnTo>
                  <a:lnTo>
                    <a:pt x="1724" y="285"/>
                  </a:lnTo>
                  <a:lnTo>
                    <a:pt x="1715" y="293"/>
                  </a:lnTo>
                  <a:lnTo>
                    <a:pt x="1706" y="285"/>
                  </a:lnTo>
                  <a:lnTo>
                    <a:pt x="1677" y="332"/>
                  </a:lnTo>
                  <a:lnTo>
                    <a:pt x="1680" y="337"/>
                  </a:lnTo>
                  <a:lnTo>
                    <a:pt x="1686" y="337"/>
                  </a:lnTo>
                  <a:lnTo>
                    <a:pt x="1651" y="386"/>
                  </a:lnTo>
                  <a:lnTo>
                    <a:pt x="1639" y="377"/>
                  </a:lnTo>
                  <a:lnTo>
                    <a:pt x="1627" y="389"/>
                  </a:lnTo>
                  <a:lnTo>
                    <a:pt x="1623" y="400"/>
                  </a:lnTo>
                  <a:lnTo>
                    <a:pt x="1588" y="413"/>
                  </a:lnTo>
                  <a:lnTo>
                    <a:pt x="1579" y="444"/>
                  </a:lnTo>
                  <a:lnTo>
                    <a:pt x="1585" y="466"/>
                  </a:lnTo>
                  <a:lnTo>
                    <a:pt x="1593" y="483"/>
                  </a:lnTo>
                  <a:lnTo>
                    <a:pt x="1594" y="501"/>
                  </a:lnTo>
                  <a:lnTo>
                    <a:pt x="1590" y="524"/>
                  </a:lnTo>
                  <a:lnTo>
                    <a:pt x="1594" y="561"/>
                  </a:lnTo>
                  <a:lnTo>
                    <a:pt x="1596" y="585"/>
                  </a:lnTo>
                  <a:lnTo>
                    <a:pt x="1599" y="619"/>
                  </a:lnTo>
                  <a:lnTo>
                    <a:pt x="1599" y="634"/>
                  </a:lnTo>
                  <a:lnTo>
                    <a:pt x="1599" y="634"/>
                  </a:lnTo>
                  <a:lnTo>
                    <a:pt x="1596" y="623"/>
                  </a:lnTo>
                  <a:lnTo>
                    <a:pt x="1591" y="610"/>
                  </a:lnTo>
                  <a:lnTo>
                    <a:pt x="1591" y="610"/>
                  </a:lnTo>
                  <a:lnTo>
                    <a:pt x="1590" y="558"/>
                  </a:lnTo>
                  <a:lnTo>
                    <a:pt x="1588" y="512"/>
                  </a:lnTo>
                  <a:lnTo>
                    <a:pt x="1582" y="504"/>
                  </a:lnTo>
                  <a:lnTo>
                    <a:pt x="1582" y="504"/>
                  </a:lnTo>
                  <a:lnTo>
                    <a:pt x="1582" y="478"/>
                  </a:lnTo>
                  <a:lnTo>
                    <a:pt x="1571" y="465"/>
                  </a:lnTo>
                  <a:lnTo>
                    <a:pt x="1574" y="460"/>
                  </a:lnTo>
                  <a:lnTo>
                    <a:pt x="1567" y="442"/>
                  </a:lnTo>
                  <a:lnTo>
                    <a:pt x="1577" y="407"/>
                  </a:lnTo>
                  <a:lnTo>
                    <a:pt x="1606" y="388"/>
                  </a:lnTo>
                  <a:lnTo>
                    <a:pt x="1609" y="371"/>
                  </a:lnTo>
                  <a:lnTo>
                    <a:pt x="1618" y="364"/>
                  </a:lnTo>
                  <a:lnTo>
                    <a:pt x="1602" y="362"/>
                  </a:lnTo>
                  <a:lnTo>
                    <a:pt x="1605" y="353"/>
                  </a:lnTo>
                  <a:lnTo>
                    <a:pt x="1632" y="326"/>
                  </a:lnTo>
                  <a:lnTo>
                    <a:pt x="1629" y="314"/>
                  </a:lnTo>
                  <a:lnTo>
                    <a:pt x="1639" y="305"/>
                  </a:lnTo>
                  <a:lnTo>
                    <a:pt x="1648" y="303"/>
                  </a:lnTo>
                  <a:lnTo>
                    <a:pt x="1642" y="294"/>
                  </a:lnTo>
                  <a:lnTo>
                    <a:pt x="1648" y="287"/>
                  </a:lnTo>
                  <a:lnTo>
                    <a:pt x="1650" y="276"/>
                  </a:lnTo>
                  <a:lnTo>
                    <a:pt x="1666" y="273"/>
                  </a:lnTo>
                  <a:lnTo>
                    <a:pt x="1674" y="263"/>
                  </a:lnTo>
                  <a:lnTo>
                    <a:pt x="1683" y="270"/>
                  </a:lnTo>
                  <a:lnTo>
                    <a:pt x="1698" y="266"/>
                  </a:lnTo>
                  <a:lnTo>
                    <a:pt x="1688" y="258"/>
                  </a:lnTo>
                  <a:lnTo>
                    <a:pt x="1689" y="246"/>
                  </a:lnTo>
                  <a:lnTo>
                    <a:pt x="1682" y="243"/>
                  </a:lnTo>
                  <a:lnTo>
                    <a:pt x="1683" y="232"/>
                  </a:lnTo>
                  <a:lnTo>
                    <a:pt x="1695" y="223"/>
                  </a:lnTo>
                  <a:lnTo>
                    <a:pt x="1689" y="204"/>
                  </a:lnTo>
                  <a:lnTo>
                    <a:pt x="1688" y="198"/>
                  </a:lnTo>
                  <a:lnTo>
                    <a:pt x="1694" y="195"/>
                  </a:lnTo>
                  <a:lnTo>
                    <a:pt x="1685" y="190"/>
                  </a:lnTo>
                  <a:lnTo>
                    <a:pt x="1682" y="196"/>
                  </a:lnTo>
                  <a:lnTo>
                    <a:pt x="1677" y="196"/>
                  </a:lnTo>
                  <a:lnTo>
                    <a:pt x="1671" y="183"/>
                  </a:lnTo>
                  <a:lnTo>
                    <a:pt x="1679" y="174"/>
                  </a:lnTo>
                  <a:lnTo>
                    <a:pt x="1697" y="175"/>
                  </a:lnTo>
                  <a:lnTo>
                    <a:pt x="1718" y="169"/>
                  </a:lnTo>
                  <a:lnTo>
                    <a:pt x="1725" y="171"/>
                  </a:lnTo>
                  <a:lnTo>
                    <a:pt x="1722" y="165"/>
                  </a:lnTo>
                  <a:lnTo>
                    <a:pt x="1716" y="166"/>
                  </a:lnTo>
                  <a:lnTo>
                    <a:pt x="1679" y="169"/>
                  </a:lnTo>
                  <a:lnTo>
                    <a:pt x="1654" y="184"/>
                  </a:lnTo>
                  <a:lnTo>
                    <a:pt x="1654" y="195"/>
                  </a:lnTo>
                  <a:lnTo>
                    <a:pt x="1642" y="195"/>
                  </a:lnTo>
                  <a:lnTo>
                    <a:pt x="1653" y="208"/>
                  </a:lnTo>
                  <a:lnTo>
                    <a:pt x="1650" y="214"/>
                  </a:lnTo>
                  <a:lnTo>
                    <a:pt x="1651" y="231"/>
                  </a:lnTo>
                  <a:lnTo>
                    <a:pt x="1629" y="235"/>
                  </a:lnTo>
                  <a:lnTo>
                    <a:pt x="1629" y="216"/>
                  </a:lnTo>
                  <a:lnTo>
                    <a:pt x="1618" y="216"/>
                  </a:lnTo>
                  <a:lnTo>
                    <a:pt x="1624" y="201"/>
                  </a:lnTo>
                  <a:lnTo>
                    <a:pt x="1585" y="232"/>
                  </a:lnTo>
                  <a:lnTo>
                    <a:pt x="1590" y="235"/>
                  </a:lnTo>
                  <a:lnTo>
                    <a:pt x="1605" y="232"/>
                  </a:lnTo>
                  <a:lnTo>
                    <a:pt x="1602" y="246"/>
                  </a:lnTo>
                  <a:lnTo>
                    <a:pt x="1609" y="252"/>
                  </a:lnTo>
                  <a:lnTo>
                    <a:pt x="1594" y="273"/>
                  </a:lnTo>
                  <a:lnTo>
                    <a:pt x="1582" y="264"/>
                  </a:lnTo>
                  <a:lnTo>
                    <a:pt x="1583" y="254"/>
                  </a:lnTo>
                  <a:lnTo>
                    <a:pt x="1573" y="246"/>
                  </a:lnTo>
                  <a:lnTo>
                    <a:pt x="1540" y="252"/>
                  </a:lnTo>
                  <a:lnTo>
                    <a:pt x="1546" y="260"/>
                  </a:lnTo>
                  <a:lnTo>
                    <a:pt x="1519" y="266"/>
                  </a:lnTo>
                  <a:lnTo>
                    <a:pt x="1458" y="302"/>
                  </a:lnTo>
                  <a:lnTo>
                    <a:pt x="1458" y="311"/>
                  </a:lnTo>
                  <a:lnTo>
                    <a:pt x="1449" y="312"/>
                  </a:lnTo>
                  <a:lnTo>
                    <a:pt x="1375" y="367"/>
                  </a:lnTo>
                  <a:lnTo>
                    <a:pt x="1360" y="365"/>
                  </a:lnTo>
                  <a:lnTo>
                    <a:pt x="1359" y="373"/>
                  </a:lnTo>
                  <a:lnTo>
                    <a:pt x="1368" y="388"/>
                  </a:lnTo>
                  <a:lnTo>
                    <a:pt x="1366" y="397"/>
                  </a:lnTo>
                  <a:lnTo>
                    <a:pt x="1354" y="388"/>
                  </a:lnTo>
                  <a:lnTo>
                    <a:pt x="1351" y="395"/>
                  </a:lnTo>
                  <a:lnTo>
                    <a:pt x="1329" y="398"/>
                  </a:lnTo>
                  <a:lnTo>
                    <a:pt x="1321" y="409"/>
                  </a:lnTo>
                  <a:lnTo>
                    <a:pt x="1312" y="406"/>
                  </a:lnTo>
                  <a:lnTo>
                    <a:pt x="1306" y="417"/>
                  </a:lnTo>
                  <a:lnTo>
                    <a:pt x="1304" y="438"/>
                  </a:lnTo>
                  <a:lnTo>
                    <a:pt x="1292" y="451"/>
                  </a:lnTo>
                  <a:lnTo>
                    <a:pt x="1300" y="465"/>
                  </a:lnTo>
                  <a:lnTo>
                    <a:pt x="1289" y="475"/>
                  </a:lnTo>
                  <a:lnTo>
                    <a:pt x="1294" y="484"/>
                  </a:lnTo>
                  <a:lnTo>
                    <a:pt x="1286" y="515"/>
                  </a:lnTo>
                  <a:lnTo>
                    <a:pt x="1273" y="522"/>
                  </a:lnTo>
                  <a:lnTo>
                    <a:pt x="1258" y="524"/>
                  </a:lnTo>
                  <a:lnTo>
                    <a:pt x="1255" y="531"/>
                  </a:lnTo>
                  <a:lnTo>
                    <a:pt x="1234" y="528"/>
                  </a:lnTo>
                  <a:lnTo>
                    <a:pt x="1228" y="551"/>
                  </a:lnTo>
                  <a:lnTo>
                    <a:pt x="1223" y="555"/>
                  </a:lnTo>
                  <a:lnTo>
                    <a:pt x="1218" y="536"/>
                  </a:lnTo>
                  <a:lnTo>
                    <a:pt x="1220" y="524"/>
                  </a:lnTo>
                  <a:lnTo>
                    <a:pt x="1185" y="528"/>
                  </a:lnTo>
                  <a:lnTo>
                    <a:pt x="1176" y="512"/>
                  </a:lnTo>
                  <a:lnTo>
                    <a:pt x="1167" y="493"/>
                  </a:lnTo>
                  <a:lnTo>
                    <a:pt x="1157" y="490"/>
                  </a:lnTo>
                  <a:lnTo>
                    <a:pt x="1152" y="465"/>
                  </a:lnTo>
                  <a:lnTo>
                    <a:pt x="1133" y="441"/>
                  </a:lnTo>
                  <a:lnTo>
                    <a:pt x="1119" y="436"/>
                  </a:lnTo>
                  <a:lnTo>
                    <a:pt x="1125" y="427"/>
                  </a:lnTo>
                  <a:lnTo>
                    <a:pt x="1120" y="413"/>
                  </a:lnTo>
                  <a:lnTo>
                    <a:pt x="1139" y="410"/>
                  </a:lnTo>
                  <a:lnTo>
                    <a:pt x="1139" y="386"/>
                  </a:lnTo>
                  <a:lnTo>
                    <a:pt x="1149" y="385"/>
                  </a:lnTo>
                  <a:lnTo>
                    <a:pt x="1157" y="376"/>
                  </a:lnTo>
                  <a:lnTo>
                    <a:pt x="1176" y="379"/>
                  </a:lnTo>
                  <a:lnTo>
                    <a:pt x="1187" y="373"/>
                  </a:lnTo>
                  <a:lnTo>
                    <a:pt x="1199" y="376"/>
                  </a:lnTo>
                  <a:lnTo>
                    <a:pt x="1208" y="368"/>
                  </a:lnTo>
                  <a:lnTo>
                    <a:pt x="1228" y="368"/>
                  </a:lnTo>
                  <a:lnTo>
                    <a:pt x="1226" y="347"/>
                  </a:lnTo>
                  <a:lnTo>
                    <a:pt x="1214" y="335"/>
                  </a:lnTo>
                  <a:lnTo>
                    <a:pt x="1218" y="324"/>
                  </a:lnTo>
                  <a:lnTo>
                    <a:pt x="1212" y="309"/>
                  </a:lnTo>
                  <a:lnTo>
                    <a:pt x="1196" y="309"/>
                  </a:lnTo>
                  <a:lnTo>
                    <a:pt x="1193" y="291"/>
                  </a:lnTo>
                  <a:lnTo>
                    <a:pt x="1179" y="284"/>
                  </a:lnTo>
                  <a:lnTo>
                    <a:pt x="1178" y="260"/>
                  </a:lnTo>
                  <a:lnTo>
                    <a:pt x="1140" y="249"/>
                  </a:lnTo>
                  <a:lnTo>
                    <a:pt x="1108" y="245"/>
                  </a:lnTo>
                  <a:lnTo>
                    <a:pt x="1063" y="251"/>
                  </a:lnTo>
                  <a:lnTo>
                    <a:pt x="1025" y="225"/>
                  </a:lnTo>
                  <a:lnTo>
                    <a:pt x="1001" y="225"/>
                  </a:lnTo>
                  <a:lnTo>
                    <a:pt x="1003" y="231"/>
                  </a:lnTo>
                  <a:lnTo>
                    <a:pt x="1047" y="269"/>
                  </a:lnTo>
                  <a:lnTo>
                    <a:pt x="1059" y="269"/>
                  </a:lnTo>
                  <a:lnTo>
                    <a:pt x="1069" y="284"/>
                  </a:lnTo>
                  <a:lnTo>
                    <a:pt x="1065" y="306"/>
                  </a:lnTo>
                  <a:lnTo>
                    <a:pt x="1072" y="317"/>
                  </a:lnTo>
                  <a:lnTo>
                    <a:pt x="1066" y="324"/>
                  </a:lnTo>
                  <a:lnTo>
                    <a:pt x="1071" y="337"/>
                  </a:lnTo>
                  <a:lnTo>
                    <a:pt x="1063" y="362"/>
                  </a:lnTo>
                  <a:lnTo>
                    <a:pt x="1062" y="410"/>
                  </a:lnTo>
                  <a:lnTo>
                    <a:pt x="1048" y="435"/>
                  </a:lnTo>
                  <a:lnTo>
                    <a:pt x="1047" y="480"/>
                  </a:lnTo>
                  <a:lnTo>
                    <a:pt x="1063" y="483"/>
                  </a:lnTo>
                  <a:lnTo>
                    <a:pt x="1071" y="477"/>
                  </a:lnTo>
                  <a:lnTo>
                    <a:pt x="1092" y="512"/>
                  </a:lnTo>
                  <a:lnTo>
                    <a:pt x="1089" y="576"/>
                  </a:lnTo>
                  <a:lnTo>
                    <a:pt x="1080" y="584"/>
                  </a:lnTo>
                  <a:lnTo>
                    <a:pt x="1071" y="614"/>
                  </a:lnTo>
                  <a:lnTo>
                    <a:pt x="1065" y="629"/>
                  </a:lnTo>
                  <a:lnTo>
                    <a:pt x="1075" y="643"/>
                  </a:lnTo>
                  <a:lnTo>
                    <a:pt x="1072" y="691"/>
                  </a:lnTo>
                  <a:lnTo>
                    <a:pt x="1093" y="718"/>
                  </a:lnTo>
                  <a:lnTo>
                    <a:pt x="1087" y="724"/>
                  </a:lnTo>
                  <a:lnTo>
                    <a:pt x="1066" y="688"/>
                  </a:lnTo>
                  <a:lnTo>
                    <a:pt x="1054" y="661"/>
                  </a:lnTo>
                  <a:lnTo>
                    <a:pt x="1059" y="649"/>
                  </a:lnTo>
                  <a:lnTo>
                    <a:pt x="1045" y="638"/>
                  </a:lnTo>
                  <a:lnTo>
                    <a:pt x="1024" y="649"/>
                  </a:lnTo>
                  <a:lnTo>
                    <a:pt x="1018" y="659"/>
                  </a:lnTo>
                  <a:lnTo>
                    <a:pt x="1015" y="640"/>
                  </a:lnTo>
                  <a:lnTo>
                    <a:pt x="1039" y="629"/>
                  </a:lnTo>
                  <a:lnTo>
                    <a:pt x="1018" y="613"/>
                  </a:lnTo>
                  <a:lnTo>
                    <a:pt x="1012" y="602"/>
                  </a:lnTo>
                  <a:lnTo>
                    <a:pt x="1004" y="608"/>
                  </a:lnTo>
                  <a:lnTo>
                    <a:pt x="992" y="596"/>
                  </a:lnTo>
                  <a:lnTo>
                    <a:pt x="971" y="602"/>
                  </a:lnTo>
                  <a:lnTo>
                    <a:pt x="962" y="585"/>
                  </a:lnTo>
                  <a:lnTo>
                    <a:pt x="948" y="584"/>
                  </a:lnTo>
                  <a:lnTo>
                    <a:pt x="945" y="598"/>
                  </a:lnTo>
                  <a:lnTo>
                    <a:pt x="933" y="604"/>
                  </a:lnTo>
                  <a:lnTo>
                    <a:pt x="936" y="611"/>
                  </a:lnTo>
                  <a:lnTo>
                    <a:pt x="888" y="659"/>
                  </a:lnTo>
                  <a:lnTo>
                    <a:pt x="858" y="665"/>
                  </a:lnTo>
                  <a:lnTo>
                    <a:pt x="840" y="682"/>
                  </a:lnTo>
                  <a:lnTo>
                    <a:pt x="837" y="694"/>
                  </a:lnTo>
                  <a:lnTo>
                    <a:pt x="790" y="729"/>
                  </a:lnTo>
                  <a:lnTo>
                    <a:pt x="811" y="806"/>
                  </a:lnTo>
                  <a:lnTo>
                    <a:pt x="817" y="813"/>
                  </a:lnTo>
                  <a:lnTo>
                    <a:pt x="829" y="816"/>
                  </a:lnTo>
                  <a:lnTo>
                    <a:pt x="838" y="839"/>
                  </a:lnTo>
                  <a:lnTo>
                    <a:pt x="841" y="851"/>
                  </a:lnTo>
                  <a:lnTo>
                    <a:pt x="847" y="857"/>
                  </a:lnTo>
                  <a:lnTo>
                    <a:pt x="849" y="874"/>
                  </a:lnTo>
                  <a:lnTo>
                    <a:pt x="867" y="896"/>
                  </a:lnTo>
                  <a:lnTo>
                    <a:pt x="882" y="902"/>
                  </a:lnTo>
                  <a:lnTo>
                    <a:pt x="900" y="913"/>
                  </a:lnTo>
                  <a:lnTo>
                    <a:pt x="908" y="916"/>
                  </a:lnTo>
                  <a:lnTo>
                    <a:pt x="920" y="910"/>
                  </a:lnTo>
                  <a:lnTo>
                    <a:pt x="930" y="914"/>
                  </a:lnTo>
                  <a:lnTo>
                    <a:pt x="930" y="949"/>
                  </a:lnTo>
                  <a:lnTo>
                    <a:pt x="920" y="951"/>
                  </a:lnTo>
                  <a:lnTo>
                    <a:pt x="918" y="960"/>
                  </a:lnTo>
                  <a:lnTo>
                    <a:pt x="906" y="966"/>
                  </a:lnTo>
                  <a:lnTo>
                    <a:pt x="909" y="943"/>
                  </a:lnTo>
                  <a:lnTo>
                    <a:pt x="894" y="925"/>
                  </a:lnTo>
                  <a:lnTo>
                    <a:pt x="878" y="917"/>
                  </a:lnTo>
                  <a:lnTo>
                    <a:pt x="866" y="905"/>
                  </a:lnTo>
                  <a:lnTo>
                    <a:pt x="846" y="886"/>
                  </a:lnTo>
                  <a:lnTo>
                    <a:pt x="811" y="881"/>
                  </a:lnTo>
                  <a:lnTo>
                    <a:pt x="796" y="868"/>
                  </a:lnTo>
                  <a:lnTo>
                    <a:pt x="792" y="878"/>
                  </a:lnTo>
                  <a:lnTo>
                    <a:pt x="781" y="878"/>
                  </a:lnTo>
                  <a:lnTo>
                    <a:pt x="769" y="869"/>
                  </a:lnTo>
                  <a:lnTo>
                    <a:pt x="757" y="869"/>
                  </a:lnTo>
                  <a:lnTo>
                    <a:pt x="734" y="854"/>
                  </a:lnTo>
                  <a:lnTo>
                    <a:pt x="716" y="851"/>
                  </a:lnTo>
                  <a:lnTo>
                    <a:pt x="709" y="845"/>
                  </a:lnTo>
                  <a:lnTo>
                    <a:pt x="709" y="854"/>
                  </a:lnTo>
                  <a:lnTo>
                    <a:pt x="698" y="857"/>
                  </a:lnTo>
                  <a:lnTo>
                    <a:pt x="689" y="869"/>
                  </a:lnTo>
                  <a:lnTo>
                    <a:pt x="682" y="869"/>
                  </a:lnTo>
                  <a:lnTo>
                    <a:pt x="683" y="860"/>
                  </a:lnTo>
                  <a:lnTo>
                    <a:pt x="679" y="853"/>
                  </a:lnTo>
                  <a:lnTo>
                    <a:pt x="701" y="848"/>
                  </a:lnTo>
                  <a:lnTo>
                    <a:pt x="698" y="840"/>
                  </a:lnTo>
                  <a:lnTo>
                    <a:pt x="680" y="833"/>
                  </a:lnTo>
                  <a:lnTo>
                    <a:pt x="669" y="837"/>
                  </a:lnTo>
                  <a:lnTo>
                    <a:pt x="660" y="824"/>
                  </a:lnTo>
                  <a:lnTo>
                    <a:pt x="659" y="812"/>
                  </a:lnTo>
                  <a:lnTo>
                    <a:pt x="618" y="792"/>
                  </a:lnTo>
                  <a:lnTo>
                    <a:pt x="606" y="800"/>
                  </a:lnTo>
                  <a:lnTo>
                    <a:pt x="605" y="822"/>
                  </a:lnTo>
                  <a:lnTo>
                    <a:pt x="583" y="837"/>
                  </a:lnTo>
                  <a:lnTo>
                    <a:pt x="585" y="859"/>
                  </a:lnTo>
                  <a:lnTo>
                    <a:pt x="600" y="866"/>
                  </a:lnTo>
                  <a:lnTo>
                    <a:pt x="623" y="905"/>
                  </a:lnTo>
                  <a:lnTo>
                    <a:pt x="636" y="910"/>
                  </a:lnTo>
                  <a:lnTo>
                    <a:pt x="657" y="899"/>
                  </a:lnTo>
                  <a:lnTo>
                    <a:pt x="668" y="899"/>
                  </a:lnTo>
                  <a:lnTo>
                    <a:pt x="669" y="914"/>
                  </a:lnTo>
                  <a:lnTo>
                    <a:pt x="682" y="928"/>
                  </a:lnTo>
                  <a:lnTo>
                    <a:pt x="675" y="940"/>
                  </a:lnTo>
                  <a:lnTo>
                    <a:pt x="686" y="970"/>
                  </a:lnTo>
                  <a:lnTo>
                    <a:pt x="701" y="979"/>
                  </a:lnTo>
                  <a:lnTo>
                    <a:pt x="689" y="987"/>
                  </a:lnTo>
                  <a:lnTo>
                    <a:pt x="680" y="976"/>
                  </a:lnTo>
                  <a:lnTo>
                    <a:pt x="656" y="979"/>
                  </a:lnTo>
                  <a:lnTo>
                    <a:pt x="650" y="991"/>
                  </a:lnTo>
                  <a:lnTo>
                    <a:pt x="641" y="994"/>
                  </a:lnTo>
                  <a:lnTo>
                    <a:pt x="632" y="985"/>
                  </a:lnTo>
                  <a:lnTo>
                    <a:pt x="612" y="985"/>
                  </a:lnTo>
                  <a:lnTo>
                    <a:pt x="591" y="976"/>
                  </a:lnTo>
                  <a:lnTo>
                    <a:pt x="583" y="970"/>
                  </a:lnTo>
                  <a:lnTo>
                    <a:pt x="567" y="966"/>
                  </a:lnTo>
                  <a:lnTo>
                    <a:pt x="562" y="943"/>
                  </a:lnTo>
                  <a:lnTo>
                    <a:pt x="549" y="939"/>
                  </a:lnTo>
                  <a:lnTo>
                    <a:pt x="540" y="920"/>
                  </a:lnTo>
                  <a:lnTo>
                    <a:pt x="529" y="911"/>
                  </a:lnTo>
                  <a:lnTo>
                    <a:pt x="523" y="922"/>
                  </a:lnTo>
                  <a:lnTo>
                    <a:pt x="513" y="926"/>
                  </a:lnTo>
                  <a:lnTo>
                    <a:pt x="499" y="914"/>
                  </a:lnTo>
                  <a:lnTo>
                    <a:pt x="490" y="908"/>
                  </a:lnTo>
                  <a:lnTo>
                    <a:pt x="487" y="899"/>
                  </a:lnTo>
                  <a:lnTo>
                    <a:pt x="460" y="898"/>
                  </a:lnTo>
                  <a:lnTo>
                    <a:pt x="445" y="939"/>
                  </a:lnTo>
                  <a:lnTo>
                    <a:pt x="446" y="966"/>
                  </a:lnTo>
                  <a:lnTo>
                    <a:pt x="449" y="972"/>
                  </a:lnTo>
                  <a:lnTo>
                    <a:pt x="457" y="976"/>
                  </a:lnTo>
                  <a:lnTo>
                    <a:pt x="481" y="1003"/>
                  </a:lnTo>
                  <a:lnTo>
                    <a:pt x="487" y="1012"/>
                  </a:lnTo>
                  <a:lnTo>
                    <a:pt x="494" y="1014"/>
                  </a:lnTo>
                  <a:lnTo>
                    <a:pt x="496" y="1032"/>
                  </a:lnTo>
                  <a:lnTo>
                    <a:pt x="519" y="1035"/>
                  </a:lnTo>
                  <a:lnTo>
                    <a:pt x="525" y="1043"/>
                  </a:lnTo>
                  <a:lnTo>
                    <a:pt x="499" y="1049"/>
                  </a:lnTo>
                  <a:lnTo>
                    <a:pt x="490" y="1044"/>
                  </a:lnTo>
                  <a:lnTo>
                    <a:pt x="491" y="1067"/>
                  </a:lnTo>
                  <a:lnTo>
                    <a:pt x="494" y="1082"/>
                  </a:lnTo>
                  <a:lnTo>
                    <a:pt x="488" y="1092"/>
                  </a:lnTo>
                  <a:lnTo>
                    <a:pt x="482" y="1085"/>
                  </a:lnTo>
                  <a:lnTo>
                    <a:pt x="479" y="1049"/>
                  </a:lnTo>
                  <a:lnTo>
                    <a:pt x="469" y="1049"/>
                  </a:lnTo>
                  <a:lnTo>
                    <a:pt x="457" y="1006"/>
                  </a:lnTo>
                  <a:lnTo>
                    <a:pt x="452" y="1009"/>
                  </a:lnTo>
                  <a:lnTo>
                    <a:pt x="452" y="1022"/>
                  </a:lnTo>
                  <a:lnTo>
                    <a:pt x="439" y="1011"/>
                  </a:lnTo>
                  <a:lnTo>
                    <a:pt x="445" y="1000"/>
                  </a:lnTo>
                  <a:lnTo>
                    <a:pt x="445" y="973"/>
                  </a:lnTo>
                  <a:lnTo>
                    <a:pt x="442" y="939"/>
                  </a:lnTo>
                  <a:lnTo>
                    <a:pt x="458" y="896"/>
                  </a:lnTo>
                  <a:lnTo>
                    <a:pt x="481" y="884"/>
                  </a:lnTo>
                  <a:lnTo>
                    <a:pt x="490" y="877"/>
                  </a:lnTo>
                  <a:lnTo>
                    <a:pt x="476" y="860"/>
                  </a:lnTo>
                  <a:lnTo>
                    <a:pt x="484" y="848"/>
                  </a:lnTo>
                  <a:lnTo>
                    <a:pt x="482" y="831"/>
                  </a:lnTo>
                  <a:lnTo>
                    <a:pt x="470" y="836"/>
                  </a:lnTo>
                  <a:lnTo>
                    <a:pt x="458" y="786"/>
                  </a:lnTo>
                  <a:lnTo>
                    <a:pt x="451" y="782"/>
                  </a:lnTo>
                  <a:lnTo>
                    <a:pt x="451" y="771"/>
                  </a:lnTo>
                  <a:lnTo>
                    <a:pt x="439" y="765"/>
                  </a:lnTo>
                  <a:lnTo>
                    <a:pt x="445" y="753"/>
                  </a:lnTo>
                  <a:lnTo>
                    <a:pt x="461" y="754"/>
                  </a:lnTo>
                  <a:lnTo>
                    <a:pt x="463" y="729"/>
                  </a:lnTo>
                  <a:lnTo>
                    <a:pt x="469" y="723"/>
                  </a:lnTo>
                  <a:lnTo>
                    <a:pt x="461" y="705"/>
                  </a:lnTo>
                  <a:lnTo>
                    <a:pt x="475" y="682"/>
                  </a:lnTo>
                  <a:lnTo>
                    <a:pt x="469" y="676"/>
                  </a:lnTo>
                  <a:lnTo>
                    <a:pt x="463" y="656"/>
                  </a:lnTo>
                  <a:lnTo>
                    <a:pt x="443" y="646"/>
                  </a:lnTo>
                  <a:lnTo>
                    <a:pt x="431" y="647"/>
                  </a:lnTo>
                  <a:lnTo>
                    <a:pt x="434" y="635"/>
                  </a:lnTo>
                  <a:lnTo>
                    <a:pt x="425" y="626"/>
                  </a:lnTo>
                  <a:lnTo>
                    <a:pt x="404" y="620"/>
                  </a:lnTo>
                  <a:lnTo>
                    <a:pt x="387" y="623"/>
                  </a:lnTo>
                  <a:lnTo>
                    <a:pt x="380" y="614"/>
                  </a:lnTo>
                  <a:lnTo>
                    <a:pt x="398" y="611"/>
                  </a:lnTo>
                  <a:lnTo>
                    <a:pt x="401" y="602"/>
                  </a:lnTo>
                  <a:lnTo>
                    <a:pt x="374" y="584"/>
                  </a:lnTo>
                  <a:lnTo>
                    <a:pt x="359" y="584"/>
                  </a:lnTo>
                  <a:lnTo>
                    <a:pt x="359" y="573"/>
                  </a:lnTo>
                  <a:lnTo>
                    <a:pt x="368" y="566"/>
                  </a:lnTo>
                  <a:lnTo>
                    <a:pt x="351" y="558"/>
                  </a:lnTo>
                  <a:lnTo>
                    <a:pt x="341" y="543"/>
                  </a:lnTo>
                  <a:lnTo>
                    <a:pt x="332" y="540"/>
                  </a:lnTo>
                  <a:lnTo>
                    <a:pt x="324" y="521"/>
                  </a:lnTo>
                  <a:lnTo>
                    <a:pt x="327" y="504"/>
                  </a:lnTo>
                  <a:lnTo>
                    <a:pt x="317" y="507"/>
                  </a:lnTo>
                  <a:lnTo>
                    <a:pt x="304" y="492"/>
                  </a:lnTo>
                  <a:lnTo>
                    <a:pt x="297" y="489"/>
                  </a:lnTo>
                  <a:lnTo>
                    <a:pt x="300" y="486"/>
                  </a:lnTo>
                  <a:lnTo>
                    <a:pt x="332" y="486"/>
                  </a:lnTo>
                  <a:lnTo>
                    <a:pt x="348" y="498"/>
                  </a:lnTo>
                  <a:lnTo>
                    <a:pt x="356" y="530"/>
                  </a:lnTo>
                  <a:lnTo>
                    <a:pt x="369" y="533"/>
                  </a:lnTo>
                  <a:lnTo>
                    <a:pt x="372" y="542"/>
                  </a:lnTo>
                  <a:lnTo>
                    <a:pt x="395" y="549"/>
                  </a:lnTo>
                  <a:lnTo>
                    <a:pt x="396" y="543"/>
                  </a:lnTo>
                  <a:lnTo>
                    <a:pt x="416" y="560"/>
                  </a:lnTo>
                  <a:lnTo>
                    <a:pt x="425" y="546"/>
                  </a:lnTo>
                  <a:lnTo>
                    <a:pt x="436" y="545"/>
                  </a:lnTo>
                  <a:lnTo>
                    <a:pt x="439" y="552"/>
                  </a:lnTo>
                  <a:lnTo>
                    <a:pt x="452" y="555"/>
                  </a:lnTo>
                  <a:lnTo>
                    <a:pt x="446" y="572"/>
                  </a:lnTo>
                  <a:lnTo>
                    <a:pt x="463" y="585"/>
                  </a:lnTo>
                  <a:lnTo>
                    <a:pt x="473" y="569"/>
                  </a:lnTo>
                  <a:lnTo>
                    <a:pt x="493" y="587"/>
                  </a:lnTo>
                  <a:lnTo>
                    <a:pt x="510" y="585"/>
                  </a:lnTo>
                  <a:lnTo>
                    <a:pt x="517" y="602"/>
                  </a:lnTo>
                  <a:lnTo>
                    <a:pt x="523" y="596"/>
                  </a:lnTo>
                  <a:lnTo>
                    <a:pt x="546" y="610"/>
                  </a:lnTo>
                  <a:lnTo>
                    <a:pt x="555" y="605"/>
                  </a:lnTo>
                  <a:lnTo>
                    <a:pt x="582" y="617"/>
                  </a:lnTo>
                  <a:lnTo>
                    <a:pt x="624" y="622"/>
                  </a:lnTo>
                  <a:lnTo>
                    <a:pt x="671" y="646"/>
                  </a:lnTo>
                  <a:lnTo>
                    <a:pt x="730" y="652"/>
                  </a:lnTo>
                  <a:lnTo>
                    <a:pt x="777" y="634"/>
                  </a:lnTo>
                  <a:lnTo>
                    <a:pt x="823" y="611"/>
                  </a:lnTo>
                  <a:lnTo>
                    <a:pt x="866" y="549"/>
                  </a:lnTo>
                  <a:lnTo>
                    <a:pt x="893" y="493"/>
                  </a:lnTo>
                  <a:lnTo>
                    <a:pt x="890" y="472"/>
                  </a:lnTo>
                  <a:lnTo>
                    <a:pt x="878" y="480"/>
                  </a:lnTo>
                  <a:lnTo>
                    <a:pt x="875" y="469"/>
                  </a:lnTo>
                  <a:lnTo>
                    <a:pt x="878" y="436"/>
                  </a:lnTo>
                  <a:lnTo>
                    <a:pt x="867" y="424"/>
                  </a:lnTo>
                  <a:lnTo>
                    <a:pt x="873" y="394"/>
                  </a:lnTo>
                  <a:lnTo>
                    <a:pt x="856" y="388"/>
                  </a:lnTo>
                  <a:lnTo>
                    <a:pt x="843" y="376"/>
                  </a:lnTo>
                  <a:lnTo>
                    <a:pt x="834" y="386"/>
                  </a:lnTo>
                  <a:lnTo>
                    <a:pt x="826" y="376"/>
                  </a:lnTo>
                  <a:lnTo>
                    <a:pt x="829" y="364"/>
                  </a:lnTo>
                  <a:lnTo>
                    <a:pt x="820" y="358"/>
                  </a:lnTo>
                  <a:lnTo>
                    <a:pt x="819" y="350"/>
                  </a:lnTo>
                  <a:lnTo>
                    <a:pt x="789" y="320"/>
                  </a:lnTo>
                  <a:lnTo>
                    <a:pt x="790" y="335"/>
                  </a:lnTo>
                  <a:lnTo>
                    <a:pt x="780" y="326"/>
                  </a:lnTo>
                  <a:lnTo>
                    <a:pt x="745" y="312"/>
                  </a:lnTo>
                  <a:lnTo>
                    <a:pt x="736" y="300"/>
                  </a:lnTo>
                  <a:lnTo>
                    <a:pt x="736" y="291"/>
                  </a:lnTo>
                  <a:lnTo>
                    <a:pt x="716" y="275"/>
                  </a:lnTo>
                  <a:lnTo>
                    <a:pt x="716" y="285"/>
                  </a:lnTo>
                  <a:lnTo>
                    <a:pt x="727" y="296"/>
                  </a:lnTo>
                  <a:lnTo>
                    <a:pt x="722" y="299"/>
                  </a:lnTo>
                  <a:lnTo>
                    <a:pt x="713" y="290"/>
                  </a:lnTo>
                  <a:lnTo>
                    <a:pt x="704" y="285"/>
                  </a:lnTo>
                  <a:lnTo>
                    <a:pt x="700" y="272"/>
                  </a:lnTo>
                  <a:lnTo>
                    <a:pt x="653" y="223"/>
                  </a:lnTo>
                  <a:lnTo>
                    <a:pt x="633" y="210"/>
                  </a:lnTo>
                  <a:lnTo>
                    <a:pt x="630" y="199"/>
                  </a:lnTo>
                  <a:lnTo>
                    <a:pt x="612" y="193"/>
                  </a:lnTo>
                  <a:lnTo>
                    <a:pt x="602" y="180"/>
                  </a:lnTo>
                  <a:lnTo>
                    <a:pt x="588" y="174"/>
                  </a:lnTo>
                  <a:lnTo>
                    <a:pt x="576" y="162"/>
                  </a:lnTo>
                  <a:lnTo>
                    <a:pt x="562" y="152"/>
                  </a:lnTo>
                  <a:lnTo>
                    <a:pt x="544" y="154"/>
                  </a:lnTo>
                  <a:lnTo>
                    <a:pt x="538" y="140"/>
                  </a:lnTo>
                  <a:lnTo>
                    <a:pt x="535" y="146"/>
                  </a:lnTo>
                  <a:lnTo>
                    <a:pt x="522" y="136"/>
                  </a:lnTo>
                  <a:lnTo>
                    <a:pt x="498" y="128"/>
                  </a:lnTo>
                  <a:lnTo>
                    <a:pt x="494" y="140"/>
                  </a:lnTo>
                  <a:lnTo>
                    <a:pt x="487" y="146"/>
                  </a:lnTo>
                  <a:lnTo>
                    <a:pt x="481" y="134"/>
                  </a:lnTo>
                  <a:lnTo>
                    <a:pt x="452" y="128"/>
                  </a:lnTo>
                  <a:lnTo>
                    <a:pt x="418" y="119"/>
                  </a:lnTo>
                  <a:lnTo>
                    <a:pt x="410" y="125"/>
                  </a:lnTo>
                  <a:lnTo>
                    <a:pt x="398" y="127"/>
                  </a:lnTo>
                  <a:lnTo>
                    <a:pt x="392" y="157"/>
                  </a:lnTo>
                  <a:lnTo>
                    <a:pt x="368" y="168"/>
                  </a:lnTo>
                  <a:lnTo>
                    <a:pt x="360" y="211"/>
                  </a:lnTo>
                  <a:lnTo>
                    <a:pt x="345" y="220"/>
                  </a:lnTo>
                  <a:lnTo>
                    <a:pt x="339" y="208"/>
                  </a:lnTo>
                  <a:lnTo>
                    <a:pt x="356" y="193"/>
                  </a:lnTo>
                  <a:lnTo>
                    <a:pt x="357" y="163"/>
                  </a:lnTo>
                  <a:lnTo>
                    <a:pt x="365" y="156"/>
                  </a:lnTo>
                  <a:lnTo>
                    <a:pt x="380" y="149"/>
                  </a:lnTo>
                  <a:lnTo>
                    <a:pt x="386" y="133"/>
                  </a:lnTo>
                  <a:lnTo>
                    <a:pt x="371" y="118"/>
                  </a:lnTo>
                  <a:lnTo>
                    <a:pt x="369" y="100"/>
                  </a:lnTo>
                  <a:lnTo>
                    <a:pt x="351" y="118"/>
                  </a:lnTo>
                  <a:lnTo>
                    <a:pt x="348" y="112"/>
                  </a:lnTo>
                  <a:lnTo>
                    <a:pt x="359" y="91"/>
                  </a:lnTo>
                  <a:lnTo>
                    <a:pt x="327" y="88"/>
                  </a:lnTo>
                  <a:lnTo>
                    <a:pt x="312" y="98"/>
                  </a:lnTo>
                  <a:lnTo>
                    <a:pt x="304" y="91"/>
                  </a:lnTo>
                  <a:lnTo>
                    <a:pt x="320" y="79"/>
                  </a:lnTo>
                  <a:lnTo>
                    <a:pt x="309" y="76"/>
                  </a:lnTo>
                  <a:lnTo>
                    <a:pt x="304" y="70"/>
                  </a:lnTo>
                  <a:lnTo>
                    <a:pt x="292" y="79"/>
                  </a:lnTo>
                  <a:lnTo>
                    <a:pt x="288" y="63"/>
                  </a:lnTo>
                  <a:lnTo>
                    <a:pt x="300" y="48"/>
                  </a:lnTo>
                  <a:lnTo>
                    <a:pt x="320" y="65"/>
                  </a:lnTo>
                  <a:lnTo>
                    <a:pt x="345" y="70"/>
                  </a:lnTo>
                  <a:lnTo>
                    <a:pt x="362" y="41"/>
                  </a:lnTo>
                  <a:lnTo>
                    <a:pt x="353" y="41"/>
                  </a:lnTo>
                  <a:lnTo>
                    <a:pt x="347" y="32"/>
                  </a:lnTo>
                  <a:lnTo>
                    <a:pt x="336" y="32"/>
                  </a:lnTo>
                  <a:lnTo>
                    <a:pt x="321" y="12"/>
                  </a:lnTo>
                  <a:lnTo>
                    <a:pt x="291" y="0"/>
                  </a:lnTo>
                  <a:lnTo>
                    <a:pt x="289" y="8"/>
                  </a:lnTo>
                  <a:lnTo>
                    <a:pt x="294" y="18"/>
                  </a:lnTo>
                  <a:lnTo>
                    <a:pt x="288" y="32"/>
                  </a:lnTo>
                  <a:lnTo>
                    <a:pt x="277" y="27"/>
                  </a:lnTo>
                  <a:lnTo>
                    <a:pt x="273" y="47"/>
                  </a:lnTo>
                  <a:lnTo>
                    <a:pt x="280" y="54"/>
                  </a:lnTo>
                  <a:lnTo>
                    <a:pt x="267" y="56"/>
                  </a:lnTo>
                  <a:lnTo>
                    <a:pt x="250" y="73"/>
                  </a:lnTo>
                  <a:lnTo>
                    <a:pt x="247" y="68"/>
                  </a:lnTo>
                  <a:lnTo>
                    <a:pt x="258" y="56"/>
                  </a:lnTo>
                  <a:lnTo>
                    <a:pt x="253" y="45"/>
                  </a:lnTo>
                  <a:lnTo>
                    <a:pt x="232" y="39"/>
                  </a:lnTo>
                  <a:lnTo>
                    <a:pt x="217" y="41"/>
                  </a:lnTo>
                  <a:lnTo>
                    <a:pt x="217" y="82"/>
                  </a:lnTo>
                  <a:lnTo>
                    <a:pt x="209" y="91"/>
                  </a:lnTo>
                  <a:lnTo>
                    <a:pt x="179" y="76"/>
                  </a:lnTo>
                  <a:lnTo>
                    <a:pt x="163" y="103"/>
                  </a:lnTo>
                  <a:lnTo>
                    <a:pt x="125" y="118"/>
                  </a:lnTo>
                  <a:lnTo>
                    <a:pt x="125" y="125"/>
                  </a:lnTo>
                  <a:lnTo>
                    <a:pt x="117" y="151"/>
                  </a:lnTo>
                  <a:lnTo>
                    <a:pt x="99" y="165"/>
                  </a:lnTo>
                  <a:lnTo>
                    <a:pt x="77" y="186"/>
                  </a:lnTo>
                  <a:lnTo>
                    <a:pt x="68" y="190"/>
                  </a:lnTo>
                  <a:lnTo>
                    <a:pt x="45" y="202"/>
                  </a:lnTo>
                  <a:lnTo>
                    <a:pt x="62" y="213"/>
                  </a:lnTo>
                  <a:lnTo>
                    <a:pt x="47" y="254"/>
                  </a:lnTo>
                  <a:lnTo>
                    <a:pt x="84" y="303"/>
                  </a:lnTo>
                  <a:lnTo>
                    <a:pt x="108" y="320"/>
                  </a:lnTo>
                  <a:lnTo>
                    <a:pt x="122" y="338"/>
                  </a:lnTo>
                  <a:lnTo>
                    <a:pt x="128" y="355"/>
                  </a:lnTo>
                  <a:lnTo>
                    <a:pt x="143" y="380"/>
                  </a:lnTo>
                  <a:lnTo>
                    <a:pt x="170" y="394"/>
                  </a:lnTo>
                  <a:lnTo>
                    <a:pt x="101" y="519"/>
                  </a:lnTo>
                  <a:lnTo>
                    <a:pt x="105" y="557"/>
                  </a:lnTo>
                  <a:lnTo>
                    <a:pt x="157" y="662"/>
                  </a:lnTo>
                  <a:lnTo>
                    <a:pt x="158" y="685"/>
                  </a:lnTo>
                  <a:lnTo>
                    <a:pt x="173" y="708"/>
                  </a:lnTo>
                  <a:lnTo>
                    <a:pt x="172" y="717"/>
                  </a:lnTo>
                  <a:lnTo>
                    <a:pt x="149" y="721"/>
                  </a:lnTo>
                  <a:lnTo>
                    <a:pt x="148" y="732"/>
                  </a:lnTo>
                  <a:lnTo>
                    <a:pt x="154" y="753"/>
                  </a:lnTo>
                  <a:lnTo>
                    <a:pt x="143" y="777"/>
                  </a:lnTo>
                  <a:lnTo>
                    <a:pt x="155" y="810"/>
                  </a:lnTo>
                  <a:lnTo>
                    <a:pt x="139" y="842"/>
                  </a:lnTo>
                  <a:lnTo>
                    <a:pt x="151" y="862"/>
                  </a:lnTo>
                  <a:lnTo>
                    <a:pt x="170" y="860"/>
                  </a:lnTo>
                  <a:lnTo>
                    <a:pt x="172" y="875"/>
                  </a:lnTo>
                  <a:lnTo>
                    <a:pt x="166" y="881"/>
                  </a:lnTo>
                  <a:lnTo>
                    <a:pt x="167" y="917"/>
                  </a:lnTo>
                  <a:lnTo>
                    <a:pt x="187" y="932"/>
                  </a:lnTo>
                  <a:lnTo>
                    <a:pt x="196" y="932"/>
                  </a:lnTo>
                  <a:lnTo>
                    <a:pt x="193" y="985"/>
                  </a:lnTo>
                  <a:lnTo>
                    <a:pt x="164" y="1015"/>
                  </a:lnTo>
                  <a:lnTo>
                    <a:pt x="203" y="1055"/>
                  </a:lnTo>
                  <a:lnTo>
                    <a:pt x="240" y="1068"/>
                  </a:lnTo>
                  <a:lnTo>
                    <a:pt x="247" y="1089"/>
                  </a:lnTo>
                  <a:lnTo>
                    <a:pt x="262" y="1104"/>
                  </a:lnTo>
                  <a:lnTo>
                    <a:pt x="261" y="1133"/>
                  </a:lnTo>
                  <a:lnTo>
                    <a:pt x="240" y="1181"/>
                  </a:lnTo>
                  <a:lnTo>
                    <a:pt x="187" y="1243"/>
                  </a:lnTo>
                  <a:lnTo>
                    <a:pt x="129" y="1292"/>
                  </a:lnTo>
                  <a:lnTo>
                    <a:pt x="122" y="1328"/>
                  </a:lnTo>
                  <a:lnTo>
                    <a:pt x="44" y="1390"/>
                  </a:lnTo>
                  <a:lnTo>
                    <a:pt x="25" y="1433"/>
                  </a:lnTo>
                  <a:lnTo>
                    <a:pt x="33" y="1432"/>
                  </a:lnTo>
                  <a:lnTo>
                    <a:pt x="45" y="1441"/>
                  </a:lnTo>
                  <a:lnTo>
                    <a:pt x="60" y="1436"/>
                  </a:lnTo>
                  <a:lnTo>
                    <a:pt x="66" y="1427"/>
                  </a:lnTo>
                  <a:lnTo>
                    <a:pt x="81" y="1424"/>
                  </a:lnTo>
                  <a:lnTo>
                    <a:pt x="92" y="1412"/>
                  </a:lnTo>
                  <a:lnTo>
                    <a:pt x="95" y="1414"/>
                  </a:lnTo>
                  <a:lnTo>
                    <a:pt x="87" y="1427"/>
                  </a:lnTo>
                  <a:lnTo>
                    <a:pt x="96" y="1448"/>
                  </a:lnTo>
                  <a:lnTo>
                    <a:pt x="92" y="1451"/>
                  </a:lnTo>
                  <a:lnTo>
                    <a:pt x="77" y="1441"/>
                  </a:lnTo>
                  <a:lnTo>
                    <a:pt x="74" y="1445"/>
                  </a:lnTo>
                  <a:lnTo>
                    <a:pt x="80" y="1447"/>
                  </a:lnTo>
                  <a:lnTo>
                    <a:pt x="77" y="1456"/>
                  </a:lnTo>
                  <a:lnTo>
                    <a:pt x="86" y="1465"/>
                  </a:lnTo>
                  <a:lnTo>
                    <a:pt x="95" y="1462"/>
                  </a:lnTo>
                  <a:lnTo>
                    <a:pt x="117" y="1488"/>
                  </a:lnTo>
                  <a:lnTo>
                    <a:pt x="123" y="1488"/>
                  </a:lnTo>
                  <a:lnTo>
                    <a:pt x="142" y="1482"/>
                  </a:lnTo>
                  <a:lnTo>
                    <a:pt x="172" y="1489"/>
                  </a:lnTo>
                  <a:lnTo>
                    <a:pt x="176" y="1495"/>
                  </a:lnTo>
                  <a:lnTo>
                    <a:pt x="169" y="1500"/>
                  </a:lnTo>
                  <a:lnTo>
                    <a:pt x="194" y="1504"/>
                  </a:lnTo>
                  <a:lnTo>
                    <a:pt x="194" y="1507"/>
                  </a:lnTo>
                  <a:lnTo>
                    <a:pt x="188" y="1510"/>
                  </a:lnTo>
                  <a:lnTo>
                    <a:pt x="190" y="1513"/>
                  </a:lnTo>
                  <a:lnTo>
                    <a:pt x="190" y="1516"/>
                  </a:lnTo>
                  <a:lnTo>
                    <a:pt x="182" y="1518"/>
                  </a:lnTo>
                  <a:lnTo>
                    <a:pt x="152" y="1515"/>
                  </a:lnTo>
                  <a:lnTo>
                    <a:pt x="125" y="1515"/>
                  </a:lnTo>
                  <a:lnTo>
                    <a:pt x="116" y="1509"/>
                  </a:lnTo>
                  <a:lnTo>
                    <a:pt x="96" y="1537"/>
                  </a:lnTo>
                  <a:lnTo>
                    <a:pt x="84" y="1533"/>
                  </a:lnTo>
                  <a:lnTo>
                    <a:pt x="74" y="1537"/>
                  </a:lnTo>
                  <a:lnTo>
                    <a:pt x="66" y="1550"/>
                  </a:lnTo>
                  <a:lnTo>
                    <a:pt x="53" y="1536"/>
                  </a:lnTo>
                  <a:lnTo>
                    <a:pt x="45" y="1542"/>
                  </a:lnTo>
                  <a:lnTo>
                    <a:pt x="54" y="1562"/>
                  </a:lnTo>
                  <a:lnTo>
                    <a:pt x="48" y="1569"/>
                  </a:lnTo>
                  <a:lnTo>
                    <a:pt x="40" y="1580"/>
                  </a:lnTo>
                  <a:lnTo>
                    <a:pt x="48" y="1589"/>
                  </a:lnTo>
                  <a:lnTo>
                    <a:pt x="45" y="1620"/>
                  </a:lnTo>
                  <a:lnTo>
                    <a:pt x="36" y="1636"/>
                  </a:lnTo>
                  <a:lnTo>
                    <a:pt x="6" y="1651"/>
                  </a:lnTo>
                  <a:lnTo>
                    <a:pt x="0" y="1682"/>
                  </a:lnTo>
                  <a:lnTo>
                    <a:pt x="0" y="1682"/>
                  </a:lnTo>
                  <a:lnTo>
                    <a:pt x="6" y="1696"/>
                  </a:lnTo>
                  <a:lnTo>
                    <a:pt x="2018" y="1696"/>
                  </a:lnTo>
                  <a:lnTo>
                    <a:pt x="2018" y="1696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667" name="Freeform 8"/>
            <p:cNvSpPr>
              <a:spLocks/>
            </p:cNvSpPr>
            <p:nvPr userDrawn="1"/>
          </p:nvSpPr>
          <p:spPr bwMode="auto">
            <a:xfrm>
              <a:off x="7102" y="307"/>
              <a:ext cx="578" cy="2267"/>
            </a:xfrm>
            <a:custGeom>
              <a:avLst/>
              <a:gdLst>
                <a:gd name="T0" fmla="*/ 414 w 578"/>
                <a:gd name="T1" fmla="*/ 232 h 2267"/>
                <a:gd name="T2" fmla="*/ 270 w 578"/>
                <a:gd name="T3" fmla="*/ 398 h 2267"/>
                <a:gd name="T4" fmla="*/ 135 w 578"/>
                <a:gd name="T5" fmla="*/ 478 h 2267"/>
                <a:gd name="T6" fmla="*/ 124 w 578"/>
                <a:gd name="T7" fmla="*/ 650 h 2267"/>
                <a:gd name="T8" fmla="*/ 80 w 578"/>
                <a:gd name="T9" fmla="*/ 822 h 2267"/>
                <a:gd name="T10" fmla="*/ 85 w 578"/>
                <a:gd name="T11" fmla="*/ 925 h 2267"/>
                <a:gd name="T12" fmla="*/ 85 w 578"/>
                <a:gd name="T13" fmla="*/ 1112 h 2267"/>
                <a:gd name="T14" fmla="*/ 79 w 578"/>
                <a:gd name="T15" fmla="*/ 1489 h 2267"/>
                <a:gd name="T16" fmla="*/ 121 w 578"/>
                <a:gd name="T17" fmla="*/ 1804 h 2267"/>
                <a:gd name="T18" fmla="*/ 0 w 578"/>
                <a:gd name="T19" fmla="*/ 2014 h 2267"/>
                <a:gd name="T20" fmla="*/ 15 w 578"/>
                <a:gd name="T21" fmla="*/ 2224 h 2267"/>
                <a:gd name="T22" fmla="*/ 49 w 578"/>
                <a:gd name="T23" fmla="*/ 2206 h 2267"/>
                <a:gd name="T24" fmla="*/ 120 w 578"/>
                <a:gd name="T25" fmla="*/ 2267 h 2267"/>
                <a:gd name="T26" fmla="*/ 160 w 578"/>
                <a:gd name="T27" fmla="*/ 2264 h 2267"/>
                <a:gd name="T28" fmla="*/ 234 w 578"/>
                <a:gd name="T29" fmla="*/ 2237 h 2267"/>
                <a:gd name="T30" fmla="*/ 249 w 578"/>
                <a:gd name="T31" fmla="*/ 2183 h 2267"/>
                <a:gd name="T32" fmla="*/ 234 w 578"/>
                <a:gd name="T33" fmla="*/ 2171 h 2267"/>
                <a:gd name="T34" fmla="*/ 200 w 578"/>
                <a:gd name="T35" fmla="*/ 2162 h 2267"/>
                <a:gd name="T36" fmla="*/ 162 w 578"/>
                <a:gd name="T37" fmla="*/ 2154 h 2267"/>
                <a:gd name="T38" fmla="*/ 210 w 578"/>
                <a:gd name="T39" fmla="*/ 2074 h 2267"/>
                <a:gd name="T40" fmla="*/ 213 w 578"/>
                <a:gd name="T41" fmla="*/ 1999 h 2267"/>
                <a:gd name="T42" fmla="*/ 264 w 578"/>
                <a:gd name="T43" fmla="*/ 1979 h 2267"/>
                <a:gd name="T44" fmla="*/ 234 w 578"/>
                <a:gd name="T45" fmla="*/ 1937 h 2267"/>
                <a:gd name="T46" fmla="*/ 239 w 578"/>
                <a:gd name="T47" fmla="*/ 1919 h 2267"/>
                <a:gd name="T48" fmla="*/ 243 w 578"/>
                <a:gd name="T49" fmla="*/ 1889 h 2267"/>
                <a:gd name="T50" fmla="*/ 242 w 578"/>
                <a:gd name="T51" fmla="*/ 1862 h 2267"/>
                <a:gd name="T52" fmla="*/ 319 w 578"/>
                <a:gd name="T53" fmla="*/ 1884 h 2267"/>
                <a:gd name="T54" fmla="*/ 534 w 578"/>
                <a:gd name="T55" fmla="*/ 1819 h 2267"/>
                <a:gd name="T56" fmla="*/ 578 w 578"/>
                <a:gd name="T57" fmla="*/ 1813 h 2267"/>
                <a:gd name="T58" fmla="*/ 568 w 578"/>
                <a:gd name="T59" fmla="*/ 306 h 2267"/>
                <a:gd name="T60" fmla="*/ 575 w 578"/>
                <a:gd name="T61" fmla="*/ 279 h 2267"/>
                <a:gd name="T62" fmla="*/ 578 w 578"/>
                <a:gd name="T63" fmla="*/ 0 h 2267"/>
                <a:gd name="T64" fmla="*/ 525 w 578"/>
                <a:gd name="T65" fmla="*/ 205 h 2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78" h="2267">
                  <a:moveTo>
                    <a:pt x="525" y="205"/>
                  </a:moveTo>
                  <a:lnTo>
                    <a:pt x="414" y="232"/>
                  </a:lnTo>
                  <a:lnTo>
                    <a:pt x="331" y="345"/>
                  </a:lnTo>
                  <a:lnTo>
                    <a:pt x="270" y="398"/>
                  </a:lnTo>
                  <a:lnTo>
                    <a:pt x="209" y="460"/>
                  </a:lnTo>
                  <a:lnTo>
                    <a:pt x="135" y="478"/>
                  </a:lnTo>
                  <a:lnTo>
                    <a:pt x="114" y="584"/>
                  </a:lnTo>
                  <a:lnTo>
                    <a:pt x="124" y="650"/>
                  </a:lnTo>
                  <a:lnTo>
                    <a:pt x="82" y="741"/>
                  </a:lnTo>
                  <a:lnTo>
                    <a:pt x="80" y="822"/>
                  </a:lnTo>
                  <a:lnTo>
                    <a:pt x="98" y="843"/>
                  </a:lnTo>
                  <a:lnTo>
                    <a:pt x="85" y="925"/>
                  </a:lnTo>
                  <a:lnTo>
                    <a:pt x="111" y="1002"/>
                  </a:lnTo>
                  <a:lnTo>
                    <a:pt x="85" y="1112"/>
                  </a:lnTo>
                  <a:lnTo>
                    <a:pt x="97" y="1305"/>
                  </a:lnTo>
                  <a:lnTo>
                    <a:pt x="79" y="1489"/>
                  </a:lnTo>
                  <a:lnTo>
                    <a:pt x="89" y="1647"/>
                  </a:lnTo>
                  <a:lnTo>
                    <a:pt x="121" y="1804"/>
                  </a:lnTo>
                  <a:lnTo>
                    <a:pt x="56" y="1889"/>
                  </a:lnTo>
                  <a:lnTo>
                    <a:pt x="0" y="2014"/>
                  </a:lnTo>
                  <a:lnTo>
                    <a:pt x="0" y="2224"/>
                  </a:lnTo>
                  <a:lnTo>
                    <a:pt x="15" y="2224"/>
                  </a:lnTo>
                  <a:lnTo>
                    <a:pt x="29" y="2206"/>
                  </a:lnTo>
                  <a:lnTo>
                    <a:pt x="49" y="2206"/>
                  </a:lnTo>
                  <a:lnTo>
                    <a:pt x="62" y="2233"/>
                  </a:lnTo>
                  <a:lnTo>
                    <a:pt x="120" y="2267"/>
                  </a:lnTo>
                  <a:lnTo>
                    <a:pt x="145" y="2245"/>
                  </a:lnTo>
                  <a:lnTo>
                    <a:pt x="160" y="2264"/>
                  </a:lnTo>
                  <a:lnTo>
                    <a:pt x="218" y="2248"/>
                  </a:lnTo>
                  <a:lnTo>
                    <a:pt x="234" y="2237"/>
                  </a:lnTo>
                  <a:lnTo>
                    <a:pt x="243" y="2190"/>
                  </a:lnTo>
                  <a:lnTo>
                    <a:pt x="249" y="2183"/>
                  </a:lnTo>
                  <a:lnTo>
                    <a:pt x="245" y="2172"/>
                  </a:lnTo>
                  <a:lnTo>
                    <a:pt x="234" y="2171"/>
                  </a:lnTo>
                  <a:lnTo>
                    <a:pt x="210" y="2168"/>
                  </a:lnTo>
                  <a:lnTo>
                    <a:pt x="200" y="2162"/>
                  </a:lnTo>
                  <a:lnTo>
                    <a:pt x="171" y="2163"/>
                  </a:lnTo>
                  <a:lnTo>
                    <a:pt x="162" y="2154"/>
                  </a:lnTo>
                  <a:lnTo>
                    <a:pt x="169" y="2126"/>
                  </a:lnTo>
                  <a:lnTo>
                    <a:pt x="210" y="2074"/>
                  </a:lnTo>
                  <a:lnTo>
                    <a:pt x="200" y="2024"/>
                  </a:lnTo>
                  <a:lnTo>
                    <a:pt x="213" y="1999"/>
                  </a:lnTo>
                  <a:lnTo>
                    <a:pt x="258" y="1991"/>
                  </a:lnTo>
                  <a:lnTo>
                    <a:pt x="264" y="1979"/>
                  </a:lnTo>
                  <a:lnTo>
                    <a:pt x="233" y="1958"/>
                  </a:lnTo>
                  <a:lnTo>
                    <a:pt x="234" y="1937"/>
                  </a:lnTo>
                  <a:lnTo>
                    <a:pt x="239" y="1931"/>
                  </a:lnTo>
                  <a:lnTo>
                    <a:pt x="239" y="1919"/>
                  </a:lnTo>
                  <a:lnTo>
                    <a:pt x="230" y="1904"/>
                  </a:lnTo>
                  <a:lnTo>
                    <a:pt x="243" y="1889"/>
                  </a:lnTo>
                  <a:lnTo>
                    <a:pt x="234" y="1880"/>
                  </a:lnTo>
                  <a:lnTo>
                    <a:pt x="242" y="1862"/>
                  </a:lnTo>
                  <a:lnTo>
                    <a:pt x="257" y="1875"/>
                  </a:lnTo>
                  <a:lnTo>
                    <a:pt x="319" y="1884"/>
                  </a:lnTo>
                  <a:lnTo>
                    <a:pt x="483" y="1846"/>
                  </a:lnTo>
                  <a:lnTo>
                    <a:pt x="534" y="1819"/>
                  </a:lnTo>
                  <a:lnTo>
                    <a:pt x="569" y="1815"/>
                  </a:lnTo>
                  <a:lnTo>
                    <a:pt x="578" y="1813"/>
                  </a:lnTo>
                  <a:lnTo>
                    <a:pt x="578" y="286"/>
                  </a:lnTo>
                  <a:lnTo>
                    <a:pt x="568" y="306"/>
                  </a:lnTo>
                  <a:lnTo>
                    <a:pt x="534" y="324"/>
                  </a:lnTo>
                  <a:lnTo>
                    <a:pt x="575" y="279"/>
                  </a:lnTo>
                  <a:lnTo>
                    <a:pt x="578" y="273"/>
                  </a:lnTo>
                  <a:lnTo>
                    <a:pt x="578" y="0"/>
                  </a:lnTo>
                  <a:lnTo>
                    <a:pt x="539" y="71"/>
                  </a:lnTo>
                  <a:lnTo>
                    <a:pt x="525" y="205"/>
                  </a:lnTo>
                  <a:lnTo>
                    <a:pt x="525" y="205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668" name="Freeform 9"/>
            <p:cNvSpPr>
              <a:spLocks/>
            </p:cNvSpPr>
            <p:nvPr userDrawn="1"/>
          </p:nvSpPr>
          <p:spPr bwMode="auto">
            <a:xfrm>
              <a:off x="7010" y="3015"/>
              <a:ext cx="670" cy="653"/>
            </a:xfrm>
            <a:custGeom>
              <a:avLst/>
              <a:gdLst>
                <a:gd name="T0" fmla="*/ 616 w 670"/>
                <a:gd name="T1" fmla="*/ 419 h 653"/>
                <a:gd name="T2" fmla="*/ 604 w 670"/>
                <a:gd name="T3" fmla="*/ 415 h 653"/>
                <a:gd name="T4" fmla="*/ 578 w 670"/>
                <a:gd name="T5" fmla="*/ 398 h 653"/>
                <a:gd name="T6" fmla="*/ 568 w 670"/>
                <a:gd name="T7" fmla="*/ 391 h 653"/>
                <a:gd name="T8" fmla="*/ 568 w 670"/>
                <a:gd name="T9" fmla="*/ 380 h 653"/>
                <a:gd name="T10" fmla="*/ 617 w 670"/>
                <a:gd name="T11" fmla="*/ 361 h 653"/>
                <a:gd name="T12" fmla="*/ 555 w 670"/>
                <a:gd name="T13" fmla="*/ 216 h 653"/>
                <a:gd name="T14" fmla="*/ 546 w 670"/>
                <a:gd name="T15" fmla="*/ 166 h 653"/>
                <a:gd name="T16" fmla="*/ 537 w 670"/>
                <a:gd name="T17" fmla="*/ 161 h 653"/>
                <a:gd name="T18" fmla="*/ 447 w 670"/>
                <a:gd name="T19" fmla="*/ 211 h 653"/>
                <a:gd name="T20" fmla="*/ 387 w 670"/>
                <a:gd name="T21" fmla="*/ 181 h 653"/>
                <a:gd name="T22" fmla="*/ 362 w 670"/>
                <a:gd name="T23" fmla="*/ 176 h 653"/>
                <a:gd name="T24" fmla="*/ 352 w 670"/>
                <a:gd name="T25" fmla="*/ 155 h 653"/>
                <a:gd name="T26" fmla="*/ 346 w 670"/>
                <a:gd name="T27" fmla="*/ 140 h 653"/>
                <a:gd name="T28" fmla="*/ 328 w 670"/>
                <a:gd name="T29" fmla="*/ 136 h 653"/>
                <a:gd name="T30" fmla="*/ 305 w 670"/>
                <a:gd name="T31" fmla="*/ 118 h 653"/>
                <a:gd name="T32" fmla="*/ 177 w 670"/>
                <a:gd name="T33" fmla="*/ 0 h 653"/>
                <a:gd name="T34" fmla="*/ 0 w 670"/>
                <a:gd name="T35" fmla="*/ 41 h 653"/>
                <a:gd name="T36" fmla="*/ 3 w 670"/>
                <a:gd name="T37" fmla="*/ 373 h 653"/>
                <a:gd name="T38" fmla="*/ 52 w 670"/>
                <a:gd name="T39" fmla="*/ 374 h 653"/>
                <a:gd name="T40" fmla="*/ 65 w 670"/>
                <a:gd name="T41" fmla="*/ 382 h 653"/>
                <a:gd name="T42" fmla="*/ 67 w 670"/>
                <a:gd name="T43" fmla="*/ 379 h 653"/>
                <a:gd name="T44" fmla="*/ 56 w 670"/>
                <a:gd name="T45" fmla="*/ 365 h 653"/>
                <a:gd name="T46" fmla="*/ 59 w 670"/>
                <a:gd name="T47" fmla="*/ 341 h 653"/>
                <a:gd name="T48" fmla="*/ 65 w 670"/>
                <a:gd name="T49" fmla="*/ 320 h 653"/>
                <a:gd name="T50" fmla="*/ 103 w 670"/>
                <a:gd name="T51" fmla="*/ 299 h 653"/>
                <a:gd name="T52" fmla="*/ 109 w 670"/>
                <a:gd name="T53" fmla="*/ 302 h 653"/>
                <a:gd name="T54" fmla="*/ 121 w 670"/>
                <a:gd name="T55" fmla="*/ 300 h 653"/>
                <a:gd name="T56" fmla="*/ 124 w 670"/>
                <a:gd name="T57" fmla="*/ 288 h 653"/>
                <a:gd name="T58" fmla="*/ 121 w 670"/>
                <a:gd name="T59" fmla="*/ 279 h 653"/>
                <a:gd name="T60" fmla="*/ 129 w 670"/>
                <a:gd name="T61" fmla="*/ 278 h 653"/>
                <a:gd name="T62" fmla="*/ 141 w 670"/>
                <a:gd name="T63" fmla="*/ 288 h 653"/>
                <a:gd name="T64" fmla="*/ 153 w 670"/>
                <a:gd name="T65" fmla="*/ 290 h 653"/>
                <a:gd name="T66" fmla="*/ 148 w 670"/>
                <a:gd name="T67" fmla="*/ 279 h 653"/>
                <a:gd name="T68" fmla="*/ 138 w 670"/>
                <a:gd name="T69" fmla="*/ 264 h 653"/>
                <a:gd name="T70" fmla="*/ 144 w 670"/>
                <a:gd name="T71" fmla="*/ 261 h 653"/>
                <a:gd name="T72" fmla="*/ 159 w 670"/>
                <a:gd name="T73" fmla="*/ 272 h 653"/>
                <a:gd name="T74" fmla="*/ 183 w 670"/>
                <a:gd name="T75" fmla="*/ 272 h 653"/>
                <a:gd name="T76" fmla="*/ 195 w 670"/>
                <a:gd name="T77" fmla="*/ 291 h 653"/>
                <a:gd name="T78" fmla="*/ 228 w 670"/>
                <a:gd name="T79" fmla="*/ 309 h 653"/>
                <a:gd name="T80" fmla="*/ 240 w 670"/>
                <a:gd name="T81" fmla="*/ 323 h 653"/>
                <a:gd name="T82" fmla="*/ 269 w 670"/>
                <a:gd name="T83" fmla="*/ 382 h 653"/>
                <a:gd name="T84" fmla="*/ 284 w 670"/>
                <a:gd name="T85" fmla="*/ 383 h 653"/>
                <a:gd name="T86" fmla="*/ 295 w 670"/>
                <a:gd name="T87" fmla="*/ 394 h 653"/>
                <a:gd name="T88" fmla="*/ 308 w 670"/>
                <a:gd name="T89" fmla="*/ 392 h 653"/>
                <a:gd name="T90" fmla="*/ 319 w 670"/>
                <a:gd name="T91" fmla="*/ 398 h 653"/>
                <a:gd name="T92" fmla="*/ 331 w 670"/>
                <a:gd name="T93" fmla="*/ 392 h 653"/>
                <a:gd name="T94" fmla="*/ 335 w 670"/>
                <a:gd name="T95" fmla="*/ 383 h 653"/>
                <a:gd name="T96" fmla="*/ 346 w 670"/>
                <a:gd name="T97" fmla="*/ 382 h 653"/>
                <a:gd name="T98" fmla="*/ 365 w 670"/>
                <a:gd name="T99" fmla="*/ 404 h 653"/>
                <a:gd name="T100" fmla="*/ 368 w 670"/>
                <a:gd name="T101" fmla="*/ 425 h 653"/>
                <a:gd name="T102" fmla="*/ 394 w 670"/>
                <a:gd name="T103" fmla="*/ 457 h 653"/>
                <a:gd name="T104" fmla="*/ 400 w 670"/>
                <a:gd name="T105" fmla="*/ 474 h 653"/>
                <a:gd name="T106" fmla="*/ 441 w 670"/>
                <a:gd name="T107" fmla="*/ 530 h 653"/>
                <a:gd name="T108" fmla="*/ 482 w 670"/>
                <a:gd name="T109" fmla="*/ 560 h 653"/>
                <a:gd name="T110" fmla="*/ 548 w 670"/>
                <a:gd name="T111" fmla="*/ 594 h 653"/>
                <a:gd name="T112" fmla="*/ 631 w 670"/>
                <a:gd name="T113" fmla="*/ 640 h 653"/>
                <a:gd name="T114" fmla="*/ 670 w 670"/>
                <a:gd name="T115" fmla="*/ 653 h 653"/>
                <a:gd name="T116" fmla="*/ 670 w 670"/>
                <a:gd name="T117" fmla="*/ 418 h 653"/>
                <a:gd name="T118" fmla="*/ 634 w 670"/>
                <a:gd name="T119" fmla="*/ 416 h 653"/>
                <a:gd name="T120" fmla="*/ 616 w 670"/>
                <a:gd name="T121" fmla="*/ 419 h 653"/>
                <a:gd name="T122" fmla="*/ 616 w 670"/>
                <a:gd name="T123" fmla="*/ 419 h 6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70" h="653">
                  <a:moveTo>
                    <a:pt x="616" y="419"/>
                  </a:moveTo>
                  <a:lnTo>
                    <a:pt x="604" y="415"/>
                  </a:lnTo>
                  <a:lnTo>
                    <a:pt x="578" y="398"/>
                  </a:lnTo>
                  <a:lnTo>
                    <a:pt x="568" y="391"/>
                  </a:lnTo>
                  <a:lnTo>
                    <a:pt x="568" y="380"/>
                  </a:lnTo>
                  <a:lnTo>
                    <a:pt x="617" y="361"/>
                  </a:lnTo>
                  <a:lnTo>
                    <a:pt x="555" y="216"/>
                  </a:lnTo>
                  <a:lnTo>
                    <a:pt x="546" y="166"/>
                  </a:lnTo>
                  <a:lnTo>
                    <a:pt x="537" y="161"/>
                  </a:lnTo>
                  <a:lnTo>
                    <a:pt x="447" y="211"/>
                  </a:lnTo>
                  <a:lnTo>
                    <a:pt x="387" y="181"/>
                  </a:lnTo>
                  <a:lnTo>
                    <a:pt x="362" y="176"/>
                  </a:lnTo>
                  <a:lnTo>
                    <a:pt x="352" y="155"/>
                  </a:lnTo>
                  <a:lnTo>
                    <a:pt x="346" y="140"/>
                  </a:lnTo>
                  <a:lnTo>
                    <a:pt x="328" y="136"/>
                  </a:lnTo>
                  <a:lnTo>
                    <a:pt x="305" y="118"/>
                  </a:lnTo>
                  <a:lnTo>
                    <a:pt x="177" y="0"/>
                  </a:lnTo>
                  <a:lnTo>
                    <a:pt x="0" y="41"/>
                  </a:lnTo>
                  <a:lnTo>
                    <a:pt x="3" y="373"/>
                  </a:lnTo>
                  <a:lnTo>
                    <a:pt x="52" y="374"/>
                  </a:lnTo>
                  <a:lnTo>
                    <a:pt x="65" y="382"/>
                  </a:lnTo>
                  <a:lnTo>
                    <a:pt x="67" y="379"/>
                  </a:lnTo>
                  <a:lnTo>
                    <a:pt x="56" y="365"/>
                  </a:lnTo>
                  <a:lnTo>
                    <a:pt x="59" y="341"/>
                  </a:lnTo>
                  <a:lnTo>
                    <a:pt x="65" y="320"/>
                  </a:lnTo>
                  <a:lnTo>
                    <a:pt x="103" y="299"/>
                  </a:lnTo>
                  <a:lnTo>
                    <a:pt x="109" y="302"/>
                  </a:lnTo>
                  <a:lnTo>
                    <a:pt x="121" y="300"/>
                  </a:lnTo>
                  <a:lnTo>
                    <a:pt x="124" y="288"/>
                  </a:lnTo>
                  <a:lnTo>
                    <a:pt x="121" y="279"/>
                  </a:lnTo>
                  <a:lnTo>
                    <a:pt x="129" y="278"/>
                  </a:lnTo>
                  <a:lnTo>
                    <a:pt x="141" y="288"/>
                  </a:lnTo>
                  <a:lnTo>
                    <a:pt x="153" y="290"/>
                  </a:lnTo>
                  <a:lnTo>
                    <a:pt x="148" y="279"/>
                  </a:lnTo>
                  <a:lnTo>
                    <a:pt x="138" y="264"/>
                  </a:lnTo>
                  <a:lnTo>
                    <a:pt x="144" y="261"/>
                  </a:lnTo>
                  <a:lnTo>
                    <a:pt x="159" y="272"/>
                  </a:lnTo>
                  <a:lnTo>
                    <a:pt x="183" y="272"/>
                  </a:lnTo>
                  <a:lnTo>
                    <a:pt x="195" y="291"/>
                  </a:lnTo>
                  <a:lnTo>
                    <a:pt x="228" y="309"/>
                  </a:lnTo>
                  <a:lnTo>
                    <a:pt x="240" y="323"/>
                  </a:lnTo>
                  <a:lnTo>
                    <a:pt x="269" y="382"/>
                  </a:lnTo>
                  <a:lnTo>
                    <a:pt x="284" y="383"/>
                  </a:lnTo>
                  <a:lnTo>
                    <a:pt x="295" y="394"/>
                  </a:lnTo>
                  <a:lnTo>
                    <a:pt x="308" y="392"/>
                  </a:lnTo>
                  <a:lnTo>
                    <a:pt x="319" y="398"/>
                  </a:lnTo>
                  <a:lnTo>
                    <a:pt x="331" y="392"/>
                  </a:lnTo>
                  <a:lnTo>
                    <a:pt x="335" y="383"/>
                  </a:lnTo>
                  <a:lnTo>
                    <a:pt x="346" y="382"/>
                  </a:lnTo>
                  <a:lnTo>
                    <a:pt x="365" y="404"/>
                  </a:lnTo>
                  <a:lnTo>
                    <a:pt x="368" y="425"/>
                  </a:lnTo>
                  <a:lnTo>
                    <a:pt x="394" y="457"/>
                  </a:lnTo>
                  <a:lnTo>
                    <a:pt x="400" y="474"/>
                  </a:lnTo>
                  <a:lnTo>
                    <a:pt x="441" y="530"/>
                  </a:lnTo>
                  <a:lnTo>
                    <a:pt x="482" y="560"/>
                  </a:lnTo>
                  <a:lnTo>
                    <a:pt x="548" y="594"/>
                  </a:lnTo>
                  <a:lnTo>
                    <a:pt x="631" y="640"/>
                  </a:lnTo>
                  <a:lnTo>
                    <a:pt x="670" y="653"/>
                  </a:lnTo>
                  <a:lnTo>
                    <a:pt x="670" y="418"/>
                  </a:lnTo>
                  <a:lnTo>
                    <a:pt x="634" y="416"/>
                  </a:lnTo>
                  <a:lnTo>
                    <a:pt x="616" y="419"/>
                  </a:lnTo>
                  <a:lnTo>
                    <a:pt x="616" y="419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669" name="Freeform 10"/>
            <p:cNvSpPr>
              <a:spLocks/>
            </p:cNvSpPr>
            <p:nvPr userDrawn="1"/>
          </p:nvSpPr>
          <p:spPr bwMode="auto">
            <a:xfrm>
              <a:off x="6401" y="2120"/>
              <a:ext cx="1279" cy="1314"/>
            </a:xfrm>
            <a:custGeom>
              <a:avLst/>
              <a:gdLst>
                <a:gd name="T0" fmla="*/ 943 w 1279"/>
                <a:gd name="T1" fmla="*/ 49 h 1314"/>
                <a:gd name="T2" fmla="*/ 940 w 1279"/>
                <a:gd name="T3" fmla="*/ 118 h 1314"/>
                <a:gd name="T4" fmla="*/ 914 w 1279"/>
                <a:gd name="T5" fmla="*/ 186 h 1314"/>
                <a:gd name="T6" fmla="*/ 872 w 1279"/>
                <a:gd name="T7" fmla="*/ 350 h 1314"/>
                <a:gd name="T8" fmla="*/ 950 w 1279"/>
                <a:gd name="T9" fmla="*/ 370 h 1314"/>
                <a:gd name="T10" fmla="*/ 846 w 1279"/>
                <a:gd name="T11" fmla="*/ 432 h 1314"/>
                <a:gd name="T12" fmla="*/ 716 w 1279"/>
                <a:gd name="T13" fmla="*/ 411 h 1314"/>
                <a:gd name="T14" fmla="*/ 624 w 1279"/>
                <a:gd name="T15" fmla="*/ 399 h 1314"/>
                <a:gd name="T16" fmla="*/ 551 w 1279"/>
                <a:gd name="T17" fmla="*/ 420 h 1314"/>
                <a:gd name="T18" fmla="*/ 498 w 1279"/>
                <a:gd name="T19" fmla="*/ 433 h 1314"/>
                <a:gd name="T20" fmla="*/ 401 w 1279"/>
                <a:gd name="T21" fmla="*/ 341 h 1314"/>
                <a:gd name="T22" fmla="*/ 299 w 1279"/>
                <a:gd name="T23" fmla="*/ 358 h 1314"/>
                <a:gd name="T24" fmla="*/ 240 w 1279"/>
                <a:gd name="T25" fmla="*/ 340 h 1314"/>
                <a:gd name="T26" fmla="*/ 122 w 1279"/>
                <a:gd name="T27" fmla="*/ 429 h 1314"/>
                <a:gd name="T28" fmla="*/ 101 w 1279"/>
                <a:gd name="T29" fmla="*/ 506 h 1314"/>
                <a:gd name="T30" fmla="*/ 24 w 1279"/>
                <a:gd name="T31" fmla="*/ 542 h 1314"/>
                <a:gd name="T32" fmla="*/ 35 w 1279"/>
                <a:gd name="T33" fmla="*/ 666 h 1314"/>
                <a:gd name="T34" fmla="*/ 155 w 1279"/>
                <a:gd name="T35" fmla="*/ 810 h 1314"/>
                <a:gd name="T36" fmla="*/ 160 w 1279"/>
                <a:gd name="T37" fmla="*/ 838 h 1314"/>
                <a:gd name="T38" fmla="*/ 160 w 1279"/>
                <a:gd name="T39" fmla="*/ 824 h 1314"/>
                <a:gd name="T40" fmla="*/ 198 w 1279"/>
                <a:gd name="T41" fmla="*/ 812 h 1314"/>
                <a:gd name="T42" fmla="*/ 237 w 1279"/>
                <a:gd name="T43" fmla="*/ 810 h 1314"/>
                <a:gd name="T44" fmla="*/ 288 w 1279"/>
                <a:gd name="T45" fmla="*/ 765 h 1314"/>
                <a:gd name="T46" fmla="*/ 335 w 1279"/>
                <a:gd name="T47" fmla="*/ 780 h 1314"/>
                <a:gd name="T48" fmla="*/ 377 w 1279"/>
                <a:gd name="T49" fmla="*/ 768 h 1314"/>
                <a:gd name="T50" fmla="*/ 431 w 1279"/>
                <a:gd name="T51" fmla="*/ 797 h 1314"/>
                <a:gd name="T52" fmla="*/ 443 w 1279"/>
                <a:gd name="T53" fmla="*/ 844 h 1314"/>
                <a:gd name="T54" fmla="*/ 415 w 1279"/>
                <a:gd name="T55" fmla="*/ 909 h 1314"/>
                <a:gd name="T56" fmla="*/ 427 w 1279"/>
                <a:gd name="T57" fmla="*/ 942 h 1314"/>
                <a:gd name="T58" fmla="*/ 415 w 1279"/>
                <a:gd name="T59" fmla="*/ 937 h 1314"/>
                <a:gd name="T60" fmla="*/ 400 w 1279"/>
                <a:gd name="T61" fmla="*/ 924 h 1314"/>
                <a:gd name="T62" fmla="*/ 359 w 1279"/>
                <a:gd name="T63" fmla="*/ 937 h 1314"/>
                <a:gd name="T64" fmla="*/ 342 w 1279"/>
                <a:gd name="T65" fmla="*/ 937 h 1314"/>
                <a:gd name="T66" fmla="*/ 327 w 1279"/>
                <a:gd name="T67" fmla="*/ 940 h 1314"/>
                <a:gd name="T68" fmla="*/ 308 w 1279"/>
                <a:gd name="T69" fmla="*/ 978 h 1314"/>
                <a:gd name="T70" fmla="*/ 318 w 1279"/>
                <a:gd name="T71" fmla="*/ 996 h 1314"/>
                <a:gd name="T72" fmla="*/ 299 w 1279"/>
                <a:gd name="T73" fmla="*/ 1005 h 1314"/>
                <a:gd name="T74" fmla="*/ 258 w 1279"/>
                <a:gd name="T75" fmla="*/ 995 h 1314"/>
                <a:gd name="T76" fmla="*/ 252 w 1279"/>
                <a:gd name="T77" fmla="*/ 1031 h 1314"/>
                <a:gd name="T78" fmla="*/ 288 w 1279"/>
                <a:gd name="T79" fmla="*/ 1061 h 1314"/>
                <a:gd name="T80" fmla="*/ 300 w 1279"/>
                <a:gd name="T81" fmla="*/ 1135 h 1314"/>
                <a:gd name="T82" fmla="*/ 332 w 1279"/>
                <a:gd name="T83" fmla="*/ 1150 h 1314"/>
                <a:gd name="T84" fmla="*/ 392 w 1279"/>
                <a:gd name="T85" fmla="*/ 1167 h 1314"/>
                <a:gd name="T86" fmla="*/ 394 w 1279"/>
                <a:gd name="T87" fmla="*/ 1191 h 1314"/>
                <a:gd name="T88" fmla="*/ 380 w 1279"/>
                <a:gd name="T89" fmla="*/ 1236 h 1314"/>
                <a:gd name="T90" fmla="*/ 474 w 1279"/>
                <a:gd name="T91" fmla="*/ 1182 h 1314"/>
                <a:gd name="T92" fmla="*/ 609 w 1279"/>
                <a:gd name="T93" fmla="*/ 936 h 1314"/>
                <a:gd name="T94" fmla="*/ 961 w 1279"/>
                <a:gd name="T95" fmla="*/ 1050 h 1314"/>
                <a:gd name="T96" fmla="*/ 1155 w 1279"/>
                <a:gd name="T97" fmla="*/ 1061 h 1314"/>
                <a:gd name="T98" fmla="*/ 1187 w 1279"/>
                <a:gd name="T99" fmla="*/ 1293 h 1314"/>
                <a:gd name="T100" fmla="*/ 1279 w 1279"/>
                <a:gd name="T101" fmla="*/ 0 h 1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279" h="1314">
                  <a:moveTo>
                    <a:pt x="1235" y="6"/>
                  </a:moveTo>
                  <a:lnTo>
                    <a:pt x="1184" y="33"/>
                  </a:lnTo>
                  <a:lnTo>
                    <a:pt x="1020" y="71"/>
                  </a:lnTo>
                  <a:lnTo>
                    <a:pt x="958" y="62"/>
                  </a:lnTo>
                  <a:lnTo>
                    <a:pt x="943" y="49"/>
                  </a:lnTo>
                  <a:lnTo>
                    <a:pt x="935" y="67"/>
                  </a:lnTo>
                  <a:lnTo>
                    <a:pt x="944" y="76"/>
                  </a:lnTo>
                  <a:lnTo>
                    <a:pt x="931" y="91"/>
                  </a:lnTo>
                  <a:lnTo>
                    <a:pt x="940" y="106"/>
                  </a:lnTo>
                  <a:lnTo>
                    <a:pt x="940" y="118"/>
                  </a:lnTo>
                  <a:lnTo>
                    <a:pt x="935" y="124"/>
                  </a:lnTo>
                  <a:lnTo>
                    <a:pt x="934" y="145"/>
                  </a:lnTo>
                  <a:lnTo>
                    <a:pt x="965" y="166"/>
                  </a:lnTo>
                  <a:lnTo>
                    <a:pt x="959" y="178"/>
                  </a:lnTo>
                  <a:lnTo>
                    <a:pt x="914" y="186"/>
                  </a:lnTo>
                  <a:lnTo>
                    <a:pt x="901" y="211"/>
                  </a:lnTo>
                  <a:lnTo>
                    <a:pt x="911" y="261"/>
                  </a:lnTo>
                  <a:lnTo>
                    <a:pt x="870" y="313"/>
                  </a:lnTo>
                  <a:lnTo>
                    <a:pt x="863" y="341"/>
                  </a:lnTo>
                  <a:lnTo>
                    <a:pt x="872" y="350"/>
                  </a:lnTo>
                  <a:lnTo>
                    <a:pt x="901" y="349"/>
                  </a:lnTo>
                  <a:lnTo>
                    <a:pt x="911" y="355"/>
                  </a:lnTo>
                  <a:lnTo>
                    <a:pt x="935" y="358"/>
                  </a:lnTo>
                  <a:lnTo>
                    <a:pt x="946" y="359"/>
                  </a:lnTo>
                  <a:lnTo>
                    <a:pt x="950" y="370"/>
                  </a:lnTo>
                  <a:lnTo>
                    <a:pt x="944" y="377"/>
                  </a:lnTo>
                  <a:lnTo>
                    <a:pt x="935" y="424"/>
                  </a:lnTo>
                  <a:lnTo>
                    <a:pt x="919" y="435"/>
                  </a:lnTo>
                  <a:lnTo>
                    <a:pt x="861" y="451"/>
                  </a:lnTo>
                  <a:lnTo>
                    <a:pt x="846" y="432"/>
                  </a:lnTo>
                  <a:lnTo>
                    <a:pt x="821" y="454"/>
                  </a:lnTo>
                  <a:lnTo>
                    <a:pt x="763" y="420"/>
                  </a:lnTo>
                  <a:lnTo>
                    <a:pt x="750" y="393"/>
                  </a:lnTo>
                  <a:lnTo>
                    <a:pt x="730" y="393"/>
                  </a:lnTo>
                  <a:lnTo>
                    <a:pt x="716" y="411"/>
                  </a:lnTo>
                  <a:lnTo>
                    <a:pt x="701" y="411"/>
                  </a:lnTo>
                  <a:lnTo>
                    <a:pt x="659" y="402"/>
                  </a:lnTo>
                  <a:lnTo>
                    <a:pt x="644" y="391"/>
                  </a:lnTo>
                  <a:lnTo>
                    <a:pt x="637" y="396"/>
                  </a:lnTo>
                  <a:lnTo>
                    <a:pt x="624" y="399"/>
                  </a:lnTo>
                  <a:lnTo>
                    <a:pt x="612" y="409"/>
                  </a:lnTo>
                  <a:lnTo>
                    <a:pt x="606" y="408"/>
                  </a:lnTo>
                  <a:lnTo>
                    <a:pt x="591" y="436"/>
                  </a:lnTo>
                  <a:lnTo>
                    <a:pt x="581" y="436"/>
                  </a:lnTo>
                  <a:lnTo>
                    <a:pt x="551" y="420"/>
                  </a:lnTo>
                  <a:lnTo>
                    <a:pt x="540" y="399"/>
                  </a:lnTo>
                  <a:lnTo>
                    <a:pt x="517" y="399"/>
                  </a:lnTo>
                  <a:lnTo>
                    <a:pt x="505" y="424"/>
                  </a:lnTo>
                  <a:lnTo>
                    <a:pt x="508" y="436"/>
                  </a:lnTo>
                  <a:lnTo>
                    <a:pt x="498" y="433"/>
                  </a:lnTo>
                  <a:lnTo>
                    <a:pt x="492" y="421"/>
                  </a:lnTo>
                  <a:lnTo>
                    <a:pt x="493" y="388"/>
                  </a:lnTo>
                  <a:lnTo>
                    <a:pt x="456" y="359"/>
                  </a:lnTo>
                  <a:lnTo>
                    <a:pt x="434" y="338"/>
                  </a:lnTo>
                  <a:lnTo>
                    <a:pt x="401" y="341"/>
                  </a:lnTo>
                  <a:lnTo>
                    <a:pt x="377" y="335"/>
                  </a:lnTo>
                  <a:lnTo>
                    <a:pt x="362" y="347"/>
                  </a:lnTo>
                  <a:lnTo>
                    <a:pt x="335" y="331"/>
                  </a:lnTo>
                  <a:lnTo>
                    <a:pt x="309" y="337"/>
                  </a:lnTo>
                  <a:lnTo>
                    <a:pt x="299" y="358"/>
                  </a:lnTo>
                  <a:lnTo>
                    <a:pt x="265" y="338"/>
                  </a:lnTo>
                  <a:lnTo>
                    <a:pt x="261" y="331"/>
                  </a:lnTo>
                  <a:lnTo>
                    <a:pt x="246" y="328"/>
                  </a:lnTo>
                  <a:lnTo>
                    <a:pt x="247" y="341"/>
                  </a:lnTo>
                  <a:lnTo>
                    <a:pt x="240" y="340"/>
                  </a:lnTo>
                  <a:lnTo>
                    <a:pt x="241" y="353"/>
                  </a:lnTo>
                  <a:lnTo>
                    <a:pt x="222" y="362"/>
                  </a:lnTo>
                  <a:lnTo>
                    <a:pt x="180" y="379"/>
                  </a:lnTo>
                  <a:lnTo>
                    <a:pt x="134" y="430"/>
                  </a:lnTo>
                  <a:lnTo>
                    <a:pt x="122" y="429"/>
                  </a:lnTo>
                  <a:lnTo>
                    <a:pt x="109" y="439"/>
                  </a:lnTo>
                  <a:lnTo>
                    <a:pt x="101" y="439"/>
                  </a:lnTo>
                  <a:lnTo>
                    <a:pt x="137" y="488"/>
                  </a:lnTo>
                  <a:lnTo>
                    <a:pt x="116" y="507"/>
                  </a:lnTo>
                  <a:lnTo>
                    <a:pt x="101" y="506"/>
                  </a:lnTo>
                  <a:lnTo>
                    <a:pt x="48" y="460"/>
                  </a:lnTo>
                  <a:lnTo>
                    <a:pt x="36" y="483"/>
                  </a:lnTo>
                  <a:lnTo>
                    <a:pt x="39" y="498"/>
                  </a:lnTo>
                  <a:lnTo>
                    <a:pt x="23" y="524"/>
                  </a:lnTo>
                  <a:lnTo>
                    <a:pt x="24" y="542"/>
                  </a:lnTo>
                  <a:lnTo>
                    <a:pt x="23" y="562"/>
                  </a:lnTo>
                  <a:lnTo>
                    <a:pt x="30" y="577"/>
                  </a:lnTo>
                  <a:lnTo>
                    <a:pt x="17" y="590"/>
                  </a:lnTo>
                  <a:lnTo>
                    <a:pt x="0" y="643"/>
                  </a:lnTo>
                  <a:lnTo>
                    <a:pt x="35" y="666"/>
                  </a:lnTo>
                  <a:lnTo>
                    <a:pt x="41" y="691"/>
                  </a:lnTo>
                  <a:lnTo>
                    <a:pt x="41" y="706"/>
                  </a:lnTo>
                  <a:lnTo>
                    <a:pt x="81" y="735"/>
                  </a:lnTo>
                  <a:lnTo>
                    <a:pt x="100" y="744"/>
                  </a:lnTo>
                  <a:lnTo>
                    <a:pt x="155" y="810"/>
                  </a:lnTo>
                  <a:lnTo>
                    <a:pt x="154" y="813"/>
                  </a:lnTo>
                  <a:lnTo>
                    <a:pt x="128" y="816"/>
                  </a:lnTo>
                  <a:lnTo>
                    <a:pt x="128" y="829"/>
                  </a:lnTo>
                  <a:lnTo>
                    <a:pt x="160" y="847"/>
                  </a:lnTo>
                  <a:lnTo>
                    <a:pt x="160" y="838"/>
                  </a:lnTo>
                  <a:lnTo>
                    <a:pt x="155" y="830"/>
                  </a:lnTo>
                  <a:lnTo>
                    <a:pt x="160" y="830"/>
                  </a:lnTo>
                  <a:lnTo>
                    <a:pt x="166" y="836"/>
                  </a:lnTo>
                  <a:lnTo>
                    <a:pt x="169" y="830"/>
                  </a:lnTo>
                  <a:lnTo>
                    <a:pt x="160" y="824"/>
                  </a:lnTo>
                  <a:lnTo>
                    <a:pt x="167" y="820"/>
                  </a:lnTo>
                  <a:lnTo>
                    <a:pt x="170" y="823"/>
                  </a:lnTo>
                  <a:lnTo>
                    <a:pt x="183" y="813"/>
                  </a:lnTo>
                  <a:lnTo>
                    <a:pt x="193" y="810"/>
                  </a:lnTo>
                  <a:lnTo>
                    <a:pt x="198" y="812"/>
                  </a:lnTo>
                  <a:lnTo>
                    <a:pt x="214" y="809"/>
                  </a:lnTo>
                  <a:lnTo>
                    <a:pt x="220" y="810"/>
                  </a:lnTo>
                  <a:lnTo>
                    <a:pt x="226" y="807"/>
                  </a:lnTo>
                  <a:lnTo>
                    <a:pt x="234" y="807"/>
                  </a:lnTo>
                  <a:lnTo>
                    <a:pt x="237" y="810"/>
                  </a:lnTo>
                  <a:lnTo>
                    <a:pt x="249" y="803"/>
                  </a:lnTo>
                  <a:lnTo>
                    <a:pt x="249" y="795"/>
                  </a:lnTo>
                  <a:lnTo>
                    <a:pt x="261" y="785"/>
                  </a:lnTo>
                  <a:lnTo>
                    <a:pt x="279" y="771"/>
                  </a:lnTo>
                  <a:lnTo>
                    <a:pt x="288" y="765"/>
                  </a:lnTo>
                  <a:lnTo>
                    <a:pt x="302" y="768"/>
                  </a:lnTo>
                  <a:lnTo>
                    <a:pt x="323" y="767"/>
                  </a:lnTo>
                  <a:lnTo>
                    <a:pt x="332" y="768"/>
                  </a:lnTo>
                  <a:lnTo>
                    <a:pt x="336" y="771"/>
                  </a:lnTo>
                  <a:lnTo>
                    <a:pt x="335" y="780"/>
                  </a:lnTo>
                  <a:lnTo>
                    <a:pt x="342" y="782"/>
                  </a:lnTo>
                  <a:lnTo>
                    <a:pt x="347" y="785"/>
                  </a:lnTo>
                  <a:lnTo>
                    <a:pt x="354" y="782"/>
                  </a:lnTo>
                  <a:lnTo>
                    <a:pt x="368" y="774"/>
                  </a:lnTo>
                  <a:lnTo>
                    <a:pt x="377" y="768"/>
                  </a:lnTo>
                  <a:lnTo>
                    <a:pt x="395" y="773"/>
                  </a:lnTo>
                  <a:lnTo>
                    <a:pt x="395" y="782"/>
                  </a:lnTo>
                  <a:lnTo>
                    <a:pt x="404" y="783"/>
                  </a:lnTo>
                  <a:lnTo>
                    <a:pt x="416" y="780"/>
                  </a:lnTo>
                  <a:lnTo>
                    <a:pt x="431" y="797"/>
                  </a:lnTo>
                  <a:lnTo>
                    <a:pt x="436" y="809"/>
                  </a:lnTo>
                  <a:lnTo>
                    <a:pt x="448" y="833"/>
                  </a:lnTo>
                  <a:lnTo>
                    <a:pt x="448" y="839"/>
                  </a:lnTo>
                  <a:lnTo>
                    <a:pt x="445" y="838"/>
                  </a:lnTo>
                  <a:lnTo>
                    <a:pt x="443" y="844"/>
                  </a:lnTo>
                  <a:lnTo>
                    <a:pt x="446" y="851"/>
                  </a:lnTo>
                  <a:lnTo>
                    <a:pt x="437" y="869"/>
                  </a:lnTo>
                  <a:lnTo>
                    <a:pt x="430" y="884"/>
                  </a:lnTo>
                  <a:lnTo>
                    <a:pt x="421" y="904"/>
                  </a:lnTo>
                  <a:lnTo>
                    <a:pt x="415" y="909"/>
                  </a:lnTo>
                  <a:lnTo>
                    <a:pt x="413" y="916"/>
                  </a:lnTo>
                  <a:lnTo>
                    <a:pt x="416" y="925"/>
                  </a:lnTo>
                  <a:lnTo>
                    <a:pt x="422" y="930"/>
                  </a:lnTo>
                  <a:lnTo>
                    <a:pt x="421" y="936"/>
                  </a:lnTo>
                  <a:lnTo>
                    <a:pt x="427" y="942"/>
                  </a:lnTo>
                  <a:lnTo>
                    <a:pt x="424" y="952"/>
                  </a:lnTo>
                  <a:lnTo>
                    <a:pt x="419" y="943"/>
                  </a:lnTo>
                  <a:lnTo>
                    <a:pt x="418" y="937"/>
                  </a:lnTo>
                  <a:lnTo>
                    <a:pt x="418" y="937"/>
                  </a:lnTo>
                  <a:lnTo>
                    <a:pt x="415" y="937"/>
                  </a:lnTo>
                  <a:lnTo>
                    <a:pt x="413" y="937"/>
                  </a:lnTo>
                  <a:lnTo>
                    <a:pt x="412" y="936"/>
                  </a:lnTo>
                  <a:lnTo>
                    <a:pt x="412" y="936"/>
                  </a:lnTo>
                  <a:lnTo>
                    <a:pt x="407" y="927"/>
                  </a:lnTo>
                  <a:lnTo>
                    <a:pt x="400" y="924"/>
                  </a:lnTo>
                  <a:lnTo>
                    <a:pt x="391" y="924"/>
                  </a:lnTo>
                  <a:lnTo>
                    <a:pt x="379" y="928"/>
                  </a:lnTo>
                  <a:lnTo>
                    <a:pt x="368" y="924"/>
                  </a:lnTo>
                  <a:lnTo>
                    <a:pt x="361" y="928"/>
                  </a:lnTo>
                  <a:lnTo>
                    <a:pt x="359" y="937"/>
                  </a:lnTo>
                  <a:lnTo>
                    <a:pt x="356" y="939"/>
                  </a:lnTo>
                  <a:lnTo>
                    <a:pt x="351" y="934"/>
                  </a:lnTo>
                  <a:lnTo>
                    <a:pt x="351" y="927"/>
                  </a:lnTo>
                  <a:lnTo>
                    <a:pt x="345" y="928"/>
                  </a:lnTo>
                  <a:lnTo>
                    <a:pt x="342" y="937"/>
                  </a:lnTo>
                  <a:lnTo>
                    <a:pt x="341" y="945"/>
                  </a:lnTo>
                  <a:lnTo>
                    <a:pt x="336" y="951"/>
                  </a:lnTo>
                  <a:lnTo>
                    <a:pt x="329" y="948"/>
                  </a:lnTo>
                  <a:lnTo>
                    <a:pt x="326" y="945"/>
                  </a:lnTo>
                  <a:lnTo>
                    <a:pt x="327" y="940"/>
                  </a:lnTo>
                  <a:lnTo>
                    <a:pt x="315" y="943"/>
                  </a:lnTo>
                  <a:lnTo>
                    <a:pt x="306" y="952"/>
                  </a:lnTo>
                  <a:lnTo>
                    <a:pt x="305" y="960"/>
                  </a:lnTo>
                  <a:lnTo>
                    <a:pt x="309" y="966"/>
                  </a:lnTo>
                  <a:lnTo>
                    <a:pt x="308" y="978"/>
                  </a:lnTo>
                  <a:lnTo>
                    <a:pt x="303" y="981"/>
                  </a:lnTo>
                  <a:lnTo>
                    <a:pt x="303" y="988"/>
                  </a:lnTo>
                  <a:lnTo>
                    <a:pt x="306" y="992"/>
                  </a:lnTo>
                  <a:lnTo>
                    <a:pt x="312" y="992"/>
                  </a:lnTo>
                  <a:lnTo>
                    <a:pt x="318" y="996"/>
                  </a:lnTo>
                  <a:lnTo>
                    <a:pt x="320" y="1002"/>
                  </a:lnTo>
                  <a:lnTo>
                    <a:pt x="315" y="1004"/>
                  </a:lnTo>
                  <a:lnTo>
                    <a:pt x="311" y="996"/>
                  </a:lnTo>
                  <a:lnTo>
                    <a:pt x="306" y="1002"/>
                  </a:lnTo>
                  <a:lnTo>
                    <a:pt x="299" y="1005"/>
                  </a:lnTo>
                  <a:lnTo>
                    <a:pt x="287" y="1004"/>
                  </a:lnTo>
                  <a:lnTo>
                    <a:pt x="278" y="1001"/>
                  </a:lnTo>
                  <a:lnTo>
                    <a:pt x="273" y="998"/>
                  </a:lnTo>
                  <a:lnTo>
                    <a:pt x="265" y="1001"/>
                  </a:lnTo>
                  <a:lnTo>
                    <a:pt x="258" y="995"/>
                  </a:lnTo>
                  <a:lnTo>
                    <a:pt x="250" y="999"/>
                  </a:lnTo>
                  <a:lnTo>
                    <a:pt x="243" y="1002"/>
                  </a:lnTo>
                  <a:lnTo>
                    <a:pt x="241" y="1016"/>
                  </a:lnTo>
                  <a:lnTo>
                    <a:pt x="252" y="1023"/>
                  </a:lnTo>
                  <a:lnTo>
                    <a:pt x="252" y="1031"/>
                  </a:lnTo>
                  <a:lnTo>
                    <a:pt x="258" y="1032"/>
                  </a:lnTo>
                  <a:lnTo>
                    <a:pt x="264" y="1029"/>
                  </a:lnTo>
                  <a:lnTo>
                    <a:pt x="270" y="1031"/>
                  </a:lnTo>
                  <a:lnTo>
                    <a:pt x="278" y="1049"/>
                  </a:lnTo>
                  <a:lnTo>
                    <a:pt x="288" y="1061"/>
                  </a:lnTo>
                  <a:lnTo>
                    <a:pt x="294" y="1074"/>
                  </a:lnTo>
                  <a:lnTo>
                    <a:pt x="311" y="1102"/>
                  </a:lnTo>
                  <a:lnTo>
                    <a:pt x="309" y="1114"/>
                  </a:lnTo>
                  <a:lnTo>
                    <a:pt x="300" y="1127"/>
                  </a:lnTo>
                  <a:lnTo>
                    <a:pt x="300" y="1135"/>
                  </a:lnTo>
                  <a:lnTo>
                    <a:pt x="315" y="1132"/>
                  </a:lnTo>
                  <a:lnTo>
                    <a:pt x="321" y="1124"/>
                  </a:lnTo>
                  <a:lnTo>
                    <a:pt x="327" y="1129"/>
                  </a:lnTo>
                  <a:lnTo>
                    <a:pt x="329" y="1142"/>
                  </a:lnTo>
                  <a:lnTo>
                    <a:pt x="332" y="1150"/>
                  </a:lnTo>
                  <a:lnTo>
                    <a:pt x="344" y="1162"/>
                  </a:lnTo>
                  <a:lnTo>
                    <a:pt x="354" y="1160"/>
                  </a:lnTo>
                  <a:lnTo>
                    <a:pt x="364" y="1159"/>
                  </a:lnTo>
                  <a:lnTo>
                    <a:pt x="382" y="1160"/>
                  </a:lnTo>
                  <a:lnTo>
                    <a:pt x="392" y="1167"/>
                  </a:lnTo>
                  <a:lnTo>
                    <a:pt x="397" y="1177"/>
                  </a:lnTo>
                  <a:lnTo>
                    <a:pt x="397" y="1183"/>
                  </a:lnTo>
                  <a:lnTo>
                    <a:pt x="392" y="1176"/>
                  </a:lnTo>
                  <a:lnTo>
                    <a:pt x="391" y="1182"/>
                  </a:lnTo>
                  <a:lnTo>
                    <a:pt x="394" y="1191"/>
                  </a:lnTo>
                  <a:lnTo>
                    <a:pt x="380" y="1201"/>
                  </a:lnTo>
                  <a:lnTo>
                    <a:pt x="367" y="1215"/>
                  </a:lnTo>
                  <a:lnTo>
                    <a:pt x="371" y="1221"/>
                  </a:lnTo>
                  <a:lnTo>
                    <a:pt x="380" y="1230"/>
                  </a:lnTo>
                  <a:lnTo>
                    <a:pt x="380" y="1236"/>
                  </a:lnTo>
                  <a:lnTo>
                    <a:pt x="395" y="1210"/>
                  </a:lnTo>
                  <a:lnTo>
                    <a:pt x="460" y="1189"/>
                  </a:lnTo>
                  <a:lnTo>
                    <a:pt x="474" y="1182"/>
                  </a:lnTo>
                  <a:lnTo>
                    <a:pt x="474" y="1182"/>
                  </a:lnTo>
                  <a:lnTo>
                    <a:pt x="474" y="1182"/>
                  </a:lnTo>
                  <a:lnTo>
                    <a:pt x="520" y="1189"/>
                  </a:lnTo>
                  <a:lnTo>
                    <a:pt x="560" y="1246"/>
                  </a:lnTo>
                  <a:lnTo>
                    <a:pt x="572" y="1259"/>
                  </a:lnTo>
                  <a:lnTo>
                    <a:pt x="612" y="1268"/>
                  </a:lnTo>
                  <a:lnTo>
                    <a:pt x="609" y="936"/>
                  </a:lnTo>
                  <a:lnTo>
                    <a:pt x="786" y="895"/>
                  </a:lnTo>
                  <a:lnTo>
                    <a:pt x="914" y="1013"/>
                  </a:lnTo>
                  <a:lnTo>
                    <a:pt x="937" y="1031"/>
                  </a:lnTo>
                  <a:lnTo>
                    <a:pt x="955" y="1035"/>
                  </a:lnTo>
                  <a:lnTo>
                    <a:pt x="961" y="1050"/>
                  </a:lnTo>
                  <a:lnTo>
                    <a:pt x="971" y="1071"/>
                  </a:lnTo>
                  <a:lnTo>
                    <a:pt x="996" y="1076"/>
                  </a:lnTo>
                  <a:lnTo>
                    <a:pt x="1056" y="1106"/>
                  </a:lnTo>
                  <a:lnTo>
                    <a:pt x="1146" y="1056"/>
                  </a:lnTo>
                  <a:lnTo>
                    <a:pt x="1155" y="1061"/>
                  </a:lnTo>
                  <a:lnTo>
                    <a:pt x="1164" y="1111"/>
                  </a:lnTo>
                  <a:lnTo>
                    <a:pt x="1226" y="1256"/>
                  </a:lnTo>
                  <a:lnTo>
                    <a:pt x="1177" y="1275"/>
                  </a:lnTo>
                  <a:lnTo>
                    <a:pt x="1177" y="1286"/>
                  </a:lnTo>
                  <a:lnTo>
                    <a:pt x="1187" y="1293"/>
                  </a:lnTo>
                  <a:lnTo>
                    <a:pt x="1213" y="1310"/>
                  </a:lnTo>
                  <a:lnTo>
                    <a:pt x="1225" y="1314"/>
                  </a:lnTo>
                  <a:lnTo>
                    <a:pt x="1243" y="1311"/>
                  </a:lnTo>
                  <a:lnTo>
                    <a:pt x="1279" y="1313"/>
                  </a:lnTo>
                  <a:lnTo>
                    <a:pt x="1279" y="0"/>
                  </a:lnTo>
                  <a:lnTo>
                    <a:pt x="1270" y="2"/>
                  </a:lnTo>
                  <a:lnTo>
                    <a:pt x="1235" y="6"/>
                  </a:lnTo>
                  <a:lnTo>
                    <a:pt x="1235" y="6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670" name="Freeform 14"/>
            <p:cNvSpPr>
              <a:spLocks/>
            </p:cNvSpPr>
            <p:nvPr userDrawn="1"/>
          </p:nvSpPr>
          <p:spPr bwMode="auto">
            <a:xfrm>
              <a:off x="4019" y="4065"/>
              <a:ext cx="1002" cy="252"/>
            </a:xfrm>
            <a:custGeom>
              <a:avLst/>
              <a:gdLst>
                <a:gd name="T0" fmla="*/ 981 w 1002"/>
                <a:gd name="T1" fmla="*/ 219 h 252"/>
                <a:gd name="T2" fmla="*/ 996 w 1002"/>
                <a:gd name="T3" fmla="*/ 169 h 252"/>
                <a:gd name="T4" fmla="*/ 988 w 1002"/>
                <a:gd name="T5" fmla="*/ 143 h 252"/>
                <a:gd name="T6" fmla="*/ 988 w 1002"/>
                <a:gd name="T7" fmla="*/ 124 h 252"/>
                <a:gd name="T8" fmla="*/ 1002 w 1002"/>
                <a:gd name="T9" fmla="*/ 112 h 252"/>
                <a:gd name="T10" fmla="*/ 999 w 1002"/>
                <a:gd name="T11" fmla="*/ 95 h 252"/>
                <a:gd name="T12" fmla="*/ 975 w 1002"/>
                <a:gd name="T13" fmla="*/ 89 h 252"/>
                <a:gd name="T14" fmla="*/ 936 w 1002"/>
                <a:gd name="T15" fmla="*/ 86 h 252"/>
                <a:gd name="T16" fmla="*/ 911 w 1002"/>
                <a:gd name="T17" fmla="*/ 72 h 252"/>
                <a:gd name="T18" fmla="*/ 887 w 1002"/>
                <a:gd name="T19" fmla="*/ 72 h 252"/>
                <a:gd name="T20" fmla="*/ 869 w 1002"/>
                <a:gd name="T21" fmla="*/ 62 h 252"/>
                <a:gd name="T22" fmla="*/ 871 w 1002"/>
                <a:gd name="T23" fmla="*/ 54 h 252"/>
                <a:gd name="T24" fmla="*/ 881 w 1002"/>
                <a:gd name="T25" fmla="*/ 54 h 252"/>
                <a:gd name="T26" fmla="*/ 881 w 1002"/>
                <a:gd name="T27" fmla="*/ 45 h 252"/>
                <a:gd name="T28" fmla="*/ 878 w 1002"/>
                <a:gd name="T29" fmla="*/ 41 h 252"/>
                <a:gd name="T30" fmla="*/ 869 w 1002"/>
                <a:gd name="T31" fmla="*/ 38 h 252"/>
                <a:gd name="T32" fmla="*/ 845 w 1002"/>
                <a:gd name="T33" fmla="*/ 24 h 252"/>
                <a:gd name="T34" fmla="*/ 806 w 1002"/>
                <a:gd name="T35" fmla="*/ 15 h 252"/>
                <a:gd name="T36" fmla="*/ 750 w 1002"/>
                <a:gd name="T37" fmla="*/ 29 h 252"/>
                <a:gd name="T38" fmla="*/ 708 w 1002"/>
                <a:gd name="T39" fmla="*/ 48 h 252"/>
                <a:gd name="T40" fmla="*/ 694 w 1002"/>
                <a:gd name="T41" fmla="*/ 63 h 252"/>
                <a:gd name="T42" fmla="*/ 676 w 1002"/>
                <a:gd name="T43" fmla="*/ 91 h 252"/>
                <a:gd name="T44" fmla="*/ 673 w 1002"/>
                <a:gd name="T45" fmla="*/ 112 h 252"/>
                <a:gd name="T46" fmla="*/ 690 w 1002"/>
                <a:gd name="T47" fmla="*/ 148 h 252"/>
                <a:gd name="T48" fmla="*/ 688 w 1002"/>
                <a:gd name="T49" fmla="*/ 177 h 252"/>
                <a:gd name="T50" fmla="*/ 658 w 1002"/>
                <a:gd name="T51" fmla="*/ 211 h 252"/>
                <a:gd name="T52" fmla="*/ 625 w 1002"/>
                <a:gd name="T53" fmla="*/ 217 h 252"/>
                <a:gd name="T54" fmla="*/ 599 w 1002"/>
                <a:gd name="T55" fmla="*/ 210 h 252"/>
                <a:gd name="T56" fmla="*/ 566 w 1002"/>
                <a:gd name="T57" fmla="*/ 180 h 252"/>
                <a:gd name="T58" fmla="*/ 533 w 1002"/>
                <a:gd name="T59" fmla="*/ 167 h 252"/>
                <a:gd name="T60" fmla="*/ 480 w 1002"/>
                <a:gd name="T61" fmla="*/ 152 h 252"/>
                <a:gd name="T62" fmla="*/ 423 w 1002"/>
                <a:gd name="T63" fmla="*/ 148 h 252"/>
                <a:gd name="T64" fmla="*/ 405 w 1002"/>
                <a:gd name="T65" fmla="*/ 137 h 252"/>
                <a:gd name="T66" fmla="*/ 394 w 1002"/>
                <a:gd name="T67" fmla="*/ 112 h 252"/>
                <a:gd name="T68" fmla="*/ 393 w 1002"/>
                <a:gd name="T69" fmla="*/ 81 h 252"/>
                <a:gd name="T70" fmla="*/ 374 w 1002"/>
                <a:gd name="T71" fmla="*/ 65 h 252"/>
                <a:gd name="T72" fmla="*/ 340 w 1002"/>
                <a:gd name="T73" fmla="*/ 60 h 252"/>
                <a:gd name="T74" fmla="*/ 295 w 1002"/>
                <a:gd name="T75" fmla="*/ 29 h 252"/>
                <a:gd name="T76" fmla="*/ 257 w 1002"/>
                <a:gd name="T77" fmla="*/ 24 h 252"/>
                <a:gd name="T78" fmla="*/ 218 w 1002"/>
                <a:gd name="T79" fmla="*/ 32 h 252"/>
                <a:gd name="T80" fmla="*/ 198 w 1002"/>
                <a:gd name="T81" fmla="*/ 26 h 252"/>
                <a:gd name="T82" fmla="*/ 177 w 1002"/>
                <a:gd name="T83" fmla="*/ 14 h 252"/>
                <a:gd name="T84" fmla="*/ 157 w 1002"/>
                <a:gd name="T85" fmla="*/ 14 h 252"/>
                <a:gd name="T86" fmla="*/ 136 w 1002"/>
                <a:gd name="T87" fmla="*/ 0 h 252"/>
                <a:gd name="T88" fmla="*/ 147 w 1002"/>
                <a:gd name="T89" fmla="*/ 50 h 252"/>
                <a:gd name="T90" fmla="*/ 118 w 1002"/>
                <a:gd name="T91" fmla="*/ 71 h 252"/>
                <a:gd name="T92" fmla="*/ 80 w 1002"/>
                <a:gd name="T93" fmla="*/ 97 h 252"/>
                <a:gd name="T94" fmla="*/ 61 w 1002"/>
                <a:gd name="T95" fmla="*/ 113 h 252"/>
                <a:gd name="T96" fmla="*/ 59 w 1002"/>
                <a:gd name="T97" fmla="*/ 137 h 252"/>
                <a:gd name="T98" fmla="*/ 68 w 1002"/>
                <a:gd name="T99" fmla="*/ 167 h 252"/>
                <a:gd name="T100" fmla="*/ 59 w 1002"/>
                <a:gd name="T101" fmla="*/ 195 h 252"/>
                <a:gd name="T102" fmla="*/ 32 w 1002"/>
                <a:gd name="T103" fmla="*/ 208 h 252"/>
                <a:gd name="T104" fmla="*/ 19 w 1002"/>
                <a:gd name="T105" fmla="*/ 207 h 252"/>
                <a:gd name="T106" fmla="*/ 11 w 1002"/>
                <a:gd name="T107" fmla="*/ 210 h 252"/>
                <a:gd name="T108" fmla="*/ 0 w 1002"/>
                <a:gd name="T109" fmla="*/ 220 h 252"/>
                <a:gd name="T110" fmla="*/ 0 w 1002"/>
                <a:gd name="T111" fmla="*/ 228 h 252"/>
                <a:gd name="T112" fmla="*/ 11 w 1002"/>
                <a:gd name="T113" fmla="*/ 237 h 252"/>
                <a:gd name="T114" fmla="*/ 23 w 1002"/>
                <a:gd name="T115" fmla="*/ 252 h 252"/>
                <a:gd name="T116" fmla="*/ 991 w 1002"/>
                <a:gd name="T117" fmla="*/ 252 h 252"/>
                <a:gd name="T118" fmla="*/ 990 w 1002"/>
                <a:gd name="T119" fmla="*/ 249 h 252"/>
                <a:gd name="T120" fmla="*/ 981 w 1002"/>
                <a:gd name="T121" fmla="*/ 219 h 252"/>
                <a:gd name="T122" fmla="*/ 981 w 1002"/>
                <a:gd name="T123" fmla="*/ 219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002" h="252">
                  <a:moveTo>
                    <a:pt x="981" y="219"/>
                  </a:moveTo>
                  <a:lnTo>
                    <a:pt x="996" y="169"/>
                  </a:lnTo>
                  <a:lnTo>
                    <a:pt x="988" y="143"/>
                  </a:lnTo>
                  <a:lnTo>
                    <a:pt x="988" y="124"/>
                  </a:lnTo>
                  <a:lnTo>
                    <a:pt x="1002" y="112"/>
                  </a:lnTo>
                  <a:lnTo>
                    <a:pt x="999" y="95"/>
                  </a:lnTo>
                  <a:lnTo>
                    <a:pt x="975" y="89"/>
                  </a:lnTo>
                  <a:lnTo>
                    <a:pt x="936" y="86"/>
                  </a:lnTo>
                  <a:lnTo>
                    <a:pt x="911" y="72"/>
                  </a:lnTo>
                  <a:lnTo>
                    <a:pt x="887" y="72"/>
                  </a:lnTo>
                  <a:lnTo>
                    <a:pt x="869" y="62"/>
                  </a:lnTo>
                  <a:lnTo>
                    <a:pt x="871" y="54"/>
                  </a:lnTo>
                  <a:lnTo>
                    <a:pt x="881" y="54"/>
                  </a:lnTo>
                  <a:lnTo>
                    <a:pt x="881" y="45"/>
                  </a:lnTo>
                  <a:lnTo>
                    <a:pt x="878" y="41"/>
                  </a:lnTo>
                  <a:lnTo>
                    <a:pt x="869" y="38"/>
                  </a:lnTo>
                  <a:lnTo>
                    <a:pt x="845" y="24"/>
                  </a:lnTo>
                  <a:lnTo>
                    <a:pt x="806" y="15"/>
                  </a:lnTo>
                  <a:lnTo>
                    <a:pt x="750" y="29"/>
                  </a:lnTo>
                  <a:lnTo>
                    <a:pt x="708" y="48"/>
                  </a:lnTo>
                  <a:lnTo>
                    <a:pt x="694" y="63"/>
                  </a:lnTo>
                  <a:lnTo>
                    <a:pt x="676" y="91"/>
                  </a:lnTo>
                  <a:lnTo>
                    <a:pt x="673" y="112"/>
                  </a:lnTo>
                  <a:lnTo>
                    <a:pt x="690" y="148"/>
                  </a:lnTo>
                  <a:lnTo>
                    <a:pt x="688" y="177"/>
                  </a:lnTo>
                  <a:lnTo>
                    <a:pt x="658" y="211"/>
                  </a:lnTo>
                  <a:lnTo>
                    <a:pt x="625" y="217"/>
                  </a:lnTo>
                  <a:lnTo>
                    <a:pt x="599" y="210"/>
                  </a:lnTo>
                  <a:lnTo>
                    <a:pt x="566" y="180"/>
                  </a:lnTo>
                  <a:lnTo>
                    <a:pt x="533" y="167"/>
                  </a:lnTo>
                  <a:lnTo>
                    <a:pt x="480" y="152"/>
                  </a:lnTo>
                  <a:lnTo>
                    <a:pt x="423" y="148"/>
                  </a:lnTo>
                  <a:lnTo>
                    <a:pt x="405" y="137"/>
                  </a:lnTo>
                  <a:lnTo>
                    <a:pt x="394" y="112"/>
                  </a:lnTo>
                  <a:lnTo>
                    <a:pt x="393" y="81"/>
                  </a:lnTo>
                  <a:lnTo>
                    <a:pt x="374" y="65"/>
                  </a:lnTo>
                  <a:lnTo>
                    <a:pt x="340" y="60"/>
                  </a:lnTo>
                  <a:lnTo>
                    <a:pt x="295" y="29"/>
                  </a:lnTo>
                  <a:lnTo>
                    <a:pt x="257" y="24"/>
                  </a:lnTo>
                  <a:lnTo>
                    <a:pt x="218" y="32"/>
                  </a:lnTo>
                  <a:lnTo>
                    <a:pt x="198" y="26"/>
                  </a:lnTo>
                  <a:lnTo>
                    <a:pt x="177" y="14"/>
                  </a:lnTo>
                  <a:lnTo>
                    <a:pt x="157" y="14"/>
                  </a:lnTo>
                  <a:lnTo>
                    <a:pt x="136" y="0"/>
                  </a:lnTo>
                  <a:lnTo>
                    <a:pt x="147" y="50"/>
                  </a:lnTo>
                  <a:lnTo>
                    <a:pt x="118" y="71"/>
                  </a:lnTo>
                  <a:lnTo>
                    <a:pt x="80" y="97"/>
                  </a:lnTo>
                  <a:lnTo>
                    <a:pt x="61" y="113"/>
                  </a:lnTo>
                  <a:lnTo>
                    <a:pt x="59" y="137"/>
                  </a:lnTo>
                  <a:lnTo>
                    <a:pt x="68" y="167"/>
                  </a:lnTo>
                  <a:lnTo>
                    <a:pt x="59" y="195"/>
                  </a:lnTo>
                  <a:lnTo>
                    <a:pt x="32" y="208"/>
                  </a:lnTo>
                  <a:lnTo>
                    <a:pt x="19" y="207"/>
                  </a:lnTo>
                  <a:lnTo>
                    <a:pt x="11" y="210"/>
                  </a:lnTo>
                  <a:lnTo>
                    <a:pt x="0" y="220"/>
                  </a:lnTo>
                  <a:lnTo>
                    <a:pt x="0" y="228"/>
                  </a:lnTo>
                  <a:lnTo>
                    <a:pt x="11" y="237"/>
                  </a:lnTo>
                  <a:lnTo>
                    <a:pt x="23" y="252"/>
                  </a:lnTo>
                  <a:lnTo>
                    <a:pt x="991" y="252"/>
                  </a:lnTo>
                  <a:lnTo>
                    <a:pt x="990" y="249"/>
                  </a:lnTo>
                  <a:lnTo>
                    <a:pt x="981" y="219"/>
                  </a:lnTo>
                  <a:lnTo>
                    <a:pt x="981" y="219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671" name="Freeform 15"/>
            <p:cNvSpPr>
              <a:spLocks/>
            </p:cNvSpPr>
            <p:nvPr userDrawn="1"/>
          </p:nvSpPr>
          <p:spPr bwMode="auto">
            <a:xfrm>
              <a:off x="3104" y="3762"/>
              <a:ext cx="938" cy="555"/>
            </a:xfrm>
            <a:custGeom>
              <a:avLst/>
              <a:gdLst>
                <a:gd name="T0" fmla="*/ 915 w 938"/>
                <a:gd name="T1" fmla="*/ 523 h 555"/>
                <a:gd name="T2" fmla="*/ 934 w 938"/>
                <a:gd name="T3" fmla="*/ 510 h 555"/>
                <a:gd name="T4" fmla="*/ 857 w 938"/>
                <a:gd name="T5" fmla="*/ 350 h 555"/>
                <a:gd name="T6" fmla="*/ 816 w 938"/>
                <a:gd name="T7" fmla="*/ 298 h 555"/>
                <a:gd name="T8" fmla="*/ 808 w 938"/>
                <a:gd name="T9" fmla="*/ 234 h 555"/>
                <a:gd name="T10" fmla="*/ 857 w 938"/>
                <a:gd name="T11" fmla="*/ 56 h 555"/>
                <a:gd name="T12" fmla="*/ 849 w 938"/>
                <a:gd name="T13" fmla="*/ 34 h 555"/>
                <a:gd name="T14" fmla="*/ 866 w 938"/>
                <a:gd name="T15" fmla="*/ 13 h 555"/>
                <a:gd name="T16" fmla="*/ 820 w 938"/>
                <a:gd name="T17" fmla="*/ 16 h 555"/>
                <a:gd name="T18" fmla="*/ 790 w 938"/>
                <a:gd name="T19" fmla="*/ 0 h 555"/>
                <a:gd name="T20" fmla="*/ 780 w 938"/>
                <a:gd name="T21" fmla="*/ 13 h 555"/>
                <a:gd name="T22" fmla="*/ 736 w 938"/>
                <a:gd name="T23" fmla="*/ 0 h 555"/>
                <a:gd name="T24" fmla="*/ 716 w 938"/>
                <a:gd name="T25" fmla="*/ 15 h 555"/>
                <a:gd name="T26" fmla="*/ 670 w 938"/>
                <a:gd name="T27" fmla="*/ 34 h 555"/>
                <a:gd name="T28" fmla="*/ 638 w 938"/>
                <a:gd name="T29" fmla="*/ 12 h 555"/>
                <a:gd name="T30" fmla="*/ 568 w 938"/>
                <a:gd name="T31" fmla="*/ 4 h 555"/>
                <a:gd name="T32" fmla="*/ 535 w 938"/>
                <a:gd name="T33" fmla="*/ 15 h 555"/>
                <a:gd name="T34" fmla="*/ 516 w 938"/>
                <a:gd name="T35" fmla="*/ 13 h 555"/>
                <a:gd name="T36" fmla="*/ 473 w 938"/>
                <a:gd name="T37" fmla="*/ 28 h 555"/>
                <a:gd name="T38" fmla="*/ 406 w 938"/>
                <a:gd name="T39" fmla="*/ 39 h 555"/>
                <a:gd name="T40" fmla="*/ 354 w 938"/>
                <a:gd name="T41" fmla="*/ 65 h 555"/>
                <a:gd name="T42" fmla="*/ 338 w 938"/>
                <a:gd name="T43" fmla="*/ 77 h 555"/>
                <a:gd name="T44" fmla="*/ 312 w 938"/>
                <a:gd name="T45" fmla="*/ 96 h 555"/>
                <a:gd name="T46" fmla="*/ 295 w 938"/>
                <a:gd name="T47" fmla="*/ 99 h 555"/>
                <a:gd name="T48" fmla="*/ 252 w 938"/>
                <a:gd name="T49" fmla="*/ 128 h 555"/>
                <a:gd name="T50" fmla="*/ 232 w 938"/>
                <a:gd name="T51" fmla="*/ 149 h 555"/>
                <a:gd name="T52" fmla="*/ 196 w 938"/>
                <a:gd name="T53" fmla="*/ 155 h 555"/>
                <a:gd name="T54" fmla="*/ 191 w 938"/>
                <a:gd name="T55" fmla="*/ 160 h 555"/>
                <a:gd name="T56" fmla="*/ 220 w 938"/>
                <a:gd name="T57" fmla="*/ 200 h 555"/>
                <a:gd name="T58" fmla="*/ 228 w 938"/>
                <a:gd name="T59" fmla="*/ 225 h 555"/>
                <a:gd name="T60" fmla="*/ 235 w 938"/>
                <a:gd name="T61" fmla="*/ 317 h 555"/>
                <a:gd name="T62" fmla="*/ 259 w 938"/>
                <a:gd name="T63" fmla="*/ 342 h 555"/>
                <a:gd name="T64" fmla="*/ 249 w 938"/>
                <a:gd name="T65" fmla="*/ 365 h 555"/>
                <a:gd name="T66" fmla="*/ 158 w 938"/>
                <a:gd name="T67" fmla="*/ 394 h 555"/>
                <a:gd name="T68" fmla="*/ 96 w 938"/>
                <a:gd name="T69" fmla="*/ 424 h 555"/>
                <a:gd name="T70" fmla="*/ 102 w 938"/>
                <a:gd name="T71" fmla="*/ 467 h 555"/>
                <a:gd name="T72" fmla="*/ 21 w 938"/>
                <a:gd name="T73" fmla="*/ 513 h 555"/>
                <a:gd name="T74" fmla="*/ 0 w 938"/>
                <a:gd name="T75" fmla="*/ 555 h 555"/>
                <a:gd name="T76" fmla="*/ 926 w 938"/>
                <a:gd name="T77" fmla="*/ 540 h 555"/>
                <a:gd name="T78" fmla="*/ 915 w 938"/>
                <a:gd name="T79" fmla="*/ 531 h 5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938" h="555">
                  <a:moveTo>
                    <a:pt x="915" y="531"/>
                  </a:moveTo>
                  <a:lnTo>
                    <a:pt x="915" y="523"/>
                  </a:lnTo>
                  <a:lnTo>
                    <a:pt x="926" y="513"/>
                  </a:lnTo>
                  <a:lnTo>
                    <a:pt x="934" y="510"/>
                  </a:lnTo>
                  <a:lnTo>
                    <a:pt x="902" y="381"/>
                  </a:lnTo>
                  <a:lnTo>
                    <a:pt x="857" y="350"/>
                  </a:lnTo>
                  <a:lnTo>
                    <a:pt x="846" y="312"/>
                  </a:lnTo>
                  <a:lnTo>
                    <a:pt x="816" y="298"/>
                  </a:lnTo>
                  <a:lnTo>
                    <a:pt x="804" y="252"/>
                  </a:lnTo>
                  <a:lnTo>
                    <a:pt x="808" y="234"/>
                  </a:lnTo>
                  <a:lnTo>
                    <a:pt x="851" y="187"/>
                  </a:lnTo>
                  <a:lnTo>
                    <a:pt x="857" y="56"/>
                  </a:lnTo>
                  <a:lnTo>
                    <a:pt x="846" y="42"/>
                  </a:lnTo>
                  <a:lnTo>
                    <a:pt x="849" y="34"/>
                  </a:lnTo>
                  <a:lnTo>
                    <a:pt x="863" y="28"/>
                  </a:lnTo>
                  <a:lnTo>
                    <a:pt x="866" y="13"/>
                  </a:lnTo>
                  <a:lnTo>
                    <a:pt x="837" y="9"/>
                  </a:lnTo>
                  <a:lnTo>
                    <a:pt x="820" y="16"/>
                  </a:lnTo>
                  <a:lnTo>
                    <a:pt x="808" y="9"/>
                  </a:lnTo>
                  <a:lnTo>
                    <a:pt x="790" y="0"/>
                  </a:lnTo>
                  <a:lnTo>
                    <a:pt x="783" y="6"/>
                  </a:lnTo>
                  <a:lnTo>
                    <a:pt x="780" y="13"/>
                  </a:lnTo>
                  <a:lnTo>
                    <a:pt x="751" y="13"/>
                  </a:lnTo>
                  <a:lnTo>
                    <a:pt x="736" y="0"/>
                  </a:lnTo>
                  <a:lnTo>
                    <a:pt x="727" y="3"/>
                  </a:lnTo>
                  <a:lnTo>
                    <a:pt x="716" y="15"/>
                  </a:lnTo>
                  <a:lnTo>
                    <a:pt x="692" y="13"/>
                  </a:lnTo>
                  <a:lnTo>
                    <a:pt x="670" y="34"/>
                  </a:lnTo>
                  <a:lnTo>
                    <a:pt x="651" y="27"/>
                  </a:lnTo>
                  <a:lnTo>
                    <a:pt x="638" y="12"/>
                  </a:lnTo>
                  <a:lnTo>
                    <a:pt x="612" y="6"/>
                  </a:lnTo>
                  <a:lnTo>
                    <a:pt x="568" y="4"/>
                  </a:lnTo>
                  <a:lnTo>
                    <a:pt x="550" y="16"/>
                  </a:lnTo>
                  <a:lnTo>
                    <a:pt x="535" y="15"/>
                  </a:lnTo>
                  <a:lnTo>
                    <a:pt x="534" y="18"/>
                  </a:lnTo>
                  <a:lnTo>
                    <a:pt x="516" y="13"/>
                  </a:lnTo>
                  <a:lnTo>
                    <a:pt x="510" y="27"/>
                  </a:lnTo>
                  <a:lnTo>
                    <a:pt x="473" y="28"/>
                  </a:lnTo>
                  <a:lnTo>
                    <a:pt x="452" y="40"/>
                  </a:lnTo>
                  <a:lnTo>
                    <a:pt x="406" y="39"/>
                  </a:lnTo>
                  <a:lnTo>
                    <a:pt x="371" y="60"/>
                  </a:lnTo>
                  <a:lnTo>
                    <a:pt x="354" y="65"/>
                  </a:lnTo>
                  <a:lnTo>
                    <a:pt x="347" y="75"/>
                  </a:lnTo>
                  <a:lnTo>
                    <a:pt x="338" y="77"/>
                  </a:lnTo>
                  <a:lnTo>
                    <a:pt x="329" y="96"/>
                  </a:lnTo>
                  <a:lnTo>
                    <a:pt x="312" y="96"/>
                  </a:lnTo>
                  <a:lnTo>
                    <a:pt x="300" y="86"/>
                  </a:lnTo>
                  <a:lnTo>
                    <a:pt x="295" y="99"/>
                  </a:lnTo>
                  <a:lnTo>
                    <a:pt x="267" y="102"/>
                  </a:lnTo>
                  <a:lnTo>
                    <a:pt x="252" y="128"/>
                  </a:lnTo>
                  <a:lnTo>
                    <a:pt x="235" y="142"/>
                  </a:lnTo>
                  <a:lnTo>
                    <a:pt x="232" y="149"/>
                  </a:lnTo>
                  <a:lnTo>
                    <a:pt x="210" y="154"/>
                  </a:lnTo>
                  <a:lnTo>
                    <a:pt x="196" y="155"/>
                  </a:lnTo>
                  <a:lnTo>
                    <a:pt x="188" y="154"/>
                  </a:lnTo>
                  <a:lnTo>
                    <a:pt x="191" y="160"/>
                  </a:lnTo>
                  <a:lnTo>
                    <a:pt x="222" y="188"/>
                  </a:lnTo>
                  <a:lnTo>
                    <a:pt x="220" y="200"/>
                  </a:lnTo>
                  <a:lnTo>
                    <a:pt x="229" y="206"/>
                  </a:lnTo>
                  <a:lnTo>
                    <a:pt x="228" y="225"/>
                  </a:lnTo>
                  <a:lnTo>
                    <a:pt x="234" y="240"/>
                  </a:lnTo>
                  <a:lnTo>
                    <a:pt x="235" y="317"/>
                  </a:lnTo>
                  <a:lnTo>
                    <a:pt x="247" y="336"/>
                  </a:lnTo>
                  <a:lnTo>
                    <a:pt x="259" y="342"/>
                  </a:lnTo>
                  <a:lnTo>
                    <a:pt x="261" y="354"/>
                  </a:lnTo>
                  <a:lnTo>
                    <a:pt x="249" y="365"/>
                  </a:lnTo>
                  <a:lnTo>
                    <a:pt x="249" y="388"/>
                  </a:lnTo>
                  <a:lnTo>
                    <a:pt x="158" y="394"/>
                  </a:lnTo>
                  <a:lnTo>
                    <a:pt x="145" y="419"/>
                  </a:lnTo>
                  <a:lnTo>
                    <a:pt x="96" y="424"/>
                  </a:lnTo>
                  <a:lnTo>
                    <a:pt x="87" y="434"/>
                  </a:lnTo>
                  <a:lnTo>
                    <a:pt x="102" y="467"/>
                  </a:lnTo>
                  <a:lnTo>
                    <a:pt x="96" y="481"/>
                  </a:lnTo>
                  <a:lnTo>
                    <a:pt x="21" y="513"/>
                  </a:lnTo>
                  <a:lnTo>
                    <a:pt x="1" y="555"/>
                  </a:lnTo>
                  <a:lnTo>
                    <a:pt x="0" y="555"/>
                  </a:lnTo>
                  <a:lnTo>
                    <a:pt x="938" y="555"/>
                  </a:lnTo>
                  <a:lnTo>
                    <a:pt x="926" y="540"/>
                  </a:lnTo>
                  <a:lnTo>
                    <a:pt x="915" y="531"/>
                  </a:lnTo>
                  <a:lnTo>
                    <a:pt x="915" y="531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672" name="Freeform 16"/>
            <p:cNvSpPr>
              <a:spLocks/>
            </p:cNvSpPr>
            <p:nvPr userDrawn="1"/>
          </p:nvSpPr>
          <p:spPr bwMode="auto">
            <a:xfrm>
              <a:off x="2808" y="3852"/>
              <a:ext cx="557" cy="465"/>
            </a:xfrm>
            <a:custGeom>
              <a:avLst/>
              <a:gdLst>
                <a:gd name="T0" fmla="*/ 317 w 557"/>
                <a:gd name="T1" fmla="*/ 423 h 465"/>
                <a:gd name="T2" fmla="*/ 392 w 557"/>
                <a:gd name="T3" fmla="*/ 391 h 465"/>
                <a:gd name="T4" fmla="*/ 398 w 557"/>
                <a:gd name="T5" fmla="*/ 377 h 465"/>
                <a:gd name="T6" fmla="*/ 383 w 557"/>
                <a:gd name="T7" fmla="*/ 344 h 465"/>
                <a:gd name="T8" fmla="*/ 392 w 557"/>
                <a:gd name="T9" fmla="*/ 334 h 465"/>
                <a:gd name="T10" fmla="*/ 441 w 557"/>
                <a:gd name="T11" fmla="*/ 329 h 465"/>
                <a:gd name="T12" fmla="*/ 454 w 557"/>
                <a:gd name="T13" fmla="*/ 304 h 465"/>
                <a:gd name="T14" fmla="*/ 545 w 557"/>
                <a:gd name="T15" fmla="*/ 298 h 465"/>
                <a:gd name="T16" fmla="*/ 545 w 557"/>
                <a:gd name="T17" fmla="*/ 275 h 465"/>
                <a:gd name="T18" fmla="*/ 557 w 557"/>
                <a:gd name="T19" fmla="*/ 264 h 465"/>
                <a:gd name="T20" fmla="*/ 555 w 557"/>
                <a:gd name="T21" fmla="*/ 252 h 465"/>
                <a:gd name="T22" fmla="*/ 543 w 557"/>
                <a:gd name="T23" fmla="*/ 246 h 465"/>
                <a:gd name="T24" fmla="*/ 531 w 557"/>
                <a:gd name="T25" fmla="*/ 227 h 465"/>
                <a:gd name="T26" fmla="*/ 530 w 557"/>
                <a:gd name="T27" fmla="*/ 150 h 465"/>
                <a:gd name="T28" fmla="*/ 524 w 557"/>
                <a:gd name="T29" fmla="*/ 135 h 465"/>
                <a:gd name="T30" fmla="*/ 525 w 557"/>
                <a:gd name="T31" fmla="*/ 116 h 465"/>
                <a:gd name="T32" fmla="*/ 516 w 557"/>
                <a:gd name="T33" fmla="*/ 110 h 465"/>
                <a:gd name="T34" fmla="*/ 518 w 557"/>
                <a:gd name="T35" fmla="*/ 98 h 465"/>
                <a:gd name="T36" fmla="*/ 487 w 557"/>
                <a:gd name="T37" fmla="*/ 70 h 465"/>
                <a:gd name="T38" fmla="*/ 484 w 557"/>
                <a:gd name="T39" fmla="*/ 64 h 465"/>
                <a:gd name="T40" fmla="*/ 468 w 557"/>
                <a:gd name="T41" fmla="*/ 61 h 465"/>
                <a:gd name="T42" fmla="*/ 450 w 557"/>
                <a:gd name="T43" fmla="*/ 64 h 465"/>
                <a:gd name="T44" fmla="*/ 441 w 557"/>
                <a:gd name="T45" fmla="*/ 44 h 465"/>
                <a:gd name="T46" fmla="*/ 432 w 557"/>
                <a:gd name="T47" fmla="*/ 44 h 465"/>
                <a:gd name="T48" fmla="*/ 424 w 557"/>
                <a:gd name="T49" fmla="*/ 55 h 465"/>
                <a:gd name="T50" fmla="*/ 403 w 557"/>
                <a:gd name="T51" fmla="*/ 55 h 465"/>
                <a:gd name="T52" fmla="*/ 391 w 557"/>
                <a:gd name="T53" fmla="*/ 49 h 465"/>
                <a:gd name="T54" fmla="*/ 361 w 557"/>
                <a:gd name="T55" fmla="*/ 53 h 465"/>
                <a:gd name="T56" fmla="*/ 346 w 557"/>
                <a:gd name="T57" fmla="*/ 61 h 465"/>
                <a:gd name="T58" fmla="*/ 315 w 557"/>
                <a:gd name="T59" fmla="*/ 41 h 465"/>
                <a:gd name="T60" fmla="*/ 302 w 557"/>
                <a:gd name="T61" fmla="*/ 35 h 465"/>
                <a:gd name="T62" fmla="*/ 294 w 557"/>
                <a:gd name="T63" fmla="*/ 23 h 465"/>
                <a:gd name="T64" fmla="*/ 285 w 557"/>
                <a:gd name="T65" fmla="*/ 14 h 465"/>
                <a:gd name="T66" fmla="*/ 290 w 557"/>
                <a:gd name="T67" fmla="*/ 0 h 465"/>
                <a:gd name="T68" fmla="*/ 281 w 557"/>
                <a:gd name="T69" fmla="*/ 0 h 465"/>
                <a:gd name="T70" fmla="*/ 266 w 557"/>
                <a:gd name="T71" fmla="*/ 11 h 465"/>
                <a:gd name="T72" fmla="*/ 249 w 557"/>
                <a:gd name="T73" fmla="*/ 8 h 465"/>
                <a:gd name="T74" fmla="*/ 237 w 557"/>
                <a:gd name="T75" fmla="*/ 58 h 465"/>
                <a:gd name="T76" fmla="*/ 220 w 557"/>
                <a:gd name="T77" fmla="*/ 104 h 465"/>
                <a:gd name="T78" fmla="*/ 193 w 557"/>
                <a:gd name="T79" fmla="*/ 147 h 465"/>
                <a:gd name="T80" fmla="*/ 128 w 557"/>
                <a:gd name="T81" fmla="*/ 184 h 465"/>
                <a:gd name="T82" fmla="*/ 115 w 557"/>
                <a:gd name="T83" fmla="*/ 193 h 465"/>
                <a:gd name="T84" fmla="*/ 100 w 557"/>
                <a:gd name="T85" fmla="*/ 192 h 465"/>
                <a:gd name="T86" fmla="*/ 83 w 557"/>
                <a:gd name="T87" fmla="*/ 208 h 465"/>
                <a:gd name="T88" fmla="*/ 70 w 557"/>
                <a:gd name="T89" fmla="*/ 237 h 465"/>
                <a:gd name="T90" fmla="*/ 41 w 557"/>
                <a:gd name="T91" fmla="*/ 257 h 465"/>
                <a:gd name="T92" fmla="*/ 33 w 557"/>
                <a:gd name="T93" fmla="*/ 264 h 465"/>
                <a:gd name="T94" fmla="*/ 41 w 557"/>
                <a:gd name="T95" fmla="*/ 278 h 465"/>
                <a:gd name="T96" fmla="*/ 36 w 557"/>
                <a:gd name="T97" fmla="*/ 296 h 465"/>
                <a:gd name="T98" fmla="*/ 14 w 557"/>
                <a:gd name="T99" fmla="*/ 328 h 465"/>
                <a:gd name="T100" fmla="*/ 8 w 557"/>
                <a:gd name="T101" fmla="*/ 332 h 465"/>
                <a:gd name="T102" fmla="*/ 6 w 557"/>
                <a:gd name="T103" fmla="*/ 343 h 465"/>
                <a:gd name="T104" fmla="*/ 0 w 557"/>
                <a:gd name="T105" fmla="*/ 352 h 465"/>
                <a:gd name="T106" fmla="*/ 9 w 557"/>
                <a:gd name="T107" fmla="*/ 388 h 465"/>
                <a:gd name="T108" fmla="*/ 0 w 557"/>
                <a:gd name="T109" fmla="*/ 399 h 465"/>
                <a:gd name="T110" fmla="*/ 8 w 557"/>
                <a:gd name="T111" fmla="*/ 411 h 465"/>
                <a:gd name="T112" fmla="*/ 15 w 557"/>
                <a:gd name="T113" fmla="*/ 415 h 465"/>
                <a:gd name="T114" fmla="*/ 15 w 557"/>
                <a:gd name="T115" fmla="*/ 444 h 465"/>
                <a:gd name="T116" fmla="*/ 2 w 557"/>
                <a:gd name="T117" fmla="*/ 465 h 465"/>
                <a:gd name="T118" fmla="*/ 296 w 557"/>
                <a:gd name="T119" fmla="*/ 465 h 465"/>
                <a:gd name="T120" fmla="*/ 297 w 557"/>
                <a:gd name="T121" fmla="*/ 465 h 465"/>
                <a:gd name="T122" fmla="*/ 317 w 557"/>
                <a:gd name="T123" fmla="*/ 423 h 465"/>
                <a:gd name="T124" fmla="*/ 317 w 557"/>
                <a:gd name="T125" fmla="*/ 423 h 4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57" h="465">
                  <a:moveTo>
                    <a:pt x="317" y="423"/>
                  </a:moveTo>
                  <a:lnTo>
                    <a:pt x="392" y="391"/>
                  </a:lnTo>
                  <a:lnTo>
                    <a:pt x="398" y="377"/>
                  </a:lnTo>
                  <a:lnTo>
                    <a:pt x="383" y="344"/>
                  </a:lnTo>
                  <a:lnTo>
                    <a:pt x="392" y="334"/>
                  </a:lnTo>
                  <a:lnTo>
                    <a:pt x="441" y="329"/>
                  </a:lnTo>
                  <a:lnTo>
                    <a:pt x="454" y="304"/>
                  </a:lnTo>
                  <a:lnTo>
                    <a:pt x="545" y="298"/>
                  </a:lnTo>
                  <a:lnTo>
                    <a:pt x="545" y="275"/>
                  </a:lnTo>
                  <a:lnTo>
                    <a:pt x="557" y="264"/>
                  </a:lnTo>
                  <a:lnTo>
                    <a:pt x="555" y="252"/>
                  </a:lnTo>
                  <a:lnTo>
                    <a:pt x="543" y="246"/>
                  </a:lnTo>
                  <a:lnTo>
                    <a:pt x="531" y="227"/>
                  </a:lnTo>
                  <a:lnTo>
                    <a:pt x="530" y="150"/>
                  </a:lnTo>
                  <a:lnTo>
                    <a:pt x="524" y="135"/>
                  </a:lnTo>
                  <a:lnTo>
                    <a:pt x="525" y="116"/>
                  </a:lnTo>
                  <a:lnTo>
                    <a:pt x="516" y="110"/>
                  </a:lnTo>
                  <a:lnTo>
                    <a:pt x="518" y="98"/>
                  </a:lnTo>
                  <a:lnTo>
                    <a:pt x="487" y="70"/>
                  </a:lnTo>
                  <a:lnTo>
                    <a:pt x="484" y="64"/>
                  </a:lnTo>
                  <a:lnTo>
                    <a:pt x="468" y="61"/>
                  </a:lnTo>
                  <a:lnTo>
                    <a:pt x="450" y="64"/>
                  </a:lnTo>
                  <a:lnTo>
                    <a:pt x="441" y="44"/>
                  </a:lnTo>
                  <a:lnTo>
                    <a:pt x="432" y="44"/>
                  </a:lnTo>
                  <a:lnTo>
                    <a:pt x="424" y="55"/>
                  </a:lnTo>
                  <a:lnTo>
                    <a:pt x="403" y="55"/>
                  </a:lnTo>
                  <a:lnTo>
                    <a:pt x="391" y="49"/>
                  </a:lnTo>
                  <a:lnTo>
                    <a:pt x="361" y="53"/>
                  </a:lnTo>
                  <a:lnTo>
                    <a:pt x="346" y="61"/>
                  </a:lnTo>
                  <a:lnTo>
                    <a:pt x="315" y="41"/>
                  </a:lnTo>
                  <a:lnTo>
                    <a:pt x="302" y="35"/>
                  </a:lnTo>
                  <a:lnTo>
                    <a:pt x="294" y="23"/>
                  </a:lnTo>
                  <a:lnTo>
                    <a:pt x="285" y="14"/>
                  </a:lnTo>
                  <a:lnTo>
                    <a:pt x="290" y="0"/>
                  </a:lnTo>
                  <a:lnTo>
                    <a:pt x="281" y="0"/>
                  </a:lnTo>
                  <a:lnTo>
                    <a:pt x="266" y="11"/>
                  </a:lnTo>
                  <a:lnTo>
                    <a:pt x="249" y="8"/>
                  </a:lnTo>
                  <a:lnTo>
                    <a:pt x="237" y="58"/>
                  </a:lnTo>
                  <a:lnTo>
                    <a:pt x="220" y="104"/>
                  </a:lnTo>
                  <a:lnTo>
                    <a:pt x="193" y="147"/>
                  </a:lnTo>
                  <a:lnTo>
                    <a:pt x="128" y="184"/>
                  </a:lnTo>
                  <a:lnTo>
                    <a:pt x="115" y="193"/>
                  </a:lnTo>
                  <a:lnTo>
                    <a:pt x="100" y="192"/>
                  </a:lnTo>
                  <a:lnTo>
                    <a:pt x="83" y="208"/>
                  </a:lnTo>
                  <a:lnTo>
                    <a:pt x="70" y="237"/>
                  </a:lnTo>
                  <a:lnTo>
                    <a:pt x="41" y="257"/>
                  </a:lnTo>
                  <a:lnTo>
                    <a:pt x="33" y="264"/>
                  </a:lnTo>
                  <a:lnTo>
                    <a:pt x="41" y="278"/>
                  </a:lnTo>
                  <a:lnTo>
                    <a:pt x="36" y="296"/>
                  </a:lnTo>
                  <a:lnTo>
                    <a:pt x="14" y="328"/>
                  </a:lnTo>
                  <a:lnTo>
                    <a:pt x="8" y="332"/>
                  </a:lnTo>
                  <a:lnTo>
                    <a:pt x="6" y="343"/>
                  </a:lnTo>
                  <a:lnTo>
                    <a:pt x="0" y="352"/>
                  </a:lnTo>
                  <a:lnTo>
                    <a:pt x="9" y="388"/>
                  </a:lnTo>
                  <a:lnTo>
                    <a:pt x="0" y="399"/>
                  </a:lnTo>
                  <a:lnTo>
                    <a:pt x="8" y="411"/>
                  </a:lnTo>
                  <a:lnTo>
                    <a:pt x="15" y="415"/>
                  </a:lnTo>
                  <a:lnTo>
                    <a:pt x="15" y="444"/>
                  </a:lnTo>
                  <a:lnTo>
                    <a:pt x="2" y="465"/>
                  </a:lnTo>
                  <a:lnTo>
                    <a:pt x="296" y="465"/>
                  </a:lnTo>
                  <a:lnTo>
                    <a:pt x="297" y="465"/>
                  </a:lnTo>
                  <a:lnTo>
                    <a:pt x="317" y="423"/>
                  </a:lnTo>
                  <a:lnTo>
                    <a:pt x="317" y="423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673" name="Freeform 17"/>
            <p:cNvSpPr>
              <a:spLocks/>
            </p:cNvSpPr>
            <p:nvPr userDrawn="1"/>
          </p:nvSpPr>
          <p:spPr bwMode="auto">
            <a:xfrm>
              <a:off x="3908" y="3741"/>
              <a:ext cx="258" cy="532"/>
            </a:xfrm>
            <a:custGeom>
              <a:avLst/>
              <a:gdLst>
                <a:gd name="T0" fmla="*/ 45 w 258"/>
                <a:gd name="T1" fmla="*/ 55 h 532"/>
                <a:gd name="T2" fmla="*/ 42 w 258"/>
                <a:gd name="T3" fmla="*/ 63 h 532"/>
                <a:gd name="T4" fmla="*/ 53 w 258"/>
                <a:gd name="T5" fmla="*/ 77 h 532"/>
                <a:gd name="T6" fmla="*/ 47 w 258"/>
                <a:gd name="T7" fmla="*/ 208 h 532"/>
                <a:gd name="T8" fmla="*/ 4 w 258"/>
                <a:gd name="T9" fmla="*/ 255 h 532"/>
                <a:gd name="T10" fmla="*/ 0 w 258"/>
                <a:gd name="T11" fmla="*/ 273 h 532"/>
                <a:gd name="T12" fmla="*/ 12 w 258"/>
                <a:gd name="T13" fmla="*/ 319 h 532"/>
                <a:gd name="T14" fmla="*/ 42 w 258"/>
                <a:gd name="T15" fmla="*/ 333 h 532"/>
                <a:gd name="T16" fmla="*/ 53 w 258"/>
                <a:gd name="T17" fmla="*/ 371 h 532"/>
                <a:gd name="T18" fmla="*/ 98 w 258"/>
                <a:gd name="T19" fmla="*/ 402 h 532"/>
                <a:gd name="T20" fmla="*/ 130 w 258"/>
                <a:gd name="T21" fmla="*/ 531 h 532"/>
                <a:gd name="T22" fmla="*/ 143 w 258"/>
                <a:gd name="T23" fmla="*/ 532 h 532"/>
                <a:gd name="T24" fmla="*/ 170 w 258"/>
                <a:gd name="T25" fmla="*/ 519 h 532"/>
                <a:gd name="T26" fmla="*/ 179 w 258"/>
                <a:gd name="T27" fmla="*/ 491 h 532"/>
                <a:gd name="T28" fmla="*/ 170 w 258"/>
                <a:gd name="T29" fmla="*/ 461 h 532"/>
                <a:gd name="T30" fmla="*/ 172 w 258"/>
                <a:gd name="T31" fmla="*/ 437 h 532"/>
                <a:gd name="T32" fmla="*/ 191 w 258"/>
                <a:gd name="T33" fmla="*/ 421 h 532"/>
                <a:gd name="T34" fmla="*/ 229 w 258"/>
                <a:gd name="T35" fmla="*/ 395 h 532"/>
                <a:gd name="T36" fmla="*/ 258 w 258"/>
                <a:gd name="T37" fmla="*/ 374 h 532"/>
                <a:gd name="T38" fmla="*/ 247 w 258"/>
                <a:gd name="T39" fmla="*/ 324 h 532"/>
                <a:gd name="T40" fmla="*/ 234 w 258"/>
                <a:gd name="T41" fmla="*/ 329 h 532"/>
                <a:gd name="T42" fmla="*/ 229 w 258"/>
                <a:gd name="T43" fmla="*/ 324 h 532"/>
                <a:gd name="T44" fmla="*/ 226 w 258"/>
                <a:gd name="T45" fmla="*/ 304 h 532"/>
                <a:gd name="T46" fmla="*/ 218 w 258"/>
                <a:gd name="T47" fmla="*/ 294 h 532"/>
                <a:gd name="T48" fmla="*/ 203 w 258"/>
                <a:gd name="T49" fmla="*/ 304 h 532"/>
                <a:gd name="T50" fmla="*/ 199 w 258"/>
                <a:gd name="T51" fmla="*/ 300 h 532"/>
                <a:gd name="T52" fmla="*/ 197 w 258"/>
                <a:gd name="T53" fmla="*/ 289 h 532"/>
                <a:gd name="T54" fmla="*/ 190 w 258"/>
                <a:gd name="T55" fmla="*/ 289 h 532"/>
                <a:gd name="T56" fmla="*/ 185 w 258"/>
                <a:gd name="T57" fmla="*/ 294 h 532"/>
                <a:gd name="T58" fmla="*/ 163 w 258"/>
                <a:gd name="T59" fmla="*/ 277 h 532"/>
                <a:gd name="T60" fmla="*/ 155 w 258"/>
                <a:gd name="T61" fmla="*/ 256 h 532"/>
                <a:gd name="T62" fmla="*/ 160 w 258"/>
                <a:gd name="T63" fmla="*/ 237 h 532"/>
                <a:gd name="T64" fmla="*/ 191 w 258"/>
                <a:gd name="T65" fmla="*/ 221 h 532"/>
                <a:gd name="T66" fmla="*/ 214 w 258"/>
                <a:gd name="T67" fmla="*/ 196 h 532"/>
                <a:gd name="T68" fmla="*/ 218 w 258"/>
                <a:gd name="T69" fmla="*/ 176 h 532"/>
                <a:gd name="T70" fmla="*/ 226 w 258"/>
                <a:gd name="T71" fmla="*/ 172 h 532"/>
                <a:gd name="T72" fmla="*/ 220 w 258"/>
                <a:gd name="T73" fmla="*/ 146 h 532"/>
                <a:gd name="T74" fmla="*/ 211 w 258"/>
                <a:gd name="T75" fmla="*/ 137 h 532"/>
                <a:gd name="T76" fmla="*/ 209 w 258"/>
                <a:gd name="T77" fmla="*/ 132 h 532"/>
                <a:gd name="T78" fmla="*/ 188 w 258"/>
                <a:gd name="T79" fmla="*/ 122 h 532"/>
                <a:gd name="T80" fmla="*/ 184 w 258"/>
                <a:gd name="T81" fmla="*/ 101 h 532"/>
                <a:gd name="T82" fmla="*/ 185 w 258"/>
                <a:gd name="T83" fmla="*/ 83 h 532"/>
                <a:gd name="T84" fmla="*/ 208 w 258"/>
                <a:gd name="T85" fmla="*/ 63 h 532"/>
                <a:gd name="T86" fmla="*/ 209 w 258"/>
                <a:gd name="T87" fmla="*/ 55 h 532"/>
                <a:gd name="T88" fmla="*/ 220 w 258"/>
                <a:gd name="T89" fmla="*/ 45 h 532"/>
                <a:gd name="T90" fmla="*/ 220 w 258"/>
                <a:gd name="T91" fmla="*/ 30 h 532"/>
                <a:gd name="T92" fmla="*/ 211 w 258"/>
                <a:gd name="T93" fmla="*/ 24 h 532"/>
                <a:gd name="T94" fmla="*/ 202 w 258"/>
                <a:gd name="T95" fmla="*/ 37 h 532"/>
                <a:gd name="T96" fmla="*/ 187 w 258"/>
                <a:gd name="T97" fmla="*/ 40 h 532"/>
                <a:gd name="T98" fmla="*/ 187 w 258"/>
                <a:gd name="T99" fmla="*/ 49 h 532"/>
                <a:gd name="T100" fmla="*/ 175 w 258"/>
                <a:gd name="T101" fmla="*/ 51 h 532"/>
                <a:gd name="T102" fmla="*/ 163 w 258"/>
                <a:gd name="T103" fmla="*/ 39 h 532"/>
                <a:gd name="T104" fmla="*/ 166 w 258"/>
                <a:gd name="T105" fmla="*/ 25 h 532"/>
                <a:gd name="T106" fmla="*/ 163 w 258"/>
                <a:gd name="T107" fmla="*/ 19 h 532"/>
                <a:gd name="T108" fmla="*/ 166 w 258"/>
                <a:gd name="T109" fmla="*/ 13 h 532"/>
                <a:gd name="T110" fmla="*/ 131 w 258"/>
                <a:gd name="T111" fmla="*/ 0 h 532"/>
                <a:gd name="T112" fmla="*/ 116 w 258"/>
                <a:gd name="T113" fmla="*/ 6 h 532"/>
                <a:gd name="T114" fmla="*/ 102 w 258"/>
                <a:gd name="T115" fmla="*/ 7 h 532"/>
                <a:gd name="T116" fmla="*/ 80 w 258"/>
                <a:gd name="T117" fmla="*/ 28 h 532"/>
                <a:gd name="T118" fmla="*/ 62 w 258"/>
                <a:gd name="T119" fmla="*/ 34 h 532"/>
                <a:gd name="T120" fmla="*/ 59 w 258"/>
                <a:gd name="T121" fmla="*/ 49 h 532"/>
                <a:gd name="T122" fmla="*/ 45 w 258"/>
                <a:gd name="T123" fmla="*/ 55 h 532"/>
                <a:gd name="T124" fmla="*/ 45 w 258"/>
                <a:gd name="T125" fmla="*/ 55 h 5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58" h="532">
                  <a:moveTo>
                    <a:pt x="45" y="55"/>
                  </a:moveTo>
                  <a:lnTo>
                    <a:pt x="42" y="63"/>
                  </a:lnTo>
                  <a:lnTo>
                    <a:pt x="53" y="77"/>
                  </a:lnTo>
                  <a:lnTo>
                    <a:pt x="47" y="208"/>
                  </a:lnTo>
                  <a:lnTo>
                    <a:pt x="4" y="255"/>
                  </a:lnTo>
                  <a:lnTo>
                    <a:pt x="0" y="273"/>
                  </a:lnTo>
                  <a:lnTo>
                    <a:pt x="12" y="319"/>
                  </a:lnTo>
                  <a:lnTo>
                    <a:pt x="42" y="333"/>
                  </a:lnTo>
                  <a:lnTo>
                    <a:pt x="53" y="371"/>
                  </a:lnTo>
                  <a:lnTo>
                    <a:pt x="98" y="402"/>
                  </a:lnTo>
                  <a:lnTo>
                    <a:pt x="130" y="531"/>
                  </a:lnTo>
                  <a:lnTo>
                    <a:pt x="143" y="532"/>
                  </a:lnTo>
                  <a:lnTo>
                    <a:pt x="170" y="519"/>
                  </a:lnTo>
                  <a:lnTo>
                    <a:pt x="179" y="491"/>
                  </a:lnTo>
                  <a:lnTo>
                    <a:pt x="170" y="461"/>
                  </a:lnTo>
                  <a:lnTo>
                    <a:pt x="172" y="437"/>
                  </a:lnTo>
                  <a:lnTo>
                    <a:pt x="191" y="421"/>
                  </a:lnTo>
                  <a:lnTo>
                    <a:pt x="229" y="395"/>
                  </a:lnTo>
                  <a:lnTo>
                    <a:pt x="258" y="374"/>
                  </a:lnTo>
                  <a:lnTo>
                    <a:pt x="247" y="324"/>
                  </a:lnTo>
                  <a:lnTo>
                    <a:pt x="234" y="329"/>
                  </a:lnTo>
                  <a:lnTo>
                    <a:pt x="229" y="324"/>
                  </a:lnTo>
                  <a:lnTo>
                    <a:pt x="226" y="304"/>
                  </a:lnTo>
                  <a:lnTo>
                    <a:pt x="218" y="294"/>
                  </a:lnTo>
                  <a:lnTo>
                    <a:pt x="203" y="304"/>
                  </a:lnTo>
                  <a:lnTo>
                    <a:pt x="199" y="300"/>
                  </a:lnTo>
                  <a:lnTo>
                    <a:pt x="197" y="289"/>
                  </a:lnTo>
                  <a:lnTo>
                    <a:pt x="190" y="289"/>
                  </a:lnTo>
                  <a:lnTo>
                    <a:pt x="185" y="294"/>
                  </a:lnTo>
                  <a:lnTo>
                    <a:pt x="163" y="277"/>
                  </a:lnTo>
                  <a:lnTo>
                    <a:pt x="155" y="256"/>
                  </a:lnTo>
                  <a:lnTo>
                    <a:pt x="160" y="237"/>
                  </a:lnTo>
                  <a:lnTo>
                    <a:pt x="191" y="221"/>
                  </a:lnTo>
                  <a:lnTo>
                    <a:pt x="214" y="196"/>
                  </a:lnTo>
                  <a:lnTo>
                    <a:pt x="218" y="176"/>
                  </a:lnTo>
                  <a:lnTo>
                    <a:pt x="226" y="172"/>
                  </a:lnTo>
                  <a:lnTo>
                    <a:pt x="220" y="146"/>
                  </a:lnTo>
                  <a:lnTo>
                    <a:pt x="211" y="137"/>
                  </a:lnTo>
                  <a:lnTo>
                    <a:pt x="209" y="132"/>
                  </a:lnTo>
                  <a:lnTo>
                    <a:pt x="188" y="122"/>
                  </a:lnTo>
                  <a:lnTo>
                    <a:pt x="184" y="101"/>
                  </a:lnTo>
                  <a:lnTo>
                    <a:pt x="185" y="83"/>
                  </a:lnTo>
                  <a:lnTo>
                    <a:pt x="208" y="63"/>
                  </a:lnTo>
                  <a:lnTo>
                    <a:pt x="209" y="55"/>
                  </a:lnTo>
                  <a:lnTo>
                    <a:pt x="220" y="45"/>
                  </a:lnTo>
                  <a:lnTo>
                    <a:pt x="220" y="30"/>
                  </a:lnTo>
                  <a:lnTo>
                    <a:pt x="211" y="24"/>
                  </a:lnTo>
                  <a:lnTo>
                    <a:pt x="202" y="37"/>
                  </a:lnTo>
                  <a:lnTo>
                    <a:pt x="187" y="40"/>
                  </a:lnTo>
                  <a:lnTo>
                    <a:pt x="187" y="49"/>
                  </a:lnTo>
                  <a:lnTo>
                    <a:pt x="175" y="51"/>
                  </a:lnTo>
                  <a:lnTo>
                    <a:pt x="163" y="39"/>
                  </a:lnTo>
                  <a:lnTo>
                    <a:pt x="166" y="25"/>
                  </a:lnTo>
                  <a:lnTo>
                    <a:pt x="163" y="19"/>
                  </a:lnTo>
                  <a:lnTo>
                    <a:pt x="166" y="13"/>
                  </a:lnTo>
                  <a:lnTo>
                    <a:pt x="131" y="0"/>
                  </a:lnTo>
                  <a:lnTo>
                    <a:pt x="116" y="6"/>
                  </a:lnTo>
                  <a:lnTo>
                    <a:pt x="102" y="7"/>
                  </a:lnTo>
                  <a:lnTo>
                    <a:pt x="80" y="28"/>
                  </a:lnTo>
                  <a:lnTo>
                    <a:pt x="62" y="34"/>
                  </a:lnTo>
                  <a:lnTo>
                    <a:pt x="59" y="49"/>
                  </a:lnTo>
                  <a:lnTo>
                    <a:pt x="45" y="55"/>
                  </a:lnTo>
                  <a:lnTo>
                    <a:pt x="45" y="55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674" name="Freeform 18"/>
            <p:cNvSpPr>
              <a:spLocks/>
            </p:cNvSpPr>
            <p:nvPr userDrawn="1"/>
          </p:nvSpPr>
          <p:spPr bwMode="auto">
            <a:xfrm>
              <a:off x="5000" y="4174"/>
              <a:ext cx="493" cy="143"/>
            </a:xfrm>
            <a:custGeom>
              <a:avLst/>
              <a:gdLst>
                <a:gd name="T0" fmla="*/ 493 w 493"/>
                <a:gd name="T1" fmla="*/ 114 h 143"/>
                <a:gd name="T2" fmla="*/ 481 w 493"/>
                <a:gd name="T3" fmla="*/ 99 h 143"/>
                <a:gd name="T4" fmla="*/ 479 w 493"/>
                <a:gd name="T5" fmla="*/ 83 h 143"/>
                <a:gd name="T6" fmla="*/ 487 w 493"/>
                <a:gd name="T7" fmla="*/ 54 h 143"/>
                <a:gd name="T8" fmla="*/ 484 w 493"/>
                <a:gd name="T9" fmla="*/ 42 h 143"/>
                <a:gd name="T10" fmla="*/ 467 w 493"/>
                <a:gd name="T11" fmla="*/ 40 h 143"/>
                <a:gd name="T12" fmla="*/ 466 w 493"/>
                <a:gd name="T13" fmla="*/ 31 h 143"/>
                <a:gd name="T14" fmla="*/ 467 w 493"/>
                <a:gd name="T15" fmla="*/ 28 h 143"/>
                <a:gd name="T16" fmla="*/ 485 w 493"/>
                <a:gd name="T17" fmla="*/ 33 h 143"/>
                <a:gd name="T18" fmla="*/ 485 w 493"/>
                <a:gd name="T19" fmla="*/ 30 h 143"/>
                <a:gd name="T20" fmla="*/ 475 w 493"/>
                <a:gd name="T21" fmla="*/ 24 h 143"/>
                <a:gd name="T22" fmla="*/ 454 w 493"/>
                <a:gd name="T23" fmla="*/ 12 h 143"/>
                <a:gd name="T24" fmla="*/ 436 w 493"/>
                <a:gd name="T25" fmla="*/ 16 h 143"/>
                <a:gd name="T26" fmla="*/ 415 w 493"/>
                <a:gd name="T27" fmla="*/ 3 h 143"/>
                <a:gd name="T28" fmla="*/ 407 w 493"/>
                <a:gd name="T29" fmla="*/ 3 h 143"/>
                <a:gd name="T30" fmla="*/ 396 w 493"/>
                <a:gd name="T31" fmla="*/ 7 h 143"/>
                <a:gd name="T32" fmla="*/ 404 w 493"/>
                <a:gd name="T33" fmla="*/ 9 h 143"/>
                <a:gd name="T34" fmla="*/ 401 w 493"/>
                <a:gd name="T35" fmla="*/ 15 h 143"/>
                <a:gd name="T36" fmla="*/ 384 w 493"/>
                <a:gd name="T37" fmla="*/ 27 h 143"/>
                <a:gd name="T38" fmla="*/ 375 w 493"/>
                <a:gd name="T39" fmla="*/ 31 h 143"/>
                <a:gd name="T40" fmla="*/ 368 w 493"/>
                <a:gd name="T41" fmla="*/ 19 h 143"/>
                <a:gd name="T42" fmla="*/ 384 w 493"/>
                <a:gd name="T43" fmla="*/ 13 h 143"/>
                <a:gd name="T44" fmla="*/ 393 w 493"/>
                <a:gd name="T45" fmla="*/ 9 h 143"/>
                <a:gd name="T46" fmla="*/ 386 w 493"/>
                <a:gd name="T47" fmla="*/ 7 h 143"/>
                <a:gd name="T48" fmla="*/ 354 w 493"/>
                <a:gd name="T49" fmla="*/ 16 h 143"/>
                <a:gd name="T50" fmla="*/ 341 w 493"/>
                <a:gd name="T51" fmla="*/ 30 h 143"/>
                <a:gd name="T52" fmla="*/ 320 w 493"/>
                <a:gd name="T53" fmla="*/ 46 h 143"/>
                <a:gd name="T54" fmla="*/ 289 w 493"/>
                <a:gd name="T55" fmla="*/ 61 h 143"/>
                <a:gd name="T56" fmla="*/ 274 w 493"/>
                <a:gd name="T57" fmla="*/ 63 h 143"/>
                <a:gd name="T58" fmla="*/ 237 w 493"/>
                <a:gd name="T59" fmla="*/ 43 h 143"/>
                <a:gd name="T60" fmla="*/ 214 w 493"/>
                <a:gd name="T61" fmla="*/ 46 h 143"/>
                <a:gd name="T62" fmla="*/ 197 w 493"/>
                <a:gd name="T63" fmla="*/ 33 h 143"/>
                <a:gd name="T64" fmla="*/ 185 w 493"/>
                <a:gd name="T65" fmla="*/ 37 h 143"/>
                <a:gd name="T66" fmla="*/ 155 w 493"/>
                <a:gd name="T67" fmla="*/ 25 h 143"/>
                <a:gd name="T68" fmla="*/ 78 w 493"/>
                <a:gd name="T69" fmla="*/ 0 h 143"/>
                <a:gd name="T70" fmla="*/ 41 w 493"/>
                <a:gd name="T71" fmla="*/ 12 h 143"/>
                <a:gd name="T72" fmla="*/ 21 w 493"/>
                <a:gd name="T73" fmla="*/ 3 h 143"/>
                <a:gd name="T74" fmla="*/ 7 w 493"/>
                <a:gd name="T75" fmla="*/ 15 h 143"/>
                <a:gd name="T76" fmla="*/ 7 w 493"/>
                <a:gd name="T77" fmla="*/ 34 h 143"/>
                <a:gd name="T78" fmla="*/ 15 w 493"/>
                <a:gd name="T79" fmla="*/ 60 h 143"/>
                <a:gd name="T80" fmla="*/ 0 w 493"/>
                <a:gd name="T81" fmla="*/ 110 h 143"/>
                <a:gd name="T82" fmla="*/ 9 w 493"/>
                <a:gd name="T83" fmla="*/ 140 h 143"/>
                <a:gd name="T84" fmla="*/ 10 w 493"/>
                <a:gd name="T85" fmla="*/ 143 h 143"/>
                <a:gd name="T86" fmla="*/ 487 w 493"/>
                <a:gd name="T87" fmla="*/ 143 h 143"/>
                <a:gd name="T88" fmla="*/ 490 w 493"/>
                <a:gd name="T89" fmla="*/ 126 h 143"/>
                <a:gd name="T90" fmla="*/ 493 w 493"/>
                <a:gd name="T91" fmla="*/ 114 h 143"/>
                <a:gd name="T92" fmla="*/ 493 w 493"/>
                <a:gd name="T93" fmla="*/ 11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93" h="143">
                  <a:moveTo>
                    <a:pt x="493" y="114"/>
                  </a:moveTo>
                  <a:lnTo>
                    <a:pt x="481" y="99"/>
                  </a:lnTo>
                  <a:lnTo>
                    <a:pt x="479" y="83"/>
                  </a:lnTo>
                  <a:lnTo>
                    <a:pt x="487" y="54"/>
                  </a:lnTo>
                  <a:lnTo>
                    <a:pt x="484" y="42"/>
                  </a:lnTo>
                  <a:lnTo>
                    <a:pt x="467" y="40"/>
                  </a:lnTo>
                  <a:lnTo>
                    <a:pt x="466" y="31"/>
                  </a:lnTo>
                  <a:lnTo>
                    <a:pt x="467" y="28"/>
                  </a:lnTo>
                  <a:lnTo>
                    <a:pt x="485" y="33"/>
                  </a:lnTo>
                  <a:lnTo>
                    <a:pt x="485" y="30"/>
                  </a:lnTo>
                  <a:lnTo>
                    <a:pt x="475" y="24"/>
                  </a:lnTo>
                  <a:lnTo>
                    <a:pt x="454" y="12"/>
                  </a:lnTo>
                  <a:lnTo>
                    <a:pt x="436" y="16"/>
                  </a:lnTo>
                  <a:lnTo>
                    <a:pt x="415" y="3"/>
                  </a:lnTo>
                  <a:lnTo>
                    <a:pt x="407" y="3"/>
                  </a:lnTo>
                  <a:lnTo>
                    <a:pt x="396" y="7"/>
                  </a:lnTo>
                  <a:lnTo>
                    <a:pt x="404" y="9"/>
                  </a:lnTo>
                  <a:lnTo>
                    <a:pt x="401" y="15"/>
                  </a:lnTo>
                  <a:lnTo>
                    <a:pt x="384" y="27"/>
                  </a:lnTo>
                  <a:lnTo>
                    <a:pt x="375" y="31"/>
                  </a:lnTo>
                  <a:lnTo>
                    <a:pt x="368" y="19"/>
                  </a:lnTo>
                  <a:lnTo>
                    <a:pt x="384" y="13"/>
                  </a:lnTo>
                  <a:lnTo>
                    <a:pt x="393" y="9"/>
                  </a:lnTo>
                  <a:lnTo>
                    <a:pt x="386" y="7"/>
                  </a:lnTo>
                  <a:lnTo>
                    <a:pt x="354" y="16"/>
                  </a:lnTo>
                  <a:lnTo>
                    <a:pt x="341" y="30"/>
                  </a:lnTo>
                  <a:lnTo>
                    <a:pt x="320" y="46"/>
                  </a:lnTo>
                  <a:lnTo>
                    <a:pt x="289" y="61"/>
                  </a:lnTo>
                  <a:lnTo>
                    <a:pt x="274" y="63"/>
                  </a:lnTo>
                  <a:lnTo>
                    <a:pt x="237" y="43"/>
                  </a:lnTo>
                  <a:lnTo>
                    <a:pt x="214" y="46"/>
                  </a:lnTo>
                  <a:lnTo>
                    <a:pt x="197" y="33"/>
                  </a:lnTo>
                  <a:lnTo>
                    <a:pt x="185" y="37"/>
                  </a:lnTo>
                  <a:lnTo>
                    <a:pt x="155" y="25"/>
                  </a:lnTo>
                  <a:lnTo>
                    <a:pt x="78" y="0"/>
                  </a:lnTo>
                  <a:lnTo>
                    <a:pt x="41" y="12"/>
                  </a:lnTo>
                  <a:lnTo>
                    <a:pt x="21" y="3"/>
                  </a:lnTo>
                  <a:lnTo>
                    <a:pt x="7" y="15"/>
                  </a:lnTo>
                  <a:lnTo>
                    <a:pt x="7" y="34"/>
                  </a:lnTo>
                  <a:lnTo>
                    <a:pt x="15" y="60"/>
                  </a:lnTo>
                  <a:lnTo>
                    <a:pt x="0" y="110"/>
                  </a:lnTo>
                  <a:lnTo>
                    <a:pt x="9" y="140"/>
                  </a:lnTo>
                  <a:lnTo>
                    <a:pt x="10" y="143"/>
                  </a:lnTo>
                  <a:lnTo>
                    <a:pt x="487" y="143"/>
                  </a:lnTo>
                  <a:lnTo>
                    <a:pt x="490" y="126"/>
                  </a:lnTo>
                  <a:lnTo>
                    <a:pt x="493" y="114"/>
                  </a:lnTo>
                  <a:lnTo>
                    <a:pt x="493" y="114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675" name="Freeform 19"/>
            <p:cNvSpPr>
              <a:spLocks/>
            </p:cNvSpPr>
            <p:nvPr userDrawn="1"/>
          </p:nvSpPr>
          <p:spPr bwMode="auto">
            <a:xfrm>
              <a:off x="4111" y="4012"/>
              <a:ext cx="20" cy="20"/>
            </a:xfrm>
            <a:custGeom>
              <a:avLst/>
              <a:gdLst>
                <a:gd name="T0" fmla="*/ 0 w 20"/>
                <a:gd name="T1" fmla="*/ 11 h 20"/>
                <a:gd name="T2" fmla="*/ 3 w 20"/>
                <a:gd name="T3" fmla="*/ 20 h 20"/>
                <a:gd name="T4" fmla="*/ 11 w 20"/>
                <a:gd name="T5" fmla="*/ 20 h 20"/>
                <a:gd name="T6" fmla="*/ 20 w 20"/>
                <a:gd name="T7" fmla="*/ 11 h 20"/>
                <a:gd name="T8" fmla="*/ 12 w 20"/>
                <a:gd name="T9" fmla="*/ 0 h 20"/>
                <a:gd name="T10" fmla="*/ 0 w 20"/>
                <a:gd name="T11" fmla="*/ 11 h 20"/>
                <a:gd name="T12" fmla="*/ 0 w 20"/>
                <a:gd name="T13" fmla="*/ 11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20">
                  <a:moveTo>
                    <a:pt x="0" y="11"/>
                  </a:moveTo>
                  <a:lnTo>
                    <a:pt x="3" y="20"/>
                  </a:lnTo>
                  <a:lnTo>
                    <a:pt x="11" y="20"/>
                  </a:lnTo>
                  <a:lnTo>
                    <a:pt x="20" y="11"/>
                  </a:lnTo>
                  <a:lnTo>
                    <a:pt x="12" y="0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676" name="Freeform 20"/>
            <p:cNvSpPr>
              <a:spLocks/>
            </p:cNvSpPr>
            <p:nvPr userDrawn="1"/>
          </p:nvSpPr>
          <p:spPr bwMode="auto">
            <a:xfrm>
              <a:off x="4126" y="3959"/>
              <a:ext cx="10" cy="6"/>
            </a:xfrm>
            <a:custGeom>
              <a:avLst/>
              <a:gdLst>
                <a:gd name="T0" fmla="*/ 0 w 10"/>
                <a:gd name="T1" fmla="*/ 5 h 6"/>
                <a:gd name="T2" fmla="*/ 5 w 10"/>
                <a:gd name="T3" fmla="*/ 6 h 6"/>
                <a:gd name="T4" fmla="*/ 10 w 10"/>
                <a:gd name="T5" fmla="*/ 0 h 6"/>
                <a:gd name="T6" fmla="*/ 2 w 10"/>
                <a:gd name="T7" fmla="*/ 0 h 6"/>
                <a:gd name="T8" fmla="*/ 0 w 10"/>
                <a:gd name="T9" fmla="*/ 5 h 6"/>
                <a:gd name="T10" fmla="*/ 0 w 10"/>
                <a:gd name="T11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" h="6">
                  <a:moveTo>
                    <a:pt x="0" y="5"/>
                  </a:moveTo>
                  <a:lnTo>
                    <a:pt x="5" y="6"/>
                  </a:lnTo>
                  <a:lnTo>
                    <a:pt x="10" y="0"/>
                  </a:lnTo>
                  <a:lnTo>
                    <a:pt x="2" y="0"/>
                  </a:lnTo>
                  <a:lnTo>
                    <a:pt x="0" y="5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677" name="Freeform 21"/>
            <p:cNvSpPr>
              <a:spLocks/>
            </p:cNvSpPr>
            <p:nvPr userDrawn="1"/>
          </p:nvSpPr>
          <p:spPr bwMode="auto">
            <a:xfrm>
              <a:off x="4143" y="3947"/>
              <a:ext cx="6" cy="11"/>
            </a:xfrm>
            <a:custGeom>
              <a:avLst/>
              <a:gdLst>
                <a:gd name="T0" fmla="*/ 6 w 6"/>
                <a:gd name="T1" fmla="*/ 0 h 11"/>
                <a:gd name="T2" fmla="*/ 0 w 6"/>
                <a:gd name="T3" fmla="*/ 2 h 11"/>
                <a:gd name="T4" fmla="*/ 0 w 6"/>
                <a:gd name="T5" fmla="*/ 8 h 11"/>
                <a:gd name="T6" fmla="*/ 5 w 6"/>
                <a:gd name="T7" fmla="*/ 11 h 11"/>
                <a:gd name="T8" fmla="*/ 6 w 6"/>
                <a:gd name="T9" fmla="*/ 0 h 11"/>
                <a:gd name="T10" fmla="*/ 6 w 6"/>
                <a:gd name="T11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11">
                  <a:moveTo>
                    <a:pt x="6" y="0"/>
                  </a:moveTo>
                  <a:lnTo>
                    <a:pt x="0" y="2"/>
                  </a:lnTo>
                  <a:lnTo>
                    <a:pt x="0" y="8"/>
                  </a:lnTo>
                  <a:lnTo>
                    <a:pt x="5" y="11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678" name="Freeform 22"/>
            <p:cNvSpPr>
              <a:spLocks/>
            </p:cNvSpPr>
            <p:nvPr userDrawn="1"/>
          </p:nvSpPr>
          <p:spPr bwMode="auto">
            <a:xfrm>
              <a:off x="2341" y="4097"/>
              <a:ext cx="24" cy="16"/>
            </a:xfrm>
            <a:custGeom>
              <a:avLst/>
              <a:gdLst>
                <a:gd name="T0" fmla="*/ 1 w 24"/>
                <a:gd name="T1" fmla="*/ 0 h 16"/>
                <a:gd name="T2" fmla="*/ 0 w 24"/>
                <a:gd name="T3" fmla="*/ 4 h 16"/>
                <a:gd name="T4" fmla="*/ 4 w 24"/>
                <a:gd name="T5" fmla="*/ 13 h 16"/>
                <a:gd name="T6" fmla="*/ 22 w 24"/>
                <a:gd name="T7" fmla="*/ 16 h 16"/>
                <a:gd name="T8" fmla="*/ 24 w 24"/>
                <a:gd name="T9" fmla="*/ 1 h 16"/>
                <a:gd name="T10" fmla="*/ 12 w 24"/>
                <a:gd name="T11" fmla="*/ 4 h 16"/>
                <a:gd name="T12" fmla="*/ 1 w 24"/>
                <a:gd name="T13" fmla="*/ 0 h 16"/>
                <a:gd name="T14" fmla="*/ 1 w 24"/>
                <a:gd name="T15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16">
                  <a:moveTo>
                    <a:pt x="1" y="0"/>
                  </a:moveTo>
                  <a:lnTo>
                    <a:pt x="0" y="4"/>
                  </a:lnTo>
                  <a:lnTo>
                    <a:pt x="4" y="13"/>
                  </a:lnTo>
                  <a:lnTo>
                    <a:pt x="22" y="16"/>
                  </a:lnTo>
                  <a:lnTo>
                    <a:pt x="24" y="1"/>
                  </a:lnTo>
                  <a:lnTo>
                    <a:pt x="12" y="4"/>
                  </a:lnTo>
                  <a:lnTo>
                    <a:pt x="1" y="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679" name="Freeform 23"/>
            <p:cNvSpPr>
              <a:spLocks/>
            </p:cNvSpPr>
            <p:nvPr userDrawn="1"/>
          </p:nvSpPr>
          <p:spPr bwMode="auto">
            <a:xfrm>
              <a:off x="2386" y="4124"/>
              <a:ext cx="6" cy="7"/>
            </a:xfrm>
            <a:custGeom>
              <a:avLst/>
              <a:gdLst>
                <a:gd name="T0" fmla="*/ 0 w 6"/>
                <a:gd name="T1" fmla="*/ 1 h 7"/>
                <a:gd name="T2" fmla="*/ 0 w 6"/>
                <a:gd name="T3" fmla="*/ 7 h 7"/>
                <a:gd name="T4" fmla="*/ 6 w 6"/>
                <a:gd name="T5" fmla="*/ 7 h 7"/>
                <a:gd name="T6" fmla="*/ 3 w 6"/>
                <a:gd name="T7" fmla="*/ 0 h 7"/>
                <a:gd name="T8" fmla="*/ 0 w 6"/>
                <a:gd name="T9" fmla="*/ 1 h 7"/>
                <a:gd name="T10" fmla="*/ 0 w 6"/>
                <a:gd name="T11" fmla="*/ 1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7">
                  <a:moveTo>
                    <a:pt x="0" y="1"/>
                  </a:moveTo>
                  <a:lnTo>
                    <a:pt x="0" y="7"/>
                  </a:lnTo>
                  <a:lnTo>
                    <a:pt x="6" y="7"/>
                  </a:lnTo>
                  <a:lnTo>
                    <a:pt x="3" y="0"/>
                  </a:lnTo>
                  <a:lnTo>
                    <a:pt x="0" y="1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680" name="Freeform 24"/>
            <p:cNvSpPr>
              <a:spLocks/>
            </p:cNvSpPr>
            <p:nvPr userDrawn="1"/>
          </p:nvSpPr>
          <p:spPr bwMode="auto">
            <a:xfrm>
              <a:off x="2380" y="4082"/>
              <a:ext cx="6" cy="3"/>
            </a:xfrm>
            <a:custGeom>
              <a:avLst/>
              <a:gdLst>
                <a:gd name="T0" fmla="*/ 0 w 6"/>
                <a:gd name="T1" fmla="*/ 0 h 3"/>
                <a:gd name="T2" fmla="*/ 4 w 6"/>
                <a:gd name="T3" fmla="*/ 3 h 3"/>
                <a:gd name="T4" fmla="*/ 6 w 6"/>
                <a:gd name="T5" fmla="*/ 0 h 3"/>
                <a:gd name="T6" fmla="*/ 0 w 6"/>
                <a:gd name="T7" fmla="*/ 0 h 3"/>
                <a:gd name="T8" fmla="*/ 0 w 6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3">
                  <a:moveTo>
                    <a:pt x="0" y="0"/>
                  </a:moveTo>
                  <a:lnTo>
                    <a:pt x="4" y="3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681" name="Freeform 25"/>
            <p:cNvSpPr>
              <a:spLocks/>
            </p:cNvSpPr>
            <p:nvPr userDrawn="1"/>
          </p:nvSpPr>
          <p:spPr bwMode="auto">
            <a:xfrm>
              <a:off x="1795" y="3709"/>
              <a:ext cx="40" cy="11"/>
            </a:xfrm>
            <a:custGeom>
              <a:avLst/>
              <a:gdLst>
                <a:gd name="T0" fmla="*/ 36 w 40"/>
                <a:gd name="T1" fmla="*/ 0 h 11"/>
                <a:gd name="T2" fmla="*/ 16 w 40"/>
                <a:gd name="T3" fmla="*/ 4 h 11"/>
                <a:gd name="T4" fmla="*/ 1 w 40"/>
                <a:gd name="T5" fmla="*/ 0 h 11"/>
                <a:gd name="T6" fmla="*/ 0 w 40"/>
                <a:gd name="T7" fmla="*/ 4 h 11"/>
                <a:gd name="T8" fmla="*/ 18 w 40"/>
                <a:gd name="T9" fmla="*/ 11 h 11"/>
                <a:gd name="T10" fmla="*/ 34 w 40"/>
                <a:gd name="T11" fmla="*/ 9 h 11"/>
                <a:gd name="T12" fmla="*/ 40 w 40"/>
                <a:gd name="T13" fmla="*/ 6 h 11"/>
                <a:gd name="T14" fmla="*/ 36 w 40"/>
                <a:gd name="T15" fmla="*/ 0 h 11"/>
                <a:gd name="T16" fmla="*/ 36 w 40"/>
                <a:gd name="T17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0" h="11">
                  <a:moveTo>
                    <a:pt x="36" y="0"/>
                  </a:moveTo>
                  <a:lnTo>
                    <a:pt x="16" y="4"/>
                  </a:lnTo>
                  <a:lnTo>
                    <a:pt x="1" y="0"/>
                  </a:lnTo>
                  <a:lnTo>
                    <a:pt x="0" y="4"/>
                  </a:lnTo>
                  <a:lnTo>
                    <a:pt x="18" y="11"/>
                  </a:lnTo>
                  <a:lnTo>
                    <a:pt x="34" y="9"/>
                  </a:lnTo>
                  <a:lnTo>
                    <a:pt x="40" y="6"/>
                  </a:lnTo>
                  <a:lnTo>
                    <a:pt x="36" y="0"/>
                  </a:lnTo>
                  <a:lnTo>
                    <a:pt x="36" y="0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682" name="Freeform 26"/>
            <p:cNvSpPr>
              <a:spLocks/>
            </p:cNvSpPr>
            <p:nvPr userDrawn="1"/>
          </p:nvSpPr>
          <p:spPr bwMode="auto">
            <a:xfrm>
              <a:off x="1835" y="3775"/>
              <a:ext cx="9" cy="8"/>
            </a:xfrm>
            <a:custGeom>
              <a:avLst/>
              <a:gdLst>
                <a:gd name="T0" fmla="*/ 0 w 9"/>
                <a:gd name="T1" fmla="*/ 6 h 8"/>
                <a:gd name="T2" fmla="*/ 8 w 9"/>
                <a:gd name="T3" fmla="*/ 8 h 8"/>
                <a:gd name="T4" fmla="*/ 9 w 9"/>
                <a:gd name="T5" fmla="*/ 0 h 8"/>
                <a:gd name="T6" fmla="*/ 2 w 9"/>
                <a:gd name="T7" fmla="*/ 0 h 8"/>
                <a:gd name="T8" fmla="*/ 0 w 9"/>
                <a:gd name="T9" fmla="*/ 6 h 8"/>
                <a:gd name="T10" fmla="*/ 0 w 9"/>
                <a:gd name="T11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8">
                  <a:moveTo>
                    <a:pt x="0" y="6"/>
                  </a:moveTo>
                  <a:lnTo>
                    <a:pt x="8" y="8"/>
                  </a:lnTo>
                  <a:lnTo>
                    <a:pt x="9" y="0"/>
                  </a:lnTo>
                  <a:lnTo>
                    <a:pt x="2" y="0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683" name="Freeform 27"/>
            <p:cNvSpPr>
              <a:spLocks/>
            </p:cNvSpPr>
            <p:nvPr userDrawn="1"/>
          </p:nvSpPr>
          <p:spPr bwMode="auto">
            <a:xfrm>
              <a:off x="1695" y="3632"/>
              <a:ext cx="21" cy="15"/>
            </a:xfrm>
            <a:custGeom>
              <a:avLst/>
              <a:gdLst>
                <a:gd name="T0" fmla="*/ 0 w 21"/>
                <a:gd name="T1" fmla="*/ 6 h 15"/>
                <a:gd name="T2" fmla="*/ 9 w 21"/>
                <a:gd name="T3" fmla="*/ 14 h 15"/>
                <a:gd name="T4" fmla="*/ 20 w 21"/>
                <a:gd name="T5" fmla="*/ 15 h 15"/>
                <a:gd name="T6" fmla="*/ 21 w 21"/>
                <a:gd name="T7" fmla="*/ 3 h 15"/>
                <a:gd name="T8" fmla="*/ 11 w 21"/>
                <a:gd name="T9" fmla="*/ 0 h 15"/>
                <a:gd name="T10" fmla="*/ 0 w 21"/>
                <a:gd name="T11" fmla="*/ 6 h 15"/>
                <a:gd name="T12" fmla="*/ 0 w 21"/>
                <a:gd name="T13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15">
                  <a:moveTo>
                    <a:pt x="0" y="6"/>
                  </a:moveTo>
                  <a:lnTo>
                    <a:pt x="9" y="14"/>
                  </a:lnTo>
                  <a:lnTo>
                    <a:pt x="20" y="15"/>
                  </a:lnTo>
                  <a:lnTo>
                    <a:pt x="21" y="3"/>
                  </a:lnTo>
                  <a:lnTo>
                    <a:pt x="11" y="0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684" name="Freeform 28"/>
            <p:cNvSpPr>
              <a:spLocks/>
            </p:cNvSpPr>
            <p:nvPr userDrawn="1"/>
          </p:nvSpPr>
          <p:spPr bwMode="auto">
            <a:xfrm>
              <a:off x="1644" y="3643"/>
              <a:ext cx="25" cy="12"/>
            </a:xfrm>
            <a:custGeom>
              <a:avLst/>
              <a:gdLst>
                <a:gd name="T0" fmla="*/ 7 w 25"/>
                <a:gd name="T1" fmla="*/ 0 h 12"/>
                <a:gd name="T2" fmla="*/ 0 w 25"/>
                <a:gd name="T3" fmla="*/ 3 h 12"/>
                <a:gd name="T4" fmla="*/ 12 w 25"/>
                <a:gd name="T5" fmla="*/ 12 h 12"/>
                <a:gd name="T6" fmla="*/ 24 w 25"/>
                <a:gd name="T7" fmla="*/ 12 h 12"/>
                <a:gd name="T8" fmla="*/ 25 w 25"/>
                <a:gd name="T9" fmla="*/ 7 h 12"/>
                <a:gd name="T10" fmla="*/ 18 w 25"/>
                <a:gd name="T11" fmla="*/ 1 h 12"/>
                <a:gd name="T12" fmla="*/ 7 w 25"/>
                <a:gd name="T13" fmla="*/ 0 h 12"/>
                <a:gd name="T14" fmla="*/ 7 w 25"/>
                <a:gd name="T1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" h="12">
                  <a:moveTo>
                    <a:pt x="7" y="0"/>
                  </a:moveTo>
                  <a:lnTo>
                    <a:pt x="0" y="3"/>
                  </a:lnTo>
                  <a:lnTo>
                    <a:pt x="12" y="12"/>
                  </a:lnTo>
                  <a:lnTo>
                    <a:pt x="24" y="12"/>
                  </a:lnTo>
                  <a:lnTo>
                    <a:pt x="25" y="7"/>
                  </a:lnTo>
                  <a:lnTo>
                    <a:pt x="18" y="1"/>
                  </a:lnTo>
                  <a:lnTo>
                    <a:pt x="7" y="0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685" name="Freeform 29"/>
            <p:cNvSpPr>
              <a:spLocks/>
            </p:cNvSpPr>
            <p:nvPr userDrawn="1"/>
          </p:nvSpPr>
          <p:spPr bwMode="auto">
            <a:xfrm>
              <a:off x="1612" y="3649"/>
              <a:ext cx="15" cy="10"/>
            </a:xfrm>
            <a:custGeom>
              <a:avLst/>
              <a:gdLst>
                <a:gd name="T0" fmla="*/ 0 w 15"/>
                <a:gd name="T1" fmla="*/ 3 h 10"/>
                <a:gd name="T2" fmla="*/ 2 w 15"/>
                <a:gd name="T3" fmla="*/ 10 h 10"/>
                <a:gd name="T4" fmla="*/ 14 w 15"/>
                <a:gd name="T5" fmla="*/ 10 h 10"/>
                <a:gd name="T6" fmla="*/ 15 w 15"/>
                <a:gd name="T7" fmla="*/ 7 h 10"/>
                <a:gd name="T8" fmla="*/ 8 w 15"/>
                <a:gd name="T9" fmla="*/ 0 h 10"/>
                <a:gd name="T10" fmla="*/ 0 w 15"/>
                <a:gd name="T11" fmla="*/ 3 h 10"/>
                <a:gd name="T12" fmla="*/ 0 w 15"/>
                <a:gd name="T13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10">
                  <a:moveTo>
                    <a:pt x="0" y="3"/>
                  </a:moveTo>
                  <a:lnTo>
                    <a:pt x="2" y="10"/>
                  </a:lnTo>
                  <a:lnTo>
                    <a:pt x="14" y="10"/>
                  </a:lnTo>
                  <a:lnTo>
                    <a:pt x="15" y="7"/>
                  </a:lnTo>
                  <a:lnTo>
                    <a:pt x="8" y="0"/>
                  </a:lnTo>
                  <a:lnTo>
                    <a:pt x="0" y="3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686" name="Freeform 30"/>
            <p:cNvSpPr>
              <a:spLocks/>
            </p:cNvSpPr>
            <p:nvPr userDrawn="1"/>
          </p:nvSpPr>
          <p:spPr bwMode="auto">
            <a:xfrm>
              <a:off x="1629" y="3659"/>
              <a:ext cx="18" cy="9"/>
            </a:xfrm>
            <a:custGeom>
              <a:avLst/>
              <a:gdLst>
                <a:gd name="T0" fmla="*/ 0 w 18"/>
                <a:gd name="T1" fmla="*/ 2 h 9"/>
                <a:gd name="T2" fmla="*/ 3 w 18"/>
                <a:gd name="T3" fmla="*/ 5 h 9"/>
                <a:gd name="T4" fmla="*/ 12 w 18"/>
                <a:gd name="T5" fmla="*/ 9 h 9"/>
                <a:gd name="T6" fmla="*/ 18 w 18"/>
                <a:gd name="T7" fmla="*/ 3 h 9"/>
                <a:gd name="T8" fmla="*/ 6 w 18"/>
                <a:gd name="T9" fmla="*/ 0 h 9"/>
                <a:gd name="T10" fmla="*/ 0 w 18"/>
                <a:gd name="T11" fmla="*/ 2 h 9"/>
                <a:gd name="T12" fmla="*/ 0 w 18"/>
                <a:gd name="T13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" h="9">
                  <a:moveTo>
                    <a:pt x="0" y="2"/>
                  </a:moveTo>
                  <a:lnTo>
                    <a:pt x="3" y="5"/>
                  </a:lnTo>
                  <a:lnTo>
                    <a:pt x="12" y="9"/>
                  </a:lnTo>
                  <a:lnTo>
                    <a:pt x="18" y="3"/>
                  </a:lnTo>
                  <a:lnTo>
                    <a:pt x="6" y="0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687" name="Freeform 31"/>
            <p:cNvSpPr>
              <a:spLocks/>
            </p:cNvSpPr>
            <p:nvPr userDrawn="1"/>
          </p:nvSpPr>
          <p:spPr bwMode="auto">
            <a:xfrm>
              <a:off x="1642" y="-140"/>
              <a:ext cx="21" cy="20"/>
            </a:xfrm>
            <a:custGeom>
              <a:avLst/>
              <a:gdLst>
                <a:gd name="T0" fmla="*/ 8 w 21"/>
                <a:gd name="T1" fmla="*/ 20 h 20"/>
                <a:gd name="T2" fmla="*/ 21 w 21"/>
                <a:gd name="T3" fmla="*/ 0 h 20"/>
                <a:gd name="T4" fmla="*/ 0 w 21"/>
                <a:gd name="T5" fmla="*/ 2 h 20"/>
                <a:gd name="T6" fmla="*/ 0 w 21"/>
                <a:gd name="T7" fmla="*/ 12 h 20"/>
                <a:gd name="T8" fmla="*/ 8 w 21"/>
                <a:gd name="T9" fmla="*/ 20 h 20"/>
                <a:gd name="T10" fmla="*/ 8 w 21"/>
                <a:gd name="T11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" h="20">
                  <a:moveTo>
                    <a:pt x="8" y="20"/>
                  </a:moveTo>
                  <a:lnTo>
                    <a:pt x="21" y="0"/>
                  </a:lnTo>
                  <a:lnTo>
                    <a:pt x="0" y="2"/>
                  </a:lnTo>
                  <a:lnTo>
                    <a:pt x="0" y="12"/>
                  </a:lnTo>
                  <a:lnTo>
                    <a:pt x="8" y="20"/>
                  </a:lnTo>
                  <a:lnTo>
                    <a:pt x="8" y="20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688" name="Freeform 32"/>
            <p:cNvSpPr>
              <a:spLocks/>
            </p:cNvSpPr>
            <p:nvPr userDrawn="1"/>
          </p:nvSpPr>
          <p:spPr bwMode="auto">
            <a:xfrm>
              <a:off x="1792" y="-193"/>
              <a:ext cx="15" cy="17"/>
            </a:xfrm>
            <a:custGeom>
              <a:avLst/>
              <a:gdLst>
                <a:gd name="T0" fmla="*/ 15 w 15"/>
                <a:gd name="T1" fmla="*/ 3 h 17"/>
                <a:gd name="T2" fmla="*/ 0 w 15"/>
                <a:gd name="T3" fmla="*/ 0 h 17"/>
                <a:gd name="T4" fmla="*/ 3 w 15"/>
                <a:gd name="T5" fmla="*/ 17 h 17"/>
                <a:gd name="T6" fmla="*/ 15 w 15"/>
                <a:gd name="T7" fmla="*/ 3 h 17"/>
                <a:gd name="T8" fmla="*/ 15 w 15"/>
                <a:gd name="T9" fmla="*/ 3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7">
                  <a:moveTo>
                    <a:pt x="15" y="3"/>
                  </a:moveTo>
                  <a:lnTo>
                    <a:pt x="0" y="0"/>
                  </a:lnTo>
                  <a:lnTo>
                    <a:pt x="3" y="17"/>
                  </a:lnTo>
                  <a:lnTo>
                    <a:pt x="15" y="3"/>
                  </a:lnTo>
                  <a:lnTo>
                    <a:pt x="15" y="3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689" name="Freeform 33"/>
            <p:cNvSpPr>
              <a:spLocks/>
            </p:cNvSpPr>
            <p:nvPr userDrawn="1"/>
          </p:nvSpPr>
          <p:spPr bwMode="auto">
            <a:xfrm>
              <a:off x="1917" y="65"/>
              <a:ext cx="18" cy="22"/>
            </a:xfrm>
            <a:custGeom>
              <a:avLst/>
              <a:gdLst>
                <a:gd name="T0" fmla="*/ 16 w 18"/>
                <a:gd name="T1" fmla="*/ 17 h 22"/>
                <a:gd name="T2" fmla="*/ 18 w 18"/>
                <a:gd name="T3" fmla="*/ 8 h 22"/>
                <a:gd name="T4" fmla="*/ 12 w 18"/>
                <a:gd name="T5" fmla="*/ 0 h 22"/>
                <a:gd name="T6" fmla="*/ 0 w 18"/>
                <a:gd name="T7" fmla="*/ 8 h 22"/>
                <a:gd name="T8" fmla="*/ 4 w 18"/>
                <a:gd name="T9" fmla="*/ 22 h 22"/>
                <a:gd name="T10" fmla="*/ 16 w 18"/>
                <a:gd name="T11" fmla="*/ 17 h 22"/>
                <a:gd name="T12" fmla="*/ 16 w 18"/>
                <a:gd name="T13" fmla="*/ 17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" h="22">
                  <a:moveTo>
                    <a:pt x="16" y="17"/>
                  </a:moveTo>
                  <a:lnTo>
                    <a:pt x="18" y="8"/>
                  </a:lnTo>
                  <a:lnTo>
                    <a:pt x="12" y="0"/>
                  </a:lnTo>
                  <a:lnTo>
                    <a:pt x="0" y="8"/>
                  </a:lnTo>
                  <a:lnTo>
                    <a:pt x="4" y="22"/>
                  </a:lnTo>
                  <a:lnTo>
                    <a:pt x="16" y="17"/>
                  </a:lnTo>
                  <a:lnTo>
                    <a:pt x="16" y="17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690" name="Freeform 35"/>
            <p:cNvSpPr>
              <a:spLocks/>
            </p:cNvSpPr>
            <p:nvPr userDrawn="1"/>
          </p:nvSpPr>
          <p:spPr bwMode="auto">
            <a:xfrm>
              <a:off x="6817" y="-202"/>
              <a:ext cx="20" cy="32"/>
            </a:xfrm>
            <a:custGeom>
              <a:avLst/>
              <a:gdLst>
                <a:gd name="T0" fmla="*/ 8 w 20"/>
                <a:gd name="T1" fmla="*/ 32 h 32"/>
                <a:gd name="T2" fmla="*/ 20 w 20"/>
                <a:gd name="T3" fmla="*/ 28 h 32"/>
                <a:gd name="T4" fmla="*/ 17 w 20"/>
                <a:gd name="T5" fmla="*/ 15 h 32"/>
                <a:gd name="T6" fmla="*/ 17 w 20"/>
                <a:gd name="T7" fmla="*/ 3 h 32"/>
                <a:gd name="T8" fmla="*/ 2 w 20"/>
                <a:gd name="T9" fmla="*/ 0 h 32"/>
                <a:gd name="T10" fmla="*/ 0 w 20"/>
                <a:gd name="T11" fmla="*/ 8 h 32"/>
                <a:gd name="T12" fmla="*/ 14 w 20"/>
                <a:gd name="T13" fmla="*/ 18 h 32"/>
                <a:gd name="T14" fmla="*/ 8 w 20"/>
                <a:gd name="T15" fmla="*/ 32 h 32"/>
                <a:gd name="T16" fmla="*/ 8 w 20"/>
                <a:gd name="T17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" h="32">
                  <a:moveTo>
                    <a:pt x="8" y="32"/>
                  </a:moveTo>
                  <a:lnTo>
                    <a:pt x="20" y="28"/>
                  </a:lnTo>
                  <a:lnTo>
                    <a:pt x="17" y="15"/>
                  </a:lnTo>
                  <a:lnTo>
                    <a:pt x="17" y="3"/>
                  </a:lnTo>
                  <a:lnTo>
                    <a:pt x="2" y="0"/>
                  </a:lnTo>
                  <a:lnTo>
                    <a:pt x="0" y="8"/>
                  </a:lnTo>
                  <a:lnTo>
                    <a:pt x="14" y="18"/>
                  </a:lnTo>
                  <a:lnTo>
                    <a:pt x="8" y="32"/>
                  </a:lnTo>
                  <a:lnTo>
                    <a:pt x="8" y="32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691" name="Freeform 36"/>
            <p:cNvSpPr>
              <a:spLocks/>
            </p:cNvSpPr>
            <p:nvPr userDrawn="1"/>
          </p:nvSpPr>
          <p:spPr bwMode="auto">
            <a:xfrm>
              <a:off x="6783" y="-244"/>
              <a:ext cx="52" cy="38"/>
            </a:xfrm>
            <a:custGeom>
              <a:avLst/>
              <a:gdLst>
                <a:gd name="T0" fmla="*/ 24 w 52"/>
                <a:gd name="T1" fmla="*/ 11 h 38"/>
                <a:gd name="T2" fmla="*/ 27 w 52"/>
                <a:gd name="T3" fmla="*/ 23 h 38"/>
                <a:gd name="T4" fmla="*/ 39 w 52"/>
                <a:gd name="T5" fmla="*/ 38 h 38"/>
                <a:gd name="T6" fmla="*/ 51 w 52"/>
                <a:gd name="T7" fmla="*/ 36 h 38"/>
                <a:gd name="T8" fmla="*/ 49 w 52"/>
                <a:gd name="T9" fmla="*/ 23 h 38"/>
                <a:gd name="T10" fmla="*/ 52 w 52"/>
                <a:gd name="T11" fmla="*/ 2 h 38"/>
                <a:gd name="T12" fmla="*/ 43 w 52"/>
                <a:gd name="T13" fmla="*/ 0 h 38"/>
                <a:gd name="T14" fmla="*/ 43 w 52"/>
                <a:gd name="T15" fmla="*/ 0 h 38"/>
                <a:gd name="T16" fmla="*/ 0 w 52"/>
                <a:gd name="T17" fmla="*/ 0 h 38"/>
                <a:gd name="T18" fmla="*/ 0 w 52"/>
                <a:gd name="T19" fmla="*/ 3 h 38"/>
                <a:gd name="T20" fmla="*/ 24 w 52"/>
                <a:gd name="T21" fmla="*/ 11 h 38"/>
                <a:gd name="T22" fmla="*/ 24 w 52"/>
                <a:gd name="T23" fmla="*/ 1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2" h="38">
                  <a:moveTo>
                    <a:pt x="24" y="11"/>
                  </a:moveTo>
                  <a:lnTo>
                    <a:pt x="27" y="23"/>
                  </a:lnTo>
                  <a:lnTo>
                    <a:pt x="39" y="38"/>
                  </a:lnTo>
                  <a:lnTo>
                    <a:pt x="51" y="36"/>
                  </a:lnTo>
                  <a:lnTo>
                    <a:pt x="49" y="23"/>
                  </a:lnTo>
                  <a:lnTo>
                    <a:pt x="52" y="2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24" y="11"/>
                  </a:lnTo>
                  <a:lnTo>
                    <a:pt x="24" y="11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692" name="Freeform 37"/>
            <p:cNvSpPr>
              <a:spLocks/>
            </p:cNvSpPr>
            <p:nvPr userDrawn="1"/>
          </p:nvSpPr>
          <p:spPr bwMode="auto">
            <a:xfrm>
              <a:off x="1893" y="603"/>
              <a:ext cx="706" cy="475"/>
            </a:xfrm>
            <a:custGeom>
              <a:avLst/>
              <a:gdLst>
                <a:gd name="T0" fmla="*/ 678 w 706"/>
                <a:gd name="T1" fmla="*/ 200 h 475"/>
                <a:gd name="T2" fmla="*/ 678 w 706"/>
                <a:gd name="T3" fmla="*/ 156 h 475"/>
                <a:gd name="T4" fmla="*/ 656 w 706"/>
                <a:gd name="T5" fmla="*/ 158 h 475"/>
                <a:gd name="T6" fmla="*/ 648 w 706"/>
                <a:gd name="T7" fmla="*/ 125 h 475"/>
                <a:gd name="T8" fmla="*/ 630 w 706"/>
                <a:gd name="T9" fmla="*/ 86 h 475"/>
                <a:gd name="T10" fmla="*/ 603 w 706"/>
                <a:gd name="T11" fmla="*/ 79 h 475"/>
                <a:gd name="T12" fmla="*/ 635 w 706"/>
                <a:gd name="T13" fmla="*/ 37 h 475"/>
                <a:gd name="T14" fmla="*/ 583 w 706"/>
                <a:gd name="T15" fmla="*/ 54 h 475"/>
                <a:gd name="T16" fmla="*/ 550 w 706"/>
                <a:gd name="T17" fmla="*/ 45 h 475"/>
                <a:gd name="T18" fmla="*/ 526 w 706"/>
                <a:gd name="T19" fmla="*/ 4 h 475"/>
                <a:gd name="T20" fmla="*/ 517 w 706"/>
                <a:gd name="T21" fmla="*/ 60 h 475"/>
                <a:gd name="T22" fmla="*/ 478 w 706"/>
                <a:gd name="T23" fmla="*/ 60 h 475"/>
                <a:gd name="T24" fmla="*/ 443 w 706"/>
                <a:gd name="T25" fmla="*/ 89 h 475"/>
                <a:gd name="T26" fmla="*/ 413 w 706"/>
                <a:gd name="T27" fmla="*/ 110 h 475"/>
                <a:gd name="T28" fmla="*/ 398 w 706"/>
                <a:gd name="T29" fmla="*/ 105 h 475"/>
                <a:gd name="T30" fmla="*/ 360 w 706"/>
                <a:gd name="T31" fmla="*/ 66 h 475"/>
                <a:gd name="T32" fmla="*/ 342 w 706"/>
                <a:gd name="T33" fmla="*/ 81 h 475"/>
                <a:gd name="T34" fmla="*/ 327 w 706"/>
                <a:gd name="T35" fmla="*/ 153 h 475"/>
                <a:gd name="T36" fmla="*/ 267 w 706"/>
                <a:gd name="T37" fmla="*/ 81 h 475"/>
                <a:gd name="T38" fmla="*/ 259 w 706"/>
                <a:gd name="T39" fmla="*/ 159 h 475"/>
                <a:gd name="T40" fmla="*/ 224 w 706"/>
                <a:gd name="T41" fmla="*/ 182 h 475"/>
                <a:gd name="T42" fmla="*/ 206 w 706"/>
                <a:gd name="T43" fmla="*/ 155 h 475"/>
                <a:gd name="T44" fmla="*/ 199 w 706"/>
                <a:gd name="T45" fmla="*/ 126 h 475"/>
                <a:gd name="T46" fmla="*/ 202 w 706"/>
                <a:gd name="T47" fmla="*/ 96 h 475"/>
                <a:gd name="T48" fmla="*/ 184 w 706"/>
                <a:gd name="T49" fmla="*/ 81 h 475"/>
                <a:gd name="T50" fmla="*/ 144 w 706"/>
                <a:gd name="T51" fmla="*/ 34 h 475"/>
                <a:gd name="T52" fmla="*/ 87 w 706"/>
                <a:gd name="T53" fmla="*/ 37 h 475"/>
                <a:gd name="T54" fmla="*/ 125 w 706"/>
                <a:gd name="T55" fmla="*/ 39 h 475"/>
                <a:gd name="T56" fmla="*/ 104 w 706"/>
                <a:gd name="T57" fmla="*/ 58 h 475"/>
                <a:gd name="T58" fmla="*/ 131 w 706"/>
                <a:gd name="T59" fmla="*/ 120 h 475"/>
                <a:gd name="T60" fmla="*/ 113 w 706"/>
                <a:gd name="T61" fmla="*/ 92 h 475"/>
                <a:gd name="T62" fmla="*/ 62 w 706"/>
                <a:gd name="T63" fmla="*/ 72 h 475"/>
                <a:gd name="T64" fmla="*/ 72 w 706"/>
                <a:gd name="T65" fmla="*/ 92 h 475"/>
                <a:gd name="T66" fmla="*/ 51 w 706"/>
                <a:gd name="T67" fmla="*/ 107 h 475"/>
                <a:gd name="T68" fmla="*/ 87 w 706"/>
                <a:gd name="T69" fmla="*/ 141 h 475"/>
                <a:gd name="T70" fmla="*/ 34 w 706"/>
                <a:gd name="T71" fmla="*/ 143 h 475"/>
                <a:gd name="T72" fmla="*/ 15 w 706"/>
                <a:gd name="T73" fmla="*/ 147 h 475"/>
                <a:gd name="T74" fmla="*/ 45 w 706"/>
                <a:gd name="T75" fmla="*/ 179 h 475"/>
                <a:gd name="T76" fmla="*/ 144 w 706"/>
                <a:gd name="T77" fmla="*/ 158 h 475"/>
                <a:gd name="T78" fmla="*/ 132 w 706"/>
                <a:gd name="T79" fmla="*/ 217 h 475"/>
                <a:gd name="T80" fmla="*/ 182 w 706"/>
                <a:gd name="T81" fmla="*/ 214 h 475"/>
                <a:gd name="T82" fmla="*/ 119 w 706"/>
                <a:gd name="T83" fmla="*/ 245 h 475"/>
                <a:gd name="T84" fmla="*/ 51 w 706"/>
                <a:gd name="T85" fmla="*/ 265 h 475"/>
                <a:gd name="T86" fmla="*/ 71 w 706"/>
                <a:gd name="T87" fmla="*/ 277 h 475"/>
                <a:gd name="T88" fmla="*/ 141 w 706"/>
                <a:gd name="T89" fmla="*/ 295 h 475"/>
                <a:gd name="T90" fmla="*/ 176 w 706"/>
                <a:gd name="T91" fmla="*/ 309 h 475"/>
                <a:gd name="T92" fmla="*/ 185 w 706"/>
                <a:gd name="T93" fmla="*/ 339 h 475"/>
                <a:gd name="T94" fmla="*/ 135 w 706"/>
                <a:gd name="T95" fmla="*/ 393 h 475"/>
                <a:gd name="T96" fmla="*/ 129 w 706"/>
                <a:gd name="T97" fmla="*/ 420 h 475"/>
                <a:gd name="T98" fmla="*/ 199 w 706"/>
                <a:gd name="T99" fmla="*/ 419 h 475"/>
                <a:gd name="T100" fmla="*/ 244 w 706"/>
                <a:gd name="T101" fmla="*/ 425 h 475"/>
                <a:gd name="T102" fmla="*/ 414 w 706"/>
                <a:gd name="T103" fmla="*/ 473 h 475"/>
                <a:gd name="T104" fmla="*/ 503 w 706"/>
                <a:gd name="T105" fmla="*/ 402 h 475"/>
                <a:gd name="T106" fmla="*/ 583 w 706"/>
                <a:gd name="T107" fmla="*/ 339 h 475"/>
                <a:gd name="T108" fmla="*/ 600 w 706"/>
                <a:gd name="T109" fmla="*/ 345 h 475"/>
                <a:gd name="T110" fmla="*/ 617 w 706"/>
                <a:gd name="T111" fmla="*/ 333 h 475"/>
                <a:gd name="T112" fmla="*/ 636 w 706"/>
                <a:gd name="T113" fmla="*/ 303 h 475"/>
                <a:gd name="T114" fmla="*/ 644 w 706"/>
                <a:gd name="T115" fmla="*/ 261 h 475"/>
                <a:gd name="T116" fmla="*/ 677 w 706"/>
                <a:gd name="T117" fmla="*/ 273 h 475"/>
                <a:gd name="T118" fmla="*/ 701 w 706"/>
                <a:gd name="T119" fmla="*/ 235 h 475"/>
                <a:gd name="T120" fmla="*/ 703 w 706"/>
                <a:gd name="T121" fmla="*/ 208 h 4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706" h="475">
                  <a:moveTo>
                    <a:pt x="703" y="208"/>
                  </a:moveTo>
                  <a:lnTo>
                    <a:pt x="694" y="209"/>
                  </a:lnTo>
                  <a:lnTo>
                    <a:pt x="690" y="217"/>
                  </a:lnTo>
                  <a:lnTo>
                    <a:pt x="689" y="202"/>
                  </a:lnTo>
                  <a:lnTo>
                    <a:pt x="678" y="200"/>
                  </a:lnTo>
                  <a:lnTo>
                    <a:pt x="689" y="190"/>
                  </a:lnTo>
                  <a:lnTo>
                    <a:pt x="692" y="170"/>
                  </a:lnTo>
                  <a:lnTo>
                    <a:pt x="683" y="162"/>
                  </a:lnTo>
                  <a:lnTo>
                    <a:pt x="690" y="153"/>
                  </a:lnTo>
                  <a:lnTo>
                    <a:pt x="678" y="156"/>
                  </a:lnTo>
                  <a:lnTo>
                    <a:pt x="678" y="147"/>
                  </a:lnTo>
                  <a:lnTo>
                    <a:pt x="669" y="134"/>
                  </a:lnTo>
                  <a:lnTo>
                    <a:pt x="665" y="143"/>
                  </a:lnTo>
                  <a:lnTo>
                    <a:pt x="663" y="158"/>
                  </a:lnTo>
                  <a:lnTo>
                    <a:pt x="656" y="158"/>
                  </a:lnTo>
                  <a:lnTo>
                    <a:pt x="657" y="147"/>
                  </a:lnTo>
                  <a:lnTo>
                    <a:pt x="651" y="146"/>
                  </a:lnTo>
                  <a:lnTo>
                    <a:pt x="648" y="137"/>
                  </a:lnTo>
                  <a:lnTo>
                    <a:pt x="653" y="126"/>
                  </a:lnTo>
                  <a:lnTo>
                    <a:pt x="648" y="125"/>
                  </a:lnTo>
                  <a:lnTo>
                    <a:pt x="627" y="131"/>
                  </a:lnTo>
                  <a:lnTo>
                    <a:pt x="620" y="137"/>
                  </a:lnTo>
                  <a:lnTo>
                    <a:pt x="615" y="129"/>
                  </a:lnTo>
                  <a:lnTo>
                    <a:pt x="632" y="119"/>
                  </a:lnTo>
                  <a:lnTo>
                    <a:pt x="630" y="86"/>
                  </a:lnTo>
                  <a:lnTo>
                    <a:pt x="627" y="84"/>
                  </a:lnTo>
                  <a:lnTo>
                    <a:pt x="614" y="95"/>
                  </a:lnTo>
                  <a:lnTo>
                    <a:pt x="609" y="84"/>
                  </a:lnTo>
                  <a:lnTo>
                    <a:pt x="603" y="86"/>
                  </a:lnTo>
                  <a:lnTo>
                    <a:pt x="603" y="79"/>
                  </a:lnTo>
                  <a:lnTo>
                    <a:pt x="594" y="70"/>
                  </a:lnTo>
                  <a:lnTo>
                    <a:pt x="614" y="60"/>
                  </a:lnTo>
                  <a:lnTo>
                    <a:pt x="611" y="46"/>
                  </a:lnTo>
                  <a:lnTo>
                    <a:pt x="621" y="42"/>
                  </a:lnTo>
                  <a:lnTo>
                    <a:pt x="635" y="37"/>
                  </a:lnTo>
                  <a:lnTo>
                    <a:pt x="632" y="30"/>
                  </a:lnTo>
                  <a:lnTo>
                    <a:pt x="614" y="28"/>
                  </a:lnTo>
                  <a:lnTo>
                    <a:pt x="597" y="52"/>
                  </a:lnTo>
                  <a:lnTo>
                    <a:pt x="588" y="48"/>
                  </a:lnTo>
                  <a:lnTo>
                    <a:pt x="583" y="54"/>
                  </a:lnTo>
                  <a:lnTo>
                    <a:pt x="585" y="66"/>
                  </a:lnTo>
                  <a:lnTo>
                    <a:pt x="573" y="61"/>
                  </a:lnTo>
                  <a:lnTo>
                    <a:pt x="570" y="52"/>
                  </a:lnTo>
                  <a:lnTo>
                    <a:pt x="561" y="52"/>
                  </a:lnTo>
                  <a:lnTo>
                    <a:pt x="550" y="45"/>
                  </a:lnTo>
                  <a:lnTo>
                    <a:pt x="556" y="33"/>
                  </a:lnTo>
                  <a:lnTo>
                    <a:pt x="547" y="30"/>
                  </a:lnTo>
                  <a:lnTo>
                    <a:pt x="546" y="18"/>
                  </a:lnTo>
                  <a:lnTo>
                    <a:pt x="532" y="0"/>
                  </a:lnTo>
                  <a:lnTo>
                    <a:pt x="526" y="4"/>
                  </a:lnTo>
                  <a:lnTo>
                    <a:pt x="528" y="12"/>
                  </a:lnTo>
                  <a:lnTo>
                    <a:pt x="516" y="18"/>
                  </a:lnTo>
                  <a:lnTo>
                    <a:pt x="511" y="12"/>
                  </a:lnTo>
                  <a:lnTo>
                    <a:pt x="506" y="15"/>
                  </a:lnTo>
                  <a:lnTo>
                    <a:pt x="517" y="60"/>
                  </a:lnTo>
                  <a:lnTo>
                    <a:pt x="514" y="67"/>
                  </a:lnTo>
                  <a:lnTo>
                    <a:pt x="502" y="69"/>
                  </a:lnTo>
                  <a:lnTo>
                    <a:pt x="497" y="75"/>
                  </a:lnTo>
                  <a:lnTo>
                    <a:pt x="482" y="75"/>
                  </a:lnTo>
                  <a:lnTo>
                    <a:pt x="478" y="60"/>
                  </a:lnTo>
                  <a:lnTo>
                    <a:pt x="467" y="60"/>
                  </a:lnTo>
                  <a:lnTo>
                    <a:pt x="463" y="75"/>
                  </a:lnTo>
                  <a:lnTo>
                    <a:pt x="454" y="82"/>
                  </a:lnTo>
                  <a:lnTo>
                    <a:pt x="451" y="90"/>
                  </a:lnTo>
                  <a:lnTo>
                    <a:pt x="443" y="89"/>
                  </a:lnTo>
                  <a:lnTo>
                    <a:pt x="421" y="69"/>
                  </a:lnTo>
                  <a:lnTo>
                    <a:pt x="407" y="73"/>
                  </a:lnTo>
                  <a:lnTo>
                    <a:pt x="398" y="66"/>
                  </a:lnTo>
                  <a:lnTo>
                    <a:pt x="399" y="87"/>
                  </a:lnTo>
                  <a:lnTo>
                    <a:pt x="413" y="110"/>
                  </a:lnTo>
                  <a:lnTo>
                    <a:pt x="407" y="120"/>
                  </a:lnTo>
                  <a:lnTo>
                    <a:pt x="419" y="143"/>
                  </a:lnTo>
                  <a:lnTo>
                    <a:pt x="407" y="146"/>
                  </a:lnTo>
                  <a:lnTo>
                    <a:pt x="404" y="126"/>
                  </a:lnTo>
                  <a:lnTo>
                    <a:pt x="398" y="105"/>
                  </a:lnTo>
                  <a:lnTo>
                    <a:pt x="384" y="92"/>
                  </a:lnTo>
                  <a:lnTo>
                    <a:pt x="383" y="78"/>
                  </a:lnTo>
                  <a:lnTo>
                    <a:pt x="375" y="78"/>
                  </a:lnTo>
                  <a:lnTo>
                    <a:pt x="368" y="64"/>
                  </a:lnTo>
                  <a:lnTo>
                    <a:pt x="360" y="66"/>
                  </a:lnTo>
                  <a:lnTo>
                    <a:pt x="360" y="70"/>
                  </a:lnTo>
                  <a:lnTo>
                    <a:pt x="353" y="64"/>
                  </a:lnTo>
                  <a:lnTo>
                    <a:pt x="350" y="73"/>
                  </a:lnTo>
                  <a:lnTo>
                    <a:pt x="353" y="86"/>
                  </a:lnTo>
                  <a:lnTo>
                    <a:pt x="342" y="81"/>
                  </a:lnTo>
                  <a:lnTo>
                    <a:pt x="325" y="86"/>
                  </a:lnTo>
                  <a:lnTo>
                    <a:pt x="330" y="98"/>
                  </a:lnTo>
                  <a:lnTo>
                    <a:pt x="325" y="105"/>
                  </a:lnTo>
                  <a:lnTo>
                    <a:pt x="335" y="116"/>
                  </a:lnTo>
                  <a:lnTo>
                    <a:pt x="327" y="153"/>
                  </a:lnTo>
                  <a:lnTo>
                    <a:pt x="312" y="132"/>
                  </a:lnTo>
                  <a:lnTo>
                    <a:pt x="307" y="116"/>
                  </a:lnTo>
                  <a:lnTo>
                    <a:pt x="312" y="108"/>
                  </a:lnTo>
                  <a:lnTo>
                    <a:pt x="283" y="73"/>
                  </a:lnTo>
                  <a:lnTo>
                    <a:pt x="267" y="81"/>
                  </a:lnTo>
                  <a:lnTo>
                    <a:pt x="268" y="105"/>
                  </a:lnTo>
                  <a:lnTo>
                    <a:pt x="279" y="132"/>
                  </a:lnTo>
                  <a:lnTo>
                    <a:pt x="270" y="158"/>
                  </a:lnTo>
                  <a:lnTo>
                    <a:pt x="265" y="167"/>
                  </a:lnTo>
                  <a:lnTo>
                    <a:pt x="259" y="159"/>
                  </a:lnTo>
                  <a:lnTo>
                    <a:pt x="252" y="150"/>
                  </a:lnTo>
                  <a:lnTo>
                    <a:pt x="252" y="138"/>
                  </a:lnTo>
                  <a:lnTo>
                    <a:pt x="232" y="167"/>
                  </a:lnTo>
                  <a:lnTo>
                    <a:pt x="233" y="193"/>
                  </a:lnTo>
                  <a:lnTo>
                    <a:pt x="224" y="182"/>
                  </a:lnTo>
                  <a:lnTo>
                    <a:pt x="221" y="185"/>
                  </a:lnTo>
                  <a:lnTo>
                    <a:pt x="218" y="202"/>
                  </a:lnTo>
                  <a:lnTo>
                    <a:pt x="212" y="182"/>
                  </a:lnTo>
                  <a:lnTo>
                    <a:pt x="206" y="178"/>
                  </a:lnTo>
                  <a:lnTo>
                    <a:pt x="206" y="155"/>
                  </a:lnTo>
                  <a:lnTo>
                    <a:pt x="194" y="153"/>
                  </a:lnTo>
                  <a:lnTo>
                    <a:pt x="181" y="137"/>
                  </a:lnTo>
                  <a:lnTo>
                    <a:pt x="199" y="147"/>
                  </a:lnTo>
                  <a:lnTo>
                    <a:pt x="203" y="138"/>
                  </a:lnTo>
                  <a:lnTo>
                    <a:pt x="199" y="126"/>
                  </a:lnTo>
                  <a:lnTo>
                    <a:pt x="206" y="125"/>
                  </a:lnTo>
                  <a:lnTo>
                    <a:pt x="203" y="114"/>
                  </a:lnTo>
                  <a:lnTo>
                    <a:pt x="208" y="111"/>
                  </a:lnTo>
                  <a:lnTo>
                    <a:pt x="200" y="101"/>
                  </a:lnTo>
                  <a:lnTo>
                    <a:pt x="202" y="96"/>
                  </a:lnTo>
                  <a:lnTo>
                    <a:pt x="208" y="92"/>
                  </a:lnTo>
                  <a:lnTo>
                    <a:pt x="199" y="89"/>
                  </a:lnTo>
                  <a:lnTo>
                    <a:pt x="196" y="95"/>
                  </a:lnTo>
                  <a:lnTo>
                    <a:pt x="194" y="78"/>
                  </a:lnTo>
                  <a:lnTo>
                    <a:pt x="184" y="81"/>
                  </a:lnTo>
                  <a:lnTo>
                    <a:pt x="181" y="76"/>
                  </a:lnTo>
                  <a:lnTo>
                    <a:pt x="179" y="73"/>
                  </a:lnTo>
                  <a:lnTo>
                    <a:pt x="175" y="60"/>
                  </a:lnTo>
                  <a:lnTo>
                    <a:pt x="147" y="49"/>
                  </a:lnTo>
                  <a:lnTo>
                    <a:pt x="144" y="34"/>
                  </a:lnTo>
                  <a:lnTo>
                    <a:pt x="132" y="24"/>
                  </a:lnTo>
                  <a:lnTo>
                    <a:pt x="120" y="27"/>
                  </a:lnTo>
                  <a:lnTo>
                    <a:pt x="113" y="21"/>
                  </a:lnTo>
                  <a:lnTo>
                    <a:pt x="92" y="28"/>
                  </a:lnTo>
                  <a:lnTo>
                    <a:pt x="87" y="37"/>
                  </a:lnTo>
                  <a:lnTo>
                    <a:pt x="93" y="37"/>
                  </a:lnTo>
                  <a:lnTo>
                    <a:pt x="90" y="40"/>
                  </a:lnTo>
                  <a:lnTo>
                    <a:pt x="96" y="48"/>
                  </a:lnTo>
                  <a:lnTo>
                    <a:pt x="101" y="40"/>
                  </a:lnTo>
                  <a:lnTo>
                    <a:pt x="125" y="39"/>
                  </a:lnTo>
                  <a:lnTo>
                    <a:pt x="123" y="43"/>
                  </a:lnTo>
                  <a:lnTo>
                    <a:pt x="134" y="54"/>
                  </a:lnTo>
                  <a:lnTo>
                    <a:pt x="128" y="55"/>
                  </a:lnTo>
                  <a:lnTo>
                    <a:pt x="113" y="54"/>
                  </a:lnTo>
                  <a:lnTo>
                    <a:pt x="104" y="58"/>
                  </a:lnTo>
                  <a:lnTo>
                    <a:pt x="128" y="78"/>
                  </a:lnTo>
                  <a:lnTo>
                    <a:pt x="140" y="79"/>
                  </a:lnTo>
                  <a:lnTo>
                    <a:pt x="134" y="92"/>
                  </a:lnTo>
                  <a:lnTo>
                    <a:pt x="138" y="111"/>
                  </a:lnTo>
                  <a:lnTo>
                    <a:pt x="131" y="120"/>
                  </a:lnTo>
                  <a:lnTo>
                    <a:pt x="126" y="110"/>
                  </a:lnTo>
                  <a:lnTo>
                    <a:pt x="119" y="119"/>
                  </a:lnTo>
                  <a:lnTo>
                    <a:pt x="117" y="110"/>
                  </a:lnTo>
                  <a:lnTo>
                    <a:pt x="119" y="93"/>
                  </a:lnTo>
                  <a:lnTo>
                    <a:pt x="113" y="92"/>
                  </a:lnTo>
                  <a:lnTo>
                    <a:pt x="107" y="98"/>
                  </a:lnTo>
                  <a:lnTo>
                    <a:pt x="95" y="92"/>
                  </a:lnTo>
                  <a:lnTo>
                    <a:pt x="95" y="79"/>
                  </a:lnTo>
                  <a:lnTo>
                    <a:pt x="68" y="61"/>
                  </a:lnTo>
                  <a:lnTo>
                    <a:pt x="62" y="72"/>
                  </a:lnTo>
                  <a:lnTo>
                    <a:pt x="78" y="82"/>
                  </a:lnTo>
                  <a:lnTo>
                    <a:pt x="71" y="89"/>
                  </a:lnTo>
                  <a:lnTo>
                    <a:pt x="62" y="78"/>
                  </a:lnTo>
                  <a:lnTo>
                    <a:pt x="55" y="81"/>
                  </a:lnTo>
                  <a:lnTo>
                    <a:pt x="72" y="92"/>
                  </a:lnTo>
                  <a:lnTo>
                    <a:pt x="63" y="95"/>
                  </a:lnTo>
                  <a:lnTo>
                    <a:pt x="43" y="84"/>
                  </a:lnTo>
                  <a:lnTo>
                    <a:pt x="69" y="111"/>
                  </a:lnTo>
                  <a:lnTo>
                    <a:pt x="68" y="116"/>
                  </a:lnTo>
                  <a:lnTo>
                    <a:pt x="51" y="107"/>
                  </a:lnTo>
                  <a:lnTo>
                    <a:pt x="49" y="111"/>
                  </a:lnTo>
                  <a:lnTo>
                    <a:pt x="65" y="131"/>
                  </a:lnTo>
                  <a:lnTo>
                    <a:pt x="84" y="126"/>
                  </a:lnTo>
                  <a:lnTo>
                    <a:pt x="74" y="137"/>
                  </a:lnTo>
                  <a:lnTo>
                    <a:pt x="87" y="141"/>
                  </a:lnTo>
                  <a:lnTo>
                    <a:pt x="62" y="150"/>
                  </a:lnTo>
                  <a:lnTo>
                    <a:pt x="60" y="137"/>
                  </a:lnTo>
                  <a:lnTo>
                    <a:pt x="27" y="125"/>
                  </a:lnTo>
                  <a:lnTo>
                    <a:pt x="27" y="132"/>
                  </a:lnTo>
                  <a:lnTo>
                    <a:pt x="34" y="143"/>
                  </a:lnTo>
                  <a:lnTo>
                    <a:pt x="48" y="150"/>
                  </a:lnTo>
                  <a:lnTo>
                    <a:pt x="40" y="156"/>
                  </a:lnTo>
                  <a:lnTo>
                    <a:pt x="51" y="165"/>
                  </a:lnTo>
                  <a:lnTo>
                    <a:pt x="45" y="167"/>
                  </a:lnTo>
                  <a:lnTo>
                    <a:pt x="15" y="147"/>
                  </a:lnTo>
                  <a:lnTo>
                    <a:pt x="12" y="165"/>
                  </a:lnTo>
                  <a:lnTo>
                    <a:pt x="0" y="175"/>
                  </a:lnTo>
                  <a:lnTo>
                    <a:pt x="6" y="178"/>
                  </a:lnTo>
                  <a:lnTo>
                    <a:pt x="25" y="173"/>
                  </a:lnTo>
                  <a:lnTo>
                    <a:pt x="45" y="179"/>
                  </a:lnTo>
                  <a:lnTo>
                    <a:pt x="87" y="170"/>
                  </a:lnTo>
                  <a:lnTo>
                    <a:pt x="105" y="150"/>
                  </a:lnTo>
                  <a:lnTo>
                    <a:pt x="120" y="155"/>
                  </a:lnTo>
                  <a:lnTo>
                    <a:pt x="128" y="162"/>
                  </a:lnTo>
                  <a:lnTo>
                    <a:pt x="144" y="158"/>
                  </a:lnTo>
                  <a:lnTo>
                    <a:pt x="146" y="173"/>
                  </a:lnTo>
                  <a:lnTo>
                    <a:pt x="154" y="178"/>
                  </a:lnTo>
                  <a:lnTo>
                    <a:pt x="161" y="170"/>
                  </a:lnTo>
                  <a:lnTo>
                    <a:pt x="176" y="173"/>
                  </a:lnTo>
                  <a:lnTo>
                    <a:pt x="132" y="217"/>
                  </a:lnTo>
                  <a:lnTo>
                    <a:pt x="137" y="224"/>
                  </a:lnTo>
                  <a:lnTo>
                    <a:pt x="147" y="224"/>
                  </a:lnTo>
                  <a:lnTo>
                    <a:pt x="164" y="226"/>
                  </a:lnTo>
                  <a:lnTo>
                    <a:pt x="175" y="214"/>
                  </a:lnTo>
                  <a:lnTo>
                    <a:pt x="182" y="214"/>
                  </a:lnTo>
                  <a:lnTo>
                    <a:pt x="169" y="244"/>
                  </a:lnTo>
                  <a:lnTo>
                    <a:pt x="140" y="244"/>
                  </a:lnTo>
                  <a:lnTo>
                    <a:pt x="134" y="235"/>
                  </a:lnTo>
                  <a:lnTo>
                    <a:pt x="125" y="238"/>
                  </a:lnTo>
                  <a:lnTo>
                    <a:pt x="119" y="245"/>
                  </a:lnTo>
                  <a:lnTo>
                    <a:pt x="116" y="238"/>
                  </a:lnTo>
                  <a:lnTo>
                    <a:pt x="111" y="239"/>
                  </a:lnTo>
                  <a:lnTo>
                    <a:pt x="108" y="248"/>
                  </a:lnTo>
                  <a:lnTo>
                    <a:pt x="78" y="256"/>
                  </a:lnTo>
                  <a:lnTo>
                    <a:pt x="51" y="265"/>
                  </a:lnTo>
                  <a:lnTo>
                    <a:pt x="40" y="277"/>
                  </a:lnTo>
                  <a:lnTo>
                    <a:pt x="46" y="285"/>
                  </a:lnTo>
                  <a:lnTo>
                    <a:pt x="60" y="283"/>
                  </a:lnTo>
                  <a:lnTo>
                    <a:pt x="66" y="274"/>
                  </a:lnTo>
                  <a:lnTo>
                    <a:pt x="71" y="277"/>
                  </a:lnTo>
                  <a:lnTo>
                    <a:pt x="89" y="268"/>
                  </a:lnTo>
                  <a:lnTo>
                    <a:pt x="110" y="277"/>
                  </a:lnTo>
                  <a:lnTo>
                    <a:pt x="122" y="273"/>
                  </a:lnTo>
                  <a:lnTo>
                    <a:pt x="134" y="274"/>
                  </a:lnTo>
                  <a:lnTo>
                    <a:pt x="141" y="295"/>
                  </a:lnTo>
                  <a:lnTo>
                    <a:pt x="141" y="313"/>
                  </a:lnTo>
                  <a:lnTo>
                    <a:pt x="151" y="310"/>
                  </a:lnTo>
                  <a:lnTo>
                    <a:pt x="155" y="315"/>
                  </a:lnTo>
                  <a:lnTo>
                    <a:pt x="164" y="309"/>
                  </a:lnTo>
                  <a:lnTo>
                    <a:pt x="176" y="309"/>
                  </a:lnTo>
                  <a:lnTo>
                    <a:pt x="167" y="324"/>
                  </a:lnTo>
                  <a:lnTo>
                    <a:pt x="166" y="331"/>
                  </a:lnTo>
                  <a:lnTo>
                    <a:pt x="158" y="337"/>
                  </a:lnTo>
                  <a:lnTo>
                    <a:pt x="161" y="343"/>
                  </a:lnTo>
                  <a:lnTo>
                    <a:pt x="185" y="339"/>
                  </a:lnTo>
                  <a:lnTo>
                    <a:pt x="196" y="337"/>
                  </a:lnTo>
                  <a:lnTo>
                    <a:pt x="182" y="354"/>
                  </a:lnTo>
                  <a:lnTo>
                    <a:pt x="176" y="365"/>
                  </a:lnTo>
                  <a:lnTo>
                    <a:pt x="157" y="390"/>
                  </a:lnTo>
                  <a:lnTo>
                    <a:pt x="135" y="393"/>
                  </a:lnTo>
                  <a:lnTo>
                    <a:pt x="119" y="386"/>
                  </a:lnTo>
                  <a:lnTo>
                    <a:pt x="117" y="390"/>
                  </a:lnTo>
                  <a:lnTo>
                    <a:pt x="129" y="399"/>
                  </a:lnTo>
                  <a:lnTo>
                    <a:pt x="120" y="407"/>
                  </a:lnTo>
                  <a:lnTo>
                    <a:pt x="129" y="420"/>
                  </a:lnTo>
                  <a:lnTo>
                    <a:pt x="143" y="414"/>
                  </a:lnTo>
                  <a:lnTo>
                    <a:pt x="157" y="420"/>
                  </a:lnTo>
                  <a:lnTo>
                    <a:pt x="172" y="414"/>
                  </a:lnTo>
                  <a:lnTo>
                    <a:pt x="190" y="414"/>
                  </a:lnTo>
                  <a:lnTo>
                    <a:pt x="199" y="419"/>
                  </a:lnTo>
                  <a:lnTo>
                    <a:pt x="217" y="399"/>
                  </a:lnTo>
                  <a:lnTo>
                    <a:pt x="220" y="413"/>
                  </a:lnTo>
                  <a:lnTo>
                    <a:pt x="214" y="417"/>
                  </a:lnTo>
                  <a:lnTo>
                    <a:pt x="227" y="423"/>
                  </a:lnTo>
                  <a:lnTo>
                    <a:pt x="244" y="425"/>
                  </a:lnTo>
                  <a:lnTo>
                    <a:pt x="270" y="446"/>
                  </a:lnTo>
                  <a:lnTo>
                    <a:pt x="288" y="458"/>
                  </a:lnTo>
                  <a:lnTo>
                    <a:pt x="333" y="466"/>
                  </a:lnTo>
                  <a:lnTo>
                    <a:pt x="350" y="475"/>
                  </a:lnTo>
                  <a:lnTo>
                    <a:pt x="414" y="473"/>
                  </a:lnTo>
                  <a:lnTo>
                    <a:pt x="439" y="439"/>
                  </a:lnTo>
                  <a:lnTo>
                    <a:pt x="473" y="425"/>
                  </a:lnTo>
                  <a:lnTo>
                    <a:pt x="470" y="408"/>
                  </a:lnTo>
                  <a:lnTo>
                    <a:pt x="488" y="413"/>
                  </a:lnTo>
                  <a:lnTo>
                    <a:pt x="503" y="402"/>
                  </a:lnTo>
                  <a:lnTo>
                    <a:pt x="520" y="402"/>
                  </a:lnTo>
                  <a:lnTo>
                    <a:pt x="555" y="366"/>
                  </a:lnTo>
                  <a:lnTo>
                    <a:pt x="562" y="350"/>
                  </a:lnTo>
                  <a:lnTo>
                    <a:pt x="579" y="345"/>
                  </a:lnTo>
                  <a:lnTo>
                    <a:pt x="583" y="339"/>
                  </a:lnTo>
                  <a:lnTo>
                    <a:pt x="582" y="331"/>
                  </a:lnTo>
                  <a:lnTo>
                    <a:pt x="585" y="325"/>
                  </a:lnTo>
                  <a:lnTo>
                    <a:pt x="594" y="327"/>
                  </a:lnTo>
                  <a:lnTo>
                    <a:pt x="595" y="339"/>
                  </a:lnTo>
                  <a:lnTo>
                    <a:pt x="600" y="345"/>
                  </a:lnTo>
                  <a:lnTo>
                    <a:pt x="598" y="351"/>
                  </a:lnTo>
                  <a:lnTo>
                    <a:pt x="591" y="354"/>
                  </a:lnTo>
                  <a:lnTo>
                    <a:pt x="592" y="357"/>
                  </a:lnTo>
                  <a:lnTo>
                    <a:pt x="608" y="354"/>
                  </a:lnTo>
                  <a:lnTo>
                    <a:pt x="617" y="333"/>
                  </a:lnTo>
                  <a:lnTo>
                    <a:pt x="632" y="331"/>
                  </a:lnTo>
                  <a:lnTo>
                    <a:pt x="642" y="309"/>
                  </a:lnTo>
                  <a:lnTo>
                    <a:pt x="657" y="295"/>
                  </a:lnTo>
                  <a:lnTo>
                    <a:pt x="654" y="292"/>
                  </a:lnTo>
                  <a:lnTo>
                    <a:pt x="636" y="303"/>
                  </a:lnTo>
                  <a:lnTo>
                    <a:pt x="636" y="289"/>
                  </a:lnTo>
                  <a:lnTo>
                    <a:pt x="647" y="283"/>
                  </a:lnTo>
                  <a:lnTo>
                    <a:pt x="645" y="277"/>
                  </a:lnTo>
                  <a:lnTo>
                    <a:pt x="641" y="270"/>
                  </a:lnTo>
                  <a:lnTo>
                    <a:pt x="644" y="261"/>
                  </a:lnTo>
                  <a:lnTo>
                    <a:pt x="654" y="273"/>
                  </a:lnTo>
                  <a:lnTo>
                    <a:pt x="657" y="285"/>
                  </a:lnTo>
                  <a:lnTo>
                    <a:pt x="663" y="282"/>
                  </a:lnTo>
                  <a:lnTo>
                    <a:pt x="669" y="274"/>
                  </a:lnTo>
                  <a:lnTo>
                    <a:pt x="677" y="273"/>
                  </a:lnTo>
                  <a:lnTo>
                    <a:pt x="678" y="264"/>
                  </a:lnTo>
                  <a:lnTo>
                    <a:pt x="686" y="254"/>
                  </a:lnTo>
                  <a:lnTo>
                    <a:pt x="680" y="245"/>
                  </a:lnTo>
                  <a:lnTo>
                    <a:pt x="689" y="236"/>
                  </a:lnTo>
                  <a:lnTo>
                    <a:pt x="701" y="235"/>
                  </a:lnTo>
                  <a:lnTo>
                    <a:pt x="701" y="221"/>
                  </a:lnTo>
                  <a:lnTo>
                    <a:pt x="694" y="223"/>
                  </a:lnTo>
                  <a:lnTo>
                    <a:pt x="706" y="217"/>
                  </a:lnTo>
                  <a:lnTo>
                    <a:pt x="703" y="208"/>
                  </a:lnTo>
                  <a:lnTo>
                    <a:pt x="703" y="208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693" name="Freeform 38"/>
            <p:cNvSpPr>
              <a:spLocks/>
            </p:cNvSpPr>
            <p:nvPr userDrawn="1"/>
          </p:nvSpPr>
          <p:spPr bwMode="auto">
            <a:xfrm>
              <a:off x="7679" y="-202"/>
              <a:ext cx="1" cy="3"/>
            </a:xfrm>
            <a:custGeom>
              <a:avLst/>
              <a:gdLst>
                <a:gd name="T0" fmla="*/ 1 w 1"/>
                <a:gd name="T1" fmla="*/ 3 h 3"/>
                <a:gd name="T2" fmla="*/ 1 w 1"/>
                <a:gd name="T3" fmla="*/ 0 h 3"/>
                <a:gd name="T4" fmla="*/ 0 w 1"/>
                <a:gd name="T5" fmla="*/ 2 h 3"/>
                <a:gd name="T6" fmla="*/ 1 w 1"/>
                <a:gd name="T7" fmla="*/ 3 h 3"/>
                <a:gd name="T8" fmla="*/ 1 w 1"/>
                <a:gd name="T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3">
                  <a:moveTo>
                    <a:pt x="1" y="3"/>
                  </a:moveTo>
                  <a:lnTo>
                    <a:pt x="1" y="0"/>
                  </a:lnTo>
                  <a:lnTo>
                    <a:pt x="0" y="2"/>
                  </a:lnTo>
                  <a:lnTo>
                    <a:pt x="1" y="3"/>
                  </a:lnTo>
                  <a:lnTo>
                    <a:pt x="1" y="3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694" name="Freeform 39"/>
            <p:cNvSpPr>
              <a:spLocks/>
            </p:cNvSpPr>
            <p:nvPr userDrawn="1"/>
          </p:nvSpPr>
          <p:spPr bwMode="auto">
            <a:xfrm>
              <a:off x="7670" y="-185"/>
              <a:ext cx="10" cy="62"/>
            </a:xfrm>
            <a:custGeom>
              <a:avLst/>
              <a:gdLst>
                <a:gd name="T0" fmla="*/ 3 w 10"/>
                <a:gd name="T1" fmla="*/ 1 h 62"/>
                <a:gd name="T2" fmla="*/ 0 w 10"/>
                <a:gd name="T3" fmla="*/ 0 h 62"/>
                <a:gd name="T4" fmla="*/ 1 w 10"/>
                <a:gd name="T5" fmla="*/ 51 h 62"/>
                <a:gd name="T6" fmla="*/ 10 w 10"/>
                <a:gd name="T7" fmla="*/ 62 h 62"/>
                <a:gd name="T8" fmla="*/ 10 w 10"/>
                <a:gd name="T9" fmla="*/ 51 h 62"/>
                <a:gd name="T10" fmla="*/ 6 w 10"/>
                <a:gd name="T11" fmla="*/ 47 h 62"/>
                <a:gd name="T12" fmla="*/ 3 w 10"/>
                <a:gd name="T13" fmla="*/ 1 h 62"/>
                <a:gd name="T14" fmla="*/ 3 w 10"/>
                <a:gd name="T15" fmla="*/ 1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" h="62">
                  <a:moveTo>
                    <a:pt x="3" y="1"/>
                  </a:moveTo>
                  <a:lnTo>
                    <a:pt x="0" y="0"/>
                  </a:lnTo>
                  <a:lnTo>
                    <a:pt x="1" y="51"/>
                  </a:lnTo>
                  <a:lnTo>
                    <a:pt x="10" y="62"/>
                  </a:lnTo>
                  <a:lnTo>
                    <a:pt x="10" y="51"/>
                  </a:lnTo>
                  <a:lnTo>
                    <a:pt x="6" y="47"/>
                  </a:lnTo>
                  <a:lnTo>
                    <a:pt x="3" y="1"/>
                  </a:lnTo>
                  <a:lnTo>
                    <a:pt x="3" y="1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695" name="Freeform 40"/>
            <p:cNvSpPr>
              <a:spLocks/>
            </p:cNvSpPr>
            <p:nvPr userDrawn="1"/>
          </p:nvSpPr>
          <p:spPr bwMode="auto">
            <a:xfrm>
              <a:off x="7647" y="138"/>
              <a:ext cx="33" cy="36"/>
            </a:xfrm>
            <a:custGeom>
              <a:avLst/>
              <a:gdLst>
                <a:gd name="T0" fmla="*/ 10 w 33"/>
                <a:gd name="T1" fmla="*/ 9 h 36"/>
                <a:gd name="T2" fmla="*/ 0 w 33"/>
                <a:gd name="T3" fmla="*/ 0 h 36"/>
                <a:gd name="T4" fmla="*/ 4 w 33"/>
                <a:gd name="T5" fmla="*/ 13 h 36"/>
                <a:gd name="T6" fmla="*/ 33 w 33"/>
                <a:gd name="T7" fmla="*/ 36 h 36"/>
                <a:gd name="T8" fmla="*/ 33 w 33"/>
                <a:gd name="T9" fmla="*/ 22 h 36"/>
                <a:gd name="T10" fmla="*/ 23 w 33"/>
                <a:gd name="T11" fmla="*/ 15 h 36"/>
                <a:gd name="T12" fmla="*/ 10 w 33"/>
                <a:gd name="T13" fmla="*/ 9 h 36"/>
                <a:gd name="T14" fmla="*/ 10 w 33"/>
                <a:gd name="T15" fmla="*/ 9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" h="36">
                  <a:moveTo>
                    <a:pt x="10" y="9"/>
                  </a:moveTo>
                  <a:lnTo>
                    <a:pt x="0" y="0"/>
                  </a:lnTo>
                  <a:lnTo>
                    <a:pt x="4" y="13"/>
                  </a:lnTo>
                  <a:lnTo>
                    <a:pt x="33" y="36"/>
                  </a:lnTo>
                  <a:lnTo>
                    <a:pt x="33" y="22"/>
                  </a:lnTo>
                  <a:lnTo>
                    <a:pt x="23" y="15"/>
                  </a:lnTo>
                  <a:lnTo>
                    <a:pt x="10" y="9"/>
                  </a:lnTo>
                  <a:lnTo>
                    <a:pt x="10" y="9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696" name="Freeform 41"/>
            <p:cNvSpPr>
              <a:spLocks/>
            </p:cNvSpPr>
            <p:nvPr userDrawn="1"/>
          </p:nvSpPr>
          <p:spPr bwMode="auto">
            <a:xfrm>
              <a:off x="7148" y="-88"/>
              <a:ext cx="134" cy="140"/>
            </a:xfrm>
            <a:custGeom>
              <a:avLst/>
              <a:gdLst>
                <a:gd name="T0" fmla="*/ 19 w 134"/>
                <a:gd name="T1" fmla="*/ 90 h 140"/>
                <a:gd name="T2" fmla="*/ 30 w 134"/>
                <a:gd name="T3" fmla="*/ 108 h 140"/>
                <a:gd name="T4" fmla="*/ 45 w 134"/>
                <a:gd name="T5" fmla="*/ 120 h 140"/>
                <a:gd name="T6" fmla="*/ 48 w 134"/>
                <a:gd name="T7" fmla="*/ 110 h 140"/>
                <a:gd name="T8" fmla="*/ 33 w 134"/>
                <a:gd name="T9" fmla="*/ 93 h 140"/>
                <a:gd name="T10" fmla="*/ 34 w 134"/>
                <a:gd name="T11" fmla="*/ 82 h 140"/>
                <a:gd name="T12" fmla="*/ 43 w 134"/>
                <a:gd name="T13" fmla="*/ 86 h 140"/>
                <a:gd name="T14" fmla="*/ 48 w 134"/>
                <a:gd name="T15" fmla="*/ 101 h 140"/>
                <a:gd name="T16" fmla="*/ 61 w 134"/>
                <a:gd name="T17" fmla="*/ 102 h 140"/>
                <a:gd name="T18" fmla="*/ 74 w 134"/>
                <a:gd name="T19" fmla="*/ 116 h 140"/>
                <a:gd name="T20" fmla="*/ 72 w 134"/>
                <a:gd name="T21" fmla="*/ 137 h 140"/>
                <a:gd name="T22" fmla="*/ 95 w 134"/>
                <a:gd name="T23" fmla="*/ 140 h 140"/>
                <a:gd name="T24" fmla="*/ 108 w 134"/>
                <a:gd name="T25" fmla="*/ 128 h 140"/>
                <a:gd name="T26" fmla="*/ 113 w 134"/>
                <a:gd name="T27" fmla="*/ 135 h 140"/>
                <a:gd name="T28" fmla="*/ 134 w 134"/>
                <a:gd name="T29" fmla="*/ 119 h 140"/>
                <a:gd name="T30" fmla="*/ 122 w 134"/>
                <a:gd name="T31" fmla="*/ 87 h 140"/>
                <a:gd name="T32" fmla="*/ 113 w 134"/>
                <a:gd name="T33" fmla="*/ 84 h 140"/>
                <a:gd name="T34" fmla="*/ 105 w 134"/>
                <a:gd name="T35" fmla="*/ 70 h 140"/>
                <a:gd name="T36" fmla="*/ 81 w 134"/>
                <a:gd name="T37" fmla="*/ 60 h 140"/>
                <a:gd name="T38" fmla="*/ 77 w 134"/>
                <a:gd name="T39" fmla="*/ 46 h 140"/>
                <a:gd name="T40" fmla="*/ 66 w 134"/>
                <a:gd name="T41" fmla="*/ 46 h 140"/>
                <a:gd name="T42" fmla="*/ 63 w 134"/>
                <a:gd name="T43" fmla="*/ 33 h 140"/>
                <a:gd name="T44" fmla="*/ 34 w 134"/>
                <a:gd name="T45" fmla="*/ 0 h 140"/>
                <a:gd name="T46" fmla="*/ 22 w 134"/>
                <a:gd name="T47" fmla="*/ 3 h 140"/>
                <a:gd name="T48" fmla="*/ 16 w 134"/>
                <a:gd name="T49" fmla="*/ 15 h 140"/>
                <a:gd name="T50" fmla="*/ 7 w 134"/>
                <a:gd name="T51" fmla="*/ 21 h 140"/>
                <a:gd name="T52" fmla="*/ 24 w 134"/>
                <a:gd name="T53" fmla="*/ 36 h 140"/>
                <a:gd name="T54" fmla="*/ 24 w 134"/>
                <a:gd name="T55" fmla="*/ 43 h 140"/>
                <a:gd name="T56" fmla="*/ 1 w 134"/>
                <a:gd name="T57" fmla="*/ 36 h 140"/>
                <a:gd name="T58" fmla="*/ 0 w 134"/>
                <a:gd name="T59" fmla="*/ 49 h 140"/>
                <a:gd name="T60" fmla="*/ 10 w 134"/>
                <a:gd name="T61" fmla="*/ 52 h 140"/>
                <a:gd name="T62" fmla="*/ 19 w 134"/>
                <a:gd name="T63" fmla="*/ 90 h 140"/>
                <a:gd name="T64" fmla="*/ 19 w 134"/>
                <a:gd name="T65" fmla="*/ 9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34" h="140">
                  <a:moveTo>
                    <a:pt x="19" y="90"/>
                  </a:moveTo>
                  <a:lnTo>
                    <a:pt x="30" y="108"/>
                  </a:lnTo>
                  <a:lnTo>
                    <a:pt x="45" y="120"/>
                  </a:lnTo>
                  <a:lnTo>
                    <a:pt x="48" y="110"/>
                  </a:lnTo>
                  <a:lnTo>
                    <a:pt x="33" y="93"/>
                  </a:lnTo>
                  <a:lnTo>
                    <a:pt x="34" y="82"/>
                  </a:lnTo>
                  <a:lnTo>
                    <a:pt x="43" y="86"/>
                  </a:lnTo>
                  <a:lnTo>
                    <a:pt x="48" y="101"/>
                  </a:lnTo>
                  <a:lnTo>
                    <a:pt x="61" y="102"/>
                  </a:lnTo>
                  <a:lnTo>
                    <a:pt x="74" y="116"/>
                  </a:lnTo>
                  <a:lnTo>
                    <a:pt x="72" y="137"/>
                  </a:lnTo>
                  <a:lnTo>
                    <a:pt x="95" y="140"/>
                  </a:lnTo>
                  <a:lnTo>
                    <a:pt x="108" y="128"/>
                  </a:lnTo>
                  <a:lnTo>
                    <a:pt x="113" y="135"/>
                  </a:lnTo>
                  <a:lnTo>
                    <a:pt x="134" y="119"/>
                  </a:lnTo>
                  <a:lnTo>
                    <a:pt x="122" y="87"/>
                  </a:lnTo>
                  <a:lnTo>
                    <a:pt x="113" y="84"/>
                  </a:lnTo>
                  <a:lnTo>
                    <a:pt x="105" y="70"/>
                  </a:lnTo>
                  <a:lnTo>
                    <a:pt x="81" y="60"/>
                  </a:lnTo>
                  <a:lnTo>
                    <a:pt x="77" y="46"/>
                  </a:lnTo>
                  <a:lnTo>
                    <a:pt x="66" y="46"/>
                  </a:lnTo>
                  <a:lnTo>
                    <a:pt x="63" y="33"/>
                  </a:lnTo>
                  <a:lnTo>
                    <a:pt x="34" y="0"/>
                  </a:lnTo>
                  <a:lnTo>
                    <a:pt x="22" y="3"/>
                  </a:lnTo>
                  <a:lnTo>
                    <a:pt x="16" y="15"/>
                  </a:lnTo>
                  <a:lnTo>
                    <a:pt x="7" y="21"/>
                  </a:lnTo>
                  <a:lnTo>
                    <a:pt x="24" y="36"/>
                  </a:lnTo>
                  <a:lnTo>
                    <a:pt x="24" y="43"/>
                  </a:lnTo>
                  <a:lnTo>
                    <a:pt x="1" y="36"/>
                  </a:lnTo>
                  <a:lnTo>
                    <a:pt x="0" y="49"/>
                  </a:lnTo>
                  <a:lnTo>
                    <a:pt x="10" y="52"/>
                  </a:lnTo>
                  <a:lnTo>
                    <a:pt x="19" y="90"/>
                  </a:lnTo>
                  <a:lnTo>
                    <a:pt x="19" y="90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697" name="Freeform 42"/>
            <p:cNvSpPr>
              <a:spLocks/>
            </p:cNvSpPr>
            <p:nvPr userDrawn="1"/>
          </p:nvSpPr>
          <p:spPr bwMode="auto">
            <a:xfrm>
              <a:off x="6933" y="194"/>
              <a:ext cx="32" cy="18"/>
            </a:xfrm>
            <a:custGeom>
              <a:avLst/>
              <a:gdLst>
                <a:gd name="T0" fmla="*/ 32 w 32"/>
                <a:gd name="T1" fmla="*/ 18 h 18"/>
                <a:gd name="T2" fmla="*/ 32 w 32"/>
                <a:gd name="T3" fmla="*/ 12 h 18"/>
                <a:gd name="T4" fmla="*/ 20 w 32"/>
                <a:gd name="T5" fmla="*/ 0 h 18"/>
                <a:gd name="T6" fmla="*/ 0 w 32"/>
                <a:gd name="T7" fmla="*/ 0 h 18"/>
                <a:gd name="T8" fmla="*/ 16 w 32"/>
                <a:gd name="T9" fmla="*/ 6 h 18"/>
                <a:gd name="T10" fmla="*/ 32 w 32"/>
                <a:gd name="T11" fmla="*/ 18 h 18"/>
                <a:gd name="T12" fmla="*/ 32 w 32"/>
                <a:gd name="T13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18">
                  <a:moveTo>
                    <a:pt x="32" y="18"/>
                  </a:moveTo>
                  <a:lnTo>
                    <a:pt x="32" y="12"/>
                  </a:lnTo>
                  <a:lnTo>
                    <a:pt x="20" y="0"/>
                  </a:lnTo>
                  <a:lnTo>
                    <a:pt x="0" y="0"/>
                  </a:lnTo>
                  <a:lnTo>
                    <a:pt x="16" y="6"/>
                  </a:lnTo>
                  <a:lnTo>
                    <a:pt x="32" y="18"/>
                  </a:lnTo>
                  <a:lnTo>
                    <a:pt x="32" y="18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698" name="Freeform 43"/>
            <p:cNvSpPr>
              <a:spLocks/>
            </p:cNvSpPr>
            <p:nvPr userDrawn="1"/>
          </p:nvSpPr>
          <p:spPr bwMode="auto">
            <a:xfrm>
              <a:off x="6789" y="360"/>
              <a:ext cx="36" cy="18"/>
            </a:xfrm>
            <a:custGeom>
              <a:avLst/>
              <a:gdLst>
                <a:gd name="T0" fmla="*/ 10 w 36"/>
                <a:gd name="T1" fmla="*/ 0 h 18"/>
                <a:gd name="T2" fmla="*/ 0 w 36"/>
                <a:gd name="T3" fmla="*/ 12 h 18"/>
                <a:gd name="T4" fmla="*/ 10 w 36"/>
                <a:gd name="T5" fmla="*/ 16 h 18"/>
                <a:gd name="T6" fmla="*/ 25 w 36"/>
                <a:gd name="T7" fmla="*/ 18 h 18"/>
                <a:gd name="T8" fmla="*/ 36 w 36"/>
                <a:gd name="T9" fmla="*/ 4 h 18"/>
                <a:gd name="T10" fmla="*/ 22 w 36"/>
                <a:gd name="T11" fmla="*/ 1 h 18"/>
                <a:gd name="T12" fmla="*/ 10 w 36"/>
                <a:gd name="T13" fmla="*/ 0 h 18"/>
                <a:gd name="T14" fmla="*/ 10 w 36"/>
                <a:gd name="T15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" h="18">
                  <a:moveTo>
                    <a:pt x="10" y="0"/>
                  </a:moveTo>
                  <a:lnTo>
                    <a:pt x="0" y="12"/>
                  </a:lnTo>
                  <a:lnTo>
                    <a:pt x="10" y="16"/>
                  </a:lnTo>
                  <a:lnTo>
                    <a:pt x="25" y="18"/>
                  </a:lnTo>
                  <a:lnTo>
                    <a:pt x="36" y="4"/>
                  </a:lnTo>
                  <a:lnTo>
                    <a:pt x="22" y="1"/>
                  </a:lnTo>
                  <a:lnTo>
                    <a:pt x="10" y="0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699" name="Freeform 44"/>
            <p:cNvSpPr>
              <a:spLocks/>
            </p:cNvSpPr>
            <p:nvPr userDrawn="1"/>
          </p:nvSpPr>
          <p:spPr bwMode="auto">
            <a:xfrm>
              <a:off x="6826" y="329"/>
              <a:ext cx="15" cy="35"/>
            </a:xfrm>
            <a:custGeom>
              <a:avLst/>
              <a:gdLst>
                <a:gd name="T0" fmla="*/ 3 w 15"/>
                <a:gd name="T1" fmla="*/ 17 h 35"/>
                <a:gd name="T2" fmla="*/ 0 w 15"/>
                <a:gd name="T3" fmla="*/ 32 h 35"/>
                <a:gd name="T4" fmla="*/ 6 w 15"/>
                <a:gd name="T5" fmla="*/ 35 h 35"/>
                <a:gd name="T6" fmla="*/ 12 w 15"/>
                <a:gd name="T7" fmla="*/ 28 h 35"/>
                <a:gd name="T8" fmla="*/ 15 w 15"/>
                <a:gd name="T9" fmla="*/ 9 h 35"/>
                <a:gd name="T10" fmla="*/ 9 w 15"/>
                <a:gd name="T11" fmla="*/ 0 h 35"/>
                <a:gd name="T12" fmla="*/ 3 w 15"/>
                <a:gd name="T13" fmla="*/ 17 h 35"/>
                <a:gd name="T14" fmla="*/ 3 w 15"/>
                <a:gd name="T15" fmla="*/ 1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35">
                  <a:moveTo>
                    <a:pt x="3" y="17"/>
                  </a:moveTo>
                  <a:lnTo>
                    <a:pt x="0" y="32"/>
                  </a:lnTo>
                  <a:lnTo>
                    <a:pt x="6" y="35"/>
                  </a:lnTo>
                  <a:lnTo>
                    <a:pt x="12" y="28"/>
                  </a:lnTo>
                  <a:lnTo>
                    <a:pt x="15" y="9"/>
                  </a:lnTo>
                  <a:lnTo>
                    <a:pt x="9" y="0"/>
                  </a:lnTo>
                  <a:lnTo>
                    <a:pt x="3" y="17"/>
                  </a:lnTo>
                  <a:lnTo>
                    <a:pt x="3" y="17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700" name="Freeform 45"/>
            <p:cNvSpPr>
              <a:spLocks/>
            </p:cNvSpPr>
            <p:nvPr userDrawn="1"/>
          </p:nvSpPr>
          <p:spPr bwMode="auto">
            <a:xfrm>
              <a:off x="6837" y="302"/>
              <a:ext cx="20" cy="23"/>
            </a:xfrm>
            <a:custGeom>
              <a:avLst/>
              <a:gdLst>
                <a:gd name="T0" fmla="*/ 0 w 20"/>
                <a:gd name="T1" fmla="*/ 15 h 23"/>
                <a:gd name="T2" fmla="*/ 4 w 20"/>
                <a:gd name="T3" fmla="*/ 23 h 23"/>
                <a:gd name="T4" fmla="*/ 20 w 20"/>
                <a:gd name="T5" fmla="*/ 9 h 23"/>
                <a:gd name="T6" fmla="*/ 20 w 20"/>
                <a:gd name="T7" fmla="*/ 0 h 23"/>
                <a:gd name="T8" fmla="*/ 0 w 20"/>
                <a:gd name="T9" fmla="*/ 15 h 23"/>
                <a:gd name="T10" fmla="*/ 0 w 20"/>
                <a:gd name="T11" fmla="*/ 15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23">
                  <a:moveTo>
                    <a:pt x="0" y="15"/>
                  </a:moveTo>
                  <a:lnTo>
                    <a:pt x="4" y="23"/>
                  </a:lnTo>
                  <a:lnTo>
                    <a:pt x="20" y="9"/>
                  </a:lnTo>
                  <a:lnTo>
                    <a:pt x="20" y="0"/>
                  </a:lnTo>
                  <a:lnTo>
                    <a:pt x="0" y="15"/>
                  </a:lnTo>
                  <a:lnTo>
                    <a:pt x="0" y="15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701" name="Freeform 46"/>
            <p:cNvSpPr>
              <a:spLocks/>
            </p:cNvSpPr>
            <p:nvPr userDrawn="1"/>
          </p:nvSpPr>
          <p:spPr bwMode="auto">
            <a:xfrm>
              <a:off x="6813" y="320"/>
              <a:ext cx="10" cy="26"/>
            </a:xfrm>
            <a:custGeom>
              <a:avLst/>
              <a:gdLst>
                <a:gd name="T0" fmla="*/ 4 w 10"/>
                <a:gd name="T1" fmla="*/ 26 h 26"/>
                <a:gd name="T2" fmla="*/ 10 w 10"/>
                <a:gd name="T3" fmla="*/ 0 h 26"/>
                <a:gd name="T4" fmla="*/ 0 w 10"/>
                <a:gd name="T5" fmla="*/ 6 h 26"/>
                <a:gd name="T6" fmla="*/ 0 w 10"/>
                <a:gd name="T7" fmla="*/ 17 h 26"/>
                <a:gd name="T8" fmla="*/ 4 w 10"/>
                <a:gd name="T9" fmla="*/ 26 h 26"/>
                <a:gd name="T10" fmla="*/ 4 w 10"/>
                <a:gd name="T11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" h="26">
                  <a:moveTo>
                    <a:pt x="4" y="26"/>
                  </a:moveTo>
                  <a:lnTo>
                    <a:pt x="10" y="0"/>
                  </a:lnTo>
                  <a:lnTo>
                    <a:pt x="0" y="6"/>
                  </a:lnTo>
                  <a:lnTo>
                    <a:pt x="0" y="17"/>
                  </a:lnTo>
                  <a:lnTo>
                    <a:pt x="4" y="26"/>
                  </a:lnTo>
                  <a:lnTo>
                    <a:pt x="4" y="26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702" name="Freeform 47"/>
            <p:cNvSpPr>
              <a:spLocks/>
            </p:cNvSpPr>
            <p:nvPr userDrawn="1"/>
          </p:nvSpPr>
          <p:spPr bwMode="auto">
            <a:xfrm>
              <a:off x="6671" y="265"/>
              <a:ext cx="33" cy="15"/>
            </a:xfrm>
            <a:custGeom>
              <a:avLst/>
              <a:gdLst>
                <a:gd name="T0" fmla="*/ 26 w 33"/>
                <a:gd name="T1" fmla="*/ 4 h 15"/>
                <a:gd name="T2" fmla="*/ 33 w 33"/>
                <a:gd name="T3" fmla="*/ 0 h 15"/>
                <a:gd name="T4" fmla="*/ 12 w 33"/>
                <a:gd name="T5" fmla="*/ 1 h 15"/>
                <a:gd name="T6" fmla="*/ 0 w 33"/>
                <a:gd name="T7" fmla="*/ 10 h 15"/>
                <a:gd name="T8" fmla="*/ 0 w 33"/>
                <a:gd name="T9" fmla="*/ 15 h 15"/>
                <a:gd name="T10" fmla="*/ 26 w 33"/>
                <a:gd name="T11" fmla="*/ 4 h 15"/>
                <a:gd name="T12" fmla="*/ 26 w 33"/>
                <a:gd name="T13" fmla="*/ 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" h="15">
                  <a:moveTo>
                    <a:pt x="26" y="4"/>
                  </a:moveTo>
                  <a:lnTo>
                    <a:pt x="33" y="0"/>
                  </a:lnTo>
                  <a:lnTo>
                    <a:pt x="12" y="1"/>
                  </a:lnTo>
                  <a:lnTo>
                    <a:pt x="0" y="10"/>
                  </a:lnTo>
                  <a:lnTo>
                    <a:pt x="0" y="15"/>
                  </a:lnTo>
                  <a:lnTo>
                    <a:pt x="26" y="4"/>
                  </a:lnTo>
                  <a:lnTo>
                    <a:pt x="26" y="4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703" name="Freeform 48"/>
            <p:cNvSpPr>
              <a:spLocks/>
            </p:cNvSpPr>
            <p:nvPr userDrawn="1"/>
          </p:nvSpPr>
          <p:spPr bwMode="auto">
            <a:xfrm>
              <a:off x="6487" y="84"/>
              <a:ext cx="148" cy="149"/>
            </a:xfrm>
            <a:custGeom>
              <a:avLst/>
              <a:gdLst>
                <a:gd name="T0" fmla="*/ 15 w 148"/>
                <a:gd name="T1" fmla="*/ 141 h 149"/>
                <a:gd name="T2" fmla="*/ 14 w 148"/>
                <a:gd name="T3" fmla="*/ 125 h 149"/>
                <a:gd name="T4" fmla="*/ 26 w 148"/>
                <a:gd name="T5" fmla="*/ 129 h 149"/>
                <a:gd name="T6" fmla="*/ 35 w 148"/>
                <a:gd name="T7" fmla="*/ 143 h 149"/>
                <a:gd name="T8" fmla="*/ 39 w 148"/>
                <a:gd name="T9" fmla="*/ 140 h 149"/>
                <a:gd name="T10" fmla="*/ 48 w 148"/>
                <a:gd name="T11" fmla="*/ 149 h 149"/>
                <a:gd name="T12" fmla="*/ 63 w 148"/>
                <a:gd name="T13" fmla="*/ 140 h 149"/>
                <a:gd name="T14" fmla="*/ 68 w 148"/>
                <a:gd name="T15" fmla="*/ 129 h 149"/>
                <a:gd name="T16" fmla="*/ 77 w 148"/>
                <a:gd name="T17" fmla="*/ 132 h 149"/>
                <a:gd name="T18" fmla="*/ 113 w 148"/>
                <a:gd name="T19" fmla="*/ 98 h 149"/>
                <a:gd name="T20" fmla="*/ 115 w 148"/>
                <a:gd name="T21" fmla="*/ 81 h 149"/>
                <a:gd name="T22" fmla="*/ 127 w 148"/>
                <a:gd name="T23" fmla="*/ 79 h 149"/>
                <a:gd name="T24" fmla="*/ 130 w 148"/>
                <a:gd name="T25" fmla="*/ 70 h 149"/>
                <a:gd name="T26" fmla="*/ 137 w 148"/>
                <a:gd name="T27" fmla="*/ 69 h 149"/>
                <a:gd name="T28" fmla="*/ 134 w 148"/>
                <a:gd name="T29" fmla="*/ 81 h 149"/>
                <a:gd name="T30" fmla="*/ 140 w 148"/>
                <a:gd name="T31" fmla="*/ 89 h 149"/>
                <a:gd name="T32" fmla="*/ 148 w 148"/>
                <a:gd name="T33" fmla="*/ 69 h 149"/>
                <a:gd name="T34" fmla="*/ 134 w 148"/>
                <a:gd name="T35" fmla="*/ 55 h 149"/>
                <a:gd name="T36" fmla="*/ 130 w 148"/>
                <a:gd name="T37" fmla="*/ 40 h 149"/>
                <a:gd name="T38" fmla="*/ 127 w 148"/>
                <a:gd name="T39" fmla="*/ 42 h 149"/>
                <a:gd name="T40" fmla="*/ 125 w 148"/>
                <a:gd name="T41" fmla="*/ 54 h 149"/>
                <a:gd name="T42" fmla="*/ 121 w 148"/>
                <a:gd name="T43" fmla="*/ 45 h 149"/>
                <a:gd name="T44" fmla="*/ 122 w 148"/>
                <a:gd name="T45" fmla="*/ 39 h 149"/>
                <a:gd name="T46" fmla="*/ 95 w 148"/>
                <a:gd name="T47" fmla="*/ 15 h 149"/>
                <a:gd name="T48" fmla="*/ 86 w 148"/>
                <a:gd name="T49" fmla="*/ 18 h 149"/>
                <a:gd name="T50" fmla="*/ 72 w 148"/>
                <a:gd name="T51" fmla="*/ 0 h 149"/>
                <a:gd name="T52" fmla="*/ 62 w 148"/>
                <a:gd name="T53" fmla="*/ 1 h 149"/>
                <a:gd name="T54" fmla="*/ 59 w 148"/>
                <a:gd name="T55" fmla="*/ 15 h 149"/>
                <a:gd name="T56" fmla="*/ 47 w 148"/>
                <a:gd name="T57" fmla="*/ 7 h 149"/>
                <a:gd name="T58" fmla="*/ 21 w 148"/>
                <a:gd name="T59" fmla="*/ 31 h 149"/>
                <a:gd name="T60" fmla="*/ 21 w 148"/>
                <a:gd name="T61" fmla="*/ 31 h 149"/>
                <a:gd name="T62" fmla="*/ 12 w 148"/>
                <a:gd name="T63" fmla="*/ 63 h 149"/>
                <a:gd name="T64" fmla="*/ 12 w 148"/>
                <a:gd name="T65" fmla="*/ 63 h 149"/>
                <a:gd name="T66" fmla="*/ 11 w 148"/>
                <a:gd name="T67" fmla="*/ 114 h 149"/>
                <a:gd name="T68" fmla="*/ 11 w 148"/>
                <a:gd name="T69" fmla="*/ 114 h 149"/>
                <a:gd name="T70" fmla="*/ 6 w 148"/>
                <a:gd name="T71" fmla="*/ 119 h 149"/>
                <a:gd name="T72" fmla="*/ 0 w 148"/>
                <a:gd name="T73" fmla="*/ 126 h 149"/>
                <a:gd name="T74" fmla="*/ 0 w 148"/>
                <a:gd name="T75" fmla="*/ 126 h 149"/>
                <a:gd name="T76" fmla="*/ 2 w 148"/>
                <a:gd name="T77" fmla="*/ 131 h 149"/>
                <a:gd name="T78" fmla="*/ 5 w 148"/>
                <a:gd name="T79" fmla="*/ 137 h 149"/>
                <a:gd name="T80" fmla="*/ 9 w 148"/>
                <a:gd name="T81" fmla="*/ 146 h 149"/>
                <a:gd name="T82" fmla="*/ 15 w 148"/>
                <a:gd name="T83" fmla="*/ 141 h 149"/>
                <a:gd name="T84" fmla="*/ 15 w 148"/>
                <a:gd name="T85" fmla="*/ 141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48" h="149">
                  <a:moveTo>
                    <a:pt x="15" y="141"/>
                  </a:moveTo>
                  <a:lnTo>
                    <a:pt x="14" y="125"/>
                  </a:lnTo>
                  <a:lnTo>
                    <a:pt x="26" y="129"/>
                  </a:lnTo>
                  <a:lnTo>
                    <a:pt x="35" y="143"/>
                  </a:lnTo>
                  <a:lnTo>
                    <a:pt x="39" y="140"/>
                  </a:lnTo>
                  <a:lnTo>
                    <a:pt x="48" y="149"/>
                  </a:lnTo>
                  <a:lnTo>
                    <a:pt x="63" y="140"/>
                  </a:lnTo>
                  <a:lnTo>
                    <a:pt x="68" y="129"/>
                  </a:lnTo>
                  <a:lnTo>
                    <a:pt x="77" y="132"/>
                  </a:lnTo>
                  <a:lnTo>
                    <a:pt x="113" y="98"/>
                  </a:lnTo>
                  <a:lnTo>
                    <a:pt x="115" y="81"/>
                  </a:lnTo>
                  <a:lnTo>
                    <a:pt x="127" y="79"/>
                  </a:lnTo>
                  <a:lnTo>
                    <a:pt x="130" y="70"/>
                  </a:lnTo>
                  <a:lnTo>
                    <a:pt x="137" y="69"/>
                  </a:lnTo>
                  <a:lnTo>
                    <a:pt x="134" y="81"/>
                  </a:lnTo>
                  <a:lnTo>
                    <a:pt x="140" y="89"/>
                  </a:lnTo>
                  <a:lnTo>
                    <a:pt x="148" y="69"/>
                  </a:lnTo>
                  <a:lnTo>
                    <a:pt x="134" y="55"/>
                  </a:lnTo>
                  <a:lnTo>
                    <a:pt x="130" y="40"/>
                  </a:lnTo>
                  <a:lnTo>
                    <a:pt x="127" y="42"/>
                  </a:lnTo>
                  <a:lnTo>
                    <a:pt x="125" y="54"/>
                  </a:lnTo>
                  <a:lnTo>
                    <a:pt x="121" y="45"/>
                  </a:lnTo>
                  <a:lnTo>
                    <a:pt x="122" y="39"/>
                  </a:lnTo>
                  <a:lnTo>
                    <a:pt x="95" y="15"/>
                  </a:lnTo>
                  <a:lnTo>
                    <a:pt x="86" y="18"/>
                  </a:lnTo>
                  <a:lnTo>
                    <a:pt x="72" y="0"/>
                  </a:lnTo>
                  <a:lnTo>
                    <a:pt x="62" y="1"/>
                  </a:lnTo>
                  <a:lnTo>
                    <a:pt x="59" y="15"/>
                  </a:lnTo>
                  <a:lnTo>
                    <a:pt x="47" y="7"/>
                  </a:lnTo>
                  <a:lnTo>
                    <a:pt x="21" y="31"/>
                  </a:lnTo>
                  <a:lnTo>
                    <a:pt x="21" y="31"/>
                  </a:lnTo>
                  <a:lnTo>
                    <a:pt x="12" y="63"/>
                  </a:lnTo>
                  <a:lnTo>
                    <a:pt x="12" y="63"/>
                  </a:lnTo>
                  <a:lnTo>
                    <a:pt x="11" y="114"/>
                  </a:lnTo>
                  <a:lnTo>
                    <a:pt x="11" y="114"/>
                  </a:lnTo>
                  <a:lnTo>
                    <a:pt x="6" y="119"/>
                  </a:lnTo>
                  <a:lnTo>
                    <a:pt x="0" y="126"/>
                  </a:lnTo>
                  <a:lnTo>
                    <a:pt x="0" y="126"/>
                  </a:lnTo>
                  <a:lnTo>
                    <a:pt x="2" y="131"/>
                  </a:lnTo>
                  <a:lnTo>
                    <a:pt x="5" y="137"/>
                  </a:lnTo>
                  <a:lnTo>
                    <a:pt x="9" y="146"/>
                  </a:lnTo>
                  <a:lnTo>
                    <a:pt x="15" y="141"/>
                  </a:lnTo>
                  <a:lnTo>
                    <a:pt x="15" y="141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704" name="Freeform 49"/>
            <p:cNvSpPr>
              <a:spLocks/>
            </p:cNvSpPr>
            <p:nvPr userDrawn="1"/>
          </p:nvSpPr>
          <p:spPr bwMode="auto">
            <a:xfrm>
              <a:off x="6083" y="930"/>
              <a:ext cx="16" cy="26"/>
            </a:xfrm>
            <a:custGeom>
              <a:avLst/>
              <a:gdLst>
                <a:gd name="T0" fmla="*/ 6 w 16"/>
                <a:gd name="T1" fmla="*/ 26 h 26"/>
                <a:gd name="T2" fmla="*/ 13 w 16"/>
                <a:gd name="T3" fmla="*/ 16 h 26"/>
                <a:gd name="T4" fmla="*/ 16 w 16"/>
                <a:gd name="T5" fmla="*/ 4 h 26"/>
                <a:gd name="T6" fmla="*/ 6 w 16"/>
                <a:gd name="T7" fmla="*/ 0 h 26"/>
                <a:gd name="T8" fmla="*/ 0 w 16"/>
                <a:gd name="T9" fmla="*/ 4 h 26"/>
                <a:gd name="T10" fmla="*/ 0 w 16"/>
                <a:gd name="T11" fmla="*/ 13 h 26"/>
                <a:gd name="T12" fmla="*/ 6 w 16"/>
                <a:gd name="T13" fmla="*/ 26 h 26"/>
                <a:gd name="T14" fmla="*/ 6 w 16"/>
                <a:gd name="T15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" h="26">
                  <a:moveTo>
                    <a:pt x="6" y="26"/>
                  </a:moveTo>
                  <a:lnTo>
                    <a:pt x="13" y="16"/>
                  </a:lnTo>
                  <a:lnTo>
                    <a:pt x="16" y="4"/>
                  </a:lnTo>
                  <a:lnTo>
                    <a:pt x="6" y="0"/>
                  </a:lnTo>
                  <a:lnTo>
                    <a:pt x="0" y="4"/>
                  </a:lnTo>
                  <a:lnTo>
                    <a:pt x="0" y="13"/>
                  </a:lnTo>
                  <a:lnTo>
                    <a:pt x="6" y="26"/>
                  </a:lnTo>
                  <a:lnTo>
                    <a:pt x="6" y="26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705" name="Freeform 50"/>
            <p:cNvSpPr>
              <a:spLocks/>
            </p:cNvSpPr>
            <p:nvPr userDrawn="1"/>
          </p:nvSpPr>
          <p:spPr bwMode="auto">
            <a:xfrm>
              <a:off x="7167" y="100"/>
              <a:ext cx="30" cy="54"/>
            </a:xfrm>
            <a:custGeom>
              <a:avLst/>
              <a:gdLst>
                <a:gd name="T0" fmla="*/ 0 w 30"/>
                <a:gd name="T1" fmla="*/ 0 h 54"/>
                <a:gd name="T2" fmla="*/ 3 w 30"/>
                <a:gd name="T3" fmla="*/ 15 h 54"/>
                <a:gd name="T4" fmla="*/ 20 w 30"/>
                <a:gd name="T5" fmla="*/ 36 h 54"/>
                <a:gd name="T6" fmla="*/ 20 w 30"/>
                <a:gd name="T7" fmla="*/ 36 h 54"/>
                <a:gd name="T8" fmla="*/ 26 w 30"/>
                <a:gd name="T9" fmla="*/ 53 h 54"/>
                <a:gd name="T10" fmla="*/ 26 w 30"/>
                <a:gd name="T11" fmla="*/ 53 h 54"/>
                <a:gd name="T12" fmla="*/ 29 w 30"/>
                <a:gd name="T13" fmla="*/ 54 h 54"/>
                <a:gd name="T14" fmla="*/ 30 w 30"/>
                <a:gd name="T15" fmla="*/ 53 h 54"/>
                <a:gd name="T16" fmla="*/ 29 w 30"/>
                <a:gd name="T17" fmla="*/ 35 h 54"/>
                <a:gd name="T18" fmla="*/ 0 w 30"/>
                <a:gd name="T19" fmla="*/ 0 h 54"/>
                <a:gd name="T20" fmla="*/ 0 w 30"/>
                <a:gd name="T21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54">
                  <a:moveTo>
                    <a:pt x="0" y="0"/>
                  </a:moveTo>
                  <a:lnTo>
                    <a:pt x="3" y="15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6" y="53"/>
                  </a:lnTo>
                  <a:lnTo>
                    <a:pt x="26" y="53"/>
                  </a:lnTo>
                  <a:lnTo>
                    <a:pt x="29" y="54"/>
                  </a:lnTo>
                  <a:lnTo>
                    <a:pt x="30" y="53"/>
                  </a:lnTo>
                  <a:lnTo>
                    <a:pt x="29" y="35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706" name="Freeform 51"/>
            <p:cNvSpPr>
              <a:spLocks/>
            </p:cNvSpPr>
            <p:nvPr userDrawn="1"/>
          </p:nvSpPr>
          <p:spPr bwMode="auto">
            <a:xfrm>
              <a:off x="5692" y="808"/>
              <a:ext cx="21" cy="30"/>
            </a:xfrm>
            <a:custGeom>
              <a:avLst/>
              <a:gdLst>
                <a:gd name="T0" fmla="*/ 20 w 21"/>
                <a:gd name="T1" fmla="*/ 4 h 30"/>
                <a:gd name="T2" fmla="*/ 14 w 21"/>
                <a:gd name="T3" fmla="*/ 0 h 30"/>
                <a:gd name="T4" fmla="*/ 9 w 21"/>
                <a:gd name="T5" fmla="*/ 7 h 30"/>
                <a:gd name="T6" fmla="*/ 5 w 21"/>
                <a:gd name="T7" fmla="*/ 3 h 30"/>
                <a:gd name="T8" fmla="*/ 0 w 21"/>
                <a:gd name="T9" fmla="*/ 12 h 30"/>
                <a:gd name="T10" fmla="*/ 14 w 21"/>
                <a:gd name="T11" fmla="*/ 19 h 30"/>
                <a:gd name="T12" fmla="*/ 17 w 21"/>
                <a:gd name="T13" fmla="*/ 30 h 30"/>
                <a:gd name="T14" fmla="*/ 21 w 21"/>
                <a:gd name="T15" fmla="*/ 18 h 30"/>
                <a:gd name="T16" fmla="*/ 17 w 21"/>
                <a:gd name="T17" fmla="*/ 12 h 30"/>
                <a:gd name="T18" fmla="*/ 20 w 21"/>
                <a:gd name="T19" fmla="*/ 4 h 30"/>
                <a:gd name="T20" fmla="*/ 20 w 21"/>
                <a:gd name="T21" fmla="*/ 4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" h="30">
                  <a:moveTo>
                    <a:pt x="20" y="4"/>
                  </a:moveTo>
                  <a:lnTo>
                    <a:pt x="14" y="0"/>
                  </a:lnTo>
                  <a:lnTo>
                    <a:pt x="9" y="7"/>
                  </a:lnTo>
                  <a:lnTo>
                    <a:pt x="5" y="3"/>
                  </a:lnTo>
                  <a:lnTo>
                    <a:pt x="0" y="12"/>
                  </a:lnTo>
                  <a:lnTo>
                    <a:pt x="14" y="19"/>
                  </a:lnTo>
                  <a:lnTo>
                    <a:pt x="17" y="30"/>
                  </a:lnTo>
                  <a:lnTo>
                    <a:pt x="21" y="18"/>
                  </a:lnTo>
                  <a:lnTo>
                    <a:pt x="17" y="12"/>
                  </a:lnTo>
                  <a:lnTo>
                    <a:pt x="20" y="4"/>
                  </a:lnTo>
                  <a:lnTo>
                    <a:pt x="20" y="4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707" name="Freeform 52"/>
            <p:cNvSpPr>
              <a:spLocks/>
            </p:cNvSpPr>
            <p:nvPr userDrawn="1"/>
          </p:nvSpPr>
          <p:spPr bwMode="auto">
            <a:xfrm>
              <a:off x="5044" y="-203"/>
              <a:ext cx="55" cy="38"/>
            </a:xfrm>
            <a:custGeom>
              <a:avLst/>
              <a:gdLst>
                <a:gd name="T0" fmla="*/ 3 w 55"/>
                <a:gd name="T1" fmla="*/ 38 h 38"/>
                <a:gd name="T2" fmla="*/ 16 w 55"/>
                <a:gd name="T3" fmla="*/ 30 h 38"/>
                <a:gd name="T4" fmla="*/ 34 w 55"/>
                <a:gd name="T5" fmla="*/ 29 h 38"/>
                <a:gd name="T6" fmla="*/ 49 w 55"/>
                <a:gd name="T7" fmla="*/ 25 h 38"/>
                <a:gd name="T8" fmla="*/ 55 w 55"/>
                <a:gd name="T9" fmla="*/ 13 h 38"/>
                <a:gd name="T10" fmla="*/ 43 w 55"/>
                <a:gd name="T11" fmla="*/ 19 h 38"/>
                <a:gd name="T12" fmla="*/ 25 w 55"/>
                <a:gd name="T13" fmla="*/ 0 h 38"/>
                <a:gd name="T14" fmla="*/ 21 w 55"/>
                <a:gd name="T15" fmla="*/ 7 h 38"/>
                <a:gd name="T16" fmla="*/ 3 w 55"/>
                <a:gd name="T17" fmla="*/ 7 h 38"/>
                <a:gd name="T18" fmla="*/ 1 w 55"/>
                <a:gd name="T19" fmla="*/ 18 h 38"/>
                <a:gd name="T20" fmla="*/ 13 w 55"/>
                <a:gd name="T21" fmla="*/ 19 h 38"/>
                <a:gd name="T22" fmla="*/ 13 w 55"/>
                <a:gd name="T23" fmla="*/ 25 h 38"/>
                <a:gd name="T24" fmla="*/ 0 w 55"/>
                <a:gd name="T25" fmla="*/ 27 h 38"/>
                <a:gd name="T26" fmla="*/ 3 w 55"/>
                <a:gd name="T27" fmla="*/ 38 h 38"/>
                <a:gd name="T28" fmla="*/ 3 w 55"/>
                <a:gd name="T29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5" h="38">
                  <a:moveTo>
                    <a:pt x="3" y="38"/>
                  </a:moveTo>
                  <a:lnTo>
                    <a:pt x="16" y="30"/>
                  </a:lnTo>
                  <a:lnTo>
                    <a:pt x="34" y="29"/>
                  </a:lnTo>
                  <a:lnTo>
                    <a:pt x="49" y="25"/>
                  </a:lnTo>
                  <a:lnTo>
                    <a:pt x="55" y="13"/>
                  </a:lnTo>
                  <a:lnTo>
                    <a:pt x="43" y="19"/>
                  </a:lnTo>
                  <a:lnTo>
                    <a:pt x="25" y="0"/>
                  </a:lnTo>
                  <a:lnTo>
                    <a:pt x="21" y="7"/>
                  </a:lnTo>
                  <a:lnTo>
                    <a:pt x="3" y="7"/>
                  </a:lnTo>
                  <a:lnTo>
                    <a:pt x="1" y="18"/>
                  </a:lnTo>
                  <a:lnTo>
                    <a:pt x="13" y="19"/>
                  </a:lnTo>
                  <a:lnTo>
                    <a:pt x="13" y="25"/>
                  </a:lnTo>
                  <a:lnTo>
                    <a:pt x="0" y="27"/>
                  </a:lnTo>
                  <a:lnTo>
                    <a:pt x="3" y="38"/>
                  </a:lnTo>
                  <a:lnTo>
                    <a:pt x="3" y="38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708" name="Freeform 53"/>
            <p:cNvSpPr>
              <a:spLocks/>
            </p:cNvSpPr>
            <p:nvPr userDrawn="1"/>
          </p:nvSpPr>
          <p:spPr bwMode="auto">
            <a:xfrm>
              <a:off x="5160" y="-174"/>
              <a:ext cx="9" cy="13"/>
            </a:xfrm>
            <a:custGeom>
              <a:avLst/>
              <a:gdLst>
                <a:gd name="T0" fmla="*/ 7 w 9"/>
                <a:gd name="T1" fmla="*/ 0 h 13"/>
                <a:gd name="T2" fmla="*/ 0 w 9"/>
                <a:gd name="T3" fmla="*/ 0 h 13"/>
                <a:gd name="T4" fmla="*/ 9 w 9"/>
                <a:gd name="T5" fmla="*/ 13 h 13"/>
                <a:gd name="T6" fmla="*/ 7 w 9"/>
                <a:gd name="T7" fmla="*/ 0 h 13"/>
                <a:gd name="T8" fmla="*/ 7 w 9"/>
                <a:gd name="T9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3">
                  <a:moveTo>
                    <a:pt x="7" y="0"/>
                  </a:moveTo>
                  <a:lnTo>
                    <a:pt x="0" y="0"/>
                  </a:lnTo>
                  <a:lnTo>
                    <a:pt x="9" y="13"/>
                  </a:lnTo>
                  <a:lnTo>
                    <a:pt x="7" y="0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709" name="Freeform 54"/>
            <p:cNvSpPr>
              <a:spLocks/>
            </p:cNvSpPr>
            <p:nvPr userDrawn="1"/>
          </p:nvSpPr>
          <p:spPr bwMode="auto">
            <a:xfrm>
              <a:off x="4939" y="-125"/>
              <a:ext cx="20" cy="35"/>
            </a:xfrm>
            <a:custGeom>
              <a:avLst/>
              <a:gdLst>
                <a:gd name="T0" fmla="*/ 5 w 20"/>
                <a:gd name="T1" fmla="*/ 35 h 35"/>
                <a:gd name="T2" fmla="*/ 16 w 20"/>
                <a:gd name="T3" fmla="*/ 30 h 35"/>
                <a:gd name="T4" fmla="*/ 20 w 20"/>
                <a:gd name="T5" fmla="*/ 21 h 35"/>
                <a:gd name="T6" fmla="*/ 11 w 20"/>
                <a:gd name="T7" fmla="*/ 3 h 35"/>
                <a:gd name="T8" fmla="*/ 0 w 20"/>
                <a:gd name="T9" fmla="*/ 0 h 35"/>
                <a:gd name="T10" fmla="*/ 2 w 20"/>
                <a:gd name="T11" fmla="*/ 17 h 35"/>
                <a:gd name="T12" fmla="*/ 5 w 20"/>
                <a:gd name="T13" fmla="*/ 35 h 35"/>
                <a:gd name="T14" fmla="*/ 5 w 20"/>
                <a:gd name="T15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" h="35">
                  <a:moveTo>
                    <a:pt x="5" y="35"/>
                  </a:moveTo>
                  <a:lnTo>
                    <a:pt x="16" y="30"/>
                  </a:lnTo>
                  <a:lnTo>
                    <a:pt x="20" y="21"/>
                  </a:lnTo>
                  <a:lnTo>
                    <a:pt x="11" y="3"/>
                  </a:lnTo>
                  <a:lnTo>
                    <a:pt x="0" y="0"/>
                  </a:lnTo>
                  <a:lnTo>
                    <a:pt x="2" y="17"/>
                  </a:lnTo>
                  <a:lnTo>
                    <a:pt x="5" y="35"/>
                  </a:lnTo>
                  <a:lnTo>
                    <a:pt x="5" y="35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710" name="Freeform 55"/>
            <p:cNvSpPr>
              <a:spLocks/>
            </p:cNvSpPr>
            <p:nvPr userDrawn="1"/>
          </p:nvSpPr>
          <p:spPr bwMode="auto">
            <a:xfrm>
              <a:off x="4890" y="-101"/>
              <a:ext cx="43" cy="58"/>
            </a:xfrm>
            <a:custGeom>
              <a:avLst/>
              <a:gdLst>
                <a:gd name="T0" fmla="*/ 31 w 43"/>
                <a:gd name="T1" fmla="*/ 3 h 58"/>
                <a:gd name="T2" fmla="*/ 18 w 43"/>
                <a:gd name="T3" fmla="*/ 13 h 58"/>
                <a:gd name="T4" fmla="*/ 15 w 43"/>
                <a:gd name="T5" fmla="*/ 22 h 58"/>
                <a:gd name="T6" fmla="*/ 6 w 43"/>
                <a:gd name="T7" fmla="*/ 16 h 58"/>
                <a:gd name="T8" fmla="*/ 0 w 43"/>
                <a:gd name="T9" fmla="*/ 29 h 58"/>
                <a:gd name="T10" fmla="*/ 7 w 43"/>
                <a:gd name="T11" fmla="*/ 38 h 58"/>
                <a:gd name="T12" fmla="*/ 7 w 43"/>
                <a:gd name="T13" fmla="*/ 55 h 58"/>
                <a:gd name="T14" fmla="*/ 15 w 43"/>
                <a:gd name="T15" fmla="*/ 58 h 58"/>
                <a:gd name="T16" fmla="*/ 30 w 43"/>
                <a:gd name="T17" fmla="*/ 38 h 58"/>
                <a:gd name="T18" fmla="*/ 37 w 43"/>
                <a:gd name="T19" fmla="*/ 28 h 58"/>
                <a:gd name="T20" fmla="*/ 43 w 43"/>
                <a:gd name="T21" fmla="*/ 20 h 58"/>
                <a:gd name="T22" fmla="*/ 37 w 43"/>
                <a:gd name="T23" fmla="*/ 13 h 58"/>
                <a:gd name="T24" fmla="*/ 37 w 43"/>
                <a:gd name="T25" fmla="*/ 0 h 58"/>
                <a:gd name="T26" fmla="*/ 31 w 43"/>
                <a:gd name="T27" fmla="*/ 3 h 58"/>
                <a:gd name="T28" fmla="*/ 31 w 43"/>
                <a:gd name="T29" fmla="*/ 3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3" h="58">
                  <a:moveTo>
                    <a:pt x="31" y="3"/>
                  </a:moveTo>
                  <a:lnTo>
                    <a:pt x="18" y="13"/>
                  </a:lnTo>
                  <a:lnTo>
                    <a:pt x="15" y="22"/>
                  </a:lnTo>
                  <a:lnTo>
                    <a:pt x="6" y="16"/>
                  </a:lnTo>
                  <a:lnTo>
                    <a:pt x="0" y="29"/>
                  </a:lnTo>
                  <a:lnTo>
                    <a:pt x="7" y="38"/>
                  </a:lnTo>
                  <a:lnTo>
                    <a:pt x="7" y="55"/>
                  </a:lnTo>
                  <a:lnTo>
                    <a:pt x="15" y="58"/>
                  </a:lnTo>
                  <a:lnTo>
                    <a:pt x="30" y="38"/>
                  </a:lnTo>
                  <a:lnTo>
                    <a:pt x="37" y="28"/>
                  </a:lnTo>
                  <a:lnTo>
                    <a:pt x="43" y="20"/>
                  </a:lnTo>
                  <a:lnTo>
                    <a:pt x="37" y="13"/>
                  </a:lnTo>
                  <a:lnTo>
                    <a:pt x="37" y="0"/>
                  </a:lnTo>
                  <a:lnTo>
                    <a:pt x="31" y="3"/>
                  </a:lnTo>
                  <a:lnTo>
                    <a:pt x="31" y="3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711" name="Freeform 56"/>
            <p:cNvSpPr>
              <a:spLocks/>
            </p:cNvSpPr>
            <p:nvPr userDrawn="1"/>
          </p:nvSpPr>
          <p:spPr bwMode="auto">
            <a:xfrm>
              <a:off x="4855" y="-61"/>
              <a:ext cx="42" cy="27"/>
            </a:xfrm>
            <a:custGeom>
              <a:avLst/>
              <a:gdLst>
                <a:gd name="T0" fmla="*/ 15 w 42"/>
                <a:gd name="T1" fmla="*/ 0 h 27"/>
                <a:gd name="T2" fmla="*/ 0 w 42"/>
                <a:gd name="T3" fmla="*/ 12 h 27"/>
                <a:gd name="T4" fmla="*/ 23 w 42"/>
                <a:gd name="T5" fmla="*/ 25 h 27"/>
                <a:gd name="T6" fmla="*/ 39 w 42"/>
                <a:gd name="T7" fmla="*/ 27 h 27"/>
                <a:gd name="T8" fmla="*/ 42 w 42"/>
                <a:gd name="T9" fmla="*/ 21 h 27"/>
                <a:gd name="T10" fmla="*/ 35 w 42"/>
                <a:gd name="T11" fmla="*/ 9 h 27"/>
                <a:gd name="T12" fmla="*/ 15 w 42"/>
                <a:gd name="T13" fmla="*/ 0 h 27"/>
                <a:gd name="T14" fmla="*/ 15 w 42"/>
                <a:gd name="T15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2" h="27">
                  <a:moveTo>
                    <a:pt x="15" y="0"/>
                  </a:moveTo>
                  <a:lnTo>
                    <a:pt x="0" y="12"/>
                  </a:lnTo>
                  <a:lnTo>
                    <a:pt x="23" y="25"/>
                  </a:lnTo>
                  <a:lnTo>
                    <a:pt x="39" y="27"/>
                  </a:lnTo>
                  <a:lnTo>
                    <a:pt x="42" y="21"/>
                  </a:lnTo>
                  <a:lnTo>
                    <a:pt x="35" y="9"/>
                  </a:lnTo>
                  <a:lnTo>
                    <a:pt x="15" y="0"/>
                  </a:lnTo>
                  <a:lnTo>
                    <a:pt x="15" y="0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712" name="Freeform 57"/>
            <p:cNvSpPr>
              <a:spLocks/>
            </p:cNvSpPr>
            <p:nvPr userDrawn="1"/>
          </p:nvSpPr>
          <p:spPr bwMode="auto">
            <a:xfrm>
              <a:off x="4840" y="-147"/>
              <a:ext cx="86" cy="66"/>
            </a:xfrm>
            <a:custGeom>
              <a:avLst/>
              <a:gdLst>
                <a:gd name="T0" fmla="*/ 1 w 86"/>
                <a:gd name="T1" fmla="*/ 63 h 66"/>
                <a:gd name="T2" fmla="*/ 15 w 86"/>
                <a:gd name="T3" fmla="*/ 60 h 66"/>
                <a:gd name="T4" fmla="*/ 21 w 86"/>
                <a:gd name="T5" fmla="*/ 52 h 66"/>
                <a:gd name="T6" fmla="*/ 27 w 86"/>
                <a:gd name="T7" fmla="*/ 66 h 66"/>
                <a:gd name="T8" fmla="*/ 35 w 86"/>
                <a:gd name="T9" fmla="*/ 55 h 66"/>
                <a:gd name="T10" fmla="*/ 54 w 86"/>
                <a:gd name="T11" fmla="*/ 42 h 66"/>
                <a:gd name="T12" fmla="*/ 60 w 86"/>
                <a:gd name="T13" fmla="*/ 27 h 66"/>
                <a:gd name="T14" fmla="*/ 74 w 86"/>
                <a:gd name="T15" fmla="*/ 18 h 66"/>
                <a:gd name="T16" fmla="*/ 86 w 86"/>
                <a:gd name="T17" fmla="*/ 12 h 66"/>
                <a:gd name="T18" fmla="*/ 81 w 86"/>
                <a:gd name="T19" fmla="*/ 0 h 66"/>
                <a:gd name="T20" fmla="*/ 75 w 86"/>
                <a:gd name="T21" fmla="*/ 4 h 66"/>
                <a:gd name="T22" fmla="*/ 71 w 86"/>
                <a:gd name="T23" fmla="*/ 15 h 66"/>
                <a:gd name="T24" fmla="*/ 65 w 86"/>
                <a:gd name="T25" fmla="*/ 12 h 66"/>
                <a:gd name="T26" fmla="*/ 42 w 86"/>
                <a:gd name="T27" fmla="*/ 24 h 66"/>
                <a:gd name="T28" fmla="*/ 44 w 86"/>
                <a:gd name="T29" fmla="*/ 34 h 66"/>
                <a:gd name="T30" fmla="*/ 30 w 86"/>
                <a:gd name="T31" fmla="*/ 39 h 66"/>
                <a:gd name="T32" fmla="*/ 32 w 86"/>
                <a:gd name="T33" fmla="*/ 30 h 66"/>
                <a:gd name="T34" fmla="*/ 23 w 86"/>
                <a:gd name="T35" fmla="*/ 25 h 66"/>
                <a:gd name="T36" fmla="*/ 17 w 86"/>
                <a:gd name="T37" fmla="*/ 36 h 66"/>
                <a:gd name="T38" fmla="*/ 0 w 86"/>
                <a:gd name="T39" fmla="*/ 40 h 66"/>
                <a:gd name="T40" fmla="*/ 3 w 86"/>
                <a:gd name="T41" fmla="*/ 54 h 66"/>
                <a:gd name="T42" fmla="*/ 1 w 86"/>
                <a:gd name="T43" fmla="*/ 63 h 66"/>
                <a:gd name="T44" fmla="*/ 1 w 86"/>
                <a:gd name="T45" fmla="*/ 63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6" h="66">
                  <a:moveTo>
                    <a:pt x="1" y="63"/>
                  </a:moveTo>
                  <a:lnTo>
                    <a:pt x="15" y="60"/>
                  </a:lnTo>
                  <a:lnTo>
                    <a:pt x="21" y="52"/>
                  </a:lnTo>
                  <a:lnTo>
                    <a:pt x="27" y="66"/>
                  </a:lnTo>
                  <a:lnTo>
                    <a:pt x="35" y="55"/>
                  </a:lnTo>
                  <a:lnTo>
                    <a:pt x="54" y="42"/>
                  </a:lnTo>
                  <a:lnTo>
                    <a:pt x="60" y="27"/>
                  </a:lnTo>
                  <a:lnTo>
                    <a:pt x="74" y="18"/>
                  </a:lnTo>
                  <a:lnTo>
                    <a:pt x="86" y="12"/>
                  </a:lnTo>
                  <a:lnTo>
                    <a:pt x="81" y="0"/>
                  </a:lnTo>
                  <a:lnTo>
                    <a:pt x="75" y="4"/>
                  </a:lnTo>
                  <a:lnTo>
                    <a:pt x="71" y="15"/>
                  </a:lnTo>
                  <a:lnTo>
                    <a:pt x="65" y="12"/>
                  </a:lnTo>
                  <a:lnTo>
                    <a:pt x="42" y="24"/>
                  </a:lnTo>
                  <a:lnTo>
                    <a:pt x="44" y="34"/>
                  </a:lnTo>
                  <a:lnTo>
                    <a:pt x="30" y="39"/>
                  </a:lnTo>
                  <a:lnTo>
                    <a:pt x="32" y="30"/>
                  </a:lnTo>
                  <a:lnTo>
                    <a:pt x="23" y="25"/>
                  </a:lnTo>
                  <a:lnTo>
                    <a:pt x="17" y="36"/>
                  </a:lnTo>
                  <a:lnTo>
                    <a:pt x="0" y="40"/>
                  </a:lnTo>
                  <a:lnTo>
                    <a:pt x="3" y="54"/>
                  </a:lnTo>
                  <a:lnTo>
                    <a:pt x="1" y="63"/>
                  </a:lnTo>
                  <a:lnTo>
                    <a:pt x="1" y="63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713" name="Freeform 58"/>
            <p:cNvSpPr>
              <a:spLocks/>
            </p:cNvSpPr>
            <p:nvPr userDrawn="1"/>
          </p:nvSpPr>
          <p:spPr bwMode="auto">
            <a:xfrm>
              <a:off x="4964" y="-173"/>
              <a:ext cx="12" cy="21"/>
            </a:xfrm>
            <a:custGeom>
              <a:avLst/>
              <a:gdLst>
                <a:gd name="T0" fmla="*/ 4 w 12"/>
                <a:gd name="T1" fmla="*/ 21 h 21"/>
                <a:gd name="T2" fmla="*/ 12 w 12"/>
                <a:gd name="T3" fmla="*/ 20 h 21"/>
                <a:gd name="T4" fmla="*/ 12 w 12"/>
                <a:gd name="T5" fmla="*/ 6 h 21"/>
                <a:gd name="T6" fmla="*/ 4 w 12"/>
                <a:gd name="T7" fmla="*/ 0 h 21"/>
                <a:gd name="T8" fmla="*/ 0 w 12"/>
                <a:gd name="T9" fmla="*/ 14 h 21"/>
                <a:gd name="T10" fmla="*/ 6 w 12"/>
                <a:gd name="T11" fmla="*/ 15 h 21"/>
                <a:gd name="T12" fmla="*/ 4 w 12"/>
                <a:gd name="T13" fmla="*/ 21 h 21"/>
                <a:gd name="T14" fmla="*/ 4 w 12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21">
                  <a:moveTo>
                    <a:pt x="4" y="21"/>
                  </a:moveTo>
                  <a:lnTo>
                    <a:pt x="12" y="20"/>
                  </a:lnTo>
                  <a:lnTo>
                    <a:pt x="12" y="6"/>
                  </a:lnTo>
                  <a:lnTo>
                    <a:pt x="4" y="0"/>
                  </a:lnTo>
                  <a:lnTo>
                    <a:pt x="0" y="14"/>
                  </a:lnTo>
                  <a:lnTo>
                    <a:pt x="6" y="15"/>
                  </a:lnTo>
                  <a:lnTo>
                    <a:pt x="4" y="21"/>
                  </a:lnTo>
                  <a:lnTo>
                    <a:pt x="4" y="21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714" name="Freeform 59"/>
            <p:cNvSpPr>
              <a:spLocks/>
            </p:cNvSpPr>
            <p:nvPr userDrawn="1"/>
          </p:nvSpPr>
          <p:spPr bwMode="auto">
            <a:xfrm>
              <a:off x="4804" y="-66"/>
              <a:ext cx="18" cy="18"/>
            </a:xfrm>
            <a:custGeom>
              <a:avLst/>
              <a:gdLst>
                <a:gd name="T0" fmla="*/ 18 w 18"/>
                <a:gd name="T1" fmla="*/ 8 h 18"/>
                <a:gd name="T2" fmla="*/ 6 w 18"/>
                <a:gd name="T3" fmla="*/ 0 h 18"/>
                <a:gd name="T4" fmla="*/ 0 w 18"/>
                <a:gd name="T5" fmla="*/ 2 h 18"/>
                <a:gd name="T6" fmla="*/ 10 w 18"/>
                <a:gd name="T7" fmla="*/ 18 h 18"/>
                <a:gd name="T8" fmla="*/ 18 w 18"/>
                <a:gd name="T9" fmla="*/ 8 h 18"/>
                <a:gd name="T10" fmla="*/ 18 w 18"/>
                <a:gd name="T11" fmla="*/ 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18">
                  <a:moveTo>
                    <a:pt x="18" y="8"/>
                  </a:moveTo>
                  <a:lnTo>
                    <a:pt x="6" y="0"/>
                  </a:lnTo>
                  <a:lnTo>
                    <a:pt x="0" y="2"/>
                  </a:lnTo>
                  <a:lnTo>
                    <a:pt x="10" y="18"/>
                  </a:lnTo>
                  <a:lnTo>
                    <a:pt x="18" y="8"/>
                  </a:lnTo>
                  <a:lnTo>
                    <a:pt x="18" y="8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715" name="Freeform 60"/>
            <p:cNvSpPr>
              <a:spLocks/>
            </p:cNvSpPr>
            <p:nvPr userDrawn="1"/>
          </p:nvSpPr>
          <p:spPr bwMode="auto">
            <a:xfrm>
              <a:off x="4730" y="-36"/>
              <a:ext cx="25" cy="41"/>
            </a:xfrm>
            <a:custGeom>
              <a:avLst/>
              <a:gdLst>
                <a:gd name="T0" fmla="*/ 4 w 25"/>
                <a:gd name="T1" fmla="*/ 35 h 41"/>
                <a:gd name="T2" fmla="*/ 13 w 25"/>
                <a:gd name="T3" fmla="*/ 41 h 41"/>
                <a:gd name="T4" fmla="*/ 21 w 25"/>
                <a:gd name="T5" fmla="*/ 35 h 41"/>
                <a:gd name="T6" fmla="*/ 15 w 25"/>
                <a:gd name="T7" fmla="*/ 20 h 41"/>
                <a:gd name="T8" fmla="*/ 25 w 25"/>
                <a:gd name="T9" fmla="*/ 5 h 41"/>
                <a:gd name="T10" fmla="*/ 16 w 25"/>
                <a:gd name="T11" fmla="*/ 0 h 41"/>
                <a:gd name="T12" fmla="*/ 10 w 25"/>
                <a:gd name="T13" fmla="*/ 5 h 41"/>
                <a:gd name="T14" fmla="*/ 6 w 25"/>
                <a:gd name="T15" fmla="*/ 12 h 41"/>
                <a:gd name="T16" fmla="*/ 0 w 25"/>
                <a:gd name="T17" fmla="*/ 15 h 41"/>
                <a:gd name="T18" fmla="*/ 4 w 25"/>
                <a:gd name="T19" fmla="*/ 27 h 41"/>
                <a:gd name="T20" fmla="*/ 4 w 25"/>
                <a:gd name="T21" fmla="*/ 35 h 41"/>
                <a:gd name="T22" fmla="*/ 4 w 25"/>
                <a:gd name="T23" fmla="*/ 35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" h="41">
                  <a:moveTo>
                    <a:pt x="4" y="35"/>
                  </a:moveTo>
                  <a:lnTo>
                    <a:pt x="13" y="41"/>
                  </a:lnTo>
                  <a:lnTo>
                    <a:pt x="21" y="35"/>
                  </a:lnTo>
                  <a:lnTo>
                    <a:pt x="15" y="20"/>
                  </a:lnTo>
                  <a:lnTo>
                    <a:pt x="25" y="5"/>
                  </a:lnTo>
                  <a:lnTo>
                    <a:pt x="16" y="0"/>
                  </a:lnTo>
                  <a:lnTo>
                    <a:pt x="10" y="5"/>
                  </a:lnTo>
                  <a:lnTo>
                    <a:pt x="6" y="12"/>
                  </a:lnTo>
                  <a:lnTo>
                    <a:pt x="0" y="15"/>
                  </a:lnTo>
                  <a:lnTo>
                    <a:pt x="4" y="27"/>
                  </a:lnTo>
                  <a:lnTo>
                    <a:pt x="4" y="35"/>
                  </a:lnTo>
                  <a:lnTo>
                    <a:pt x="4" y="35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716" name="Freeform 61"/>
            <p:cNvSpPr>
              <a:spLocks/>
            </p:cNvSpPr>
            <p:nvPr userDrawn="1"/>
          </p:nvSpPr>
          <p:spPr bwMode="auto">
            <a:xfrm>
              <a:off x="4669" y="20"/>
              <a:ext cx="22" cy="21"/>
            </a:xfrm>
            <a:custGeom>
              <a:avLst/>
              <a:gdLst>
                <a:gd name="T0" fmla="*/ 13 w 22"/>
                <a:gd name="T1" fmla="*/ 8 h 21"/>
                <a:gd name="T2" fmla="*/ 0 w 22"/>
                <a:gd name="T3" fmla="*/ 14 h 21"/>
                <a:gd name="T4" fmla="*/ 4 w 22"/>
                <a:gd name="T5" fmla="*/ 21 h 21"/>
                <a:gd name="T6" fmla="*/ 17 w 22"/>
                <a:gd name="T7" fmla="*/ 20 h 21"/>
                <a:gd name="T8" fmla="*/ 22 w 22"/>
                <a:gd name="T9" fmla="*/ 2 h 21"/>
                <a:gd name="T10" fmla="*/ 17 w 22"/>
                <a:gd name="T11" fmla="*/ 0 h 21"/>
                <a:gd name="T12" fmla="*/ 13 w 22"/>
                <a:gd name="T13" fmla="*/ 8 h 21"/>
                <a:gd name="T14" fmla="*/ 13 w 22"/>
                <a:gd name="T15" fmla="*/ 8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1">
                  <a:moveTo>
                    <a:pt x="13" y="8"/>
                  </a:moveTo>
                  <a:lnTo>
                    <a:pt x="0" y="14"/>
                  </a:lnTo>
                  <a:lnTo>
                    <a:pt x="4" y="21"/>
                  </a:lnTo>
                  <a:lnTo>
                    <a:pt x="17" y="20"/>
                  </a:lnTo>
                  <a:lnTo>
                    <a:pt x="22" y="2"/>
                  </a:lnTo>
                  <a:lnTo>
                    <a:pt x="17" y="0"/>
                  </a:lnTo>
                  <a:lnTo>
                    <a:pt x="13" y="8"/>
                  </a:lnTo>
                  <a:lnTo>
                    <a:pt x="13" y="8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717" name="Freeform 62"/>
            <p:cNvSpPr>
              <a:spLocks/>
            </p:cNvSpPr>
            <p:nvPr userDrawn="1"/>
          </p:nvSpPr>
          <p:spPr bwMode="auto">
            <a:xfrm>
              <a:off x="4709" y="-46"/>
              <a:ext cx="10" cy="13"/>
            </a:xfrm>
            <a:custGeom>
              <a:avLst/>
              <a:gdLst>
                <a:gd name="T0" fmla="*/ 10 w 10"/>
                <a:gd name="T1" fmla="*/ 10 h 13"/>
                <a:gd name="T2" fmla="*/ 4 w 10"/>
                <a:gd name="T3" fmla="*/ 0 h 13"/>
                <a:gd name="T4" fmla="*/ 0 w 10"/>
                <a:gd name="T5" fmla="*/ 3 h 13"/>
                <a:gd name="T6" fmla="*/ 0 w 10"/>
                <a:gd name="T7" fmla="*/ 9 h 13"/>
                <a:gd name="T8" fmla="*/ 4 w 10"/>
                <a:gd name="T9" fmla="*/ 13 h 13"/>
                <a:gd name="T10" fmla="*/ 10 w 10"/>
                <a:gd name="T11" fmla="*/ 10 h 13"/>
                <a:gd name="T12" fmla="*/ 10 w 10"/>
                <a:gd name="T13" fmla="*/ 1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13">
                  <a:moveTo>
                    <a:pt x="10" y="10"/>
                  </a:moveTo>
                  <a:lnTo>
                    <a:pt x="4" y="0"/>
                  </a:lnTo>
                  <a:lnTo>
                    <a:pt x="0" y="3"/>
                  </a:lnTo>
                  <a:lnTo>
                    <a:pt x="0" y="9"/>
                  </a:lnTo>
                  <a:lnTo>
                    <a:pt x="4" y="13"/>
                  </a:lnTo>
                  <a:lnTo>
                    <a:pt x="10" y="10"/>
                  </a:lnTo>
                  <a:lnTo>
                    <a:pt x="10" y="10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718" name="Freeform 63"/>
            <p:cNvSpPr>
              <a:spLocks/>
            </p:cNvSpPr>
            <p:nvPr userDrawn="1"/>
          </p:nvSpPr>
          <p:spPr bwMode="auto">
            <a:xfrm>
              <a:off x="4669" y="-40"/>
              <a:ext cx="35" cy="45"/>
            </a:xfrm>
            <a:custGeom>
              <a:avLst/>
              <a:gdLst>
                <a:gd name="T0" fmla="*/ 8 w 35"/>
                <a:gd name="T1" fmla="*/ 27 h 45"/>
                <a:gd name="T2" fmla="*/ 14 w 35"/>
                <a:gd name="T3" fmla="*/ 33 h 45"/>
                <a:gd name="T4" fmla="*/ 25 w 35"/>
                <a:gd name="T5" fmla="*/ 45 h 45"/>
                <a:gd name="T6" fmla="*/ 34 w 35"/>
                <a:gd name="T7" fmla="*/ 39 h 45"/>
                <a:gd name="T8" fmla="*/ 35 w 35"/>
                <a:gd name="T9" fmla="*/ 28 h 45"/>
                <a:gd name="T10" fmla="*/ 29 w 35"/>
                <a:gd name="T11" fmla="*/ 25 h 45"/>
                <a:gd name="T12" fmla="*/ 26 w 35"/>
                <a:gd name="T13" fmla="*/ 18 h 45"/>
                <a:gd name="T14" fmla="*/ 14 w 35"/>
                <a:gd name="T15" fmla="*/ 16 h 45"/>
                <a:gd name="T16" fmla="*/ 14 w 35"/>
                <a:gd name="T17" fmla="*/ 7 h 45"/>
                <a:gd name="T18" fmla="*/ 8 w 35"/>
                <a:gd name="T19" fmla="*/ 0 h 45"/>
                <a:gd name="T20" fmla="*/ 0 w 35"/>
                <a:gd name="T21" fmla="*/ 6 h 45"/>
                <a:gd name="T22" fmla="*/ 10 w 35"/>
                <a:gd name="T23" fmla="*/ 16 h 45"/>
                <a:gd name="T24" fmla="*/ 8 w 35"/>
                <a:gd name="T25" fmla="*/ 27 h 45"/>
                <a:gd name="T26" fmla="*/ 8 w 35"/>
                <a:gd name="T27" fmla="*/ 27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5" h="45">
                  <a:moveTo>
                    <a:pt x="8" y="27"/>
                  </a:moveTo>
                  <a:lnTo>
                    <a:pt x="14" y="33"/>
                  </a:lnTo>
                  <a:lnTo>
                    <a:pt x="25" y="45"/>
                  </a:lnTo>
                  <a:lnTo>
                    <a:pt x="34" y="39"/>
                  </a:lnTo>
                  <a:lnTo>
                    <a:pt x="35" y="28"/>
                  </a:lnTo>
                  <a:lnTo>
                    <a:pt x="29" y="25"/>
                  </a:lnTo>
                  <a:lnTo>
                    <a:pt x="26" y="18"/>
                  </a:lnTo>
                  <a:lnTo>
                    <a:pt x="14" y="16"/>
                  </a:lnTo>
                  <a:lnTo>
                    <a:pt x="14" y="7"/>
                  </a:lnTo>
                  <a:lnTo>
                    <a:pt x="8" y="0"/>
                  </a:lnTo>
                  <a:lnTo>
                    <a:pt x="0" y="6"/>
                  </a:lnTo>
                  <a:lnTo>
                    <a:pt x="10" y="16"/>
                  </a:lnTo>
                  <a:lnTo>
                    <a:pt x="8" y="27"/>
                  </a:lnTo>
                  <a:lnTo>
                    <a:pt x="8" y="27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719" name="Freeform 64"/>
            <p:cNvSpPr>
              <a:spLocks/>
            </p:cNvSpPr>
            <p:nvPr userDrawn="1"/>
          </p:nvSpPr>
          <p:spPr bwMode="auto">
            <a:xfrm>
              <a:off x="4623" y="-18"/>
              <a:ext cx="54" cy="61"/>
            </a:xfrm>
            <a:custGeom>
              <a:avLst/>
              <a:gdLst>
                <a:gd name="T0" fmla="*/ 7 w 54"/>
                <a:gd name="T1" fmla="*/ 26 h 61"/>
                <a:gd name="T2" fmla="*/ 9 w 54"/>
                <a:gd name="T3" fmla="*/ 43 h 61"/>
                <a:gd name="T4" fmla="*/ 25 w 54"/>
                <a:gd name="T5" fmla="*/ 61 h 61"/>
                <a:gd name="T6" fmla="*/ 37 w 54"/>
                <a:gd name="T7" fmla="*/ 58 h 61"/>
                <a:gd name="T8" fmla="*/ 42 w 54"/>
                <a:gd name="T9" fmla="*/ 46 h 61"/>
                <a:gd name="T10" fmla="*/ 54 w 54"/>
                <a:gd name="T11" fmla="*/ 29 h 61"/>
                <a:gd name="T12" fmla="*/ 42 w 54"/>
                <a:gd name="T13" fmla="*/ 22 h 61"/>
                <a:gd name="T14" fmla="*/ 40 w 54"/>
                <a:gd name="T15" fmla="*/ 14 h 61"/>
                <a:gd name="T16" fmla="*/ 45 w 54"/>
                <a:gd name="T17" fmla="*/ 6 h 61"/>
                <a:gd name="T18" fmla="*/ 36 w 54"/>
                <a:gd name="T19" fmla="*/ 0 h 61"/>
                <a:gd name="T20" fmla="*/ 39 w 54"/>
                <a:gd name="T21" fmla="*/ 22 h 61"/>
                <a:gd name="T22" fmla="*/ 30 w 54"/>
                <a:gd name="T23" fmla="*/ 34 h 61"/>
                <a:gd name="T24" fmla="*/ 30 w 54"/>
                <a:gd name="T25" fmla="*/ 41 h 61"/>
                <a:gd name="T26" fmla="*/ 21 w 54"/>
                <a:gd name="T27" fmla="*/ 26 h 61"/>
                <a:gd name="T28" fmla="*/ 30 w 54"/>
                <a:gd name="T29" fmla="*/ 12 h 61"/>
                <a:gd name="T30" fmla="*/ 13 w 54"/>
                <a:gd name="T31" fmla="*/ 12 h 61"/>
                <a:gd name="T32" fmla="*/ 3 w 54"/>
                <a:gd name="T33" fmla="*/ 8 h 61"/>
                <a:gd name="T34" fmla="*/ 0 w 54"/>
                <a:gd name="T35" fmla="*/ 17 h 61"/>
                <a:gd name="T36" fmla="*/ 0 w 54"/>
                <a:gd name="T37" fmla="*/ 25 h 61"/>
                <a:gd name="T38" fmla="*/ 7 w 54"/>
                <a:gd name="T39" fmla="*/ 26 h 61"/>
                <a:gd name="T40" fmla="*/ 7 w 54"/>
                <a:gd name="T41" fmla="*/ 26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4" h="61">
                  <a:moveTo>
                    <a:pt x="7" y="26"/>
                  </a:moveTo>
                  <a:lnTo>
                    <a:pt x="9" y="43"/>
                  </a:lnTo>
                  <a:lnTo>
                    <a:pt x="25" y="61"/>
                  </a:lnTo>
                  <a:lnTo>
                    <a:pt x="37" y="58"/>
                  </a:lnTo>
                  <a:lnTo>
                    <a:pt x="42" y="46"/>
                  </a:lnTo>
                  <a:lnTo>
                    <a:pt x="54" y="29"/>
                  </a:lnTo>
                  <a:lnTo>
                    <a:pt x="42" y="22"/>
                  </a:lnTo>
                  <a:lnTo>
                    <a:pt x="40" y="14"/>
                  </a:lnTo>
                  <a:lnTo>
                    <a:pt x="45" y="6"/>
                  </a:lnTo>
                  <a:lnTo>
                    <a:pt x="36" y="0"/>
                  </a:lnTo>
                  <a:lnTo>
                    <a:pt x="39" y="22"/>
                  </a:lnTo>
                  <a:lnTo>
                    <a:pt x="30" y="34"/>
                  </a:lnTo>
                  <a:lnTo>
                    <a:pt x="30" y="41"/>
                  </a:lnTo>
                  <a:lnTo>
                    <a:pt x="21" y="26"/>
                  </a:lnTo>
                  <a:lnTo>
                    <a:pt x="30" y="12"/>
                  </a:lnTo>
                  <a:lnTo>
                    <a:pt x="13" y="12"/>
                  </a:lnTo>
                  <a:lnTo>
                    <a:pt x="3" y="8"/>
                  </a:lnTo>
                  <a:lnTo>
                    <a:pt x="0" y="17"/>
                  </a:lnTo>
                  <a:lnTo>
                    <a:pt x="0" y="25"/>
                  </a:lnTo>
                  <a:lnTo>
                    <a:pt x="7" y="26"/>
                  </a:lnTo>
                  <a:lnTo>
                    <a:pt x="7" y="26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720" name="Freeform 65"/>
            <p:cNvSpPr>
              <a:spLocks/>
            </p:cNvSpPr>
            <p:nvPr userDrawn="1"/>
          </p:nvSpPr>
          <p:spPr bwMode="auto">
            <a:xfrm>
              <a:off x="4636" y="-39"/>
              <a:ext cx="11" cy="27"/>
            </a:xfrm>
            <a:custGeom>
              <a:avLst/>
              <a:gdLst>
                <a:gd name="T0" fmla="*/ 9 w 11"/>
                <a:gd name="T1" fmla="*/ 18 h 27"/>
                <a:gd name="T2" fmla="*/ 11 w 11"/>
                <a:gd name="T3" fmla="*/ 5 h 27"/>
                <a:gd name="T4" fmla="*/ 6 w 11"/>
                <a:gd name="T5" fmla="*/ 0 h 27"/>
                <a:gd name="T6" fmla="*/ 0 w 11"/>
                <a:gd name="T7" fmla="*/ 18 h 27"/>
                <a:gd name="T8" fmla="*/ 6 w 11"/>
                <a:gd name="T9" fmla="*/ 27 h 27"/>
                <a:gd name="T10" fmla="*/ 9 w 11"/>
                <a:gd name="T11" fmla="*/ 18 h 27"/>
                <a:gd name="T12" fmla="*/ 9 w 11"/>
                <a:gd name="T13" fmla="*/ 18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27">
                  <a:moveTo>
                    <a:pt x="9" y="18"/>
                  </a:moveTo>
                  <a:lnTo>
                    <a:pt x="11" y="5"/>
                  </a:lnTo>
                  <a:lnTo>
                    <a:pt x="6" y="0"/>
                  </a:lnTo>
                  <a:lnTo>
                    <a:pt x="0" y="18"/>
                  </a:lnTo>
                  <a:lnTo>
                    <a:pt x="6" y="27"/>
                  </a:lnTo>
                  <a:lnTo>
                    <a:pt x="9" y="18"/>
                  </a:lnTo>
                  <a:lnTo>
                    <a:pt x="9" y="18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721" name="Freeform 66"/>
            <p:cNvSpPr>
              <a:spLocks/>
            </p:cNvSpPr>
            <p:nvPr userDrawn="1"/>
          </p:nvSpPr>
          <p:spPr bwMode="auto">
            <a:xfrm>
              <a:off x="4496" y="84"/>
              <a:ext cx="83" cy="101"/>
            </a:xfrm>
            <a:custGeom>
              <a:avLst/>
              <a:gdLst>
                <a:gd name="T0" fmla="*/ 21 w 83"/>
                <a:gd name="T1" fmla="*/ 82 h 101"/>
                <a:gd name="T2" fmla="*/ 36 w 83"/>
                <a:gd name="T3" fmla="*/ 84 h 101"/>
                <a:gd name="T4" fmla="*/ 50 w 83"/>
                <a:gd name="T5" fmla="*/ 69 h 101"/>
                <a:gd name="T6" fmla="*/ 51 w 83"/>
                <a:gd name="T7" fmla="*/ 79 h 101"/>
                <a:gd name="T8" fmla="*/ 77 w 83"/>
                <a:gd name="T9" fmla="*/ 79 h 101"/>
                <a:gd name="T10" fmla="*/ 69 w 83"/>
                <a:gd name="T11" fmla="*/ 66 h 101"/>
                <a:gd name="T12" fmla="*/ 69 w 83"/>
                <a:gd name="T13" fmla="*/ 54 h 101"/>
                <a:gd name="T14" fmla="*/ 78 w 83"/>
                <a:gd name="T15" fmla="*/ 39 h 101"/>
                <a:gd name="T16" fmla="*/ 75 w 83"/>
                <a:gd name="T17" fmla="*/ 30 h 101"/>
                <a:gd name="T18" fmla="*/ 83 w 83"/>
                <a:gd name="T19" fmla="*/ 25 h 101"/>
                <a:gd name="T20" fmla="*/ 74 w 83"/>
                <a:gd name="T21" fmla="*/ 16 h 101"/>
                <a:gd name="T22" fmla="*/ 68 w 83"/>
                <a:gd name="T23" fmla="*/ 27 h 101"/>
                <a:gd name="T24" fmla="*/ 65 w 83"/>
                <a:gd name="T25" fmla="*/ 21 h 101"/>
                <a:gd name="T26" fmla="*/ 68 w 83"/>
                <a:gd name="T27" fmla="*/ 7 h 101"/>
                <a:gd name="T28" fmla="*/ 62 w 83"/>
                <a:gd name="T29" fmla="*/ 1 h 101"/>
                <a:gd name="T30" fmla="*/ 56 w 83"/>
                <a:gd name="T31" fmla="*/ 15 h 101"/>
                <a:gd name="T32" fmla="*/ 51 w 83"/>
                <a:gd name="T33" fmla="*/ 4 h 101"/>
                <a:gd name="T34" fmla="*/ 41 w 83"/>
                <a:gd name="T35" fmla="*/ 0 h 101"/>
                <a:gd name="T36" fmla="*/ 45 w 83"/>
                <a:gd name="T37" fmla="*/ 21 h 101"/>
                <a:gd name="T38" fmla="*/ 30 w 83"/>
                <a:gd name="T39" fmla="*/ 16 h 101"/>
                <a:gd name="T40" fmla="*/ 29 w 83"/>
                <a:gd name="T41" fmla="*/ 25 h 101"/>
                <a:gd name="T42" fmla="*/ 44 w 83"/>
                <a:gd name="T43" fmla="*/ 33 h 101"/>
                <a:gd name="T44" fmla="*/ 38 w 83"/>
                <a:gd name="T45" fmla="*/ 39 h 101"/>
                <a:gd name="T46" fmla="*/ 14 w 83"/>
                <a:gd name="T47" fmla="*/ 33 h 101"/>
                <a:gd name="T48" fmla="*/ 5 w 83"/>
                <a:gd name="T49" fmla="*/ 46 h 101"/>
                <a:gd name="T50" fmla="*/ 17 w 83"/>
                <a:gd name="T51" fmla="*/ 57 h 101"/>
                <a:gd name="T52" fmla="*/ 6 w 83"/>
                <a:gd name="T53" fmla="*/ 61 h 101"/>
                <a:gd name="T54" fmla="*/ 8 w 83"/>
                <a:gd name="T55" fmla="*/ 69 h 101"/>
                <a:gd name="T56" fmla="*/ 20 w 83"/>
                <a:gd name="T57" fmla="*/ 72 h 101"/>
                <a:gd name="T58" fmla="*/ 18 w 83"/>
                <a:gd name="T59" fmla="*/ 81 h 101"/>
                <a:gd name="T60" fmla="*/ 5 w 83"/>
                <a:gd name="T61" fmla="*/ 84 h 101"/>
                <a:gd name="T62" fmla="*/ 0 w 83"/>
                <a:gd name="T63" fmla="*/ 90 h 101"/>
                <a:gd name="T64" fmla="*/ 9 w 83"/>
                <a:gd name="T65" fmla="*/ 101 h 101"/>
                <a:gd name="T66" fmla="*/ 21 w 83"/>
                <a:gd name="T67" fmla="*/ 82 h 101"/>
                <a:gd name="T68" fmla="*/ 21 w 83"/>
                <a:gd name="T69" fmla="*/ 82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83" h="101">
                  <a:moveTo>
                    <a:pt x="21" y="82"/>
                  </a:moveTo>
                  <a:lnTo>
                    <a:pt x="36" y="84"/>
                  </a:lnTo>
                  <a:lnTo>
                    <a:pt x="50" y="69"/>
                  </a:lnTo>
                  <a:lnTo>
                    <a:pt x="51" y="79"/>
                  </a:lnTo>
                  <a:lnTo>
                    <a:pt x="77" y="79"/>
                  </a:lnTo>
                  <a:lnTo>
                    <a:pt x="69" y="66"/>
                  </a:lnTo>
                  <a:lnTo>
                    <a:pt x="69" y="54"/>
                  </a:lnTo>
                  <a:lnTo>
                    <a:pt x="78" y="39"/>
                  </a:lnTo>
                  <a:lnTo>
                    <a:pt x="75" y="30"/>
                  </a:lnTo>
                  <a:lnTo>
                    <a:pt x="83" y="25"/>
                  </a:lnTo>
                  <a:lnTo>
                    <a:pt x="74" y="16"/>
                  </a:lnTo>
                  <a:lnTo>
                    <a:pt x="68" y="27"/>
                  </a:lnTo>
                  <a:lnTo>
                    <a:pt x="65" y="21"/>
                  </a:lnTo>
                  <a:lnTo>
                    <a:pt x="68" y="7"/>
                  </a:lnTo>
                  <a:lnTo>
                    <a:pt x="62" y="1"/>
                  </a:lnTo>
                  <a:lnTo>
                    <a:pt x="56" y="15"/>
                  </a:lnTo>
                  <a:lnTo>
                    <a:pt x="51" y="4"/>
                  </a:lnTo>
                  <a:lnTo>
                    <a:pt x="41" y="0"/>
                  </a:lnTo>
                  <a:lnTo>
                    <a:pt x="45" y="21"/>
                  </a:lnTo>
                  <a:lnTo>
                    <a:pt x="30" y="16"/>
                  </a:lnTo>
                  <a:lnTo>
                    <a:pt x="29" y="25"/>
                  </a:lnTo>
                  <a:lnTo>
                    <a:pt x="44" y="33"/>
                  </a:lnTo>
                  <a:lnTo>
                    <a:pt x="38" y="39"/>
                  </a:lnTo>
                  <a:lnTo>
                    <a:pt x="14" y="33"/>
                  </a:lnTo>
                  <a:lnTo>
                    <a:pt x="5" y="46"/>
                  </a:lnTo>
                  <a:lnTo>
                    <a:pt x="17" y="57"/>
                  </a:lnTo>
                  <a:lnTo>
                    <a:pt x="6" y="61"/>
                  </a:lnTo>
                  <a:lnTo>
                    <a:pt x="8" y="69"/>
                  </a:lnTo>
                  <a:lnTo>
                    <a:pt x="20" y="72"/>
                  </a:lnTo>
                  <a:lnTo>
                    <a:pt x="18" y="81"/>
                  </a:lnTo>
                  <a:lnTo>
                    <a:pt x="5" y="84"/>
                  </a:lnTo>
                  <a:lnTo>
                    <a:pt x="0" y="90"/>
                  </a:lnTo>
                  <a:lnTo>
                    <a:pt x="9" y="101"/>
                  </a:lnTo>
                  <a:lnTo>
                    <a:pt x="21" y="82"/>
                  </a:lnTo>
                  <a:lnTo>
                    <a:pt x="21" y="82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722" name="Freeform 67"/>
            <p:cNvSpPr>
              <a:spLocks/>
            </p:cNvSpPr>
            <p:nvPr userDrawn="1"/>
          </p:nvSpPr>
          <p:spPr bwMode="auto">
            <a:xfrm>
              <a:off x="4580" y="38"/>
              <a:ext cx="59" cy="61"/>
            </a:xfrm>
            <a:custGeom>
              <a:avLst/>
              <a:gdLst>
                <a:gd name="T0" fmla="*/ 8 w 59"/>
                <a:gd name="T1" fmla="*/ 53 h 61"/>
                <a:gd name="T2" fmla="*/ 16 w 59"/>
                <a:gd name="T3" fmla="*/ 61 h 61"/>
                <a:gd name="T4" fmla="*/ 47 w 59"/>
                <a:gd name="T5" fmla="*/ 42 h 61"/>
                <a:gd name="T6" fmla="*/ 46 w 59"/>
                <a:gd name="T7" fmla="*/ 29 h 61"/>
                <a:gd name="T8" fmla="*/ 58 w 59"/>
                <a:gd name="T9" fmla="*/ 21 h 61"/>
                <a:gd name="T10" fmla="*/ 59 w 59"/>
                <a:gd name="T11" fmla="*/ 12 h 61"/>
                <a:gd name="T12" fmla="*/ 44 w 59"/>
                <a:gd name="T13" fmla="*/ 0 h 61"/>
                <a:gd name="T14" fmla="*/ 35 w 59"/>
                <a:gd name="T15" fmla="*/ 8 h 61"/>
                <a:gd name="T16" fmla="*/ 40 w 59"/>
                <a:gd name="T17" fmla="*/ 23 h 61"/>
                <a:gd name="T18" fmla="*/ 37 w 59"/>
                <a:gd name="T19" fmla="*/ 23 h 61"/>
                <a:gd name="T20" fmla="*/ 32 w 59"/>
                <a:gd name="T21" fmla="*/ 15 h 61"/>
                <a:gd name="T22" fmla="*/ 28 w 59"/>
                <a:gd name="T23" fmla="*/ 26 h 61"/>
                <a:gd name="T24" fmla="*/ 10 w 59"/>
                <a:gd name="T25" fmla="*/ 29 h 61"/>
                <a:gd name="T26" fmla="*/ 16 w 59"/>
                <a:gd name="T27" fmla="*/ 44 h 61"/>
                <a:gd name="T28" fmla="*/ 0 w 59"/>
                <a:gd name="T29" fmla="*/ 44 h 61"/>
                <a:gd name="T30" fmla="*/ 8 w 59"/>
                <a:gd name="T31" fmla="*/ 53 h 61"/>
                <a:gd name="T32" fmla="*/ 8 w 59"/>
                <a:gd name="T33" fmla="*/ 53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9" h="61">
                  <a:moveTo>
                    <a:pt x="8" y="53"/>
                  </a:moveTo>
                  <a:lnTo>
                    <a:pt x="16" y="61"/>
                  </a:lnTo>
                  <a:lnTo>
                    <a:pt x="47" y="42"/>
                  </a:lnTo>
                  <a:lnTo>
                    <a:pt x="46" y="29"/>
                  </a:lnTo>
                  <a:lnTo>
                    <a:pt x="58" y="21"/>
                  </a:lnTo>
                  <a:lnTo>
                    <a:pt x="59" y="12"/>
                  </a:lnTo>
                  <a:lnTo>
                    <a:pt x="44" y="0"/>
                  </a:lnTo>
                  <a:lnTo>
                    <a:pt x="35" y="8"/>
                  </a:lnTo>
                  <a:lnTo>
                    <a:pt x="40" y="23"/>
                  </a:lnTo>
                  <a:lnTo>
                    <a:pt x="37" y="23"/>
                  </a:lnTo>
                  <a:lnTo>
                    <a:pt x="32" y="15"/>
                  </a:lnTo>
                  <a:lnTo>
                    <a:pt x="28" y="26"/>
                  </a:lnTo>
                  <a:lnTo>
                    <a:pt x="10" y="29"/>
                  </a:lnTo>
                  <a:lnTo>
                    <a:pt x="16" y="44"/>
                  </a:lnTo>
                  <a:lnTo>
                    <a:pt x="0" y="44"/>
                  </a:lnTo>
                  <a:lnTo>
                    <a:pt x="8" y="53"/>
                  </a:lnTo>
                  <a:lnTo>
                    <a:pt x="8" y="53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723" name="Freeform 68"/>
            <p:cNvSpPr>
              <a:spLocks/>
            </p:cNvSpPr>
            <p:nvPr userDrawn="1"/>
          </p:nvSpPr>
          <p:spPr bwMode="auto">
            <a:xfrm>
              <a:off x="4448" y="314"/>
              <a:ext cx="12" cy="11"/>
            </a:xfrm>
            <a:custGeom>
              <a:avLst/>
              <a:gdLst>
                <a:gd name="T0" fmla="*/ 0 w 12"/>
                <a:gd name="T1" fmla="*/ 8 h 11"/>
                <a:gd name="T2" fmla="*/ 6 w 12"/>
                <a:gd name="T3" fmla="*/ 11 h 11"/>
                <a:gd name="T4" fmla="*/ 12 w 12"/>
                <a:gd name="T5" fmla="*/ 6 h 11"/>
                <a:gd name="T6" fmla="*/ 7 w 12"/>
                <a:gd name="T7" fmla="*/ 0 h 11"/>
                <a:gd name="T8" fmla="*/ 0 w 12"/>
                <a:gd name="T9" fmla="*/ 8 h 11"/>
                <a:gd name="T10" fmla="*/ 0 w 12"/>
                <a:gd name="T11" fmla="*/ 8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11">
                  <a:moveTo>
                    <a:pt x="0" y="8"/>
                  </a:moveTo>
                  <a:lnTo>
                    <a:pt x="6" y="11"/>
                  </a:lnTo>
                  <a:lnTo>
                    <a:pt x="12" y="6"/>
                  </a:lnTo>
                  <a:lnTo>
                    <a:pt x="7" y="0"/>
                  </a:lnTo>
                  <a:lnTo>
                    <a:pt x="0" y="8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724" name="Freeform 69"/>
            <p:cNvSpPr>
              <a:spLocks/>
            </p:cNvSpPr>
            <p:nvPr userDrawn="1"/>
          </p:nvSpPr>
          <p:spPr bwMode="auto">
            <a:xfrm>
              <a:off x="4407" y="343"/>
              <a:ext cx="15" cy="24"/>
            </a:xfrm>
            <a:custGeom>
              <a:avLst/>
              <a:gdLst>
                <a:gd name="T0" fmla="*/ 5 w 15"/>
                <a:gd name="T1" fmla="*/ 0 h 24"/>
                <a:gd name="T2" fmla="*/ 2 w 15"/>
                <a:gd name="T3" fmla="*/ 14 h 24"/>
                <a:gd name="T4" fmla="*/ 0 w 15"/>
                <a:gd name="T5" fmla="*/ 24 h 24"/>
                <a:gd name="T6" fmla="*/ 11 w 15"/>
                <a:gd name="T7" fmla="*/ 20 h 24"/>
                <a:gd name="T8" fmla="*/ 15 w 15"/>
                <a:gd name="T9" fmla="*/ 14 h 24"/>
                <a:gd name="T10" fmla="*/ 14 w 15"/>
                <a:gd name="T11" fmla="*/ 6 h 24"/>
                <a:gd name="T12" fmla="*/ 5 w 15"/>
                <a:gd name="T13" fmla="*/ 0 h 24"/>
                <a:gd name="T14" fmla="*/ 5 w 15"/>
                <a:gd name="T15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24">
                  <a:moveTo>
                    <a:pt x="5" y="0"/>
                  </a:moveTo>
                  <a:lnTo>
                    <a:pt x="2" y="14"/>
                  </a:lnTo>
                  <a:lnTo>
                    <a:pt x="0" y="24"/>
                  </a:lnTo>
                  <a:lnTo>
                    <a:pt x="11" y="20"/>
                  </a:lnTo>
                  <a:lnTo>
                    <a:pt x="15" y="14"/>
                  </a:lnTo>
                  <a:lnTo>
                    <a:pt x="14" y="6"/>
                  </a:lnTo>
                  <a:lnTo>
                    <a:pt x="5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725" name="Freeform 70"/>
            <p:cNvSpPr>
              <a:spLocks/>
            </p:cNvSpPr>
            <p:nvPr userDrawn="1"/>
          </p:nvSpPr>
          <p:spPr bwMode="auto">
            <a:xfrm>
              <a:off x="4467" y="194"/>
              <a:ext cx="18" cy="19"/>
            </a:xfrm>
            <a:custGeom>
              <a:avLst/>
              <a:gdLst>
                <a:gd name="T0" fmla="*/ 12 w 18"/>
                <a:gd name="T1" fmla="*/ 19 h 19"/>
                <a:gd name="T2" fmla="*/ 18 w 18"/>
                <a:gd name="T3" fmla="*/ 10 h 19"/>
                <a:gd name="T4" fmla="*/ 12 w 18"/>
                <a:gd name="T5" fmla="*/ 3 h 19"/>
                <a:gd name="T6" fmla="*/ 9 w 18"/>
                <a:gd name="T7" fmla="*/ 4 h 19"/>
                <a:gd name="T8" fmla="*/ 6 w 18"/>
                <a:gd name="T9" fmla="*/ 1 h 19"/>
                <a:gd name="T10" fmla="*/ 0 w 18"/>
                <a:gd name="T11" fmla="*/ 0 h 19"/>
                <a:gd name="T12" fmla="*/ 2 w 18"/>
                <a:gd name="T13" fmla="*/ 9 h 19"/>
                <a:gd name="T14" fmla="*/ 12 w 18"/>
                <a:gd name="T15" fmla="*/ 19 h 19"/>
                <a:gd name="T16" fmla="*/ 12 w 18"/>
                <a:gd name="T17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" h="19">
                  <a:moveTo>
                    <a:pt x="12" y="19"/>
                  </a:moveTo>
                  <a:lnTo>
                    <a:pt x="18" y="10"/>
                  </a:lnTo>
                  <a:lnTo>
                    <a:pt x="12" y="3"/>
                  </a:lnTo>
                  <a:lnTo>
                    <a:pt x="9" y="4"/>
                  </a:lnTo>
                  <a:lnTo>
                    <a:pt x="6" y="1"/>
                  </a:lnTo>
                  <a:lnTo>
                    <a:pt x="0" y="0"/>
                  </a:lnTo>
                  <a:lnTo>
                    <a:pt x="2" y="9"/>
                  </a:lnTo>
                  <a:lnTo>
                    <a:pt x="12" y="19"/>
                  </a:lnTo>
                  <a:lnTo>
                    <a:pt x="12" y="19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726" name="Freeform 71"/>
            <p:cNvSpPr>
              <a:spLocks/>
            </p:cNvSpPr>
            <p:nvPr userDrawn="1"/>
          </p:nvSpPr>
          <p:spPr bwMode="auto">
            <a:xfrm>
              <a:off x="4396" y="203"/>
              <a:ext cx="88" cy="105"/>
            </a:xfrm>
            <a:custGeom>
              <a:avLst/>
              <a:gdLst>
                <a:gd name="T0" fmla="*/ 67 w 88"/>
                <a:gd name="T1" fmla="*/ 28 h 105"/>
                <a:gd name="T2" fmla="*/ 56 w 88"/>
                <a:gd name="T3" fmla="*/ 31 h 105"/>
                <a:gd name="T4" fmla="*/ 53 w 88"/>
                <a:gd name="T5" fmla="*/ 43 h 105"/>
                <a:gd name="T6" fmla="*/ 49 w 88"/>
                <a:gd name="T7" fmla="*/ 57 h 105"/>
                <a:gd name="T8" fmla="*/ 40 w 88"/>
                <a:gd name="T9" fmla="*/ 60 h 105"/>
                <a:gd name="T10" fmla="*/ 38 w 88"/>
                <a:gd name="T11" fmla="*/ 51 h 105"/>
                <a:gd name="T12" fmla="*/ 49 w 88"/>
                <a:gd name="T13" fmla="*/ 37 h 105"/>
                <a:gd name="T14" fmla="*/ 49 w 88"/>
                <a:gd name="T15" fmla="*/ 33 h 105"/>
                <a:gd name="T16" fmla="*/ 41 w 88"/>
                <a:gd name="T17" fmla="*/ 25 h 105"/>
                <a:gd name="T18" fmla="*/ 47 w 88"/>
                <a:gd name="T19" fmla="*/ 15 h 105"/>
                <a:gd name="T20" fmla="*/ 43 w 88"/>
                <a:gd name="T21" fmla="*/ 0 h 105"/>
                <a:gd name="T22" fmla="*/ 37 w 88"/>
                <a:gd name="T23" fmla="*/ 0 h 105"/>
                <a:gd name="T24" fmla="*/ 25 w 88"/>
                <a:gd name="T25" fmla="*/ 25 h 105"/>
                <a:gd name="T26" fmla="*/ 28 w 88"/>
                <a:gd name="T27" fmla="*/ 31 h 105"/>
                <a:gd name="T28" fmla="*/ 23 w 88"/>
                <a:gd name="T29" fmla="*/ 39 h 105"/>
                <a:gd name="T30" fmla="*/ 23 w 88"/>
                <a:gd name="T31" fmla="*/ 51 h 105"/>
                <a:gd name="T32" fmla="*/ 5 w 88"/>
                <a:gd name="T33" fmla="*/ 71 h 105"/>
                <a:gd name="T34" fmla="*/ 10 w 88"/>
                <a:gd name="T35" fmla="*/ 78 h 105"/>
                <a:gd name="T36" fmla="*/ 0 w 88"/>
                <a:gd name="T37" fmla="*/ 83 h 105"/>
                <a:gd name="T38" fmla="*/ 2 w 88"/>
                <a:gd name="T39" fmla="*/ 87 h 105"/>
                <a:gd name="T40" fmla="*/ 10 w 88"/>
                <a:gd name="T41" fmla="*/ 87 h 105"/>
                <a:gd name="T42" fmla="*/ 4 w 88"/>
                <a:gd name="T43" fmla="*/ 104 h 105"/>
                <a:gd name="T44" fmla="*/ 8 w 88"/>
                <a:gd name="T45" fmla="*/ 105 h 105"/>
                <a:gd name="T46" fmla="*/ 16 w 88"/>
                <a:gd name="T47" fmla="*/ 86 h 105"/>
                <a:gd name="T48" fmla="*/ 25 w 88"/>
                <a:gd name="T49" fmla="*/ 78 h 105"/>
                <a:gd name="T50" fmla="*/ 23 w 88"/>
                <a:gd name="T51" fmla="*/ 99 h 105"/>
                <a:gd name="T52" fmla="*/ 29 w 88"/>
                <a:gd name="T53" fmla="*/ 105 h 105"/>
                <a:gd name="T54" fmla="*/ 29 w 88"/>
                <a:gd name="T55" fmla="*/ 105 h 105"/>
                <a:gd name="T56" fmla="*/ 34 w 88"/>
                <a:gd name="T57" fmla="*/ 98 h 105"/>
                <a:gd name="T58" fmla="*/ 40 w 88"/>
                <a:gd name="T59" fmla="*/ 87 h 105"/>
                <a:gd name="T60" fmla="*/ 40 w 88"/>
                <a:gd name="T61" fmla="*/ 87 h 105"/>
                <a:gd name="T62" fmla="*/ 43 w 88"/>
                <a:gd name="T63" fmla="*/ 75 h 105"/>
                <a:gd name="T64" fmla="*/ 44 w 88"/>
                <a:gd name="T65" fmla="*/ 86 h 105"/>
                <a:gd name="T66" fmla="*/ 53 w 88"/>
                <a:gd name="T67" fmla="*/ 90 h 105"/>
                <a:gd name="T68" fmla="*/ 61 w 88"/>
                <a:gd name="T69" fmla="*/ 89 h 105"/>
                <a:gd name="T70" fmla="*/ 53 w 88"/>
                <a:gd name="T71" fmla="*/ 78 h 105"/>
                <a:gd name="T72" fmla="*/ 59 w 88"/>
                <a:gd name="T73" fmla="*/ 71 h 105"/>
                <a:gd name="T74" fmla="*/ 61 w 88"/>
                <a:gd name="T75" fmla="*/ 59 h 105"/>
                <a:gd name="T76" fmla="*/ 74 w 88"/>
                <a:gd name="T77" fmla="*/ 60 h 105"/>
                <a:gd name="T78" fmla="*/ 76 w 88"/>
                <a:gd name="T79" fmla="*/ 45 h 105"/>
                <a:gd name="T80" fmla="*/ 88 w 88"/>
                <a:gd name="T81" fmla="*/ 30 h 105"/>
                <a:gd name="T82" fmla="*/ 85 w 88"/>
                <a:gd name="T83" fmla="*/ 22 h 105"/>
                <a:gd name="T84" fmla="*/ 77 w 88"/>
                <a:gd name="T85" fmla="*/ 15 h 105"/>
                <a:gd name="T86" fmla="*/ 77 w 88"/>
                <a:gd name="T87" fmla="*/ 15 h 105"/>
                <a:gd name="T88" fmla="*/ 74 w 88"/>
                <a:gd name="T89" fmla="*/ 15 h 105"/>
                <a:gd name="T90" fmla="*/ 73 w 88"/>
                <a:gd name="T91" fmla="*/ 16 h 105"/>
                <a:gd name="T92" fmla="*/ 73 w 88"/>
                <a:gd name="T93" fmla="*/ 15 h 105"/>
                <a:gd name="T94" fmla="*/ 73 w 88"/>
                <a:gd name="T95" fmla="*/ 15 h 105"/>
                <a:gd name="T96" fmla="*/ 70 w 88"/>
                <a:gd name="T97" fmla="*/ 10 h 105"/>
                <a:gd name="T98" fmla="*/ 67 w 88"/>
                <a:gd name="T99" fmla="*/ 9 h 105"/>
                <a:gd name="T100" fmla="*/ 61 w 88"/>
                <a:gd name="T101" fmla="*/ 16 h 105"/>
                <a:gd name="T102" fmla="*/ 67 w 88"/>
                <a:gd name="T103" fmla="*/ 28 h 105"/>
                <a:gd name="T104" fmla="*/ 67 w 88"/>
                <a:gd name="T105" fmla="*/ 28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88" h="105">
                  <a:moveTo>
                    <a:pt x="67" y="28"/>
                  </a:moveTo>
                  <a:lnTo>
                    <a:pt x="56" y="31"/>
                  </a:lnTo>
                  <a:lnTo>
                    <a:pt x="53" y="43"/>
                  </a:lnTo>
                  <a:lnTo>
                    <a:pt x="49" y="57"/>
                  </a:lnTo>
                  <a:lnTo>
                    <a:pt x="40" y="60"/>
                  </a:lnTo>
                  <a:lnTo>
                    <a:pt x="38" y="51"/>
                  </a:lnTo>
                  <a:lnTo>
                    <a:pt x="49" y="37"/>
                  </a:lnTo>
                  <a:lnTo>
                    <a:pt x="49" y="33"/>
                  </a:lnTo>
                  <a:lnTo>
                    <a:pt x="41" y="25"/>
                  </a:lnTo>
                  <a:lnTo>
                    <a:pt x="47" y="15"/>
                  </a:lnTo>
                  <a:lnTo>
                    <a:pt x="43" y="0"/>
                  </a:lnTo>
                  <a:lnTo>
                    <a:pt x="37" y="0"/>
                  </a:lnTo>
                  <a:lnTo>
                    <a:pt x="25" y="25"/>
                  </a:lnTo>
                  <a:lnTo>
                    <a:pt x="28" y="31"/>
                  </a:lnTo>
                  <a:lnTo>
                    <a:pt x="23" y="39"/>
                  </a:lnTo>
                  <a:lnTo>
                    <a:pt x="23" y="51"/>
                  </a:lnTo>
                  <a:lnTo>
                    <a:pt x="5" y="71"/>
                  </a:lnTo>
                  <a:lnTo>
                    <a:pt x="10" y="78"/>
                  </a:lnTo>
                  <a:lnTo>
                    <a:pt x="0" y="83"/>
                  </a:lnTo>
                  <a:lnTo>
                    <a:pt x="2" y="87"/>
                  </a:lnTo>
                  <a:lnTo>
                    <a:pt x="10" y="87"/>
                  </a:lnTo>
                  <a:lnTo>
                    <a:pt x="4" y="104"/>
                  </a:lnTo>
                  <a:lnTo>
                    <a:pt x="8" y="105"/>
                  </a:lnTo>
                  <a:lnTo>
                    <a:pt x="16" y="86"/>
                  </a:lnTo>
                  <a:lnTo>
                    <a:pt x="25" y="78"/>
                  </a:lnTo>
                  <a:lnTo>
                    <a:pt x="23" y="99"/>
                  </a:lnTo>
                  <a:lnTo>
                    <a:pt x="29" y="105"/>
                  </a:lnTo>
                  <a:lnTo>
                    <a:pt x="29" y="105"/>
                  </a:lnTo>
                  <a:lnTo>
                    <a:pt x="34" y="98"/>
                  </a:lnTo>
                  <a:lnTo>
                    <a:pt x="40" y="87"/>
                  </a:lnTo>
                  <a:lnTo>
                    <a:pt x="40" y="87"/>
                  </a:lnTo>
                  <a:lnTo>
                    <a:pt x="43" y="75"/>
                  </a:lnTo>
                  <a:lnTo>
                    <a:pt x="44" y="86"/>
                  </a:lnTo>
                  <a:lnTo>
                    <a:pt x="53" y="90"/>
                  </a:lnTo>
                  <a:lnTo>
                    <a:pt x="61" y="89"/>
                  </a:lnTo>
                  <a:lnTo>
                    <a:pt x="53" y="78"/>
                  </a:lnTo>
                  <a:lnTo>
                    <a:pt x="59" y="71"/>
                  </a:lnTo>
                  <a:lnTo>
                    <a:pt x="61" y="59"/>
                  </a:lnTo>
                  <a:lnTo>
                    <a:pt x="74" y="60"/>
                  </a:lnTo>
                  <a:lnTo>
                    <a:pt x="76" y="45"/>
                  </a:lnTo>
                  <a:lnTo>
                    <a:pt x="88" y="30"/>
                  </a:lnTo>
                  <a:lnTo>
                    <a:pt x="85" y="22"/>
                  </a:lnTo>
                  <a:lnTo>
                    <a:pt x="77" y="15"/>
                  </a:lnTo>
                  <a:lnTo>
                    <a:pt x="77" y="15"/>
                  </a:lnTo>
                  <a:lnTo>
                    <a:pt x="74" y="15"/>
                  </a:lnTo>
                  <a:lnTo>
                    <a:pt x="73" y="16"/>
                  </a:lnTo>
                  <a:lnTo>
                    <a:pt x="73" y="15"/>
                  </a:lnTo>
                  <a:lnTo>
                    <a:pt x="73" y="15"/>
                  </a:lnTo>
                  <a:lnTo>
                    <a:pt x="70" y="10"/>
                  </a:lnTo>
                  <a:lnTo>
                    <a:pt x="67" y="9"/>
                  </a:lnTo>
                  <a:lnTo>
                    <a:pt x="61" y="16"/>
                  </a:lnTo>
                  <a:lnTo>
                    <a:pt x="67" y="28"/>
                  </a:lnTo>
                  <a:lnTo>
                    <a:pt x="67" y="28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727" name="Freeform 72"/>
            <p:cNvSpPr>
              <a:spLocks/>
            </p:cNvSpPr>
            <p:nvPr userDrawn="1"/>
          </p:nvSpPr>
          <p:spPr bwMode="auto">
            <a:xfrm>
              <a:off x="4457" y="275"/>
              <a:ext cx="13" cy="15"/>
            </a:xfrm>
            <a:custGeom>
              <a:avLst/>
              <a:gdLst>
                <a:gd name="T0" fmla="*/ 3 w 13"/>
                <a:gd name="T1" fmla="*/ 15 h 15"/>
                <a:gd name="T2" fmla="*/ 13 w 13"/>
                <a:gd name="T3" fmla="*/ 12 h 15"/>
                <a:gd name="T4" fmla="*/ 13 w 13"/>
                <a:gd name="T5" fmla="*/ 0 h 15"/>
                <a:gd name="T6" fmla="*/ 0 w 13"/>
                <a:gd name="T7" fmla="*/ 6 h 15"/>
                <a:gd name="T8" fmla="*/ 3 w 13"/>
                <a:gd name="T9" fmla="*/ 15 h 15"/>
                <a:gd name="T10" fmla="*/ 3 w 13"/>
                <a:gd name="T11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15">
                  <a:moveTo>
                    <a:pt x="3" y="15"/>
                  </a:moveTo>
                  <a:lnTo>
                    <a:pt x="13" y="12"/>
                  </a:lnTo>
                  <a:lnTo>
                    <a:pt x="13" y="0"/>
                  </a:lnTo>
                  <a:lnTo>
                    <a:pt x="0" y="6"/>
                  </a:lnTo>
                  <a:lnTo>
                    <a:pt x="3" y="15"/>
                  </a:lnTo>
                  <a:lnTo>
                    <a:pt x="3" y="15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728" name="Freeform 73"/>
            <p:cNvSpPr>
              <a:spLocks/>
            </p:cNvSpPr>
            <p:nvPr userDrawn="1"/>
          </p:nvSpPr>
          <p:spPr bwMode="auto">
            <a:xfrm>
              <a:off x="4407" y="133"/>
              <a:ext cx="54" cy="79"/>
            </a:xfrm>
            <a:custGeom>
              <a:avLst/>
              <a:gdLst>
                <a:gd name="T0" fmla="*/ 6 w 54"/>
                <a:gd name="T1" fmla="*/ 76 h 79"/>
                <a:gd name="T2" fmla="*/ 9 w 54"/>
                <a:gd name="T3" fmla="*/ 79 h 79"/>
                <a:gd name="T4" fmla="*/ 18 w 54"/>
                <a:gd name="T5" fmla="*/ 59 h 79"/>
                <a:gd name="T6" fmla="*/ 36 w 54"/>
                <a:gd name="T7" fmla="*/ 52 h 79"/>
                <a:gd name="T8" fmla="*/ 41 w 54"/>
                <a:gd name="T9" fmla="*/ 41 h 79"/>
                <a:gd name="T10" fmla="*/ 50 w 54"/>
                <a:gd name="T11" fmla="*/ 33 h 79"/>
                <a:gd name="T12" fmla="*/ 48 w 54"/>
                <a:gd name="T13" fmla="*/ 21 h 79"/>
                <a:gd name="T14" fmla="*/ 54 w 54"/>
                <a:gd name="T15" fmla="*/ 12 h 79"/>
                <a:gd name="T16" fmla="*/ 53 w 54"/>
                <a:gd name="T17" fmla="*/ 3 h 79"/>
                <a:gd name="T18" fmla="*/ 36 w 54"/>
                <a:gd name="T19" fmla="*/ 0 h 79"/>
                <a:gd name="T20" fmla="*/ 32 w 54"/>
                <a:gd name="T21" fmla="*/ 14 h 79"/>
                <a:gd name="T22" fmla="*/ 27 w 54"/>
                <a:gd name="T23" fmla="*/ 18 h 79"/>
                <a:gd name="T24" fmla="*/ 30 w 54"/>
                <a:gd name="T25" fmla="*/ 26 h 79"/>
                <a:gd name="T26" fmla="*/ 27 w 54"/>
                <a:gd name="T27" fmla="*/ 33 h 79"/>
                <a:gd name="T28" fmla="*/ 17 w 54"/>
                <a:gd name="T29" fmla="*/ 35 h 79"/>
                <a:gd name="T30" fmla="*/ 15 w 54"/>
                <a:gd name="T31" fmla="*/ 50 h 79"/>
                <a:gd name="T32" fmla="*/ 0 w 54"/>
                <a:gd name="T33" fmla="*/ 65 h 79"/>
                <a:gd name="T34" fmla="*/ 8 w 54"/>
                <a:gd name="T35" fmla="*/ 71 h 79"/>
                <a:gd name="T36" fmla="*/ 6 w 54"/>
                <a:gd name="T37" fmla="*/ 76 h 79"/>
                <a:gd name="T38" fmla="*/ 6 w 54"/>
                <a:gd name="T39" fmla="*/ 7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4" h="79">
                  <a:moveTo>
                    <a:pt x="6" y="76"/>
                  </a:moveTo>
                  <a:lnTo>
                    <a:pt x="9" y="79"/>
                  </a:lnTo>
                  <a:lnTo>
                    <a:pt x="18" y="59"/>
                  </a:lnTo>
                  <a:lnTo>
                    <a:pt x="36" y="52"/>
                  </a:lnTo>
                  <a:lnTo>
                    <a:pt x="41" y="41"/>
                  </a:lnTo>
                  <a:lnTo>
                    <a:pt x="50" y="33"/>
                  </a:lnTo>
                  <a:lnTo>
                    <a:pt x="48" y="21"/>
                  </a:lnTo>
                  <a:lnTo>
                    <a:pt x="54" y="12"/>
                  </a:lnTo>
                  <a:lnTo>
                    <a:pt x="53" y="3"/>
                  </a:lnTo>
                  <a:lnTo>
                    <a:pt x="36" y="0"/>
                  </a:lnTo>
                  <a:lnTo>
                    <a:pt x="32" y="14"/>
                  </a:lnTo>
                  <a:lnTo>
                    <a:pt x="27" y="18"/>
                  </a:lnTo>
                  <a:lnTo>
                    <a:pt x="30" y="26"/>
                  </a:lnTo>
                  <a:lnTo>
                    <a:pt x="27" y="33"/>
                  </a:lnTo>
                  <a:lnTo>
                    <a:pt x="17" y="35"/>
                  </a:lnTo>
                  <a:lnTo>
                    <a:pt x="15" y="50"/>
                  </a:lnTo>
                  <a:lnTo>
                    <a:pt x="0" y="65"/>
                  </a:lnTo>
                  <a:lnTo>
                    <a:pt x="8" y="71"/>
                  </a:lnTo>
                  <a:lnTo>
                    <a:pt x="6" y="76"/>
                  </a:lnTo>
                  <a:lnTo>
                    <a:pt x="6" y="76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729" name="Freeform 74"/>
            <p:cNvSpPr>
              <a:spLocks/>
            </p:cNvSpPr>
            <p:nvPr userDrawn="1"/>
          </p:nvSpPr>
          <p:spPr bwMode="auto">
            <a:xfrm>
              <a:off x="4350" y="198"/>
              <a:ext cx="63" cy="65"/>
            </a:xfrm>
            <a:custGeom>
              <a:avLst/>
              <a:gdLst>
                <a:gd name="T0" fmla="*/ 3 w 63"/>
                <a:gd name="T1" fmla="*/ 64 h 65"/>
                <a:gd name="T2" fmla="*/ 12 w 63"/>
                <a:gd name="T3" fmla="*/ 51 h 65"/>
                <a:gd name="T4" fmla="*/ 19 w 63"/>
                <a:gd name="T5" fmla="*/ 51 h 65"/>
                <a:gd name="T6" fmla="*/ 39 w 63"/>
                <a:gd name="T7" fmla="*/ 39 h 65"/>
                <a:gd name="T8" fmla="*/ 21 w 63"/>
                <a:gd name="T9" fmla="*/ 64 h 65"/>
                <a:gd name="T10" fmla="*/ 28 w 63"/>
                <a:gd name="T11" fmla="*/ 65 h 65"/>
                <a:gd name="T12" fmla="*/ 46 w 63"/>
                <a:gd name="T13" fmla="*/ 53 h 65"/>
                <a:gd name="T14" fmla="*/ 56 w 63"/>
                <a:gd name="T15" fmla="*/ 51 h 65"/>
                <a:gd name="T16" fmla="*/ 63 w 63"/>
                <a:gd name="T17" fmla="*/ 41 h 65"/>
                <a:gd name="T18" fmla="*/ 48 w 63"/>
                <a:gd name="T19" fmla="*/ 38 h 65"/>
                <a:gd name="T20" fmla="*/ 51 w 63"/>
                <a:gd name="T21" fmla="*/ 32 h 65"/>
                <a:gd name="T22" fmla="*/ 48 w 63"/>
                <a:gd name="T23" fmla="*/ 18 h 65"/>
                <a:gd name="T24" fmla="*/ 51 w 63"/>
                <a:gd name="T25" fmla="*/ 11 h 65"/>
                <a:gd name="T26" fmla="*/ 42 w 63"/>
                <a:gd name="T27" fmla="*/ 0 h 65"/>
                <a:gd name="T28" fmla="*/ 37 w 63"/>
                <a:gd name="T29" fmla="*/ 6 h 65"/>
                <a:gd name="T30" fmla="*/ 40 w 63"/>
                <a:gd name="T31" fmla="*/ 17 h 65"/>
                <a:gd name="T32" fmla="*/ 31 w 63"/>
                <a:gd name="T33" fmla="*/ 18 h 65"/>
                <a:gd name="T34" fmla="*/ 22 w 63"/>
                <a:gd name="T35" fmla="*/ 32 h 65"/>
                <a:gd name="T36" fmla="*/ 12 w 63"/>
                <a:gd name="T37" fmla="*/ 33 h 65"/>
                <a:gd name="T38" fmla="*/ 4 w 63"/>
                <a:gd name="T39" fmla="*/ 39 h 65"/>
                <a:gd name="T40" fmla="*/ 7 w 63"/>
                <a:gd name="T41" fmla="*/ 48 h 65"/>
                <a:gd name="T42" fmla="*/ 0 w 63"/>
                <a:gd name="T43" fmla="*/ 54 h 65"/>
                <a:gd name="T44" fmla="*/ 3 w 63"/>
                <a:gd name="T45" fmla="*/ 64 h 65"/>
                <a:gd name="T46" fmla="*/ 3 w 63"/>
                <a:gd name="T47" fmla="*/ 64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3" h="65">
                  <a:moveTo>
                    <a:pt x="3" y="64"/>
                  </a:moveTo>
                  <a:lnTo>
                    <a:pt x="12" y="51"/>
                  </a:lnTo>
                  <a:lnTo>
                    <a:pt x="19" y="51"/>
                  </a:lnTo>
                  <a:lnTo>
                    <a:pt x="39" y="39"/>
                  </a:lnTo>
                  <a:lnTo>
                    <a:pt x="21" y="64"/>
                  </a:lnTo>
                  <a:lnTo>
                    <a:pt x="28" y="65"/>
                  </a:lnTo>
                  <a:lnTo>
                    <a:pt x="46" y="53"/>
                  </a:lnTo>
                  <a:lnTo>
                    <a:pt x="56" y="51"/>
                  </a:lnTo>
                  <a:lnTo>
                    <a:pt x="63" y="41"/>
                  </a:lnTo>
                  <a:lnTo>
                    <a:pt x="48" y="38"/>
                  </a:lnTo>
                  <a:lnTo>
                    <a:pt x="51" y="32"/>
                  </a:lnTo>
                  <a:lnTo>
                    <a:pt x="48" y="18"/>
                  </a:lnTo>
                  <a:lnTo>
                    <a:pt x="51" y="11"/>
                  </a:lnTo>
                  <a:lnTo>
                    <a:pt x="42" y="0"/>
                  </a:lnTo>
                  <a:lnTo>
                    <a:pt x="37" y="6"/>
                  </a:lnTo>
                  <a:lnTo>
                    <a:pt x="40" y="17"/>
                  </a:lnTo>
                  <a:lnTo>
                    <a:pt x="31" y="18"/>
                  </a:lnTo>
                  <a:lnTo>
                    <a:pt x="22" y="32"/>
                  </a:lnTo>
                  <a:lnTo>
                    <a:pt x="12" y="33"/>
                  </a:lnTo>
                  <a:lnTo>
                    <a:pt x="4" y="39"/>
                  </a:lnTo>
                  <a:lnTo>
                    <a:pt x="7" y="48"/>
                  </a:lnTo>
                  <a:lnTo>
                    <a:pt x="0" y="54"/>
                  </a:lnTo>
                  <a:lnTo>
                    <a:pt x="3" y="64"/>
                  </a:lnTo>
                  <a:lnTo>
                    <a:pt x="3" y="64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730" name="Freeform 75"/>
            <p:cNvSpPr>
              <a:spLocks/>
            </p:cNvSpPr>
            <p:nvPr userDrawn="1"/>
          </p:nvSpPr>
          <p:spPr bwMode="auto">
            <a:xfrm>
              <a:off x="4362" y="263"/>
              <a:ext cx="12" cy="17"/>
            </a:xfrm>
            <a:custGeom>
              <a:avLst/>
              <a:gdLst>
                <a:gd name="T0" fmla="*/ 0 w 12"/>
                <a:gd name="T1" fmla="*/ 6 h 17"/>
                <a:gd name="T2" fmla="*/ 3 w 12"/>
                <a:gd name="T3" fmla="*/ 17 h 17"/>
                <a:gd name="T4" fmla="*/ 10 w 12"/>
                <a:gd name="T5" fmla="*/ 17 h 17"/>
                <a:gd name="T6" fmla="*/ 12 w 12"/>
                <a:gd name="T7" fmla="*/ 8 h 17"/>
                <a:gd name="T8" fmla="*/ 9 w 12"/>
                <a:gd name="T9" fmla="*/ 2 h 17"/>
                <a:gd name="T10" fmla="*/ 4 w 12"/>
                <a:gd name="T11" fmla="*/ 0 h 17"/>
                <a:gd name="T12" fmla="*/ 0 w 12"/>
                <a:gd name="T13" fmla="*/ 6 h 17"/>
                <a:gd name="T14" fmla="*/ 0 w 12"/>
                <a:gd name="T15" fmla="*/ 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17">
                  <a:moveTo>
                    <a:pt x="0" y="6"/>
                  </a:moveTo>
                  <a:lnTo>
                    <a:pt x="3" y="17"/>
                  </a:lnTo>
                  <a:lnTo>
                    <a:pt x="10" y="17"/>
                  </a:lnTo>
                  <a:lnTo>
                    <a:pt x="12" y="8"/>
                  </a:lnTo>
                  <a:lnTo>
                    <a:pt x="9" y="2"/>
                  </a:lnTo>
                  <a:lnTo>
                    <a:pt x="4" y="0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731" name="Freeform 76"/>
            <p:cNvSpPr>
              <a:spLocks/>
            </p:cNvSpPr>
            <p:nvPr userDrawn="1"/>
          </p:nvSpPr>
          <p:spPr bwMode="auto">
            <a:xfrm>
              <a:off x="4344" y="286"/>
              <a:ext cx="54" cy="51"/>
            </a:xfrm>
            <a:custGeom>
              <a:avLst/>
              <a:gdLst>
                <a:gd name="T0" fmla="*/ 9 w 54"/>
                <a:gd name="T1" fmla="*/ 45 h 51"/>
                <a:gd name="T2" fmla="*/ 21 w 54"/>
                <a:gd name="T3" fmla="*/ 25 h 51"/>
                <a:gd name="T4" fmla="*/ 33 w 54"/>
                <a:gd name="T5" fmla="*/ 21 h 51"/>
                <a:gd name="T6" fmla="*/ 25 w 54"/>
                <a:gd name="T7" fmla="*/ 36 h 51"/>
                <a:gd name="T8" fmla="*/ 28 w 54"/>
                <a:gd name="T9" fmla="*/ 49 h 51"/>
                <a:gd name="T10" fmla="*/ 33 w 54"/>
                <a:gd name="T11" fmla="*/ 51 h 51"/>
                <a:gd name="T12" fmla="*/ 31 w 54"/>
                <a:gd name="T13" fmla="*/ 43 h 51"/>
                <a:gd name="T14" fmla="*/ 31 w 54"/>
                <a:gd name="T15" fmla="*/ 36 h 51"/>
                <a:gd name="T16" fmla="*/ 39 w 54"/>
                <a:gd name="T17" fmla="*/ 33 h 51"/>
                <a:gd name="T18" fmla="*/ 42 w 54"/>
                <a:gd name="T19" fmla="*/ 30 h 51"/>
                <a:gd name="T20" fmla="*/ 49 w 54"/>
                <a:gd name="T21" fmla="*/ 18 h 51"/>
                <a:gd name="T22" fmla="*/ 54 w 54"/>
                <a:gd name="T23" fmla="*/ 7 h 51"/>
                <a:gd name="T24" fmla="*/ 46 w 54"/>
                <a:gd name="T25" fmla="*/ 0 h 51"/>
                <a:gd name="T26" fmla="*/ 33 w 54"/>
                <a:gd name="T27" fmla="*/ 7 h 51"/>
                <a:gd name="T28" fmla="*/ 21 w 54"/>
                <a:gd name="T29" fmla="*/ 10 h 51"/>
                <a:gd name="T30" fmla="*/ 9 w 54"/>
                <a:gd name="T31" fmla="*/ 21 h 51"/>
                <a:gd name="T32" fmla="*/ 0 w 54"/>
                <a:gd name="T33" fmla="*/ 33 h 51"/>
                <a:gd name="T34" fmla="*/ 1 w 54"/>
                <a:gd name="T35" fmla="*/ 40 h 51"/>
                <a:gd name="T36" fmla="*/ 9 w 54"/>
                <a:gd name="T37" fmla="*/ 45 h 51"/>
                <a:gd name="T38" fmla="*/ 9 w 54"/>
                <a:gd name="T39" fmla="*/ 45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4" h="51">
                  <a:moveTo>
                    <a:pt x="9" y="45"/>
                  </a:moveTo>
                  <a:lnTo>
                    <a:pt x="21" y="25"/>
                  </a:lnTo>
                  <a:lnTo>
                    <a:pt x="33" y="21"/>
                  </a:lnTo>
                  <a:lnTo>
                    <a:pt x="25" y="36"/>
                  </a:lnTo>
                  <a:lnTo>
                    <a:pt x="28" y="49"/>
                  </a:lnTo>
                  <a:lnTo>
                    <a:pt x="33" y="51"/>
                  </a:lnTo>
                  <a:lnTo>
                    <a:pt x="31" y="43"/>
                  </a:lnTo>
                  <a:lnTo>
                    <a:pt x="31" y="36"/>
                  </a:lnTo>
                  <a:lnTo>
                    <a:pt x="39" y="33"/>
                  </a:lnTo>
                  <a:lnTo>
                    <a:pt x="42" y="30"/>
                  </a:lnTo>
                  <a:lnTo>
                    <a:pt x="49" y="18"/>
                  </a:lnTo>
                  <a:lnTo>
                    <a:pt x="54" y="7"/>
                  </a:lnTo>
                  <a:lnTo>
                    <a:pt x="46" y="0"/>
                  </a:lnTo>
                  <a:lnTo>
                    <a:pt x="33" y="7"/>
                  </a:lnTo>
                  <a:lnTo>
                    <a:pt x="21" y="10"/>
                  </a:lnTo>
                  <a:lnTo>
                    <a:pt x="9" y="21"/>
                  </a:lnTo>
                  <a:lnTo>
                    <a:pt x="0" y="33"/>
                  </a:lnTo>
                  <a:lnTo>
                    <a:pt x="1" y="40"/>
                  </a:lnTo>
                  <a:lnTo>
                    <a:pt x="9" y="45"/>
                  </a:lnTo>
                  <a:lnTo>
                    <a:pt x="9" y="45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732" name="Freeform 77"/>
            <p:cNvSpPr>
              <a:spLocks/>
            </p:cNvSpPr>
            <p:nvPr userDrawn="1"/>
          </p:nvSpPr>
          <p:spPr bwMode="auto">
            <a:xfrm>
              <a:off x="4327" y="302"/>
              <a:ext cx="8" cy="17"/>
            </a:xfrm>
            <a:custGeom>
              <a:avLst/>
              <a:gdLst>
                <a:gd name="T0" fmla="*/ 5 w 8"/>
                <a:gd name="T1" fmla="*/ 17 h 17"/>
                <a:gd name="T2" fmla="*/ 8 w 8"/>
                <a:gd name="T3" fmla="*/ 8 h 17"/>
                <a:gd name="T4" fmla="*/ 0 w 8"/>
                <a:gd name="T5" fmla="*/ 0 h 17"/>
                <a:gd name="T6" fmla="*/ 0 w 8"/>
                <a:gd name="T7" fmla="*/ 14 h 17"/>
                <a:gd name="T8" fmla="*/ 5 w 8"/>
                <a:gd name="T9" fmla="*/ 17 h 17"/>
                <a:gd name="T10" fmla="*/ 5 w 8"/>
                <a:gd name="T11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17">
                  <a:moveTo>
                    <a:pt x="5" y="17"/>
                  </a:moveTo>
                  <a:lnTo>
                    <a:pt x="8" y="8"/>
                  </a:lnTo>
                  <a:lnTo>
                    <a:pt x="0" y="0"/>
                  </a:lnTo>
                  <a:lnTo>
                    <a:pt x="0" y="14"/>
                  </a:lnTo>
                  <a:lnTo>
                    <a:pt x="5" y="17"/>
                  </a:lnTo>
                  <a:lnTo>
                    <a:pt x="5" y="17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733" name="Freeform 78"/>
            <p:cNvSpPr>
              <a:spLocks/>
            </p:cNvSpPr>
            <p:nvPr userDrawn="1"/>
          </p:nvSpPr>
          <p:spPr bwMode="auto">
            <a:xfrm>
              <a:off x="4292" y="319"/>
              <a:ext cx="35" cy="33"/>
            </a:xfrm>
            <a:custGeom>
              <a:avLst/>
              <a:gdLst>
                <a:gd name="T0" fmla="*/ 9 w 35"/>
                <a:gd name="T1" fmla="*/ 33 h 33"/>
                <a:gd name="T2" fmla="*/ 35 w 35"/>
                <a:gd name="T3" fmla="*/ 6 h 33"/>
                <a:gd name="T4" fmla="*/ 34 w 35"/>
                <a:gd name="T5" fmla="*/ 0 h 33"/>
                <a:gd name="T6" fmla="*/ 22 w 35"/>
                <a:gd name="T7" fmla="*/ 0 h 33"/>
                <a:gd name="T8" fmla="*/ 17 w 35"/>
                <a:gd name="T9" fmla="*/ 9 h 33"/>
                <a:gd name="T10" fmla="*/ 14 w 35"/>
                <a:gd name="T11" fmla="*/ 13 h 33"/>
                <a:gd name="T12" fmla="*/ 5 w 35"/>
                <a:gd name="T13" fmla="*/ 13 h 33"/>
                <a:gd name="T14" fmla="*/ 0 w 35"/>
                <a:gd name="T15" fmla="*/ 21 h 33"/>
                <a:gd name="T16" fmla="*/ 0 w 35"/>
                <a:gd name="T17" fmla="*/ 30 h 33"/>
                <a:gd name="T18" fmla="*/ 9 w 35"/>
                <a:gd name="T19" fmla="*/ 33 h 33"/>
                <a:gd name="T20" fmla="*/ 9 w 35"/>
                <a:gd name="T21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5" h="33">
                  <a:moveTo>
                    <a:pt x="9" y="33"/>
                  </a:moveTo>
                  <a:lnTo>
                    <a:pt x="35" y="6"/>
                  </a:lnTo>
                  <a:lnTo>
                    <a:pt x="34" y="0"/>
                  </a:lnTo>
                  <a:lnTo>
                    <a:pt x="22" y="0"/>
                  </a:lnTo>
                  <a:lnTo>
                    <a:pt x="17" y="9"/>
                  </a:lnTo>
                  <a:lnTo>
                    <a:pt x="14" y="13"/>
                  </a:lnTo>
                  <a:lnTo>
                    <a:pt x="5" y="13"/>
                  </a:lnTo>
                  <a:lnTo>
                    <a:pt x="0" y="21"/>
                  </a:lnTo>
                  <a:lnTo>
                    <a:pt x="0" y="30"/>
                  </a:lnTo>
                  <a:lnTo>
                    <a:pt x="9" y="33"/>
                  </a:lnTo>
                  <a:lnTo>
                    <a:pt x="9" y="33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734" name="Freeform 79"/>
            <p:cNvSpPr>
              <a:spLocks/>
            </p:cNvSpPr>
            <p:nvPr userDrawn="1"/>
          </p:nvSpPr>
          <p:spPr bwMode="auto">
            <a:xfrm>
              <a:off x="4268" y="345"/>
              <a:ext cx="17" cy="18"/>
            </a:xfrm>
            <a:custGeom>
              <a:avLst/>
              <a:gdLst>
                <a:gd name="T0" fmla="*/ 2 w 17"/>
                <a:gd name="T1" fmla="*/ 12 h 18"/>
                <a:gd name="T2" fmla="*/ 8 w 17"/>
                <a:gd name="T3" fmla="*/ 18 h 18"/>
                <a:gd name="T4" fmla="*/ 15 w 17"/>
                <a:gd name="T5" fmla="*/ 18 h 18"/>
                <a:gd name="T6" fmla="*/ 17 w 17"/>
                <a:gd name="T7" fmla="*/ 9 h 18"/>
                <a:gd name="T8" fmla="*/ 15 w 17"/>
                <a:gd name="T9" fmla="*/ 4 h 18"/>
                <a:gd name="T10" fmla="*/ 8 w 17"/>
                <a:gd name="T11" fmla="*/ 0 h 18"/>
                <a:gd name="T12" fmla="*/ 11 w 17"/>
                <a:gd name="T13" fmla="*/ 6 h 18"/>
                <a:gd name="T14" fmla="*/ 0 w 17"/>
                <a:gd name="T15" fmla="*/ 6 h 18"/>
                <a:gd name="T16" fmla="*/ 2 w 17"/>
                <a:gd name="T17" fmla="*/ 12 h 18"/>
                <a:gd name="T18" fmla="*/ 2 w 17"/>
                <a:gd name="T19" fmla="*/ 1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" h="18">
                  <a:moveTo>
                    <a:pt x="2" y="12"/>
                  </a:moveTo>
                  <a:lnTo>
                    <a:pt x="8" y="18"/>
                  </a:lnTo>
                  <a:lnTo>
                    <a:pt x="15" y="18"/>
                  </a:lnTo>
                  <a:lnTo>
                    <a:pt x="17" y="9"/>
                  </a:lnTo>
                  <a:lnTo>
                    <a:pt x="15" y="4"/>
                  </a:lnTo>
                  <a:lnTo>
                    <a:pt x="8" y="0"/>
                  </a:lnTo>
                  <a:lnTo>
                    <a:pt x="11" y="6"/>
                  </a:lnTo>
                  <a:lnTo>
                    <a:pt x="0" y="6"/>
                  </a:lnTo>
                  <a:lnTo>
                    <a:pt x="2" y="12"/>
                  </a:lnTo>
                  <a:lnTo>
                    <a:pt x="2" y="12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735" name="Freeform 80"/>
            <p:cNvSpPr>
              <a:spLocks/>
            </p:cNvSpPr>
            <p:nvPr userDrawn="1"/>
          </p:nvSpPr>
          <p:spPr bwMode="auto">
            <a:xfrm>
              <a:off x="4250" y="354"/>
              <a:ext cx="21" cy="37"/>
            </a:xfrm>
            <a:custGeom>
              <a:avLst/>
              <a:gdLst>
                <a:gd name="T0" fmla="*/ 6 w 21"/>
                <a:gd name="T1" fmla="*/ 33 h 37"/>
                <a:gd name="T2" fmla="*/ 12 w 21"/>
                <a:gd name="T3" fmla="*/ 18 h 37"/>
                <a:gd name="T4" fmla="*/ 21 w 21"/>
                <a:gd name="T5" fmla="*/ 16 h 37"/>
                <a:gd name="T6" fmla="*/ 21 w 21"/>
                <a:gd name="T7" fmla="*/ 10 h 37"/>
                <a:gd name="T8" fmla="*/ 17 w 21"/>
                <a:gd name="T9" fmla="*/ 12 h 37"/>
                <a:gd name="T10" fmla="*/ 18 w 21"/>
                <a:gd name="T11" fmla="*/ 4 h 37"/>
                <a:gd name="T12" fmla="*/ 15 w 21"/>
                <a:gd name="T13" fmla="*/ 0 h 37"/>
                <a:gd name="T14" fmla="*/ 11 w 21"/>
                <a:gd name="T15" fmla="*/ 12 h 37"/>
                <a:gd name="T16" fmla="*/ 2 w 21"/>
                <a:gd name="T17" fmla="*/ 15 h 37"/>
                <a:gd name="T18" fmla="*/ 3 w 21"/>
                <a:gd name="T19" fmla="*/ 27 h 37"/>
                <a:gd name="T20" fmla="*/ 0 w 21"/>
                <a:gd name="T21" fmla="*/ 37 h 37"/>
                <a:gd name="T22" fmla="*/ 6 w 21"/>
                <a:gd name="T23" fmla="*/ 33 h 37"/>
                <a:gd name="T24" fmla="*/ 6 w 21"/>
                <a:gd name="T25" fmla="*/ 33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" h="37">
                  <a:moveTo>
                    <a:pt x="6" y="33"/>
                  </a:moveTo>
                  <a:lnTo>
                    <a:pt x="12" y="18"/>
                  </a:lnTo>
                  <a:lnTo>
                    <a:pt x="21" y="16"/>
                  </a:lnTo>
                  <a:lnTo>
                    <a:pt x="21" y="10"/>
                  </a:lnTo>
                  <a:lnTo>
                    <a:pt x="17" y="12"/>
                  </a:lnTo>
                  <a:lnTo>
                    <a:pt x="18" y="4"/>
                  </a:lnTo>
                  <a:lnTo>
                    <a:pt x="15" y="0"/>
                  </a:lnTo>
                  <a:lnTo>
                    <a:pt x="11" y="12"/>
                  </a:lnTo>
                  <a:lnTo>
                    <a:pt x="2" y="15"/>
                  </a:lnTo>
                  <a:lnTo>
                    <a:pt x="3" y="27"/>
                  </a:lnTo>
                  <a:lnTo>
                    <a:pt x="0" y="37"/>
                  </a:lnTo>
                  <a:lnTo>
                    <a:pt x="6" y="33"/>
                  </a:lnTo>
                  <a:lnTo>
                    <a:pt x="6" y="33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736" name="Freeform 81"/>
            <p:cNvSpPr>
              <a:spLocks/>
            </p:cNvSpPr>
            <p:nvPr userDrawn="1"/>
          </p:nvSpPr>
          <p:spPr bwMode="auto">
            <a:xfrm>
              <a:off x="4345" y="470"/>
              <a:ext cx="24" cy="12"/>
            </a:xfrm>
            <a:custGeom>
              <a:avLst/>
              <a:gdLst>
                <a:gd name="T0" fmla="*/ 0 w 24"/>
                <a:gd name="T1" fmla="*/ 6 h 12"/>
                <a:gd name="T2" fmla="*/ 3 w 24"/>
                <a:gd name="T3" fmla="*/ 12 h 12"/>
                <a:gd name="T4" fmla="*/ 24 w 24"/>
                <a:gd name="T5" fmla="*/ 6 h 12"/>
                <a:gd name="T6" fmla="*/ 15 w 24"/>
                <a:gd name="T7" fmla="*/ 0 h 12"/>
                <a:gd name="T8" fmla="*/ 0 w 24"/>
                <a:gd name="T9" fmla="*/ 6 h 12"/>
                <a:gd name="T10" fmla="*/ 0 w 24"/>
                <a:gd name="T11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12">
                  <a:moveTo>
                    <a:pt x="0" y="6"/>
                  </a:moveTo>
                  <a:lnTo>
                    <a:pt x="3" y="12"/>
                  </a:lnTo>
                  <a:lnTo>
                    <a:pt x="24" y="6"/>
                  </a:lnTo>
                  <a:lnTo>
                    <a:pt x="15" y="0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737" name="Freeform 82"/>
            <p:cNvSpPr>
              <a:spLocks/>
            </p:cNvSpPr>
            <p:nvPr userDrawn="1"/>
          </p:nvSpPr>
          <p:spPr bwMode="auto">
            <a:xfrm>
              <a:off x="4400" y="397"/>
              <a:ext cx="15" cy="29"/>
            </a:xfrm>
            <a:custGeom>
              <a:avLst/>
              <a:gdLst>
                <a:gd name="T0" fmla="*/ 4 w 15"/>
                <a:gd name="T1" fmla="*/ 11 h 29"/>
                <a:gd name="T2" fmla="*/ 0 w 15"/>
                <a:gd name="T3" fmla="*/ 15 h 29"/>
                <a:gd name="T4" fmla="*/ 0 w 15"/>
                <a:gd name="T5" fmla="*/ 21 h 29"/>
                <a:gd name="T6" fmla="*/ 4 w 15"/>
                <a:gd name="T7" fmla="*/ 29 h 29"/>
                <a:gd name="T8" fmla="*/ 15 w 15"/>
                <a:gd name="T9" fmla="*/ 18 h 29"/>
                <a:gd name="T10" fmla="*/ 6 w 15"/>
                <a:gd name="T11" fmla="*/ 0 h 29"/>
                <a:gd name="T12" fmla="*/ 4 w 15"/>
                <a:gd name="T13" fmla="*/ 11 h 29"/>
                <a:gd name="T14" fmla="*/ 4 w 15"/>
                <a:gd name="T15" fmla="*/ 11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29">
                  <a:moveTo>
                    <a:pt x="4" y="11"/>
                  </a:moveTo>
                  <a:lnTo>
                    <a:pt x="0" y="15"/>
                  </a:lnTo>
                  <a:lnTo>
                    <a:pt x="0" y="21"/>
                  </a:lnTo>
                  <a:lnTo>
                    <a:pt x="4" y="29"/>
                  </a:lnTo>
                  <a:lnTo>
                    <a:pt x="15" y="18"/>
                  </a:lnTo>
                  <a:lnTo>
                    <a:pt x="6" y="0"/>
                  </a:lnTo>
                  <a:lnTo>
                    <a:pt x="4" y="11"/>
                  </a:lnTo>
                  <a:lnTo>
                    <a:pt x="4" y="11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738" name="Freeform 83"/>
            <p:cNvSpPr>
              <a:spLocks/>
            </p:cNvSpPr>
            <p:nvPr userDrawn="1"/>
          </p:nvSpPr>
          <p:spPr bwMode="auto">
            <a:xfrm>
              <a:off x="4374" y="381"/>
              <a:ext cx="30" cy="31"/>
            </a:xfrm>
            <a:custGeom>
              <a:avLst/>
              <a:gdLst>
                <a:gd name="T0" fmla="*/ 26 w 30"/>
                <a:gd name="T1" fmla="*/ 0 h 31"/>
                <a:gd name="T2" fmla="*/ 15 w 30"/>
                <a:gd name="T3" fmla="*/ 6 h 31"/>
                <a:gd name="T4" fmla="*/ 1 w 30"/>
                <a:gd name="T5" fmla="*/ 10 h 31"/>
                <a:gd name="T6" fmla="*/ 0 w 30"/>
                <a:gd name="T7" fmla="*/ 19 h 31"/>
                <a:gd name="T8" fmla="*/ 13 w 30"/>
                <a:gd name="T9" fmla="*/ 19 h 31"/>
                <a:gd name="T10" fmla="*/ 13 w 30"/>
                <a:gd name="T11" fmla="*/ 31 h 31"/>
                <a:gd name="T12" fmla="*/ 21 w 30"/>
                <a:gd name="T13" fmla="*/ 25 h 31"/>
                <a:gd name="T14" fmla="*/ 22 w 30"/>
                <a:gd name="T15" fmla="*/ 13 h 31"/>
                <a:gd name="T16" fmla="*/ 30 w 30"/>
                <a:gd name="T17" fmla="*/ 6 h 31"/>
                <a:gd name="T18" fmla="*/ 26 w 30"/>
                <a:gd name="T19" fmla="*/ 0 h 31"/>
                <a:gd name="T20" fmla="*/ 26 w 30"/>
                <a:gd name="T21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31">
                  <a:moveTo>
                    <a:pt x="26" y="0"/>
                  </a:moveTo>
                  <a:lnTo>
                    <a:pt x="15" y="6"/>
                  </a:lnTo>
                  <a:lnTo>
                    <a:pt x="1" y="10"/>
                  </a:lnTo>
                  <a:lnTo>
                    <a:pt x="0" y="19"/>
                  </a:lnTo>
                  <a:lnTo>
                    <a:pt x="13" y="19"/>
                  </a:lnTo>
                  <a:lnTo>
                    <a:pt x="13" y="31"/>
                  </a:lnTo>
                  <a:lnTo>
                    <a:pt x="21" y="25"/>
                  </a:lnTo>
                  <a:lnTo>
                    <a:pt x="22" y="13"/>
                  </a:lnTo>
                  <a:lnTo>
                    <a:pt x="30" y="6"/>
                  </a:lnTo>
                  <a:lnTo>
                    <a:pt x="26" y="0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739" name="Freeform 84"/>
            <p:cNvSpPr>
              <a:spLocks/>
            </p:cNvSpPr>
            <p:nvPr userDrawn="1"/>
          </p:nvSpPr>
          <p:spPr bwMode="auto">
            <a:xfrm>
              <a:off x="4369" y="403"/>
              <a:ext cx="14" cy="12"/>
            </a:xfrm>
            <a:custGeom>
              <a:avLst/>
              <a:gdLst>
                <a:gd name="T0" fmla="*/ 0 w 14"/>
                <a:gd name="T1" fmla="*/ 12 h 12"/>
                <a:gd name="T2" fmla="*/ 14 w 14"/>
                <a:gd name="T3" fmla="*/ 11 h 12"/>
                <a:gd name="T4" fmla="*/ 12 w 14"/>
                <a:gd name="T5" fmla="*/ 0 h 12"/>
                <a:gd name="T6" fmla="*/ 0 w 14"/>
                <a:gd name="T7" fmla="*/ 12 h 12"/>
                <a:gd name="T8" fmla="*/ 0 w 14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2">
                  <a:moveTo>
                    <a:pt x="0" y="12"/>
                  </a:moveTo>
                  <a:lnTo>
                    <a:pt x="14" y="11"/>
                  </a:lnTo>
                  <a:lnTo>
                    <a:pt x="12" y="0"/>
                  </a:lnTo>
                  <a:lnTo>
                    <a:pt x="0" y="12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740" name="Freeform 85"/>
            <p:cNvSpPr>
              <a:spLocks/>
            </p:cNvSpPr>
            <p:nvPr userDrawn="1"/>
          </p:nvSpPr>
          <p:spPr bwMode="auto">
            <a:xfrm>
              <a:off x="4264" y="604"/>
              <a:ext cx="16" cy="32"/>
            </a:xfrm>
            <a:custGeom>
              <a:avLst/>
              <a:gdLst>
                <a:gd name="T0" fmla="*/ 0 w 16"/>
                <a:gd name="T1" fmla="*/ 12 h 32"/>
                <a:gd name="T2" fmla="*/ 7 w 16"/>
                <a:gd name="T3" fmla="*/ 23 h 32"/>
                <a:gd name="T4" fmla="*/ 6 w 16"/>
                <a:gd name="T5" fmla="*/ 32 h 32"/>
                <a:gd name="T6" fmla="*/ 16 w 16"/>
                <a:gd name="T7" fmla="*/ 32 h 32"/>
                <a:gd name="T8" fmla="*/ 12 w 16"/>
                <a:gd name="T9" fmla="*/ 15 h 32"/>
                <a:gd name="T10" fmla="*/ 0 w 16"/>
                <a:gd name="T11" fmla="*/ 0 h 32"/>
                <a:gd name="T12" fmla="*/ 0 w 16"/>
                <a:gd name="T13" fmla="*/ 12 h 32"/>
                <a:gd name="T14" fmla="*/ 0 w 16"/>
                <a:gd name="T15" fmla="*/ 1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" h="32">
                  <a:moveTo>
                    <a:pt x="0" y="12"/>
                  </a:moveTo>
                  <a:lnTo>
                    <a:pt x="7" y="23"/>
                  </a:lnTo>
                  <a:lnTo>
                    <a:pt x="6" y="32"/>
                  </a:lnTo>
                  <a:lnTo>
                    <a:pt x="16" y="32"/>
                  </a:lnTo>
                  <a:lnTo>
                    <a:pt x="12" y="15"/>
                  </a:lnTo>
                  <a:lnTo>
                    <a:pt x="0" y="0"/>
                  </a:lnTo>
                  <a:lnTo>
                    <a:pt x="0" y="12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741" name="Freeform 86"/>
            <p:cNvSpPr>
              <a:spLocks/>
            </p:cNvSpPr>
            <p:nvPr userDrawn="1"/>
          </p:nvSpPr>
          <p:spPr bwMode="auto">
            <a:xfrm>
              <a:off x="4187" y="731"/>
              <a:ext cx="19" cy="18"/>
            </a:xfrm>
            <a:custGeom>
              <a:avLst/>
              <a:gdLst>
                <a:gd name="T0" fmla="*/ 19 w 19"/>
                <a:gd name="T1" fmla="*/ 10 h 18"/>
                <a:gd name="T2" fmla="*/ 10 w 19"/>
                <a:gd name="T3" fmla="*/ 0 h 18"/>
                <a:gd name="T4" fmla="*/ 3 w 19"/>
                <a:gd name="T5" fmla="*/ 4 h 18"/>
                <a:gd name="T6" fmla="*/ 0 w 19"/>
                <a:gd name="T7" fmla="*/ 18 h 18"/>
                <a:gd name="T8" fmla="*/ 12 w 19"/>
                <a:gd name="T9" fmla="*/ 18 h 18"/>
                <a:gd name="T10" fmla="*/ 19 w 19"/>
                <a:gd name="T11" fmla="*/ 10 h 18"/>
                <a:gd name="T12" fmla="*/ 19 w 19"/>
                <a:gd name="T13" fmla="*/ 1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18">
                  <a:moveTo>
                    <a:pt x="19" y="10"/>
                  </a:moveTo>
                  <a:lnTo>
                    <a:pt x="10" y="0"/>
                  </a:lnTo>
                  <a:lnTo>
                    <a:pt x="3" y="4"/>
                  </a:lnTo>
                  <a:lnTo>
                    <a:pt x="0" y="18"/>
                  </a:lnTo>
                  <a:lnTo>
                    <a:pt x="12" y="18"/>
                  </a:lnTo>
                  <a:lnTo>
                    <a:pt x="19" y="10"/>
                  </a:lnTo>
                  <a:lnTo>
                    <a:pt x="19" y="10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742" name="Freeform 87"/>
            <p:cNvSpPr>
              <a:spLocks/>
            </p:cNvSpPr>
            <p:nvPr userDrawn="1"/>
          </p:nvSpPr>
          <p:spPr bwMode="auto">
            <a:xfrm>
              <a:off x="3973" y="1014"/>
              <a:ext cx="54" cy="49"/>
            </a:xfrm>
            <a:custGeom>
              <a:avLst/>
              <a:gdLst>
                <a:gd name="T0" fmla="*/ 0 w 54"/>
                <a:gd name="T1" fmla="*/ 38 h 49"/>
                <a:gd name="T2" fmla="*/ 6 w 54"/>
                <a:gd name="T3" fmla="*/ 49 h 49"/>
                <a:gd name="T4" fmla="*/ 16 w 54"/>
                <a:gd name="T5" fmla="*/ 47 h 49"/>
                <a:gd name="T6" fmla="*/ 24 w 54"/>
                <a:gd name="T7" fmla="*/ 37 h 49"/>
                <a:gd name="T8" fmla="*/ 39 w 54"/>
                <a:gd name="T9" fmla="*/ 38 h 49"/>
                <a:gd name="T10" fmla="*/ 46 w 54"/>
                <a:gd name="T11" fmla="*/ 29 h 49"/>
                <a:gd name="T12" fmla="*/ 54 w 54"/>
                <a:gd name="T13" fmla="*/ 28 h 49"/>
                <a:gd name="T14" fmla="*/ 42 w 54"/>
                <a:gd name="T15" fmla="*/ 22 h 49"/>
                <a:gd name="T16" fmla="*/ 42 w 54"/>
                <a:gd name="T17" fmla="*/ 17 h 49"/>
                <a:gd name="T18" fmla="*/ 27 w 54"/>
                <a:gd name="T19" fmla="*/ 18 h 49"/>
                <a:gd name="T20" fmla="*/ 19 w 54"/>
                <a:gd name="T21" fmla="*/ 0 h 49"/>
                <a:gd name="T22" fmla="*/ 16 w 54"/>
                <a:gd name="T23" fmla="*/ 9 h 49"/>
                <a:gd name="T24" fmla="*/ 1 w 54"/>
                <a:gd name="T25" fmla="*/ 12 h 49"/>
                <a:gd name="T26" fmla="*/ 24 w 54"/>
                <a:gd name="T27" fmla="*/ 20 h 49"/>
                <a:gd name="T28" fmla="*/ 15 w 54"/>
                <a:gd name="T29" fmla="*/ 22 h 49"/>
                <a:gd name="T30" fmla="*/ 22 w 54"/>
                <a:gd name="T31" fmla="*/ 32 h 49"/>
                <a:gd name="T32" fmla="*/ 6 w 54"/>
                <a:gd name="T33" fmla="*/ 29 h 49"/>
                <a:gd name="T34" fmla="*/ 0 w 54"/>
                <a:gd name="T35" fmla="*/ 38 h 49"/>
                <a:gd name="T36" fmla="*/ 0 w 54"/>
                <a:gd name="T37" fmla="*/ 38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4" h="49">
                  <a:moveTo>
                    <a:pt x="0" y="38"/>
                  </a:moveTo>
                  <a:lnTo>
                    <a:pt x="6" y="49"/>
                  </a:lnTo>
                  <a:lnTo>
                    <a:pt x="16" y="47"/>
                  </a:lnTo>
                  <a:lnTo>
                    <a:pt x="24" y="37"/>
                  </a:lnTo>
                  <a:lnTo>
                    <a:pt x="39" y="38"/>
                  </a:lnTo>
                  <a:lnTo>
                    <a:pt x="46" y="29"/>
                  </a:lnTo>
                  <a:lnTo>
                    <a:pt x="54" y="28"/>
                  </a:lnTo>
                  <a:lnTo>
                    <a:pt x="42" y="22"/>
                  </a:lnTo>
                  <a:lnTo>
                    <a:pt x="42" y="17"/>
                  </a:lnTo>
                  <a:lnTo>
                    <a:pt x="27" y="18"/>
                  </a:lnTo>
                  <a:lnTo>
                    <a:pt x="19" y="0"/>
                  </a:lnTo>
                  <a:lnTo>
                    <a:pt x="16" y="9"/>
                  </a:lnTo>
                  <a:lnTo>
                    <a:pt x="1" y="12"/>
                  </a:lnTo>
                  <a:lnTo>
                    <a:pt x="24" y="20"/>
                  </a:lnTo>
                  <a:lnTo>
                    <a:pt x="15" y="22"/>
                  </a:lnTo>
                  <a:lnTo>
                    <a:pt x="22" y="32"/>
                  </a:lnTo>
                  <a:lnTo>
                    <a:pt x="6" y="29"/>
                  </a:lnTo>
                  <a:lnTo>
                    <a:pt x="0" y="38"/>
                  </a:lnTo>
                  <a:lnTo>
                    <a:pt x="0" y="38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743" name="Freeform 88"/>
            <p:cNvSpPr>
              <a:spLocks/>
            </p:cNvSpPr>
            <p:nvPr userDrawn="1"/>
          </p:nvSpPr>
          <p:spPr bwMode="auto">
            <a:xfrm>
              <a:off x="3939" y="1058"/>
              <a:ext cx="25" cy="23"/>
            </a:xfrm>
            <a:custGeom>
              <a:avLst/>
              <a:gdLst>
                <a:gd name="T0" fmla="*/ 11 w 25"/>
                <a:gd name="T1" fmla="*/ 12 h 23"/>
                <a:gd name="T2" fmla="*/ 19 w 25"/>
                <a:gd name="T3" fmla="*/ 23 h 23"/>
                <a:gd name="T4" fmla="*/ 25 w 25"/>
                <a:gd name="T5" fmla="*/ 20 h 23"/>
                <a:gd name="T6" fmla="*/ 25 w 25"/>
                <a:gd name="T7" fmla="*/ 14 h 23"/>
                <a:gd name="T8" fmla="*/ 11 w 25"/>
                <a:gd name="T9" fmla="*/ 0 h 23"/>
                <a:gd name="T10" fmla="*/ 13 w 25"/>
                <a:gd name="T11" fmla="*/ 6 h 23"/>
                <a:gd name="T12" fmla="*/ 0 w 25"/>
                <a:gd name="T13" fmla="*/ 6 h 23"/>
                <a:gd name="T14" fmla="*/ 11 w 25"/>
                <a:gd name="T15" fmla="*/ 12 h 23"/>
                <a:gd name="T16" fmla="*/ 11 w 25"/>
                <a:gd name="T17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" h="23">
                  <a:moveTo>
                    <a:pt x="11" y="12"/>
                  </a:moveTo>
                  <a:lnTo>
                    <a:pt x="19" y="23"/>
                  </a:lnTo>
                  <a:lnTo>
                    <a:pt x="25" y="20"/>
                  </a:lnTo>
                  <a:lnTo>
                    <a:pt x="25" y="14"/>
                  </a:lnTo>
                  <a:lnTo>
                    <a:pt x="11" y="0"/>
                  </a:lnTo>
                  <a:lnTo>
                    <a:pt x="13" y="6"/>
                  </a:lnTo>
                  <a:lnTo>
                    <a:pt x="0" y="6"/>
                  </a:lnTo>
                  <a:lnTo>
                    <a:pt x="11" y="12"/>
                  </a:lnTo>
                  <a:lnTo>
                    <a:pt x="11" y="12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744" name="Freeform 89"/>
            <p:cNvSpPr>
              <a:spLocks/>
            </p:cNvSpPr>
            <p:nvPr userDrawn="1"/>
          </p:nvSpPr>
          <p:spPr bwMode="auto">
            <a:xfrm>
              <a:off x="3860" y="1171"/>
              <a:ext cx="18" cy="18"/>
            </a:xfrm>
            <a:custGeom>
              <a:avLst/>
              <a:gdLst>
                <a:gd name="T0" fmla="*/ 18 w 18"/>
                <a:gd name="T1" fmla="*/ 8 h 18"/>
                <a:gd name="T2" fmla="*/ 4 w 18"/>
                <a:gd name="T3" fmla="*/ 0 h 18"/>
                <a:gd name="T4" fmla="*/ 0 w 18"/>
                <a:gd name="T5" fmla="*/ 12 h 18"/>
                <a:gd name="T6" fmla="*/ 10 w 18"/>
                <a:gd name="T7" fmla="*/ 18 h 18"/>
                <a:gd name="T8" fmla="*/ 18 w 18"/>
                <a:gd name="T9" fmla="*/ 8 h 18"/>
                <a:gd name="T10" fmla="*/ 18 w 18"/>
                <a:gd name="T11" fmla="*/ 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18">
                  <a:moveTo>
                    <a:pt x="18" y="8"/>
                  </a:moveTo>
                  <a:lnTo>
                    <a:pt x="4" y="0"/>
                  </a:lnTo>
                  <a:lnTo>
                    <a:pt x="0" y="12"/>
                  </a:lnTo>
                  <a:lnTo>
                    <a:pt x="10" y="18"/>
                  </a:lnTo>
                  <a:lnTo>
                    <a:pt x="18" y="8"/>
                  </a:lnTo>
                  <a:lnTo>
                    <a:pt x="18" y="8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745" name="Freeform 90"/>
            <p:cNvSpPr>
              <a:spLocks/>
            </p:cNvSpPr>
            <p:nvPr userDrawn="1"/>
          </p:nvSpPr>
          <p:spPr bwMode="auto">
            <a:xfrm>
              <a:off x="3841" y="1191"/>
              <a:ext cx="20" cy="12"/>
            </a:xfrm>
            <a:custGeom>
              <a:avLst/>
              <a:gdLst>
                <a:gd name="T0" fmla="*/ 20 w 20"/>
                <a:gd name="T1" fmla="*/ 1 h 12"/>
                <a:gd name="T2" fmla="*/ 16 w 20"/>
                <a:gd name="T3" fmla="*/ 0 h 12"/>
                <a:gd name="T4" fmla="*/ 2 w 20"/>
                <a:gd name="T5" fmla="*/ 1 h 12"/>
                <a:gd name="T6" fmla="*/ 0 w 20"/>
                <a:gd name="T7" fmla="*/ 9 h 12"/>
                <a:gd name="T8" fmla="*/ 11 w 20"/>
                <a:gd name="T9" fmla="*/ 12 h 12"/>
                <a:gd name="T10" fmla="*/ 20 w 20"/>
                <a:gd name="T11" fmla="*/ 1 h 12"/>
                <a:gd name="T12" fmla="*/ 20 w 20"/>
                <a:gd name="T13" fmla="*/ 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12">
                  <a:moveTo>
                    <a:pt x="20" y="1"/>
                  </a:moveTo>
                  <a:lnTo>
                    <a:pt x="16" y="0"/>
                  </a:lnTo>
                  <a:lnTo>
                    <a:pt x="2" y="1"/>
                  </a:lnTo>
                  <a:lnTo>
                    <a:pt x="0" y="9"/>
                  </a:lnTo>
                  <a:lnTo>
                    <a:pt x="11" y="12"/>
                  </a:lnTo>
                  <a:lnTo>
                    <a:pt x="20" y="1"/>
                  </a:lnTo>
                  <a:lnTo>
                    <a:pt x="20" y="1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746" name="Freeform 91"/>
            <p:cNvSpPr>
              <a:spLocks/>
            </p:cNvSpPr>
            <p:nvPr userDrawn="1"/>
          </p:nvSpPr>
          <p:spPr bwMode="auto">
            <a:xfrm>
              <a:off x="3841" y="1206"/>
              <a:ext cx="16" cy="9"/>
            </a:xfrm>
            <a:custGeom>
              <a:avLst/>
              <a:gdLst>
                <a:gd name="T0" fmla="*/ 16 w 16"/>
                <a:gd name="T1" fmla="*/ 8 h 9"/>
                <a:gd name="T2" fmla="*/ 9 w 16"/>
                <a:gd name="T3" fmla="*/ 0 h 9"/>
                <a:gd name="T4" fmla="*/ 0 w 16"/>
                <a:gd name="T5" fmla="*/ 2 h 9"/>
                <a:gd name="T6" fmla="*/ 3 w 16"/>
                <a:gd name="T7" fmla="*/ 9 h 9"/>
                <a:gd name="T8" fmla="*/ 16 w 16"/>
                <a:gd name="T9" fmla="*/ 8 h 9"/>
                <a:gd name="T10" fmla="*/ 16 w 16"/>
                <a:gd name="T11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9">
                  <a:moveTo>
                    <a:pt x="16" y="8"/>
                  </a:moveTo>
                  <a:lnTo>
                    <a:pt x="9" y="0"/>
                  </a:lnTo>
                  <a:lnTo>
                    <a:pt x="0" y="2"/>
                  </a:lnTo>
                  <a:lnTo>
                    <a:pt x="3" y="9"/>
                  </a:lnTo>
                  <a:lnTo>
                    <a:pt x="16" y="8"/>
                  </a:lnTo>
                  <a:lnTo>
                    <a:pt x="16" y="8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747" name="Freeform 92"/>
            <p:cNvSpPr>
              <a:spLocks/>
            </p:cNvSpPr>
            <p:nvPr userDrawn="1"/>
          </p:nvSpPr>
          <p:spPr bwMode="auto">
            <a:xfrm>
              <a:off x="3771" y="1251"/>
              <a:ext cx="55" cy="33"/>
            </a:xfrm>
            <a:custGeom>
              <a:avLst/>
              <a:gdLst>
                <a:gd name="T0" fmla="*/ 9 w 55"/>
                <a:gd name="T1" fmla="*/ 21 h 33"/>
                <a:gd name="T2" fmla="*/ 0 w 55"/>
                <a:gd name="T3" fmla="*/ 23 h 33"/>
                <a:gd name="T4" fmla="*/ 6 w 55"/>
                <a:gd name="T5" fmla="*/ 33 h 33"/>
                <a:gd name="T6" fmla="*/ 19 w 55"/>
                <a:gd name="T7" fmla="*/ 26 h 33"/>
                <a:gd name="T8" fmla="*/ 51 w 55"/>
                <a:gd name="T9" fmla="*/ 23 h 33"/>
                <a:gd name="T10" fmla="*/ 54 w 55"/>
                <a:gd name="T11" fmla="*/ 18 h 33"/>
                <a:gd name="T12" fmla="*/ 45 w 55"/>
                <a:gd name="T13" fmla="*/ 14 h 33"/>
                <a:gd name="T14" fmla="*/ 55 w 55"/>
                <a:gd name="T15" fmla="*/ 11 h 33"/>
                <a:gd name="T16" fmla="*/ 52 w 55"/>
                <a:gd name="T17" fmla="*/ 6 h 33"/>
                <a:gd name="T18" fmla="*/ 42 w 55"/>
                <a:gd name="T19" fmla="*/ 3 h 33"/>
                <a:gd name="T20" fmla="*/ 28 w 55"/>
                <a:gd name="T21" fmla="*/ 14 h 33"/>
                <a:gd name="T22" fmla="*/ 27 w 55"/>
                <a:gd name="T23" fmla="*/ 6 h 33"/>
                <a:gd name="T24" fmla="*/ 19 w 55"/>
                <a:gd name="T25" fmla="*/ 0 h 33"/>
                <a:gd name="T26" fmla="*/ 22 w 55"/>
                <a:gd name="T27" fmla="*/ 15 h 33"/>
                <a:gd name="T28" fmla="*/ 16 w 55"/>
                <a:gd name="T29" fmla="*/ 14 h 33"/>
                <a:gd name="T30" fmla="*/ 9 w 55"/>
                <a:gd name="T31" fmla="*/ 21 h 33"/>
                <a:gd name="T32" fmla="*/ 9 w 55"/>
                <a:gd name="T33" fmla="*/ 2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5" h="33">
                  <a:moveTo>
                    <a:pt x="9" y="21"/>
                  </a:moveTo>
                  <a:lnTo>
                    <a:pt x="0" y="23"/>
                  </a:lnTo>
                  <a:lnTo>
                    <a:pt x="6" y="33"/>
                  </a:lnTo>
                  <a:lnTo>
                    <a:pt x="19" y="26"/>
                  </a:lnTo>
                  <a:lnTo>
                    <a:pt x="51" y="23"/>
                  </a:lnTo>
                  <a:lnTo>
                    <a:pt x="54" y="18"/>
                  </a:lnTo>
                  <a:lnTo>
                    <a:pt x="45" y="14"/>
                  </a:lnTo>
                  <a:lnTo>
                    <a:pt x="55" y="11"/>
                  </a:lnTo>
                  <a:lnTo>
                    <a:pt x="52" y="6"/>
                  </a:lnTo>
                  <a:lnTo>
                    <a:pt x="42" y="3"/>
                  </a:lnTo>
                  <a:lnTo>
                    <a:pt x="28" y="14"/>
                  </a:lnTo>
                  <a:lnTo>
                    <a:pt x="27" y="6"/>
                  </a:lnTo>
                  <a:lnTo>
                    <a:pt x="19" y="0"/>
                  </a:lnTo>
                  <a:lnTo>
                    <a:pt x="22" y="15"/>
                  </a:lnTo>
                  <a:lnTo>
                    <a:pt x="16" y="14"/>
                  </a:lnTo>
                  <a:lnTo>
                    <a:pt x="9" y="21"/>
                  </a:lnTo>
                  <a:lnTo>
                    <a:pt x="9" y="21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748" name="Freeform 93"/>
            <p:cNvSpPr>
              <a:spLocks/>
            </p:cNvSpPr>
            <p:nvPr userDrawn="1"/>
          </p:nvSpPr>
          <p:spPr bwMode="auto">
            <a:xfrm>
              <a:off x="3766" y="1254"/>
              <a:ext cx="18" cy="15"/>
            </a:xfrm>
            <a:custGeom>
              <a:avLst/>
              <a:gdLst>
                <a:gd name="T0" fmla="*/ 9 w 18"/>
                <a:gd name="T1" fmla="*/ 15 h 15"/>
                <a:gd name="T2" fmla="*/ 18 w 18"/>
                <a:gd name="T3" fmla="*/ 11 h 15"/>
                <a:gd name="T4" fmla="*/ 12 w 18"/>
                <a:gd name="T5" fmla="*/ 0 h 15"/>
                <a:gd name="T6" fmla="*/ 0 w 18"/>
                <a:gd name="T7" fmla="*/ 0 h 15"/>
                <a:gd name="T8" fmla="*/ 3 w 18"/>
                <a:gd name="T9" fmla="*/ 9 h 15"/>
                <a:gd name="T10" fmla="*/ 9 w 18"/>
                <a:gd name="T11" fmla="*/ 15 h 15"/>
                <a:gd name="T12" fmla="*/ 9 w 18"/>
                <a:gd name="T13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" h="15">
                  <a:moveTo>
                    <a:pt x="9" y="15"/>
                  </a:moveTo>
                  <a:lnTo>
                    <a:pt x="18" y="11"/>
                  </a:lnTo>
                  <a:lnTo>
                    <a:pt x="12" y="0"/>
                  </a:lnTo>
                  <a:lnTo>
                    <a:pt x="0" y="0"/>
                  </a:lnTo>
                  <a:lnTo>
                    <a:pt x="3" y="9"/>
                  </a:lnTo>
                  <a:lnTo>
                    <a:pt x="9" y="15"/>
                  </a:lnTo>
                  <a:lnTo>
                    <a:pt x="9" y="15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749" name="Freeform 94"/>
            <p:cNvSpPr>
              <a:spLocks/>
            </p:cNvSpPr>
            <p:nvPr userDrawn="1"/>
          </p:nvSpPr>
          <p:spPr bwMode="auto">
            <a:xfrm>
              <a:off x="3793" y="1233"/>
              <a:ext cx="9" cy="14"/>
            </a:xfrm>
            <a:custGeom>
              <a:avLst/>
              <a:gdLst>
                <a:gd name="T0" fmla="*/ 8 w 9"/>
                <a:gd name="T1" fmla="*/ 0 h 14"/>
                <a:gd name="T2" fmla="*/ 2 w 9"/>
                <a:gd name="T3" fmla="*/ 2 h 14"/>
                <a:gd name="T4" fmla="*/ 0 w 9"/>
                <a:gd name="T5" fmla="*/ 14 h 14"/>
                <a:gd name="T6" fmla="*/ 9 w 9"/>
                <a:gd name="T7" fmla="*/ 8 h 14"/>
                <a:gd name="T8" fmla="*/ 8 w 9"/>
                <a:gd name="T9" fmla="*/ 0 h 14"/>
                <a:gd name="T10" fmla="*/ 8 w 9"/>
                <a:gd name="T11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14">
                  <a:moveTo>
                    <a:pt x="8" y="0"/>
                  </a:moveTo>
                  <a:lnTo>
                    <a:pt x="2" y="2"/>
                  </a:lnTo>
                  <a:lnTo>
                    <a:pt x="0" y="14"/>
                  </a:lnTo>
                  <a:lnTo>
                    <a:pt x="9" y="8"/>
                  </a:lnTo>
                  <a:lnTo>
                    <a:pt x="8" y="0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750" name="Freeform 95"/>
            <p:cNvSpPr>
              <a:spLocks/>
            </p:cNvSpPr>
            <p:nvPr userDrawn="1"/>
          </p:nvSpPr>
          <p:spPr bwMode="auto">
            <a:xfrm>
              <a:off x="3808" y="1211"/>
              <a:ext cx="27" cy="28"/>
            </a:xfrm>
            <a:custGeom>
              <a:avLst/>
              <a:gdLst>
                <a:gd name="T0" fmla="*/ 6 w 27"/>
                <a:gd name="T1" fmla="*/ 28 h 28"/>
                <a:gd name="T2" fmla="*/ 12 w 27"/>
                <a:gd name="T3" fmla="*/ 21 h 28"/>
                <a:gd name="T4" fmla="*/ 14 w 27"/>
                <a:gd name="T5" fmla="*/ 13 h 28"/>
                <a:gd name="T6" fmla="*/ 27 w 27"/>
                <a:gd name="T7" fmla="*/ 3 h 28"/>
                <a:gd name="T8" fmla="*/ 27 w 27"/>
                <a:gd name="T9" fmla="*/ 0 h 28"/>
                <a:gd name="T10" fmla="*/ 9 w 27"/>
                <a:gd name="T11" fmla="*/ 7 h 28"/>
                <a:gd name="T12" fmla="*/ 0 w 27"/>
                <a:gd name="T13" fmla="*/ 6 h 28"/>
                <a:gd name="T14" fmla="*/ 2 w 27"/>
                <a:gd name="T15" fmla="*/ 19 h 28"/>
                <a:gd name="T16" fmla="*/ 6 w 27"/>
                <a:gd name="T17" fmla="*/ 28 h 28"/>
                <a:gd name="T18" fmla="*/ 6 w 27"/>
                <a:gd name="T19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" h="28">
                  <a:moveTo>
                    <a:pt x="6" y="28"/>
                  </a:moveTo>
                  <a:lnTo>
                    <a:pt x="12" y="21"/>
                  </a:lnTo>
                  <a:lnTo>
                    <a:pt x="14" y="13"/>
                  </a:lnTo>
                  <a:lnTo>
                    <a:pt x="27" y="3"/>
                  </a:lnTo>
                  <a:lnTo>
                    <a:pt x="27" y="0"/>
                  </a:lnTo>
                  <a:lnTo>
                    <a:pt x="9" y="7"/>
                  </a:lnTo>
                  <a:lnTo>
                    <a:pt x="0" y="6"/>
                  </a:lnTo>
                  <a:lnTo>
                    <a:pt x="2" y="19"/>
                  </a:lnTo>
                  <a:lnTo>
                    <a:pt x="6" y="28"/>
                  </a:lnTo>
                  <a:lnTo>
                    <a:pt x="6" y="28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751" name="Freeform 96"/>
            <p:cNvSpPr>
              <a:spLocks/>
            </p:cNvSpPr>
            <p:nvPr userDrawn="1"/>
          </p:nvSpPr>
          <p:spPr bwMode="auto">
            <a:xfrm>
              <a:off x="3752" y="1340"/>
              <a:ext cx="29" cy="20"/>
            </a:xfrm>
            <a:custGeom>
              <a:avLst/>
              <a:gdLst>
                <a:gd name="T0" fmla="*/ 2 w 29"/>
                <a:gd name="T1" fmla="*/ 20 h 20"/>
                <a:gd name="T2" fmla="*/ 14 w 29"/>
                <a:gd name="T3" fmla="*/ 11 h 20"/>
                <a:gd name="T4" fmla="*/ 25 w 29"/>
                <a:gd name="T5" fmla="*/ 11 h 20"/>
                <a:gd name="T6" fmla="*/ 29 w 29"/>
                <a:gd name="T7" fmla="*/ 5 h 20"/>
                <a:gd name="T8" fmla="*/ 19 w 29"/>
                <a:gd name="T9" fmla="*/ 0 h 20"/>
                <a:gd name="T10" fmla="*/ 0 w 29"/>
                <a:gd name="T11" fmla="*/ 15 h 20"/>
                <a:gd name="T12" fmla="*/ 2 w 29"/>
                <a:gd name="T13" fmla="*/ 20 h 20"/>
                <a:gd name="T14" fmla="*/ 2 w 29"/>
                <a:gd name="T15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9" h="20">
                  <a:moveTo>
                    <a:pt x="2" y="20"/>
                  </a:moveTo>
                  <a:lnTo>
                    <a:pt x="14" y="11"/>
                  </a:lnTo>
                  <a:lnTo>
                    <a:pt x="25" y="11"/>
                  </a:lnTo>
                  <a:lnTo>
                    <a:pt x="29" y="5"/>
                  </a:lnTo>
                  <a:lnTo>
                    <a:pt x="19" y="0"/>
                  </a:lnTo>
                  <a:lnTo>
                    <a:pt x="0" y="15"/>
                  </a:lnTo>
                  <a:lnTo>
                    <a:pt x="2" y="20"/>
                  </a:lnTo>
                  <a:lnTo>
                    <a:pt x="2" y="20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752" name="Freeform 97"/>
            <p:cNvSpPr>
              <a:spLocks/>
            </p:cNvSpPr>
            <p:nvPr userDrawn="1"/>
          </p:nvSpPr>
          <p:spPr bwMode="auto">
            <a:xfrm>
              <a:off x="3749" y="1287"/>
              <a:ext cx="17" cy="17"/>
            </a:xfrm>
            <a:custGeom>
              <a:avLst/>
              <a:gdLst>
                <a:gd name="T0" fmla="*/ 17 w 17"/>
                <a:gd name="T1" fmla="*/ 8 h 17"/>
                <a:gd name="T2" fmla="*/ 8 w 17"/>
                <a:gd name="T3" fmla="*/ 0 h 17"/>
                <a:gd name="T4" fmla="*/ 0 w 17"/>
                <a:gd name="T5" fmla="*/ 8 h 17"/>
                <a:gd name="T6" fmla="*/ 2 w 17"/>
                <a:gd name="T7" fmla="*/ 17 h 17"/>
                <a:gd name="T8" fmla="*/ 17 w 17"/>
                <a:gd name="T9" fmla="*/ 8 h 17"/>
                <a:gd name="T10" fmla="*/ 17 w 17"/>
                <a:gd name="T11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" h="17">
                  <a:moveTo>
                    <a:pt x="17" y="8"/>
                  </a:moveTo>
                  <a:lnTo>
                    <a:pt x="8" y="0"/>
                  </a:lnTo>
                  <a:lnTo>
                    <a:pt x="0" y="8"/>
                  </a:lnTo>
                  <a:lnTo>
                    <a:pt x="2" y="17"/>
                  </a:lnTo>
                  <a:lnTo>
                    <a:pt x="17" y="8"/>
                  </a:lnTo>
                  <a:lnTo>
                    <a:pt x="17" y="8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753" name="Freeform 98"/>
            <p:cNvSpPr>
              <a:spLocks/>
            </p:cNvSpPr>
            <p:nvPr userDrawn="1"/>
          </p:nvSpPr>
          <p:spPr bwMode="auto">
            <a:xfrm>
              <a:off x="3733" y="1384"/>
              <a:ext cx="16" cy="21"/>
            </a:xfrm>
            <a:custGeom>
              <a:avLst/>
              <a:gdLst>
                <a:gd name="T0" fmla="*/ 9 w 16"/>
                <a:gd name="T1" fmla="*/ 21 h 21"/>
                <a:gd name="T2" fmla="*/ 16 w 16"/>
                <a:gd name="T3" fmla="*/ 9 h 21"/>
                <a:gd name="T4" fmla="*/ 9 w 16"/>
                <a:gd name="T5" fmla="*/ 0 h 21"/>
                <a:gd name="T6" fmla="*/ 6 w 16"/>
                <a:gd name="T7" fmla="*/ 6 h 21"/>
                <a:gd name="T8" fmla="*/ 0 w 16"/>
                <a:gd name="T9" fmla="*/ 8 h 21"/>
                <a:gd name="T10" fmla="*/ 1 w 16"/>
                <a:gd name="T11" fmla="*/ 17 h 21"/>
                <a:gd name="T12" fmla="*/ 9 w 16"/>
                <a:gd name="T13" fmla="*/ 21 h 21"/>
                <a:gd name="T14" fmla="*/ 9 w 16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" h="21">
                  <a:moveTo>
                    <a:pt x="9" y="21"/>
                  </a:moveTo>
                  <a:lnTo>
                    <a:pt x="16" y="9"/>
                  </a:lnTo>
                  <a:lnTo>
                    <a:pt x="9" y="0"/>
                  </a:lnTo>
                  <a:lnTo>
                    <a:pt x="6" y="6"/>
                  </a:lnTo>
                  <a:lnTo>
                    <a:pt x="0" y="8"/>
                  </a:lnTo>
                  <a:lnTo>
                    <a:pt x="1" y="17"/>
                  </a:lnTo>
                  <a:lnTo>
                    <a:pt x="9" y="21"/>
                  </a:lnTo>
                  <a:lnTo>
                    <a:pt x="9" y="21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754" name="Freeform 99"/>
            <p:cNvSpPr>
              <a:spLocks/>
            </p:cNvSpPr>
            <p:nvPr userDrawn="1"/>
          </p:nvSpPr>
          <p:spPr bwMode="auto">
            <a:xfrm>
              <a:off x="3751" y="1432"/>
              <a:ext cx="38" cy="23"/>
            </a:xfrm>
            <a:custGeom>
              <a:avLst/>
              <a:gdLst>
                <a:gd name="T0" fmla="*/ 3 w 38"/>
                <a:gd name="T1" fmla="*/ 12 h 23"/>
                <a:gd name="T2" fmla="*/ 18 w 38"/>
                <a:gd name="T3" fmla="*/ 23 h 23"/>
                <a:gd name="T4" fmla="*/ 38 w 38"/>
                <a:gd name="T5" fmla="*/ 15 h 23"/>
                <a:gd name="T6" fmla="*/ 32 w 38"/>
                <a:gd name="T7" fmla="*/ 11 h 23"/>
                <a:gd name="T8" fmla="*/ 21 w 38"/>
                <a:gd name="T9" fmla="*/ 9 h 23"/>
                <a:gd name="T10" fmla="*/ 14 w 38"/>
                <a:gd name="T11" fmla="*/ 0 h 23"/>
                <a:gd name="T12" fmla="*/ 10 w 38"/>
                <a:gd name="T13" fmla="*/ 5 h 23"/>
                <a:gd name="T14" fmla="*/ 0 w 38"/>
                <a:gd name="T15" fmla="*/ 0 h 23"/>
                <a:gd name="T16" fmla="*/ 3 w 38"/>
                <a:gd name="T17" fmla="*/ 12 h 23"/>
                <a:gd name="T18" fmla="*/ 3 w 38"/>
                <a:gd name="T19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" h="23">
                  <a:moveTo>
                    <a:pt x="3" y="12"/>
                  </a:moveTo>
                  <a:lnTo>
                    <a:pt x="18" y="23"/>
                  </a:lnTo>
                  <a:lnTo>
                    <a:pt x="38" y="15"/>
                  </a:lnTo>
                  <a:lnTo>
                    <a:pt x="32" y="11"/>
                  </a:lnTo>
                  <a:lnTo>
                    <a:pt x="21" y="9"/>
                  </a:lnTo>
                  <a:lnTo>
                    <a:pt x="14" y="0"/>
                  </a:lnTo>
                  <a:lnTo>
                    <a:pt x="10" y="5"/>
                  </a:lnTo>
                  <a:lnTo>
                    <a:pt x="0" y="0"/>
                  </a:lnTo>
                  <a:lnTo>
                    <a:pt x="3" y="12"/>
                  </a:lnTo>
                  <a:lnTo>
                    <a:pt x="3" y="12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755" name="Freeform 100"/>
            <p:cNvSpPr>
              <a:spLocks/>
            </p:cNvSpPr>
            <p:nvPr userDrawn="1"/>
          </p:nvSpPr>
          <p:spPr bwMode="auto">
            <a:xfrm>
              <a:off x="3742" y="1441"/>
              <a:ext cx="12" cy="23"/>
            </a:xfrm>
            <a:custGeom>
              <a:avLst/>
              <a:gdLst>
                <a:gd name="T0" fmla="*/ 12 w 12"/>
                <a:gd name="T1" fmla="*/ 12 h 23"/>
                <a:gd name="T2" fmla="*/ 0 w 12"/>
                <a:gd name="T3" fmla="*/ 0 h 23"/>
                <a:gd name="T4" fmla="*/ 1 w 12"/>
                <a:gd name="T5" fmla="*/ 15 h 23"/>
                <a:gd name="T6" fmla="*/ 12 w 12"/>
                <a:gd name="T7" fmla="*/ 23 h 23"/>
                <a:gd name="T8" fmla="*/ 12 w 12"/>
                <a:gd name="T9" fmla="*/ 12 h 23"/>
                <a:gd name="T10" fmla="*/ 12 w 12"/>
                <a:gd name="T11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23">
                  <a:moveTo>
                    <a:pt x="12" y="12"/>
                  </a:moveTo>
                  <a:lnTo>
                    <a:pt x="0" y="0"/>
                  </a:lnTo>
                  <a:lnTo>
                    <a:pt x="1" y="15"/>
                  </a:lnTo>
                  <a:lnTo>
                    <a:pt x="12" y="23"/>
                  </a:lnTo>
                  <a:lnTo>
                    <a:pt x="12" y="12"/>
                  </a:lnTo>
                  <a:lnTo>
                    <a:pt x="12" y="12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756" name="Freeform 101"/>
            <p:cNvSpPr>
              <a:spLocks/>
            </p:cNvSpPr>
            <p:nvPr userDrawn="1"/>
          </p:nvSpPr>
          <p:spPr bwMode="auto">
            <a:xfrm>
              <a:off x="3755" y="1481"/>
              <a:ext cx="16" cy="21"/>
            </a:xfrm>
            <a:custGeom>
              <a:avLst/>
              <a:gdLst>
                <a:gd name="T0" fmla="*/ 6 w 16"/>
                <a:gd name="T1" fmla="*/ 0 h 21"/>
                <a:gd name="T2" fmla="*/ 0 w 16"/>
                <a:gd name="T3" fmla="*/ 6 h 21"/>
                <a:gd name="T4" fmla="*/ 2 w 16"/>
                <a:gd name="T5" fmla="*/ 15 h 21"/>
                <a:gd name="T6" fmla="*/ 16 w 16"/>
                <a:gd name="T7" fmla="*/ 21 h 21"/>
                <a:gd name="T8" fmla="*/ 11 w 16"/>
                <a:gd name="T9" fmla="*/ 10 h 21"/>
                <a:gd name="T10" fmla="*/ 6 w 16"/>
                <a:gd name="T11" fmla="*/ 0 h 21"/>
                <a:gd name="T12" fmla="*/ 6 w 16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21">
                  <a:moveTo>
                    <a:pt x="6" y="0"/>
                  </a:moveTo>
                  <a:lnTo>
                    <a:pt x="0" y="6"/>
                  </a:lnTo>
                  <a:lnTo>
                    <a:pt x="2" y="15"/>
                  </a:lnTo>
                  <a:lnTo>
                    <a:pt x="16" y="21"/>
                  </a:lnTo>
                  <a:lnTo>
                    <a:pt x="11" y="1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757" name="Freeform 102"/>
            <p:cNvSpPr>
              <a:spLocks/>
            </p:cNvSpPr>
            <p:nvPr userDrawn="1"/>
          </p:nvSpPr>
          <p:spPr bwMode="auto">
            <a:xfrm>
              <a:off x="3786" y="1517"/>
              <a:ext cx="22" cy="28"/>
            </a:xfrm>
            <a:custGeom>
              <a:avLst/>
              <a:gdLst>
                <a:gd name="T0" fmla="*/ 22 w 22"/>
                <a:gd name="T1" fmla="*/ 13 h 28"/>
                <a:gd name="T2" fmla="*/ 22 w 22"/>
                <a:gd name="T3" fmla="*/ 0 h 28"/>
                <a:gd name="T4" fmla="*/ 18 w 22"/>
                <a:gd name="T5" fmla="*/ 0 h 28"/>
                <a:gd name="T6" fmla="*/ 3 w 22"/>
                <a:gd name="T7" fmla="*/ 7 h 28"/>
                <a:gd name="T8" fmla="*/ 0 w 22"/>
                <a:gd name="T9" fmla="*/ 18 h 28"/>
                <a:gd name="T10" fmla="*/ 4 w 22"/>
                <a:gd name="T11" fmla="*/ 28 h 28"/>
                <a:gd name="T12" fmla="*/ 22 w 22"/>
                <a:gd name="T13" fmla="*/ 13 h 28"/>
                <a:gd name="T14" fmla="*/ 22 w 22"/>
                <a:gd name="T15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8">
                  <a:moveTo>
                    <a:pt x="22" y="13"/>
                  </a:moveTo>
                  <a:lnTo>
                    <a:pt x="22" y="0"/>
                  </a:lnTo>
                  <a:lnTo>
                    <a:pt x="18" y="0"/>
                  </a:lnTo>
                  <a:lnTo>
                    <a:pt x="3" y="7"/>
                  </a:lnTo>
                  <a:lnTo>
                    <a:pt x="0" y="18"/>
                  </a:lnTo>
                  <a:lnTo>
                    <a:pt x="4" y="28"/>
                  </a:lnTo>
                  <a:lnTo>
                    <a:pt x="22" y="13"/>
                  </a:lnTo>
                  <a:lnTo>
                    <a:pt x="22" y="13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758" name="Freeform 103"/>
            <p:cNvSpPr>
              <a:spLocks/>
            </p:cNvSpPr>
            <p:nvPr userDrawn="1"/>
          </p:nvSpPr>
          <p:spPr bwMode="auto">
            <a:xfrm>
              <a:off x="3777" y="1539"/>
              <a:ext cx="12" cy="23"/>
            </a:xfrm>
            <a:custGeom>
              <a:avLst/>
              <a:gdLst>
                <a:gd name="T0" fmla="*/ 0 w 12"/>
                <a:gd name="T1" fmla="*/ 8 h 23"/>
                <a:gd name="T2" fmla="*/ 9 w 12"/>
                <a:gd name="T3" fmla="*/ 23 h 23"/>
                <a:gd name="T4" fmla="*/ 12 w 12"/>
                <a:gd name="T5" fmla="*/ 12 h 23"/>
                <a:gd name="T6" fmla="*/ 6 w 12"/>
                <a:gd name="T7" fmla="*/ 0 h 23"/>
                <a:gd name="T8" fmla="*/ 3 w 12"/>
                <a:gd name="T9" fmla="*/ 0 h 23"/>
                <a:gd name="T10" fmla="*/ 0 w 12"/>
                <a:gd name="T11" fmla="*/ 8 h 23"/>
                <a:gd name="T12" fmla="*/ 0 w 12"/>
                <a:gd name="T13" fmla="*/ 8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23">
                  <a:moveTo>
                    <a:pt x="0" y="8"/>
                  </a:moveTo>
                  <a:lnTo>
                    <a:pt x="9" y="23"/>
                  </a:lnTo>
                  <a:lnTo>
                    <a:pt x="12" y="12"/>
                  </a:lnTo>
                  <a:lnTo>
                    <a:pt x="6" y="0"/>
                  </a:lnTo>
                  <a:lnTo>
                    <a:pt x="3" y="0"/>
                  </a:lnTo>
                  <a:lnTo>
                    <a:pt x="0" y="8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759" name="Freeform 104"/>
            <p:cNvSpPr>
              <a:spLocks/>
            </p:cNvSpPr>
            <p:nvPr userDrawn="1"/>
          </p:nvSpPr>
          <p:spPr bwMode="auto">
            <a:xfrm>
              <a:off x="3766" y="1518"/>
              <a:ext cx="14" cy="18"/>
            </a:xfrm>
            <a:custGeom>
              <a:avLst/>
              <a:gdLst>
                <a:gd name="T0" fmla="*/ 0 w 14"/>
                <a:gd name="T1" fmla="*/ 8 h 18"/>
                <a:gd name="T2" fmla="*/ 5 w 14"/>
                <a:gd name="T3" fmla="*/ 18 h 18"/>
                <a:gd name="T4" fmla="*/ 9 w 14"/>
                <a:gd name="T5" fmla="*/ 15 h 18"/>
                <a:gd name="T6" fmla="*/ 14 w 14"/>
                <a:gd name="T7" fmla="*/ 8 h 18"/>
                <a:gd name="T8" fmla="*/ 6 w 14"/>
                <a:gd name="T9" fmla="*/ 0 h 18"/>
                <a:gd name="T10" fmla="*/ 2 w 14"/>
                <a:gd name="T11" fmla="*/ 0 h 18"/>
                <a:gd name="T12" fmla="*/ 0 w 14"/>
                <a:gd name="T13" fmla="*/ 8 h 18"/>
                <a:gd name="T14" fmla="*/ 0 w 14"/>
                <a:gd name="T15" fmla="*/ 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18">
                  <a:moveTo>
                    <a:pt x="0" y="8"/>
                  </a:moveTo>
                  <a:lnTo>
                    <a:pt x="5" y="18"/>
                  </a:lnTo>
                  <a:lnTo>
                    <a:pt x="9" y="15"/>
                  </a:lnTo>
                  <a:lnTo>
                    <a:pt x="14" y="8"/>
                  </a:lnTo>
                  <a:lnTo>
                    <a:pt x="6" y="0"/>
                  </a:lnTo>
                  <a:lnTo>
                    <a:pt x="2" y="0"/>
                  </a:lnTo>
                  <a:lnTo>
                    <a:pt x="0" y="8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760" name="Freeform 105"/>
            <p:cNvSpPr>
              <a:spLocks/>
            </p:cNvSpPr>
            <p:nvPr userDrawn="1"/>
          </p:nvSpPr>
          <p:spPr bwMode="auto">
            <a:xfrm>
              <a:off x="3778" y="1579"/>
              <a:ext cx="18" cy="37"/>
            </a:xfrm>
            <a:custGeom>
              <a:avLst/>
              <a:gdLst>
                <a:gd name="T0" fmla="*/ 15 w 18"/>
                <a:gd name="T1" fmla="*/ 15 h 37"/>
                <a:gd name="T2" fmla="*/ 8 w 18"/>
                <a:gd name="T3" fmla="*/ 10 h 37"/>
                <a:gd name="T4" fmla="*/ 12 w 18"/>
                <a:gd name="T5" fmla="*/ 0 h 37"/>
                <a:gd name="T6" fmla="*/ 5 w 18"/>
                <a:gd name="T7" fmla="*/ 0 h 37"/>
                <a:gd name="T8" fmla="*/ 0 w 18"/>
                <a:gd name="T9" fmla="*/ 9 h 37"/>
                <a:gd name="T10" fmla="*/ 2 w 18"/>
                <a:gd name="T11" fmla="*/ 24 h 37"/>
                <a:gd name="T12" fmla="*/ 12 w 18"/>
                <a:gd name="T13" fmla="*/ 36 h 37"/>
                <a:gd name="T14" fmla="*/ 17 w 18"/>
                <a:gd name="T15" fmla="*/ 37 h 37"/>
                <a:gd name="T16" fmla="*/ 12 w 18"/>
                <a:gd name="T17" fmla="*/ 25 h 37"/>
                <a:gd name="T18" fmla="*/ 18 w 18"/>
                <a:gd name="T19" fmla="*/ 19 h 37"/>
                <a:gd name="T20" fmla="*/ 15 w 18"/>
                <a:gd name="T21" fmla="*/ 15 h 37"/>
                <a:gd name="T22" fmla="*/ 15 w 18"/>
                <a:gd name="T23" fmla="*/ 15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" h="37">
                  <a:moveTo>
                    <a:pt x="15" y="15"/>
                  </a:moveTo>
                  <a:lnTo>
                    <a:pt x="8" y="10"/>
                  </a:lnTo>
                  <a:lnTo>
                    <a:pt x="12" y="0"/>
                  </a:lnTo>
                  <a:lnTo>
                    <a:pt x="5" y="0"/>
                  </a:lnTo>
                  <a:lnTo>
                    <a:pt x="0" y="9"/>
                  </a:lnTo>
                  <a:lnTo>
                    <a:pt x="2" y="24"/>
                  </a:lnTo>
                  <a:lnTo>
                    <a:pt x="12" y="36"/>
                  </a:lnTo>
                  <a:lnTo>
                    <a:pt x="17" y="37"/>
                  </a:lnTo>
                  <a:lnTo>
                    <a:pt x="12" y="25"/>
                  </a:lnTo>
                  <a:lnTo>
                    <a:pt x="18" y="19"/>
                  </a:lnTo>
                  <a:lnTo>
                    <a:pt x="15" y="15"/>
                  </a:lnTo>
                  <a:lnTo>
                    <a:pt x="15" y="15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761" name="Freeform 106"/>
            <p:cNvSpPr>
              <a:spLocks/>
            </p:cNvSpPr>
            <p:nvPr userDrawn="1"/>
          </p:nvSpPr>
          <p:spPr bwMode="auto">
            <a:xfrm>
              <a:off x="3774" y="1609"/>
              <a:ext cx="7" cy="21"/>
            </a:xfrm>
            <a:custGeom>
              <a:avLst/>
              <a:gdLst>
                <a:gd name="T0" fmla="*/ 6 w 7"/>
                <a:gd name="T1" fmla="*/ 0 h 21"/>
                <a:gd name="T2" fmla="*/ 3 w 7"/>
                <a:gd name="T3" fmla="*/ 4 h 21"/>
                <a:gd name="T4" fmla="*/ 0 w 7"/>
                <a:gd name="T5" fmla="*/ 18 h 21"/>
                <a:gd name="T6" fmla="*/ 4 w 7"/>
                <a:gd name="T7" fmla="*/ 21 h 21"/>
                <a:gd name="T8" fmla="*/ 7 w 7"/>
                <a:gd name="T9" fmla="*/ 9 h 21"/>
                <a:gd name="T10" fmla="*/ 6 w 7"/>
                <a:gd name="T11" fmla="*/ 0 h 21"/>
                <a:gd name="T12" fmla="*/ 6 w 7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21">
                  <a:moveTo>
                    <a:pt x="6" y="0"/>
                  </a:moveTo>
                  <a:lnTo>
                    <a:pt x="3" y="4"/>
                  </a:lnTo>
                  <a:lnTo>
                    <a:pt x="0" y="18"/>
                  </a:lnTo>
                  <a:lnTo>
                    <a:pt x="4" y="21"/>
                  </a:lnTo>
                  <a:lnTo>
                    <a:pt x="7" y="9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762" name="Freeform 107"/>
            <p:cNvSpPr>
              <a:spLocks/>
            </p:cNvSpPr>
            <p:nvPr userDrawn="1"/>
          </p:nvSpPr>
          <p:spPr bwMode="auto">
            <a:xfrm>
              <a:off x="4169" y="1767"/>
              <a:ext cx="12" cy="21"/>
            </a:xfrm>
            <a:custGeom>
              <a:avLst/>
              <a:gdLst>
                <a:gd name="T0" fmla="*/ 12 w 12"/>
                <a:gd name="T1" fmla="*/ 12 h 21"/>
                <a:gd name="T2" fmla="*/ 12 w 12"/>
                <a:gd name="T3" fmla="*/ 0 h 21"/>
                <a:gd name="T4" fmla="*/ 1 w 12"/>
                <a:gd name="T5" fmla="*/ 0 h 21"/>
                <a:gd name="T6" fmla="*/ 0 w 12"/>
                <a:gd name="T7" fmla="*/ 8 h 21"/>
                <a:gd name="T8" fmla="*/ 7 w 12"/>
                <a:gd name="T9" fmla="*/ 21 h 21"/>
                <a:gd name="T10" fmla="*/ 12 w 12"/>
                <a:gd name="T11" fmla="*/ 12 h 21"/>
                <a:gd name="T12" fmla="*/ 12 w 12"/>
                <a:gd name="T13" fmla="*/ 12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21">
                  <a:moveTo>
                    <a:pt x="12" y="12"/>
                  </a:moveTo>
                  <a:lnTo>
                    <a:pt x="12" y="0"/>
                  </a:lnTo>
                  <a:lnTo>
                    <a:pt x="1" y="0"/>
                  </a:lnTo>
                  <a:lnTo>
                    <a:pt x="0" y="8"/>
                  </a:lnTo>
                  <a:lnTo>
                    <a:pt x="7" y="21"/>
                  </a:lnTo>
                  <a:lnTo>
                    <a:pt x="12" y="12"/>
                  </a:lnTo>
                  <a:lnTo>
                    <a:pt x="12" y="12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763" name="Freeform 108"/>
            <p:cNvSpPr>
              <a:spLocks/>
            </p:cNvSpPr>
            <p:nvPr userDrawn="1"/>
          </p:nvSpPr>
          <p:spPr bwMode="auto">
            <a:xfrm>
              <a:off x="4372" y="2081"/>
              <a:ext cx="31" cy="33"/>
            </a:xfrm>
            <a:custGeom>
              <a:avLst/>
              <a:gdLst>
                <a:gd name="T0" fmla="*/ 31 w 31"/>
                <a:gd name="T1" fmla="*/ 20 h 33"/>
                <a:gd name="T2" fmla="*/ 29 w 31"/>
                <a:gd name="T3" fmla="*/ 17 h 33"/>
                <a:gd name="T4" fmla="*/ 8 w 31"/>
                <a:gd name="T5" fmla="*/ 0 h 33"/>
                <a:gd name="T6" fmla="*/ 2 w 31"/>
                <a:gd name="T7" fmla="*/ 6 h 33"/>
                <a:gd name="T8" fmla="*/ 0 w 31"/>
                <a:gd name="T9" fmla="*/ 20 h 33"/>
                <a:gd name="T10" fmla="*/ 28 w 31"/>
                <a:gd name="T11" fmla="*/ 33 h 33"/>
                <a:gd name="T12" fmla="*/ 31 w 31"/>
                <a:gd name="T13" fmla="*/ 20 h 33"/>
                <a:gd name="T14" fmla="*/ 31 w 31"/>
                <a:gd name="T15" fmla="*/ 2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1" h="33">
                  <a:moveTo>
                    <a:pt x="31" y="20"/>
                  </a:moveTo>
                  <a:lnTo>
                    <a:pt x="29" y="17"/>
                  </a:lnTo>
                  <a:lnTo>
                    <a:pt x="8" y="0"/>
                  </a:lnTo>
                  <a:lnTo>
                    <a:pt x="2" y="6"/>
                  </a:lnTo>
                  <a:lnTo>
                    <a:pt x="0" y="20"/>
                  </a:lnTo>
                  <a:lnTo>
                    <a:pt x="28" y="33"/>
                  </a:lnTo>
                  <a:lnTo>
                    <a:pt x="31" y="20"/>
                  </a:lnTo>
                  <a:lnTo>
                    <a:pt x="31" y="20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764" name="Freeform 109"/>
            <p:cNvSpPr>
              <a:spLocks/>
            </p:cNvSpPr>
            <p:nvPr userDrawn="1"/>
          </p:nvSpPr>
          <p:spPr bwMode="auto">
            <a:xfrm>
              <a:off x="4479" y="1847"/>
              <a:ext cx="43" cy="125"/>
            </a:xfrm>
            <a:custGeom>
              <a:avLst/>
              <a:gdLst>
                <a:gd name="T0" fmla="*/ 9 w 43"/>
                <a:gd name="T1" fmla="*/ 122 h 125"/>
                <a:gd name="T2" fmla="*/ 19 w 43"/>
                <a:gd name="T3" fmla="*/ 103 h 125"/>
                <a:gd name="T4" fmla="*/ 23 w 43"/>
                <a:gd name="T5" fmla="*/ 83 h 125"/>
                <a:gd name="T6" fmla="*/ 26 w 43"/>
                <a:gd name="T7" fmla="*/ 62 h 125"/>
                <a:gd name="T8" fmla="*/ 37 w 43"/>
                <a:gd name="T9" fmla="*/ 53 h 125"/>
                <a:gd name="T10" fmla="*/ 37 w 43"/>
                <a:gd name="T11" fmla="*/ 36 h 125"/>
                <a:gd name="T12" fmla="*/ 38 w 43"/>
                <a:gd name="T13" fmla="*/ 11 h 125"/>
                <a:gd name="T14" fmla="*/ 43 w 43"/>
                <a:gd name="T15" fmla="*/ 2 h 125"/>
                <a:gd name="T16" fmla="*/ 40 w 43"/>
                <a:gd name="T17" fmla="*/ 0 h 125"/>
                <a:gd name="T18" fmla="*/ 31 w 43"/>
                <a:gd name="T19" fmla="*/ 14 h 125"/>
                <a:gd name="T20" fmla="*/ 32 w 43"/>
                <a:gd name="T21" fmla="*/ 24 h 125"/>
                <a:gd name="T22" fmla="*/ 28 w 43"/>
                <a:gd name="T23" fmla="*/ 35 h 125"/>
                <a:gd name="T24" fmla="*/ 20 w 43"/>
                <a:gd name="T25" fmla="*/ 48 h 125"/>
                <a:gd name="T26" fmla="*/ 9 w 43"/>
                <a:gd name="T27" fmla="*/ 65 h 125"/>
                <a:gd name="T28" fmla="*/ 0 w 43"/>
                <a:gd name="T29" fmla="*/ 115 h 125"/>
                <a:gd name="T30" fmla="*/ 2 w 43"/>
                <a:gd name="T31" fmla="*/ 125 h 125"/>
                <a:gd name="T32" fmla="*/ 9 w 43"/>
                <a:gd name="T33" fmla="*/ 122 h 125"/>
                <a:gd name="T34" fmla="*/ 9 w 43"/>
                <a:gd name="T35" fmla="*/ 122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3" h="125">
                  <a:moveTo>
                    <a:pt x="9" y="122"/>
                  </a:moveTo>
                  <a:lnTo>
                    <a:pt x="19" y="103"/>
                  </a:lnTo>
                  <a:lnTo>
                    <a:pt x="23" y="83"/>
                  </a:lnTo>
                  <a:lnTo>
                    <a:pt x="26" y="62"/>
                  </a:lnTo>
                  <a:lnTo>
                    <a:pt x="37" y="53"/>
                  </a:lnTo>
                  <a:lnTo>
                    <a:pt x="37" y="36"/>
                  </a:lnTo>
                  <a:lnTo>
                    <a:pt x="38" y="11"/>
                  </a:lnTo>
                  <a:lnTo>
                    <a:pt x="43" y="2"/>
                  </a:lnTo>
                  <a:lnTo>
                    <a:pt x="40" y="0"/>
                  </a:lnTo>
                  <a:lnTo>
                    <a:pt x="31" y="14"/>
                  </a:lnTo>
                  <a:lnTo>
                    <a:pt x="32" y="24"/>
                  </a:lnTo>
                  <a:lnTo>
                    <a:pt x="28" y="35"/>
                  </a:lnTo>
                  <a:lnTo>
                    <a:pt x="20" y="48"/>
                  </a:lnTo>
                  <a:lnTo>
                    <a:pt x="9" y="65"/>
                  </a:lnTo>
                  <a:lnTo>
                    <a:pt x="0" y="115"/>
                  </a:lnTo>
                  <a:lnTo>
                    <a:pt x="2" y="125"/>
                  </a:lnTo>
                  <a:lnTo>
                    <a:pt x="9" y="122"/>
                  </a:lnTo>
                  <a:lnTo>
                    <a:pt x="9" y="122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765" name="Freeform 110"/>
            <p:cNvSpPr>
              <a:spLocks/>
            </p:cNvSpPr>
            <p:nvPr userDrawn="1"/>
          </p:nvSpPr>
          <p:spPr bwMode="auto">
            <a:xfrm>
              <a:off x="4588" y="1779"/>
              <a:ext cx="60" cy="118"/>
            </a:xfrm>
            <a:custGeom>
              <a:avLst/>
              <a:gdLst>
                <a:gd name="T0" fmla="*/ 0 w 60"/>
                <a:gd name="T1" fmla="*/ 118 h 118"/>
                <a:gd name="T2" fmla="*/ 18 w 60"/>
                <a:gd name="T3" fmla="*/ 113 h 118"/>
                <a:gd name="T4" fmla="*/ 17 w 60"/>
                <a:gd name="T5" fmla="*/ 103 h 118"/>
                <a:gd name="T6" fmla="*/ 32 w 60"/>
                <a:gd name="T7" fmla="*/ 80 h 118"/>
                <a:gd name="T8" fmla="*/ 41 w 60"/>
                <a:gd name="T9" fmla="*/ 79 h 118"/>
                <a:gd name="T10" fmla="*/ 41 w 60"/>
                <a:gd name="T11" fmla="*/ 67 h 118"/>
                <a:gd name="T12" fmla="*/ 51 w 60"/>
                <a:gd name="T13" fmla="*/ 64 h 118"/>
                <a:gd name="T14" fmla="*/ 45 w 60"/>
                <a:gd name="T15" fmla="*/ 55 h 118"/>
                <a:gd name="T16" fmla="*/ 47 w 60"/>
                <a:gd name="T17" fmla="*/ 23 h 118"/>
                <a:gd name="T18" fmla="*/ 57 w 60"/>
                <a:gd name="T19" fmla="*/ 20 h 118"/>
                <a:gd name="T20" fmla="*/ 60 w 60"/>
                <a:gd name="T21" fmla="*/ 8 h 118"/>
                <a:gd name="T22" fmla="*/ 56 w 60"/>
                <a:gd name="T23" fmla="*/ 0 h 118"/>
                <a:gd name="T24" fmla="*/ 48 w 60"/>
                <a:gd name="T25" fmla="*/ 6 h 118"/>
                <a:gd name="T26" fmla="*/ 44 w 60"/>
                <a:gd name="T27" fmla="*/ 0 h 118"/>
                <a:gd name="T28" fmla="*/ 41 w 60"/>
                <a:gd name="T29" fmla="*/ 8 h 118"/>
                <a:gd name="T30" fmla="*/ 23 w 60"/>
                <a:gd name="T31" fmla="*/ 9 h 118"/>
                <a:gd name="T32" fmla="*/ 21 w 60"/>
                <a:gd name="T33" fmla="*/ 21 h 118"/>
                <a:gd name="T34" fmla="*/ 2 w 60"/>
                <a:gd name="T35" fmla="*/ 47 h 118"/>
                <a:gd name="T36" fmla="*/ 9 w 60"/>
                <a:gd name="T37" fmla="*/ 65 h 118"/>
                <a:gd name="T38" fmla="*/ 2 w 60"/>
                <a:gd name="T39" fmla="*/ 74 h 118"/>
                <a:gd name="T40" fmla="*/ 6 w 60"/>
                <a:gd name="T41" fmla="*/ 85 h 118"/>
                <a:gd name="T42" fmla="*/ 5 w 60"/>
                <a:gd name="T43" fmla="*/ 100 h 118"/>
                <a:gd name="T44" fmla="*/ 15 w 60"/>
                <a:gd name="T45" fmla="*/ 94 h 118"/>
                <a:gd name="T46" fmla="*/ 12 w 60"/>
                <a:gd name="T47" fmla="*/ 101 h 118"/>
                <a:gd name="T48" fmla="*/ 0 w 60"/>
                <a:gd name="T49" fmla="*/ 118 h 118"/>
                <a:gd name="T50" fmla="*/ 0 w 60"/>
                <a:gd name="T51" fmla="*/ 118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0" h="118">
                  <a:moveTo>
                    <a:pt x="0" y="118"/>
                  </a:moveTo>
                  <a:lnTo>
                    <a:pt x="18" y="113"/>
                  </a:lnTo>
                  <a:lnTo>
                    <a:pt x="17" y="103"/>
                  </a:lnTo>
                  <a:lnTo>
                    <a:pt x="32" y="80"/>
                  </a:lnTo>
                  <a:lnTo>
                    <a:pt x="41" y="79"/>
                  </a:lnTo>
                  <a:lnTo>
                    <a:pt x="41" y="67"/>
                  </a:lnTo>
                  <a:lnTo>
                    <a:pt x="51" y="64"/>
                  </a:lnTo>
                  <a:lnTo>
                    <a:pt x="45" y="55"/>
                  </a:lnTo>
                  <a:lnTo>
                    <a:pt x="47" y="23"/>
                  </a:lnTo>
                  <a:lnTo>
                    <a:pt x="57" y="20"/>
                  </a:lnTo>
                  <a:lnTo>
                    <a:pt x="60" y="8"/>
                  </a:lnTo>
                  <a:lnTo>
                    <a:pt x="56" y="0"/>
                  </a:lnTo>
                  <a:lnTo>
                    <a:pt x="48" y="6"/>
                  </a:lnTo>
                  <a:lnTo>
                    <a:pt x="44" y="0"/>
                  </a:lnTo>
                  <a:lnTo>
                    <a:pt x="41" y="8"/>
                  </a:lnTo>
                  <a:lnTo>
                    <a:pt x="23" y="9"/>
                  </a:lnTo>
                  <a:lnTo>
                    <a:pt x="21" y="21"/>
                  </a:lnTo>
                  <a:lnTo>
                    <a:pt x="2" y="47"/>
                  </a:lnTo>
                  <a:lnTo>
                    <a:pt x="9" y="65"/>
                  </a:lnTo>
                  <a:lnTo>
                    <a:pt x="2" y="74"/>
                  </a:lnTo>
                  <a:lnTo>
                    <a:pt x="6" y="85"/>
                  </a:lnTo>
                  <a:lnTo>
                    <a:pt x="5" y="100"/>
                  </a:lnTo>
                  <a:lnTo>
                    <a:pt x="15" y="94"/>
                  </a:lnTo>
                  <a:lnTo>
                    <a:pt x="12" y="101"/>
                  </a:lnTo>
                  <a:lnTo>
                    <a:pt x="0" y="118"/>
                  </a:lnTo>
                  <a:lnTo>
                    <a:pt x="0" y="118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766" name="Freeform 111"/>
            <p:cNvSpPr>
              <a:spLocks/>
            </p:cNvSpPr>
            <p:nvPr userDrawn="1"/>
          </p:nvSpPr>
          <p:spPr bwMode="auto">
            <a:xfrm>
              <a:off x="4648" y="1767"/>
              <a:ext cx="15" cy="20"/>
            </a:xfrm>
            <a:custGeom>
              <a:avLst/>
              <a:gdLst>
                <a:gd name="T0" fmla="*/ 8 w 15"/>
                <a:gd name="T1" fmla="*/ 8 h 20"/>
                <a:gd name="T2" fmla="*/ 15 w 15"/>
                <a:gd name="T3" fmla="*/ 9 h 20"/>
                <a:gd name="T4" fmla="*/ 14 w 15"/>
                <a:gd name="T5" fmla="*/ 0 h 20"/>
                <a:gd name="T6" fmla="*/ 0 w 15"/>
                <a:gd name="T7" fmla="*/ 9 h 20"/>
                <a:gd name="T8" fmla="*/ 2 w 15"/>
                <a:gd name="T9" fmla="*/ 20 h 20"/>
                <a:gd name="T10" fmla="*/ 8 w 15"/>
                <a:gd name="T11" fmla="*/ 8 h 20"/>
                <a:gd name="T12" fmla="*/ 8 w 15"/>
                <a:gd name="T13" fmla="*/ 8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20">
                  <a:moveTo>
                    <a:pt x="8" y="8"/>
                  </a:moveTo>
                  <a:lnTo>
                    <a:pt x="15" y="9"/>
                  </a:lnTo>
                  <a:lnTo>
                    <a:pt x="14" y="0"/>
                  </a:lnTo>
                  <a:lnTo>
                    <a:pt x="0" y="9"/>
                  </a:lnTo>
                  <a:lnTo>
                    <a:pt x="2" y="20"/>
                  </a:lnTo>
                  <a:lnTo>
                    <a:pt x="8" y="8"/>
                  </a:lnTo>
                  <a:lnTo>
                    <a:pt x="8" y="8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767" name="Freeform 112"/>
            <p:cNvSpPr>
              <a:spLocks/>
            </p:cNvSpPr>
            <p:nvPr userDrawn="1"/>
          </p:nvSpPr>
          <p:spPr bwMode="auto">
            <a:xfrm>
              <a:off x="4594" y="1606"/>
              <a:ext cx="21" cy="18"/>
            </a:xfrm>
            <a:custGeom>
              <a:avLst/>
              <a:gdLst>
                <a:gd name="T0" fmla="*/ 20 w 21"/>
                <a:gd name="T1" fmla="*/ 9 h 18"/>
                <a:gd name="T2" fmla="*/ 21 w 21"/>
                <a:gd name="T3" fmla="*/ 0 h 18"/>
                <a:gd name="T4" fmla="*/ 8 w 21"/>
                <a:gd name="T5" fmla="*/ 4 h 18"/>
                <a:gd name="T6" fmla="*/ 0 w 21"/>
                <a:gd name="T7" fmla="*/ 3 h 18"/>
                <a:gd name="T8" fmla="*/ 3 w 21"/>
                <a:gd name="T9" fmla="*/ 10 h 18"/>
                <a:gd name="T10" fmla="*/ 8 w 21"/>
                <a:gd name="T11" fmla="*/ 10 h 18"/>
                <a:gd name="T12" fmla="*/ 15 w 21"/>
                <a:gd name="T13" fmla="*/ 18 h 18"/>
                <a:gd name="T14" fmla="*/ 20 w 21"/>
                <a:gd name="T15" fmla="*/ 9 h 18"/>
                <a:gd name="T16" fmla="*/ 20 w 21"/>
                <a:gd name="T17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18">
                  <a:moveTo>
                    <a:pt x="20" y="9"/>
                  </a:moveTo>
                  <a:lnTo>
                    <a:pt x="21" y="0"/>
                  </a:lnTo>
                  <a:lnTo>
                    <a:pt x="8" y="4"/>
                  </a:lnTo>
                  <a:lnTo>
                    <a:pt x="0" y="3"/>
                  </a:lnTo>
                  <a:lnTo>
                    <a:pt x="3" y="10"/>
                  </a:lnTo>
                  <a:lnTo>
                    <a:pt x="8" y="10"/>
                  </a:lnTo>
                  <a:lnTo>
                    <a:pt x="15" y="18"/>
                  </a:lnTo>
                  <a:lnTo>
                    <a:pt x="20" y="9"/>
                  </a:lnTo>
                  <a:lnTo>
                    <a:pt x="20" y="9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768" name="Freeform 113"/>
            <p:cNvSpPr>
              <a:spLocks/>
            </p:cNvSpPr>
            <p:nvPr userDrawn="1"/>
          </p:nvSpPr>
          <p:spPr bwMode="auto">
            <a:xfrm>
              <a:off x="4552" y="1600"/>
              <a:ext cx="15" cy="10"/>
            </a:xfrm>
            <a:custGeom>
              <a:avLst/>
              <a:gdLst>
                <a:gd name="T0" fmla="*/ 0 w 15"/>
                <a:gd name="T1" fmla="*/ 3 h 10"/>
                <a:gd name="T2" fmla="*/ 7 w 15"/>
                <a:gd name="T3" fmla="*/ 10 h 10"/>
                <a:gd name="T4" fmla="*/ 15 w 15"/>
                <a:gd name="T5" fmla="*/ 6 h 10"/>
                <a:gd name="T6" fmla="*/ 10 w 15"/>
                <a:gd name="T7" fmla="*/ 0 h 10"/>
                <a:gd name="T8" fmla="*/ 0 w 15"/>
                <a:gd name="T9" fmla="*/ 3 h 10"/>
                <a:gd name="T10" fmla="*/ 0 w 15"/>
                <a:gd name="T11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" h="10">
                  <a:moveTo>
                    <a:pt x="0" y="3"/>
                  </a:moveTo>
                  <a:lnTo>
                    <a:pt x="7" y="10"/>
                  </a:lnTo>
                  <a:lnTo>
                    <a:pt x="15" y="6"/>
                  </a:lnTo>
                  <a:lnTo>
                    <a:pt x="10" y="0"/>
                  </a:lnTo>
                  <a:lnTo>
                    <a:pt x="0" y="3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769" name="Freeform 114"/>
            <p:cNvSpPr>
              <a:spLocks/>
            </p:cNvSpPr>
            <p:nvPr userDrawn="1"/>
          </p:nvSpPr>
          <p:spPr bwMode="auto">
            <a:xfrm>
              <a:off x="4609" y="1580"/>
              <a:ext cx="14" cy="14"/>
            </a:xfrm>
            <a:custGeom>
              <a:avLst/>
              <a:gdLst>
                <a:gd name="T0" fmla="*/ 6 w 14"/>
                <a:gd name="T1" fmla="*/ 14 h 14"/>
                <a:gd name="T2" fmla="*/ 6 w 14"/>
                <a:gd name="T3" fmla="*/ 14 h 14"/>
                <a:gd name="T4" fmla="*/ 14 w 14"/>
                <a:gd name="T5" fmla="*/ 0 h 14"/>
                <a:gd name="T6" fmla="*/ 0 w 14"/>
                <a:gd name="T7" fmla="*/ 8 h 14"/>
                <a:gd name="T8" fmla="*/ 0 w 14"/>
                <a:gd name="T9" fmla="*/ 8 h 14"/>
                <a:gd name="T10" fmla="*/ 3 w 14"/>
                <a:gd name="T11" fmla="*/ 11 h 14"/>
                <a:gd name="T12" fmla="*/ 6 w 14"/>
                <a:gd name="T13" fmla="*/ 14 h 14"/>
                <a:gd name="T14" fmla="*/ 6 w 14"/>
                <a:gd name="T15" fmla="*/ 14 h 14"/>
                <a:gd name="T16" fmla="*/ 6 w 14"/>
                <a:gd name="T17" fmla="*/ 14 h 14"/>
                <a:gd name="T18" fmla="*/ 6 w 14"/>
                <a:gd name="T19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" h="14">
                  <a:moveTo>
                    <a:pt x="6" y="14"/>
                  </a:moveTo>
                  <a:lnTo>
                    <a:pt x="6" y="14"/>
                  </a:lnTo>
                  <a:lnTo>
                    <a:pt x="14" y="0"/>
                  </a:lnTo>
                  <a:lnTo>
                    <a:pt x="0" y="8"/>
                  </a:lnTo>
                  <a:lnTo>
                    <a:pt x="0" y="8"/>
                  </a:lnTo>
                  <a:lnTo>
                    <a:pt x="3" y="11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6" y="14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770" name="Freeform 115"/>
            <p:cNvSpPr>
              <a:spLocks/>
            </p:cNvSpPr>
            <p:nvPr userDrawn="1"/>
          </p:nvSpPr>
          <p:spPr bwMode="auto">
            <a:xfrm>
              <a:off x="4603" y="1465"/>
              <a:ext cx="11" cy="16"/>
            </a:xfrm>
            <a:custGeom>
              <a:avLst/>
              <a:gdLst>
                <a:gd name="T0" fmla="*/ 2 w 11"/>
                <a:gd name="T1" fmla="*/ 11 h 16"/>
                <a:gd name="T2" fmla="*/ 9 w 11"/>
                <a:gd name="T3" fmla="*/ 16 h 16"/>
                <a:gd name="T4" fmla="*/ 11 w 11"/>
                <a:gd name="T5" fmla="*/ 13 h 16"/>
                <a:gd name="T6" fmla="*/ 0 w 11"/>
                <a:gd name="T7" fmla="*/ 0 h 16"/>
                <a:gd name="T8" fmla="*/ 2 w 11"/>
                <a:gd name="T9" fmla="*/ 11 h 16"/>
                <a:gd name="T10" fmla="*/ 2 w 11"/>
                <a:gd name="T11" fmla="*/ 11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" h="16">
                  <a:moveTo>
                    <a:pt x="2" y="11"/>
                  </a:moveTo>
                  <a:lnTo>
                    <a:pt x="9" y="16"/>
                  </a:lnTo>
                  <a:lnTo>
                    <a:pt x="11" y="13"/>
                  </a:lnTo>
                  <a:lnTo>
                    <a:pt x="0" y="0"/>
                  </a:lnTo>
                  <a:lnTo>
                    <a:pt x="2" y="11"/>
                  </a:lnTo>
                  <a:lnTo>
                    <a:pt x="2" y="11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771" name="Freeform 116"/>
            <p:cNvSpPr>
              <a:spLocks/>
            </p:cNvSpPr>
            <p:nvPr userDrawn="1"/>
          </p:nvSpPr>
          <p:spPr bwMode="auto">
            <a:xfrm>
              <a:off x="4683" y="1469"/>
              <a:ext cx="38" cy="49"/>
            </a:xfrm>
            <a:custGeom>
              <a:avLst/>
              <a:gdLst>
                <a:gd name="T0" fmla="*/ 6 w 38"/>
                <a:gd name="T1" fmla="*/ 31 h 49"/>
                <a:gd name="T2" fmla="*/ 12 w 38"/>
                <a:gd name="T3" fmla="*/ 42 h 49"/>
                <a:gd name="T4" fmla="*/ 24 w 38"/>
                <a:gd name="T5" fmla="*/ 40 h 49"/>
                <a:gd name="T6" fmla="*/ 29 w 38"/>
                <a:gd name="T7" fmla="*/ 49 h 49"/>
                <a:gd name="T8" fmla="*/ 35 w 38"/>
                <a:gd name="T9" fmla="*/ 43 h 49"/>
                <a:gd name="T10" fmla="*/ 24 w 38"/>
                <a:gd name="T11" fmla="*/ 39 h 49"/>
                <a:gd name="T12" fmla="*/ 23 w 38"/>
                <a:gd name="T13" fmla="*/ 31 h 49"/>
                <a:gd name="T14" fmla="*/ 29 w 38"/>
                <a:gd name="T15" fmla="*/ 30 h 49"/>
                <a:gd name="T16" fmla="*/ 27 w 38"/>
                <a:gd name="T17" fmla="*/ 19 h 49"/>
                <a:gd name="T18" fmla="*/ 38 w 38"/>
                <a:gd name="T19" fmla="*/ 21 h 49"/>
                <a:gd name="T20" fmla="*/ 20 w 38"/>
                <a:gd name="T21" fmla="*/ 0 h 49"/>
                <a:gd name="T22" fmla="*/ 17 w 38"/>
                <a:gd name="T23" fmla="*/ 1 h 49"/>
                <a:gd name="T24" fmla="*/ 21 w 38"/>
                <a:gd name="T25" fmla="*/ 6 h 49"/>
                <a:gd name="T26" fmla="*/ 20 w 38"/>
                <a:gd name="T27" fmla="*/ 12 h 49"/>
                <a:gd name="T28" fmla="*/ 12 w 38"/>
                <a:gd name="T29" fmla="*/ 9 h 49"/>
                <a:gd name="T30" fmla="*/ 12 w 38"/>
                <a:gd name="T31" fmla="*/ 16 h 49"/>
                <a:gd name="T32" fmla="*/ 9 w 38"/>
                <a:gd name="T33" fmla="*/ 22 h 49"/>
                <a:gd name="T34" fmla="*/ 0 w 38"/>
                <a:gd name="T35" fmla="*/ 15 h 49"/>
                <a:gd name="T36" fmla="*/ 0 w 38"/>
                <a:gd name="T37" fmla="*/ 22 h 49"/>
                <a:gd name="T38" fmla="*/ 6 w 38"/>
                <a:gd name="T39" fmla="*/ 31 h 49"/>
                <a:gd name="T40" fmla="*/ 6 w 38"/>
                <a:gd name="T41" fmla="*/ 3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8" h="49">
                  <a:moveTo>
                    <a:pt x="6" y="31"/>
                  </a:moveTo>
                  <a:lnTo>
                    <a:pt x="12" y="42"/>
                  </a:lnTo>
                  <a:lnTo>
                    <a:pt x="24" y="40"/>
                  </a:lnTo>
                  <a:lnTo>
                    <a:pt x="29" y="49"/>
                  </a:lnTo>
                  <a:lnTo>
                    <a:pt x="35" y="43"/>
                  </a:lnTo>
                  <a:lnTo>
                    <a:pt x="24" y="39"/>
                  </a:lnTo>
                  <a:lnTo>
                    <a:pt x="23" y="31"/>
                  </a:lnTo>
                  <a:lnTo>
                    <a:pt x="29" y="30"/>
                  </a:lnTo>
                  <a:lnTo>
                    <a:pt x="27" y="19"/>
                  </a:lnTo>
                  <a:lnTo>
                    <a:pt x="38" y="21"/>
                  </a:lnTo>
                  <a:lnTo>
                    <a:pt x="20" y="0"/>
                  </a:lnTo>
                  <a:lnTo>
                    <a:pt x="17" y="1"/>
                  </a:lnTo>
                  <a:lnTo>
                    <a:pt x="21" y="6"/>
                  </a:lnTo>
                  <a:lnTo>
                    <a:pt x="20" y="12"/>
                  </a:lnTo>
                  <a:lnTo>
                    <a:pt x="12" y="9"/>
                  </a:lnTo>
                  <a:lnTo>
                    <a:pt x="12" y="16"/>
                  </a:lnTo>
                  <a:lnTo>
                    <a:pt x="9" y="22"/>
                  </a:lnTo>
                  <a:lnTo>
                    <a:pt x="0" y="15"/>
                  </a:lnTo>
                  <a:lnTo>
                    <a:pt x="0" y="22"/>
                  </a:lnTo>
                  <a:lnTo>
                    <a:pt x="6" y="31"/>
                  </a:lnTo>
                  <a:lnTo>
                    <a:pt x="6" y="31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772" name="Freeform 117"/>
            <p:cNvSpPr>
              <a:spLocks/>
            </p:cNvSpPr>
            <p:nvPr userDrawn="1"/>
          </p:nvSpPr>
          <p:spPr bwMode="auto">
            <a:xfrm>
              <a:off x="4846" y="726"/>
              <a:ext cx="8" cy="20"/>
            </a:xfrm>
            <a:custGeom>
              <a:avLst/>
              <a:gdLst>
                <a:gd name="T0" fmla="*/ 8 w 8"/>
                <a:gd name="T1" fmla="*/ 15 h 20"/>
                <a:gd name="T2" fmla="*/ 8 w 8"/>
                <a:gd name="T3" fmla="*/ 0 h 20"/>
                <a:gd name="T4" fmla="*/ 4 w 8"/>
                <a:gd name="T5" fmla="*/ 5 h 20"/>
                <a:gd name="T6" fmla="*/ 0 w 8"/>
                <a:gd name="T7" fmla="*/ 12 h 20"/>
                <a:gd name="T8" fmla="*/ 3 w 8"/>
                <a:gd name="T9" fmla="*/ 20 h 20"/>
                <a:gd name="T10" fmla="*/ 8 w 8"/>
                <a:gd name="T11" fmla="*/ 15 h 20"/>
                <a:gd name="T12" fmla="*/ 8 w 8"/>
                <a:gd name="T13" fmla="*/ 15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20">
                  <a:moveTo>
                    <a:pt x="8" y="15"/>
                  </a:moveTo>
                  <a:lnTo>
                    <a:pt x="8" y="0"/>
                  </a:lnTo>
                  <a:lnTo>
                    <a:pt x="4" y="5"/>
                  </a:lnTo>
                  <a:lnTo>
                    <a:pt x="0" y="12"/>
                  </a:lnTo>
                  <a:lnTo>
                    <a:pt x="3" y="20"/>
                  </a:lnTo>
                  <a:lnTo>
                    <a:pt x="8" y="15"/>
                  </a:lnTo>
                  <a:lnTo>
                    <a:pt x="8" y="15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773" name="Freeform 118"/>
            <p:cNvSpPr>
              <a:spLocks/>
            </p:cNvSpPr>
            <p:nvPr userDrawn="1"/>
          </p:nvSpPr>
          <p:spPr bwMode="auto">
            <a:xfrm>
              <a:off x="5003" y="823"/>
              <a:ext cx="27" cy="16"/>
            </a:xfrm>
            <a:custGeom>
              <a:avLst/>
              <a:gdLst>
                <a:gd name="T0" fmla="*/ 7 w 27"/>
                <a:gd name="T1" fmla="*/ 15 h 16"/>
                <a:gd name="T2" fmla="*/ 9 w 27"/>
                <a:gd name="T3" fmla="*/ 9 h 16"/>
                <a:gd name="T4" fmla="*/ 13 w 27"/>
                <a:gd name="T5" fmla="*/ 16 h 16"/>
                <a:gd name="T6" fmla="*/ 18 w 27"/>
                <a:gd name="T7" fmla="*/ 15 h 16"/>
                <a:gd name="T8" fmla="*/ 16 w 27"/>
                <a:gd name="T9" fmla="*/ 9 h 16"/>
                <a:gd name="T10" fmla="*/ 24 w 27"/>
                <a:gd name="T11" fmla="*/ 6 h 16"/>
                <a:gd name="T12" fmla="*/ 27 w 27"/>
                <a:gd name="T13" fmla="*/ 3 h 16"/>
                <a:gd name="T14" fmla="*/ 16 w 27"/>
                <a:gd name="T15" fmla="*/ 1 h 16"/>
                <a:gd name="T16" fmla="*/ 4 w 27"/>
                <a:gd name="T17" fmla="*/ 0 h 16"/>
                <a:gd name="T18" fmla="*/ 0 w 27"/>
                <a:gd name="T19" fmla="*/ 3 h 16"/>
                <a:gd name="T20" fmla="*/ 0 w 27"/>
                <a:gd name="T21" fmla="*/ 10 h 16"/>
                <a:gd name="T22" fmla="*/ 7 w 27"/>
                <a:gd name="T23" fmla="*/ 15 h 16"/>
                <a:gd name="T24" fmla="*/ 7 w 27"/>
                <a:gd name="T25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" h="16">
                  <a:moveTo>
                    <a:pt x="7" y="15"/>
                  </a:moveTo>
                  <a:lnTo>
                    <a:pt x="9" y="9"/>
                  </a:lnTo>
                  <a:lnTo>
                    <a:pt x="13" y="16"/>
                  </a:lnTo>
                  <a:lnTo>
                    <a:pt x="18" y="15"/>
                  </a:lnTo>
                  <a:lnTo>
                    <a:pt x="16" y="9"/>
                  </a:lnTo>
                  <a:lnTo>
                    <a:pt x="24" y="6"/>
                  </a:lnTo>
                  <a:lnTo>
                    <a:pt x="27" y="3"/>
                  </a:lnTo>
                  <a:lnTo>
                    <a:pt x="16" y="1"/>
                  </a:lnTo>
                  <a:lnTo>
                    <a:pt x="4" y="0"/>
                  </a:lnTo>
                  <a:lnTo>
                    <a:pt x="0" y="3"/>
                  </a:lnTo>
                  <a:lnTo>
                    <a:pt x="0" y="10"/>
                  </a:lnTo>
                  <a:lnTo>
                    <a:pt x="7" y="15"/>
                  </a:lnTo>
                  <a:lnTo>
                    <a:pt x="7" y="15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774" name="Freeform 119"/>
            <p:cNvSpPr>
              <a:spLocks/>
            </p:cNvSpPr>
            <p:nvPr userDrawn="1"/>
          </p:nvSpPr>
          <p:spPr bwMode="auto">
            <a:xfrm>
              <a:off x="4884" y="1001"/>
              <a:ext cx="13" cy="16"/>
            </a:xfrm>
            <a:custGeom>
              <a:avLst/>
              <a:gdLst>
                <a:gd name="T0" fmla="*/ 13 w 13"/>
                <a:gd name="T1" fmla="*/ 9 h 16"/>
                <a:gd name="T2" fmla="*/ 7 w 13"/>
                <a:gd name="T3" fmla="*/ 0 h 16"/>
                <a:gd name="T4" fmla="*/ 0 w 13"/>
                <a:gd name="T5" fmla="*/ 10 h 16"/>
                <a:gd name="T6" fmla="*/ 9 w 13"/>
                <a:gd name="T7" fmla="*/ 16 h 16"/>
                <a:gd name="T8" fmla="*/ 13 w 13"/>
                <a:gd name="T9" fmla="*/ 9 h 16"/>
                <a:gd name="T10" fmla="*/ 13 w 13"/>
                <a:gd name="T11" fmla="*/ 9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16">
                  <a:moveTo>
                    <a:pt x="13" y="9"/>
                  </a:moveTo>
                  <a:lnTo>
                    <a:pt x="7" y="0"/>
                  </a:lnTo>
                  <a:lnTo>
                    <a:pt x="0" y="10"/>
                  </a:lnTo>
                  <a:lnTo>
                    <a:pt x="9" y="16"/>
                  </a:lnTo>
                  <a:lnTo>
                    <a:pt x="13" y="9"/>
                  </a:lnTo>
                  <a:lnTo>
                    <a:pt x="13" y="9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775" name="Freeform 120"/>
            <p:cNvSpPr>
              <a:spLocks/>
            </p:cNvSpPr>
            <p:nvPr userDrawn="1"/>
          </p:nvSpPr>
          <p:spPr bwMode="auto">
            <a:xfrm>
              <a:off x="4778" y="1088"/>
              <a:ext cx="23" cy="15"/>
            </a:xfrm>
            <a:custGeom>
              <a:avLst/>
              <a:gdLst>
                <a:gd name="T0" fmla="*/ 17 w 23"/>
                <a:gd name="T1" fmla="*/ 12 h 15"/>
                <a:gd name="T2" fmla="*/ 14 w 23"/>
                <a:gd name="T3" fmla="*/ 6 h 15"/>
                <a:gd name="T4" fmla="*/ 23 w 23"/>
                <a:gd name="T5" fmla="*/ 8 h 15"/>
                <a:gd name="T6" fmla="*/ 18 w 23"/>
                <a:gd name="T7" fmla="*/ 0 h 15"/>
                <a:gd name="T8" fmla="*/ 3 w 23"/>
                <a:gd name="T9" fmla="*/ 0 h 15"/>
                <a:gd name="T10" fmla="*/ 0 w 23"/>
                <a:gd name="T11" fmla="*/ 5 h 15"/>
                <a:gd name="T12" fmla="*/ 6 w 23"/>
                <a:gd name="T13" fmla="*/ 15 h 15"/>
                <a:gd name="T14" fmla="*/ 17 w 23"/>
                <a:gd name="T15" fmla="*/ 12 h 15"/>
                <a:gd name="T16" fmla="*/ 17 w 23"/>
                <a:gd name="T17" fmla="*/ 1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" h="15">
                  <a:moveTo>
                    <a:pt x="17" y="12"/>
                  </a:moveTo>
                  <a:lnTo>
                    <a:pt x="14" y="6"/>
                  </a:lnTo>
                  <a:lnTo>
                    <a:pt x="23" y="8"/>
                  </a:lnTo>
                  <a:lnTo>
                    <a:pt x="18" y="0"/>
                  </a:lnTo>
                  <a:lnTo>
                    <a:pt x="3" y="0"/>
                  </a:lnTo>
                  <a:lnTo>
                    <a:pt x="0" y="5"/>
                  </a:lnTo>
                  <a:lnTo>
                    <a:pt x="6" y="15"/>
                  </a:lnTo>
                  <a:lnTo>
                    <a:pt x="17" y="12"/>
                  </a:lnTo>
                  <a:lnTo>
                    <a:pt x="17" y="12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776" name="Freeform 121"/>
            <p:cNvSpPr>
              <a:spLocks/>
            </p:cNvSpPr>
            <p:nvPr userDrawn="1"/>
          </p:nvSpPr>
          <p:spPr bwMode="auto">
            <a:xfrm>
              <a:off x="4786" y="1506"/>
              <a:ext cx="10" cy="12"/>
            </a:xfrm>
            <a:custGeom>
              <a:avLst/>
              <a:gdLst>
                <a:gd name="T0" fmla="*/ 10 w 10"/>
                <a:gd name="T1" fmla="*/ 9 h 12"/>
                <a:gd name="T2" fmla="*/ 3 w 10"/>
                <a:gd name="T3" fmla="*/ 0 h 12"/>
                <a:gd name="T4" fmla="*/ 0 w 10"/>
                <a:gd name="T5" fmla="*/ 9 h 12"/>
                <a:gd name="T6" fmla="*/ 7 w 10"/>
                <a:gd name="T7" fmla="*/ 12 h 12"/>
                <a:gd name="T8" fmla="*/ 10 w 10"/>
                <a:gd name="T9" fmla="*/ 9 h 12"/>
                <a:gd name="T10" fmla="*/ 10 w 10"/>
                <a:gd name="T11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" h="12">
                  <a:moveTo>
                    <a:pt x="10" y="9"/>
                  </a:moveTo>
                  <a:lnTo>
                    <a:pt x="3" y="0"/>
                  </a:lnTo>
                  <a:lnTo>
                    <a:pt x="0" y="9"/>
                  </a:lnTo>
                  <a:lnTo>
                    <a:pt x="7" y="12"/>
                  </a:lnTo>
                  <a:lnTo>
                    <a:pt x="10" y="9"/>
                  </a:lnTo>
                  <a:lnTo>
                    <a:pt x="10" y="9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777" name="Freeform 122"/>
            <p:cNvSpPr>
              <a:spLocks/>
            </p:cNvSpPr>
            <p:nvPr userDrawn="1"/>
          </p:nvSpPr>
          <p:spPr bwMode="auto">
            <a:xfrm>
              <a:off x="4799" y="1500"/>
              <a:ext cx="12" cy="15"/>
            </a:xfrm>
            <a:custGeom>
              <a:avLst/>
              <a:gdLst>
                <a:gd name="T0" fmla="*/ 12 w 12"/>
                <a:gd name="T1" fmla="*/ 8 h 15"/>
                <a:gd name="T2" fmla="*/ 9 w 12"/>
                <a:gd name="T3" fmla="*/ 0 h 15"/>
                <a:gd name="T4" fmla="*/ 0 w 12"/>
                <a:gd name="T5" fmla="*/ 3 h 15"/>
                <a:gd name="T6" fmla="*/ 0 w 12"/>
                <a:gd name="T7" fmla="*/ 6 h 15"/>
                <a:gd name="T8" fmla="*/ 5 w 12"/>
                <a:gd name="T9" fmla="*/ 15 h 15"/>
                <a:gd name="T10" fmla="*/ 12 w 12"/>
                <a:gd name="T11" fmla="*/ 8 h 15"/>
                <a:gd name="T12" fmla="*/ 12 w 12"/>
                <a:gd name="T13" fmla="*/ 8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5">
                  <a:moveTo>
                    <a:pt x="12" y="8"/>
                  </a:moveTo>
                  <a:lnTo>
                    <a:pt x="9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5" y="15"/>
                  </a:lnTo>
                  <a:lnTo>
                    <a:pt x="12" y="8"/>
                  </a:lnTo>
                  <a:lnTo>
                    <a:pt x="12" y="8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778" name="Freeform 123"/>
            <p:cNvSpPr>
              <a:spLocks/>
            </p:cNvSpPr>
            <p:nvPr userDrawn="1"/>
          </p:nvSpPr>
          <p:spPr bwMode="auto">
            <a:xfrm>
              <a:off x="4816" y="1461"/>
              <a:ext cx="15" cy="20"/>
            </a:xfrm>
            <a:custGeom>
              <a:avLst/>
              <a:gdLst>
                <a:gd name="T0" fmla="*/ 4 w 15"/>
                <a:gd name="T1" fmla="*/ 20 h 20"/>
                <a:gd name="T2" fmla="*/ 15 w 15"/>
                <a:gd name="T3" fmla="*/ 15 h 20"/>
                <a:gd name="T4" fmla="*/ 12 w 15"/>
                <a:gd name="T5" fmla="*/ 3 h 20"/>
                <a:gd name="T6" fmla="*/ 3 w 15"/>
                <a:gd name="T7" fmla="*/ 0 h 20"/>
                <a:gd name="T8" fmla="*/ 0 w 15"/>
                <a:gd name="T9" fmla="*/ 3 h 20"/>
                <a:gd name="T10" fmla="*/ 0 w 15"/>
                <a:gd name="T11" fmla="*/ 15 h 20"/>
                <a:gd name="T12" fmla="*/ 4 w 15"/>
                <a:gd name="T13" fmla="*/ 20 h 20"/>
                <a:gd name="T14" fmla="*/ 4 w 15"/>
                <a:gd name="T15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20">
                  <a:moveTo>
                    <a:pt x="4" y="20"/>
                  </a:moveTo>
                  <a:lnTo>
                    <a:pt x="15" y="15"/>
                  </a:lnTo>
                  <a:lnTo>
                    <a:pt x="12" y="3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15"/>
                  </a:lnTo>
                  <a:lnTo>
                    <a:pt x="4" y="20"/>
                  </a:lnTo>
                  <a:lnTo>
                    <a:pt x="4" y="20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779" name="Freeform 124"/>
            <p:cNvSpPr>
              <a:spLocks/>
            </p:cNvSpPr>
            <p:nvPr userDrawn="1"/>
          </p:nvSpPr>
          <p:spPr bwMode="auto">
            <a:xfrm>
              <a:off x="4840" y="1478"/>
              <a:ext cx="14" cy="10"/>
            </a:xfrm>
            <a:custGeom>
              <a:avLst/>
              <a:gdLst>
                <a:gd name="T0" fmla="*/ 14 w 14"/>
                <a:gd name="T1" fmla="*/ 9 h 10"/>
                <a:gd name="T2" fmla="*/ 12 w 14"/>
                <a:gd name="T3" fmla="*/ 3 h 10"/>
                <a:gd name="T4" fmla="*/ 6 w 14"/>
                <a:gd name="T5" fmla="*/ 0 h 10"/>
                <a:gd name="T6" fmla="*/ 0 w 14"/>
                <a:gd name="T7" fmla="*/ 3 h 10"/>
                <a:gd name="T8" fmla="*/ 6 w 14"/>
                <a:gd name="T9" fmla="*/ 10 h 10"/>
                <a:gd name="T10" fmla="*/ 14 w 14"/>
                <a:gd name="T11" fmla="*/ 9 h 10"/>
                <a:gd name="T12" fmla="*/ 14 w 14"/>
                <a:gd name="T13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" h="10">
                  <a:moveTo>
                    <a:pt x="14" y="9"/>
                  </a:moveTo>
                  <a:lnTo>
                    <a:pt x="12" y="3"/>
                  </a:lnTo>
                  <a:lnTo>
                    <a:pt x="6" y="0"/>
                  </a:lnTo>
                  <a:lnTo>
                    <a:pt x="0" y="3"/>
                  </a:lnTo>
                  <a:lnTo>
                    <a:pt x="6" y="10"/>
                  </a:lnTo>
                  <a:lnTo>
                    <a:pt x="14" y="9"/>
                  </a:lnTo>
                  <a:lnTo>
                    <a:pt x="14" y="9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780" name="Freeform 125"/>
            <p:cNvSpPr>
              <a:spLocks/>
            </p:cNvSpPr>
            <p:nvPr userDrawn="1"/>
          </p:nvSpPr>
          <p:spPr bwMode="auto">
            <a:xfrm>
              <a:off x="4854" y="1488"/>
              <a:ext cx="31" cy="35"/>
            </a:xfrm>
            <a:custGeom>
              <a:avLst/>
              <a:gdLst>
                <a:gd name="T0" fmla="*/ 9 w 31"/>
                <a:gd name="T1" fmla="*/ 32 h 35"/>
                <a:gd name="T2" fmla="*/ 18 w 31"/>
                <a:gd name="T3" fmla="*/ 35 h 35"/>
                <a:gd name="T4" fmla="*/ 19 w 31"/>
                <a:gd name="T5" fmla="*/ 27 h 35"/>
                <a:gd name="T6" fmla="*/ 22 w 31"/>
                <a:gd name="T7" fmla="*/ 18 h 35"/>
                <a:gd name="T8" fmla="*/ 25 w 31"/>
                <a:gd name="T9" fmla="*/ 15 h 35"/>
                <a:gd name="T10" fmla="*/ 31 w 31"/>
                <a:gd name="T11" fmla="*/ 6 h 35"/>
                <a:gd name="T12" fmla="*/ 31 w 31"/>
                <a:gd name="T13" fmla="*/ 0 h 35"/>
                <a:gd name="T14" fmla="*/ 22 w 31"/>
                <a:gd name="T15" fmla="*/ 6 h 35"/>
                <a:gd name="T16" fmla="*/ 4 w 31"/>
                <a:gd name="T17" fmla="*/ 15 h 35"/>
                <a:gd name="T18" fmla="*/ 0 w 31"/>
                <a:gd name="T19" fmla="*/ 20 h 35"/>
                <a:gd name="T20" fmla="*/ 6 w 31"/>
                <a:gd name="T21" fmla="*/ 27 h 35"/>
                <a:gd name="T22" fmla="*/ 9 w 31"/>
                <a:gd name="T23" fmla="*/ 32 h 35"/>
                <a:gd name="T24" fmla="*/ 9 w 31"/>
                <a:gd name="T25" fmla="*/ 32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1" h="35">
                  <a:moveTo>
                    <a:pt x="9" y="32"/>
                  </a:moveTo>
                  <a:lnTo>
                    <a:pt x="18" y="35"/>
                  </a:lnTo>
                  <a:lnTo>
                    <a:pt x="19" y="27"/>
                  </a:lnTo>
                  <a:lnTo>
                    <a:pt x="22" y="18"/>
                  </a:lnTo>
                  <a:lnTo>
                    <a:pt x="25" y="15"/>
                  </a:lnTo>
                  <a:lnTo>
                    <a:pt x="31" y="6"/>
                  </a:lnTo>
                  <a:lnTo>
                    <a:pt x="31" y="0"/>
                  </a:lnTo>
                  <a:lnTo>
                    <a:pt x="22" y="6"/>
                  </a:lnTo>
                  <a:lnTo>
                    <a:pt x="4" y="15"/>
                  </a:lnTo>
                  <a:lnTo>
                    <a:pt x="0" y="20"/>
                  </a:lnTo>
                  <a:lnTo>
                    <a:pt x="6" y="27"/>
                  </a:lnTo>
                  <a:lnTo>
                    <a:pt x="9" y="32"/>
                  </a:lnTo>
                  <a:lnTo>
                    <a:pt x="9" y="32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781" name="Freeform 126"/>
            <p:cNvSpPr>
              <a:spLocks/>
            </p:cNvSpPr>
            <p:nvPr userDrawn="1"/>
          </p:nvSpPr>
          <p:spPr bwMode="auto">
            <a:xfrm>
              <a:off x="4828" y="1490"/>
              <a:ext cx="9" cy="19"/>
            </a:xfrm>
            <a:custGeom>
              <a:avLst/>
              <a:gdLst>
                <a:gd name="T0" fmla="*/ 4 w 9"/>
                <a:gd name="T1" fmla="*/ 19 h 19"/>
                <a:gd name="T2" fmla="*/ 9 w 9"/>
                <a:gd name="T3" fmla="*/ 15 h 19"/>
                <a:gd name="T4" fmla="*/ 9 w 9"/>
                <a:gd name="T5" fmla="*/ 4 h 19"/>
                <a:gd name="T6" fmla="*/ 6 w 9"/>
                <a:gd name="T7" fmla="*/ 0 h 19"/>
                <a:gd name="T8" fmla="*/ 0 w 9"/>
                <a:gd name="T9" fmla="*/ 12 h 19"/>
                <a:gd name="T10" fmla="*/ 4 w 9"/>
                <a:gd name="T11" fmla="*/ 19 h 19"/>
                <a:gd name="T12" fmla="*/ 4 w 9"/>
                <a:gd name="T13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9">
                  <a:moveTo>
                    <a:pt x="4" y="19"/>
                  </a:moveTo>
                  <a:lnTo>
                    <a:pt x="9" y="15"/>
                  </a:lnTo>
                  <a:lnTo>
                    <a:pt x="9" y="4"/>
                  </a:lnTo>
                  <a:lnTo>
                    <a:pt x="6" y="0"/>
                  </a:lnTo>
                  <a:lnTo>
                    <a:pt x="0" y="12"/>
                  </a:lnTo>
                  <a:lnTo>
                    <a:pt x="4" y="19"/>
                  </a:lnTo>
                  <a:lnTo>
                    <a:pt x="4" y="19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782" name="Freeform 127"/>
            <p:cNvSpPr>
              <a:spLocks/>
            </p:cNvSpPr>
            <p:nvPr userDrawn="1"/>
          </p:nvSpPr>
          <p:spPr bwMode="auto">
            <a:xfrm>
              <a:off x="4814" y="1499"/>
              <a:ext cx="9" cy="13"/>
            </a:xfrm>
            <a:custGeom>
              <a:avLst/>
              <a:gdLst>
                <a:gd name="T0" fmla="*/ 9 w 9"/>
                <a:gd name="T1" fmla="*/ 6 h 13"/>
                <a:gd name="T2" fmla="*/ 6 w 9"/>
                <a:gd name="T3" fmla="*/ 0 h 13"/>
                <a:gd name="T4" fmla="*/ 0 w 9"/>
                <a:gd name="T5" fmla="*/ 3 h 13"/>
                <a:gd name="T6" fmla="*/ 8 w 9"/>
                <a:gd name="T7" fmla="*/ 13 h 13"/>
                <a:gd name="T8" fmla="*/ 9 w 9"/>
                <a:gd name="T9" fmla="*/ 6 h 13"/>
                <a:gd name="T10" fmla="*/ 9 w 9"/>
                <a:gd name="T11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13">
                  <a:moveTo>
                    <a:pt x="9" y="6"/>
                  </a:moveTo>
                  <a:lnTo>
                    <a:pt x="6" y="0"/>
                  </a:lnTo>
                  <a:lnTo>
                    <a:pt x="0" y="3"/>
                  </a:lnTo>
                  <a:lnTo>
                    <a:pt x="8" y="13"/>
                  </a:lnTo>
                  <a:lnTo>
                    <a:pt x="9" y="6"/>
                  </a:lnTo>
                  <a:lnTo>
                    <a:pt x="9" y="6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783" name="Freeform 128"/>
            <p:cNvSpPr>
              <a:spLocks/>
            </p:cNvSpPr>
            <p:nvPr userDrawn="1"/>
          </p:nvSpPr>
          <p:spPr bwMode="auto">
            <a:xfrm>
              <a:off x="6137" y="554"/>
              <a:ext cx="11" cy="23"/>
            </a:xfrm>
            <a:custGeom>
              <a:avLst/>
              <a:gdLst>
                <a:gd name="T0" fmla="*/ 8 w 11"/>
                <a:gd name="T1" fmla="*/ 23 h 23"/>
                <a:gd name="T2" fmla="*/ 11 w 11"/>
                <a:gd name="T3" fmla="*/ 9 h 23"/>
                <a:gd name="T4" fmla="*/ 0 w 11"/>
                <a:gd name="T5" fmla="*/ 0 h 23"/>
                <a:gd name="T6" fmla="*/ 0 w 11"/>
                <a:gd name="T7" fmla="*/ 15 h 23"/>
                <a:gd name="T8" fmla="*/ 8 w 11"/>
                <a:gd name="T9" fmla="*/ 23 h 23"/>
                <a:gd name="T10" fmla="*/ 8 w 11"/>
                <a:gd name="T11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" h="23">
                  <a:moveTo>
                    <a:pt x="8" y="23"/>
                  </a:moveTo>
                  <a:lnTo>
                    <a:pt x="11" y="9"/>
                  </a:lnTo>
                  <a:lnTo>
                    <a:pt x="0" y="0"/>
                  </a:lnTo>
                  <a:lnTo>
                    <a:pt x="0" y="15"/>
                  </a:lnTo>
                  <a:lnTo>
                    <a:pt x="8" y="23"/>
                  </a:lnTo>
                  <a:lnTo>
                    <a:pt x="8" y="23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784" name="Freeform 129"/>
            <p:cNvSpPr>
              <a:spLocks/>
            </p:cNvSpPr>
            <p:nvPr userDrawn="1"/>
          </p:nvSpPr>
          <p:spPr bwMode="auto">
            <a:xfrm>
              <a:off x="5712" y="806"/>
              <a:ext cx="9" cy="6"/>
            </a:xfrm>
            <a:custGeom>
              <a:avLst/>
              <a:gdLst>
                <a:gd name="T0" fmla="*/ 1 w 9"/>
                <a:gd name="T1" fmla="*/ 6 h 6"/>
                <a:gd name="T2" fmla="*/ 9 w 9"/>
                <a:gd name="T3" fmla="*/ 3 h 6"/>
                <a:gd name="T4" fmla="*/ 0 w 9"/>
                <a:gd name="T5" fmla="*/ 0 h 6"/>
                <a:gd name="T6" fmla="*/ 1 w 9"/>
                <a:gd name="T7" fmla="*/ 6 h 6"/>
                <a:gd name="T8" fmla="*/ 1 w 9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6">
                  <a:moveTo>
                    <a:pt x="1" y="6"/>
                  </a:moveTo>
                  <a:lnTo>
                    <a:pt x="9" y="3"/>
                  </a:lnTo>
                  <a:lnTo>
                    <a:pt x="0" y="0"/>
                  </a:lnTo>
                  <a:lnTo>
                    <a:pt x="1" y="6"/>
                  </a:lnTo>
                  <a:lnTo>
                    <a:pt x="1" y="6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785" name="Freeform 130"/>
            <p:cNvSpPr>
              <a:spLocks/>
            </p:cNvSpPr>
            <p:nvPr userDrawn="1"/>
          </p:nvSpPr>
          <p:spPr bwMode="auto">
            <a:xfrm>
              <a:off x="4829" y="1695"/>
              <a:ext cx="88" cy="83"/>
            </a:xfrm>
            <a:custGeom>
              <a:avLst/>
              <a:gdLst>
                <a:gd name="T0" fmla="*/ 40 w 88"/>
                <a:gd name="T1" fmla="*/ 0 h 83"/>
                <a:gd name="T2" fmla="*/ 23 w 88"/>
                <a:gd name="T3" fmla="*/ 12 h 83"/>
                <a:gd name="T4" fmla="*/ 31 w 88"/>
                <a:gd name="T5" fmla="*/ 16 h 83"/>
                <a:gd name="T6" fmla="*/ 21 w 88"/>
                <a:gd name="T7" fmla="*/ 12 h 83"/>
                <a:gd name="T8" fmla="*/ 20 w 88"/>
                <a:gd name="T9" fmla="*/ 18 h 83"/>
                <a:gd name="T10" fmla="*/ 5 w 88"/>
                <a:gd name="T11" fmla="*/ 9 h 83"/>
                <a:gd name="T12" fmla="*/ 2 w 88"/>
                <a:gd name="T13" fmla="*/ 12 h 83"/>
                <a:gd name="T14" fmla="*/ 12 w 88"/>
                <a:gd name="T15" fmla="*/ 28 h 83"/>
                <a:gd name="T16" fmla="*/ 0 w 88"/>
                <a:gd name="T17" fmla="*/ 28 h 83"/>
                <a:gd name="T18" fmla="*/ 8 w 88"/>
                <a:gd name="T19" fmla="*/ 41 h 83"/>
                <a:gd name="T20" fmla="*/ 23 w 88"/>
                <a:gd name="T21" fmla="*/ 54 h 83"/>
                <a:gd name="T22" fmla="*/ 23 w 88"/>
                <a:gd name="T23" fmla="*/ 59 h 83"/>
                <a:gd name="T24" fmla="*/ 9 w 88"/>
                <a:gd name="T25" fmla="*/ 63 h 83"/>
                <a:gd name="T26" fmla="*/ 5 w 88"/>
                <a:gd name="T27" fmla="*/ 72 h 83"/>
                <a:gd name="T28" fmla="*/ 14 w 88"/>
                <a:gd name="T29" fmla="*/ 83 h 83"/>
                <a:gd name="T30" fmla="*/ 29 w 88"/>
                <a:gd name="T31" fmla="*/ 63 h 83"/>
                <a:gd name="T32" fmla="*/ 31 w 88"/>
                <a:gd name="T33" fmla="*/ 47 h 83"/>
                <a:gd name="T34" fmla="*/ 37 w 88"/>
                <a:gd name="T35" fmla="*/ 42 h 83"/>
                <a:gd name="T36" fmla="*/ 58 w 88"/>
                <a:gd name="T37" fmla="*/ 47 h 83"/>
                <a:gd name="T38" fmla="*/ 59 w 88"/>
                <a:gd name="T39" fmla="*/ 36 h 83"/>
                <a:gd name="T40" fmla="*/ 68 w 88"/>
                <a:gd name="T41" fmla="*/ 33 h 83"/>
                <a:gd name="T42" fmla="*/ 74 w 88"/>
                <a:gd name="T43" fmla="*/ 25 h 83"/>
                <a:gd name="T44" fmla="*/ 80 w 88"/>
                <a:gd name="T45" fmla="*/ 19 h 83"/>
                <a:gd name="T46" fmla="*/ 88 w 88"/>
                <a:gd name="T47" fmla="*/ 22 h 83"/>
                <a:gd name="T48" fmla="*/ 88 w 88"/>
                <a:gd name="T49" fmla="*/ 15 h 83"/>
                <a:gd name="T50" fmla="*/ 80 w 88"/>
                <a:gd name="T51" fmla="*/ 6 h 83"/>
                <a:gd name="T52" fmla="*/ 73 w 88"/>
                <a:gd name="T53" fmla="*/ 0 h 83"/>
                <a:gd name="T54" fmla="*/ 50 w 88"/>
                <a:gd name="T55" fmla="*/ 3 h 83"/>
                <a:gd name="T56" fmla="*/ 40 w 88"/>
                <a:gd name="T57" fmla="*/ 0 h 83"/>
                <a:gd name="T58" fmla="*/ 40 w 88"/>
                <a:gd name="T59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88" h="83">
                  <a:moveTo>
                    <a:pt x="40" y="0"/>
                  </a:moveTo>
                  <a:lnTo>
                    <a:pt x="23" y="12"/>
                  </a:lnTo>
                  <a:lnTo>
                    <a:pt x="31" y="16"/>
                  </a:lnTo>
                  <a:lnTo>
                    <a:pt x="21" y="12"/>
                  </a:lnTo>
                  <a:lnTo>
                    <a:pt x="20" y="18"/>
                  </a:lnTo>
                  <a:lnTo>
                    <a:pt x="5" y="9"/>
                  </a:lnTo>
                  <a:lnTo>
                    <a:pt x="2" y="12"/>
                  </a:lnTo>
                  <a:lnTo>
                    <a:pt x="12" y="28"/>
                  </a:lnTo>
                  <a:lnTo>
                    <a:pt x="0" y="28"/>
                  </a:lnTo>
                  <a:lnTo>
                    <a:pt x="8" y="41"/>
                  </a:lnTo>
                  <a:lnTo>
                    <a:pt x="23" y="54"/>
                  </a:lnTo>
                  <a:lnTo>
                    <a:pt x="23" y="59"/>
                  </a:lnTo>
                  <a:lnTo>
                    <a:pt x="9" y="63"/>
                  </a:lnTo>
                  <a:lnTo>
                    <a:pt x="5" y="72"/>
                  </a:lnTo>
                  <a:lnTo>
                    <a:pt x="14" y="83"/>
                  </a:lnTo>
                  <a:lnTo>
                    <a:pt x="29" y="63"/>
                  </a:lnTo>
                  <a:lnTo>
                    <a:pt x="31" y="47"/>
                  </a:lnTo>
                  <a:lnTo>
                    <a:pt x="37" y="42"/>
                  </a:lnTo>
                  <a:lnTo>
                    <a:pt x="58" y="47"/>
                  </a:lnTo>
                  <a:lnTo>
                    <a:pt x="59" y="36"/>
                  </a:lnTo>
                  <a:lnTo>
                    <a:pt x="68" y="33"/>
                  </a:lnTo>
                  <a:lnTo>
                    <a:pt x="74" y="25"/>
                  </a:lnTo>
                  <a:lnTo>
                    <a:pt x="80" y="19"/>
                  </a:lnTo>
                  <a:lnTo>
                    <a:pt x="88" y="22"/>
                  </a:lnTo>
                  <a:lnTo>
                    <a:pt x="88" y="15"/>
                  </a:lnTo>
                  <a:lnTo>
                    <a:pt x="80" y="6"/>
                  </a:lnTo>
                  <a:lnTo>
                    <a:pt x="73" y="0"/>
                  </a:lnTo>
                  <a:lnTo>
                    <a:pt x="50" y="3"/>
                  </a:lnTo>
                  <a:lnTo>
                    <a:pt x="40" y="0"/>
                  </a:lnTo>
                  <a:lnTo>
                    <a:pt x="40" y="0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786" name="Freeform 131"/>
            <p:cNvSpPr>
              <a:spLocks/>
            </p:cNvSpPr>
            <p:nvPr userDrawn="1"/>
          </p:nvSpPr>
          <p:spPr bwMode="auto">
            <a:xfrm>
              <a:off x="4909" y="1686"/>
              <a:ext cx="15" cy="18"/>
            </a:xfrm>
            <a:custGeom>
              <a:avLst/>
              <a:gdLst>
                <a:gd name="T0" fmla="*/ 0 w 15"/>
                <a:gd name="T1" fmla="*/ 4 h 18"/>
                <a:gd name="T2" fmla="*/ 2 w 15"/>
                <a:gd name="T3" fmla="*/ 12 h 18"/>
                <a:gd name="T4" fmla="*/ 9 w 15"/>
                <a:gd name="T5" fmla="*/ 18 h 18"/>
                <a:gd name="T6" fmla="*/ 15 w 15"/>
                <a:gd name="T7" fmla="*/ 12 h 18"/>
                <a:gd name="T8" fmla="*/ 11 w 15"/>
                <a:gd name="T9" fmla="*/ 0 h 18"/>
                <a:gd name="T10" fmla="*/ 0 w 15"/>
                <a:gd name="T11" fmla="*/ 4 h 18"/>
                <a:gd name="T12" fmla="*/ 0 w 15"/>
                <a:gd name="T13" fmla="*/ 4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18">
                  <a:moveTo>
                    <a:pt x="0" y="4"/>
                  </a:moveTo>
                  <a:lnTo>
                    <a:pt x="2" y="12"/>
                  </a:lnTo>
                  <a:lnTo>
                    <a:pt x="9" y="18"/>
                  </a:lnTo>
                  <a:lnTo>
                    <a:pt x="15" y="12"/>
                  </a:lnTo>
                  <a:lnTo>
                    <a:pt x="11" y="0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787" name="Freeform 132"/>
            <p:cNvSpPr>
              <a:spLocks/>
            </p:cNvSpPr>
            <p:nvPr userDrawn="1"/>
          </p:nvSpPr>
          <p:spPr bwMode="auto">
            <a:xfrm>
              <a:off x="4908" y="1639"/>
              <a:ext cx="15" cy="14"/>
            </a:xfrm>
            <a:custGeom>
              <a:avLst/>
              <a:gdLst>
                <a:gd name="T0" fmla="*/ 4 w 15"/>
                <a:gd name="T1" fmla="*/ 14 h 14"/>
                <a:gd name="T2" fmla="*/ 4 w 15"/>
                <a:gd name="T3" fmla="*/ 14 h 14"/>
                <a:gd name="T4" fmla="*/ 7 w 15"/>
                <a:gd name="T5" fmla="*/ 11 h 14"/>
                <a:gd name="T6" fmla="*/ 9 w 15"/>
                <a:gd name="T7" fmla="*/ 9 h 14"/>
                <a:gd name="T8" fmla="*/ 15 w 15"/>
                <a:gd name="T9" fmla="*/ 9 h 14"/>
                <a:gd name="T10" fmla="*/ 13 w 15"/>
                <a:gd name="T11" fmla="*/ 0 h 14"/>
                <a:gd name="T12" fmla="*/ 1 w 15"/>
                <a:gd name="T13" fmla="*/ 2 h 14"/>
                <a:gd name="T14" fmla="*/ 0 w 15"/>
                <a:gd name="T15" fmla="*/ 8 h 14"/>
                <a:gd name="T16" fmla="*/ 0 w 15"/>
                <a:gd name="T17" fmla="*/ 8 h 14"/>
                <a:gd name="T18" fmla="*/ 1 w 15"/>
                <a:gd name="T19" fmla="*/ 11 h 14"/>
                <a:gd name="T20" fmla="*/ 3 w 15"/>
                <a:gd name="T21" fmla="*/ 12 h 14"/>
                <a:gd name="T22" fmla="*/ 4 w 15"/>
                <a:gd name="T23" fmla="*/ 14 h 14"/>
                <a:gd name="T24" fmla="*/ 4 w 15"/>
                <a:gd name="T25" fmla="*/ 14 h 14"/>
                <a:gd name="T26" fmla="*/ 4 w 15"/>
                <a:gd name="T27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" h="14">
                  <a:moveTo>
                    <a:pt x="4" y="14"/>
                  </a:moveTo>
                  <a:lnTo>
                    <a:pt x="4" y="14"/>
                  </a:lnTo>
                  <a:lnTo>
                    <a:pt x="7" y="11"/>
                  </a:lnTo>
                  <a:lnTo>
                    <a:pt x="9" y="9"/>
                  </a:lnTo>
                  <a:lnTo>
                    <a:pt x="15" y="9"/>
                  </a:lnTo>
                  <a:lnTo>
                    <a:pt x="13" y="0"/>
                  </a:lnTo>
                  <a:lnTo>
                    <a:pt x="1" y="2"/>
                  </a:lnTo>
                  <a:lnTo>
                    <a:pt x="0" y="8"/>
                  </a:lnTo>
                  <a:lnTo>
                    <a:pt x="0" y="8"/>
                  </a:lnTo>
                  <a:lnTo>
                    <a:pt x="1" y="11"/>
                  </a:lnTo>
                  <a:lnTo>
                    <a:pt x="3" y="12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4" y="14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788" name="Freeform 133"/>
            <p:cNvSpPr>
              <a:spLocks/>
            </p:cNvSpPr>
            <p:nvPr userDrawn="1"/>
          </p:nvSpPr>
          <p:spPr bwMode="auto">
            <a:xfrm>
              <a:off x="4841" y="1645"/>
              <a:ext cx="58" cy="39"/>
            </a:xfrm>
            <a:custGeom>
              <a:avLst/>
              <a:gdLst>
                <a:gd name="T0" fmla="*/ 2 w 58"/>
                <a:gd name="T1" fmla="*/ 20 h 39"/>
                <a:gd name="T2" fmla="*/ 11 w 58"/>
                <a:gd name="T3" fmla="*/ 21 h 39"/>
                <a:gd name="T4" fmla="*/ 22 w 58"/>
                <a:gd name="T5" fmla="*/ 23 h 39"/>
                <a:gd name="T6" fmla="*/ 20 w 58"/>
                <a:gd name="T7" fmla="*/ 33 h 39"/>
                <a:gd name="T8" fmla="*/ 28 w 58"/>
                <a:gd name="T9" fmla="*/ 39 h 39"/>
                <a:gd name="T10" fmla="*/ 37 w 58"/>
                <a:gd name="T11" fmla="*/ 39 h 39"/>
                <a:gd name="T12" fmla="*/ 40 w 58"/>
                <a:gd name="T13" fmla="*/ 33 h 39"/>
                <a:gd name="T14" fmla="*/ 46 w 58"/>
                <a:gd name="T15" fmla="*/ 24 h 39"/>
                <a:gd name="T16" fmla="*/ 50 w 58"/>
                <a:gd name="T17" fmla="*/ 20 h 39"/>
                <a:gd name="T18" fmla="*/ 55 w 58"/>
                <a:gd name="T19" fmla="*/ 24 h 39"/>
                <a:gd name="T20" fmla="*/ 58 w 58"/>
                <a:gd name="T21" fmla="*/ 21 h 39"/>
                <a:gd name="T22" fmla="*/ 53 w 58"/>
                <a:gd name="T23" fmla="*/ 11 h 39"/>
                <a:gd name="T24" fmla="*/ 47 w 58"/>
                <a:gd name="T25" fmla="*/ 2 h 39"/>
                <a:gd name="T26" fmla="*/ 31 w 58"/>
                <a:gd name="T27" fmla="*/ 0 h 39"/>
                <a:gd name="T28" fmla="*/ 26 w 58"/>
                <a:gd name="T29" fmla="*/ 6 h 39"/>
                <a:gd name="T30" fmla="*/ 20 w 58"/>
                <a:gd name="T31" fmla="*/ 11 h 39"/>
                <a:gd name="T32" fmla="*/ 13 w 58"/>
                <a:gd name="T33" fmla="*/ 12 h 39"/>
                <a:gd name="T34" fmla="*/ 0 w 58"/>
                <a:gd name="T35" fmla="*/ 15 h 39"/>
                <a:gd name="T36" fmla="*/ 2 w 58"/>
                <a:gd name="T37" fmla="*/ 20 h 39"/>
                <a:gd name="T38" fmla="*/ 2 w 58"/>
                <a:gd name="T39" fmla="*/ 2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8" h="39">
                  <a:moveTo>
                    <a:pt x="2" y="20"/>
                  </a:moveTo>
                  <a:lnTo>
                    <a:pt x="11" y="21"/>
                  </a:lnTo>
                  <a:lnTo>
                    <a:pt x="22" y="23"/>
                  </a:lnTo>
                  <a:lnTo>
                    <a:pt x="20" y="33"/>
                  </a:lnTo>
                  <a:lnTo>
                    <a:pt x="28" y="39"/>
                  </a:lnTo>
                  <a:lnTo>
                    <a:pt x="37" y="39"/>
                  </a:lnTo>
                  <a:lnTo>
                    <a:pt x="40" y="33"/>
                  </a:lnTo>
                  <a:lnTo>
                    <a:pt x="46" y="24"/>
                  </a:lnTo>
                  <a:lnTo>
                    <a:pt x="50" y="20"/>
                  </a:lnTo>
                  <a:lnTo>
                    <a:pt x="55" y="24"/>
                  </a:lnTo>
                  <a:lnTo>
                    <a:pt x="58" y="21"/>
                  </a:lnTo>
                  <a:lnTo>
                    <a:pt x="53" y="11"/>
                  </a:lnTo>
                  <a:lnTo>
                    <a:pt x="47" y="2"/>
                  </a:lnTo>
                  <a:lnTo>
                    <a:pt x="31" y="0"/>
                  </a:lnTo>
                  <a:lnTo>
                    <a:pt x="26" y="6"/>
                  </a:lnTo>
                  <a:lnTo>
                    <a:pt x="20" y="11"/>
                  </a:lnTo>
                  <a:lnTo>
                    <a:pt x="13" y="12"/>
                  </a:lnTo>
                  <a:lnTo>
                    <a:pt x="0" y="15"/>
                  </a:lnTo>
                  <a:lnTo>
                    <a:pt x="2" y="20"/>
                  </a:lnTo>
                  <a:lnTo>
                    <a:pt x="2" y="20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789" name="Freeform 134"/>
            <p:cNvSpPr>
              <a:spLocks/>
            </p:cNvSpPr>
            <p:nvPr userDrawn="1"/>
          </p:nvSpPr>
          <p:spPr bwMode="auto">
            <a:xfrm>
              <a:off x="4320" y="2205"/>
              <a:ext cx="46" cy="39"/>
            </a:xfrm>
            <a:custGeom>
              <a:avLst/>
              <a:gdLst>
                <a:gd name="T0" fmla="*/ 12 w 46"/>
                <a:gd name="T1" fmla="*/ 16 h 39"/>
                <a:gd name="T2" fmla="*/ 12 w 46"/>
                <a:gd name="T3" fmla="*/ 16 h 39"/>
                <a:gd name="T4" fmla="*/ 10 w 46"/>
                <a:gd name="T5" fmla="*/ 27 h 39"/>
                <a:gd name="T6" fmla="*/ 10 w 46"/>
                <a:gd name="T7" fmla="*/ 27 h 39"/>
                <a:gd name="T8" fmla="*/ 12 w 46"/>
                <a:gd name="T9" fmla="*/ 28 h 39"/>
                <a:gd name="T10" fmla="*/ 13 w 46"/>
                <a:gd name="T11" fmla="*/ 30 h 39"/>
                <a:gd name="T12" fmla="*/ 15 w 46"/>
                <a:gd name="T13" fmla="*/ 31 h 39"/>
                <a:gd name="T14" fmla="*/ 22 w 46"/>
                <a:gd name="T15" fmla="*/ 36 h 39"/>
                <a:gd name="T16" fmla="*/ 28 w 46"/>
                <a:gd name="T17" fmla="*/ 31 h 39"/>
                <a:gd name="T18" fmla="*/ 37 w 46"/>
                <a:gd name="T19" fmla="*/ 33 h 39"/>
                <a:gd name="T20" fmla="*/ 46 w 46"/>
                <a:gd name="T21" fmla="*/ 39 h 39"/>
                <a:gd name="T22" fmla="*/ 42 w 46"/>
                <a:gd name="T23" fmla="*/ 25 h 39"/>
                <a:gd name="T24" fmla="*/ 43 w 46"/>
                <a:gd name="T25" fmla="*/ 22 h 39"/>
                <a:gd name="T26" fmla="*/ 36 w 46"/>
                <a:gd name="T27" fmla="*/ 24 h 39"/>
                <a:gd name="T28" fmla="*/ 22 w 46"/>
                <a:gd name="T29" fmla="*/ 22 h 39"/>
                <a:gd name="T30" fmla="*/ 15 w 46"/>
                <a:gd name="T31" fmla="*/ 15 h 39"/>
                <a:gd name="T32" fmla="*/ 4 w 46"/>
                <a:gd name="T33" fmla="*/ 0 h 39"/>
                <a:gd name="T34" fmla="*/ 0 w 46"/>
                <a:gd name="T35" fmla="*/ 9 h 39"/>
                <a:gd name="T36" fmla="*/ 6 w 46"/>
                <a:gd name="T37" fmla="*/ 13 h 39"/>
                <a:gd name="T38" fmla="*/ 12 w 46"/>
                <a:gd name="T39" fmla="*/ 16 h 39"/>
                <a:gd name="T40" fmla="*/ 12 w 46"/>
                <a:gd name="T41" fmla="*/ 16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6" h="39">
                  <a:moveTo>
                    <a:pt x="12" y="16"/>
                  </a:moveTo>
                  <a:lnTo>
                    <a:pt x="12" y="16"/>
                  </a:lnTo>
                  <a:lnTo>
                    <a:pt x="10" y="27"/>
                  </a:lnTo>
                  <a:lnTo>
                    <a:pt x="10" y="27"/>
                  </a:lnTo>
                  <a:lnTo>
                    <a:pt x="12" y="28"/>
                  </a:lnTo>
                  <a:lnTo>
                    <a:pt x="13" y="30"/>
                  </a:lnTo>
                  <a:lnTo>
                    <a:pt x="15" y="31"/>
                  </a:lnTo>
                  <a:lnTo>
                    <a:pt x="22" y="36"/>
                  </a:lnTo>
                  <a:lnTo>
                    <a:pt x="28" y="31"/>
                  </a:lnTo>
                  <a:lnTo>
                    <a:pt x="37" y="33"/>
                  </a:lnTo>
                  <a:lnTo>
                    <a:pt x="46" y="39"/>
                  </a:lnTo>
                  <a:lnTo>
                    <a:pt x="42" y="25"/>
                  </a:lnTo>
                  <a:lnTo>
                    <a:pt x="43" y="22"/>
                  </a:lnTo>
                  <a:lnTo>
                    <a:pt x="36" y="24"/>
                  </a:lnTo>
                  <a:lnTo>
                    <a:pt x="22" y="22"/>
                  </a:lnTo>
                  <a:lnTo>
                    <a:pt x="15" y="15"/>
                  </a:lnTo>
                  <a:lnTo>
                    <a:pt x="4" y="0"/>
                  </a:lnTo>
                  <a:lnTo>
                    <a:pt x="0" y="9"/>
                  </a:lnTo>
                  <a:lnTo>
                    <a:pt x="6" y="13"/>
                  </a:lnTo>
                  <a:lnTo>
                    <a:pt x="12" y="16"/>
                  </a:lnTo>
                  <a:lnTo>
                    <a:pt x="12" y="16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790" name="Freeform 135"/>
            <p:cNvSpPr>
              <a:spLocks/>
            </p:cNvSpPr>
            <p:nvPr userDrawn="1"/>
          </p:nvSpPr>
          <p:spPr bwMode="auto">
            <a:xfrm>
              <a:off x="4277" y="2147"/>
              <a:ext cx="35" cy="49"/>
            </a:xfrm>
            <a:custGeom>
              <a:avLst/>
              <a:gdLst>
                <a:gd name="T0" fmla="*/ 0 w 35"/>
                <a:gd name="T1" fmla="*/ 40 h 49"/>
                <a:gd name="T2" fmla="*/ 9 w 35"/>
                <a:gd name="T3" fmla="*/ 47 h 49"/>
                <a:gd name="T4" fmla="*/ 9 w 35"/>
                <a:gd name="T5" fmla="*/ 47 h 49"/>
                <a:gd name="T6" fmla="*/ 11 w 35"/>
                <a:gd name="T7" fmla="*/ 49 h 49"/>
                <a:gd name="T8" fmla="*/ 11 w 35"/>
                <a:gd name="T9" fmla="*/ 49 h 49"/>
                <a:gd name="T10" fmla="*/ 12 w 35"/>
                <a:gd name="T11" fmla="*/ 47 h 49"/>
                <a:gd name="T12" fmla="*/ 12 w 35"/>
                <a:gd name="T13" fmla="*/ 47 h 49"/>
                <a:gd name="T14" fmla="*/ 20 w 35"/>
                <a:gd name="T15" fmla="*/ 38 h 49"/>
                <a:gd name="T16" fmla="*/ 26 w 35"/>
                <a:gd name="T17" fmla="*/ 38 h 49"/>
                <a:gd name="T18" fmla="*/ 32 w 35"/>
                <a:gd name="T19" fmla="*/ 41 h 49"/>
                <a:gd name="T20" fmla="*/ 35 w 35"/>
                <a:gd name="T21" fmla="*/ 38 h 49"/>
                <a:gd name="T22" fmla="*/ 30 w 35"/>
                <a:gd name="T23" fmla="*/ 29 h 49"/>
                <a:gd name="T24" fmla="*/ 27 w 35"/>
                <a:gd name="T25" fmla="*/ 28 h 49"/>
                <a:gd name="T26" fmla="*/ 30 w 35"/>
                <a:gd name="T27" fmla="*/ 23 h 49"/>
                <a:gd name="T28" fmla="*/ 32 w 35"/>
                <a:gd name="T29" fmla="*/ 19 h 49"/>
                <a:gd name="T30" fmla="*/ 27 w 35"/>
                <a:gd name="T31" fmla="*/ 14 h 49"/>
                <a:gd name="T32" fmla="*/ 20 w 35"/>
                <a:gd name="T33" fmla="*/ 14 h 49"/>
                <a:gd name="T34" fmla="*/ 15 w 35"/>
                <a:gd name="T35" fmla="*/ 11 h 49"/>
                <a:gd name="T36" fmla="*/ 15 w 35"/>
                <a:gd name="T37" fmla="*/ 3 h 49"/>
                <a:gd name="T38" fmla="*/ 5 w 35"/>
                <a:gd name="T39" fmla="*/ 0 h 49"/>
                <a:gd name="T40" fmla="*/ 2 w 35"/>
                <a:gd name="T41" fmla="*/ 6 h 49"/>
                <a:gd name="T42" fmla="*/ 3 w 35"/>
                <a:gd name="T43" fmla="*/ 11 h 49"/>
                <a:gd name="T44" fmla="*/ 12 w 35"/>
                <a:gd name="T45" fmla="*/ 13 h 49"/>
                <a:gd name="T46" fmla="*/ 21 w 35"/>
                <a:gd name="T47" fmla="*/ 19 h 49"/>
                <a:gd name="T48" fmla="*/ 21 w 35"/>
                <a:gd name="T49" fmla="*/ 25 h 49"/>
                <a:gd name="T50" fmla="*/ 15 w 35"/>
                <a:gd name="T51" fmla="*/ 26 h 49"/>
                <a:gd name="T52" fmla="*/ 8 w 35"/>
                <a:gd name="T53" fmla="*/ 20 h 49"/>
                <a:gd name="T54" fmla="*/ 3 w 35"/>
                <a:gd name="T55" fmla="*/ 23 h 49"/>
                <a:gd name="T56" fmla="*/ 6 w 35"/>
                <a:gd name="T57" fmla="*/ 29 h 49"/>
                <a:gd name="T58" fmla="*/ 3 w 35"/>
                <a:gd name="T59" fmla="*/ 34 h 49"/>
                <a:gd name="T60" fmla="*/ 0 w 35"/>
                <a:gd name="T61" fmla="*/ 40 h 49"/>
                <a:gd name="T62" fmla="*/ 0 w 35"/>
                <a:gd name="T63" fmla="*/ 4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5" h="49">
                  <a:moveTo>
                    <a:pt x="0" y="40"/>
                  </a:moveTo>
                  <a:lnTo>
                    <a:pt x="9" y="47"/>
                  </a:lnTo>
                  <a:lnTo>
                    <a:pt x="9" y="47"/>
                  </a:lnTo>
                  <a:lnTo>
                    <a:pt x="11" y="49"/>
                  </a:lnTo>
                  <a:lnTo>
                    <a:pt x="11" y="49"/>
                  </a:lnTo>
                  <a:lnTo>
                    <a:pt x="12" y="47"/>
                  </a:lnTo>
                  <a:lnTo>
                    <a:pt x="12" y="47"/>
                  </a:lnTo>
                  <a:lnTo>
                    <a:pt x="20" y="38"/>
                  </a:lnTo>
                  <a:lnTo>
                    <a:pt x="26" y="38"/>
                  </a:lnTo>
                  <a:lnTo>
                    <a:pt x="32" y="41"/>
                  </a:lnTo>
                  <a:lnTo>
                    <a:pt x="35" y="38"/>
                  </a:lnTo>
                  <a:lnTo>
                    <a:pt x="30" y="29"/>
                  </a:lnTo>
                  <a:lnTo>
                    <a:pt x="27" y="28"/>
                  </a:lnTo>
                  <a:lnTo>
                    <a:pt x="30" y="23"/>
                  </a:lnTo>
                  <a:lnTo>
                    <a:pt x="32" y="19"/>
                  </a:lnTo>
                  <a:lnTo>
                    <a:pt x="27" y="14"/>
                  </a:lnTo>
                  <a:lnTo>
                    <a:pt x="20" y="14"/>
                  </a:lnTo>
                  <a:lnTo>
                    <a:pt x="15" y="11"/>
                  </a:lnTo>
                  <a:lnTo>
                    <a:pt x="15" y="3"/>
                  </a:lnTo>
                  <a:lnTo>
                    <a:pt x="5" y="0"/>
                  </a:lnTo>
                  <a:lnTo>
                    <a:pt x="2" y="6"/>
                  </a:lnTo>
                  <a:lnTo>
                    <a:pt x="3" y="11"/>
                  </a:lnTo>
                  <a:lnTo>
                    <a:pt x="12" y="13"/>
                  </a:lnTo>
                  <a:lnTo>
                    <a:pt x="21" y="19"/>
                  </a:lnTo>
                  <a:lnTo>
                    <a:pt x="21" y="25"/>
                  </a:lnTo>
                  <a:lnTo>
                    <a:pt x="15" y="26"/>
                  </a:lnTo>
                  <a:lnTo>
                    <a:pt x="8" y="20"/>
                  </a:lnTo>
                  <a:lnTo>
                    <a:pt x="3" y="23"/>
                  </a:lnTo>
                  <a:lnTo>
                    <a:pt x="6" y="29"/>
                  </a:lnTo>
                  <a:lnTo>
                    <a:pt x="3" y="34"/>
                  </a:lnTo>
                  <a:lnTo>
                    <a:pt x="0" y="40"/>
                  </a:lnTo>
                  <a:lnTo>
                    <a:pt x="0" y="40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791" name="Freeform 136"/>
            <p:cNvSpPr>
              <a:spLocks/>
            </p:cNvSpPr>
            <p:nvPr userDrawn="1"/>
          </p:nvSpPr>
          <p:spPr bwMode="auto">
            <a:xfrm>
              <a:off x="4062" y="2104"/>
              <a:ext cx="16" cy="30"/>
            </a:xfrm>
            <a:custGeom>
              <a:avLst/>
              <a:gdLst>
                <a:gd name="T0" fmla="*/ 1 w 16"/>
                <a:gd name="T1" fmla="*/ 0 h 30"/>
                <a:gd name="T2" fmla="*/ 3 w 16"/>
                <a:gd name="T3" fmla="*/ 9 h 30"/>
                <a:gd name="T4" fmla="*/ 0 w 16"/>
                <a:gd name="T5" fmla="*/ 9 h 30"/>
                <a:gd name="T6" fmla="*/ 3 w 16"/>
                <a:gd name="T7" fmla="*/ 18 h 30"/>
                <a:gd name="T8" fmla="*/ 1 w 16"/>
                <a:gd name="T9" fmla="*/ 22 h 30"/>
                <a:gd name="T10" fmla="*/ 12 w 16"/>
                <a:gd name="T11" fmla="*/ 30 h 30"/>
                <a:gd name="T12" fmla="*/ 16 w 16"/>
                <a:gd name="T13" fmla="*/ 18 h 30"/>
                <a:gd name="T14" fmla="*/ 16 w 16"/>
                <a:gd name="T15" fmla="*/ 12 h 30"/>
                <a:gd name="T16" fmla="*/ 1 w 16"/>
                <a:gd name="T17" fmla="*/ 0 h 30"/>
                <a:gd name="T18" fmla="*/ 1 w 16"/>
                <a:gd name="T1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30">
                  <a:moveTo>
                    <a:pt x="1" y="0"/>
                  </a:moveTo>
                  <a:lnTo>
                    <a:pt x="3" y="9"/>
                  </a:lnTo>
                  <a:lnTo>
                    <a:pt x="0" y="9"/>
                  </a:lnTo>
                  <a:lnTo>
                    <a:pt x="3" y="18"/>
                  </a:lnTo>
                  <a:lnTo>
                    <a:pt x="1" y="22"/>
                  </a:lnTo>
                  <a:lnTo>
                    <a:pt x="12" y="30"/>
                  </a:lnTo>
                  <a:lnTo>
                    <a:pt x="16" y="18"/>
                  </a:lnTo>
                  <a:lnTo>
                    <a:pt x="16" y="12"/>
                  </a:lnTo>
                  <a:lnTo>
                    <a:pt x="1" y="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792" name="Freeform 137"/>
            <p:cNvSpPr>
              <a:spLocks/>
            </p:cNvSpPr>
            <p:nvPr userDrawn="1"/>
          </p:nvSpPr>
          <p:spPr bwMode="auto">
            <a:xfrm>
              <a:off x="4145" y="2164"/>
              <a:ext cx="15" cy="17"/>
            </a:xfrm>
            <a:custGeom>
              <a:avLst/>
              <a:gdLst>
                <a:gd name="T0" fmla="*/ 0 w 15"/>
                <a:gd name="T1" fmla="*/ 2 h 17"/>
                <a:gd name="T2" fmla="*/ 0 w 15"/>
                <a:gd name="T3" fmla="*/ 12 h 17"/>
                <a:gd name="T4" fmla="*/ 6 w 15"/>
                <a:gd name="T5" fmla="*/ 17 h 17"/>
                <a:gd name="T6" fmla="*/ 13 w 15"/>
                <a:gd name="T7" fmla="*/ 14 h 17"/>
                <a:gd name="T8" fmla="*/ 15 w 15"/>
                <a:gd name="T9" fmla="*/ 8 h 17"/>
                <a:gd name="T10" fmla="*/ 4 w 15"/>
                <a:gd name="T11" fmla="*/ 0 h 17"/>
                <a:gd name="T12" fmla="*/ 0 w 15"/>
                <a:gd name="T13" fmla="*/ 2 h 17"/>
                <a:gd name="T14" fmla="*/ 0 w 15"/>
                <a:gd name="T15" fmla="*/ 2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17">
                  <a:moveTo>
                    <a:pt x="0" y="2"/>
                  </a:moveTo>
                  <a:lnTo>
                    <a:pt x="0" y="12"/>
                  </a:lnTo>
                  <a:lnTo>
                    <a:pt x="6" y="17"/>
                  </a:lnTo>
                  <a:lnTo>
                    <a:pt x="13" y="14"/>
                  </a:lnTo>
                  <a:lnTo>
                    <a:pt x="15" y="8"/>
                  </a:lnTo>
                  <a:lnTo>
                    <a:pt x="4" y="0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793" name="Freeform 138"/>
            <p:cNvSpPr>
              <a:spLocks/>
            </p:cNvSpPr>
            <p:nvPr userDrawn="1"/>
          </p:nvSpPr>
          <p:spPr bwMode="auto">
            <a:xfrm>
              <a:off x="4120" y="2096"/>
              <a:ext cx="20" cy="47"/>
            </a:xfrm>
            <a:custGeom>
              <a:avLst/>
              <a:gdLst>
                <a:gd name="T0" fmla="*/ 8 w 20"/>
                <a:gd name="T1" fmla="*/ 17 h 47"/>
                <a:gd name="T2" fmla="*/ 2 w 20"/>
                <a:gd name="T3" fmla="*/ 27 h 47"/>
                <a:gd name="T4" fmla="*/ 0 w 20"/>
                <a:gd name="T5" fmla="*/ 38 h 47"/>
                <a:gd name="T6" fmla="*/ 2 w 20"/>
                <a:gd name="T7" fmla="*/ 47 h 47"/>
                <a:gd name="T8" fmla="*/ 6 w 20"/>
                <a:gd name="T9" fmla="*/ 39 h 47"/>
                <a:gd name="T10" fmla="*/ 14 w 20"/>
                <a:gd name="T11" fmla="*/ 23 h 47"/>
                <a:gd name="T12" fmla="*/ 20 w 20"/>
                <a:gd name="T13" fmla="*/ 9 h 47"/>
                <a:gd name="T14" fmla="*/ 19 w 20"/>
                <a:gd name="T15" fmla="*/ 0 h 47"/>
                <a:gd name="T16" fmla="*/ 8 w 20"/>
                <a:gd name="T17" fmla="*/ 17 h 47"/>
                <a:gd name="T18" fmla="*/ 8 w 20"/>
                <a:gd name="T19" fmla="*/ 1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" h="47">
                  <a:moveTo>
                    <a:pt x="8" y="17"/>
                  </a:moveTo>
                  <a:lnTo>
                    <a:pt x="2" y="27"/>
                  </a:lnTo>
                  <a:lnTo>
                    <a:pt x="0" y="38"/>
                  </a:lnTo>
                  <a:lnTo>
                    <a:pt x="2" y="47"/>
                  </a:lnTo>
                  <a:lnTo>
                    <a:pt x="6" y="39"/>
                  </a:lnTo>
                  <a:lnTo>
                    <a:pt x="14" y="23"/>
                  </a:lnTo>
                  <a:lnTo>
                    <a:pt x="20" y="9"/>
                  </a:lnTo>
                  <a:lnTo>
                    <a:pt x="19" y="0"/>
                  </a:lnTo>
                  <a:lnTo>
                    <a:pt x="8" y="17"/>
                  </a:lnTo>
                  <a:lnTo>
                    <a:pt x="8" y="17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794" name="Freeform 139"/>
            <p:cNvSpPr>
              <a:spLocks/>
            </p:cNvSpPr>
            <p:nvPr userDrawn="1"/>
          </p:nvSpPr>
          <p:spPr bwMode="auto">
            <a:xfrm>
              <a:off x="4098" y="2120"/>
              <a:ext cx="13" cy="15"/>
            </a:xfrm>
            <a:custGeom>
              <a:avLst/>
              <a:gdLst>
                <a:gd name="T0" fmla="*/ 4 w 13"/>
                <a:gd name="T1" fmla="*/ 12 h 15"/>
                <a:gd name="T2" fmla="*/ 12 w 13"/>
                <a:gd name="T3" fmla="*/ 15 h 15"/>
                <a:gd name="T4" fmla="*/ 13 w 13"/>
                <a:gd name="T5" fmla="*/ 6 h 15"/>
                <a:gd name="T6" fmla="*/ 0 w 13"/>
                <a:gd name="T7" fmla="*/ 0 h 15"/>
                <a:gd name="T8" fmla="*/ 4 w 13"/>
                <a:gd name="T9" fmla="*/ 12 h 15"/>
                <a:gd name="T10" fmla="*/ 4 w 13"/>
                <a:gd name="T11" fmla="*/ 1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15">
                  <a:moveTo>
                    <a:pt x="4" y="12"/>
                  </a:moveTo>
                  <a:lnTo>
                    <a:pt x="12" y="15"/>
                  </a:lnTo>
                  <a:lnTo>
                    <a:pt x="13" y="6"/>
                  </a:lnTo>
                  <a:lnTo>
                    <a:pt x="0" y="0"/>
                  </a:lnTo>
                  <a:lnTo>
                    <a:pt x="4" y="12"/>
                  </a:lnTo>
                  <a:lnTo>
                    <a:pt x="4" y="12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795" name="Freeform 140"/>
            <p:cNvSpPr>
              <a:spLocks/>
            </p:cNvSpPr>
            <p:nvPr userDrawn="1"/>
          </p:nvSpPr>
          <p:spPr bwMode="auto">
            <a:xfrm>
              <a:off x="4114" y="2108"/>
              <a:ext cx="9" cy="12"/>
            </a:xfrm>
            <a:custGeom>
              <a:avLst/>
              <a:gdLst>
                <a:gd name="T0" fmla="*/ 0 w 9"/>
                <a:gd name="T1" fmla="*/ 6 h 12"/>
                <a:gd name="T2" fmla="*/ 3 w 9"/>
                <a:gd name="T3" fmla="*/ 12 h 12"/>
                <a:gd name="T4" fmla="*/ 9 w 9"/>
                <a:gd name="T5" fmla="*/ 0 h 12"/>
                <a:gd name="T6" fmla="*/ 0 w 9"/>
                <a:gd name="T7" fmla="*/ 6 h 12"/>
                <a:gd name="T8" fmla="*/ 0 w 9"/>
                <a:gd name="T9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2">
                  <a:moveTo>
                    <a:pt x="0" y="6"/>
                  </a:moveTo>
                  <a:lnTo>
                    <a:pt x="3" y="12"/>
                  </a:lnTo>
                  <a:lnTo>
                    <a:pt x="9" y="0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796" name="Freeform 141"/>
            <p:cNvSpPr>
              <a:spLocks/>
            </p:cNvSpPr>
            <p:nvPr userDrawn="1"/>
          </p:nvSpPr>
          <p:spPr bwMode="auto">
            <a:xfrm>
              <a:off x="4063" y="2046"/>
              <a:ext cx="68" cy="65"/>
            </a:xfrm>
            <a:custGeom>
              <a:avLst/>
              <a:gdLst>
                <a:gd name="T0" fmla="*/ 56 w 68"/>
                <a:gd name="T1" fmla="*/ 59 h 65"/>
                <a:gd name="T2" fmla="*/ 63 w 68"/>
                <a:gd name="T3" fmla="*/ 53 h 65"/>
                <a:gd name="T4" fmla="*/ 68 w 68"/>
                <a:gd name="T5" fmla="*/ 44 h 65"/>
                <a:gd name="T6" fmla="*/ 65 w 68"/>
                <a:gd name="T7" fmla="*/ 34 h 65"/>
                <a:gd name="T8" fmla="*/ 51 w 68"/>
                <a:gd name="T9" fmla="*/ 28 h 65"/>
                <a:gd name="T10" fmla="*/ 48 w 68"/>
                <a:gd name="T11" fmla="*/ 20 h 65"/>
                <a:gd name="T12" fmla="*/ 45 w 68"/>
                <a:gd name="T13" fmla="*/ 17 h 65"/>
                <a:gd name="T14" fmla="*/ 42 w 68"/>
                <a:gd name="T15" fmla="*/ 12 h 65"/>
                <a:gd name="T16" fmla="*/ 41 w 68"/>
                <a:gd name="T17" fmla="*/ 6 h 65"/>
                <a:gd name="T18" fmla="*/ 24 w 68"/>
                <a:gd name="T19" fmla="*/ 0 h 65"/>
                <a:gd name="T20" fmla="*/ 18 w 68"/>
                <a:gd name="T21" fmla="*/ 11 h 65"/>
                <a:gd name="T22" fmla="*/ 11 w 68"/>
                <a:gd name="T23" fmla="*/ 12 h 65"/>
                <a:gd name="T24" fmla="*/ 2 w 68"/>
                <a:gd name="T25" fmla="*/ 8 h 65"/>
                <a:gd name="T26" fmla="*/ 0 w 68"/>
                <a:gd name="T27" fmla="*/ 20 h 65"/>
                <a:gd name="T28" fmla="*/ 8 w 68"/>
                <a:gd name="T29" fmla="*/ 29 h 65"/>
                <a:gd name="T30" fmla="*/ 18 w 68"/>
                <a:gd name="T31" fmla="*/ 37 h 65"/>
                <a:gd name="T32" fmla="*/ 20 w 68"/>
                <a:gd name="T33" fmla="*/ 49 h 65"/>
                <a:gd name="T34" fmla="*/ 27 w 68"/>
                <a:gd name="T35" fmla="*/ 50 h 65"/>
                <a:gd name="T36" fmla="*/ 23 w 68"/>
                <a:gd name="T37" fmla="*/ 55 h 65"/>
                <a:gd name="T38" fmla="*/ 32 w 68"/>
                <a:gd name="T39" fmla="*/ 64 h 65"/>
                <a:gd name="T40" fmla="*/ 45 w 68"/>
                <a:gd name="T41" fmla="*/ 65 h 65"/>
                <a:gd name="T42" fmla="*/ 56 w 68"/>
                <a:gd name="T43" fmla="*/ 59 h 65"/>
                <a:gd name="T44" fmla="*/ 56 w 68"/>
                <a:gd name="T45" fmla="*/ 59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8" h="65">
                  <a:moveTo>
                    <a:pt x="56" y="59"/>
                  </a:moveTo>
                  <a:lnTo>
                    <a:pt x="63" y="53"/>
                  </a:lnTo>
                  <a:lnTo>
                    <a:pt x="68" y="44"/>
                  </a:lnTo>
                  <a:lnTo>
                    <a:pt x="65" y="34"/>
                  </a:lnTo>
                  <a:lnTo>
                    <a:pt x="51" y="28"/>
                  </a:lnTo>
                  <a:lnTo>
                    <a:pt x="48" y="20"/>
                  </a:lnTo>
                  <a:lnTo>
                    <a:pt x="45" y="17"/>
                  </a:lnTo>
                  <a:lnTo>
                    <a:pt x="42" y="12"/>
                  </a:lnTo>
                  <a:lnTo>
                    <a:pt x="41" y="6"/>
                  </a:lnTo>
                  <a:lnTo>
                    <a:pt x="24" y="0"/>
                  </a:lnTo>
                  <a:lnTo>
                    <a:pt x="18" y="11"/>
                  </a:lnTo>
                  <a:lnTo>
                    <a:pt x="11" y="12"/>
                  </a:lnTo>
                  <a:lnTo>
                    <a:pt x="2" y="8"/>
                  </a:lnTo>
                  <a:lnTo>
                    <a:pt x="0" y="20"/>
                  </a:lnTo>
                  <a:lnTo>
                    <a:pt x="8" y="29"/>
                  </a:lnTo>
                  <a:lnTo>
                    <a:pt x="18" y="37"/>
                  </a:lnTo>
                  <a:lnTo>
                    <a:pt x="20" y="49"/>
                  </a:lnTo>
                  <a:lnTo>
                    <a:pt x="27" y="50"/>
                  </a:lnTo>
                  <a:lnTo>
                    <a:pt x="23" y="55"/>
                  </a:lnTo>
                  <a:lnTo>
                    <a:pt x="32" y="64"/>
                  </a:lnTo>
                  <a:lnTo>
                    <a:pt x="45" y="65"/>
                  </a:lnTo>
                  <a:lnTo>
                    <a:pt x="56" y="59"/>
                  </a:lnTo>
                  <a:lnTo>
                    <a:pt x="56" y="59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797" name="Freeform 142"/>
            <p:cNvSpPr>
              <a:spLocks/>
            </p:cNvSpPr>
            <p:nvPr userDrawn="1"/>
          </p:nvSpPr>
          <p:spPr bwMode="auto">
            <a:xfrm>
              <a:off x="4114" y="2052"/>
              <a:ext cx="8" cy="22"/>
            </a:xfrm>
            <a:custGeom>
              <a:avLst/>
              <a:gdLst>
                <a:gd name="T0" fmla="*/ 0 w 8"/>
                <a:gd name="T1" fmla="*/ 2 h 22"/>
                <a:gd name="T2" fmla="*/ 0 w 8"/>
                <a:gd name="T3" fmla="*/ 12 h 22"/>
                <a:gd name="T4" fmla="*/ 3 w 8"/>
                <a:gd name="T5" fmla="*/ 22 h 22"/>
                <a:gd name="T6" fmla="*/ 8 w 8"/>
                <a:gd name="T7" fmla="*/ 12 h 22"/>
                <a:gd name="T8" fmla="*/ 3 w 8"/>
                <a:gd name="T9" fmla="*/ 0 h 22"/>
                <a:gd name="T10" fmla="*/ 0 w 8"/>
                <a:gd name="T11" fmla="*/ 2 h 22"/>
                <a:gd name="T12" fmla="*/ 0 w 8"/>
                <a:gd name="T13" fmla="*/ 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22">
                  <a:moveTo>
                    <a:pt x="0" y="2"/>
                  </a:moveTo>
                  <a:lnTo>
                    <a:pt x="0" y="12"/>
                  </a:lnTo>
                  <a:lnTo>
                    <a:pt x="3" y="22"/>
                  </a:lnTo>
                  <a:lnTo>
                    <a:pt x="8" y="12"/>
                  </a:lnTo>
                  <a:lnTo>
                    <a:pt x="3" y="0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798" name="Freeform 143"/>
            <p:cNvSpPr>
              <a:spLocks/>
            </p:cNvSpPr>
            <p:nvPr userDrawn="1"/>
          </p:nvSpPr>
          <p:spPr bwMode="auto">
            <a:xfrm>
              <a:off x="4143" y="2120"/>
              <a:ext cx="48" cy="30"/>
            </a:xfrm>
            <a:custGeom>
              <a:avLst/>
              <a:gdLst>
                <a:gd name="T0" fmla="*/ 41 w 48"/>
                <a:gd name="T1" fmla="*/ 9 h 30"/>
                <a:gd name="T2" fmla="*/ 41 w 48"/>
                <a:gd name="T3" fmla="*/ 9 h 30"/>
                <a:gd name="T4" fmla="*/ 33 w 48"/>
                <a:gd name="T5" fmla="*/ 9 h 30"/>
                <a:gd name="T6" fmla="*/ 24 w 48"/>
                <a:gd name="T7" fmla="*/ 9 h 30"/>
                <a:gd name="T8" fmla="*/ 24 w 48"/>
                <a:gd name="T9" fmla="*/ 9 h 30"/>
                <a:gd name="T10" fmla="*/ 9 w 48"/>
                <a:gd name="T11" fmla="*/ 0 h 30"/>
                <a:gd name="T12" fmla="*/ 0 w 48"/>
                <a:gd name="T13" fmla="*/ 3 h 30"/>
                <a:gd name="T14" fmla="*/ 0 w 48"/>
                <a:gd name="T15" fmla="*/ 6 h 30"/>
                <a:gd name="T16" fmla="*/ 11 w 48"/>
                <a:gd name="T17" fmla="*/ 14 h 30"/>
                <a:gd name="T18" fmla="*/ 2 w 48"/>
                <a:gd name="T19" fmla="*/ 14 h 30"/>
                <a:gd name="T20" fmla="*/ 2 w 48"/>
                <a:gd name="T21" fmla="*/ 20 h 30"/>
                <a:gd name="T22" fmla="*/ 17 w 48"/>
                <a:gd name="T23" fmla="*/ 24 h 30"/>
                <a:gd name="T24" fmla="*/ 21 w 48"/>
                <a:gd name="T25" fmla="*/ 30 h 30"/>
                <a:gd name="T26" fmla="*/ 33 w 48"/>
                <a:gd name="T27" fmla="*/ 29 h 30"/>
                <a:gd name="T28" fmla="*/ 48 w 48"/>
                <a:gd name="T29" fmla="*/ 30 h 30"/>
                <a:gd name="T30" fmla="*/ 44 w 48"/>
                <a:gd name="T31" fmla="*/ 20 h 30"/>
                <a:gd name="T32" fmla="*/ 44 w 48"/>
                <a:gd name="T33" fmla="*/ 20 h 30"/>
                <a:gd name="T34" fmla="*/ 44 w 48"/>
                <a:gd name="T35" fmla="*/ 15 h 30"/>
                <a:gd name="T36" fmla="*/ 42 w 48"/>
                <a:gd name="T37" fmla="*/ 12 h 30"/>
                <a:gd name="T38" fmla="*/ 41 w 48"/>
                <a:gd name="T39" fmla="*/ 9 h 30"/>
                <a:gd name="T40" fmla="*/ 41 w 48"/>
                <a:gd name="T41" fmla="*/ 9 h 30"/>
                <a:gd name="T42" fmla="*/ 41 w 48"/>
                <a:gd name="T43" fmla="*/ 9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8" h="30">
                  <a:moveTo>
                    <a:pt x="41" y="9"/>
                  </a:moveTo>
                  <a:lnTo>
                    <a:pt x="41" y="9"/>
                  </a:lnTo>
                  <a:lnTo>
                    <a:pt x="33" y="9"/>
                  </a:lnTo>
                  <a:lnTo>
                    <a:pt x="24" y="9"/>
                  </a:lnTo>
                  <a:lnTo>
                    <a:pt x="24" y="9"/>
                  </a:lnTo>
                  <a:lnTo>
                    <a:pt x="9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11" y="14"/>
                  </a:lnTo>
                  <a:lnTo>
                    <a:pt x="2" y="14"/>
                  </a:lnTo>
                  <a:lnTo>
                    <a:pt x="2" y="20"/>
                  </a:lnTo>
                  <a:lnTo>
                    <a:pt x="17" y="24"/>
                  </a:lnTo>
                  <a:lnTo>
                    <a:pt x="21" y="30"/>
                  </a:lnTo>
                  <a:lnTo>
                    <a:pt x="33" y="29"/>
                  </a:lnTo>
                  <a:lnTo>
                    <a:pt x="48" y="30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4" y="15"/>
                  </a:lnTo>
                  <a:lnTo>
                    <a:pt x="42" y="12"/>
                  </a:lnTo>
                  <a:lnTo>
                    <a:pt x="41" y="9"/>
                  </a:lnTo>
                  <a:lnTo>
                    <a:pt x="41" y="9"/>
                  </a:lnTo>
                  <a:lnTo>
                    <a:pt x="41" y="9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799" name="Freeform 144"/>
            <p:cNvSpPr>
              <a:spLocks/>
            </p:cNvSpPr>
            <p:nvPr userDrawn="1"/>
          </p:nvSpPr>
          <p:spPr bwMode="auto">
            <a:xfrm>
              <a:off x="4184" y="2117"/>
              <a:ext cx="27" cy="35"/>
            </a:xfrm>
            <a:custGeom>
              <a:avLst/>
              <a:gdLst>
                <a:gd name="T0" fmla="*/ 12 w 27"/>
                <a:gd name="T1" fmla="*/ 8 h 35"/>
                <a:gd name="T2" fmla="*/ 6 w 27"/>
                <a:gd name="T3" fmla="*/ 0 h 35"/>
                <a:gd name="T4" fmla="*/ 0 w 27"/>
                <a:gd name="T5" fmla="*/ 0 h 35"/>
                <a:gd name="T6" fmla="*/ 9 w 27"/>
                <a:gd name="T7" fmla="*/ 17 h 35"/>
                <a:gd name="T8" fmla="*/ 7 w 27"/>
                <a:gd name="T9" fmla="*/ 21 h 35"/>
                <a:gd name="T10" fmla="*/ 12 w 27"/>
                <a:gd name="T11" fmla="*/ 35 h 35"/>
                <a:gd name="T12" fmla="*/ 16 w 27"/>
                <a:gd name="T13" fmla="*/ 29 h 35"/>
                <a:gd name="T14" fmla="*/ 21 w 27"/>
                <a:gd name="T15" fmla="*/ 21 h 35"/>
                <a:gd name="T16" fmla="*/ 27 w 27"/>
                <a:gd name="T17" fmla="*/ 12 h 35"/>
                <a:gd name="T18" fmla="*/ 18 w 27"/>
                <a:gd name="T19" fmla="*/ 3 h 35"/>
                <a:gd name="T20" fmla="*/ 12 w 27"/>
                <a:gd name="T21" fmla="*/ 8 h 35"/>
                <a:gd name="T22" fmla="*/ 12 w 27"/>
                <a:gd name="T23" fmla="*/ 8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7" h="35">
                  <a:moveTo>
                    <a:pt x="12" y="8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9" y="17"/>
                  </a:lnTo>
                  <a:lnTo>
                    <a:pt x="7" y="21"/>
                  </a:lnTo>
                  <a:lnTo>
                    <a:pt x="12" y="35"/>
                  </a:lnTo>
                  <a:lnTo>
                    <a:pt x="16" y="29"/>
                  </a:lnTo>
                  <a:lnTo>
                    <a:pt x="21" y="21"/>
                  </a:lnTo>
                  <a:lnTo>
                    <a:pt x="27" y="12"/>
                  </a:lnTo>
                  <a:lnTo>
                    <a:pt x="18" y="3"/>
                  </a:lnTo>
                  <a:lnTo>
                    <a:pt x="12" y="8"/>
                  </a:lnTo>
                  <a:lnTo>
                    <a:pt x="12" y="8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800" name="Freeform 145"/>
            <p:cNvSpPr>
              <a:spLocks/>
            </p:cNvSpPr>
            <p:nvPr userDrawn="1"/>
          </p:nvSpPr>
          <p:spPr bwMode="auto">
            <a:xfrm>
              <a:off x="4212" y="2108"/>
              <a:ext cx="29" cy="18"/>
            </a:xfrm>
            <a:custGeom>
              <a:avLst/>
              <a:gdLst>
                <a:gd name="T0" fmla="*/ 8 w 29"/>
                <a:gd name="T1" fmla="*/ 0 h 18"/>
                <a:gd name="T2" fmla="*/ 13 w 29"/>
                <a:gd name="T3" fmla="*/ 8 h 18"/>
                <a:gd name="T4" fmla="*/ 0 w 29"/>
                <a:gd name="T5" fmla="*/ 12 h 18"/>
                <a:gd name="T6" fmla="*/ 8 w 29"/>
                <a:gd name="T7" fmla="*/ 18 h 18"/>
                <a:gd name="T8" fmla="*/ 14 w 29"/>
                <a:gd name="T9" fmla="*/ 12 h 18"/>
                <a:gd name="T10" fmla="*/ 22 w 29"/>
                <a:gd name="T11" fmla="*/ 9 h 18"/>
                <a:gd name="T12" fmla="*/ 29 w 29"/>
                <a:gd name="T13" fmla="*/ 11 h 18"/>
                <a:gd name="T14" fmla="*/ 26 w 29"/>
                <a:gd name="T15" fmla="*/ 6 h 18"/>
                <a:gd name="T16" fmla="*/ 8 w 29"/>
                <a:gd name="T17" fmla="*/ 0 h 18"/>
                <a:gd name="T18" fmla="*/ 8 w 29"/>
                <a:gd name="T1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9" h="18">
                  <a:moveTo>
                    <a:pt x="8" y="0"/>
                  </a:moveTo>
                  <a:lnTo>
                    <a:pt x="13" y="8"/>
                  </a:lnTo>
                  <a:lnTo>
                    <a:pt x="0" y="12"/>
                  </a:lnTo>
                  <a:lnTo>
                    <a:pt x="8" y="18"/>
                  </a:lnTo>
                  <a:lnTo>
                    <a:pt x="14" y="12"/>
                  </a:lnTo>
                  <a:lnTo>
                    <a:pt x="22" y="9"/>
                  </a:lnTo>
                  <a:lnTo>
                    <a:pt x="29" y="11"/>
                  </a:lnTo>
                  <a:lnTo>
                    <a:pt x="26" y="6"/>
                  </a:lnTo>
                  <a:lnTo>
                    <a:pt x="8" y="0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801" name="Freeform 146"/>
            <p:cNvSpPr>
              <a:spLocks/>
            </p:cNvSpPr>
            <p:nvPr userDrawn="1"/>
          </p:nvSpPr>
          <p:spPr bwMode="auto">
            <a:xfrm>
              <a:off x="4139" y="1986"/>
              <a:ext cx="102" cy="128"/>
            </a:xfrm>
            <a:custGeom>
              <a:avLst/>
              <a:gdLst>
                <a:gd name="T0" fmla="*/ 0 w 102"/>
                <a:gd name="T1" fmla="*/ 45 h 128"/>
                <a:gd name="T2" fmla="*/ 15 w 102"/>
                <a:gd name="T3" fmla="*/ 60 h 128"/>
                <a:gd name="T4" fmla="*/ 10 w 102"/>
                <a:gd name="T5" fmla="*/ 69 h 128"/>
                <a:gd name="T6" fmla="*/ 16 w 102"/>
                <a:gd name="T7" fmla="*/ 80 h 128"/>
                <a:gd name="T8" fmla="*/ 13 w 102"/>
                <a:gd name="T9" fmla="*/ 86 h 128"/>
                <a:gd name="T10" fmla="*/ 16 w 102"/>
                <a:gd name="T11" fmla="*/ 95 h 128"/>
                <a:gd name="T12" fmla="*/ 21 w 102"/>
                <a:gd name="T13" fmla="*/ 103 h 128"/>
                <a:gd name="T14" fmla="*/ 30 w 102"/>
                <a:gd name="T15" fmla="*/ 101 h 128"/>
                <a:gd name="T16" fmla="*/ 30 w 102"/>
                <a:gd name="T17" fmla="*/ 101 h 128"/>
                <a:gd name="T18" fmla="*/ 39 w 102"/>
                <a:gd name="T19" fmla="*/ 106 h 128"/>
                <a:gd name="T20" fmla="*/ 39 w 102"/>
                <a:gd name="T21" fmla="*/ 106 h 128"/>
                <a:gd name="T22" fmla="*/ 42 w 102"/>
                <a:gd name="T23" fmla="*/ 106 h 128"/>
                <a:gd name="T24" fmla="*/ 43 w 102"/>
                <a:gd name="T25" fmla="*/ 103 h 128"/>
                <a:gd name="T26" fmla="*/ 48 w 102"/>
                <a:gd name="T27" fmla="*/ 100 h 128"/>
                <a:gd name="T28" fmla="*/ 55 w 102"/>
                <a:gd name="T29" fmla="*/ 110 h 128"/>
                <a:gd name="T30" fmla="*/ 46 w 102"/>
                <a:gd name="T31" fmla="*/ 113 h 128"/>
                <a:gd name="T32" fmla="*/ 51 w 102"/>
                <a:gd name="T33" fmla="*/ 121 h 128"/>
                <a:gd name="T34" fmla="*/ 58 w 102"/>
                <a:gd name="T35" fmla="*/ 121 h 128"/>
                <a:gd name="T36" fmla="*/ 66 w 102"/>
                <a:gd name="T37" fmla="*/ 128 h 128"/>
                <a:gd name="T38" fmla="*/ 75 w 102"/>
                <a:gd name="T39" fmla="*/ 127 h 128"/>
                <a:gd name="T40" fmla="*/ 66 w 102"/>
                <a:gd name="T41" fmla="*/ 113 h 128"/>
                <a:gd name="T42" fmla="*/ 67 w 102"/>
                <a:gd name="T43" fmla="*/ 106 h 128"/>
                <a:gd name="T44" fmla="*/ 72 w 102"/>
                <a:gd name="T45" fmla="*/ 110 h 128"/>
                <a:gd name="T46" fmla="*/ 72 w 102"/>
                <a:gd name="T47" fmla="*/ 104 h 128"/>
                <a:gd name="T48" fmla="*/ 83 w 102"/>
                <a:gd name="T49" fmla="*/ 106 h 128"/>
                <a:gd name="T50" fmla="*/ 93 w 102"/>
                <a:gd name="T51" fmla="*/ 91 h 128"/>
                <a:gd name="T52" fmla="*/ 80 w 102"/>
                <a:gd name="T53" fmla="*/ 75 h 128"/>
                <a:gd name="T54" fmla="*/ 80 w 102"/>
                <a:gd name="T55" fmla="*/ 63 h 128"/>
                <a:gd name="T56" fmla="*/ 102 w 102"/>
                <a:gd name="T57" fmla="*/ 44 h 128"/>
                <a:gd name="T58" fmla="*/ 102 w 102"/>
                <a:gd name="T59" fmla="*/ 33 h 128"/>
                <a:gd name="T60" fmla="*/ 98 w 102"/>
                <a:gd name="T61" fmla="*/ 21 h 128"/>
                <a:gd name="T62" fmla="*/ 95 w 102"/>
                <a:gd name="T63" fmla="*/ 6 h 128"/>
                <a:gd name="T64" fmla="*/ 84 w 102"/>
                <a:gd name="T65" fmla="*/ 0 h 128"/>
                <a:gd name="T66" fmla="*/ 64 w 102"/>
                <a:gd name="T67" fmla="*/ 21 h 128"/>
                <a:gd name="T68" fmla="*/ 70 w 102"/>
                <a:gd name="T69" fmla="*/ 29 h 128"/>
                <a:gd name="T70" fmla="*/ 70 w 102"/>
                <a:gd name="T71" fmla="*/ 38 h 128"/>
                <a:gd name="T72" fmla="*/ 63 w 102"/>
                <a:gd name="T73" fmla="*/ 32 h 128"/>
                <a:gd name="T74" fmla="*/ 60 w 102"/>
                <a:gd name="T75" fmla="*/ 33 h 128"/>
                <a:gd name="T76" fmla="*/ 55 w 102"/>
                <a:gd name="T77" fmla="*/ 48 h 128"/>
                <a:gd name="T78" fmla="*/ 43 w 102"/>
                <a:gd name="T79" fmla="*/ 41 h 128"/>
                <a:gd name="T80" fmla="*/ 45 w 102"/>
                <a:gd name="T81" fmla="*/ 33 h 128"/>
                <a:gd name="T82" fmla="*/ 40 w 102"/>
                <a:gd name="T83" fmla="*/ 30 h 128"/>
                <a:gd name="T84" fmla="*/ 52 w 102"/>
                <a:gd name="T85" fmla="*/ 18 h 128"/>
                <a:gd name="T86" fmla="*/ 33 w 102"/>
                <a:gd name="T87" fmla="*/ 23 h 128"/>
                <a:gd name="T88" fmla="*/ 21 w 102"/>
                <a:gd name="T89" fmla="*/ 17 h 128"/>
                <a:gd name="T90" fmla="*/ 21 w 102"/>
                <a:gd name="T91" fmla="*/ 21 h 128"/>
                <a:gd name="T92" fmla="*/ 36 w 102"/>
                <a:gd name="T93" fmla="*/ 29 h 128"/>
                <a:gd name="T94" fmla="*/ 30 w 102"/>
                <a:gd name="T95" fmla="*/ 38 h 128"/>
                <a:gd name="T96" fmla="*/ 24 w 102"/>
                <a:gd name="T97" fmla="*/ 45 h 128"/>
                <a:gd name="T98" fmla="*/ 3 w 102"/>
                <a:gd name="T99" fmla="*/ 41 h 128"/>
                <a:gd name="T100" fmla="*/ 0 w 102"/>
                <a:gd name="T101" fmla="*/ 45 h 128"/>
                <a:gd name="T102" fmla="*/ 0 w 102"/>
                <a:gd name="T103" fmla="*/ 45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02" h="128">
                  <a:moveTo>
                    <a:pt x="0" y="45"/>
                  </a:moveTo>
                  <a:lnTo>
                    <a:pt x="15" y="60"/>
                  </a:lnTo>
                  <a:lnTo>
                    <a:pt x="10" y="69"/>
                  </a:lnTo>
                  <a:lnTo>
                    <a:pt x="16" y="80"/>
                  </a:lnTo>
                  <a:lnTo>
                    <a:pt x="13" y="86"/>
                  </a:lnTo>
                  <a:lnTo>
                    <a:pt x="16" y="95"/>
                  </a:lnTo>
                  <a:lnTo>
                    <a:pt x="21" y="103"/>
                  </a:lnTo>
                  <a:lnTo>
                    <a:pt x="30" y="101"/>
                  </a:lnTo>
                  <a:lnTo>
                    <a:pt x="30" y="101"/>
                  </a:lnTo>
                  <a:lnTo>
                    <a:pt x="39" y="106"/>
                  </a:lnTo>
                  <a:lnTo>
                    <a:pt x="39" y="106"/>
                  </a:lnTo>
                  <a:lnTo>
                    <a:pt x="42" y="106"/>
                  </a:lnTo>
                  <a:lnTo>
                    <a:pt x="43" y="103"/>
                  </a:lnTo>
                  <a:lnTo>
                    <a:pt x="48" y="100"/>
                  </a:lnTo>
                  <a:lnTo>
                    <a:pt x="55" y="110"/>
                  </a:lnTo>
                  <a:lnTo>
                    <a:pt x="46" y="113"/>
                  </a:lnTo>
                  <a:lnTo>
                    <a:pt x="51" y="121"/>
                  </a:lnTo>
                  <a:lnTo>
                    <a:pt x="58" y="121"/>
                  </a:lnTo>
                  <a:lnTo>
                    <a:pt x="66" y="128"/>
                  </a:lnTo>
                  <a:lnTo>
                    <a:pt x="75" y="127"/>
                  </a:lnTo>
                  <a:lnTo>
                    <a:pt x="66" y="113"/>
                  </a:lnTo>
                  <a:lnTo>
                    <a:pt x="67" y="106"/>
                  </a:lnTo>
                  <a:lnTo>
                    <a:pt x="72" y="110"/>
                  </a:lnTo>
                  <a:lnTo>
                    <a:pt x="72" y="104"/>
                  </a:lnTo>
                  <a:lnTo>
                    <a:pt x="83" y="106"/>
                  </a:lnTo>
                  <a:lnTo>
                    <a:pt x="93" y="91"/>
                  </a:lnTo>
                  <a:lnTo>
                    <a:pt x="80" y="75"/>
                  </a:lnTo>
                  <a:lnTo>
                    <a:pt x="80" y="63"/>
                  </a:lnTo>
                  <a:lnTo>
                    <a:pt x="102" y="44"/>
                  </a:lnTo>
                  <a:lnTo>
                    <a:pt x="102" y="33"/>
                  </a:lnTo>
                  <a:lnTo>
                    <a:pt x="98" y="21"/>
                  </a:lnTo>
                  <a:lnTo>
                    <a:pt x="95" y="6"/>
                  </a:lnTo>
                  <a:lnTo>
                    <a:pt x="84" y="0"/>
                  </a:lnTo>
                  <a:lnTo>
                    <a:pt x="64" y="21"/>
                  </a:lnTo>
                  <a:lnTo>
                    <a:pt x="70" y="29"/>
                  </a:lnTo>
                  <a:lnTo>
                    <a:pt x="70" y="38"/>
                  </a:lnTo>
                  <a:lnTo>
                    <a:pt x="63" y="32"/>
                  </a:lnTo>
                  <a:lnTo>
                    <a:pt x="60" y="33"/>
                  </a:lnTo>
                  <a:lnTo>
                    <a:pt x="55" y="48"/>
                  </a:lnTo>
                  <a:lnTo>
                    <a:pt x="43" y="41"/>
                  </a:lnTo>
                  <a:lnTo>
                    <a:pt x="45" y="33"/>
                  </a:lnTo>
                  <a:lnTo>
                    <a:pt x="40" y="30"/>
                  </a:lnTo>
                  <a:lnTo>
                    <a:pt x="52" y="18"/>
                  </a:lnTo>
                  <a:lnTo>
                    <a:pt x="33" y="23"/>
                  </a:lnTo>
                  <a:lnTo>
                    <a:pt x="21" y="17"/>
                  </a:lnTo>
                  <a:lnTo>
                    <a:pt x="21" y="21"/>
                  </a:lnTo>
                  <a:lnTo>
                    <a:pt x="36" y="29"/>
                  </a:lnTo>
                  <a:lnTo>
                    <a:pt x="30" y="38"/>
                  </a:lnTo>
                  <a:lnTo>
                    <a:pt x="24" y="45"/>
                  </a:lnTo>
                  <a:lnTo>
                    <a:pt x="3" y="41"/>
                  </a:lnTo>
                  <a:lnTo>
                    <a:pt x="0" y="45"/>
                  </a:lnTo>
                  <a:lnTo>
                    <a:pt x="0" y="45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802" name="Freeform 147"/>
            <p:cNvSpPr>
              <a:spLocks/>
            </p:cNvSpPr>
            <p:nvPr userDrawn="1"/>
          </p:nvSpPr>
          <p:spPr bwMode="auto">
            <a:xfrm>
              <a:off x="4108" y="2006"/>
              <a:ext cx="11" cy="22"/>
            </a:xfrm>
            <a:custGeom>
              <a:avLst/>
              <a:gdLst>
                <a:gd name="T0" fmla="*/ 11 w 11"/>
                <a:gd name="T1" fmla="*/ 12 h 22"/>
                <a:gd name="T2" fmla="*/ 3 w 11"/>
                <a:gd name="T3" fmla="*/ 0 h 22"/>
                <a:gd name="T4" fmla="*/ 8 w 11"/>
                <a:gd name="T5" fmla="*/ 12 h 22"/>
                <a:gd name="T6" fmla="*/ 0 w 11"/>
                <a:gd name="T7" fmla="*/ 18 h 22"/>
                <a:gd name="T8" fmla="*/ 8 w 11"/>
                <a:gd name="T9" fmla="*/ 22 h 22"/>
                <a:gd name="T10" fmla="*/ 11 w 11"/>
                <a:gd name="T11" fmla="*/ 12 h 22"/>
                <a:gd name="T12" fmla="*/ 11 w 11"/>
                <a:gd name="T13" fmla="*/ 1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22">
                  <a:moveTo>
                    <a:pt x="11" y="12"/>
                  </a:moveTo>
                  <a:lnTo>
                    <a:pt x="3" y="0"/>
                  </a:lnTo>
                  <a:lnTo>
                    <a:pt x="8" y="12"/>
                  </a:lnTo>
                  <a:lnTo>
                    <a:pt x="0" y="18"/>
                  </a:lnTo>
                  <a:lnTo>
                    <a:pt x="8" y="22"/>
                  </a:lnTo>
                  <a:lnTo>
                    <a:pt x="11" y="12"/>
                  </a:lnTo>
                  <a:lnTo>
                    <a:pt x="11" y="12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803" name="Freeform 148"/>
            <p:cNvSpPr>
              <a:spLocks/>
            </p:cNvSpPr>
            <p:nvPr userDrawn="1"/>
          </p:nvSpPr>
          <p:spPr bwMode="auto">
            <a:xfrm>
              <a:off x="3971" y="2064"/>
              <a:ext cx="14" cy="10"/>
            </a:xfrm>
            <a:custGeom>
              <a:avLst/>
              <a:gdLst>
                <a:gd name="T0" fmla="*/ 14 w 14"/>
                <a:gd name="T1" fmla="*/ 10 h 10"/>
                <a:gd name="T2" fmla="*/ 6 w 14"/>
                <a:gd name="T3" fmla="*/ 0 h 10"/>
                <a:gd name="T4" fmla="*/ 0 w 14"/>
                <a:gd name="T5" fmla="*/ 2 h 10"/>
                <a:gd name="T6" fmla="*/ 8 w 14"/>
                <a:gd name="T7" fmla="*/ 8 h 10"/>
                <a:gd name="T8" fmla="*/ 14 w 14"/>
                <a:gd name="T9" fmla="*/ 10 h 10"/>
                <a:gd name="T10" fmla="*/ 14 w 14"/>
                <a:gd name="T11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" h="10">
                  <a:moveTo>
                    <a:pt x="14" y="10"/>
                  </a:moveTo>
                  <a:lnTo>
                    <a:pt x="6" y="0"/>
                  </a:lnTo>
                  <a:lnTo>
                    <a:pt x="0" y="2"/>
                  </a:lnTo>
                  <a:lnTo>
                    <a:pt x="8" y="8"/>
                  </a:lnTo>
                  <a:lnTo>
                    <a:pt x="14" y="10"/>
                  </a:lnTo>
                  <a:lnTo>
                    <a:pt x="14" y="10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804" name="Freeform 149"/>
            <p:cNvSpPr>
              <a:spLocks/>
            </p:cNvSpPr>
            <p:nvPr userDrawn="1"/>
          </p:nvSpPr>
          <p:spPr bwMode="auto">
            <a:xfrm>
              <a:off x="4131" y="1849"/>
              <a:ext cx="18" cy="13"/>
            </a:xfrm>
            <a:custGeom>
              <a:avLst/>
              <a:gdLst>
                <a:gd name="T0" fmla="*/ 11 w 18"/>
                <a:gd name="T1" fmla="*/ 7 h 13"/>
                <a:gd name="T2" fmla="*/ 18 w 18"/>
                <a:gd name="T3" fmla="*/ 10 h 13"/>
                <a:gd name="T4" fmla="*/ 15 w 18"/>
                <a:gd name="T5" fmla="*/ 0 h 13"/>
                <a:gd name="T6" fmla="*/ 6 w 18"/>
                <a:gd name="T7" fmla="*/ 3 h 13"/>
                <a:gd name="T8" fmla="*/ 0 w 18"/>
                <a:gd name="T9" fmla="*/ 10 h 13"/>
                <a:gd name="T10" fmla="*/ 5 w 18"/>
                <a:gd name="T11" fmla="*/ 13 h 13"/>
                <a:gd name="T12" fmla="*/ 11 w 18"/>
                <a:gd name="T13" fmla="*/ 7 h 13"/>
                <a:gd name="T14" fmla="*/ 11 w 18"/>
                <a:gd name="T15" fmla="*/ 7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13">
                  <a:moveTo>
                    <a:pt x="11" y="7"/>
                  </a:moveTo>
                  <a:lnTo>
                    <a:pt x="18" y="10"/>
                  </a:lnTo>
                  <a:lnTo>
                    <a:pt x="15" y="0"/>
                  </a:lnTo>
                  <a:lnTo>
                    <a:pt x="6" y="3"/>
                  </a:lnTo>
                  <a:lnTo>
                    <a:pt x="0" y="10"/>
                  </a:lnTo>
                  <a:lnTo>
                    <a:pt x="5" y="13"/>
                  </a:lnTo>
                  <a:lnTo>
                    <a:pt x="11" y="7"/>
                  </a:lnTo>
                  <a:lnTo>
                    <a:pt x="11" y="7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805" name="Freeform 150"/>
            <p:cNvSpPr>
              <a:spLocks/>
            </p:cNvSpPr>
            <p:nvPr userDrawn="1"/>
          </p:nvSpPr>
          <p:spPr bwMode="auto">
            <a:xfrm>
              <a:off x="3968" y="1802"/>
              <a:ext cx="146" cy="133"/>
            </a:xfrm>
            <a:custGeom>
              <a:avLst/>
              <a:gdLst>
                <a:gd name="T0" fmla="*/ 12 w 146"/>
                <a:gd name="T1" fmla="*/ 127 h 133"/>
                <a:gd name="T2" fmla="*/ 18 w 146"/>
                <a:gd name="T3" fmla="*/ 124 h 133"/>
                <a:gd name="T4" fmla="*/ 17 w 146"/>
                <a:gd name="T5" fmla="*/ 131 h 133"/>
                <a:gd name="T6" fmla="*/ 23 w 146"/>
                <a:gd name="T7" fmla="*/ 133 h 133"/>
                <a:gd name="T8" fmla="*/ 24 w 146"/>
                <a:gd name="T9" fmla="*/ 124 h 133"/>
                <a:gd name="T10" fmla="*/ 20 w 146"/>
                <a:gd name="T11" fmla="*/ 119 h 133"/>
                <a:gd name="T12" fmla="*/ 20 w 146"/>
                <a:gd name="T13" fmla="*/ 116 h 133"/>
                <a:gd name="T14" fmla="*/ 12 w 146"/>
                <a:gd name="T15" fmla="*/ 112 h 133"/>
                <a:gd name="T16" fmla="*/ 15 w 146"/>
                <a:gd name="T17" fmla="*/ 100 h 133"/>
                <a:gd name="T18" fmla="*/ 32 w 146"/>
                <a:gd name="T19" fmla="*/ 93 h 133"/>
                <a:gd name="T20" fmla="*/ 36 w 146"/>
                <a:gd name="T21" fmla="*/ 86 h 133"/>
                <a:gd name="T22" fmla="*/ 54 w 146"/>
                <a:gd name="T23" fmla="*/ 75 h 133"/>
                <a:gd name="T24" fmla="*/ 56 w 146"/>
                <a:gd name="T25" fmla="*/ 84 h 133"/>
                <a:gd name="T26" fmla="*/ 66 w 146"/>
                <a:gd name="T27" fmla="*/ 89 h 133"/>
                <a:gd name="T28" fmla="*/ 80 w 146"/>
                <a:gd name="T29" fmla="*/ 80 h 133"/>
                <a:gd name="T30" fmla="*/ 89 w 146"/>
                <a:gd name="T31" fmla="*/ 83 h 133"/>
                <a:gd name="T32" fmla="*/ 95 w 146"/>
                <a:gd name="T33" fmla="*/ 77 h 133"/>
                <a:gd name="T34" fmla="*/ 106 w 146"/>
                <a:gd name="T35" fmla="*/ 80 h 133"/>
                <a:gd name="T36" fmla="*/ 116 w 146"/>
                <a:gd name="T37" fmla="*/ 81 h 133"/>
                <a:gd name="T38" fmla="*/ 122 w 146"/>
                <a:gd name="T39" fmla="*/ 87 h 133"/>
                <a:gd name="T40" fmla="*/ 127 w 146"/>
                <a:gd name="T41" fmla="*/ 89 h 133"/>
                <a:gd name="T42" fmla="*/ 128 w 146"/>
                <a:gd name="T43" fmla="*/ 83 h 133"/>
                <a:gd name="T44" fmla="*/ 134 w 146"/>
                <a:gd name="T45" fmla="*/ 69 h 133"/>
                <a:gd name="T46" fmla="*/ 143 w 146"/>
                <a:gd name="T47" fmla="*/ 56 h 133"/>
                <a:gd name="T48" fmla="*/ 145 w 146"/>
                <a:gd name="T49" fmla="*/ 44 h 133"/>
                <a:gd name="T50" fmla="*/ 140 w 146"/>
                <a:gd name="T51" fmla="*/ 32 h 133"/>
                <a:gd name="T52" fmla="*/ 134 w 146"/>
                <a:gd name="T53" fmla="*/ 24 h 133"/>
                <a:gd name="T54" fmla="*/ 140 w 146"/>
                <a:gd name="T55" fmla="*/ 7 h 133"/>
                <a:gd name="T56" fmla="*/ 146 w 146"/>
                <a:gd name="T57" fmla="*/ 1 h 133"/>
                <a:gd name="T58" fmla="*/ 142 w 146"/>
                <a:gd name="T59" fmla="*/ 0 h 133"/>
                <a:gd name="T60" fmla="*/ 128 w 146"/>
                <a:gd name="T61" fmla="*/ 15 h 133"/>
                <a:gd name="T62" fmla="*/ 121 w 146"/>
                <a:gd name="T63" fmla="*/ 23 h 133"/>
                <a:gd name="T64" fmla="*/ 110 w 146"/>
                <a:gd name="T65" fmla="*/ 23 h 133"/>
                <a:gd name="T66" fmla="*/ 103 w 146"/>
                <a:gd name="T67" fmla="*/ 27 h 133"/>
                <a:gd name="T68" fmla="*/ 89 w 146"/>
                <a:gd name="T69" fmla="*/ 42 h 133"/>
                <a:gd name="T70" fmla="*/ 76 w 146"/>
                <a:gd name="T71" fmla="*/ 63 h 133"/>
                <a:gd name="T72" fmla="*/ 48 w 146"/>
                <a:gd name="T73" fmla="*/ 66 h 133"/>
                <a:gd name="T74" fmla="*/ 39 w 146"/>
                <a:gd name="T75" fmla="*/ 72 h 133"/>
                <a:gd name="T76" fmla="*/ 21 w 146"/>
                <a:gd name="T77" fmla="*/ 75 h 133"/>
                <a:gd name="T78" fmla="*/ 5 w 146"/>
                <a:gd name="T79" fmla="*/ 90 h 133"/>
                <a:gd name="T80" fmla="*/ 2 w 146"/>
                <a:gd name="T81" fmla="*/ 109 h 133"/>
                <a:gd name="T82" fmla="*/ 0 w 146"/>
                <a:gd name="T83" fmla="*/ 116 h 133"/>
                <a:gd name="T84" fmla="*/ 6 w 146"/>
                <a:gd name="T85" fmla="*/ 118 h 133"/>
                <a:gd name="T86" fmla="*/ 12 w 146"/>
                <a:gd name="T87" fmla="*/ 127 h 133"/>
                <a:gd name="T88" fmla="*/ 12 w 146"/>
                <a:gd name="T89" fmla="*/ 127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46" h="133">
                  <a:moveTo>
                    <a:pt x="12" y="127"/>
                  </a:moveTo>
                  <a:lnTo>
                    <a:pt x="18" y="124"/>
                  </a:lnTo>
                  <a:lnTo>
                    <a:pt x="17" y="131"/>
                  </a:lnTo>
                  <a:lnTo>
                    <a:pt x="23" y="133"/>
                  </a:lnTo>
                  <a:lnTo>
                    <a:pt x="24" y="124"/>
                  </a:lnTo>
                  <a:lnTo>
                    <a:pt x="20" y="119"/>
                  </a:lnTo>
                  <a:lnTo>
                    <a:pt x="20" y="116"/>
                  </a:lnTo>
                  <a:lnTo>
                    <a:pt x="12" y="112"/>
                  </a:lnTo>
                  <a:lnTo>
                    <a:pt x="15" y="100"/>
                  </a:lnTo>
                  <a:lnTo>
                    <a:pt x="32" y="93"/>
                  </a:lnTo>
                  <a:lnTo>
                    <a:pt x="36" y="86"/>
                  </a:lnTo>
                  <a:lnTo>
                    <a:pt x="54" y="75"/>
                  </a:lnTo>
                  <a:lnTo>
                    <a:pt x="56" y="84"/>
                  </a:lnTo>
                  <a:lnTo>
                    <a:pt x="66" y="89"/>
                  </a:lnTo>
                  <a:lnTo>
                    <a:pt x="80" y="80"/>
                  </a:lnTo>
                  <a:lnTo>
                    <a:pt x="89" y="83"/>
                  </a:lnTo>
                  <a:lnTo>
                    <a:pt x="95" y="77"/>
                  </a:lnTo>
                  <a:lnTo>
                    <a:pt x="106" y="80"/>
                  </a:lnTo>
                  <a:lnTo>
                    <a:pt x="116" y="81"/>
                  </a:lnTo>
                  <a:lnTo>
                    <a:pt x="122" y="87"/>
                  </a:lnTo>
                  <a:lnTo>
                    <a:pt x="127" y="89"/>
                  </a:lnTo>
                  <a:lnTo>
                    <a:pt x="128" y="83"/>
                  </a:lnTo>
                  <a:lnTo>
                    <a:pt x="134" y="69"/>
                  </a:lnTo>
                  <a:lnTo>
                    <a:pt x="143" y="56"/>
                  </a:lnTo>
                  <a:lnTo>
                    <a:pt x="145" y="44"/>
                  </a:lnTo>
                  <a:lnTo>
                    <a:pt x="140" y="32"/>
                  </a:lnTo>
                  <a:lnTo>
                    <a:pt x="134" y="24"/>
                  </a:lnTo>
                  <a:lnTo>
                    <a:pt x="140" y="7"/>
                  </a:lnTo>
                  <a:lnTo>
                    <a:pt x="146" y="1"/>
                  </a:lnTo>
                  <a:lnTo>
                    <a:pt x="142" y="0"/>
                  </a:lnTo>
                  <a:lnTo>
                    <a:pt x="128" y="15"/>
                  </a:lnTo>
                  <a:lnTo>
                    <a:pt x="121" y="23"/>
                  </a:lnTo>
                  <a:lnTo>
                    <a:pt x="110" y="23"/>
                  </a:lnTo>
                  <a:lnTo>
                    <a:pt x="103" y="27"/>
                  </a:lnTo>
                  <a:lnTo>
                    <a:pt x="89" y="42"/>
                  </a:lnTo>
                  <a:lnTo>
                    <a:pt x="76" y="63"/>
                  </a:lnTo>
                  <a:lnTo>
                    <a:pt x="48" y="66"/>
                  </a:lnTo>
                  <a:lnTo>
                    <a:pt x="39" y="72"/>
                  </a:lnTo>
                  <a:lnTo>
                    <a:pt x="21" y="75"/>
                  </a:lnTo>
                  <a:lnTo>
                    <a:pt x="5" y="90"/>
                  </a:lnTo>
                  <a:lnTo>
                    <a:pt x="2" y="109"/>
                  </a:lnTo>
                  <a:lnTo>
                    <a:pt x="0" y="116"/>
                  </a:lnTo>
                  <a:lnTo>
                    <a:pt x="6" y="118"/>
                  </a:lnTo>
                  <a:lnTo>
                    <a:pt x="12" y="127"/>
                  </a:lnTo>
                  <a:lnTo>
                    <a:pt x="12" y="127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806" name="Freeform 151"/>
            <p:cNvSpPr>
              <a:spLocks/>
            </p:cNvSpPr>
            <p:nvPr userDrawn="1"/>
          </p:nvSpPr>
          <p:spPr bwMode="auto">
            <a:xfrm>
              <a:off x="3988" y="1898"/>
              <a:ext cx="22" cy="20"/>
            </a:xfrm>
            <a:custGeom>
              <a:avLst/>
              <a:gdLst>
                <a:gd name="T0" fmla="*/ 10 w 22"/>
                <a:gd name="T1" fmla="*/ 7 h 20"/>
                <a:gd name="T2" fmla="*/ 1 w 22"/>
                <a:gd name="T3" fmla="*/ 5 h 20"/>
                <a:gd name="T4" fmla="*/ 0 w 22"/>
                <a:gd name="T5" fmla="*/ 11 h 20"/>
                <a:gd name="T6" fmla="*/ 6 w 22"/>
                <a:gd name="T7" fmla="*/ 20 h 20"/>
                <a:gd name="T8" fmla="*/ 19 w 22"/>
                <a:gd name="T9" fmla="*/ 14 h 20"/>
                <a:gd name="T10" fmla="*/ 22 w 22"/>
                <a:gd name="T11" fmla="*/ 2 h 20"/>
                <a:gd name="T12" fmla="*/ 12 w 22"/>
                <a:gd name="T13" fmla="*/ 0 h 20"/>
                <a:gd name="T14" fmla="*/ 10 w 22"/>
                <a:gd name="T15" fmla="*/ 7 h 20"/>
                <a:gd name="T16" fmla="*/ 10 w 22"/>
                <a:gd name="T17" fmla="*/ 7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" h="20">
                  <a:moveTo>
                    <a:pt x="10" y="7"/>
                  </a:moveTo>
                  <a:lnTo>
                    <a:pt x="1" y="5"/>
                  </a:lnTo>
                  <a:lnTo>
                    <a:pt x="0" y="11"/>
                  </a:lnTo>
                  <a:lnTo>
                    <a:pt x="6" y="20"/>
                  </a:lnTo>
                  <a:lnTo>
                    <a:pt x="19" y="14"/>
                  </a:lnTo>
                  <a:lnTo>
                    <a:pt x="22" y="2"/>
                  </a:lnTo>
                  <a:lnTo>
                    <a:pt x="12" y="0"/>
                  </a:lnTo>
                  <a:lnTo>
                    <a:pt x="10" y="7"/>
                  </a:lnTo>
                  <a:lnTo>
                    <a:pt x="10" y="7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807" name="Freeform 152"/>
            <p:cNvSpPr>
              <a:spLocks/>
            </p:cNvSpPr>
            <p:nvPr userDrawn="1"/>
          </p:nvSpPr>
          <p:spPr bwMode="auto">
            <a:xfrm>
              <a:off x="3983" y="2092"/>
              <a:ext cx="5" cy="18"/>
            </a:xfrm>
            <a:custGeom>
              <a:avLst/>
              <a:gdLst>
                <a:gd name="T0" fmla="*/ 0 w 5"/>
                <a:gd name="T1" fmla="*/ 18 h 18"/>
                <a:gd name="T2" fmla="*/ 3 w 5"/>
                <a:gd name="T3" fmla="*/ 12 h 18"/>
                <a:gd name="T4" fmla="*/ 5 w 5"/>
                <a:gd name="T5" fmla="*/ 6 h 18"/>
                <a:gd name="T6" fmla="*/ 2 w 5"/>
                <a:gd name="T7" fmla="*/ 0 h 18"/>
                <a:gd name="T8" fmla="*/ 0 w 5"/>
                <a:gd name="T9" fmla="*/ 12 h 18"/>
                <a:gd name="T10" fmla="*/ 0 w 5"/>
                <a:gd name="T11" fmla="*/ 18 h 18"/>
                <a:gd name="T12" fmla="*/ 0 w 5"/>
                <a:gd name="T13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18">
                  <a:moveTo>
                    <a:pt x="0" y="18"/>
                  </a:moveTo>
                  <a:lnTo>
                    <a:pt x="3" y="12"/>
                  </a:lnTo>
                  <a:lnTo>
                    <a:pt x="5" y="6"/>
                  </a:lnTo>
                  <a:lnTo>
                    <a:pt x="2" y="0"/>
                  </a:lnTo>
                  <a:lnTo>
                    <a:pt x="0" y="12"/>
                  </a:lnTo>
                  <a:lnTo>
                    <a:pt x="0" y="18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808" name="Freeform 153"/>
            <p:cNvSpPr>
              <a:spLocks/>
            </p:cNvSpPr>
            <p:nvPr userDrawn="1"/>
          </p:nvSpPr>
          <p:spPr bwMode="auto">
            <a:xfrm>
              <a:off x="3983" y="2143"/>
              <a:ext cx="9" cy="12"/>
            </a:xfrm>
            <a:custGeom>
              <a:avLst/>
              <a:gdLst>
                <a:gd name="T0" fmla="*/ 9 w 9"/>
                <a:gd name="T1" fmla="*/ 7 h 12"/>
                <a:gd name="T2" fmla="*/ 9 w 9"/>
                <a:gd name="T3" fmla="*/ 7 h 12"/>
                <a:gd name="T4" fmla="*/ 8 w 9"/>
                <a:gd name="T5" fmla="*/ 0 h 12"/>
                <a:gd name="T6" fmla="*/ 8 w 9"/>
                <a:gd name="T7" fmla="*/ 0 h 12"/>
                <a:gd name="T8" fmla="*/ 2 w 9"/>
                <a:gd name="T9" fmla="*/ 1 h 12"/>
                <a:gd name="T10" fmla="*/ 0 w 9"/>
                <a:gd name="T11" fmla="*/ 6 h 12"/>
                <a:gd name="T12" fmla="*/ 5 w 9"/>
                <a:gd name="T13" fmla="*/ 12 h 12"/>
                <a:gd name="T14" fmla="*/ 9 w 9"/>
                <a:gd name="T15" fmla="*/ 7 h 12"/>
                <a:gd name="T16" fmla="*/ 9 w 9"/>
                <a:gd name="T17" fmla="*/ 7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" h="12">
                  <a:moveTo>
                    <a:pt x="9" y="7"/>
                  </a:moveTo>
                  <a:lnTo>
                    <a:pt x="9" y="7"/>
                  </a:lnTo>
                  <a:lnTo>
                    <a:pt x="8" y="0"/>
                  </a:lnTo>
                  <a:lnTo>
                    <a:pt x="8" y="0"/>
                  </a:lnTo>
                  <a:lnTo>
                    <a:pt x="2" y="1"/>
                  </a:lnTo>
                  <a:lnTo>
                    <a:pt x="0" y="6"/>
                  </a:lnTo>
                  <a:lnTo>
                    <a:pt x="5" y="12"/>
                  </a:lnTo>
                  <a:lnTo>
                    <a:pt x="9" y="7"/>
                  </a:lnTo>
                  <a:lnTo>
                    <a:pt x="9" y="7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809" name="Freeform 154"/>
            <p:cNvSpPr>
              <a:spLocks/>
            </p:cNvSpPr>
            <p:nvPr userDrawn="1"/>
          </p:nvSpPr>
          <p:spPr bwMode="auto">
            <a:xfrm>
              <a:off x="3979" y="2155"/>
              <a:ext cx="4" cy="8"/>
            </a:xfrm>
            <a:custGeom>
              <a:avLst/>
              <a:gdLst>
                <a:gd name="T0" fmla="*/ 4 w 4"/>
                <a:gd name="T1" fmla="*/ 3 h 8"/>
                <a:gd name="T2" fmla="*/ 0 w 4"/>
                <a:gd name="T3" fmla="*/ 0 h 8"/>
                <a:gd name="T4" fmla="*/ 3 w 4"/>
                <a:gd name="T5" fmla="*/ 8 h 8"/>
                <a:gd name="T6" fmla="*/ 4 w 4"/>
                <a:gd name="T7" fmla="*/ 3 h 8"/>
                <a:gd name="T8" fmla="*/ 4 w 4"/>
                <a:gd name="T9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8">
                  <a:moveTo>
                    <a:pt x="4" y="3"/>
                  </a:moveTo>
                  <a:lnTo>
                    <a:pt x="0" y="0"/>
                  </a:lnTo>
                  <a:lnTo>
                    <a:pt x="3" y="8"/>
                  </a:lnTo>
                  <a:lnTo>
                    <a:pt x="4" y="3"/>
                  </a:lnTo>
                  <a:lnTo>
                    <a:pt x="4" y="3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810" name="Freeform 155"/>
            <p:cNvSpPr>
              <a:spLocks/>
            </p:cNvSpPr>
            <p:nvPr userDrawn="1"/>
          </p:nvSpPr>
          <p:spPr bwMode="auto">
            <a:xfrm>
              <a:off x="3991" y="2158"/>
              <a:ext cx="6" cy="8"/>
            </a:xfrm>
            <a:custGeom>
              <a:avLst/>
              <a:gdLst>
                <a:gd name="T0" fmla="*/ 1 w 6"/>
                <a:gd name="T1" fmla="*/ 8 h 8"/>
                <a:gd name="T2" fmla="*/ 6 w 6"/>
                <a:gd name="T3" fmla="*/ 0 h 8"/>
                <a:gd name="T4" fmla="*/ 0 w 6"/>
                <a:gd name="T5" fmla="*/ 2 h 8"/>
                <a:gd name="T6" fmla="*/ 1 w 6"/>
                <a:gd name="T7" fmla="*/ 8 h 8"/>
                <a:gd name="T8" fmla="*/ 1 w 6"/>
                <a:gd name="T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">
                  <a:moveTo>
                    <a:pt x="1" y="8"/>
                  </a:moveTo>
                  <a:lnTo>
                    <a:pt x="6" y="0"/>
                  </a:lnTo>
                  <a:lnTo>
                    <a:pt x="0" y="2"/>
                  </a:lnTo>
                  <a:lnTo>
                    <a:pt x="1" y="8"/>
                  </a:lnTo>
                  <a:lnTo>
                    <a:pt x="1" y="8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811" name="Freeform 156"/>
            <p:cNvSpPr>
              <a:spLocks/>
            </p:cNvSpPr>
            <p:nvPr userDrawn="1"/>
          </p:nvSpPr>
          <p:spPr bwMode="auto">
            <a:xfrm>
              <a:off x="3745" y="2306"/>
              <a:ext cx="13" cy="27"/>
            </a:xfrm>
            <a:custGeom>
              <a:avLst/>
              <a:gdLst>
                <a:gd name="T0" fmla="*/ 7 w 13"/>
                <a:gd name="T1" fmla="*/ 3 h 27"/>
                <a:gd name="T2" fmla="*/ 1 w 13"/>
                <a:gd name="T3" fmla="*/ 10 h 27"/>
                <a:gd name="T4" fmla="*/ 0 w 13"/>
                <a:gd name="T5" fmla="*/ 27 h 27"/>
                <a:gd name="T6" fmla="*/ 10 w 13"/>
                <a:gd name="T7" fmla="*/ 27 h 27"/>
                <a:gd name="T8" fmla="*/ 12 w 13"/>
                <a:gd name="T9" fmla="*/ 15 h 27"/>
                <a:gd name="T10" fmla="*/ 13 w 13"/>
                <a:gd name="T11" fmla="*/ 7 h 27"/>
                <a:gd name="T12" fmla="*/ 13 w 13"/>
                <a:gd name="T13" fmla="*/ 0 h 27"/>
                <a:gd name="T14" fmla="*/ 7 w 13"/>
                <a:gd name="T15" fmla="*/ 3 h 27"/>
                <a:gd name="T16" fmla="*/ 7 w 13"/>
                <a:gd name="T17" fmla="*/ 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" h="27">
                  <a:moveTo>
                    <a:pt x="7" y="3"/>
                  </a:moveTo>
                  <a:lnTo>
                    <a:pt x="1" y="10"/>
                  </a:lnTo>
                  <a:lnTo>
                    <a:pt x="0" y="27"/>
                  </a:lnTo>
                  <a:lnTo>
                    <a:pt x="10" y="27"/>
                  </a:lnTo>
                  <a:lnTo>
                    <a:pt x="12" y="15"/>
                  </a:lnTo>
                  <a:lnTo>
                    <a:pt x="13" y="7"/>
                  </a:lnTo>
                  <a:lnTo>
                    <a:pt x="13" y="0"/>
                  </a:lnTo>
                  <a:lnTo>
                    <a:pt x="7" y="3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812" name="Freeform 157"/>
            <p:cNvSpPr>
              <a:spLocks/>
            </p:cNvSpPr>
            <p:nvPr userDrawn="1"/>
          </p:nvSpPr>
          <p:spPr bwMode="auto">
            <a:xfrm>
              <a:off x="3760" y="2289"/>
              <a:ext cx="23" cy="20"/>
            </a:xfrm>
            <a:custGeom>
              <a:avLst/>
              <a:gdLst>
                <a:gd name="T0" fmla="*/ 6 w 23"/>
                <a:gd name="T1" fmla="*/ 8 h 20"/>
                <a:gd name="T2" fmla="*/ 0 w 23"/>
                <a:gd name="T3" fmla="*/ 14 h 20"/>
                <a:gd name="T4" fmla="*/ 1 w 23"/>
                <a:gd name="T5" fmla="*/ 20 h 20"/>
                <a:gd name="T6" fmla="*/ 6 w 23"/>
                <a:gd name="T7" fmla="*/ 14 h 20"/>
                <a:gd name="T8" fmla="*/ 11 w 23"/>
                <a:gd name="T9" fmla="*/ 9 h 20"/>
                <a:gd name="T10" fmla="*/ 23 w 23"/>
                <a:gd name="T11" fmla="*/ 2 h 20"/>
                <a:gd name="T12" fmla="*/ 20 w 23"/>
                <a:gd name="T13" fmla="*/ 0 h 20"/>
                <a:gd name="T14" fmla="*/ 6 w 23"/>
                <a:gd name="T15" fmla="*/ 8 h 20"/>
                <a:gd name="T16" fmla="*/ 6 w 23"/>
                <a:gd name="T17" fmla="*/ 8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" h="20">
                  <a:moveTo>
                    <a:pt x="6" y="8"/>
                  </a:moveTo>
                  <a:lnTo>
                    <a:pt x="0" y="14"/>
                  </a:lnTo>
                  <a:lnTo>
                    <a:pt x="1" y="20"/>
                  </a:lnTo>
                  <a:lnTo>
                    <a:pt x="6" y="14"/>
                  </a:lnTo>
                  <a:lnTo>
                    <a:pt x="11" y="9"/>
                  </a:lnTo>
                  <a:lnTo>
                    <a:pt x="23" y="2"/>
                  </a:lnTo>
                  <a:lnTo>
                    <a:pt x="20" y="0"/>
                  </a:lnTo>
                  <a:lnTo>
                    <a:pt x="6" y="8"/>
                  </a:lnTo>
                  <a:lnTo>
                    <a:pt x="6" y="8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813" name="Freeform 158"/>
            <p:cNvSpPr>
              <a:spLocks/>
            </p:cNvSpPr>
            <p:nvPr userDrawn="1"/>
          </p:nvSpPr>
          <p:spPr bwMode="auto">
            <a:xfrm>
              <a:off x="3784" y="2279"/>
              <a:ext cx="29" cy="10"/>
            </a:xfrm>
            <a:custGeom>
              <a:avLst/>
              <a:gdLst>
                <a:gd name="T0" fmla="*/ 3 w 29"/>
                <a:gd name="T1" fmla="*/ 10 h 10"/>
                <a:gd name="T2" fmla="*/ 11 w 29"/>
                <a:gd name="T3" fmla="*/ 9 h 10"/>
                <a:gd name="T4" fmla="*/ 15 w 29"/>
                <a:gd name="T5" fmla="*/ 6 h 10"/>
                <a:gd name="T6" fmla="*/ 24 w 29"/>
                <a:gd name="T7" fmla="*/ 3 h 10"/>
                <a:gd name="T8" fmla="*/ 29 w 29"/>
                <a:gd name="T9" fmla="*/ 3 h 10"/>
                <a:gd name="T10" fmla="*/ 29 w 29"/>
                <a:gd name="T11" fmla="*/ 0 h 10"/>
                <a:gd name="T12" fmla="*/ 18 w 29"/>
                <a:gd name="T13" fmla="*/ 1 h 10"/>
                <a:gd name="T14" fmla="*/ 0 w 29"/>
                <a:gd name="T15" fmla="*/ 6 h 10"/>
                <a:gd name="T16" fmla="*/ 3 w 29"/>
                <a:gd name="T17" fmla="*/ 10 h 10"/>
                <a:gd name="T18" fmla="*/ 3 w 29"/>
                <a:gd name="T19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9" h="10">
                  <a:moveTo>
                    <a:pt x="3" y="10"/>
                  </a:moveTo>
                  <a:lnTo>
                    <a:pt x="11" y="9"/>
                  </a:lnTo>
                  <a:lnTo>
                    <a:pt x="15" y="6"/>
                  </a:lnTo>
                  <a:lnTo>
                    <a:pt x="24" y="3"/>
                  </a:lnTo>
                  <a:lnTo>
                    <a:pt x="29" y="3"/>
                  </a:lnTo>
                  <a:lnTo>
                    <a:pt x="29" y="0"/>
                  </a:lnTo>
                  <a:lnTo>
                    <a:pt x="18" y="1"/>
                  </a:lnTo>
                  <a:lnTo>
                    <a:pt x="0" y="6"/>
                  </a:lnTo>
                  <a:lnTo>
                    <a:pt x="3" y="10"/>
                  </a:lnTo>
                  <a:lnTo>
                    <a:pt x="3" y="10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814" name="Freeform 159"/>
            <p:cNvSpPr>
              <a:spLocks/>
            </p:cNvSpPr>
            <p:nvPr userDrawn="1"/>
          </p:nvSpPr>
          <p:spPr bwMode="auto">
            <a:xfrm>
              <a:off x="3817" y="2276"/>
              <a:ext cx="29" cy="7"/>
            </a:xfrm>
            <a:custGeom>
              <a:avLst/>
              <a:gdLst>
                <a:gd name="T0" fmla="*/ 17 w 29"/>
                <a:gd name="T1" fmla="*/ 7 h 7"/>
                <a:gd name="T2" fmla="*/ 29 w 29"/>
                <a:gd name="T3" fmla="*/ 0 h 7"/>
                <a:gd name="T4" fmla="*/ 23 w 29"/>
                <a:gd name="T5" fmla="*/ 1 h 7"/>
                <a:gd name="T6" fmla="*/ 14 w 29"/>
                <a:gd name="T7" fmla="*/ 3 h 7"/>
                <a:gd name="T8" fmla="*/ 3 w 29"/>
                <a:gd name="T9" fmla="*/ 3 h 7"/>
                <a:gd name="T10" fmla="*/ 0 w 29"/>
                <a:gd name="T11" fmla="*/ 7 h 7"/>
                <a:gd name="T12" fmla="*/ 8 w 29"/>
                <a:gd name="T13" fmla="*/ 6 h 7"/>
                <a:gd name="T14" fmla="*/ 17 w 29"/>
                <a:gd name="T15" fmla="*/ 7 h 7"/>
                <a:gd name="T16" fmla="*/ 17 w 29"/>
                <a:gd name="T1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7">
                  <a:moveTo>
                    <a:pt x="17" y="7"/>
                  </a:moveTo>
                  <a:lnTo>
                    <a:pt x="29" y="0"/>
                  </a:lnTo>
                  <a:lnTo>
                    <a:pt x="23" y="1"/>
                  </a:lnTo>
                  <a:lnTo>
                    <a:pt x="14" y="3"/>
                  </a:lnTo>
                  <a:lnTo>
                    <a:pt x="3" y="3"/>
                  </a:lnTo>
                  <a:lnTo>
                    <a:pt x="0" y="7"/>
                  </a:lnTo>
                  <a:lnTo>
                    <a:pt x="8" y="6"/>
                  </a:lnTo>
                  <a:lnTo>
                    <a:pt x="17" y="7"/>
                  </a:lnTo>
                  <a:lnTo>
                    <a:pt x="17" y="7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815" name="Freeform 160"/>
            <p:cNvSpPr>
              <a:spLocks/>
            </p:cNvSpPr>
            <p:nvPr userDrawn="1"/>
          </p:nvSpPr>
          <p:spPr bwMode="auto">
            <a:xfrm>
              <a:off x="3849" y="2273"/>
              <a:ext cx="15" cy="7"/>
            </a:xfrm>
            <a:custGeom>
              <a:avLst/>
              <a:gdLst>
                <a:gd name="T0" fmla="*/ 15 w 15"/>
                <a:gd name="T1" fmla="*/ 0 h 7"/>
                <a:gd name="T2" fmla="*/ 3 w 15"/>
                <a:gd name="T3" fmla="*/ 1 h 7"/>
                <a:gd name="T4" fmla="*/ 0 w 15"/>
                <a:gd name="T5" fmla="*/ 7 h 7"/>
                <a:gd name="T6" fmla="*/ 9 w 15"/>
                <a:gd name="T7" fmla="*/ 3 h 7"/>
                <a:gd name="T8" fmla="*/ 15 w 15"/>
                <a:gd name="T9" fmla="*/ 0 h 7"/>
                <a:gd name="T10" fmla="*/ 15 w 15"/>
                <a:gd name="T11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" h="7">
                  <a:moveTo>
                    <a:pt x="15" y="0"/>
                  </a:moveTo>
                  <a:lnTo>
                    <a:pt x="3" y="1"/>
                  </a:lnTo>
                  <a:lnTo>
                    <a:pt x="0" y="7"/>
                  </a:lnTo>
                  <a:lnTo>
                    <a:pt x="9" y="3"/>
                  </a:lnTo>
                  <a:lnTo>
                    <a:pt x="15" y="0"/>
                  </a:lnTo>
                  <a:lnTo>
                    <a:pt x="15" y="0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816" name="Freeform 161"/>
            <p:cNvSpPr>
              <a:spLocks/>
            </p:cNvSpPr>
            <p:nvPr userDrawn="1"/>
          </p:nvSpPr>
          <p:spPr bwMode="auto">
            <a:xfrm>
              <a:off x="3875" y="2264"/>
              <a:ext cx="15" cy="9"/>
            </a:xfrm>
            <a:custGeom>
              <a:avLst/>
              <a:gdLst>
                <a:gd name="T0" fmla="*/ 9 w 15"/>
                <a:gd name="T1" fmla="*/ 3 h 9"/>
                <a:gd name="T2" fmla="*/ 15 w 15"/>
                <a:gd name="T3" fmla="*/ 1 h 9"/>
                <a:gd name="T4" fmla="*/ 12 w 15"/>
                <a:gd name="T5" fmla="*/ 0 h 9"/>
                <a:gd name="T6" fmla="*/ 4 w 15"/>
                <a:gd name="T7" fmla="*/ 0 h 9"/>
                <a:gd name="T8" fmla="*/ 0 w 15"/>
                <a:gd name="T9" fmla="*/ 4 h 9"/>
                <a:gd name="T10" fmla="*/ 4 w 15"/>
                <a:gd name="T11" fmla="*/ 9 h 9"/>
                <a:gd name="T12" fmla="*/ 9 w 15"/>
                <a:gd name="T13" fmla="*/ 3 h 9"/>
                <a:gd name="T14" fmla="*/ 9 w 15"/>
                <a:gd name="T15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9">
                  <a:moveTo>
                    <a:pt x="9" y="3"/>
                  </a:moveTo>
                  <a:lnTo>
                    <a:pt x="15" y="1"/>
                  </a:lnTo>
                  <a:lnTo>
                    <a:pt x="12" y="0"/>
                  </a:lnTo>
                  <a:lnTo>
                    <a:pt x="4" y="0"/>
                  </a:lnTo>
                  <a:lnTo>
                    <a:pt x="0" y="4"/>
                  </a:lnTo>
                  <a:lnTo>
                    <a:pt x="4" y="9"/>
                  </a:lnTo>
                  <a:lnTo>
                    <a:pt x="9" y="3"/>
                  </a:lnTo>
                  <a:lnTo>
                    <a:pt x="9" y="3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817" name="Freeform 162"/>
            <p:cNvSpPr>
              <a:spLocks/>
            </p:cNvSpPr>
            <p:nvPr userDrawn="1"/>
          </p:nvSpPr>
          <p:spPr bwMode="auto">
            <a:xfrm>
              <a:off x="3894" y="2252"/>
              <a:ext cx="15" cy="7"/>
            </a:xfrm>
            <a:custGeom>
              <a:avLst/>
              <a:gdLst>
                <a:gd name="T0" fmla="*/ 15 w 15"/>
                <a:gd name="T1" fmla="*/ 0 h 7"/>
                <a:gd name="T2" fmla="*/ 9 w 15"/>
                <a:gd name="T3" fmla="*/ 1 h 7"/>
                <a:gd name="T4" fmla="*/ 0 w 15"/>
                <a:gd name="T5" fmla="*/ 7 h 7"/>
                <a:gd name="T6" fmla="*/ 14 w 15"/>
                <a:gd name="T7" fmla="*/ 3 h 7"/>
                <a:gd name="T8" fmla="*/ 15 w 15"/>
                <a:gd name="T9" fmla="*/ 0 h 7"/>
                <a:gd name="T10" fmla="*/ 15 w 15"/>
                <a:gd name="T11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" h="7">
                  <a:moveTo>
                    <a:pt x="15" y="0"/>
                  </a:moveTo>
                  <a:lnTo>
                    <a:pt x="9" y="1"/>
                  </a:lnTo>
                  <a:lnTo>
                    <a:pt x="0" y="7"/>
                  </a:lnTo>
                  <a:lnTo>
                    <a:pt x="14" y="3"/>
                  </a:lnTo>
                  <a:lnTo>
                    <a:pt x="15" y="0"/>
                  </a:lnTo>
                  <a:lnTo>
                    <a:pt x="15" y="0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818" name="Freeform 163"/>
            <p:cNvSpPr>
              <a:spLocks/>
            </p:cNvSpPr>
            <p:nvPr userDrawn="1"/>
          </p:nvSpPr>
          <p:spPr bwMode="auto">
            <a:xfrm>
              <a:off x="3918" y="2247"/>
              <a:ext cx="11" cy="3"/>
            </a:xfrm>
            <a:custGeom>
              <a:avLst/>
              <a:gdLst>
                <a:gd name="T0" fmla="*/ 11 w 11"/>
                <a:gd name="T1" fmla="*/ 0 h 3"/>
                <a:gd name="T2" fmla="*/ 0 w 11"/>
                <a:gd name="T3" fmla="*/ 2 h 3"/>
                <a:gd name="T4" fmla="*/ 9 w 11"/>
                <a:gd name="T5" fmla="*/ 3 h 3"/>
                <a:gd name="T6" fmla="*/ 11 w 11"/>
                <a:gd name="T7" fmla="*/ 0 h 3"/>
                <a:gd name="T8" fmla="*/ 11 w 11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3">
                  <a:moveTo>
                    <a:pt x="11" y="0"/>
                  </a:moveTo>
                  <a:lnTo>
                    <a:pt x="0" y="2"/>
                  </a:lnTo>
                  <a:lnTo>
                    <a:pt x="9" y="3"/>
                  </a:lnTo>
                  <a:lnTo>
                    <a:pt x="11" y="0"/>
                  </a:lnTo>
                  <a:lnTo>
                    <a:pt x="11" y="0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819" name="Freeform 164"/>
            <p:cNvSpPr>
              <a:spLocks/>
            </p:cNvSpPr>
            <p:nvPr userDrawn="1"/>
          </p:nvSpPr>
          <p:spPr bwMode="auto">
            <a:xfrm>
              <a:off x="3939" y="2245"/>
              <a:ext cx="11" cy="4"/>
            </a:xfrm>
            <a:custGeom>
              <a:avLst/>
              <a:gdLst>
                <a:gd name="T0" fmla="*/ 6 w 11"/>
                <a:gd name="T1" fmla="*/ 0 h 4"/>
                <a:gd name="T2" fmla="*/ 0 w 11"/>
                <a:gd name="T3" fmla="*/ 4 h 4"/>
                <a:gd name="T4" fmla="*/ 11 w 11"/>
                <a:gd name="T5" fmla="*/ 2 h 4"/>
                <a:gd name="T6" fmla="*/ 6 w 11"/>
                <a:gd name="T7" fmla="*/ 0 h 4"/>
                <a:gd name="T8" fmla="*/ 6 w 11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4">
                  <a:moveTo>
                    <a:pt x="6" y="0"/>
                  </a:moveTo>
                  <a:lnTo>
                    <a:pt x="0" y="4"/>
                  </a:lnTo>
                  <a:lnTo>
                    <a:pt x="11" y="2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820" name="Freeform 165"/>
            <p:cNvSpPr>
              <a:spLocks/>
            </p:cNvSpPr>
            <p:nvPr userDrawn="1"/>
          </p:nvSpPr>
          <p:spPr bwMode="auto">
            <a:xfrm>
              <a:off x="3314" y="2707"/>
              <a:ext cx="15" cy="9"/>
            </a:xfrm>
            <a:custGeom>
              <a:avLst/>
              <a:gdLst>
                <a:gd name="T0" fmla="*/ 0 w 15"/>
                <a:gd name="T1" fmla="*/ 5 h 9"/>
                <a:gd name="T2" fmla="*/ 1 w 15"/>
                <a:gd name="T3" fmla="*/ 9 h 9"/>
                <a:gd name="T4" fmla="*/ 7 w 15"/>
                <a:gd name="T5" fmla="*/ 6 h 9"/>
                <a:gd name="T6" fmla="*/ 13 w 15"/>
                <a:gd name="T7" fmla="*/ 9 h 9"/>
                <a:gd name="T8" fmla="*/ 15 w 15"/>
                <a:gd name="T9" fmla="*/ 6 h 9"/>
                <a:gd name="T10" fmla="*/ 12 w 15"/>
                <a:gd name="T11" fmla="*/ 2 h 9"/>
                <a:gd name="T12" fmla="*/ 6 w 15"/>
                <a:gd name="T13" fmla="*/ 0 h 9"/>
                <a:gd name="T14" fmla="*/ 0 w 15"/>
                <a:gd name="T15" fmla="*/ 5 h 9"/>
                <a:gd name="T16" fmla="*/ 0 w 15"/>
                <a:gd name="T17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9">
                  <a:moveTo>
                    <a:pt x="0" y="5"/>
                  </a:moveTo>
                  <a:lnTo>
                    <a:pt x="1" y="9"/>
                  </a:lnTo>
                  <a:lnTo>
                    <a:pt x="7" y="6"/>
                  </a:lnTo>
                  <a:lnTo>
                    <a:pt x="13" y="9"/>
                  </a:lnTo>
                  <a:lnTo>
                    <a:pt x="15" y="6"/>
                  </a:lnTo>
                  <a:lnTo>
                    <a:pt x="12" y="2"/>
                  </a:lnTo>
                  <a:lnTo>
                    <a:pt x="6" y="0"/>
                  </a:lnTo>
                  <a:lnTo>
                    <a:pt x="0" y="5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821" name="Freeform 166"/>
            <p:cNvSpPr>
              <a:spLocks/>
            </p:cNvSpPr>
            <p:nvPr userDrawn="1"/>
          </p:nvSpPr>
          <p:spPr bwMode="auto">
            <a:xfrm>
              <a:off x="3294" y="2695"/>
              <a:ext cx="7" cy="5"/>
            </a:xfrm>
            <a:custGeom>
              <a:avLst/>
              <a:gdLst>
                <a:gd name="T0" fmla="*/ 0 w 7"/>
                <a:gd name="T1" fmla="*/ 5 h 5"/>
                <a:gd name="T2" fmla="*/ 4 w 7"/>
                <a:gd name="T3" fmla="*/ 5 h 5"/>
                <a:gd name="T4" fmla="*/ 7 w 7"/>
                <a:gd name="T5" fmla="*/ 2 h 5"/>
                <a:gd name="T6" fmla="*/ 0 w 7"/>
                <a:gd name="T7" fmla="*/ 0 h 5"/>
                <a:gd name="T8" fmla="*/ 0 w 7"/>
                <a:gd name="T9" fmla="*/ 5 h 5"/>
                <a:gd name="T10" fmla="*/ 0 w 7"/>
                <a:gd name="T11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5">
                  <a:moveTo>
                    <a:pt x="0" y="5"/>
                  </a:moveTo>
                  <a:lnTo>
                    <a:pt x="4" y="5"/>
                  </a:lnTo>
                  <a:lnTo>
                    <a:pt x="7" y="2"/>
                  </a:lnTo>
                  <a:lnTo>
                    <a:pt x="0" y="0"/>
                  </a:lnTo>
                  <a:lnTo>
                    <a:pt x="0" y="5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822" name="Freeform 167"/>
            <p:cNvSpPr>
              <a:spLocks/>
            </p:cNvSpPr>
            <p:nvPr userDrawn="1"/>
          </p:nvSpPr>
          <p:spPr bwMode="auto">
            <a:xfrm>
              <a:off x="3366" y="3016"/>
              <a:ext cx="14" cy="14"/>
            </a:xfrm>
            <a:custGeom>
              <a:avLst/>
              <a:gdLst>
                <a:gd name="T0" fmla="*/ 11 w 14"/>
                <a:gd name="T1" fmla="*/ 14 h 14"/>
                <a:gd name="T2" fmla="*/ 14 w 14"/>
                <a:gd name="T3" fmla="*/ 8 h 14"/>
                <a:gd name="T4" fmla="*/ 8 w 14"/>
                <a:gd name="T5" fmla="*/ 0 h 14"/>
                <a:gd name="T6" fmla="*/ 0 w 14"/>
                <a:gd name="T7" fmla="*/ 0 h 14"/>
                <a:gd name="T8" fmla="*/ 11 w 14"/>
                <a:gd name="T9" fmla="*/ 14 h 14"/>
                <a:gd name="T10" fmla="*/ 11 w 14"/>
                <a:gd name="T1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" h="14">
                  <a:moveTo>
                    <a:pt x="11" y="14"/>
                  </a:moveTo>
                  <a:lnTo>
                    <a:pt x="14" y="8"/>
                  </a:lnTo>
                  <a:lnTo>
                    <a:pt x="8" y="0"/>
                  </a:lnTo>
                  <a:lnTo>
                    <a:pt x="0" y="0"/>
                  </a:lnTo>
                  <a:lnTo>
                    <a:pt x="11" y="14"/>
                  </a:lnTo>
                  <a:lnTo>
                    <a:pt x="11" y="14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823" name="Freeform 168"/>
            <p:cNvSpPr>
              <a:spLocks/>
            </p:cNvSpPr>
            <p:nvPr userDrawn="1"/>
          </p:nvSpPr>
          <p:spPr bwMode="auto">
            <a:xfrm>
              <a:off x="3366" y="2995"/>
              <a:ext cx="8" cy="11"/>
            </a:xfrm>
            <a:custGeom>
              <a:avLst/>
              <a:gdLst>
                <a:gd name="T0" fmla="*/ 8 w 8"/>
                <a:gd name="T1" fmla="*/ 11 h 11"/>
                <a:gd name="T2" fmla="*/ 5 w 8"/>
                <a:gd name="T3" fmla="*/ 6 h 11"/>
                <a:gd name="T4" fmla="*/ 0 w 8"/>
                <a:gd name="T5" fmla="*/ 0 h 11"/>
                <a:gd name="T6" fmla="*/ 0 w 8"/>
                <a:gd name="T7" fmla="*/ 6 h 11"/>
                <a:gd name="T8" fmla="*/ 8 w 8"/>
                <a:gd name="T9" fmla="*/ 11 h 11"/>
                <a:gd name="T10" fmla="*/ 8 w 8"/>
                <a:gd name="T11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11">
                  <a:moveTo>
                    <a:pt x="8" y="11"/>
                  </a:moveTo>
                  <a:lnTo>
                    <a:pt x="5" y="6"/>
                  </a:lnTo>
                  <a:lnTo>
                    <a:pt x="0" y="0"/>
                  </a:lnTo>
                  <a:lnTo>
                    <a:pt x="0" y="6"/>
                  </a:lnTo>
                  <a:lnTo>
                    <a:pt x="8" y="11"/>
                  </a:lnTo>
                  <a:lnTo>
                    <a:pt x="8" y="11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824" name="Freeform 169"/>
            <p:cNvSpPr>
              <a:spLocks/>
            </p:cNvSpPr>
            <p:nvPr userDrawn="1"/>
          </p:nvSpPr>
          <p:spPr bwMode="auto">
            <a:xfrm>
              <a:off x="3342" y="3244"/>
              <a:ext cx="0" cy="2"/>
            </a:xfrm>
            <a:custGeom>
              <a:avLst/>
              <a:gdLst>
                <a:gd name="T0" fmla="*/ 0 h 2"/>
                <a:gd name="T1" fmla="*/ 0 h 2"/>
                <a:gd name="T2" fmla="*/ 2 h 2"/>
                <a:gd name="T3" fmla="*/ 0 h 2"/>
                <a:gd name="T4" fmla="*/ 0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2">
                  <a:moveTo>
                    <a:pt x="0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825" name="Freeform 170"/>
            <p:cNvSpPr>
              <a:spLocks/>
            </p:cNvSpPr>
            <p:nvPr userDrawn="1"/>
          </p:nvSpPr>
          <p:spPr bwMode="auto">
            <a:xfrm>
              <a:off x="3540" y="3626"/>
              <a:ext cx="19" cy="15"/>
            </a:xfrm>
            <a:custGeom>
              <a:avLst/>
              <a:gdLst>
                <a:gd name="T0" fmla="*/ 3 w 19"/>
                <a:gd name="T1" fmla="*/ 0 h 15"/>
                <a:gd name="T2" fmla="*/ 0 w 19"/>
                <a:gd name="T3" fmla="*/ 9 h 15"/>
                <a:gd name="T4" fmla="*/ 3 w 19"/>
                <a:gd name="T5" fmla="*/ 14 h 15"/>
                <a:gd name="T6" fmla="*/ 7 w 19"/>
                <a:gd name="T7" fmla="*/ 11 h 15"/>
                <a:gd name="T8" fmla="*/ 16 w 19"/>
                <a:gd name="T9" fmla="*/ 11 h 15"/>
                <a:gd name="T10" fmla="*/ 19 w 19"/>
                <a:gd name="T11" fmla="*/ 15 h 15"/>
                <a:gd name="T12" fmla="*/ 18 w 19"/>
                <a:gd name="T13" fmla="*/ 8 h 15"/>
                <a:gd name="T14" fmla="*/ 7 w 19"/>
                <a:gd name="T15" fmla="*/ 8 h 15"/>
                <a:gd name="T16" fmla="*/ 3 w 19"/>
                <a:gd name="T17" fmla="*/ 0 h 15"/>
                <a:gd name="T18" fmla="*/ 3 w 19"/>
                <a:gd name="T1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" h="15">
                  <a:moveTo>
                    <a:pt x="3" y="0"/>
                  </a:moveTo>
                  <a:lnTo>
                    <a:pt x="0" y="9"/>
                  </a:lnTo>
                  <a:lnTo>
                    <a:pt x="3" y="14"/>
                  </a:lnTo>
                  <a:lnTo>
                    <a:pt x="7" y="11"/>
                  </a:lnTo>
                  <a:lnTo>
                    <a:pt x="16" y="11"/>
                  </a:lnTo>
                  <a:lnTo>
                    <a:pt x="19" y="15"/>
                  </a:lnTo>
                  <a:lnTo>
                    <a:pt x="18" y="8"/>
                  </a:lnTo>
                  <a:lnTo>
                    <a:pt x="7" y="8"/>
                  </a:lnTo>
                  <a:lnTo>
                    <a:pt x="3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826" name="Freeform 171"/>
            <p:cNvSpPr>
              <a:spLocks/>
            </p:cNvSpPr>
            <p:nvPr userDrawn="1"/>
          </p:nvSpPr>
          <p:spPr bwMode="auto">
            <a:xfrm>
              <a:off x="3529" y="3597"/>
              <a:ext cx="27" cy="27"/>
            </a:xfrm>
            <a:custGeom>
              <a:avLst/>
              <a:gdLst>
                <a:gd name="T0" fmla="*/ 11 w 27"/>
                <a:gd name="T1" fmla="*/ 23 h 27"/>
                <a:gd name="T2" fmla="*/ 12 w 27"/>
                <a:gd name="T3" fmla="*/ 27 h 27"/>
                <a:gd name="T4" fmla="*/ 15 w 27"/>
                <a:gd name="T5" fmla="*/ 26 h 27"/>
                <a:gd name="T6" fmla="*/ 27 w 27"/>
                <a:gd name="T7" fmla="*/ 6 h 27"/>
                <a:gd name="T8" fmla="*/ 27 w 27"/>
                <a:gd name="T9" fmla="*/ 0 h 27"/>
                <a:gd name="T10" fmla="*/ 17 w 27"/>
                <a:gd name="T11" fmla="*/ 2 h 27"/>
                <a:gd name="T12" fmla="*/ 5 w 27"/>
                <a:gd name="T13" fmla="*/ 9 h 27"/>
                <a:gd name="T14" fmla="*/ 0 w 27"/>
                <a:gd name="T15" fmla="*/ 20 h 27"/>
                <a:gd name="T16" fmla="*/ 3 w 27"/>
                <a:gd name="T17" fmla="*/ 26 h 27"/>
                <a:gd name="T18" fmla="*/ 11 w 27"/>
                <a:gd name="T19" fmla="*/ 23 h 27"/>
                <a:gd name="T20" fmla="*/ 11 w 27"/>
                <a:gd name="T21" fmla="*/ 2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" h="27">
                  <a:moveTo>
                    <a:pt x="11" y="23"/>
                  </a:moveTo>
                  <a:lnTo>
                    <a:pt x="12" y="27"/>
                  </a:lnTo>
                  <a:lnTo>
                    <a:pt x="15" y="26"/>
                  </a:lnTo>
                  <a:lnTo>
                    <a:pt x="27" y="6"/>
                  </a:lnTo>
                  <a:lnTo>
                    <a:pt x="27" y="0"/>
                  </a:lnTo>
                  <a:lnTo>
                    <a:pt x="17" y="2"/>
                  </a:lnTo>
                  <a:lnTo>
                    <a:pt x="5" y="9"/>
                  </a:lnTo>
                  <a:lnTo>
                    <a:pt x="0" y="20"/>
                  </a:lnTo>
                  <a:lnTo>
                    <a:pt x="3" y="26"/>
                  </a:lnTo>
                  <a:lnTo>
                    <a:pt x="11" y="23"/>
                  </a:lnTo>
                  <a:lnTo>
                    <a:pt x="11" y="23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827" name="Freeform 172"/>
            <p:cNvSpPr>
              <a:spLocks/>
            </p:cNvSpPr>
            <p:nvPr userDrawn="1"/>
          </p:nvSpPr>
          <p:spPr bwMode="auto">
            <a:xfrm>
              <a:off x="3603" y="3526"/>
              <a:ext cx="71" cy="62"/>
            </a:xfrm>
            <a:custGeom>
              <a:avLst/>
              <a:gdLst>
                <a:gd name="T0" fmla="*/ 8 w 71"/>
                <a:gd name="T1" fmla="*/ 47 h 62"/>
                <a:gd name="T2" fmla="*/ 8 w 71"/>
                <a:gd name="T3" fmla="*/ 38 h 62"/>
                <a:gd name="T4" fmla="*/ 18 w 71"/>
                <a:gd name="T5" fmla="*/ 37 h 62"/>
                <a:gd name="T6" fmla="*/ 24 w 71"/>
                <a:gd name="T7" fmla="*/ 41 h 62"/>
                <a:gd name="T8" fmla="*/ 24 w 71"/>
                <a:gd name="T9" fmla="*/ 52 h 62"/>
                <a:gd name="T10" fmla="*/ 35 w 71"/>
                <a:gd name="T11" fmla="*/ 56 h 62"/>
                <a:gd name="T12" fmla="*/ 42 w 71"/>
                <a:gd name="T13" fmla="*/ 59 h 62"/>
                <a:gd name="T14" fmla="*/ 42 w 71"/>
                <a:gd name="T15" fmla="*/ 62 h 62"/>
                <a:gd name="T16" fmla="*/ 57 w 71"/>
                <a:gd name="T17" fmla="*/ 56 h 62"/>
                <a:gd name="T18" fmla="*/ 62 w 71"/>
                <a:gd name="T19" fmla="*/ 49 h 62"/>
                <a:gd name="T20" fmla="*/ 65 w 71"/>
                <a:gd name="T21" fmla="*/ 41 h 62"/>
                <a:gd name="T22" fmla="*/ 71 w 71"/>
                <a:gd name="T23" fmla="*/ 31 h 62"/>
                <a:gd name="T24" fmla="*/ 69 w 71"/>
                <a:gd name="T25" fmla="*/ 23 h 62"/>
                <a:gd name="T26" fmla="*/ 65 w 71"/>
                <a:gd name="T27" fmla="*/ 22 h 62"/>
                <a:gd name="T28" fmla="*/ 53 w 71"/>
                <a:gd name="T29" fmla="*/ 22 h 62"/>
                <a:gd name="T30" fmla="*/ 51 w 71"/>
                <a:gd name="T31" fmla="*/ 17 h 62"/>
                <a:gd name="T32" fmla="*/ 56 w 71"/>
                <a:gd name="T33" fmla="*/ 11 h 62"/>
                <a:gd name="T34" fmla="*/ 50 w 71"/>
                <a:gd name="T35" fmla="*/ 14 h 62"/>
                <a:gd name="T36" fmla="*/ 50 w 71"/>
                <a:gd name="T37" fmla="*/ 11 h 62"/>
                <a:gd name="T38" fmla="*/ 59 w 71"/>
                <a:gd name="T39" fmla="*/ 3 h 62"/>
                <a:gd name="T40" fmla="*/ 59 w 71"/>
                <a:gd name="T41" fmla="*/ 0 h 62"/>
                <a:gd name="T42" fmla="*/ 35 w 71"/>
                <a:gd name="T43" fmla="*/ 9 h 62"/>
                <a:gd name="T44" fmla="*/ 24 w 71"/>
                <a:gd name="T45" fmla="*/ 14 h 62"/>
                <a:gd name="T46" fmla="*/ 11 w 71"/>
                <a:gd name="T47" fmla="*/ 25 h 62"/>
                <a:gd name="T48" fmla="*/ 0 w 71"/>
                <a:gd name="T49" fmla="*/ 31 h 62"/>
                <a:gd name="T50" fmla="*/ 2 w 71"/>
                <a:gd name="T51" fmla="*/ 46 h 62"/>
                <a:gd name="T52" fmla="*/ 8 w 71"/>
                <a:gd name="T53" fmla="*/ 47 h 62"/>
                <a:gd name="T54" fmla="*/ 8 w 71"/>
                <a:gd name="T55" fmla="*/ 47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1" h="62">
                  <a:moveTo>
                    <a:pt x="8" y="47"/>
                  </a:moveTo>
                  <a:lnTo>
                    <a:pt x="8" y="38"/>
                  </a:lnTo>
                  <a:lnTo>
                    <a:pt x="18" y="37"/>
                  </a:lnTo>
                  <a:lnTo>
                    <a:pt x="24" y="41"/>
                  </a:lnTo>
                  <a:lnTo>
                    <a:pt x="24" y="52"/>
                  </a:lnTo>
                  <a:lnTo>
                    <a:pt x="35" y="56"/>
                  </a:lnTo>
                  <a:lnTo>
                    <a:pt x="42" y="59"/>
                  </a:lnTo>
                  <a:lnTo>
                    <a:pt x="42" y="62"/>
                  </a:lnTo>
                  <a:lnTo>
                    <a:pt x="57" y="56"/>
                  </a:lnTo>
                  <a:lnTo>
                    <a:pt x="62" y="49"/>
                  </a:lnTo>
                  <a:lnTo>
                    <a:pt x="65" y="41"/>
                  </a:lnTo>
                  <a:lnTo>
                    <a:pt x="71" y="31"/>
                  </a:lnTo>
                  <a:lnTo>
                    <a:pt x="69" y="23"/>
                  </a:lnTo>
                  <a:lnTo>
                    <a:pt x="65" y="22"/>
                  </a:lnTo>
                  <a:lnTo>
                    <a:pt x="53" y="22"/>
                  </a:lnTo>
                  <a:lnTo>
                    <a:pt x="51" y="17"/>
                  </a:lnTo>
                  <a:lnTo>
                    <a:pt x="56" y="11"/>
                  </a:lnTo>
                  <a:lnTo>
                    <a:pt x="50" y="14"/>
                  </a:lnTo>
                  <a:lnTo>
                    <a:pt x="50" y="11"/>
                  </a:lnTo>
                  <a:lnTo>
                    <a:pt x="59" y="3"/>
                  </a:lnTo>
                  <a:lnTo>
                    <a:pt x="59" y="0"/>
                  </a:lnTo>
                  <a:lnTo>
                    <a:pt x="35" y="9"/>
                  </a:lnTo>
                  <a:lnTo>
                    <a:pt x="24" y="14"/>
                  </a:lnTo>
                  <a:lnTo>
                    <a:pt x="11" y="25"/>
                  </a:lnTo>
                  <a:lnTo>
                    <a:pt x="0" y="31"/>
                  </a:lnTo>
                  <a:lnTo>
                    <a:pt x="2" y="46"/>
                  </a:lnTo>
                  <a:lnTo>
                    <a:pt x="8" y="47"/>
                  </a:lnTo>
                  <a:lnTo>
                    <a:pt x="8" y="47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828" name="Freeform 173"/>
            <p:cNvSpPr>
              <a:spLocks/>
            </p:cNvSpPr>
            <p:nvPr userDrawn="1"/>
          </p:nvSpPr>
          <p:spPr bwMode="auto">
            <a:xfrm>
              <a:off x="3691" y="3522"/>
              <a:ext cx="40" cy="21"/>
            </a:xfrm>
            <a:custGeom>
              <a:avLst/>
              <a:gdLst>
                <a:gd name="T0" fmla="*/ 6 w 40"/>
                <a:gd name="T1" fmla="*/ 9 h 21"/>
                <a:gd name="T2" fmla="*/ 6 w 40"/>
                <a:gd name="T3" fmla="*/ 16 h 21"/>
                <a:gd name="T4" fmla="*/ 24 w 40"/>
                <a:gd name="T5" fmla="*/ 15 h 21"/>
                <a:gd name="T6" fmla="*/ 31 w 40"/>
                <a:gd name="T7" fmla="*/ 21 h 21"/>
                <a:gd name="T8" fmla="*/ 40 w 40"/>
                <a:gd name="T9" fmla="*/ 16 h 21"/>
                <a:gd name="T10" fmla="*/ 39 w 40"/>
                <a:gd name="T11" fmla="*/ 9 h 21"/>
                <a:gd name="T12" fmla="*/ 25 w 40"/>
                <a:gd name="T13" fmla="*/ 0 h 21"/>
                <a:gd name="T14" fmla="*/ 0 w 40"/>
                <a:gd name="T15" fmla="*/ 3 h 21"/>
                <a:gd name="T16" fmla="*/ 1 w 40"/>
                <a:gd name="T17" fmla="*/ 9 h 21"/>
                <a:gd name="T18" fmla="*/ 6 w 40"/>
                <a:gd name="T19" fmla="*/ 9 h 21"/>
                <a:gd name="T20" fmla="*/ 6 w 40"/>
                <a:gd name="T21" fmla="*/ 9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0" h="21">
                  <a:moveTo>
                    <a:pt x="6" y="9"/>
                  </a:moveTo>
                  <a:lnTo>
                    <a:pt x="6" y="16"/>
                  </a:lnTo>
                  <a:lnTo>
                    <a:pt x="24" y="15"/>
                  </a:lnTo>
                  <a:lnTo>
                    <a:pt x="31" y="21"/>
                  </a:lnTo>
                  <a:lnTo>
                    <a:pt x="40" y="16"/>
                  </a:lnTo>
                  <a:lnTo>
                    <a:pt x="39" y="9"/>
                  </a:lnTo>
                  <a:lnTo>
                    <a:pt x="25" y="0"/>
                  </a:lnTo>
                  <a:lnTo>
                    <a:pt x="0" y="3"/>
                  </a:lnTo>
                  <a:lnTo>
                    <a:pt x="1" y="9"/>
                  </a:lnTo>
                  <a:lnTo>
                    <a:pt x="6" y="9"/>
                  </a:lnTo>
                  <a:lnTo>
                    <a:pt x="6" y="9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829" name="Freeform 174"/>
            <p:cNvSpPr>
              <a:spLocks/>
            </p:cNvSpPr>
            <p:nvPr userDrawn="1"/>
          </p:nvSpPr>
          <p:spPr bwMode="auto">
            <a:xfrm>
              <a:off x="3995" y="3277"/>
              <a:ext cx="62" cy="147"/>
            </a:xfrm>
            <a:custGeom>
              <a:avLst/>
              <a:gdLst>
                <a:gd name="T0" fmla="*/ 8 w 62"/>
                <a:gd name="T1" fmla="*/ 89 h 147"/>
                <a:gd name="T2" fmla="*/ 8 w 62"/>
                <a:gd name="T3" fmla="*/ 100 h 147"/>
                <a:gd name="T4" fmla="*/ 11 w 62"/>
                <a:gd name="T5" fmla="*/ 102 h 147"/>
                <a:gd name="T6" fmla="*/ 9 w 62"/>
                <a:gd name="T7" fmla="*/ 108 h 147"/>
                <a:gd name="T8" fmla="*/ 6 w 62"/>
                <a:gd name="T9" fmla="*/ 112 h 147"/>
                <a:gd name="T10" fmla="*/ 15 w 62"/>
                <a:gd name="T11" fmla="*/ 115 h 147"/>
                <a:gd name="T12" fmla="*/ 18 w 62"/>
                <a:gd name="T13" fmla="*/ 118 h 147"/>
                <a:gd name="T14" fmla="*/ 14 w 62"/>
                <a:gd name="T15" fmla="*/ 130 h 147"/>
                <a:gd name="T16" fmla="*/ 21 w 62"/>
                <a:gd name="T17" fmla="*/ 135 h 147"/>
                <a:gd name="T18" fmla="*/ 27 w 62"/>
                <a:gd name="T19" fmla="*/ 138 h 147"/>
                <a:gd name="T20" fmla="*/ 29 w 62"/>
                <a:gd name="T21" fmla="*/ 141 h 147"/>
                <a:gd name="T22" fmla="*/ 33 w 62"/>
                <a:gd name="T23" fmla="*/ 142 h 147"/>
                <a:gd name="T24" fmla="*/ 39 w 62"/>
                <a:gd name="T25" fmla="*/ 147 h 147"/>
                <a:gd name="T26" fmla="*/ 39 w 62"/>
                <a:gd name="T27" fmla="*/ 142 h 147"/>
                <a:gd name="T28" fmla="*/ 46 w 62"/>
                <a:gd name="T29" fmla="*/ 129 h 147"/>
                <a:gd name="T30" fmla="*/ 52 w 62"/>
                <a:gd name="T31" fmla="*/ 114 h 147"/>
                <a:gd name="T32" fmla="*/ 53 w 62"/>
                <a:gd name="T33" fmla="*/ 105 h 147"/>
                <a:gd name="T34" fmla="*/ 61 w 62"/>
                <a:gd name="T35" fmla="*/ 85 h 147"/>
                <a:gd name="T36" fmla="*/ 62 w 62"/>
                <a:gd name="T37" fmla="*/ 55 h 147"/>
                <a:gd name="T38" fmla="*/ 55 w 62"/>
                <a:gd name="T39" fmla="*/ 37 h 147"/>
                <a:gd name="T40" fmla="*/ 56 w 62"/>
                <a:gd name="T41" fmla="*/ 28 h 147"/>
                <a:gd name="T42" fmla="*/ 55 w 62"/>
                <a:gd name="T43" fmla="*/ 0 h 147"/>
                <a:gd name="T44" fmla="*/ 49 w 62"/>
                <a:gd name="T45" fmla="*/ 2 h 147"/>
                <a:gd name="T46" fmla="*/ 44 w 62"/>
                <a:gd name="T47" fmla="*/ 16 h 147"/>
                <a:gd name="T48" fmla="*/ 46 w 62"/>
                <a:gd name="T49" fmla="*/ 26 h 147"/>
                <a:gd name="T50" fmla="*/ 41 w 62"/>
                <a:gd name="T51" fmla="*/ 31 h 147"/>
                <a:gd name="T52" fmla="*/ 32 w 62"/>
                <a:gd name="T53" fmla="*/ 28 h 147"/>
                <a:gd name="T54" fmla="*/ 23 w 62"/>
                <a:gd name="T55" fmla="*/ 34 h 147"/>
                <a:gd name="T56" fmla="*/ 20 w 62"/>
                <a:gd name="T57" fmla="*/ 41 h 147"/>
                <a:gd name="T58" fmla="*/ 6 w 62"/>
                <a:gd name="T59" fmla="*/ 49 h 147"/>
                <a:gd name="T60" fmla="*/ 8 w 62"/>
                <a:gd name="T61" fmla="*/ 64 h 147"/>
                <a:gd name="T62" fmla="*/ 2 w 62"/>
                <a:gd name="T63" fmla="*/ 65 h 147"/>
                <a:gd name="T64" fmla="*/ 0 w 62"/>
                <a:gd name="T65" fmla="*/ 73 h 147"/>
                <a:gd name="T66" fmla="*/ 5 w 62"/>
                <a:gd name="T67" fmla="*/ 82 h 147"/>
                <a:gd name="T68" fmla="*/ 8 w 62"/>
                <a:gd name="T69" fmla="*/ 89 h 147"/>
                <a:gd name="T70" fmla="*/ 8 w 62"/>
                <a:gd name="T71" fmla="*/ 89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2" h="147">
                  <a:moveTo>
                    <a:pt x="8" y="89"/>
                  </a:moveTo>
                  <a:lnTo>
                    <a:pt x="8" y="100"/>
                  </a:lnTo>
                  <a:lnTo>
                    <a:pt x="11" y="102"/>
                  </a:lnTo>
                  <a:lnTo>
                    <a:pt x="9" y="108"/>
                  </a:lnTo>
                  <a:lnTo>
                    <a:pt x="6" y="112"/>
                  </a:lnTo>
                  <a:lnTo>
                    <a:pt x="15" y="115"/>
                  </a:lnTo>
                  <a:lnTo>
                    <a:pt x="18" y="118"/>
                  </a:lnTo>
                  <a:lnTo>
                    <a:pt x="14" y="130"/>
                  </a:lnTo>
                  <a:lnTo>
                    <a:pt x="21" y="135"/>
                  </a:lnTo>
                  <a:lnTo>
                    <a:pt x="27" y="138"/>
                  </a:lnTo>
                  <a:lnTo>
                    <a:pt x="29" y="141"/>
                  </a:lnTo>
                  <a:lnTo>
                    <a:pt x="33" y="142"/>
                  </a:lnTo>
                  <a:lnTo>
                    <a:pt x="39" y="147"/>
                  </a:lnTo>
                  <a:lnTo>
                    <a:pt x="39" y="142"/>
                  </a:lnTo>
                  <a:lnTo>
                    <a:pt x="46" y="129"/>
                  </a:lnTo>
                  <a:lnTo>
                    <a:pt x="52" y="114"/>
                  </a:lnTo>
                  <a:lnTo>
                    <a:pt x="53" y="105"/>
                  </a:lnTo>
                  <a:lnTo>
                    <a:pt x="61" y="85"/>
                  </a:lnTo>
                  <a:lnTo>
                    <a:pt x="62" y="55"/>
                  </a:lnTo>
                  <a:lnTo>
                    <a:pt x="55" y="37"/>
                  </a:lnTo>
                  <a:lnTo>
                    <a:pt x="56" y="28"/>
                  </a:lnTo>
                  <a:lnTo>
                    <a:pt x="55" y="0"/>
                  </a:lnTo>
                  <a:lnTo>
                    <a:pt x="49" y="2"/>
                  </a:lnTo>
                  <a:lnTo>
                    <a:pt x="44" y="16"/>
                  </a:lnTo>
                  <a:lnTo>
                    <a:pt x="46" y="26"/>
                  </a:lnTo>
                  <a:lnTo>
                    <a:pt x="41" y="31"/>
                  </a:lnTo>
                  <a:lnTo>
                    <a:pt x="32" y="28"/>
                  </a:lnTo>
                  <a:lnTo>
                    <a:pt x="23" y="34"/>
                  </a:lnTo>
                  <a:lnTo>
                    <a:pt x="20" y="41"/>
                  </a:lnTo>
                  <a:lnTo>
                    <a:pt x="6" y="49"/>
                  </a:lnTo>
                  <a:lnTo>
                    <a:pt x="8" y="64"/>
                  </a:lnTo>
                  <a:lnTo>
                    <a:pt x="2" y="65"/>
                  </a:lnTo>
                  <a:lnTo>
                    <a:pt x="0" y="73"/>
                  </a:lnTo>
                  <a:lnTo>
                    <a:pt x="5" y="82"/>
                  </a:lnTo>
                  <a:lnTo>
                    <a:pt x="8" y="89"/>
                  </a:lnTo>
                  <a:lnTo>
                    <a:pt x="8" y="89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830" name="Freeform 175"/>
            <p:cNvSpPr>
              <a:spLocks/>
            </p:cNvSpPr>
            <p:nvPr userDrawn="1"/>
          </p:nvSpPr>
          <p:spPr bwMode="auto">
            <a:xfrm>
              <a:off x="3962" y="3436"/>
              <a:ext cx="107" cy="190"/>
            </a:xfrm>
            <a:custGeom>
              <a:avLst/>
              <a:gdLst>
                <a:gd name="T0" fmla="*/ 3 w 107"/>
                <a:gd name="T1" fmla="*/ 57 h 190"/>
                <a:gd name="T2" fmla="*/ 6 w 107"/>
                <a:gd name="T3" fmla="*/ 51 h 190"/>
                <a:gd name="T4" fmla="*/ 17 w 107"/>
                <a:gd name="T5" fmla="*/ 57 h 190"/>
                <a:gd name="T6" fmla="*/ 23 w 107"/>
                <a:gd name="T7" fmla="*/ 69 h 190"/>
                <a:gd name="T8" fmla="*/ 20 w 107"/>
                <a:gd name="T9" fmla="*/ 78 h 190"/>
                <a:gd name="T10" fmla="*/ 24 w 107"/>
                <a:gd name="T11" fmla="*/ 84 h 190"/>
                <a:gd name="T12" fmla="*/ 18 w 107"/>
                <a:gd name="T13" fmla="*/ 99 h 190"/>
                <a:gd name="T14" fmla="*/ 27 w 107"/>
                <a:gd name="T15" fmla="*/ 107 h 190"/>
                <a:gd name="T16" fmla="*/ 24 w 107"/>
                <a:gd name="T17" fmla="*/ 116 h 190"/>
                <a:gd name="T18" fmla="*/ 14 w 107"/>
                <a:gd name="T19" fmla="*/ 148 h 190"/>
                <a:gd name="T20" fmla="*/ 23 w 107"/>
                <a:gd name="T21" fmla="*/ 160 h 190"/>
                <a:gd name="T22" fmla="*/ 23 w 107"/>
                <a:gd name="T23" fmla="*/ 176 h 190"/>
                <a:gd name="T24" fmla="*/ 27 w 107"/>
                <a:gd name="T25" fmla="*/ 179 h 190"/>
                <a:gd name="T26" fmla="*/ 21 w 107"/>
                <a:gd name="T27" fmla="*/ 179 h 190"/>
                <a:gd name="T28" fmla="*/ 24 w 107"/>
                <a:gd name="T29" fmla="*/ 187 h 190"/>
                <a:gd name="T30" fmla="*/ 29 w 107"/>
                <a:gd name="T31" fmla="*/ 184 h 190"/>
                <a:gd name="T32" fmla="*/ 38 w 107"/>
                <a:gd name="T33" fmla="*/ 190 h 190"/>
                <a:gd name="T34" fmla="*/ 47 w 107"/>
                <a:gd name="T35" fmla="*/ 188 h 190"/>
                <a:gd name="T36" fmla="*/ 56 w 107"/>
                <a:gd name="T37" fmla="*/ 187 h 190"/>
                <a:gd name="T38" fmla="*/ 60 w 107"/>
                <a:gd name="T39" fmla="*/ 181 h 190"/>
                <a:gd name="T40" fmla="*/ 62 w 107"/>
                <a:gd name="T41" fmla="*/ 167 h 190"/>
                <a:gd name="T42" fmla="*/ 74 w 107"/>
                <a:gd name="T43" fmla="*/ 160 h 190"/>
                <a:gd name="T44" fmla="*/ 80 w 107"/>
                <a:gd name="T45" fmla="*/ 167 h 190"/>
                <a:gd name="T46" fmla="*/ 88 w 107"/>
                <a:gd name="T47" fmla="*/ 175 h 190"/>
                <a:gd name="T48" fmla="*/ 97 w 107"/>
                <a:gd name="T49" fmla="*/ 160 h 190"/>
                <a:gd name="T50" fmla="*/ 95 w 107"/>
                <a:gd name="T51" fmla="*/ 137 h 190"/>
                <a:gd name="T52" fmla="*/ 101 w 107"/>
                <a:gd name="T53" fmla="*/ 113 h 190"/>
                <a:gd name="T54" fmla="*/ 107 w 107"/>
                <a:gd name="T55" fmla="*/ 93 h 190"/>
                <a:gd name="T56" fmla="*/ 98 w 107"/>
                <a:gd name="T57" fmla="*/ 86 h 190"/>
                <a:gd name="T58" fmla="*/ 100 w 107"/>
                <a:gd name="T59" fmla="*/ 75 h 190"/>
                <a:gd name="T60" fmla="*/ 107 w 107"/>
                <a:gd name="T61" fmla="*/ 69 h 190"/>
                <a:gd name="T62" fmla="*/ 107 w 107"/>
                <a:gd name="T63" fmla="*/ 51 h 190"/>
                <a:gd name="T64" fmla="*/ 97 w 107"/>
                <a:gd name="T65" fmla="*/ 33 h 190"/>
                <a:gd name="T66" fmla="*/ 98 w 107"/>
                <a:gd name="T67" fmla="*/ 23 h 190"/>
                <a:gd name="T68" fmla="*/ 92 w 107"/>
                <a:gd name="T69" fmla="*/ 6 h 190"/>
                <a:gd name="T70" fmla="*/ 85 w 107"/>
                <a:gd name="T71" fmla="*/ 6 h 190"/>
                <a:gd name="T72" fmla="*/ 71 w 107"/>
                <a:gd name="T73" fmla="*/ 0 h 190"/>
                <a:gd name="T74" fmla="*/ 68 w 107"/>
                <a:gd name="T75" fmla="*/ 0 h 190"/>
                <a:gd name="T76" fmla="*/ 65 w 107"/>
                <a:gd name="T77" fmla="*/ 7 h 190"/>
                <a:gd name="T78" fmla="*/ 56 w 107"/>
                <a:gd name="T79" fmla="*/ 13 h 190"/>
                <a:gd name="T80" fmla="*/ 42 w 107"/>
                <a:gd name="T81" fmla="*/ 23 h 190"/>
                <a:gd name="T82" fmla="*/ 38 w 107"/>
                <a:gd name="T83" fmla="*/ 32 h 190"/>
                <a:gd name="T84" fmla="*/ 24 w 107"/>
                <a:gd name="T85" fmla="*/ 32 h 190"/>
                <a:gd name="T86" fmla="*/ 12 w 107"/>
                <a:gd name="T87" fmla="*/ 26 h 190"/>
                <a:gd name="T88" fmla="*/ 8 w 107"/>
                <a:gd name="T89" fmla="*/ 18 h 190"/>
                <a:gd name="T90" fmla="*/ 14 w 107"/>
                <a:gd name="T91" fmla="*/ 7 h 190"/>
                <a:gd name="T92" fmla="*/ 9 w 107"/>
                <a:gd name="T93" fmla="*/ 4 h 190"/>
                <a:gd name="T94" fmla="*/ 6 w 107"/>
                <a:gd name="T95" fmla="*/ 15 h 190"/>
                <a:gd name="T96" fmla="*/ 2 w 107"/>
                <a:gd name="T97" fmla="*/ 18 h 190"/>
                <a:gd name="T98" fmla="*/ 5 w 107"/>
                <a:gd name="T99" fmla="*/ 35 h 190"/>
                <a:gd name="T100" fmla="*/ 0 w 107"/>
                <a:gd name="T101" fmla="*/ 44 h 190"/>
                <a:gd name="T102" fmla="*/ 3 w 107"/>
                <a:gd name="T103" fmla="*/ 57 h 190"/>
                <a:gd name="T104" fmla="*/ 3 w 107"/>
                <a:gd name="T105" fmla="*/ 57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07" h="190">
                  <a:moveTo>
                    <a:pt x="3" y="57"/>
                  </a:moveTo>
                  <a:lnTo>
                    <a:pt x="6" y="51"/>
                  </a:lnTo>
                  <a:lnTo>
                    <a:pt x="17" y="57"/>
                  </a:lnTo>
                  <a:lnTo>
                    <a:pt x="23" y="69"/>
                  </a:lnTo>
                  <a:lnTo>
                    <a:pt x="20" y="78"/>
                  </a:lnTo>
                  <a:lnTo>
                    <a:pt x="24" y="84"/>
                  </a:lnTo>
                  <a:lnTo>
                    <a:pt x="18" y="99"/>
                  </a:lnTo>
                  <a:lnTo>
                    <a:pt x="27" y="107"/>
                  </a:lnTo>
                  <a:lnTo>
                    <a:pt x="24" y="116"/>
                  </a:lnTo>
                  <a:lnTo>
                    <a:pt x="14" y="148"/>
                  </a:lnTo>
                  <a:lnTo>
                    <a:pt x="23" y="160"/>
                  </a:lnTo>
                  <a:lnTo>
                    <a:pt x="23" y="176"/>
                  </a:lnTo>
                  <a:lnTo>
                    <a:pt x="27" y="179"/>
                  </a:lnTo>
                  <a:lnTo>
                    <a:pt x="21" y="179"/>
                  </a:lnTo>
                  <a:lnTo>
                    <a:pt x="24" y="187"/>
                  </a:lnTo>
                  <a:lnTo>
                    <a:pt x="29" y="184"/>
                  </a:lnTo>
                  <a:lnTo>
                    <a:pt x="38" y="190"/>
                  </a:lnTo>
                  <a:lnTo>
                    <a:pt x="47" y="188"/>
                  </a:lnTo>
                  <a:lnTo>
                    <a:pt x="56" y="187"/>
                  </a:lnTo>
                  <a:lnTo>
                    <a:pt x="60" y="181"/>
                  </a:lnTo>
                  <a:lnTo>
                    <a:pt x="62" y="167"/>
                  </a:lnTo>
                  <a:lnTo>
                    <a:pt x="74" y="160"/>
                  </a:lnTo>
                  <a:lnTo>
                    <a:pt x="80" y="167"/>
                  </a:lnTo>
                  <a:lnTo>
                    <a:pt x="88" y="175"/>
                  </a:lnTo>
                  <a:lnTo>
                    <a:pt x="97" y="160"/>
                  </a:lnTo>
                  <a:lnTo>
                    <a:pt x="95" y="137"/>
                  </a:lnTo>
                  <a:lnTo>
                    <a:pt x="101" y="113"/>
                  </a:lnTo>
                  <a:lnTo>
                    <a:pt x="107" y="93"/>
                  </a:lnTo>
                  <a:lnTo>
                    <a:pt x="98" y="86"/>
                  </a:lnTo>
                  <a:lnTo>
                    <a:pt x="100" y="75"/>
                  </a:lnTo>
                  <a:lnTo>
                    <a:pt x="107" y="69"/>
                  </a:lnTo>
                  <a:lnTo>
                    <a:pt x="107" y="51"/>
                  </a:lnTo>
                  <a:lnTo>
                    <a:pt x="97" y="33"/>
                  </a:lnTo>
                  <a:lnTo>
                    <a:pt x="98" y="23"/>
                  </a:lnTo>
                  <a:lnTo>
                    <a:pt x="92" y="6"/>
                  </a:lnTo>
                  <a:lnTo>
                    <a:pt x="85" y="6"/>
                  </a:lnTo>
                  <a:lnTo>
                    <a:pt x="71" y="0"/>
                  </a:lnTo>
                  <a:lnTo>
                    <a:pt x="68" y="0"/>
                  </a:lnTo>
                  <a:lnTo>
                    <a:pt x="65" y="7"/>
                  </a:lnTo>
                  <a:lnTo>
                    <a:pt x="56" y="13"/>
                  </a:lnTo>
                  <a:lnTo>
                    <a:pt x="42" y="23"/>
                  </a:lnTo>
                  <a:lnTo>
                    <a:pt x="38" y="32"/>
                  </a:lnTo>
                  <a:lnTo>
                    <a:pt x="24" y="32"/>
                  </a:lnTo>
                  <a:lnTo>
                    <a:pt x="12" y="26"/>
                  </a:lnTo>
                  <a:lnTo>
                    <a:pt x="8" y="18"/>
                  </a:lnTo>
                  <a:lnTo>
                    <a:pt x="14" y="7"/>
                  </a:lnTo>
                  <a:lnTo>
                    <a:pt x="9" y="4"/>
                  </a:lnTo>
                  <a:lnTo>
                    <a:pt x="6" y="15"/>
                  </a:lnTo>
                  <a:lnTo>
                    <a:pt x="2" y="18"/>
                  </a:lnTo>
                  <a:lnTo>
                    <a:pt x="5" y="35"/>
                  </a:lnTo>
                  <a:lnTo>
                    <a:pt x="0" y="44"/>
                  </a:lnTo>
                  <a:lnTo>
                    <a:pt x="3" y="57"/>
                  </a:lnTo>
                  <a:lnTo>
                    <a:pt x="3" y="57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831" name="Freeform 176"/>
            <p:cNvSpPr>
              <a:spLocks/>
            </p:cNvSpPr>
            <p:nvPr userDrawn="1"/>
          </p:nvSpPr>
          <p:spPr bwMode="auto">
            <a:xfrm>
              <a:off x="4093" y="3296"/>
              <a:ext cx="24" cy="18"/>
            </a:xfrm>
            <a:custGeom>
              <a:avLst/>
              <a:gdLst>
                <a:gd name="T0" fmla="*/ 15 w 24"/>
                <a:gd name="T1" fmla="*/ 10 h 18"/>
                <a:gd name="T2" fmla="*/ 18 w 24"/>
                <a:gd name="T3" fmla="*/ 18 h 18"/>
                <a:gd name="T4" fmla="*/ 23 w 24"/>
                <a:gd name="T5" fmla="*/ 16 h 18"/>
                <a:gd name="T6" fmla="*/ 20 w 24"/>
                <a:gd name="T7" fmla="*/ 10 h 18"/>
                <a:gd name="T8" fmla="*/ 24 w 24"/>
                <a:gd name="T9" fmla="*/ 9 h 18"/>
                <a:gd name="T10" fmla="*/ 24 w 24"/>
                <a:gd name="T11" fmla="*/ 4 h 18"/>
                <a:gd name="T12" fmla="*/ 23 w 24"/>
                <a:gd name="T13" fmla="*/ 0 h 18"/>
                <a:gd name="T14" fmla="*/ 15 w 24"/>
                <a:gd name="T15" fmla="*/ 4 h 18"/>
                <a:gd name="T16" fmla="*/ 0 w 24"/>
                <a:gd name="T17" fmla="*/ 6 h 18"/>
                <a:gd name="T18" fmla="*/ 3 w 24"/>
                <a:gd name="T19" fmla="*/ 12 h 18"/>
                <a:gd name="T20" fmla="*/ 15 w 24"/>
                <a:gd name="T21" fmla="*/ 10 h 18"/>
                <a:gd name="T22" fmla="*/ 15 w 24"/>
                <a:gd name="T23" fmla="*/ 1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" h="18">
                  <a:moveTo>
                    <a:pt x="15" y="10"/>
                  </a:moveTo>
                  <a:lnTo>
                    <a:pt x="18" y="18"/>
                  </a:lnTo>
                  <a:lnTo>
                    <a:pt x="23" y="16"/>
                  </a:lnTo>
                  <a:lnTo>
                    <a:pt x="20" y="10"/>
                  </a:lnTo>
                  <a:lnTo>
                    <a:pt x="24" y="9"/>
                  </a:lnTo>
                  <a:lnTo>
                    <a:pt x="24" y="4"/>
                  </a:lnTo>
                  <a:lnTo>
                    <a:pt x="23" y="0"/>
                  </a:lnTo>
                  <a:lnTo>
                    <a:pt x="15" y="4"/>
                  </a:lnTo>
                  <a:lnTo>
                    <a:pt x="0" y="6"/>
                  </a:lnTo>
                  <a:lnTo>
                    <a:pt x="3" y="12"/>
                  </a:lnTo>
                  <a:lnTo>
                    <a:pt x="15" y="10"/>
                  </a:lnTo>
                  <a:lnTo>
                    <a:pt x="15" y="10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832" name="Freeform 177"/>
            <p:cNvSpPr>
              <a:spLocks/>
            </p:cNvSpPr>
            <p:nvPr userDrawn="1"/>
          </p:nvSpPr>
          <p:spPr bwMode="auto">
            <a:xfrm>
              <a:off x="4350" y="3842"/>
              <a:ext cx="12" cy="9"/>
            </a:xfrm>
            <a:custGeom>
              <a:avLst/>
              <a:gdLst>
                <a:gd name="T0" fmla="*/ 10 w 12"/>
                <a:gd name="T1" fmla="*/ 0 h 9"/>
                <a:gd name="T2" fmla="*/ 0 w 12"/>
                <a:gd name="T3" fmla="*/ 1 h 9"/>
                <a:gd name="T4" fmla="*/ 6 w 12"/>
                <a:gd name="T5" fmla="*/ 9 h 9"/>
                <a:gd name="T6" fmla="*/ 12 w 12"/>
                <a:gd name="T7" fmla="*/ 6 h 9"/>
                <a:gd name="T8" fmla="*/ 10 w 12"/>
                <a:gd name="T9" fmla="*/ 0 h 9"/>
                <a:gd name="T10" fmla="*/ 10 w 12"/>
                <a:gd name="T11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9">
                  <a:moveTo>
                    <a:pt x="10" y="0"/>
                  </a:moveTo>
                  <a:lnTo>
                    <a:pt x="0" y="1"/>
                  </a:lnTo>
                  <a:lnTo>
                    <a:pt x="6" y="9"/>
                  </a:lnTo>
                  <a:lnTo>
                    <a:pt x="12" y="6"/>
                  </a:lnTo>
                  <a:lnTo>
                    <a:pt x="10" y="0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833" name="Freeform 178"/>
            <p:cNvSpPr>
              <a:spLocks/>
            </p:cNvSpPr>
            <p:nvPr userDrawn="1"/>
          </p:nvSpPr>
          <p:spPr bwMode="auto">
            <a:xfrm>
              <a:off x="4188" y="3780"/>
              <a:ext cx="12" cy="12"/>
            </a:xfrm>
            <a:custGeom>
              <a:avLst/>
              <a:gdLst>
                <a:gd name="T0" fmla="*/ 12 w 12"/>
                <a:gd name="T1" fmla="*/ 7 h 12"/>
                <a:gd name="T2" fmla="*/ 3 w 12"/>
                <a:gd name="T3" fmla="*/ 0 h 12"/>
                <a:gd name="T4" fmla="*/ 0 w 12"/>
                <a:gd name="T5" fmla="*/ 3 h 12"/>
                <a:gd name="T6" fmla="*/ 6 w 12"/>
                <a:gd name="T7" fmla="*/ 12 h 12"/>
                <a:gd name="T8" fmla="*/ 12 w 12"/>
                <a:gd name="T9" fmla="*/ 7 h 12"/>
                <a:gd name="T10" fmla="*/ 12 w 12"/>
                <a:gd name="T11" fmla="*/ 7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12">
                  <a:moveTo>
                    <a:pt x="12" y="7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6" y="12"/>
                  </a:lnTo>
                  <a:lnTo>
                    <a:pt x="12" y="7"/>
                  </a:lnTo>
                  <a:lnTo>
                    <a:pt x="12" y="7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834" name="Freeform 179"/>
            <p:cNvSpPr>
              <a:spLocks/>
            </p:cNvSpPr>
            <p:nvPr userDrawn="1"/>
          </p:nvSpPr>
          <p:spPr bwMode="auto">
            <a:xfrm>
              <a:off x="4395" y="3650"/>
              <a:ext cx="11" cy="11"/>
            </a:xfrm>
            <a:custGeom>
              <a:avLst/>
              <a:gdLst>
                <a:gd name="T0" fmla="*/ 11 w 11"/>
                <a:gd name="T1" fmla="*/ 2 h 11"/>
                <a:gd name="T2" fmla="*/ 3 w 11"/>
                <a:gd name="T3" fmla="*/ 0 h 11"/>
                <a:gd name="T4" fmla="*/ 0 w 11"/>
                <a:gd name="T5" fmla="*/ 3 h 11"/>
                <a:gd name="T6" fmla="*/ 6 w 11"/>
                <a:gd name="T7" fmla="*/ 11 h 11"/>
                <a:gd name="T8" fmla="*/ 11 w 11"/>
                <a:gd name="T9" fmla="*/ 2 h 11"/>
                <a:gd name="T10" fmla="*/ 11 w 11"/>
                <a:gd name="T11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" h="11">
                  <a:moveTo>
                    <a:pt x="11" y="2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6" y="11"/>
                  </a:lnTo>
                  <a:lnTo>
                    <a:pt x="11" y="2"/>
                  </a:lnTo>
                  <a:lnTo>
                    <a:pt x="11" y="2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835" name="Freeform 180"/>
            <p:cNvSpPr>
              <a:spLocks/>
            </p:cNvSpPr>
            <p:nvPr userDrawn="1"/>
          </p:nvSpPr>
          <p:spPr bwMode="auto">
            <a:xfrm>
              <a:off x="4360" y="3849"/>
              <a:ext cx="20" cy="12"/>
            </a:xfrm>
            <a:custGeom>
              <a:avLst/>
              <a:gdLst>
                <a:gd name="T0" fmla="*/ 6 w 20"/>
                <a:gd name="T1" fmla="*/ 0 h 12"/>
                <a:gd name="T2" fmla="*/ 0 w 20"/>
                <a:gd name="T3" fmla="*/ 3 h 12"/>
                <a:gd name="T4" fmla="*/ 6 w 20"/>
                <a:gd name="T5" fmla="*/ 11 h 12"/>
                <a:gd name="T6" fmla="*/ 9 w 20"/>
                <a:gd name="T7" fmla="*/ 12 h 12"/>
                <a:gd name="T8" fmla="*/ 17 w 20"/>
                <a:gd name="T9" fmla="*/ 11 h 12"/>
                <a:gd name="T10" fmla="*/ 20 w 20"/>
                <a:gd name="T11" fmla="*/ 6 h 12"/>
                <a:gd name="T12" fmla="*/ 15 w 20"/>
                <a:gd name="T13" fmla="*/ 0 h 12"/>
                <a:gd name="T14" fmla="*/ 6 w 20"/>
                <a:gd name="T15" fmla="*/ 0 h 12"/>
                <a:gd name="T16" fmla="*/ 6 w 20"/>
                <a:gd name="T1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" h="12">
                  <a:moveTo>
                    <a:pt x="6" y="0"/>
                  </a:moveTo>
                  <a:lnTo>
                    <a:pt x="0" y="3"/>
                  </a:lnTo>
                  <a:lnTo>
                    <a:pt x="6" y="11"/>
                  </a:lnTo>
                  <a:lnTo>
                    <a:pt x="9" y="12"/>
                  </a:lnTo>
                  <a:lnTo>
                    <a:pt x="17" y="11"/>
                  </a:lnTo>
                  <a:lnTo>
                    <a:pt x="20" y="6"/>
                  </a:lnTo>
                  <a:lnTo>
                    <a:pt x="15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836" name="Freeform 181"/>
            <p:cNvSpPr>
              <a:spLocks/>
            </p:cNvSpPr>
            <p:nvPr userDrawn="1"/>
          </p:nvSpPr>
          <p:spPr bwMode="auto">
            <a:xfrm>
              <a:off x="4241" y="3673"/>
              <a:ext cx="198" cy="128"/>
            </a:xfrm>
            <a:custGeom>
              <a:avLst/>
              <a:gdLst>
                <a:gd name="T0" fmla="*/ 30 w 198"/>
                <a:gd name="T1" fmla="*/ 56 h 128"/>
                <a:gd name="T2" fmla="*/ 35 w 198"/>
                <a:gd name="T3" fmla="*/ 60 h 128"/>
                <a:gd name="T4" fmla="*/ 59 w 198"/>
                <a:gd name="T5" fmla="*/ 71 h 128"/>
                <a:gd name="T6" fmla="*/ 86 w 198"/>
                <a:gd name="T7" fmla="*/ 92 h 128"/>
                <a:gd name="T8" fmla="*/ 110 w 198"/>
                <a:gd name="T9" fmla="*/ 93 h 128"/>
                <a:gd name="T10" fmla="*/ 130 w 198"/>
                <a:gd name="T11" fmla="*/ 113 h 128"/>
                <a:gd name="T12" fmla="*/ 146 w 198"/>
                <a:gd name="T13" fmla="*/ 119 h 128"/>
                <a:gd name="T14" fmla="*/ 162 w 198"/>
                <a:gd name="T15" fmla="*/ 123 h 128"/>
                <a:gd name="T16" fmla="*/ 171 w 198"/>
                <a:gd name="T17" fmla="*/ 128 h 128"/>
                <a:gd name="T18" fmla="*/ 175 w 198"/>
                <a:gd name="T19" fmla="*/ 126 h 128"/>
                <a:gd name="T20" fmla="*/ 171 w 198"/>
                <a:gd name="T21" fmla="*/ 114 h 128"/>
                <a:gd name="T22" fmla="*/ 181 w 198"/>
                <a:gd name="T23" fmla="*/ 101 h 128"/>
                <a:gd name="T24" fmla="*/ 184 w 198"/>
                <a:gd name="T25" fmla="*/ 86 h 128"/>
                <a:gd name="T26" fmla="*/ 175 w 198"/>
                <a:gd name="T27" fmla="*/ 74 h 128"/>
                <a:gd name="T28" fmla="*/ 175 w 198"/>
                <a:gd name="T29" fmla="*/ 74 h 128"/>
                <a:gd name="T30" fmla="*/ 174 w 198"/>
                <a:gd name="T31" fmla="*/ 57 h 128"/>
                <a:gd name="T32" fmla="*/ 174 w 198"/>
                <a:gd name="T33" fmla="*/ 57 h 128"/>
                <a:gd name="T34" fmla="*/ 180 w 198"/>
                <a:gd name="T35" fmla="*/ 44 h 128"/>
                <a:gd name="T36" fmla="*/ 186 w 198"/>
                <a:gd name="T37" fmla="*/ 31 h 128"/>
                <a:gd name="T38" fmla="*/ 198 w 198"/>
                <a:gd name="T39" fmla="*/ 12 h 128"/>
                <a:gd name="T40" fmla="*/ 195 w 198"/>
                <a:gd name="T41" fmla="*/ 4 h 128"/>
                <a:gd name="T42" fmla="*/ 198 w 198"/>
                <a:gd name="T43" fmla="*/ 0 h 128"/>
                <a:gd name="T44" fmla="*/ 193 w 198"/>
                <a:gd name="T45" fmla="*/ 0 h 128"/>
                <a:gd name="T46" fmla="*/ 187 w 198"/>
                <a:gd name="T47" fmla="*/ 4 h 128"/>
                <a:gd name="T48" fmla="*/ 175 w 198"/>
                <a:gd name="T49" fmla="*/ 6 h 128"/>
                <a:gd name="T50" fmla="*/ 168 w 198"/>
                <a:gd name="T51" fmla="*/ 10 h 128"/>
                <a:gd name="T52" fmla="*/ 151 w 198"/>
                <a:gd name="T53" fmla="*/ 9 h 128"/>
                <a:gd name="T54" fmla="*/ 136 w 198"/>
                <a:gd name="T55" fmla="*/ 16 h 128"/>
                <a:gd name="T56" fmla="*/ 118 w 198"/>
                <a:gd name="T57" fmla="*/ 21 h 128"/>
                <a:gd name="T58" fmla="*/ 103 w 198"/>
                <a:gd name="T59" fmla="*/ 16 h 128"/>
                <a:gd name="T60" fmla="*/ 86 w 198"/>
                <a:gd name="T61" fmla="*/ 22 h 128"/>
                <a:gd name="T62" fmla="*/ 73 w 198"/>
                <a:gd name="T63" fmla="*/ 24 h 128"/>
                <a:gd name="T64" fmla="*/ 65 w 198"/>
                <a:gd name="T65" fmla="*/ 13 h 128"/>
                <a:gd name="T66" fmla="*/ 57 w 198"/>
                <a:gd name="T67" fmla="*/ 13 h 128"/>
                <a:gd name="T68" fmla="*/ 48 w 198"/>
                <a:gd name="T69" fmla="*/ 9 h 128"/>
                <a:gd name="T70" fmla="*/ 38 w 198"/>
                <a:gd name="T71" fmla="*/ 18 h 128"/>
                <a:gd name="T72" fmla="*/ 32 w 198"/>
                <a:gd name="T73" fmla="*/ 21 h 128"/>
                <a:gd name="T74" fmla="*/ 26 w 198"/>
                <a:gd name="T75" fmla="*/ 13 h 128"/>
                <a:gd name="T76" fmla="*/ 23 w 198"/>
                <a:gd name="T77" fmla="*/ 9 h 128"/>
                <a:gd name="T78" fmla="*/ 17 w 198"/>
                <a:gd name="T79" fmla="*/ 7 h 128"/>
                <a:gd name="T80" fmla="*/ 17 w 198"/>
                <a:gd name="T81" fmla="*/ 15 h 128"/>
                <a:gd name="T82" fmla="*/ 9 w 198"/>
                <a:gd name="T83" fmla="*/ 18 h 128"/>
                <a:gd name="T84" fmla="*/ 0 w 198"/>
                <a:gd name="T85" fmla="*/ 31 h 128"/>
                <a:gd name="T86" fmla="*/ 6 w 198"/>
                <a:gd name="T87" fmla="*/ 51 h 128"/>
                <a:gd name="T88" fmla="*/ 30 w 198"/>
                <a:gd name="T89" fmla="*/ 56 h 128"/>
                <a:gd name="T90" fmla="*/ 30 w 198"/>
                <a:gd name="T91" fmla="*/ 56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98" h="128">
                  <a:moveTo>
                    <a:pt x="30" y="56"/>
                  </a:moveTo>
                  <a:lnTo>
                    <a:pt x="35" y="60"/>
                  </a:lnTo>
                  <a:lnTo>
                    <a:pt x="59" y="71"/>
                  </a:lnTo>
                  <a:lnTo>
                    <a:pt x="86" y="92"/>
                  </a:lnTo>
                  <a:lnTo>
                    <a:pt x="110" y="93"/>
                  </a:lnTo>
                  <a:lnTo>
                    <a:pt x="130" y="113"/>
                  </a:lnTo>
                  <a:lnTo>
                    <a:pt x="146" y="119"/>
                  </a:lnTo>
                  <a:lnTo>
                    <a:pt x="162" y="123"/>
                  </a:lnTo>
                  <a:lnTo>
                    <a:pt x="171" y="128"/>
                  </a:lnTo>
                  <a:lnTo>
                    <a:pt x="175" y="126"/>
                  </a:lnTo>
                  <a:lnTo>
                    <a:pt x="171" y="114"/>
                  </a:lnTo>
                  <a:lnTo>
                    <a:pt x="181" y="101"/>
                  </a:lnTo>
                  <a:lnTo>
                    <a:pt x="184" y="86"/>
                  </a:lnTo>
                  <a:lnTo>
                    <a:pt x="175" y="74"/>
                  </a:lnTo>
                  <a:lnTo>
                    <a:pt x="175" y="74"/>
                  </a:lnTo>
                  <a:lnTo>
                    <a:pt x="174" y="57"/>
                  </a:lnTo>
                  <a:lnTo>
                    <a:pt x="174" y="57"/>
                  </a:lnTo>
                  <a:lnTo>
                    <a:pt x="180" y="44"/>
                  </a:lnTo>
                  <a:lnTo>
                    <a:pt x="186" y="31"/>
                  </a:lnTo>
                  <a:lnTo>
                    <a:pt x="198" y="12"/>
                  </a:lnTo>
                  <a:lnTo>
                    <a:pt x="195" y="4"/>
                  </a:lnTo>
                  <a:lnTo>
                    <a:pt x="198" y="0"/>
                  </a:lnTo>
                  <a:lnTo>
                    <a:pt x="193" y="0"/>
                  </a:lnTo>
                  <a:lnTo>
                    <a:pt x="187" y="4"/>
                  </a:lnTo>
                  <a:lnTo>
                    <a:pt x="175" y="6"/>
                  </a:lnTo>
                  <a:lnTo>
                    <a:pt x="168" y="10"/>
                  </a:lnTo>
                  <a:lnTo>
                    <a:pt x="151" y="9"/>
                  </a:lnTo>
                  <a:lnTo>
                    <a:pt x="136" y="16"/>
                  </a:lnTo>
                  <a:lnTo>
                    <a:pt x="118" y="21"/>
                  </a:lnTo>
                  <a:lnTo>
                    <a:pt x="103" y="16"/>
                  </a:lnTo>
                  <a:lnTo>
                    <a:pt x="86" y="22"/>
                  </a:lnTo>
                  <a:lnTo>
                    <a:pt x="73" y="24"/>
                  </a:lnTo>
                  <a:lnTo>
                    <a:pt x="65" y="13"/>
                  </a:lnTo>
                  <a:lnTo>
                    <a:pt x="57" y="13"/>
                  </a:lnTo>
                  <a:lnTo>
                    <a:pt x="48" y="9"/>
                  </a:lnTo>
                  <a:lnTo>
                    <a:pt x="38" y="18"/>
                  </a:lnTo>
                  <a:lnTo>
                    <a:pt x="32" y="21"/>
                  </a:lnTo>
                  <a:lnTo>
                    <a:pt x="26" y="13"/>
                  </a:lnTo>
                  <a:lnTo>
                    <a:pt x="23" y="9"/>
                  </a:lnTo>
                  <a:lnTo>
                    <a:pt x="17" y="7"/>
                  </a:lnTo>
                  <a:lnTo>
                    <a:pt x="17" y="15"/>
                  </a:lnTo>
                  <a:lnTo>
                    <a:pt x="9" y="18"/>
                  </a:lnTo>
                  <a:lnTo>
                    <a:pt x="0" y="31"/>
                  </a:lnTo>
                  <a:lnTo>
                    <a:pt x="6" y="51"/>
                  </a:lnTo>
                  <a:lnTo>
                    <a:pt x="30" y="56"/>
                  </a:lnTo>
                  <a:lnTo>
                    <a:pt x="30" y="56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837" name="Freeform 182"/>
            <p:cNvSpPr>
              <a:spLocks/>
            </p:cNvSpPr>
            <p:nvPr userDrawn="1"/>
          </p:nvSpPr>
          <p:spPr bwMode="auto">
            <a:xfrm>
              <a:off x="2783" y="2083"/>
              <a:ext cx="288" cy="410"/>
            </a:xfrm>
            <a:custGeom>
              <a:avLst/>
              <a:gdLst>
                <a:gd name="T0" fmla="*/ 25 w 288"/>
                <a:gd name="T1" fmla="*/ 401 h 410"/>
                <a:gd name="T2" fmla="*/ 61 w 288"/>
                <a:gd name="T3" fmla="*/ 384 h 410"/>
                <a:gd name="T4" fmla="*/ 46 w 288"/>
                <a:gd name="T5" fmla="*/ 396 h 410"/>
                <a:gd name="T6" fmla="*/ 60 w 288"/>
                <a:gd name="T7" fmla="*/ 407 h 410"/>
                <a:gd name="T8" fmla="*/ 98 w 288"/>
                <a:gd name="T9" fmla="*/ 405 h 410"/>
                <a:gd name="T10" fmla="*/ 122 w 288"/>
                <a:gd name="T11" fmla="*/ 389 h 410"/>
                <a:gd name="T12" fmla="*/ 128 w 288"/>
                <a:gd name="T13" fmla="*/ 377 h 410"/>
                <a:gd name="T14" fmla="*/ 137 w 288"/>
                <a:gd name="T15" fmla="*/ 375 h 410"/>
                <a:gd name="T16" fmla="*/ 164 w 288"/>
                <a:gd name="T17" fmla="*/ 365 h 410"/>
                <a:gd name="T18" fmla="*/ 214 w 288"/>
                <a:gd name="T19" fmla="*/ 345 h 410"/>
                <a:gd name="T20" fmla="*/ 239 w 288"/>
                <a:gd name="T21" fmla="*/ 338 h 410"/>
                <a:gd name="T22" fmla="*/ 251 w 288"/>
                <a:gd name="T23" fmla="*/ 321 h 410"/>
                <a:gd name="T24" fmla="*/ 279 w 288"/>
                <a:gd name="T25" fmla="*/ 264 h 410"/>
                <a:gd name="T26" fmla="*/ 261 w 288"/>
                <a:gd name="T27" fmla="*/ 179 h 410"/>
                <a:gd name="T28" fmla="*/ 267 w 288"/>
                <a:gd name="T29" fmla="*/ 152 h 410"/>
                <a:gd name="T30" fmla="*/ 273 w 288"/>
                <a:gd name="T31" fmla="*/ 150 h 410"/>
                <a:gd name="T32" fmla="*/ 265 w 288"/>
                <a:gd name="T33" fmla="*/ 137 h 410"/>
                <a:gd name="T34" fmla="*/ 223 w 288"/>
                <a:gd name="T35" fmla="*/ 105 h 410"/>
                <a:gd name="T36" fmla="*/ 155 w 288"/>
                <a:gd name="T37" fmla="*/ 110 h 410"/>
                <a:gd name="T38" fmla="*/ 176 w 288"/>
                <a:gd name="T39" fmla="*/ 58 h 410"/>
                <a:gd name="T40" fmla="*/ 200 w 288"/>
                <a:gd name="T41" fmla="*/ 37 h 410"/>
                <a:gd name="T42" fmla="*/ 215 w 288"/>
                <a:gd name="T43" fmla="*/ 13 h 410"/>
                <a:gd name="T44" fmla="*/ 190 w 288"/>
                <a:gd name="T45" fmla="*/ 30 h 410"/>
                <a:gd name="T46" fmla="*/ 172 w 288"/>
                <a:gd name="T47" fmla="*/ 10 h 410"/>
                <a:gd name="T48" fmla="*/ 146 w 288"/>
                <a:gd name="T49" fmla="*/ 27 h 410"/>
                <a:gd name="T50" fmla="*/ 131 w 288"/>
                <a:gd name="T51" fmla="*/ 55 h 410"/>
                <a:gd name="T52" fmla="*/ 117 w 288"/>
                <a:gd name="T53" fmla="*/ 83 h 410"/>
                <a:gd name="T54" fmla="*/ 122 w 288"/>
                <a:gd name="T55" fmla="*/ 95 h 410"/>
                <a:gd name="T56" fmla="*/ 114 w 288"/>
                <a:gd name="T57" fmla="*/ 128 h 410"/>
                <a:gd name="T58" fmla="*/ 87 w 288"/>
                <a:gd name="T59" fmla="*/ 132 h 410"/>
                <a:gd name="T60" fmla="*/ 60 w 288"/>
                <a:gd name="T61" fmla="*/ 117 h 410"/>
                <a:gd name="T62" fmla="*/ 34 w 288"/>
                <a:gd name="T63" fmla="*/ 144 h 410"/>
                <a:gd name="T64" fmla="*/ 30 w 288"/>
                <a:gd name="T65" fmla="*/ 161 h 410"/>
                <a:gd name="T66" fmla="*/ 52 w 288"/>
                <a:gd name="T67" fmla="*/ 170 h 410"/>
                <a:gd name="T68" fmla="*/ 24 w 288"/>
                <a:gd name="T69" fmla="*/ 194 h 410"/>
                <a:gd name="T70" fmla="*/ 37 w 288"/>
                <a:gd name="T71" fmla="*/ 217 h 410"/>
                <a:gd name="T72" fmla="*/ 54 w 288"/>
                <a:gd name="T73" fmla="*/ 226 h 410"/>
                <a:gd name="T74" fmla="*/ 95 w 288"/>
                <a:gd name="T75" fmla="*/ 232 h 410"/>
                <a:gd name="T76" fmla="*/ 64 w 288"/>
                <a:gd name="T77" fmla="*/ 265 h 410"/>
                <a:gd name="T78" fmla="*/ 57 w 288"/>
                <a:gd name="T79" fmla="*/ 288 h 410"/>
                <a:gd name="T80" fmla="*/ 60 w 288"/>
                <a:gd name="T81" fmla="*/ 300 h 410"/>
                <a:gd name="T82" fmla="*/ 83 w 288"/>
                <a:gd name="T83" fmla="*/ 289 h 410"/>
                <a:gd name="T84" fmla="*/ 93 w 288"/>
                <a:gd name="T85" fmla="*/ 291 h 410"/>
                <a:gd name="T86" fmla="*/ 101 w 288"/>
                <a:gd name="T87" fmla="*/ 295 h 410"/>
                <a:gd name="T88" fmla="*/ 48 w 288"/>
                <a:gd name="T89" fmla="*/ 307 h 410"/>
                <a:gd name="T90" fmla="*/ 52 w 288"/>
                <a:gd name="T91" fmla="*/ 338 h 410"/>
                <a:gd name="T92" fmla="*/ 19 w 288"/>
                <a:gd name="T93" fmla="*/ 338 h 410"/>
                <a:gd name="T94" fmla="*/ 0 w 288"/>
                <a:gd name="T95" fmla="*/ 342 h 410"/>
                <a:gd name="T96" fmla="*/ 39 w 288"/>
                <a:gd name="T97" fmla="*/ 348 h 410"/>
                <a:gd name="T98" fmla="*/ 13 w 288"/>
                <a:gd name="T99" fmla="*/ 366 h 410"/>
                <a:gd name="T100" fmla="*/ 30 w 288"/>
                <a:gd name="T101" fmla="*/ 378 h 410"/>
                <a:gd name="T102" fmla="*/ 33 w 288"/>
                <a:gd name="T103" fmla="*/ 383 h 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88" h="410">
                  <a:moveTo>
                    <a:pt x="33" y="383"/>
                  </a:moveTo>
                  <a:lnTo>
                    <a:pt x="27" y="396"/>
                  </a:lnTo>
                  <a:lnTo>
                    <a:pt x="16" y="401"/>
                  </a:lnTo>
                  <a:lnTo>
                    <a:pt x="25" y="401"/>
                  </a:lnTo>
                  <a:lnTo>
                    <a:pt x="33" y="396"/>
                  </a:lnTo>
                  <a:lnTo>
                    <a:pt x="39" y="389"/>
                  </a:lnTo>
                  <a:lnTo>
                    <a:pt x="46" y="387"/>
                  </a:lnTo>
                  <a:lnTo>
                    <a:pt x="61" y="384"/>
                  </a:lnTo>
                  <a:lnTo>
                    <a:pt x="55" y="389"/>
                  </a:lnTo>
                  <a:lnTo>
                    <a:pt x="64" y="390"/>
                  </a:lnTo>
                  <a:lnTo>
                    <a:pt x="51" y="396"/>
                  </a:lnTo>
                  <a:lnTo>
                    <a:pt x="46" y="396"/>
                  </a:lnTo>
                  <a:lnTo>
                    <a:pt x="39" y="402"/>
                  </a:lnTo>
                  <a:lnTo>
                    <a:pt x="46" y="405"/>
                  </a:lnTo>
                  <a:lnTo>
                    <a:pt x="46" y="410"/>
                  </a:lnTo>
                  <a:lnTo>
                    <a:pt x="60" y="407"/>
                  </a:lnTo>
                  <a:lnTo>
                    <a:pt x="64" y="404"/>
                  </a:lnTo>
                  <a:lnTo>
                    <a:pt x="69" y="405"/>
                  </a:lnTo>
                  <a:lnTo>
                    <a:pt x="89" y="408"/>
                  </a:lnTo>
                  <a:lnTo>
                    <a:pt x="98" y="405"/>
                  </a:lnTo>
                  <a:lnTo>
                    <a:pt x="105" y="402"/>
                  </a:lnTo>
                  <a:lnTo>
                    <a:pt x="110" y="396"/>
                  </a:lnTo>
                  <a:lnTo>
                    <a:pt x="119" y="396"/>
                  </a:lnTo>
                  <a:lnTo>
                    <a:pt x="122" y="389"/>
                  </a:lnTo>
                  <a:lnTo>
                    <a:pt x="134" y="390"/>
                  </a:lnTo>
                  <a:lnTo>
                    <a:pt x="131" y="384"/>
                  </a:lnTo>
                  <a:lnTo>
                    <a:pt x="132" y="378"/>
                  </a:lnTo>
                  <a:lnTo>
                    <a:pt x="128" y="377"/>
                  </a:lnTo>
                  <a:lnTo>
                    <a:pt x="131" y="369"/>
                  </a:lnTo>
                  <a:lnTo>
                    <a:pt x="135" y="371"/>
                  </a:lnTo>
                  <a:lnTo>
                    <a:pt x="140" y="366"/>
                  </a:lnTo>
                  <a:lnTo>
                    <a:pt x="137" y="375"/>
                  </a:lnTo>
                  <a:lnTo>
                    <a:pt x="144" y="381"/>
                  </a:lnTo>
                  <a:lnTo>
                    <a:pt x="150" y="375"/>
                  </a:lnTo>
                  <a:lnTo>
                    <a:pt x="159" y="374"/>
                  </a:lnTo>
                  <a:lnTo>
                    <a:pt x="164" y="365"/>
                  </a:lnTo>
                  <a:lnTo>
                    <a:pt x="172" y="368"/>
                  </a:lnTo>
                  <a:lnTo>
                    <a:pt x="178" y="359"/>
                  </a:lnTo>
                  <a:lnTo>
                    <a:pt x="193" y="351"/>
                  </a:lnTo>
                  <a:lnTo>
                    <a:pt x="214" y="345"/>
                  </a:lnTo>
                  <a:lnTo>
                    <a:pt x="217" y="334"/>
                  </a:lnTo>
                  <a:lnTo>
                    <a:pt x="223" y="331"/>
                  </a:lnTo>
                  <a:lnTo>
                    <a:pt x="226" y="342"/>
                  </a:lnTo>
                  <a:lnTo>
                    <a:pt x="239" y="338"/>
                  </a:lnTo>
                  <a:lnTo>
                    <a:pt x="253" y="341"/>
                  </a:lnTo>
                  <a:lnTo>
                    <a:pt x="262" y="339"/>
                  </a:lnTo>
                  <a:lnTo>
                    <a:pt x="253" y="327"/>
                  </a:lnTo>
                  <a:lnTo>
                    <a:pt x="251" y="321"/>
                  </a:lnTo>
                  <a:lnTo>
                    <a:pt x="258" y="321"/>
                  </a:lnTo>
                  <a:lnTo>
                    <a:pt x="261" y="310"/>
                  </a:lnTo>
                  <a:lnTo>
                    <a:pt x="273" y="279"/>
                  </a:lnTo>
                  <a:lnTo>
                    <a:pt x="279" y="264"/>
                  </a:lnTo>
                  <a:lnTo>
                    <a:pt x="270" y="223"/>
                  </a:lnTo>
                  <a:lnTo>
                    <a:pt x="265" y="206"/>
                  </a:lnTo>
                  <a:lnTo>
                    <a:pt x="271" y="193"/>
                  </a:lnTo>
                  <a:lnTo>
                    <a:pt x="261" y="179"/>
                  </a:lnTo>
                  <a:lnTo>
                    <a:pt x="258" y="156"/>
                  </a:lnTo>
                  <a:lnTo>
                    <a:pt x="259" y="149"/>
                  </a:lnTo>
                  <a:lnTo>
                    <a:pt x="259" y="149"/>
                  </a:lnTo>
                  <a:lnTo>
                    <a:pt x="267" y="152"/>
                  </a:lnTo>
                  <a:lnTo>
                    <a:pt x="267" y="152"/>
                  </a:lnTo>
                  <a:lnTo>
                    <a:pt x="270" y="152"/>
                  </a:lnTo>
                  <a:lnTo>
                    <a:pt x="271" y="152"/>
                  </a:lnTo>
                  <a:lnTo>
                    <a:pt x="273" y="150"/>
                  </a:lnTo>
                  <a:lnTo>
                    <a:pt x="277" y="147"/>
                  </a:lnTo>
                  <a:lnTo>
                    <a:pt x="283" y="143"/>
                  </a:lnTo>
                  <a:lnTo>
                    <a:pt x="288" y="138"/>
                  </a:lnTo>
                  <a:lnTo>
                    <a:pt x="265" y="137"/>
                  </a:lnTo>
                  <a:lnTo>
                    <a:pt x="259" y="134"/>
                  </a:lnTo>
                  <a:lnTo>
                    <a:pt x="245" y="140"/>
                  </a:lnTo>
                  <a:lnTo>
                    <a:pt x="238" y="134"/>
                  </a:lnTo>
                  <a:lnTo>
                    <a:pt x="223" y="105"/>
                  </a:lnTo>
                  <a:lnTo>
                    <a:pt x="209" y="107"/>
                  </a:lnTo>
                  <a:lnTo>
                    <a:pt x="194" y="131"/>
                  </a:lnTo>
                  <a:lnTo>
                    <a:pt x="178" y="134"/>
                  </a:lnTo>
                  <a:lnTo>
                    <a:pt x="155" y="110"/>
                  </a:lnTo>
                  <a:lnTo>
                    <a:pt x="155" y="93"/>
                  </a:lnTo>
                  <a:lnTo>
                    <a:pt x="170" y="86"/>
                  </a:lnTo>
                  <a:lnTo>
                    <a:pt x="169" y="67"/>
                  </a:lnTo>
                  <a:lnTo>
                    <a:pt x="176" y="58"/>
                  </a:lnTo>
                  <a:lnTo>
                    <a:pt x="188" y="58"/>
                  </a:lnTo>
                  <a:lnTo>
                    <a:pt x="194" y="52"/>
                  </a:lnTo>
                  <a:lnTo>
                    <a:pt x="194" y="40"/>
                  </a:lnTo>
                  <a:lnTo>
                    <a:pt x="200" y="37"/>
                  </a:lnTo>
                  <a:lnTo>
                    <a:pt x="197" y="36"/>
                  </a:lnTo>
                  <a:lnTo>
                    <a:pt x="200" y="25"/>
                  </a:lnTo>
                  <a:lnTo>
                    <a:pt x="212" y="18"/>
                  </a:lnTo>
                  <a:lnTo>
                    <a:pt x="215" y="13"/>
                  </a:lnTo>
                  <a:lnTo>
                    <a:pt x="200" y="0"/>
                  </a:lnTo>
                  <a:lnTo>
                    <a:pt x="196" y="12"/>
                  </a:lnTo>
                  <a:lnTo>
                    <a:pt x="187" y="12"/>
                  </a:lnTo>
                  <a:lnTo>
                    <a:pt x="190" y="30"/>
                  </a:lnTo>
                  <a:lnTo>
                    <a:pt x="185" y="40"/>
                  </a:lnTo>
                  <a:lnTo>
                    <a:pt x="176" y="40"/>
                  </a:lnTo>
                  <a:lnTo>
                    <a:pt x="184" y="22"/>
                  </a:lnTo>
                  <a:lnTo>
                    <a:pt x="172" y="10"/>
                  </a:lnTo>
                  <a:lnTo>
                    <a:pt x="161" y="15"/>
                  </a:lnTo>
                  <a:lnTo>
                    <a:pt x="162" y="19"/>
                  </a:lnTo>
                  <a:lnTo>
                    <a:pt x="150" y="18"/>
                  </a:lnTo>
                  <a:lnTo>
                    <a:pt x="146" y="27"/>
                  </a:lnTo>
                  <a:lnTo>
                    <a:pt x="135" y="30"/>
                  </a:lnTo>
                  <a:lnTo>
                    <a:pt x="125" y="40"/>
                  </a:lnTo>
                  <a:lnTo>
                    <a:pt x="128" y="49"/>
                  </a:lnTo>
                  <a:lnTo>
                    <a:pt x="131" y="55"/>
                  </a:lnTo>
                  <a:lnTo>
                    <a:pt x="116" y="61"/>
                  </a:lnTo>
                  <a:lnTo>
                    <a:pt x="108" y="69"/>
                  </a:lnTo>
                  <a:lnTo>
                    <a:pt x="105" y="75"/>
                  </a:lnTo>
                  <a:lnTo>
                    <a:pt x="117" y="83"/>
                  </a:lnTo>
                  <a:lnTo>
                    <a:pt x="129" y="80"/>
                  </a:lnTo>
                  <a:lnTo>
                    <a:pt x="140" y="81"/>
                  </a:lnTo>
                  <a:lnTo>
                    <a:pt x="134" y="95"/>
                  </a:lnTo>
                  <a:lnTo>
                    <a:pt x="122" y="95"/>
                  </a:lnTo>
                  <a:lnTo>
                    <a:pt x="114" y="104"/>
                  </a:lnTo>
                  <a:lnTo>
                    <a:pt x="120" y="116"/>
                  </a:lnTo>
                  <a:lnTo>
                    <a:pt x="119" y="128"/>
                  </a:lnTo>
                  <a:lnTo>
                    <a:pt x="114" y="128"/>
                  </a:lnTo>
                  <a:lnTo>
                    <a:pt x="104" y="122"/>
                  </a:lnTo>
                  <a:lnTo>
                    <a:pt x="92" y="116"/>
                  </a:lnTo>
                  <a:lnTo>
                    <a:pt x="84" y="123"/>
                  </a:lnTo>
                  <a:lnTo>
                    <a:pt x="87" y="132"/>
                  </a:lnTo>
                  <a:lnTo>
                    <a:pt x="78" y="128"/>
                  </a:lnTo>
                  <a:lnTo>
                    <a:pt x="77" y="122"/>
                  </a:lnTo>
                  <a:lnTo>
                    <a:pt x="69" y="116"/>
                  </a:lnTo>
                  <a:lnTo>
                    <a:pt x="60" y="117"/>
                  </a:lnTo>
                  <a:lnTo>
                    <a:pt x="45" y="114"/>
                  </a:lnTo>
                  <a:lnTo>
                    <a:pt x="43" y="129"/>
                  </a:lnTo>
                  <a:lnTo>
                    <a:pt x="31" y="134"/>
                  </a:lnTo>
                  <a:lnTo>
                    <a:pt x="34" y="144"/>
                  </a:lnTo>
                  <a:lnTo>
                    <a:pt x="42" y="147"/>
                  </a:lnTo>
                  <a:lnTo>
                    <a:pt x="43" y="153"/>
                  </a:lnTo>
                  <a:lnTo>
                    <a:pt x="31" y="150"/>
                  </a:lnTo>
                  <a:lnTo>
                    <a:pt x="30" y="161"/>
                  </a:lnTo>
                  <a:lnTo>
                    <a:pt x="36" y="170"/>
                  </a:lnTo>
                  <a:lnTo>
                    <a:pt x="40" y="166"/>
                  </a:lnTo>
                  <a:lnTo>
                    <a:pt x="52" y="164"/>
                  </a:lnTo>
                  <a:lnTo>
                    <a:pt x="52" y="170"/>
                  </a:lnTo>
                  <a:lnTo>
                    <a:pt x="57" y="173"/>
                  </a:lnTo>
                  <a:lnTo>
                    <a:pt x="37" y="179"/>
                  </a:lnTo>
                  <a:lnTo>
                    <a:pt x="34" y="190"/>
                  </a:lnTo>
                  <a:lnTo>
                    <a:pt x="24" y="194"/>
                  </a:lnTo>
                  <a:lnTo>
                    <a:pt x="16" y="205"/>
                  </a:lnTo>
                  <a:lnTo>
                    <a:pt x="25" y="212"/>
                  </a:lnTo>
                  <a:lnTo>
                    <a:pt x="28" y="217"/>
                  </a:lnTo>
                  <a:lnTo>
                    <a:pt x="37" y="217"/>
                  </a:lnTo>
                  <a:lnTo>
                    <a:pt x="39" y="224"/>
                  </a:lnTo>
                  <a:lnTo>
                    <a:pt x="45" y="224"/>
                  </a:lnTo>
                  <a:lnTo>
                    <a:pt x="52" y="215"/>
                  </a:lnTo>
                  <a:lnTo>
                    <a:pt x="54" y="226"/>
                  </a:lnTo>
                  <a:lnTo>
                    <a:pt x="58" y="230"/>
                  </a:lnTo>
                  <a:lnTo>
                    <a:pt x="86" y="230"/>
                  </a:lnTo>
                  <a:lnTo>
                    <a:pt x="96" y="223"/>
                  </a:lnTo>
                  <a:lnTo>
                    <a:pt x="95" y="232"/>
                  </a:lnTo>
                  <a:lnTo>
                    <a:pt x="99" y="241"/>
                  </a:lnTo>
                  <a:lnTo>
                    <a:pt x="84" y="239"/>
                  </a:lnTo>
                  <a:lnTo>
                    <a:pt x="72" y="247"/>
                  </a:lnTo>
                  <a:lnTo>
                    <a:pt x="64" y="265"/>
                  </a:lnTo>
                  <a:lnTo>
                    <a:pt x="72" y="264"/>
                  </a:lnTo>
                  <a:lnTo>
                    <a:pt x="73" y="267"/>
                  </a:lnTo>
                  <a:lnTo>
                    <a:pt x="63" y="274"/>
                  </a:lnTo>
                  <a:lnTo>
                    <a:pt x="57" y="288"/>
                  </a:lnTo>
                  <a:lnTo>
                    <a:pt x="33" y="300"/>
                  </a:lnTo>
                  <a:lnTo>
                    <a:pt x="34" y="306"/>
                  </a:lnTo>
                  <a:lnTo>
                    <a:pt x="48" y="300"/>
                  </a:lnTo>
                  <a:lnTo>
                    <a:pt x="60" y="300"/>
                  </a:lnTo>
                  <a:lnTo>
                    <a:pt x="58" y="297"/>
                  </a:lnTo>
                  <a:lnTo>
                    <a:pt x="63" y="295"/>
                  </a:lnTo>
                  <a:lnTo>
                    <a:pt x="75" y="292"/>
                  </a:lnTo>
                  <a:lnTo>
                    <a:pt x="83" y="289"/>
                  </a:lnTo>
                  <a:lnTo>
                    <a:pt x="92" y="276"/>
                  </a:lnTo>
                  <a:lnTo>
                    <a:pt x="99" y="273"/>
                  </a:lnTo>
                  <a:lnTo>
                    <a:pt x="95" y="282"/>
                  </a:lnTo>
                  <a:lnTo>
                    <a:pt x="93" y="291"/>
                  </a:lnTo>
                  <a:lnTo>
                    <a:pt x="101" y="292"/>
                  </a:lnTo>
                  <a:lnTo>
                    <a:pt x="114" y="295"/>
                  </a:lnTo>
                  <a:lnTo>
                    <a:pt x="117" y="298"/>
                  </a:lnTo>
                  <a:lnTo>
                    <a:pt x="101" y="295"/>
                  </a:lnTo>
                  <a:lnTo>
                    <a:pt x="90" y="298"/>
                  </a:lnTo>
                  <a:lnTo>
                    <a:pt x="70" y="304"/>
                  </a:lnTo>
                  <a:lnTo>
                    <a:pt x="54" y="306"/>
                  </a:lnTo>
                  <a:lnTo>
                    <a:pt x="48" y="307"/>
                  </a:lnTo>
                  <a:lnTo>
                    <a:pt x="46" y="319"/>
                  </a:lnTo>
                  <a:lnTo>
                    <a:pt x="36" y="324"/>
                  </a:lnTo>
                  <a:lnTo>
                    <a:pt x="42" y="333"/>
                  </a:lnTo>
                  <a:lnTo>
                    <a:pt x="52" y="338"/>
                  </a:lnTo>
                  <a:lnTo>
                    <a:pt x="37" y="338"/>
                  </a:lnTo>
                  <a:lnTo>
                    <a:pt x="31" y="336"/>
                  </a:lnTo>
                  <a:lnTo>
                    <a:pt x="28" y="330"/>
                  </a:lnTo>
                  <a:lnTo>
                    <a:pt x="19" y="338"/>
                  </a:lnTo>
                  <a:lnTo>
                    <a:pt x="24" y="328"/>
                  </a:lnTo>
                  <a:lnTo>
                    <a:pt x="9" y="331"/>
                  </a:lnTo>
                  <a:lnTo>
                    <a:pt x="4" y="333"/>
                  </a:lnTo>
                  <a:lnTo>
                    <a:pt x="0" y="342"/>
                  </a:lnTo>
                  <a:lnTo>
                    <a:pt x="4" y="347"/>
                  </a:lnTo>
                  <a:lnTo>
                    <a:pt x="21" y="348"/>
                  </a:lnTo>
                  <a:lnTo>
                    <a:pt x="31" y="350"/>
                  </a:lnTo>
                  <a:lnTo>
                    <a:pt x="39" y="348"/>
                  </a:lnTo>
                  <a:lnTo>
                    <a:pt x="40" y="351"/>
                  </a:lnTo>
                  <a:lnTo>
                    <a:pt x="30" y="356"/>
                  </a:lnTo>
                  <a:lnTo>
                    <a:pt x="25" y="357"/>
                  </a:lnTo>
                  <a:lnTo>
                    <a:pt x="13" y="366"/>
                  </a:lnTo>
                  <a:lnTo>
                    <a:pt x="4" y="375"/>
                  </a:lnTo>
                  <a:lnTo>
                    <a:pt x="18" y="374"/>
                  </a:lnTo>
                  <a:lnTo>
                    <a:pt x="24" y="381"/>
                  </a:lnTo>
                  <a:lnTo>
                    <a:pt x="30" y="378"/>
                  </a:lnTo>
                  <a:lnTo>
                    <a:pt x="45" y="371"/>
                  </a:lnTo>
                  <a:lnTo>
                    <a:pt x="52" y="375"/>
                  </a:lnTo>
                  <a:lnTo>
                    <a:pt x="48" y="378"/>
                  </a:lnTo>
                  <a:lnTo>
                    <a:pt x="33" y="383"/>
                  </a:lnTo>
                  <a:lnTo>
                    <a:pt x="33" y="383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838" name="Freeform 183"/>
            <p:cNvSpPr>
              <a:spLocks/>
            </p:cNvSpPr>
            <p:nvPr userDrawn="1"/>
          </p:nvSpPr>
          <p:spPr bwMode="auto">
            <a:xfrm>
              <a:off x="2938" y="2098"/>
              <a:ext cx="160" cy="125"/>
            </a:xfrm>
            <a:custGeom>
              <a:avLst/>
              <a:gdLst>
                <a:gd name="T0" fmla="*/ 39 w 160"/>
                <a:gd name="T1" fmla="*/ 37 h 125"/>
                <a:gd name="T2" fmla="*/ 33 w 160"/>
                <a:gd name="T3" fmla="*/ 43 h 125"/>
                <a:gd name="T4" fmla="*/ 21 w 160"/>
                <a:gd name="T5" fmla="*/ 43 h 125"/>
                <a:gd name="T6" fmla="*/ 14 w 160"/>
                <a:gd name="T7" fmla="*/ 52 h 125"/>
                <a:gd name="T8" fmla="*/ 15 w 160"/>
                <a:gd name="T9" fmla="*/ 71 h 125"/>
                <a:gd name="T10" fmla="*/ 0 w 160"/>
                <a:gd name="T11" fmla="*/ 78 h 125"/>
                <a:gd name="T12" fmla="*/ 0 w 160"/>
                <a:gd name="T13" fmla="*/ 95 h 125"/>
                <a:gd name="T14" fmla="*/ 23 w 160"/>
                <a:gd name="T15" fmla="*/ 119 h 125"/>
                <a:gd name="T16" fmla="*/ 39 w 160"/>
                <a:gd name="T17" fmla="*/ 116 h 125"/>
                <a:gd name="T18" fmla="*/ 54 w 160"/>
                <a:gd name="T19" fmla="*/ 92 h 125"/>
                <a:gd name="T20" fmla="*/ 68 w 160"/>
                <a:gd name="T21" fmla="*/ 90 h 125"/>
                <a:gd name="T22" fmla="*/ 83 w 160"/>
                <a:gd name="T23" fmla="*/ 119 h 125"/>
                <a:gd name="T24" fmla="*/ 90 w 160"/>
                <a:gd name="T25" fmla="*/ 125 h 125"/>
                <a:gd name="T26" fmla="*/ 104 w 160"/>
                <a:gd name="T27" fmla="*/ 119 h 125"/>
                <a:gd name="T28" fmla="*/ 110 w 160"/>
                <a:gd name="T29" fmla="*/ 122 h 125"/>
                <a:gd name="T30" fmla="*/ 133 w 160"/>
                <a:gd name="T31" fmla="*/ 123 h 125"/>
                <a:gd name="T32" fmla="*/ 133 w 160"/>
                <a:gd name="T33" fmla="*/ 113 h 125"/>
                <a:gd name="T34" fmla="*/ 134 w 160"/>
                <a:gd name="T35" fmla="*/ 110 h 125"/>
                <a:gd name="T36" fmla="*/ 146 w 160"/>
                <a:gd name="T37" fmla="*/ 108 h 125"/>
                <a:gd name="T38" fmla="*/ 151 w 160"/>
                <a:gd name="T39" fmla="*/ 101 h 125"/>
                <a:gd name="T40" fmla="*/ 152 w 160"/>
                <a:gd name="T41" fmla="*/ 95 h 125"/>
                <a:gd name="T42" fmla="*/ 146 w 160"/>
                <a:gd name="T43" fmla="*/ 92 h 125"/>
                <a:gd name="T44" fmla="*/ 145 w 160"/>
                <a:gd name="T45" fmla="*/ 77 h 125"/>
                <a:gd name="T46" fmla="*/ 148 w 160"/>
                <a:gd name="T47" fmla="*/ 75 h 125"/>
                <a:gd name="T48" fmla="*/ 149 w 160"/>
                <a:gd name="T49" fmla="*/ 87 h 125"/>
                <a:gd name="T50" fmla="*/ 155 w 160"/>
                <a:gd name="T51" fmla="*/ 90 h 125"/>
                <a:gd name="T52" fmla="*/ 160 w 160"/>
                <a:gd name="T53" fmla="*/ 86 h 125"/>
                <a:gd name="T54" fmla="*/ 157 w 160"/>
                <a:gd name="T55" fmla="*/ 74 h 125"/>
                <a:gd name="T56" fmla="*/ 158 w 160"/>
                <a:gd name="T57" fmla="*/ 68 h 125"/>
                <a:gd name="T58" fmla="*/ 149 w 160"/>
                <a:gd name="T59" fmla="*/ 60 h 125"/>
                <a:gd name="T60" fmla="*/ 142 w 160"/>
                <a:gd name="T61" fmla="*/ 60 h 125"/>
                <a:gd name="T62" fmla="*/ 131 w 160"/>
                <a:gd name="T63" fmla="*/ 68 h 125"/>
                <a:gd name="T64" fmla="*/ 128 w 160"/>
                <a:gd name="T65" fmla="*/ 74 h 125"/>
                <a:gd name="T66" fmla="*/ 125 w 160"/>
                <a:gd name="T67" fmla="*/ 68 h 125"/>
                <a:gd name="T68" fmla="*/ 133 w 160"/>
                <a:gd name="T69" fmla="*/ 58 h 125"/>
                <a:gd name="T70" fmla="*/ 139 w 160"/>
                <a:gd name="T71" fmla="*/ 52 h 125"/>
                <a:gd name="T72" fmla="*/ 140 w 160"/>
                <a:gd name="T73" fmla="*/ 49 h 125"/>
                <a:gd name="T74" fmla="*/ 134 w 160"/>
                <a:gd name="T75" fmla="*/ 43 h 125"/>
                <a:gd name="T76" fmla="*/ 125 w 160"/>
                <a:gd name="T77" fmla="*/ 27 h 125"/>
                <a:gd name="T78" fmla="*/ 118 w 160"/>
                <a:gd name="T79" fmla="*/ 6 h 125"/>
                <a:gd name="T80" fmla="*/ 109 w 160"/>
                <a:gd name="T81" fmla="*/ 0 h 125"/>
                <a:gd name="T82" fmla="*/ 80 w 160"/>
                <a:gd name="T83" fmla="*/ 0 h 125"/>
                <a:gd name="T84" fmla="*/ 72 w 160"/>
                <a:gd name="T85" fmla="*/ 4 h 125"/>
                <a:gd name="T86" fmla="*/ 63 w 160"/>
                <a:gd name="T87" fmla="*/ 9 h 125"/>
                <a:gd name="T88" fmla="*/ 60 w 160"/>
                <a:gd name="T89" fmla="*/ 6 h 125"/>
                <a:gd name="T90" fmla="*/ 54 w 160"/>
                <a:gd name="T91" fmla="*/ 15 h 125"/>
                <a:gd name="T92" fmla="*/ 45 w 160"/>
                <a:gd name="T93" fmla="*/ 22 h 125"/>
                <a:gd name="T94" fmla="*/ 39 w 160"/>
                <a:gd name="T95" fmla="*/ 25 h 125"/>
                <a:gd name="T96" fmla="*/ 39 w 160"/>
                <a:gd name="T97" fmla="*/ 37 h 125"/>
                <a:gd name="T98" fmla="*/ 39 w 160"/>
                <a:gd name="T99" fmla="*/ 37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60" h="125">
                  <a:moveTo>
                    <a:pt x="39" y="37"/>
                  </a:moveTo>
                  <a:lnTo>
                    <a:pt x="33" y="43"/>
                  </a:lnTo>
                  <a:lnTo>
                    <a:pt x="21" y="43"/>
                  </a:lnTo>
                  <a:lnTo>
                    <a:pt x="14" y="52"/>
                  </a:lnTo>
                  <a:lnTo>
                    <a:pt x="15" y="71"/>
                  </a:lnTo>
                  <a:lnTo>
                    <a:pt x="0" y="78"/>
                  </a:lnTo>
                  <a:lnTo>
                    <a:pt x="0" y="95"/>
                  </a:lnTo>
                  <a:lnTo>
                    <a:pt x="23" y="119"/>
                  </a:lnTo>
                  <a:lnTo>
                    <a:pt x="39" y="116"/>
                  </a:lnTo>
                  <a:lnTo>
                    <a:pt x="54" y="92"/>
                  </a:lnTo>
                  <a:lnTo>
                    <a:pt x="68" y="90"/>
                  </a:lnTo>
                  <a:lnTo>
                    <a:pt x="83" y="119"/>
                  </a:lnTo>
                  <a:lnTo>
                    <a:pt x="90" y="125"/>
                  </a:lnTo>
                  <a:lnTo>
                    <a:pt x="104" y="119"/>
                  </a:lnTo>
                  <a:lnTo>
                    <a:pt x="110" y="122"/>
                  </a:lnTo>
                  <a:lnTo>
                    <a:pt x="133" y="123"/>
                  </a:lnTo>
                  <a:lnTo>
                    <a:pt x="133" y="113"/>
                  </a:lnTo>
                  <a:lnTo>
                    <a:pt x="134" y="110"/>
                  </a:lnTo>
                  <a:lnTo>
                    <a:pt x="146" y="108"/>
                  </a:lnTo>
                  <a:lnTo>
                    <a:pt x="151" y="101"/>
                  </a:lnTo>
                  <a:lnTo>
                    <a:pt x="152" y="95"/>
                  </a:lnTo>
                  <a:lnTo>
                    <a:pt x="146" y="92"/>
                  </a:lnTo>
                  <a:lnTo>
                    <a:pt x="145" y="77"/>
                  </a:lnTo>
                  <a:lnTo>
                    <a:pt x="148" y="75"/>
                  </a:lnTo>
                  <a:lnTo>
                    <a:pt x="149" y="87"/>
                  </a:lnTo>
                  <a:lnTo>
                    <a:pt x="155" y="90"/>
                  </a:lnTo>
                  <a:lnTo>
                    <a:pt x="160" y="86"/>
                  </a:lnTo>
                  <a:lnTo>
                    <a:pt x="157" y="74"/>
                  </a:lnTo>
                  <a:lnTo>
                    <a:pt x="158" y="68"/>
                  </a:lnTo>
                  <a:lnTo>
                    <a:pt x="149" y="60"/>
                  </a:lnTo>
                  <a:lnTo>
                    <a:pt x="142" y="60"/>
                  </a:lnTo>
                  <a:lnTo>
                    <a:pt x="131" y="68"/>
                  </a:lnTo>
                  <a:lnTo>
                    <a:pt x="128" y="74"/>
                  </a:lnTo>
                  <a:lnTo>
                    <a:pt x="125" y="68"/>
                  </a:lnTo>
                  <a:lnTo>
                    <a:pt x="133" y="58"/>
                  </a:lnTo>
                  <a:lnTo>
                    <a:pt x="139" y="52"/>
                  </a:lnTo>
                  <a:lnTo>
                    <a:pt x="140" y="49"/>
                  </a:lnTo>
                  <a:lnTo>
                    <a:pt x="134" y="43"/>
                  </a:lnTo>
                  <a:lnTo>
                    <a:pt x="125" y="27"/>
                  </a:lnTo>
                  <a:lnTo>
                    <a:pt x="118" y="6"/>
                  </a:lnTo>
                  <a:lnTo>
                    <a:pt x="109" y="0"/>
                  </a:lnTo>
                  <a:lnTo>
                    <a:pt x="80" y="0"/>
                  </a:lnTo>
                  <a:lnTo>
                    <a:pt x="72" y="4"/>
                  </a:lnTo>
                  <a:lnTo>
                    <a:pt x="63" y="9"/>
                  </a:lnTo>
                  <a:lnTo>
                    <a:pt x="60" y="6"/>
                  </a:lnTo>
                  <a:lnTo>
                    <a:pt x="54" y="15"/>
                  </a:lnTo>
                  <a:lnTo>
                    <a:pt x="45" y="22"/>
                  </a:lnTo>
                  <a:lnTo>
                    <a:pt x="39" y="25"/>
                  </a:lnTo>
                  <a:lnTo>
                    <a:pt x="39" y="37"/>
                  </a:lnTo>
                  <a:lnTo>
                    <a:pt x="39" y="37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839" name="Freeform 184"/>
            <p:cNvSpPr>
              <a:spLocks/>
            </p:cNvSpPr>
            <p:nvPr userDrawn="1"/>
          </p:nvSpPr>
          <p:spPr bwMode="auto">
            <a:xfrm>
              <a:off x="2796" y="2233"/>
              <a:ext cx="18" cy="11"/>
            </a:xfrm>
            <a:custGeom>
              <a:avLst/>
              <a:gdLst>
                <a:gd name="T0" fmla="*/ 0 w 18"/>
                <a:gd name="T1" fmla="*/ 3 h 11"/>
                <a:gd name="T2" fmla="*/ 15 w 18"/>
                <a:gd name="T3" fmla="*/ 11 h 11"/>
                <a:gd name="T4" fmla="*/ 18 w 18"/>
                <a:gd name="T5" fmla="*/ 0 h 11"/>
                <a:gd name="T6" fmla="*/ 14 w 18"/>
                <a:gd name="T7" fmla="*/ 0 h 11"/>
                <a:gd name="T8" fmla="*/ 0 w 18"/>
                <a:gd name="T9" fmla="*/ 3 h 11"/>
                <a:gd name="T10" fmla="*/ 0 w 18"/>
                <a:gd name="T11" fmla="*/ 3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11">
                  <a:moveTo>
                    <a:pt x="0" y="3"/>
                  </a:moveTo>
                  <a:lnTo>
                    <a:pt x="15" y="11"/>
                  </a:lnTo>
                  <a:lnTo>
                    <a:pt x="18" y="0"/>
                  </a:lnTo>
                  <a:lnTo>
                    <a:pt x="14" y="0"/>
                  </a:lnTo>
                  <a:lnTo>
                    <a:pt x="0" y="3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840" name="Freeform 185"/>
            <p:cNvSpPr>
              <a:spLocks/>
            </p:cNvSpPr>
            <p:nvPr userDrawn="1"/>
          </p:nvSpPr>
          <p:spPr bwMode="auto">
            <a:xfrm>
              <a:off x="2819" y="2196"/>
              <a:ext cx="7" cy="10"/>
            </a:xfrm>
            <a:custGeom>
              <a:avLst/>
              <a:gdLst>
                <a:gd name="T0" fmla="*/ 6 w 7"/>
                <a:gd name="T1" fmla="*/ 10 h 10"/>
                <a:gd name="T2" fmla="*/ 7 w 7"/>
                <a:gd name="T3" fmla="*/ 1 h 10"/>
                <a:gd name="T4" fmla="*/ 0 w 7"/>
                <a:gd name="T5" fmla="*/ 0 h 10"/>
                <a:gd name="T6" fmla="*/ 0 w 7"/>
                <a:gd name="T7" fmla="*/ 7 h 10"/>
                <a:gd name="T8" fmla="*/ 6 w 7"/>
                <a:gd name="T9" fmla="*/ 10 h 10"/>
                <a:gd name="T10" fmla="*/ 6 w 7"/>
                <a:gd name="T11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10">
                  <a:moveTo>
                    <a:pt x="6" y="10"/>
                  </a:moveTo>
                  <a:lnTo>
                    <a:pt x="7" y="1"/>
                  </a:lnTo>
                  <a:lnTo>
                    <a:pt x="0" y="0"/>
                  </a:lnTo>
                  <a:lnTo>
                    <a:pt x="0" y="7"/>
                  </a:lnTo>
                  <a:lnTo>
                    <a:pt x="6" y="10"/>
                  </a:lnTo>
                  <a:lnTo>
                    <a:pt x="6" y="10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841" name="Freeform 186"/>
            <p:cNvSpPr>
              <a:spLocks/>
            </p:cNvSpPr>
            <p:nvPr userDrawn="1"/>
          </p:nvSpPr>
          <p:spPr bwMode="auto">
            <a:xfrm>
              <a:off x="3143" y="2187"/>
              <a:ext cx="29" cy="34"/>
            </a:xfrm>
            <a:custGeom>
              <a:avLst/>
              <a:gdLst>
                <a:gd name="T0" fmla="*/ 24 w 29"/>
                <a:gd name="T1" fmla="*/ 0 h 34"/>
                <a:gd name="T2" fmla="*/ 14 w 29"/>
                <a:gd name="T3" fmla="*/ 4 h 34"/>
                <a:gd name="T4" fmla="*/ 6 w 29"/>
                <a:gd name="T5" fmla="*/ 24 h 34"/>
                <a:gd name="T6" fmla="*/ 0 w 29"/>
                <a:gd name="T7" fmla="*/ 30 h 34"/>
                <a:gd name="T8" fmla="*/ 0 w 29"/>
                <a:gd name="T9" fmla="*/ 34 h 34"/>
                <a:gd name="T10" fmla="*/ 6 w 29"/>
                <a:gd name="T11" fmla="*/ 33 h 34"/>
                <a:gd name="T12" fmla="*/ 15 w 29"/>
                <a:gd name="T13" fmla="*/ 33 h 34"/>
                <a:gd name="T14" fmla="*/ 23 w 29"/>
                <a:gd name="T15" fmla="*/ 27 h 34"/>
                <a:gd name="T16" fmla="*/ 26 w 29"/>
                <a:gd name="T17" fmla="*/ 16 h 34"/>
                <a:gd name="T18" fmla="*/ 24 w 29"/>
                <a:gd name="T19" fmla="*/ 9 h 34"/>
                <a:gd name="T20" fmla="*/ 29 w 29"/>
                <a:gd name="T21" fmla="*/ 1 h 34"/>
                <a:gd name="T22" fmla="*/ 24 w 29"/>
                <a:gd name="T23" fmla="*/ 0 h 34"/>
                <a:gd name="T24" fmla="*/ 24 w 29"/>
                <a:gd name="T25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9" h="34">
                  <a:moveTo>
                    <a:pt x="24" y="0"/>
                  </a:moveTo>
                  <a:lnTo>
                    <a:pt x="14" y="4"/>
                  </a:lnTo>
                  <a:lnTo>
                    <a:pt x="6" y="24"/>
                  </a:lnTo>
                  <a:lnTo>
                    <a:pt x="0" y="30"/>
                  </a:lnTo>
                  <a:lnTo>
                    <a:pt x="0" y="34"/>
                  </a:lnTo>
                  <a:lnTo>
                    <a:pt x="6" y="33"/>
                  </a:lnTo>
                  <a:lnTo>
                    <a:pt x="15" y="33"/>
                  </a:lnTo>
                  <a:lnTo>
                    <a:pt x="23" y="27"/>
                  </a:lnTo>
                  <a:lnTo>
                    <a:pt x="26" y="16"/>
                  </a:lnTo>
                  <a:lnTo>
                    <a:pt x="24" y="9"/>
                  </a:lnTo>
                  <a:lnTo>
                    <a:pt x="29" y="1"/>
                  </a:lnTo>
                  <a:lnTo>
                    <a:pt x="24" y="0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842" name="Freeform 187"/>
            <p:cNvSpPr>
              <a:spLocks/>
            </p:cNvSpPr>
            <p:nvPr userDrawn="1"/>
          </p:nvSpPr>
          <p:spPr bwMode="auto">
            <a:xfrm>
              <a:off x="3151" y="2288"/>
              <a:ext cx="34" cy="30"/>
            </a:xfrm>
            <a:custGeom>
              <a:avLst/>
              <a:gdLst>
                <a:gd name="T0" fmla="*/ 1 w 34"/>
                <a:gd name="T1" fmla="*/ 24 h 30"/>
                <a:gd name="T2" fmla="*/ 21 w 34"/>
                <a:gd name="T3" fmla="*/ 30 h 30"/>
                <a:gd name="T4" fmla="*/ 25 w 34"/>
                <a:gd name="T5" fmla="*/ 25 h 30"/>
                <a:gd name="T6" fmla="*/ 28 w 34"/>
                <a:gd name="T7" fmla="*/ 18 h 30"/>
                <a:gd name="T8" fmla="*/ 34 w 34"/>
                <a:gd name="T9" fmla="*/ 10 h 30"/>
                <a:gd name="T10" fmla="*/ 28 w 34"/>
                <a:gd name="T11" fmla="*/ 10 h 30"/>
                <a:gd name="T12" fmla="*/ 22 w 34"/>
                <a:gd name="T13" fmla="*/ 6 h 30"/>
                <a:gd name="T14" fmla="*/ 18 w 34"/>
                <a:gd name="T15" fmla="*/ 0 h 30"/>
                <a:gd name="T16" fmla="*/ 0 w 34"/>
                <a:gd name="T17" fmla="*/ 3 h 30"/>
                <a:gd name="T18" fmla="*/ 1 w 34"/>
                <a:gd name="T19" fmla="*/ 12 h 30"/>
                <a:gd name="T20" fmla="*/ 4 w 34"/>
                <a:gd name="T21" fmla="*/ 13 h 30"/>
                <a:gd name="T22" fmla="*/ 0 w 34"/>
                <a:gd name="T23" fmla="*/ 15 h 30"/>
                <a:gd name="T24" fmla="*/ 1 w 34"/>
                <a:gd name="T25" fmla="*/ 24 h 30"/>
                <a:gd name="T26" fmla="*/ 1 w 34"/>
                <a:gd name="T27" fmla="*/ 24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4" h="30">
                  <a:moveTo>
                    <a:pt x="1" y="24"/>
                  </a:moveTo>
                  <a:lnTo>
                    <a:pt x="21" y="30"/>
                  </a:lnTo>
                  <a:lnTo>
                    <a:pt x="25" y="25"/>
                  </a:lnTo>
                  <a:lnTo>
                    <a:pt x="28" y="18"/>
                  </a:lnTo>
                  <a:lnTo>
                    <a:pt x="34" y="10"/>
                  </a:lnTo>
                  <a:lnTo>
                    <a:pt x="28" y="10"/>
                  </a:lnTo>
                  <a:lnTo>
                    <a:pt x="22" y="6"/>
                  </a:lnTo>
                  <a:lnTo>
                    <a:pt x="18" y="0"/>
                  </a:lnTo>
                  <a:lnTo>
                    <a:pt x="0" y="3"/>
                  </a:lnTo>
                  <a:lnTo>
                    <a:pt x="1" y="12"/>
                  </a:lnTo>
                  <a:lnTo>
                    <a:pt x="4" y="13"/>
                  </a:lnTo>
                  <a:lnTo>
                    <a:pt x="0" y="15"/>
                  </a:lnTo>
                  <a:lnTo>
                    <a:pt x="1" y="24"/>
                  </a:lnTo>
                  <a:lnTo>
                    <a:pt x="1" y="24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843" name="Freeform 188"/>
            <p:cNvSpPr>
              <a:spLocks/>
            </p:cNvSpPr>
            <p:nvPr userDrawn="1"/>
          </p:nvSpPr>
          <p:spPr bwMode="auto">
            <a:xfrm>
              <a:off x="3104" y="2045"/>
              <a:ext cx="16" cy="27"/>
            </a:xfrm>
            <a:custGeom>
              <a:avLst/>
              <a:gdLst>
                <a:gd name="T0" fmla="*/ 15 w 16"/>
                <a:gd name="T1" fmla="*/ 25 h 27"/>
                <a:gd name="T2" fmla="*/ 16 w 16"/>
                <a:gd name="T3" fmla="*/ 16 h 27"/>
                <a:gd name="T4" fmla="*/ 12 w 16"/>
                <a:gd name="T5" fmla="*/ 6 h 27"/>
                <a:gd name="T6" fmla="*/ 10 w 16"/>
                <a:gd name="T7" fmla="*/ 0 h 27"/>
                <a:gd name="T8" fmla="*/ 4 w 16"/>
                <a:gd name="T9" fmla="*/ 0 h 27"/>
                <a:gd name="T10" fmla="*/ 1 w 16"/>
                <a:gd name="T11" fmla="*/ 6 h 27"/>
                <a:gd name="T12" fmla="*/ 0 w 16"/>
                <a:gd name="T13" fmla="*/ 13 h 27"/>
                <a:gd name="T14" fmla="*/ 3 w 16"/>
                <a:gd name="T15" fmla="*/ 22 h 27"/>
                <a:gd name="T16" fmla="*/ 10 w 16"/>
                <a:gd name="T17" fmla="*/ 27 h 27"/>
                <a:gd name="T18" fmla="*/ 15 w 16"/>
                <a:gd name="T19" fmla="*/ 25 h 27"/>
                <a:gd name="T20" fmla="*/ 15 w 16"/>
                <a:gd name="T21" fmla="*/ 25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" h="27">
                  <a:moveTo>
                    <a:pt x="15" y="25"/>
                  </a:moveTo>
                  <a:lnTo>
                    <a:pt x="16" y="16"/>
                  </a:lnTo>
                  <a:lnTo>
                    <a:pt x="12" y="6"/>
                  </a:lnTo>
                  <a:lnTo>
                    <a:pt x="10" y="0"/>
                  </a:lnTo>
                  <a:lnTo>
                    <a:pt x="4" y="0"/>
                  </a:lnTo>
                  <a:lnTo>
                    <a:pt x="1" y="6"/>
                  </a:lnTo>
                  <a:lnTo>
                    <a:pt x="0" y="13"/>
                  </a:lnTo>
                  <a:lnTo>
                    <a:pt x="3" y="22"/>
                  </a:lnTo>
                  <a:lnTo>
                    <a:pt x="10" y="27"/>
                  </a:lnTo>
                  <a:lnTo>
                    <a:pt x="15" y="25"/>
                  </a:lnTo>
                  <a:lnTo>
                    <a:pt x="15" y="25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844" name="Freeform 189"/>
            <p:cNvSpPr>
              <a:spLocks/>
            </p:cNvSpPr>
            <p:nvPr userDrawn="1"/>
          </p:nvSpPr>
          <p:spPr bwMode="auto">
            <a:xfrm>
              <a:off x="3030" y="2019"/>
              <a:ext cx="32" cy="38"/>
            </a:xfrm>
            <a:custGeom>
              <a:avLst/>
              <a:gdLst>
                <a:gd name="T0" fmla="*/ 14 w 32"/>
                <a:gd name="T1" fmla="*/ 36 h 38"/>
                <a:gd name="T2" fmla="*/ 20 w 32"/>
                <a:gd name="T3" fmla="*/ 38 h 38"/>
                <a:gd name="T4" fmla="*/ 23 w 32"/>
                <a:gd name="T5" fmla="*/ 32 h 38"/>
                <a:gd name="T6" fmla="*/ 32 w 32"/>
                <a:gd name="T7" fmla="*/ 26 h 38"/>
                <a:gd name="T8" fmla="*/ 29 w 32"/>
                <a:gd name="T9" fmla="*/ 15 h 38"/>
                <a:gd name="T10" fmla="*/ 29 w 32"/>
                <a:gd name="T11" fmla="*/ 8 h 38"/>
                <a:gd name="T12" fmla="*/ 23 w 32"/>
                <a:gd name="T13" fmla="*/ 0 h 38"/>
                <a:gd name="T14" fmla="*/ 17 w 32"/>
                <a:gd name="T15" fmla="*/ 6 h 38"/>
                <a:gd name="T16" fmla="*/ 12 w 32"/>
                <a:gd name="T17" fmla="*/ 11 h 38"/>
                <a:gd name="T18" fmla="*/ 6 w 32"/>
                <a:gd name="T19" fmla="*/ 8 h 38"/>
                <a:gd name="T20" fmla="*/ 0 w 32"/>
                <a:gd name="T21" fmla="*/ 21 h 38"/>
                <a:gd name="T22" fmla="*/ 1 w 32"/>
                <a:gd name="T23" fmla="*/ 29 h 38"/>
                <a:gd name="T24" fmla="*/ 3 w 32"/>
                <a:gd name="T25" fmla="*/ 26 h 38"/>
                <a:gd name="T26" fmla="*/ 9 w 32"/>
                <a:gd name="T27" fmla="*/ 18 h 38"/>
                <a:gd name="T28" fmla="*/ 15 w 32"/>
                <a:gd name="T29" fmla="*/ 18 h 38"/>
                <a:gd name="T30" fmla="*/ 12 w 32"/>
                <a:gd name="T31" fmla="*/ 30 h 38"/>
                <a:gd name="T32" fmla="*/ 14 w 32"/>
                <a:gd name="T33" fmla="*/ 36 h 38"/>
                <a:gd name="T34" fmla="*/ 14 w 32"/>
                <a:gd name="T35" fmla="*/ 36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2" h="38">
                  <a:moveTo>
                    <a:pt x="14" y="36"/>
                  </a:moveTo>
                  <a:lnTo>
                    <a:pt x="20" y="38"/>
                  </a:lnTo>
                  <a:lnTo>
                    <a:pt x="23" y="32"/>
                  </a:lnTo>
                  <a:lnTo>
                    <a:pt x="32" y="26"/>
                  </a:lnTo>
                  <a:lnTo>
                    <a:pt x="29" y="15"/>
                  </a:lnTo>
                  <a:lnTo>
                    <a:pt x="29" y="8"/>
                  </a:lnTo>
                  <a:lnTo>
                    <a:pt x="23" y="0"/>
                  </a:lnTo>
                  <a:lnTo>
                    <a:pt x="17" y="6"/>
                  </a:lnTo>
                  <a:lnTo>
                    <a:pt x="12" y="11"/>
                  </a:lnTo>
                  <a:lnTo>
                    <a:pt x="6" y="8"/>
                  </a:lnTo>
                  <a:lnTo>
                    <a:pt x="0" y="21"/>
                  </a:lnTo>
                  <a:lnTo>
                    <a:pt x="1" y="29"/>
                  </a:lnTo>
                  <a:lnTo>
                    <a:pt x="3" y="26"/>
                  </a:lnTo>
                  <a:lnTo>
                    <a:pt x="9" y="18"/>
                  </a:lnTo>
                  <a:lnTo>
                    <a:pt x="15" y="18"/>
                  </a:lnTo>
                  <a:lnTo>
                    <a:pt x="12" y="30"/>
                  </a:lnTo>
                  <a:lnTo>
                    <a:pt x="14" y="36"/>
                  </a:lnTo>
                  <a:lnTo>
                    <a:pt x="14" y="36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845" name="Freeform 190"/>
            <p:cNvSpPr>
              <a:spLocks/>
            </p:cNvSpPr>
            <p:nvPr userDrawn="1"/>
          </p:nvSpPr>
          <p:spPr bwMode="auto">
            <a:xfrm>
              <a:off x="3056" y="1995"/>
              <a:ext cx="25" cy="36"/>
            </a:xfrm>
            <a:custGeom>
              <a:avLst/>
              <a:gdLst>
                <a:gd name="T0" fmla="*/ 16 w 25"/>
                <a:gd name="T1" fmla="*/ 27 h 36"/>
                <a:gd name="T2" fmla="*/ 18 w 25"/>
                <a:gd name="T3" fmla="*/ 18 h 36"/>
                <a:gd name="T4" fmla="*/ 25 w 25"/>
                <a:gd name="T5" fmla="*/ 5 h 36"/>
                <a:gd name="T6" fmla="*/ 24 w 25"/>
                <a:gd name="T7" fmla="*/ 0 h 36"/>
                <a:gd name="T8" fmla="*/ 16 w 25"/>
                <a:gd name="T9" fmla="*/ 8 h 36"/>
                <a:gd name="T10" fmla="*/ 7 w 25"/>
                <a:gd name="T11" fmla="*/ 18 h 36"/>
                <a:gd name="T12" fmla="*/ 12 w 25"/>
                <a:gd name="T13" fmla="*/ 18 h 36"/>
                <a:gd name="T14" fmla="*/ 0 w 25"/>
                <a:gd name="T15" fmla="*/ 27 h 36"/>
                <a:gd name="T16" fmla="*/ 3 w 25"/>
                <a:gd name="T17" fmla="*/ 32 h 36"/>
                <a:gd name="T18" fmla="*/ 3 w 25"/>
                <a:gd name="T19" fmla="*/ 33 h 36"/>
                <a:gd name="T20" fmla="*/ 7 w 25"/>
                <a:gd name="T21" fmla="*/ 36 h 36"/>
                <a:gd name="T22" fmla="*/ 16 w 25"/>
                <a:gd name="T23" fmla="*/ 27 h 36"/>
                <a:gd name="T24" fmla="*/ 16 w 25"/>
                <a:gd name="T25" fmla="*/ 27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" h="36">
                  <a:moveTo>
                    <a:pt x="16" y="27"/>
                  </a:moveTo>
                  <a:lnTo>
                    <a:pt x="18" y="18"/>
                  </a:lnTo>
                  <a:lnTo>
                    <a:pt x="25" y="5"/>
                  </a:lnTo>
                  <a:lnTo>
                    <a:pt x="24" y="0"/>
                  </a:lnTo>
                  <a:lnTo>
                    <a:pt x="16" y="8"/>
                  </a:lnTo>
                  <a:lnTo>
                    <a:pt x="7" y="18"/>
                  </a:lnTo>
                  <a:lnTo>
                    <a:pt x="12" y="18"/>
                  </a:lnTo>
                  <a:lnTo>
                    <a:pt x="0" y="27"/>
                  </a:lnTo>
                  <a:lnTo>
                    <a:pt x="3" y="32"/>
                  </a:lnTo>
                  <a:lnTo>
                    <a:pt x="3" y="33"/>
                  </a:lnTo>
                  <a:lnTo>
                    <a:pt x="7" y="36"/>
                  </a:lnTo>
                  <a:lnTo>
                    <a:pt x="16" y="27"/>
                  </a:lnTo>
                  <a:lnTo>
                    <a:pt x="16" y="27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846" name="Freeform 191"/>
            <p:cNvSpPr>
              <a:spLocks/>
            </p:cNvSpPr>
            <p:nvPr userDrawn="1"/>
          </p:nvSpPr>
          <p:spPr bwMode="auto">
            <a:xfrm>
              <a:off x="3053" y="1998"/>
              <a:ext cx="7" cy="11"/>
            </a:xfrm>
            <a:custGeom>
              <a:avLst/>
              <a:gdLst>
                <a:gd name="T0" fmla="*/ 0 w 7"/>
                <a:gd name="T1" fmla="*/ 11 h 11"/>
                <a:gd name="T2" fmla="*/ 6 w 7"/>
                <a:gd name="T3" fmla="*/ 6 h 11"/>
                <a:gd name="T4" fmla="*/ 7 w 7"/>
                <a:gd name="T5" fmla="*/ 0 h 11"/>
                <a:gd name="T6" fmla="*/ 1 w 7"/>
                <a:gd name="T7" fmla="*/ 5 h 11"/>
                <a:gd name="T8" fmla="*/ 0 w 7"/>
                <a:gd name="T9" fmla="*/ 11 h 11"/>
                <a:gd name="T10" fmla="*/ 0 w 7"/>
                <a:gd name="T11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11">
                  <a:moveTo>
                    <a:pt x="0" y="11"/>
                  </a:moveTo>
                  <a:lnTo>
                    <a:pt x="6" y="6"/>
                  </a:lnTo>
                  <a:lnTo>
                    <a:pt x="7" y="0"/>
                  </a:lnTo>
                  <a:lnTo>
                    <a:pt x="1" y="5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847" name="Freeform 192"/>
            <p:cNvSpPr>
              <a:spLocks/>
            </p:cNvSpPr>
            <p:nvPr userDrawn="1"/>
          </p:nvSpPr>
          <p:spPr bwMode="auto">
            <a:xfrm>
              <a:off x="3042" y="1936"/>
              <a:ext cx="41" cy="47"/>
            </a:xfrm>
            <a:custGeom>
              <a:avLst/>
              <a:gdLst>
                <a:gd name="T0" fmla="*/ 2 w 41"/>
                <a:gd name="T1" fmla="*/ 14 h 47"/>
                <a:gd name="T2" fmla="*/ 11 w 41"/>
                <a:gd name="T3" fmla="*/ 18 h 47"/>
                <a:gd name="T4" fmla="*/ 20 w 41"/>
                <a:gd name="T5" fmla="*/ 18 h 47"/>
                <a:gd name="T6" fmla="*/ 17 w 41"/>
                <a:gd name="T7" fmla="*/ 24 h 47"/>
                <a:gd name="T8" fmla="*/ 11 w 41"/>
                <a:gd name="T9" fmla="*/ 26 h 47"/>
                <a:gd name="T10" fmla="*/ 9 w 41"/>
                <a:gd name="T11" fmla="*/ 30 h 47"/>
                <a:gd name="T12" fmla="*/ 17 w 41"/>
                <a:gd name="T13" fmla="*/ 30 h 47"/>
                <a:gd name="T14" fmla="*/ 17 w 41"/>
                <a:gd name="T15" fmla="*/ 35 h 47"/>
                <a:gd name="T16" fmla="*/ 8 w 41"/>
                <a:gd name="T17" fmla="*/ 33 h 47"/>
                <a:gd name="T18" fmla="*/ 0 w 41"/>
                <a:gd name="T19" fmla="*/ 41 h 47"/>
                <a:gd name="T20" fmla="*/ 5 w 41"/>
                <a:gd name="T21" fmla="*/ 47 h 47"/>
                <a:gd name="T22" fmla="*/ 14 w 41"/>
                <a:gd name="T23" fmla="*/ 47 h 47"/>
                <a:gd name="T24" fmla="*/ 18 w 41"/>
                <a:gd name="T25" fmla="*/ 42 h 47"/>
                <a:gd name="T26" fmla="*/ 29 w 41"/>
                <a:gd name="T27" fmla="*/ 39 h 47"/>
                <a:gd name="T28" fmla="*/ 30 w 41"/>
                <a:gd name="T29" fmla="*/ 44 h 47"/>
                <a:gd name="T30" fmla="*/ 41 w 41"/>
                <a:gd name="T31" fmla="*/ 35 h 47"/>
                <a:gd name="T32" fmla="*/ 30 w 41"/>
                <a:gd name="T33" fmla="*/ 27 h 47"/>
                <a:gd name="T34" fmla="*/ 33 w 41"/>
                <a:gd name="T35" fmla="*/ 20 h 47"/>
                <a:gd name="T36" fmla="*/ 21 w 41"/>
                <a:gd name="T37" fmla="*/ 15 h 47"/>
                <a:gd name="T38" fmla="*/ 12 w 41"/>
                <a:gd name="T39" fmla="*/ 0 h 47"/>
                <a:gd name="T40" fmla="*/ 6 w 41"/>
                <a:gd name="T41" fmla="*/ 2 h 47"/>
                <a:gd name="T42" fmla="*/ 8 w 41"/>
                <a:gd name="T43" fmla="*/ 8 h 47"/>
                <a:gd name="T44" fmla="*/ 0 w 41"/>
                <a:gd name="T45" fmla="*/ 6 h 47"/>
                <a:gd name="T46" fmla="*/ 2 w 41"/>
                <a:gd name="T47" fmla="*/ 14 h 47"/>
                <a:gd name="T48" fmla="*/ 2 w 41"/>
                <a:gd name="T49" fmla="*/ 14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1" h="47">
                  <a:moveTo>
                    <a:pt x="2" y="14"/>
                  </a:moveTo>
                  <a:lnTo>
                    <a:pt x="11" y="18"/>
                  </a:lnTo>
                  <a:lnTo>
                    <a:pt x="20" y="18"/>
                  </a:lnTo>
                  <a:lnTo>
                    <a:pt x="17" y="24"/>
                  </a:lnTo>
                  <a:lnTo>
                    <a:pt x="11" y="26"/>
                  </a:lnTo>
                  <a:lnTo>
                    <a:pt x="9" y="30"/>
                  </a:lnTo>
                  <a:lnTo>
                    <a:pt x="17" y="30"/>
                  </a:lnTo>
                  <a:lnTo>
                    <a:pt x="17" y="35"/>
                  </a:lnTo>
                  <a:lnTo>
                    <a:pt x="8" y="33"/>
                  </a:lnTo>
                  <a:lnTo>
                    <a:pt x="0" y="41"/>
                  </a:lnTo>
                  <a:lnTo>
                    <a:pt x="5" y="47"/>
                  </a:lnTo>
                  <a:lnTo>
                    <a:pt x="14" y="47"/>
                  </a:lnTo>
                  <a:lnTo>
                    <a:pt x="18" y="42"/>
                  </a:lnTo>
                  <a:lnTo>
                    <a:pt x="29" y="39"/>
                  </a:lnTo>
                  <a:lnTo>
                    <a:pt x="30" y="44"/>
                  </a:lnTo>
                  <a:lnTo>
                    <a:pt x="41" y="35"/>
                  </a:lnTo>
                  <a:lnTo>
                    <a:pt x="30" y="27"/>
                  </a:lnTo>
                  <a:lnTo>
                    <a:pt x="33" y="20"/>
                  </a:lnTo>
                  <a:lnTo>
                    <a:pt x="21" y="15"/>
                  </a:lnTo>
                  <a:lnTo>
                    <a:pt x="12" y="0"/>
                  </a:lnTo>
                  <a:lnTo>
                    <a:pt x="6" y="2"/>
                  </a:lnTo>
                  <a:lnTo>
                    <a:pt x="8" y="8"/>
                  </a:lnTo>
                  <a:lnTo>
                    <a:pt x="0" y="6"/>
                  </a:lnTo>
                  <a:lnTo>
                    <a:pt x="2" y="14"/>
                  </a:lnTo>
                  <a:lnTo>
                    <a:pt x="2" y="14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848" name="Freeform 193"/>
            <p:cNvSpPr>
              <a:spLocks/>
            </p:cNvSpPr>
            <p:nvPr userDrawn="1"/>
          </p:nvSpPr>
          <p:spPr bwMode="auto">
            <a:xfrm>
              <a:off x="3018" y="1933"/>
              <a:ext cx="15" cy="11"/>
            </a:xfrm>
            <a:custGeom>
              <a:avLst/>
              <a:gdLst>
                <a:gd name="T0" fmla="*/ 3 w 15"/>
                <a:gd name="T1" fmla="*/ 5 h 11"/>
                <a:gd name="T2" fmla="*/ 0 w 15"/>
                <a:gd name="T3" fmla="*/ 11 h 11"/>
                <a:gd name="T4" fmla="*/ 7 w 15"/>
                <a:gd name="T5" fmla="*/ 9 h 11"/>
                <a:gd name="T6" fmla="*/ 15 w 15"/>
                <a:gd name="T7" fmla="*/ 0 h 11"/>
                <a:gd name="T8" fmla="*/ 10 w 15"/>
                <a:gd name="T9" fmla="*/ 0 h 11"/>
                <a:gd name="T10" fmla="*/ 3 w 15"/>
                <a:gd name="T11" fmla="*/ 5 h 11"/>
                <a:gd name="T12" fmla="*/ 3 w 15"/>
                <a:gd name="T13" fmla="*/ 5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11">
                  <a:moveTo>
                    <a:pt x="3" y="5"/>
                  </a:moveTo>
                  <a:lnTo>
                    <a:pt x="0" y="11"/>
                  </a:lnTo>
                  <a:lnTo>
                    <a:pt x="7" y="9"/>
                  </a:lnTo>
                  <a:lnTo>
                    <a:pt x="15" y="0"/>
                  </a:lnTo>
                  <a:lnTo>
                    <a:pt x="10" y="0"/>
                  </a:lnTo>
                  <a:lnTo>
                    <a:pt x="3" y="5"/>
                  </a:lnTo>
                  <a:lnTo>
                    <a:pt x="3" y="5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849" name="Freeform 194"/>
            <p:cNvSpPr>
              <a:spLocks/>
            </p:cNvSpPr>
            <p:nvPr userDrawn="1"/>
          </p:nvSpPr>
          <p:spPr bwMode="auto">
            <a:xfrm>
              <a:off x="3009" y="1948"/>
              <a:ext cx="9" cy="9"/>
            </a:xfrm>
            <a:custGeom>
              <a:avLst/>
              <a:gdLst>
                <a:gd name="T0" fmla="*/ 0 w 9"/>
                <a:gd name="T1" fmla="*/ 6 h 9"/>
                <a:gd name="T2" fmla="*/ 3 w 9"/>
                <a:gd name="T3" fmla="*/ 9 h 9"/>
                <a:gd name="T4" fmla="*/ 6 w 9"/>
                <a:gd name="T5" fmla="*/ 5 h 9"/>
                <a:gd name="T6" fmla="*/ 9 w 9"/>
                <a:gd name="T7" fmla="*/ 0 h 9"/>
                <a:gd name="T8" fmla="*/ 4 w 9"/>
                <a:gd name="T9" fmla="*/ 2 h 9"/>
                <a:gd name="T10" fmla="*/ 0 w 9"/>
                <a:gd name="T11" fmla="*/ 6 h 9"/>
                <a:gd name="T12" fmla="*/ 0 w 9"/>
                <a:gd name="T13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9">
                  <a:moveTo>
                    <a:pt x="0" y="6"/>
                  </a:moveTo>
                  <a:lnTo>
                    <a:pt x="3" y="9"/>
                  </a:lnTo>
                  <a:lnTo>
                    <a:pt x="6" y="5"/>
                  </a:lnTo>
                  <a:lnTo>
                    <a:pt x="9" y="0"/>
                  </a:lnTo>
                  <a:lnTo>
                    <a:pt x="4" y="2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850" name="Freeform 195"/>
            <p:cNvSpPr>
              <a:spLocks/>
            </p:cNvSpPr>
            <p:nvPr userDrawn="1"/>
          </p:nvSpPr>
          <p:spPr bwMode="auto">
            <a:xfrm>
              <a:off x="3033" y="1892"/>
              <a:ext cx="11" cy="13"/>
            </a:xfrm>
            <a:custGeom>
              <a:avLst/>
              <a:gdLst>
                <a:gd name="T0" fmla="*/ 8 w 11"/>
                <a:gd name="T1" fmla="*/ 0 h 13"/>
                <a:gd name="T2" fmla="*/ 0 w 11"/>
                <a:gd name="T3" fmla="*/ 2 h 13"/>
                <a:gd name="T4" fmla="*/ 0 w 11"/>
                <a:gd name="T5" fmla="*/ 8 h 13"/>
                <a:gd name="T6" fmla="*/ 6 w 11"/>
                <a:gd name="T7" fmla="*/ 13 h 13"/>
                <a:gd name="T8" fmla="*/ 11 w 11"/>
                <a:gd name="T9" fmla="*/ 10 h 13"/>
                <a:gd name="T10" fmla="*/ 11 w 11"/>
                <a:gd name="T11" fmla="*/ 5 h 13"/>
                <a:gd name="T12" fmla="*/ 8 w 11"/>
                <a:gd name="T13" fmla="*/ 0 h 13"/>
                <a:gd name="T14" fmla="*/ 8 w 11"/>
                <a:gd name="T15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13">
                  <a:moveTo>
                    <a:pt x="8" y="0"/>
                  </a:moveTo>
                  <a:lnTo>
                    <a:pt x="0" y="2"/>
                  </a:lnTo>
                  <a:lnTo>
                    <a:pt x="0" y="8"/>
                  </a:lnTo>
                  <a:lnTo>
                    <a:pt x="6" y="13"/>
                  </a:lnTo>
                  <a:lnTo>
                    <a:pt x="11" y="10"/>
                  </a:lnTo>
                  <a:lnTo>
                    <a:pt x="11" y="5"/>
                  </a:lnTo>
                  <a:lnTo>
                    <a:pt x="8" y="0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851" name="Freeform 196"/>
            <p:cNvSpPr>
              <a:spLocks/>
            </p:cNvSpPr>
            <p:nvPr userDrawn="1"/>
          </p:nvSpPr>
          <p:spPr bwMode="auto">
            <a:xfrm>
              <a:off x="3044" y="1906"/>
              <a:ext cx="4" cy="3"/>
            </a:xfrm>
            <a:custGeom>
              <a:avLst/>
              <a:gdLst>
                <a:gd name="T0" fmla="*/ 4 w 4"/>
                <a:gd name="T1" fmla="*/ 0 h 3"/>
                <a:gd name="T2" fmla="*/ 0 w 4"/>
                <a:gd name="T3" fmla="*/ 2 h 3"/>
                <a:gd name="T4" fmla="*/ 4 w 4"/>
                <a:gd name="T5" fmla="*/ 3 h 3"/>
                <a:gd name="T6" fmla="*/ 4 w 4"/>
                <a:gd name="T7" fmla="*/ 0 h 3"/>
                <a:gd name="T8" fmla="*/ 4 w 4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3">
                  <a:moveTo>
                    <a:pt x="4" y="0"/>
                  </a:moveTo>
                  <a:lnTo>
                    <a:pt x="0" y="2"/>
                  </a:lnTo>
                  <a:lnTo>
                    <a:pt x="4" y="3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852" name="Freeform 197"/>
            <p:cNvSpPr>
              <a:spLocks/>
            </p:cNvSpPr>
            <p:nvPr userDrawn="1"/>
          </p:nvSpPr>
          <p:spPr bwMode="auto">
            <a:xfrm>
              <a:off x="3009" y="1816"/>
              <a:ext cx="69" cy="82"/>
            </a:xfrm>
            <a:custGeom>
              <a:avLst/>
              <a:gdLst>
                <a:gd name="T0" fmla="*/ 41 w 69"/>
                <a:gd name="T1" fmla="*/ 28 h 82"/>
                <a:gd name="T2" fmla="*/ 39 w 69"/>
                <a:gd name="T3" fmla="*/ 9 h 82"/>
                <a:gd name="T4" fmla="*/ 27 w 69"/>
                <a:gd name="T5" fmla="*/ 0 h 82"/>
                <a:gd name="T6" fmla="*/ 21 w 69"/>
                <a:gd name="T7" fmla="*/ 6 h 82"/>
                <a:gd name="T8" fmla="*/ 27 w 69"/>
                <a:gd name="T9" fmla="*/ 21 h 82"/>
                <a:gd name="T10" fmla="*/ 16 w 69"/>
                <a:gd name="T11" fmla="*/ 16 h 82"/>
                <a:gd name="T12" fmla="*/ 12 w 69"/>
                <a:gd name="T13" fmla="*/ 7 h 82"/>
                <a:gd name="T14" fmla="*/ 10 w 69"/>
                <a:gd name="T15" fmla="*/ 13 h 82"/>
                <a:gd name="T16" fmla="*/ 13 w 69"/>
                <a:gd name="T17" fmla="*/ 25 h 82"/>
                <a:gd name="T18" fmla="*/ 10 w 69"/>
                <a:gd name="T19" fmla="*/ 27 h 82"/>
                <a:gd name="T20" fmla="*/ 4 w 69"/>
                <a:gd name="T21" fmla="*/ 22 h 82"/>
                <a:gd name="T22" fmla="*/ 0 w 69"/>
                <a:gd name="T23" fmla="*/ 28 h 82"/>
                <a:gd name="T24" fmla="*/ 3 w 69"/>
                <a:gd name="T25" fmla="*/ 36 h 82"/>
                <a:gd name="T26" fmla="*/ 7 w 69"/>
                <a:gd name="T27" fmla="*/ 43 h 82"/>
                <a:gd name="T28" fmla="*/ 16 w 69"/>
                <a:gd name="T29" fmla="*/ 45 h 82"/>
                <a:gd name="T30" fmla="*/ 16 w 69"/>
                <a:gd name="T31" fmla="*/ 36 h 82"/>
                <a:gd name="T32" fmla="*/ 24 w 69"/>
                <a:gd name="T33" fmla="*/ 42 h 82"/>
                <a:gd name="T34" fmla="*/ 25 w 69"/>
                <a:gd name="T35" fmla="*/ 51 h 82"/>
                <a:gd name="T36" fmla="*/ 25 w 69"/>
                <a:gd name="T37" fmla="*/ 55 h 82"/>
                <a:gd name="T38" fmla="*/ 32 w 69"/>
                <a:gd name="T39" fmla="*/ 64 h 82"/>
                <a:gd name="T40" fmla="*/ 35 w 69"/>
                <a:gd name="T41" fmla="*/ 69 h 82"/>
                <a:gd name="T42" fmla="*/ 39 w 69"/>
                <a:gd name="T43" fmla="*/ 67 h 82"/>
                <a:gd name="T44" fmla="*/ 50 w 69"/>
                <a:gd name="T45" fmla="*/ 67 h 82"/>
                <a:gd name="T46" fmla="*/ 48 w 69"/>
                <a:gd name="T47" fmla="*/ 78 h 82"/>
                <a:gd name="T48" fmla="*/ 48 w 69"/>
                <a:gd name="T49" fmla="*/ 82 h 82"/>
                <a:gd name="T50" fmla="*/ 54 w 69"/>
                <a:gd name="T51" fmla="*/ 79 h 82"/>
                <a:gd name="T52" fmla="*/ 60 w 69"/>
                <a:gd name="T53" fmla="*/ 67 h 82"/>
                <a:gd name="T54" fmla="*/ 69 w 69"/>
                <a:gd name="T55" fmla="*/ 60 h 82"/>
                <a:gd name="T56" fmla="*/ 68 w 69"/>
                <a:gd name="T57" fmla="*/ 54 h 82"/>
                <a:gd name="T58" fmla="*/ 50 w 69"/>
                <a:gd name="T59" fmla="*/ 58 h 82"/>
                <a:gd name="T60" fmla="*/ 51 w 69"/>
                <a:gd name="T61" fmla="*/ 49 h 82"/>
                <a:gd name="T62" fmla="*/ 48 w 69"/>
                <a:gd name="T63" fmla="*/ 49 h 82"/>
                <a:gd name="T64" fmla="*/ 47 w 69"/>
                <a:gd name="T65" fmla="*/ 39 h 82"/>
                <a:gd name="T66" fmla="*/ 39 w 69"/>
                <a:gd name="T67" fmla="*/ 34 h 82"/>
                <a:gd name="T68" fmla="*/ 41 w 69"/>
                <a:gd name="T69" fmla="*/ 28 h 82"/>
                <a:gd name="T70" fmla="*/ 41 w 69"/>
                <a:gd name="T71" fmla="*/ 28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9" h="82">
                  <a:moveTo>
                    <a:pt x="41" y="28"/>
                  </a:moveTo>
                  <a:lnTo>
                    <a:pt x="39" y="9"/>
                  </a:lnTo>
                  <a:lnTo>
                    <a:pt x="27" y="0"/>
                  </a:lnTo>
                  <a:lnTo>
                    <a:pt x="21" y="6"/>
                  </a:lnTo>
                  <a:lnTo>
                    <a:pt x="27" y="21"/>
                  </a:lnTo>
                  <a:lnTo>
                    <a:pt x="16" y="16"/>
                  </a:lnTo>
                  <a:lnTo>
                    <a:pt x="12" y="7"/>
                  </a:lnTo>
                  <a:lnTo>
                    <a:pt x="10" y="13"/>
                  </a:lnTo>
                  <a:lnTo>
                    <a:pt x="13" y="25"/>
                  </a:lnTo>
                  <a:lnTo>
                    <a:pt x="10" y="27"/>
                  </a:lnTo>
                  <a:lnTo>
                    <a:pt x="4" y="22"/>
                  </a:lnTo>
                  <a:lnTo>
                    <a:pt x="0" y="28"/>
                  </a:lnTo>
                  <a:lnTo>
                    <a:pt x="3" y="36"/>
                  </a:lnTo>
                  <a:lnTo>
                    <a:pt x="7" y="43"/>
                  </a:lnTo>
                  <a:lnTo>
                    <a:pt x="16" y="45"/>
                  </a:lnTo>
                  <a:lnTo>
                    <a:pt x="16" y="36"/>
                  </a:lnTo>
                  <a:lnTo>
                    <a:pt x="24" y="42"/>
                  </a:lnTo>
                  <a:lnTo>
                    <a:pt x="25" y="51"/>
                  </a:lnTo>
                  <a:lnTo>
                    <a:pt x="25" y="55"/>
                  </a:lnTo>
                  <a:lnTo>
                    <a:pt x="32" y="64"/>
                  </a:lnTo>
                  <a:lnTo>
                    <a:pt x="35" y="69"/>
                  </a:lnTo>
                  <a:lnTo>
                    <a:pt x="39" y="67"/>
                  </a:lnTo>
                  <a:lnTo>
                    <a:pt x="50" y="67"/>
                  </a:lnTo>
                  <a:lnTo>
                    <a:pt x="48" y="78"/>
                  </a:lnTo>
                  <a:lnTo>
                    <a:pt x="48" y="82"/>
                  </a:lnTo>
                  <a:lnTo>
                    <a:pt x="54" y="79"/>
                  </a:lnTo>
                  <a:lnTo>
                    <a:pt x="60" y="67"/>
                  </a:lnTo>
                  <a:lnTo>
                    <a:pt x="69" y="60"/>
                  </a:lnTo>
                  <a:lnTo>
                    <a:pt x="68" y="54"/>
                  </a:lnTo>
                  <a:lnTo>
                    <a:pt x="50" y="58"/>
                  </a:lnTo>
                  <a:lnTo>
                    <a:pt x="51" y="49"/>
                  </a:lnTo>
                  <a:lnTo>
                    <a:pt x="48" y="49"/>
                  </a:lnTo>
                  <a:lnTo>
                    <a:pt x="47" y="39"/>
                  </a:lnTo>
                  <a:lnTo>
                    <a:pt x="39" y="34"/>
                  </a:lnTo>
                  <a:lnTo>
                    <a:pt x="41" y="28"/>
                  </a:lnTo>
                  <a:lnTo>
                    <a:pt x="41" y="28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853" name="Freeform 198"/>
            <p:cNvSpPr>
              <a:spLocks/>
            </p:cNvSpPr>
            <p:nvPr userDrawn="1"/>
          </p:nvSpPr>
          <p:spPr bwMode="auto">
            <a:xfrm>
              <a:off x="3057" y="1847"/>
              <a:ext cx="6" cy="15"/>
            </a:xfrm>
            <a:custGeom>
              <a:avLst/>
              <a:gdLst>
                <a:gd name="T0" fmla="*/ 3 w 6"/>
                <a:gd name="T1" fmla="*/ 15 h 15"/>
                <a:gd name="T2" fmla="*/ 6 w 6"/>
                <a:gd name="T3" fmla="*/ 8 h 15"/>
                <a:gd name="T4" fmla="*/ 5 w 6"/>
                <a:gd name="T5" fmla="*/ 2 h 15"/>
                <a:gd name="T6" fmla="*/ 0 w 6"/>
                <a:gd name="T7" fmla="*/ 0 h 15"/>
                <a:gd name="T8" fmla="*/ 2 w 6"/>
                <a:gd name="T9" fmla="*/ 9 h 15"/>
                <a:gd name="T10" fmla="*/ 3 w 6"/>
                <a:gd name="T11" fmla="*/ 15 h 15"/>
                <a:gd name="T12" fmla="*/ 3 w 6"/>
                <a:gd name="T13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15">
                  <a:moveTo>
                    <a:pt x="3" y="15"/>
                  </a:moveTo>
                  <a:lnTo>
                    <a:pt x="6" y="8"/>
                  </a:lnTo>
                  <a:lnTo>
                    <a:pt x="5" y="2"/>
                  </a:lnTo>
                  <a:lnTo>
                    <a:pt x="0" y="0"/>
                  </a:lnTo>
                  <a:lnTo>
                    <a:pt x="2" y="9"/>
                  </a:lnTo>
                  <a:lnTo>
                    <a:pt x="3" y="15"/>
                  </a:lnTo>
                  <a:lnTo>
                    <a:pt x="3" y="15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854" name="Freeform 199"/>
            <p:cNvSpPr>
              <a:spLocks/>
            </p:cNvSpPr>
            <p:nvPr userDrawn="1"/>
          </p:nvSpPr>
          <p:spPr bwMode="auto">
            <a:xfrm>
              <a:off x="2988" y="1723"/>
              <a:ext cx="65" cy="83"/>
            </a:xfrm>
            <a:custGeom>
              <a:avLst/>
              <a:gdLst>
                <a:gd name="T0" fmla="*/ 24 w 65"/>
                <a:gd name="T1" fmla="*/ 29 h 83"/>
                <a:gd name="T2" fmla="*/ 25 w 65"/>
                <a:gd name="T3" fmla="*/ 37 h 83"/>
                <a:gd name="T4" fmla="*/ 22 w 65"/>
                <a:gd name="T5" fmla="*/ 31 h 83"/>
                <a:gd name="T6" fmla="*/ 15 w 65"/>
                <a:gd name="T7" fmla="*/ 31 h 83"/>
                <a:gd name="T8" fmla="*/ 13 w 65"/>
                <a:gd name="T9" fmla="*/ 34 h 83"/>
                <a:gd name="T10" fmla="*/ 9 w 65"/>
                <a:gd name="T11" fmla="*/ 29 h 83"/>
                <a:gd name="T12" fmla="*/ 1 w 65"/>
                <a:gd name="T13" fmla="*/ 40 h 83"/>
                <a:gd name="T14" fmla="*/ 3 w 65"/>
                <a:gd name="T15" fmla="*/ 53 h 83"/>
                <a:gd name="T16" fmla="*/ 10 w 65"/>
                <a:gd name="T17" fmla="*/ 52 h 83"/>
                <a:gd name="T18" fmla="*/ 6 w 65"/>
                <a:gd name="T19" fmla="*/ 56 h 83"/>
                <a:gd name="T20" fmla="*/ 7 w 65"/>
                <a:gd name="T21" fmla="*/ 61 h 83"/>
                <a:gd name="T22" fmla="*/ 13 w 65"/>
                <a:gd name="T23" fmla="*/ 64 h 83"/>
                <a:gd name="T24" fmla="*/ 7 w 65"/>
                <a:gd name="T25" fmla="*/ 73 h 83"/>
                <a:gd name="T26" fmla="*/ 0 w 65"/>
                <a:gd name="T27" fmla="*/ 79 h 83"/>
                <a:gd name="T28" fmla="*/ 9 w 65"/>
                <a:gd name="T29" fmla="*/ 83 h 83"/>
                <a:gd name="T30" fmla="*/ 19 w 65"/>
                <a:gd name="T31" fmla="*/ 79 h 83"/>
                <a:gd name="T32" fmla="*/ 22 w 65"/>
                <a:gd name="T33" fmla="*/ 68 h 83"/>
                <a:gd name="T34" fmla="*/ 24 w 65"/>
                <a:gd name="T35" fmla="*/ 62 h 83"/>
                <a:gd name="T36" fmla="*/ 30 w 65"/>
                <a:gd name="T37" fmla="*/ 64 h 83"/>
                <a:gd name="T38" fmla="*/ 36 w 65"/>
                <a:gd name="T39" fmla="*/ 64 h 83"/>
                <a:gd name="T40" fmla="*/ 43 w 65"/>
                <a:gd name="T41" fmla="*/ 58 h 83"/>
                <a:gd name="T42" fmla="*/ 45 w 65"/>
                <a:gd name="T43" fmla="*/ 55 h 83"/>
                <a:gd name="T44" fmla="*/ 43 w 65"/>
                <a:gd name="T45" fmla="*/ 47 h 83"/>
                <a:gd name="T46" fmla="*/ 37 w 65"/>
                <a:gd name="T47" fmla="*/ 47 h 83"/>
                <a:gd name="T48" fmla="*/ 45 w 65"/>
                <a:gd name="T49" fmla="*/ 41 h 83"/>
                <a:gd name="T50" fmla="*/ 51 w 65"/>
                <a:gd name="T51" fmla="*/ 35 h 83"/>
                <a:gd name="T52" fmla="*/ 59 w 65"/>
                <a:gd name="T53" fmla="*/ 34 h 83"/>
                <a:gd name="T54" fmla="*/ 65 w 65"/>
                <a:gd name="T55" fmla="*/ 25 h 83"/>
                <a:gd name="T56" fmla="*/ 62 w 65"/>
                <a:gd name="T57" fmla="*/ 20 h 83"/>
                <a:gd name="T58" fmla="*/ 53 w 65"/>
                <a:gd name="T59" fmla="*/ 31 h 83"/>
                <a:gd name="T60" fmla="*/ 51 w 65"/>
                <a:gd name="T61" fmla="*/ 26 h 83"/>
                <a:gd name="T62" fmla="*/ 60 w 65"/>
                <a:gd name="T63" fmla="*/ 17 h 83"/>
                <a:gd name="T64" fmla="*/ 57 w 65"/>
                <a:gd name="T65" fmla="*/ 0 h 83"/>
                <a:gd name="T66" fmla="*/ 53 w 65"/>
                <a:gd name="T67" fmla="*/ 0 h 83"/>
                <a:gd name="T68" fmla="*/ 51 w 65"/>
                <a:gd name="T69" fmla="*/ 7 h 83"/>
                <a:gd name="T70" fmla="*/ 43 w 65"/>
                <a:gd name="T71" fmla="*/ 10 h 83"/>
                <a:gd name="T72" fmla="*/ 25 w 65"/>
                <a:gd name="T73" fmla="*/ 23 h 83"/>
                <a:gd name="T74" fmla="*/ 24 w 65"/>
                <a:gd name="T75" fmla="*/ 29 h 83"/>
                <a:gd name="T76" fmla="*/ 24 w 65"/>
                <a:gd name="T77" fmla="*/ 29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65" h="83">
                  <a:moveTo>
                    <a:pt x="24" y="29"/>
                  </a:moveTo>
                  <a:lnTo>
                    <a:pt x="25" y="37"/>
                  </a:lnTo>
                  <a:lnTo>
                    <a:pt x="22" y="31"/>
                  </a:lnTo>
                  <a:lnTo>
                    <a:pt x="15" y="31"/>
                  </a:lnTo>
                  <a:lnTo>
                    <a:pt x="13" y="34"/>
                  </a:lnTo>
                  <a:lnTo>
                    <a:pt x="9" y="29"/>
                  </a:lnTo>
                  <a:lnTo>
                    <a:pt x="1" y="40"/>
                  </a:lnTo>
                  <a:lnTo>
                    <a:pt x="3" y="53"/>
                  </a:lnTo>
                  <a:lnTo>
                    <a:pt x="10" y="52"/>
                  </a:lnTo>
                  <a:lnTo>
                    <a:pt x="6" y="56"/>
                  </a:lnTo>
                  <a:lnTo>
                    <a:pt x="7" y="61"/>
                  </a:lnTo>
                  <a:lnTo>
                    <a:pt x="13" y="64"/>
                  </a:lnTo>
                  <a:lnTo>
                    <a:pt x="7" y="73"/>
                  </a:lnTo>
                  <a:lnTo>
                    <a:pt x="0" y="79"/>
                  </a:lnTo>
                  <a:lnTo>
                    <a:pt x="9" y="83"/>
                  </a:lnTo>
                  <a:lnTo>
                    <a:pt x="19" y="79"/>
                  </a:lnTo>
                  <a:lnTo>
                    <a:pt x="22" y="68"/>
                  </a:lnTo>
                  <a:lnTo>
                    <a:pt x="24" y="62"/>
                  </a:lnTo>
                  <a:lnTo>
                    <a:pt x="30" y="64"/>
                  </a:lnTo>
                  <a:lnTo>
                    <a:pt x="36" y="64"/>
                  </a:lnTo>
                  <a:lnTo>
                    <a:pt x="43" y="58"/>
                  </a:lnTo>
                  <a:lnTo>
                    <a:pt x="45" y="55"/>
                  </a:lnTo>
                  <a:lnTo>
                    <a:pt x="43" y="47"/>
                  </a:lnTo>
                  <a:lnTo>
                    <a:pt x="37" y="47"/>
                  </a:lnTo>
                  <a:lnTo>
                    <a:pt x="45" y="41"/>
                  </a:lnTo>
                  <a:lnTo>
                    <a:pt x="51" y="35"/>
                  </a:lnTo>
                  <a:lnTo>
                    <a:pt x="59" y="34"/>
                  </a:lnTo>
                  <a:lnTo>
                    <a:pt x="65" y="25"/>
                  </a:lnTo>
                  <a:lnTo>
                    <a:pt x="62" y="20"/>
                  </a:lnTo>
                  <a:lnTo>
                    <a:pt x="53" y="31"/>
                  </a:lnTo>
                  <a:lnTo>
                    <a:pt x="51" y="26"/>
                  </a:lnTo>
                  <a:lnTo>
                    <a:pt x="60" y="17"/>
                  </a:lnTo>
                  <a:lnTo>
                    <a:pt x="57" y="0"/>
                  </a:lnTo>
                  <a:lnTo>
                    <a:pt x="53" y="0"/>
                  </a:lnTo>
                  <a:lnTo>
                    <a:pt x="51" y="7"/>
                  </a:lnTo>
                  <a:lnTo>
                    <a:pt x="43" y="10"/>
                  </a:lnTo>
                  <a:lnTo>
                    <a:pt x="25" y="23"/>
                  </a:lnTo>
                  <a:lnTo>
                    <a:pt x="24" y="29"/>
                  </a:lnTo>
                  <a:lnTo>
                    <a:pt x="24" y="29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855" name="Freeform 200"/>
            <p:cNvSpPr>
              <a:spLocks/>
            </p:cNvSpPr>
            <p:nvPr userDrawn="1"/>
          </p:nvSpPr>
          <p:spPr bwMode="auto">
            <a:xfrm>
              <a:off x="2974" y="1840"/>
              <a:ext cx="14" cy="10"/>
            </a:xfrm>
            <a:custGeom>
              <a:avLst/>
              <a:gdLst>
                <a:gd name="T0" fmla="*/ 6 w 14"/>
                <a:gd name="T1" fmla="*/ 0 h 10"/>
                <a:gd name="T2" fmla="*/ 0 w 14"/>
                <a:gd name="T3" fmla="*/ 1 h 10"/>
                <a:gd name="T4" fmla="*/ 0 w 14"/>
                <a:gd name="T5" fmla="*/ 6 h 10"/>
                <a:gd name="T6" fmla="*/ 5 w 14"/>
                <a:gd name="T7" fmla="*/ 9 h 10"/>
                <a:gd name="T8" fmla="*/ 9 w 14"/>
                <a:gd name="T9" fmla="*/ 10 h 10"/>
                <a:gd name="T10" fmla="*/ 14 w 14"/>
                <a:gd name="T11" fmla="*/ 4 h 10"/>
                <a:gd name="T12" fmla="*/ 6 w 14"/>
                <a:gd name="T13" fmla="*/ 0 h 10"/>
                <a:gd name="T14" fmla="*/ 6 w 14"/>
                <a:gd name="T15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10">
                  <a:moveTo>
                    <a:pt x="6" y="0"/>
                  </a:moveTo>
                  <a:lnTo>
                    <a:pt x="0" y="1"/>
                  </a:lnTo>
                  <a:lnTo>
                    <a:pt x="0" y="6"/>
                  </a:lnTo>
                  <a:lnTo>
                    <a:pt x="5" y="9"/>
                  </a:lnTo>
                  <a:lnTo>
                    <a:pt x="9" y="10"/>
                  </a:lnTo>
                  <a:lnTo>
                    <a:pt x="14" y="4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856" name="Freeform 201"/>
            <p:cNvSpPr>
              <a:spLocks/>
            </p:cNvSpPr>
            <p:nvPr userDrawn="1"/>
          </p:nvSpPr>
          <p:spPr bwMode="auto">
            <a:xfrm>
              <a:off x="2967" y="1852"/>
              <a:ext cx="18" cy="39"/>
            </a:xfrm>
            <a:custGeom>
              <a:avLst/>
              <a:gdLst>
                <a:gd name="T0" fmla="*/ 18 w 18"/>
                <a:gd name="T1" fmla="*/ 6 h 39"/>
                <a:gd name="T2" fmla="*/ 9 w 18"/>
                <a:gd name="T3" fmla="*/ 0 h 39"/>
                <a:gd name="T4" fmla="*/ 1 w 18"/>
                <a:gd name="T5" fmla="*/ 1 h 39"/>
                <a:gd name="T6" fmla="*/ 0 w 18"/>
                <a:gd name="T7" fmla="*/ 15 h 39"/>
                <a:gd name="T8" fmla="*/ 1 w 18"/>
                <a:gd name="T9" fmla="*/ 25 h 39"/>
                <a:gd name="T10" fmla="*/ 4 w 18"/>
                <a:gd name="T11" fmla="*/ 33 h 39"/>
                <a:gd name="T12" fmla="*/ 12 w 18"/>
                <a:gd name="T13" fmla="*/ 39 h 39"/>
                <a:gd name="T14" fmla="*/ 15 w 18"/>
                <a:gd name="T15" fmla="*/ 30 h 39"/>
                <a:gd name="T16" fmla="*/ 9 w 18"/>
                <a:gd name="T17" fmla="*/ 15 h 39"/>
                <a:gd name="T18" fmla="*/ 16 w 18"/>
                <a:gd name="T19" fmla="*/ 12 h 39"/>
                <a:gd name="T20" fmla="*/ 18 w 18"/>
                <a:gd name="T21" fmla="*/ 6 h 39"/>
                <a:gd name="T22" fmla="*/ 18 w 18"/>
                <a:gd name="T23" fmla="*/ 6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" h="39">
                  <a:moveTo>
                    <a:pt x="18" y="6"/>
                  </a:moveTo>
                  <a:lnTo>
                    <a:pt x="9" y="0"/>
                  </a:lnTo>
                  <a:lnTo>
                    <a:pt x="1" y="1"/>
                  </a:lnTo>
                  <a:lnTo>
                    <a:pt x="0" y="15"/>
                  </a:lnTo>
                  <a:lnTo>
                    <a:pt x="1" y="25"/>
                  </a:lnTo>
                  <a:lnTo>
                    <a:pt x="4" y="33"/>
                  </a:lnTo>
                  <a:lnTo>
                    <a:pt x="12" y="39"/>
                  </a:lnTo>
                  <a:lnTo>
                    <a:pt x="15" y="30"/>
                  </a:lnTo>
                  <a:lnTo>
                    <a:pt x="9" y="15"/>
                  </a:lnTo>
                  <a:lnTo>
                    <a:pt x="16" y="12"/>
                  </a:lnTo>
                  <a:lnTo>
                    <a:pt x="18" y="6"/>
                  </a:lnTo>
                  <a:lnTo>
                    <a:pt x="18" y="6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857" name="Freeform 202"/>
            <p:cNvSpPr>
              <a:spLocks/>
            </p:cNvSpPr>
            <p:nvPr userDrawn="1"/>
          </p:nvSpPr>
          <p:spPr bwMode="auto">
            <a:xfrm>
              <a:off x="2962" y="1819"/>
              <a:ext cx="27" cy="21"/>
            </a:xfrm>
            <a:custGeom>
              <a:avLst/>
              <a:gdLst>
                <a:gd name="T0" fmla="*/ 27 w 27"/>
                <a:gd name="T1" fmla="*/ 1 h 21"/>
                <a:gd name="T2" fmla="*/ 17 w 27"/>
                <a:gd name="T3" fmla="*/ 0 h 21"/>
                <a:gd name="T4" fmla="*/ 0 w 27"/>
                <a:gd name="T5" fmla="*/ 3 h 21"/>
                <a:gd name="T6" fmla="*/ 3 w 27"/>
                <a:gd name="T7" fmla="*/ 9 h 21"/>
                <a:gd name="T8" fmla="*/ 15 w 27"/>
                <a:gd name="T9" fmla="*/ 10 h 21"/>
                <a:gd name="T10" fmla="*/ 17 w 27"/>
                <a:gd name="T11" fmla="*/ 16 h 21"/>
                <a:gd name="T12" fmla="*/ 26 w 27"/>
                <a:gd name="T13" fmla="*/ 21 h 21"/>
                <a:gd name="T14" fmla="*/ 26 w 27"/>
                <a:gd name="T15" fmla="*/ 13 h 21"/>
                <a:gd name="T16" fmla="*/ 23 w 27"/>
                <a:gd name="T17" fmla="*/ 13 h 21"/>
                <a:gd name="T18" fmla="*/ 21 w 27"/>
                <a:gd name="T19" fmla="*/ 7 h 21"/>
                <a:gd name="T20" fmla="*/ 26 w 27"/>
                <a:gd name="T21" fmla="*/ 7 h 21"/>
                <a:gd name="T22" fmla="*/ 27 w 27"/>
                <a:gd name="T23" fmla="*/ 1 h 21"/>
                <a:gd name="T24" fmla="*/ 27 w 27"/>
                <a:gd name="T25" fmla="*/ 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" h="21">
                  <a:moveTo>
                    <a:pt x="27" y="1"/>
                  </a:moveTo>
                  <a:lnTo>
                    <a:pt x="17" y="0"/>
                  </a:lnTo>
                  <a:lnTo>
                    <a:pt x="0" y="3"/>
                  </a:lnTo>
                  <a:lnTo>
                    <a:pt x="3" y="9"/>
                  </a:lnTo>
                  <a:lnTo>
                    <a:pt x="15" y="10"/>
                  </a:lnTo>
                  <a:lnTo>
                    <a:pt x="17" y="16"/>
                  </a:lnTo>
                  <a:lnTo>
                    <a:pt x="26" y="21"/>
                  </a:lnTo>
                  <a:lnTo>
                    <a:pt x="26" y="13"/>
                  </a:lnTo>
                  <a:lnTo>
                    <a:pt x="23" y="13"/>
                  </a:lnTo>
                  <a:lnTo>
                    <a:pt x="21" y="7"/>
                  </a:lnTo>
                  <a:lnTo>
                    <a:pt x="26" y="7"/>
                  </a:lnTo>
                  <a:lnTo>
                    <a:pt x="27" y="1"/>
                  </a:lnTo>
                  <a:lnTo>
                    <a:pt x="27" y="1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858" name="Freeform 203"/>
            <p:cNvSpPr>
              <a:spLocks/>
            </p:cNvSpPr>
            <p:nvPr userDrawn="1"/>
          </p:nvSpPr>
          <p:spPr bwMode="auto">
            <a:xfrm>
              <a:off x="2970" y="1892"/>
              <a:ext cx="6" cy="14"/>
            </a:xfrm>
            <a:custGeom>
              <a:avLst/>
              <a:gdLst>
                <a:gd name="T0" fmla="*/ 0 w 6"/>
                <a:gd name="T1" fmla="*/ 14 h 14"/>
                <a:gd name="T2" fmla="*/ 6 w 6"/>
                <a:gd name="T3" fmla="*/ 5 h 14"/>
                <a:gd name="T4" fmla="*/ 1 w 6"/>
                <a:gd name="T5" fmla="*/ 0 h 14"/>
                <a:gd name="T6" fmla="*/ 0 w 6"/>
                <a:gd name="T7" fmla="*/ 14 h 14"/>
                <a:gd name="T8" fmla="*/ 0 w 6"/>
                <a:gd name="T9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4">
                  <a:moveTo>
                    <a:pt x="0" y="14"/>
                  </a:moveTo>
                  <a:lnTo>
                    <a:pt x="6" y="5"/>
                  </a:lnTo>
                  <a:lnTo>
                    <a:pt x="1" y="0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859" name="Freeform 204"/>
            <p:cNvSpPr>
              <a:spLocks/>
            </p:cNvSpPr>
            <p:nvPr userDrawn="1"/>
          </p:nvSpPr>
          <p:spPr bwMode="auto">
            <a:xfrm>
              <a:off x="3225" y="1662"/>
              <a:ext cx="18" cy="18"/>
            </a:xfrm>
            <a:custGeom>
              <a:avLst/>
              <a:gdLst>
                <a:gd name="T0" fmla="*/ 0 w 18"/>
                <a:gd name="T1" fmla="*/ 4 h 18"/>
                <a:gd name="T2" fmla="*/ 0 w 18"/>
                <a:gd name="T3" fmla="*/ 10 h 18"/>
                <a:gd name="T4" fmla="*/ 9 w 18"/>
                <a:gd name="T5" fmla="*/ 18 h 18"/>
                <a:gd name="T6" fmla="*/ 18 w 18"/>
                <a:gd name="T7" fmla="*/ 13 h 18"/>
                <a:gd name="T8" fmla="*/ 7 w 18"/>
                <a:gd name="T9" fmla="*/ 0 h 18"/>
                <a:gd name="T10" fmla="*/ 0 w 18"/>
                <a:gd name="T11" fmla="*/ 4 h 18"/>
                <a:gd name="T12" fmla="*/ 0 w 18"/>
                <a:gd name="T13" fmla="*/ 4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" h="18">
                  <a:moveTo>
                    <a:pt x="0" y="4"/>
                  </a:moveTo>
                  <a:lnTo>
                    <a:pt x="0" y="10"/>
                  </a:lnTo>
                  <a:lnTo>
                    <a:pt x="9" y="18"/>
                  </a:lnTo>
                  <a:lnTo>
                    <a:pt x="18" y="13"/>
                  </a:lnTo>
                  <a:lnTo>
                    <a:pt x="7" y="0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</p:grpSp>
      <p:grpSp>
        <p:nvGrpSpPr>
          <p:cNvPr id="1860" name="Group 406"/>
          <p:cNvGrpSpPr>
            <a:grpSpLocks/>
          </p:cNvGrpSpPr>
          <p:nvPr userDrawn="1"/>
        </p:nvGrpSpPr>
        <p:grpSpPr bwMode="auto">
          <a:xfrm>
            <a:off x="2559051" y="-325439"/>
            <a:ext cx="9632949" cy="7180264"/>
            <a:chOff x="1612" y="-205"/>
            <a:chExt cx="6068" cy="4523"/>
          </a:xfrm>
        </p:grpSpPr>
        <p:sp>
          <p:nvSpPr>
            <p:cNvPr id="1861" name="Freeform 206"/>
            <p:cNvSpPr>
              <a:spLocks/>
            </p:cNvSpPr>
            <p:nvPr userDrawn="1"/>
          </p:nvSpPr>
          <p:spPr bwMode="auto">
            <a:xfrm>
              <a:off x="3250" y="1672"/>
              <a:ext cx="9" cy="12"/>
            </a:xfrm>
            <a:custGeom>
              <a:avLst/>
              <a:gdLst>
                <a:gd name="T0" fmla="*/ 0 w 9"/>
                <a:gd name="T1" fmla="*/ 3 h 12"/>
                <a:gd name="T2" fmla="*/ 2 w 9"/>
                <a:gd name="T3" fmla="*/ 11 h 12"/>
                <a:gd name="T4" fmla="*/ 5 w 9"/>
                <a:gd name="T5" fmla="*/ 12 h 12"/>
                <a:gd name="T6" fmla="*/ 9 w 9"/>
                <a:gd name="T7" fmla="*/ 5 h 12"/>
                <a:gd name="T8" fmla="*/ 6 w 9"/>
                <a:gd name="T9" fmla="*/ 0 h 12"/>
                <a:gd name="T10" fmla="*/ 0 w 9"/>
                <a:gd name="T11" fmla="*/ 3 h 12"/>
                <a:gd name="T12" fmla="*/ 0 w 9"/>
                <a:gd name="T13" fmla="*/ 3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2">
                  <a:moveTo>
                    <a:pt x="0" y="3"/>
                  </a:moveTo>
                  <a:lnTo>
                    <a:pt x="2" y="11"/>
                  </a:lnTo>
                  <a:lnTo>
                    <a:pt x="5" y="12"/>
                  </a:lnTo>
                  <a:lnTo>
                    <a:pt x="9" y="5"/>
                  </a:lnTo>
                  <a:lnTo>
                    <a:pt x="6" y="0"/>
                  </a:lnTo>
                  <a:lnTo>
                    <a:pt x="0" y="3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862" name="Freeform 207"/>
            <p:cNvSpPr>
              <a:spLocks/>
            </p:cNvSpPr>
            <p:nvPr userDrawn="1"/>
          </p:nvSpPr>
          <p:spPr bwMode="auto">
            <a:xfrm>
              <a:off x="3225" y="1636"/>
              <a:ext cx="51" cy="30"/>
            </a:xfrm>
            <a:custGeom>
              <a:avLst/>
              <a:gdLst>
                <a:gd name="T0" fmla="*/ 12 w 51"/>
                <a:gd name="T1" fmla="*/ 26 h 30"/>
                <a:gd name="T2" fmla="*/ 16 w 51"/>
                <a:gd name="T3" fmla="*/ 29 h 30"/>
                <a:gd name="T4" fmla="*/ 34 w 51"/>
                <a:gd name="T5" fmla="*/ 18 h 30"/>
                <a:gd name="T6" fmla="*/ 37 w 51"/>
                <a:gd name="T7" fmla="*/ 30 h 30"/>
                <a:gd name="T8" fmla="*/ 48 w 51"/>
                <a:gd name="T9" fmla="*/ 29 h 30"/>
                <a:gd name="T10" fmla="*/ 51 w 51"/>
                <a:gd name="T11" fmla="*/ 20 h 30"/>
                <a:gd name="T12" fmla="*/ 42 w 51"/>
                <a:gd name="T13" fmla="*/ 23 h 30"/>
                <a:gd name="T14" fmla="*/ 37 w 51"/>
                <a:gd name="T15" fmla="*/ 18 h 30"/>
                <a:gd name="T16" fmla="*/ 31 w 51"/>
                <a:gd name="T17" fmla="*/ 14 h 30"/>
                <a:gd name="T18" fmla="*/ 21 w 51"/>
                <a:gd name="T19" fmla="*/ 21 h 30"/>
                <a:gd name="T20" fmla="*/ 16 w 51"/>
                <a:gd name="T21" fmla="*/ 17 h 30"/>
                <a:gd name="T22" fmla="*/ 19 w 51"/>
                <a:gd name="T23" fmla="*/ 9 h 30"/>
                <a:gd name="T24" fmla="*/ 15 w 51"/>
                <a:gd name="T25" fmla="*/ 3 h 30"/>
                <a:gd name="T26" fmla="*/ 4 w 51"/>
                <a:gd name="T27" fmla="*/ 0 h 30"/>
                <a:gd name="T28" fmla="*/ 0 w 51"/>
                <a:gd name="T29" fmla="*/ 17 h 30"/>
                <a:gd name="T30" fmla="*/ 6 w 51"/>
                <a:gd name="T31" fmla="*/ 24 h 30"/>
                <a:gd name="T32" fmla="*/ 12 w 51"/>
                <a:gd name="T33" fmla="*/ 26 h 30"/>
                <a:gd name="T34" fmla="*/ 12 w 51"/>
                <a:gd name="T35" fmla="*/ 26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1" h="30">
                  <a:moveTo>
                    <a:pt x="12" y="26"/>
                  </a:moveTo>
                  <a:lnTo>
                    <a:pt x="16" y="29"/>
                  </a:lnTo>
                  <a:lnTo>
                    <a:pt x="34" y="18"/>
                  </a:lnTo>
                  <a:lnTo>
                    <a:pt x="37" y="30"/>
                  </a:lnTo>
                  <a:lnTo>
                    <a:pt x="48" y="29"/>
                  </a:lnTo>
                  <a:lnTo>
                    <a:pt x="51" y="20"/>
                  </a:lnTo>
                  <a:lnTo>
                    <a:pt x="42" y="23"/>
                  </a:lnTo>
                  <a:lnTo>
                    <a:pt x="37" y="18"/>
                  </a:lnTo>
                  <a:lnTo>
                    <a:pt x="31" y="14"/>
                  </a:lnTo>
                  <a:lnTo>
                    <a:pt x="21" y="21"/>
                  </a:lnTo>
                  <a:lnTo>
                    <a:pt x="16" y="17"/>
                  </a:lnTo>
                  <a:lnTo>
                    <a:pt x="19" y="9"/>
                  </a:lnTo>
                  <a:lnTo>
                    <a:pt x="15" y="3"/>
                  </a:lnTo>
                  <a:lnTo>
                    <a:pt x="4" y="0"/>
                  </a:lnTo>
                  <a:lnTo>
                    <a:pt x="0" y="17"/>
                  </a:lnTo>
                  <a:lnTo>
                    <a:pt x="6" y="24"/>
                  </a:lnTo>
                  <a:lnTo>
                    <a:pt x="12" y="26"/>
                  </a:lnTo>
                  <a:lnTo>
                    <a:pt x="12" y="26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863" name="Freeform 208"/>
            <p:cNvSpPr>
              <a:spLocks/>
            </p:cNvSpPr>
            <p:nvPr userDrawn="1"/>
          </p:nvSpPr>
          <p:spPr bwMode="auto">
            <a:xfrm>
              <a:off x="3243" y="1630"/>
              <a:ext cx="10" cy="7"/>
            </a:xfrm>
            <a:custGeom>
              <a:avLst/>
              <a:gdLst>
                <a:gd name="T0" fmla="*/ 10 w 10"/>
                <a:gd name="T1" fmla="*/ 3 h 7"/>
                <a:gd name="T2" fmla="*/ 1 w 10"/>
                <a:gd name="T3" fmla="*/ 0 h 7"/>
                <a:gd name="T4" fmla="*/ 0 w 10"/>
                <a:gd name="T5" fmla="*/ 4 h 7"/>
                <a:gd name="T6" fmla="*/ 4 w 10"/>
                <a:gd name="T7" fmla="*/ 7 h 7"/>
                <a:gd name="T8" fmla="*/ 10 w 10"/>
                <a:gd name="T9" fmla="*/ 3 h 7"/>
                <a:gd name="T10" fmla="*/ 10 w 10"/>
                <a:gd name="T11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" h="7">
                  <a:moveTo>
                    <a:pt x="10" y="3"/>
                  </a:moveTo>
                  <a:lnTo>
                    <a:pt x="1" y="0"/>
                  </a:lnTo>
                  <a:lnTo>
                    <a:pt x="0" y="4"/>
                  </a:lnTo>
                  <a:lnTo>
                    <a:pt x="4" y="7"/>
                  </a:lnTo>
                  <a:lnTo>
                    <a:pt x="10" y="3"/>
                  </a:lnTo>
                  <a:lnTo>
                    <a:pt x="10" y="3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864" name="Freeform 209"/>
            <p:cNvSpPr>
              <a:spLocks/>
            </p:cNvSpPr>
            <p:nvPr userDrawn="1"/>
          </p:nvSpPr>
          <p:spPr bwMode="auto">
            <a:xfrm>
              <a:off x="3246" y="1612"/>
              <a:ext cx="15" cy="15"/>
            </a:xfrm>
            <a:custGeom>
              <a:avLst/>
              <a:gdLst>
                <a:gd name="T0" fmla="*/ 12 w 15"/>
                <a:gd name="T1" fmla="*/ 15 h 15"/>
                <a:gd name="T2" fmla="*/ 15 w 15"/>
                <a:gd name="T3" fmla="*/ 10 h 15"/>
                <a:gd name="T4" fmla="*/ 7 w 15"/>
                <a:gd name="T5" fmla="*/ 4 h 15"/>
                <a:gd name="T6" fmla="*/ 9 w 15"/>
                <a:gd name="T7" fmla="*/ 0 h 15"/>
                <a:gd name="T8" fmla="*/ 3 w 15"/>
                <a:gd name="T9" fmla="*/ 1 h 15"/>
                <a:gd name="T10" fmla="*/ 0 w 15"/>
                <a:gd name="T11" fmla="*/ 7 h 15"/>
                <a:gd name="T12" fmla="*/ 6 w 15"/>
                <a:gd name="T13" fmla="*/ 9 h 15"/>
                <a:gd name="T14" fmla="*/ 12 w 15"/>
                <a:gd name="T15" fmla="*/ 15 h 15"/>
                <a:gd name="T16" fmla="*/ 12 w 15"/>
                <a:gd name="T17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15">
                  <a:moveTo>
                    <a:pt x="12" y="15"/>
                  </a:moveTo>
                  <a:lnTo>
                    <a:pt x="15" y="10"/>
                  </a:lnTo>
                  <a:lnTo>
                    <a:pt x="7" y="4"/>
                  </a:lnTo>
                  <a:lnTo>
                    <a:pt x="9" y="0"/>
                  </a:lnTo>
                  <a:lnTo>
                    <a:pt x="3" y="1"/>
                  </a:lnTo>
                  <a:lnTo>
                    <a:pt x="0" y="7"/>
                  </a:lnTo>
                  <a:lnTo>
                    <a:pt x="6" y="9"/>
                  </a:lnTo>
                  <a:lnTo>
                    <a:pt x="12" y="15"/>
                  </a:lnTo>
                  <a:lnTo>
                    <a:pt x="12" y="15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865" name="Freeform 210"/>
            <p:cNvSpPr>
              <a:spLocks/>
            </p:cNvSpPr>
            <p:nvPr userDrawn="1"/>
          </p:nvSpPr>
          <p:spPr bwMode="auto">
            <a:xfrm>
              <a:off x="3270" y="1613"/>
              <a:ext cx="16" cy="15"/>
            </a:xfrm>
            <a:custGeom>
              <a:avLst/>
              <a:gdLst>
                <a:gd name="T0" fmla="*/ 16 w 16"/>
                <a:gd name="T1" fmla="*/ 0 h 15"/>
                <a:gd name="T2" fmla="*/ 7 w 16"/>
                <a:gd name="T3" fmla="*/ 0 h 15"/>
                <a:gd name="T4" fmla="*/ 0 w 16"/>
                <a:gd name="T5" fmla="*/ 6 h 15"/>
                <a:gd name="T6" fmla="*/ 0 w 16"/>
                <a:gd name="T7" fmla="*/ 15 h 15"/>
                <a:gd name="T8" fmla="*/ 13 w 16"/>
                <a:gd name="T9" fmla="*/ 5 h 15"/>
                <a:gd name="T10" fmla="*/ 16 w 16"/>
                <a:gd name="T11" fmla="*/ 0 h 15"/>
                <a:gd name="T12" fmla="*/ 16 w 16"/>
                <a:gd name="T13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15">
                  <a:moveTo>
                    <a:pt x="16" y="0"/>
                  </a:moveTo>
                  <a:lnTo>
                    <a:pt x="7" y="0"/>
                  </a:lnTo>
                  <a:lnTo>
                    <a:pt x="0" y="6"/>
                  </a:lnTo>
                  <a:lnTo>
                    <a:pt x="0" y="15"/>
                  </a:lnTo>
                  <a:lnTo>
                    <a:pt x="13" y="5"/>
                  </a:lnTo>
                  <a:lnTo>
                    <a:pt x="16" y="0"/>
                  </a:lnTo>
                  <a:lnTo>
                    <a:pt x="16" y="0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866" name="Freeform 211"/>
            <p:cNvSpPr>
              <a:spLocks/>
            </p:cNvSpPr>
            <p:nvPr userDrawn="1"/>
          </p:nvSpPr>
          <p:spPr bwMode="auto">
            <a:xfrm>
              <a:off x="3268" y="1630"/>
              <a:ext cx="11" cy="6"/>
            </a:xfrm>
            <a:custGeom>
              <a:avLst/>
              <a:gdLst>
                <a:gd name="T0" fmla="*/ 9 w 11"/>
                <a:gd name="T1" fmla="*/ 0 h 6"/>
                <a:gd name="T2" fmla="*/ 0 w 11"/>
                <a:gd name="T3" fmla="*/ 3 h 6"/>
                <a:gd name="T4" fmla="*/ 11 w 11"/>
                <a:gd name="T5" fmla="*/ 6 h 6"/>
                <a:gd name="T6" fmla="*/ 9 w 11"/>
                <a:gd name="T7" fmla="*/ 0 h 6"/>
                <a:gd name="T8" fmla="*/ 9 w 11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6">
                  <a:moveTo>
                    <a:pt x="9" y="0"/>
                  </a:moveTo>
                  <a:lnTo>
                    <a:pt x="0" y="3"/>
                  </a:lnTo>
                  <a:lnTo>
                    <a:pt x="11" y="6"/>
                  </a:lnTo>
                  <a:lnTo>
                    <a:pt x="9" y="0"/>
                  </a:lnTo>
                  <a:lnTo>
                    <a:pt x="9" y="0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867" name="Freeform 212"/>
            <p:cNvSpPr>
              <a:spLocks/>
            </p:cNvSpPr>
            <p:nvPr userDrawn="1"/>
          </p:nvSpPr>
          <p:spPr bwMode="auto">
            <a:xfrm>
              <a:off x="3259" y="1642"/>
              <a:ext cx="9" cy="6"/>
            </a:xfrm>
            <a:custGeom>
              <a:avLst/>
              <a:gdLst>
                <a:gd name="T0" fmla="*/ 5 w 9"/>
                <a:gd name="T1" fmla="*/ 6 h 6"/>
                <a:gd name="T2" fmla="*/ 9 w 9"/>
                <a:gd name="T3" fmla="*/ 0 h 6"/>
                <a:gd name="T4" fmla="*/ 0 w 9"/>
                <a:gd name="T5" fmla="*/ 2 h 6"/>
                <a:gd name="T6" fmla="*/ 5 w 9"/>
                <a:gd name="T7" fmla="*/ 6 h 6"/>
                <a:gd name="T8" fmla="*/ 5 w 9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6">
                  <a:moveTo>
                    <a:pt x="5" y="6"/>
                  </a:moveTo>
                  <a:lnTo>
                    <a:pt x="9" y="0"/>
                  </a:lnTo>
                  <a:lnTo>
                    <a:pt x="0" y="2"/>
                  </a:lnTo>
                  <a:lnTo>
                    <a:pt x="5" y="6"/>
                  </a:lnTo>
                  <a:lnTo>
                    <a:pt x="5" y="6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868" name="Freeform 213"/>
            <p:cNvSpPr>
              <a:spLocks/>
            </p:cNvSpPr>
            <p:nvPr userDrawn="1"/>
          </p:nvSpPr>
          <p:spPr bwMode="auto">
            <a:xfrm>
              <a:off x="3330" y="1470"/>
              <a:ext cx="45" cy="75"/>
            </a:xfrm>
            <a:custGeom>
              <a:avLst/>
              <a:gdLst>
                <a:gd name="T0" fmla="*/ 21 w 45"/>
                <a:gd name="T1" fmla="*/ 32 h 75"/>
                <a:gd name="T2" fmla="*/ 27 w 45"/>
                <a:gd name="T3" fmla="*/ 33 h 75"/>
                <a:gd name="T4" fmla="*/ 27 w 45"/>
                <a:gd name="T5" fmla="*/ 38 h 75"/>
                <a:gd name="T6" fmla="*/ 27 w 45"/>
                <a:gd name="T7" fmla="*/ 54 h 75"/>
                <a:gd name="T8" fmla="*/ 20 w 45"/>
                <a:gd name="T9" fmla="*/ 71 h 75"/>
                <a:gd name="T10" fmla="*/ 27 w 45"/>
                <a:gd name="T11" fmla="*/ 75 h 75"/>
                <a:gd name="T12" fmla="*/ 30 w 45"/>
                <a:gd name="T13" fmla="*/ 65 h 75"/>
                <a:gd name="T14" fmla="*/ 36 w 45"/>
                <a:gd name="T15" fmla="*/ 56 h 75"/>
                <a:gd name="T16" fmla="*/ 36 w 45"/>
                <a:gd name="T17" fmla="*/ 41 h 75"/>
                <a:gd name="T18" fmla="*/ 39 w 45"/>
                <a:gd name="T19" fmla="*/ 36 h 75"/>
                <a:gd name="T20" fmla="*/ 42 w 45"/>
                <a:gd name="T21" fmla="*/ 39 h 75"/>
                <a:gd name="T22" fmla="*/ 45 w 45"/>
                <a:gd name="T23" fmla="*/ 33 h 75"/>
                <a:gd name="T24" fmla="*/ 33 w 45"/>
                <a:gd name="T25" fmla="*/ 27 h 75"/>
                <a:gd name="T26" fmla="*/ 33 w 45"/>
                <a:gd name="T27" fmla="*/ 23 h 75"/>
                <a:gd name="T28" fmla="*/ 38 w 45"/>
                <a:gd name="T29" fmla="*/ 20 h 75"/>
                <a:gd name="T30" fmla="*/ 33 w 45"/>
                <a:gd name="T31" fmla="*/ 11 h 75"/>
                <a:gd name="T32" fmla="*/ 39 w 45"/>
                <a:gd name="T33" fmla="*/ 6 h 75"/>
                <a:gd name="T34" fmla="*/ 35 w 45"/>
                <a:gd name="T35" fmla="*/ 2 h 75"/>
                <a:gd name="T36" fmla="*/ 29 w 45"/>
                <a:gd name="T37" fmla="*/ 5 h 75"/>
                <a:gd name="T38" fmla="*/ 24 w 45"/>
                <a:gd name="T39" fmla="*/ 0 h 75"/>
                <a:gd name="T40" fmla="*/ 21 w 45"/>
                <a:gd name="T41" fmla="*/ 5 h 75"/>
                <a:gd name="T42" fmla="*/ 18 w 45"/>
                <a:gd name="T43" fmla="*/ 15 h 75"/>
                <a:gd name="T44" fmla="*/ 21 w 45"/>
                <a:gd name="T45" fmla="*/ 20 h 75"/>
                <a:gd name="T46" fmla="*/ 20 w 45"/>
                <a:gd name="T47" fmla="*/ 24 h 75"/>
                <a:gd name="T48" fmla="*/ 15 w 45"/>
                <a:gd name="T49" fmla="*/ 20 h 75"/>
                <a:gd name="T50" fmla="*/ 2 w 45"/>
                <a:gd name="T51" fmla="*/ 24 h 75"/>
                <a:gd name="T52" fmla="*/ 0 w 45"/>
                <a:gd name="T53" fmla="*/ 32 h 75"/>
                <a:gd name="T54" fmla="*/ 14 w 45"/>
                <a:gd name="T55" fmla="*/ 44 h 75"/>
                <a:gd name="T56" fmla="*/ 21 w 45"/>
                <a:gd name="T57" fmla="*/ 32 h 75"/>
                <a:gd name="T58" fmla="*/ 21 w 45"/>
                <a:gd name="T59" fmla="*/ 3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5" h="75">
                  <a:moveTo>
                    <a:pt x="21" y="32"/>
                  </a:moveTo>
                  <a:lnTo>
                    <a:pt x="27" y="33"/>
                  </a:lnTo>
                  <a:lnTo>
                    <a:pt x="27" y="38"/>
                  </a:lnTo>
                  <a:lnTo>
                    <a:pt x="27" y="54"/>
                  </a:lnTo>
                  <a:lnTo>
                    <a:pt x="20" y="71"/>
                  </a:lnTo>
                  <a:lnTo>
                    <a:pt x="27" y="75"/>
                  </a:lnTo>
                  <a:lnTo>
                    <a:pt x="30" y="65"/>
                  </a:lnTo>
                  <a:lnTo>
                    <a:pt x="36" y="56"/>
                  </a:lnTo>
                  <a:lnTo>
                    <a:pt x="36" y="41"/>
                  </a:lnTo>
                  <a:lnTo>
                    <a:pt x="39" y="36"/>
                  </a:lnTo>
                  <a:lnTo>
                    <a:pt x="42" y="39"/>
                  </a:lnTo>
                  <a:lnTo>
                    <a:pt x="45" y="33"/>
                  </a:lnTo>
                  <a:lnTo>
                    <a:pt x="33" y="27"/>
                  </a:lnTo>
                  <a:lnTo>
                    <a:pt x="33" y="23"/>
                  </a:lnTo>
                  <a:lnTo>
                    <a:pt x="38" y="20"/>
                  </a:lnTo>
                  <a:lnTo>
                    <a:pt x="33" y="11"/>
                  </a:lnTo>
                  <a:lnTo>
                    <a:pt x="39" y="6"/>
                  </a:lnTo>
                  <a:lnTo>
                    <a:pt x="35" y="2"/>
                  </a:lnTo>
                  <a:lnTo>
                    <a:pt x="29" y="5"/>
                  </a:lnTo>
                  <a:lnTo>
                    <a:pt x="24" y="0"/>
                  </a:lnTo>
                  <a:lnTo>
                    <a:pt x="21" y="5"/>
                  </a:lnTo>
                  <a:lnTo>
                    <a:pt x="18" y="15"/>
                  </a:lnTo>
                  <a:lnTo>
                    <a:pt x="21" y="20"/>
                  </a:lnTo>
                  <a:lnTo>
                    <a:pt x="20" y="24"/>
                  </a:lnTo>
                  <a:lnTo>
                    <a:pt x="15" y="20"/>
                  </a:lnTo>
                  <a:lnTo>
                    <a:pt x="2" y="24"/>
                  </a:lnTo>
                  <a:lnTo>
                    <a:pt x="0" y="32"/>
                  </a:lnTo>
                  <a:lnTo>
                    <a:pt x="14" y="44"/>
                  </a:lnTo>
                  <a:lnTo>
                    <a:pt x="21" y="32"/>
                  </a:lnTo>
                  <a:lnTo>
                    <a:pt x="21" y="32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869" name="Freeform 214"/>
            <p:cNvSpPr>
              <a:spLocks/>
            </p:cNvSpPr>
            <p:nvPr userDrawn="1"/>
          </p:nvSpPr>
          <p:spPr bwMode="auto">
            <a:xfrm>
              <a:off x="3336" y="1453"/>
              <a:ext cx="17" cy="31"/>
            </a:xfrm>
            <a:custGeom>
              <a:avLst/>
              <a:gdLst>
                <a:gd name="T0" fmla="*/ 6 w 17"/>
                <a:gd name="T1" fmla="*/ 31 h 31"/>
                <a:gd name="T2" fmla="*/ 11 w 17"/>
                <a:gd name="T3" fmla="*/ 20 h 31"/>
                <a:gd name="T4" fmla="*/ 17 w 17"/>
                <a:gd name="T5" fmla="*/ 14 h 31"/>
                <a:gd name="T6" fmla="*/ 17 w 17"/>
                <a:gd name="T7" fmla="*/ 0 h 31"/>
                <a:gd name="T8" fmla="*/ 8 w 17"/>
                <a:gd name="T9" fmla="*/ 0 h 31"/>
                <a:gd name="T10" fmla="*/ 5 w 17"/>
                <a:gd name="T11" fmla="*/ 11 h 31"/>
                <a:gd name="T12" fmla="*/ 9 w 17"/>
                <a:gd name="T13" fmla="*/ 17 h 31"/>
                <a:gd name="T14" fmla="*/ 0 w 17"/>
                <a:gd name="T15" fmla="*/ 28 h 31"/>
                <a:gd name="T16" fmla="*/ 6 w 17"/>
                <a:gd name="T17" fmla="*/ 31 h 31"/>
                <a:gd name="T18" fmla="*/ 6 w 17"/>
                <a:gd name="T19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" h="31">
                  <a:moveTo>
                    <a:pt x="6" y="31"/>
                  </a:moveTo>
                  <a:lnTo>
                    <a:pt x="11" y="20"/>
                  </a:lnTo>
                  <a:lnTo>
                    <a:pt x="17" y="14"/>
                  </a:lnTo>
                  <a:lnTo>
                    <a:pt x="17" y="0"/>
                  </a:lnTo>
                  <a:lnTo>
                    <a:pt x="8" y="0"/>
                  </a:lnTo>
                  <a:lnTo>
                    <a:pt x="5" y="11"/>
                  </a:lnTo>
                  <a:lnTo>
                    <a:pt x="9" y="17"/>
                  </a:lnTo>
                  <a:lnTo>
                    <a:pt x="0" y="28"/>
                  </a:lnTo>
                  <a:lnTo>
                    <a:pt x="6" y="31"/>
                  </a:lnTo>
                  <a:lnTo>
                    <a:pt x="6" y="31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870" name="Freeform 215"/>
            <p:cNvSpPr>
              <a:spLocks/>
            </p:cNvSpPr>
            <p:nvPr userDrawn="1"/>
          </p:nvSpPr>
          <p:spPr bwMode="auto">
            <a:xfrm>
              <a:off x="3360" y="1440"/>
              <a:ext cx="11" cy="27"/>
            </a:xfrm>
            <a:custGeom>
              <a:avLst/>
              <a:gdLst>
                <a:gd name="T0" fmla="*/ 9 w 11"/>
                <a:gd name="T1" fmla="*/ 22 h 27"/>
                <a:gd name="T2" fmla="*/ 11 w 11"/>
                <a:gd name="T3" fmla="*/ 18 h 27"/>
                <a:gd name="T4" fmla="*/ 11 w 11"/>
                <a:gd name="T5" fmla="*/ 4 h 27"/>
                <a:gd name="T6" fmla="*/ 5 w 11"/>
                <a:gd name="T7" fmla="*/ 0 h 27"/>
                <a:gd name="T8" fmla="*/ 3 w 11"/>
                <a:gd name="T9" fmla="*/ 4 h 27"/>
                <a:gd name="T10" fmla="*/ 0 w 11"/>
                <a:gd name="T11" fmla="*/ 19 h 27"/>
                <a:gd name="T12" fmla="*/ 2 w 11"/>
                <a:gd name="T13" fmla="*/ 27 h 27"/>
                <a:gd name="T14" fmla="*/ 9 w 11"/>
                <a:gd name="T15" fmla="*/ 22 h 27"/>
                <a:gd name="T16" fmla="*/ 9 w 11"/>
                <a:gd name="T17" fmla="*/ 22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" h="27">
                  <a:moveTo>
                    <a:pt x="9" y="22"/>
                  </a:moveTo>
                  <a:lnTo>
                    <a:pt x="11" y="18"/>
                  </a:lnTo>
                  <a:lnTo>
                    <a:pt x="11" y="4"/>
                  </a:lnTo>
                  <a:lnTo>
                    <a:pt x="5" y="0"/>
                  </a:lnTo>
                  <a:lnTo>
                    <a:pt x="3" y="4"/>
                  </a:lnTo>
                  <a:lnTo>
                    <a:pt x="0" y="19"/>
                  </a:lnTo>
                  <a:lnTo>
                    <a:pt x="2" y="27"/>
                  </a:lnTo>
                  <a:lnTo>
                    <a:pt x="9" y="22"/>
                  </a:lnTo>
                  <a:lnTo>
                    <a:pt x="9" y="22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871" name="Freeform 216"/>
            <p:cNvSpPr>
              <a:spLocks/>
            </p:cNvSpPr>
            <p:nvPr userDrawn="1"/>
          </p:nvSpPr>
          <p:spPr bwMode="auto">
            <a:xfrm>
              <a:off x="3365" y="1423"/>
              <a:ext cx="10" cy="15"/>
            </a:xfrm>
            <a:custGeom>
              <a:avLst/>
              <a:gdLst>
                <a:gd name="T0" fmla="*/ 10 w 10"/>
                <a:gd name="T1" fmla="*/ 6 h 15"/>
                <a:gd name="T2" fmla="*/ 6 w 10"/>
                <a:gd name="T3" fmla="*/ 0 h 15"/>
                <a:gd name="T4" fmla="*/ 0 w 10"/>
                <a:gd name="T5" fmla="*/ 11 h 15"/>
                <a:gd name="T6" fmla="*/ 4 w 10"/>
                <a:gd name="T7" fmla="*/ 15 h 15"/>
                <a:gd name="T8" fmla="*/ 10 w 10"/>
                <a:gd name="T9" fmla="*/ 6 h 15"/>
                <a:gd name="T10" fmla="*/ 10 w 10"/>
                <a:gd name="T11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" h="15">
                  <a:moveTo>
                    <a:pt x="10" y="6"/>
                  </a:moveTo>
                  <a:lnTo>
                    <a:pt x="6" y="0"/>
                  </a:lnTo>
                  <a:lnTo>
                    <a:pt x="0" y="11"/>
                  </a:lnTo>
                  <a:lnTo>
                    <a:pt x="4" y="15"/>
                  </a:lnTo>
                  <a:lnTo>
                    <a:pt x="10" y="6"/>
                  </a:lnTo>
                  <a:lnTo>
                    <a:pt x="10" y="6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872" name="Freeform 217"/>
            <p:cNvSpPr>
              <a:spLocks/>
            </p:cNvSpPr>
            <p:nvPr userDrawn="1"/>
          </p:nvSpPr>
          <p:spPr bwMode="auto">
            <a:xfrm>
              <a:off x="3375" y="1441"/>
              <a:ext cx="5" cy="9"/>
            </a:xfrm>
            <a:custGeom>
              <a:avLst/>
              <a:gdLst>
                <a:gd name="T0" fmla="*/ 0 w 5"/>
                <a:gd name="T1" fmla="*/ 9 h 9"/>
                <a:gd name="T2" fmla="*/ 5 w 5"/>
                <a:gd name="T3" fmla="*/ 0 h 9"/>
                <a:gd name="T4" fmla="*/ 0 w 5"/>
                <a:gd name="T5" fmla="*/ 2 h 9"/>
                <a:gd name="T6" fmla="*/ 0 w 5"/>
                <a:gd name="T7" fmla="*/ 9 h 9"/>
                <a:gd name="T8" fmla="*/ 0 w 5"/>
                <a:gd name="T9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">
                  <a:moveTo>
                    <a:pt x="0" y="9"/>
                  </a:moveTo>
                  <a:lnTo>
                    <a:pt x="5" y="0"/>
                  </a:lnTo>
                  <a:lnTo>
                    <a:pt x="0" y="2"/>
                  </a:lnTo>
                  <a:lnTo>
                    <a:pt x="0" y="9"/>
                  </a:lnTo>
                  <a:lnTo>
                    <a:pt x="0" y="9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873" name="Freeform 218"/>
            <p:cNvSpPr>
              <a:spLocks/>
            </p:cNvSpPr>
            <p:nvPr userDrawn="1"/>
          </p:nvSpPr>
          <p:spPr bwMode="auto">
            <a:xfrm>
              <a:off x="2973" y="1232"/>
              <a:ext cx="33" cy="42"/>
            </a:xfrm>
            <a:custGeom>
              <a:avLst/>
              <a:gdLst>
                <a:gd name="T0" fmla="*/ 13 w 33"/>
                <a:gd name="T1" fmla="*/ 22 h 42"/>
                <a:gd name="T2" fmla="*/ 18 w 33"/>
                <a:gd name="T3" fmla="*/ 33 h 42"/>
                <a:gd name="T4" fmla="*/ 27 w 33"/>
                <a:gd name="T5" fmla="*/ 42 h 42"/>
                <a:gd name="T6" fmla="*/ 27 w 33"/>
                <a:gd name="T7" fmla="*/ 42 h 42"/>
                <a:gd name="T8" fmla="*/ 30 w 33"/>
                <a:gd name="T9" fmla="*/ 42 h 42"/>
                <a:gd name="T10" fmla="*/ 31 w 33"/>
                <a:gd name="T11" fmla="*/ 42 h 42"/>
                <a:gd name="T12" fmla="*/ 33 w 33"/>
                <a:gd name="T13" fmla="*/ 40 h 42"/>
                <a:gd name="T14" fmla="*/ 33 w 33"/>
                <a:gd name="T15" fmla="*/ 40 h 42"/>
                <a:gd name="T16" fmla="*/ 30 w 33"/>
                <a:gd name="T17" fmla="*/ 36 h 42"/>
                <a:gd name="T18" fmla="*/ 27 w 33"/>
                <a:gd name="T19" fmla="*/ 31 h 42"/>
                <a:gd name="T20" fmla="*/ 19 w 33"/>
                <a:gd name="T21" fmla="*/ 21 h 42"/>
                <a:gd name="T22" fmla="*/ 10 w 33"/>
                <a:gd name="T23" fmla="*/ 1 h 42"/>
                <a:gd name="T24" fmla="*/ 6 w 33"/>
                <a:gd name="T25" fmla="*/ 0 h 42"/>
                <a:gd name="T26" fmla="*/ 4 w 33"/>
                <a:gd name="T27" fmla="*/ 9 h 42"/>
                <a:gd name="T28" fmla="*/ 0 w 33"/>
                <a:gd name="T29" fmla="*/ 12 h 42"/>
                <a:gd name="T30" fmla="*/ 4 w 33"/>
                <a:gd name="T31" fmla="*/ 18 h 42"/>
                <a:gd name="T32" fmla="*/ 13 w 33"/>
                <a:gd name="T33" fmla="*/ 22 h 42"/>
                <a:gd name="T34" fmla="*/ 13 w 33"/>
                <a:gd name="T35" fmla="*/ 2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3" h="42">
                  <a:moveTo>
                    <a:pt x="13" y="22"/>
                  </a:moveTo>
                  <a:lnTo>
                    <a:pt x="18" y="33"/>
                  </a:lnTo>
                  <a:lnTo>
                    <a:pt x="27" y="42"/>
                  </a:lnTo>
                  <a:lnTo>
                    <a:pt x="27" y="42"/>
                  </a:lnTo>
                  <a:lnTo>
                    <a:pt x="30" y="42"/>
                  </a:lnTo>
                  <a:lnTo>
                    <a:pt x="31" y="42"/>
                  </a:lnTo>
                  <a:lnTo>
                    <a:pt x="33" y="40"/>
                  </a:lnTo>
                  <a:lnTo>
                    <a:pt x="33" y="40"/>
                  </a:lnTo>
                  <a:lnTo>
                    <a:pt x="30" y="36"/>
                  </a:lnTo>
                  <a:lnTo>
                    <a:pt x="27" y="31"/>
                  </a:lnTo>
                  <a:lnTo>
                    <a:pt x="19" y="21"/>
                  </a:lnTo>
                  <a:lnTo>
                    <a:pt x="10" y="1"/>
                  </a:lnTo>
                  <a:lnTo>
                    <a:pt x="6" y="0"/>
                  </a:lnTo>
                  <a:lnTo>
                    <a:pt x="4" y="9"/>
                  </a:lnTo>
                  <a:lnTo>
                    <a:pt x="0" y="12"/>
                  </a:lnTo>
                  <a:lnTo>
                    <a:pt x="4" y="18"/>
                  </a:lnTo>
                  <a:lnTo>
                    <a:pt x="13" y="22"/>
                  </a:lnTo>
                  <a:lnTo>
                    <a:pt x="13" y="22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874" name="Freeform 219"/>
            <p:cNvSpPr>
              <a:spLocks/>
            </p:cNvSpPr>
            <p:nvPr userDrawn="1"/>
          </p:nvSpPr>
          <p:spPr bwMode="auto">
            <a:xfrm>
              <a:off x="2962" y="1251"/>
              <a:ext cx="18" cy="18"/>
            </a:xfrm>
            <a:custGeom>
              <a:avLst/>
              <a:gdLst>
                <a:gd name="T0" fmla="*/ 11 w 18"/>
                <a:gd name="T1" fmla="*/ 14 h 18"/>
                <a:gd name="T2" fmla="*/ 18 w 18"/>
                <a:gd name="T3" fmla="*/ 18 h 18"/>
                <a:gd name="T4" fmla="*/ 15 w 18"/>
                <a:gd name="T5" fmla="*/ 5 h 18"/>
                <a:gd name="T6" fmla="*/ 9 w 18"/>
                <a:gd name="T7" fmla="*/ 3 h 18"/>
                <a:gd name="T8" fmla="*/ 3 w 18"/>
                <a:gd name="T9" fmla="*/ 0 h 18"/>
                <a:gd name="T10" fmla="*/ 0 w 18"/>
                <a:gd name="T11" fmla="*/ 8 h 18"/>
                <a:gd name="T12" fmla="*/ 9 w 18"/>
                <a:gd name="T13" fmla="*/ 11 h 18"/>
                <a:gd name="T14" fmla="*/ 11 w 18"/>
                <a:gd name="T15" fmla="*/ 14 h 18"/>
                <a:gd name="T16" fmla="*/ 11 w 18"/>
                <a:gd name="T17" fmla="*/ 14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" h="18">
                  <a:moveTo>
                    <a:pt x="11" y="14"/>
                  </a:moveTo>
                  <a:lnTo>
                    <a:pt x="18" y="18"/>
                  </a:lnTo>
                  <a:lnTo>
                    <a:pt x="15" y="5"/>
                  </a:lnTo>
                  <a:lnTo>
                    <a:pt x="9" y="3"/>
                  </a:lnTo>
                  <a:lnTo>
                    <a:pt x="3" y="0"/>
                  </a:lnTo>
                  <a:lnTo>
                    <a:pt x="0" y="8"/>
                  </a:lnTo>
                  <a:lnTo>
                    <a:pt x="9" y="11"/>
                  </a:lnTo>
                  <a:lnTo>
                    <a:pt x="11" y="14"/>
                  </a:lnTo>
                  <a:lnTo>
                    <a:pt x="11" y="14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875" name="Freeform 220"/>
            <p:cNvSpPr>
              <a:spLocks/>
            </p:cNvSpPr>
            <p:nvPr userDrawn="1"/>
          </p:nvSpPr>
          <p:spPr bwMode="auto">
            <a:xfrm>
              <a:off x="2953" y="1254"/>
              <a:ext cx="6" cy="3"/>
            </a:xfrm>
            <a:custGeom>
              <a:avLst/>
              <a:gdLst>
                <a:gd name="T0" fmla="*/ 5 w 6"/>
                <a:gd name="T1" fmla="*/ 3 h 3"/>
                <a:gd name="T2" fmla="*/ 6 w 6"/>
                <a:gd name="T3" fmla="*/ 0 h 3"/>
                <a:gd name="T4" fmla="*/ 0 w 6"/>
                <a:gd name="T5" fmla="*/ 0 h 3"/>
                <a:gd name="T6" fmla="*/ 5 w 6"/>
                <a:gd name="T7" fmla="*/ 3 h 3"/>
                <a:gd name="T8" fmla="*/ 5 w 6"/>
                <a:gd name="T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3">
                  <a:moveTo>
                    <a:pt x="5" y="3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5" y="3"/>
                  </a:lnTo>
                  <a:lnTo>
                    <a:pt x="5" y="3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876" name="Freeform 221"/>
            <p:cNvSpPr>
              <a:spLocks/>
            </p:cNvSpPr>
            <p:nvPr userDrawn="1"/>
          </p:nvSpPr>
          <p:spPr bwMode="auto">
            <a:xfrm>
              <a:off x="2995" y="1281"/>
              <a:ext cx="18" cy="20"/>
            </a:xfrm>
            <a:custGeom>
              <a:avLst/>
              <a:gdLst>
                <a:gd name="T0" fmla="*/ 18 w 18"/>
                <a:gd name="T1" fmla="*/ 20 h 20"/>
                <a:gd name="T2" fmla="*/ 17 w 18"/>
                <a:gd name="T3" fmla="*/ 8 h 20"/>
                <a:gd name="T4" fmla="*/ 11 w 18"/>
                <a:gd name="T5" fmla="*/ 0 h 20"/>
                <a:gd name="T6" fmla="*/ 3 w 18"/>
                <a:gd name="T7" fmla="*/ 2 h 20"/>
                <a:gd name="T8" fmla="*/ 0 w 18"/>
                <a:gd name="T9" fmla="*/ 11 h 20"/>
                <a:gd name="T10" fmla="*/ 3 w 18"/>
                <a:gd name="T11" fmla="*/ 12 h 20"/>
                <a:gd name="T12" fmla="*/ 12 w 18"/>
                <a:gd name="T13" fmla="*/ 11 h 20"/>
                <a:gd name="T14" fmla="*/ 18 w 18"/>
                <a:gd name="T15" fmla="*/ 20 h 20"/>
                <a:gd name="T16" fmla="*/ 18 w 18"/>
                <a:gd name="T17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" h="20">
                  <a:moveTo>
                    <a:pt x="18" y="20"/>
                  </a:moveTo>
                  <a:lnTo>
                    <a:pt x="17" y="8"/>
                  </a:lnTo>
                  <a:lnTo>
                    <a:pt x="11" y="0"/>
                  </a:lnTo>
                  <a:lnTo>
                    <a:pt x="3" y="2"/>
                  </a:lnTo>
                  <a:lnTo>
                    <a:pt x="0" y="11"/>
                  </a:lnTo>
                  <a:lnTo>
                    <a:pt x="3" y="12"/>
                  </a:lnTo>
                  <a:lnTo>
                    <a:pt x="12" y="11"/>
                  </a:lnTo>
                  <a:lnTo>
                    <a:pt x="18" y="20"/>
                  </a:lnTo>
                  <a:lnTo>
                    <a:pt x="18" y="20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877" name="Freeform 222"/>
            <p:cNvSpPr>
              <a:spLocks/>
            </p:cNvSpPr>
            <p:nvPr userDrawn="1"/>
          </p:nvSpPr>
          <p:spPr bwMode="auto">
            <a:xfrm>
              <a:off x="2991" y="1315"/>
              <a:ext cx="19" cy="34"/>
            </a:xfrm>
            <a:custGeom>
              <a:avLst/>
              <a:gdLst>
                <a:gd name="T0" fmla="*/ 0 w 19"/>
                <a:gd name="T1" fmla="*/ 1 h 34"/>
                <a:gd name="T2" fmla="*/ 4 w 19"/>
                <a:gd name="T3" fmla="*/ 13 h 34"/>
                <a:gd name="T4" fmla="*/ 6 w 19"/>
                <a:gd name="T5" fmla="*/ 22 h 34"/>
                <a:gd name="T6" fmla="*/ 13 w 19"/>
                <a:gd name="T7" fmla="*/ 34 h 34"/>
                <a:gd name="T8" fmla="*/ 19 w 19"/>
                <a:gd name="T9" fmla="*/ 25 h 34"/>
                <a:gd name="T10" fmla="*/ 15 w 19"/>
                <a:gd name="T11" fmla="*/ 16 h 34"/>
                <a:gd name="T12" fmla="*/ 16 w 19"/>
                <a:gd name="T13" fmla="*/ 13 h 34"/>
                <a:gd name="T14" fmla="*/ 13 w 19"/>
                <a:gd name="T15" fmla="*/ 10 h 34"/>
                <a:gd name="T16" fmla="*/ 9 w 19"/>
                <a:gd name="T17" fmla="*/ 10 h 34"/>
                <a:gd name="T18" fmla="*/ 1 w 19"/>
                <a:gd name="T19" fmla="*/ 0 h 34"/>
                <a:gd name="T20" fmla="*/ 0 w 19"/>
                <a:gd name="T21" fmla="*/ 1 h 34"/>
                <a:gd name="T22" fmla="*/ 0 w 19"/>
                <a:gd name="T23" fmla="*/ 1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" h="34">
                  <a:moveTo>
                    <a:pt x="0" y="1"/>
                  </a:moveTo>
                  <a:lnTo>
                    <a:pt x="4" y="13"/>
                  </a:lnTo>
                  <a:lnTo>
                    <a:pt x="6" y="22"/>
                  </a:lnTo>
                  <a:lnTo>
                    <a:pt x="13" y="34"/>
                  </a:lnTo>
                  <a:lnTo>
                    <a:pt x="19" y="25"/>
                  </a:lnTo>
                  <a:lnTo>
                    <a:pt x="15" y="16"/>
                  </a:lnTo>
                  <a:lnTo>
                    <a:pt x="16" y="13"/>
                  </a:lnTo>
                  <a:lnTo>
                    <a:pt x="13" y="10"/>
                  </a:lnTo>
                  <a:lnTo>
                    <a:pt x="9" y="10"/>
                  </a:lnTo>
                  <a:lnTo>
                    <a:pt x="1" y="0"/>
                  </a:lnTo>
                  <a:lnTo>
                    <a:pt x="0" y="1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878" name="Freeform 223"/>
            <p:cNvSpPr>
              <a:spLocks/>
            </p:cNvSpPr>
            <p:nvPr userDrawn="1"/>
          </p:nvSpPr>
          <p:spPr bwMode="auto">
            <a:xfrm>
              <a:off x="2986" y="1227"/>
              <a:ext cx="27" cy="38"/>
            </a:xfrm>
            <a:custGeom>
              <a:avLst/>
              <a:gdLst>
                <a:gd name="T0" fmla="*/ 17 w 27"/>
                <a:gd name="T1" fmla="*/ 29 h 38"/>
                <a:gd name="T2" fmla="*/ 23 w 27"/>
                <a:gd name="T3" fmla="*/ 38 h 38"/>
                <a:gd name="T4" fmla="*/ 26 w 27"/>
                <a:gd name="T5" fmla="*/ 35 h 38"/>
                <a:gd name="T6" fmla="*/ 27 w 27"/>
                <a:gd name="T7" fmla="*/ 30 h 38"/>
                <a:gd name="T8" fmla="*/ 21 w 27"/>
                <a:gd name="T9" fmla="*/ 23 h 38"/>
                <a:gd name="T10" fmla="*/ 27 w 27"/>
                <a:gd name="T11" fmla="*/ 26 h 38"/>
                <a:gd name="T12" fmla="*/ 26 w 27"/>
                <a:gd name="T13" fmla="*/ 18 h 38"/>
                <a:gd name="T14" fmla="*/ 17 w 27"/>
                <a:gd name="T15" fmla="*/ 15 h 38"/>
                <a:gd name="T16" fmla="*/ 11 w 27"/>
                <a:gd name="T17" fmla="*/ 5 h 38"/>
                <a:gd name="T18" fmla="*/ 8 w 27"/>
                <a:gd name="T19" fmla="*/ 5 h 38"/>
                <a:gd name="T20" fmla="*/ 6 w 27"/>
                <a:gd name="T21" fmla="*/ 0 h 38"/>
                <a:gd name="T22" fmla="*/ 0 w 27"/>
                <a:gd name="T23" fmla="*/ 5 h 38"/>
                <a:gd name="T24" fmla="*/ 9 w 27"/>
                <a:gd name="T25" fmla="*/ 21 h 38"/>
                <a:gd name="T26" fmla="*/ 17 w 27"/>
                <a:gd name="T27" fmla="*/ 29 h 38"/>
                <a:gd name="T28" fmla="*/ 17 w 27"/>
                <a:gd name="T29" fmla="*/ 2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7" h="38">
                  <a:moveTo>
                    <a:pt x="17" y="29"/>
                  </a:moveTo>
                  <a:lnTo>
                    <a:pt x="23" y="38"/>
                  </a:lnTo>
                  <a:lnTo>
                    <a:pt x="26" y="35"/>
                  </a:lnTo>
                  <a:lnTo>
                    <a:pt x="27" y="30"/>
                  </a:lnTo>
                  <a:lnTo>
                    <a:pt x="21" y="23"/>
                  </a:lnTo>
                  <a:lnTo>
                    <a:pt x="27" y="26"/>
                  </a:lnTo>
                  <a:lnTo>
                    <a:pt x="26" y="18"/>
                  </a:lnTo>
                  <a:lnTo>
                    <a:pt x="17" y="15"/>
                  </a:lnTo>
                  <a:lnTo>
                    <a:pt x="11" y="5"/>
                  </a:lnTo>
                  <a:lnTo>
                    <a:pt x="8" y="5"/>
                  </a:lnTo>
                  <a:lnTo>
                    <a:pt x="6" y="0"/>
                  </a:lnTo>
                  <a:lnTo>
                    <a:pt x="0" y="5"/>
                  </a:lnTo>
                  <a:lnTo>
                    <a:pt x="9" y="21"/>
                  </a:lnTo>
                  <a:lnTo>
                    <a:pt x="17" y="29"/>
                  </a:lnTo>
                  <a:lnTo>
                    <a:pt x="17" y="29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879" name="Freeform 224"/>
            <p:cNvSpPr>
              <a:spLocks/>
            </p:cNvSpPr>
            <p:nvPr userDrawn="1"/>
          </p:nvSpPr>
          <p:spPr bwMode="auto">
            <a:xfrm>
              <a:off x="3001" y="1229"/>
              <a:ext cx="11" cy="9"/>
            </a:xfrm>
            <a:custGeom>
              <a:avLst/>
              <a:gdLst>
                <a:gd name="T0" fmla="*/ 11 w 11"/>
                <a:gd name="T1" fmla="*/ 6 h 9"/>
                <a:gd name="T2" fmla="*/ 9 w 11"/>
                <a:gd name="T3" fmla="*/ 3 h 9"/>
                <a:gd name="T4" fmla="*/ 0 w 11"/>
                <a:gd name="T5" fmla="*/ 0 h 9"/>
                <a:gd name="T6" fmla="*/ 6 w 11"/>
                <a:gd name="T7" fmla="*/ 9 h 9"/>
                <a:gd name="T8" fmla="*/ 11 w 11"/>
                <a:gd name="T9" fmla="*/ 6 h 9"/>
                <a:gd name="T10" fmla="*/ 11 w 11"/>
                <a:gd name="T11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" h="9">
                  <a:moveTo>
                    <a:pt x="11" y="6"/>
                  </a:moveTo>
                  <a:lnTo>
                    <a:pt x="9" y="3"/>
                  </a:lnTo>
                  <a:lnTo>
                    <a:pt x="0" y="0"/>
                  </a:lnTo>
                  <a:lnTo>
                    <a:pt x="6" y="9"/>
                  </a:lnTo>
                  <a:lnTo>
                    <a:pt x="11" y="6"/>
                  </a:lnTo>
                  <a:lnTo>
                    <a:pt x="11" y="6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880" name="Freeform 225"/>
            <p:cNvSpPr>
              <a:spLocks/>
            </p:cNvSpPr>
            <p:nvPr userDrawn="1"/>
          </p:nvSpPr>
          <p:spPr bwMode="auto">
            <a:xfrm>
              <a:off x="3012" y="1236"/>
              <a:ext cx="9" cy="12"/>
            </a:xfrm>
            <a:custGeom>
              <a:avLst/>
              <a:gdLst>
                <a:gd name="T0" fmla="*/ 9 w 9"/>
                <a:gd name="T1" fmla="*/ 9 h 12"/>
                <a:gd name="T2" fmla="*/ 1 w 9"/>
                <a:gd name="T3" fmla="*/ 0 h 12"/>
                <a:gd name="T4" fmla="*/ 0 w 9"/>
                <a:gd name="T5" fmla="*/ 5 h 12"/>
                <a:gd name="T6" fmla="*/ 6 w 9"/>
                <a:gd name="T7" fmla="*/ 12 h 12"/>
                <a:gd name="T8" fmla="*/ 9 w 9"/>
                <a:gd name="T9" fmla="*/ 9 h 12"/>
                <a:gd name="T10" fmla="*/ 9 w 9"/>
                <a:gd name="T11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12">
                  <a:moveTo>
                    <a:pt x="9" y="9"/>
                  </a:moveTo>
                  <a:lnTo>
                    <a:pt x="1" y="0"/>
                  </a:lnTo>
                  <a:lnTo>
                    <a:pt x="0" y="5"/>
                  </a:lnTo>
                  <a:lnTo>
                    <a:pt x="6" y="12"/>
                  </a:lnTo>
                  <a:lnTo>
                    <a:pt x="9" y="9"/>
                  </a:lnTo>
                  <a:lnTo>
                    <a:pt x="9" y="9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881" name="Freeform 226"/>
            <p:cNvSpPr>
              <a:spLocks/>
            </p:cNvSpPr>
            <p:nvPr userDrawn="1"/>
          </p:nvSpPr>
          <p:spPr bwMode="auto">
            <a:xfrm>
              <a:off x="3016" y="1227"/>
              <a:ext cx="9" cy="9"/>
            </a:xfrm>
            <a:custGeom>
              <a:avLst/>
              <a:gdLst>
                <a:gd name="T0" fmla="*/ 9 w 9"/>
                <a:gd name="T1" fmla="*/ 8 h 9"/>
                <a:gd name="T2" fmla="*/ 8 w 9"/>
                <a:gd name="T3" fmla="*/ 3 h 9"/>
                <a:gd name="T4" fmla="*/ 3 w 9"/>
                <a:gd name="T5" fmla="*/ 0 h 9"/>
                <a:gd name="T6" fmla="*/ 0 w 9"/>
                <a:gd name="T7" fmla="*/ 0 h 9"/>
                <a:gd name="T8" fmla="*/ 5 w 9"/>
                <a:gd name="T9" fmla="*/ 9 h 9"/>
                <a:gd name="T10" fmla="*/ 9 w 9"/>
                <a:gd name="T11" fmla="*/ 8 h 9"/>
                <a:gd name="T12" fmla="*/ 9 w 9"/>
                <a:gd name="T13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9">
                  <a:moveTo>
                    <a:pt x="9" y="8"/>
                  </a:moveTo>
                  <a:lnTo>
                    <a:pt x="8" y="3"/>
                  </a:lnTo>
                  <a:lnTo>
                    <a:pt x="3" y="0"/>
                  </a:lnTo>
                  <a:lnTo>
                    <a:pt x="0" y="0"/>
                  </a:lnTo>
                  <a:lnTo>
                    <a:pt x="5" y="9"/>
                  </a:lnTo>
                  <a:lnTo>
                    <a:pt x="9" y="8"/>
                  </a:lnTo>
                  <a:lnTo>
                    <a:pt x="9" y="8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882" name="Freeform 227"/>
            <p:cNvSpPr>
              <a:spLocks/>
            </p:cNvSpPr>
            <p:nvPr userDrawn="1"/>
          </p:nvSpPr>
          <p:spPr bwMode="auto">
            <a:xfrm>
              <a:off x="3048" y="1698"/>
              <a:ext cx="511" cy="943"/>
            </a:xfrm>
            <a:custGeom>
              <a:avLst/>
              <a:gdLst>
                <a:gd name="T0" fmla="*/ 50 w 511"/>
                <a:gd name="T1" fmla="*/ 167 h 943"/>
                <a:gd name="T2" fmla="*/ 23 w 511"/>
                <a:gd name="T3" fmla="*/ 208 h 943"/>
                <a:gd name="T4" fmla="*/ 17 w 511"/>
                <a:gd name="T5" fmla="*/ 231 h 943"/>
                <a:gd name="T6" fmla="*/ 53 w 511"/>
                <a:gd name="T7" fmla="*/ 235 h 943"/>
                <a:gd name="T8" fmla="*/ 54 w 511"/>
                <a:gd name="T9" fmla="*/ 264 h 943"/>
                <a:gd name="T10" fmla="*/ 41 w 511"/>
                <a:gd name="T11" fmla="*/ 314 h 943"/>
                <a:gd name="T12" fmla="*/ 27 w 511"/>
                <a:gd name="T13" fmla="*/ 392 h 943"/>
                <a:gd name="T14" fmla="*/ 50 w 511"/>
                <a:gd name="T15" fmla="*/ 312 h 943"/>
                <a:gd name="T16" fmla="*/ 74 w 511"/>
                <a:gd name="T17" fmla="*/ 318 h 943"/>
                <a:gd name="T18" fmla="*/ 92 w 511"/>
                <a:gd name="T19" fmla="*/ 315 h 943"/>
                <a:gd name="T20" fmla="*/ 77 w 511"/>
                <a:gd name="T21" fmla="*/ 418 h 943"/>
                <a:gd name="T22" fmla="*/ 92 w 511"/>
                <a:gd name="T23" fmla="*/ 465 h 943"/>
                <a:gd name="T24" fmla="*/ 118 w 511"/>
                <a:gd name="T25" fmla="*/ 437 h 943"/>
                <a:gd name="T26" fmla="*/ 177 w 511"/>
                <a:gd name="T27" fmla="*/ 416 h 943"/>
                <a:gd name="T28" fmla="*/ 180 w 511"/>
                <a:gd name="T29" fmla="*/ 445 h 943"/>
                <a:gd name="T30" fmla="*/ 199 w 511"/>
                <a:gd name="T31" fmla="*/ 516 h 943"/>
                <a:gd name="T32" fmla="*/ 219 w 511"/>
                <a:gd name="T33" fmla="*/ 537 h 943"/>
                <a:gd name="T34" fmla="*/ 222 w 511"/>
                <a:gd name="T35" fmla="*/ 600 h 943"/>
                <a:gd name="T36" fmla="*/ 175 w 511"/>
                <a:gd name="T37" fmla="*/ 609 h 943"/>
                <a:gd name="T38" fmla="*/ 88 w 511"/>
                <a:gd name="T39" fmla="*/ 662 h 943"/>
                <a:gd name="T40" fmla="*/ 134 w 511"/>
                <a:gd name="T41" fmla="*/ 652 h 943"/>
                <a:gd name="T42" fmla="*/ 92 w 511"/>
                <a:gd name="T43" fmla="*/ 741 h 943"/>
                <a:gd name="T44" fmla="*/ 75 w 511"/>
                <a:gd name="T45" fmla="*/ 774 h 943"/>
                <a:gd name="T46" fmla="*/ 127 w 511"/>
                <a:gd name="T47" fmla="*/ 786 h 943"/>
                <a:gd name="T48" fmla="*/ 235 w 511"/>
                <a:gd name="T49" fmla="*/ 772 h 943"/>
                <a:gd name="T50" fmla="*/ 160 w 511"/>
                <a:gd name="T51" fmla="*/ 818 h 943"/>
                <a:gd name="T52" fmla="*/ 89 w 511"/>
                <a:gd name="T53" fmla="*/ 879 h 943"/>
                <a:gd name="T54" fmla="*/ 71 w 511"/>
                <a:gd name="T55" fmla="*/ 940 h 943"/>
                <a:gd name="T56" fmla="*/ 164 w 511"/>
                <a:gd name="T57" fmla="*/ 916 h 943"/>
                <a:gd name="T58" fmla="*/ 256 w 511"/>
                <a:gd name="T59" fmla="*/ 882 h 943"/>
                <a:gd name="T60" fmla="*/ 309 w 511"/>
                <a:gd name="T61" fmla="*/ 861 h 943"/>
                <a:gd name="T62" fmla="*/ 342 w 511"/>
                <a:gd name="T63" fmla="*/ 858 h 943"/>
                <a:gd name="T64" fmla="*/ 484 w 511"/>
                <a:gd name="T65" fmla="*/ 830 h 943"/>
                <a:gd name="T66" fmla="*/ 434 w 511"/>
                <a:gd name="T67" fmla="*/ 810 h 943"/>
                <a:gd name="T68" fmla="*/ 445 w 511"/>
                <a:gd name="T69" fmla="*/ 763 h 943"/>
                <a:gd name="T70" fmla="*/ 478 w 511"/>
                <a:gd name="T71" fmla="*/ 738 h 943"/>
                <a:gd name="T72" fmla="*/ 445 w 511"/>
                <a:gd name="T73" fmla="*/ 637 h 943"/>
                <a:gd name="T74" fmla="*/ 413 w 511"/>
                <a:gd name="T75" fmla="*/ 626 h 943"/>
                <a:gd name="T76" fmla="*/ 364 w 511"/>
                <a:gd name="T77" fmla="*/ 564 h 943"/>
                <a:gd name="T78" fmla="*/ 406 w 511"/>
                <a:gd name="T79" fmla="*/ 567 h 943"/>
                <a:gd name="T80" fmla="*/ 341 w 511"/>
                <a:gd name="T81" fmla="*/ 468 h 943"/>
                <a:gd name="T82" fmla="*/ 315 w 511"/>
                <a:gd name="T83" fmla="*/ 440 h 943"/>
                <a:gd name="T84" fmla="*/ 290 w 511"/>
                <a:gd name="T85" fmla="*/ 354 h 943"/>
                <a:gd name="T86" fmla="*/ 225 w 511"/>
                <a:gd name="T87" fmla="*/ 305 h 943"/>
                <a:gd name="T88" fmla="*/ 148 w 511"/>
                <a:gd name="T89" fmla="*/ 305 h 943"/>
                <a:gd name="T90" fmla="*/ 225 w 511"/>
                <a:gd name="T91" fmla="*/ 283 h 943"/>
                <a:gd name="T92" fmla="*/ 204 w 511"/>
                <a:gd name="T93" fmla="*/ 258 h 943"/>
                <a:gd name="T94" fmla="*/ 262 w 511"/>
                <a:gd name="T95" fmla="*/ 170 h 943"/>
                <a:gd name="T96" fmla="*/ 204 w 511"/>
                <a:gd name="T97" fmla="*/ 119 h 943"/>
                <a:gd name="T98" fmla="*/ 137 w 511"/>
                <a:gd name="T99" fmla="*/ 133 h 943"/>
                <a:gd name="T100" fmla="*/ 130 w 511"/>
                <a:gd name="T101" fmla="*/ 116 h 943"/>
                <a:gd name="T102" fmla="*/ 130 w 511"/>
                <a:gd name="T103" fmla="*/ 101 h 943"/>
                <a:gd name="T104" fmla="*/ 183 w 511"/>
                <a:gd name="T105" fmla="*/ 44 h 943"/>
                <a:gd name="T106" fmla="*/ 142 w 511"/>
                <a:gd name="T107" fmla="*/ 9 h 943"/>
                <a:gd name="T108" fmla="*/ 77 w 511"/>
                <a:gd name="T109" fmla="*/ 9 h 943"/>
                <a:gd name="T110" fmla="*/ 60 w 511"/>
                <a:gd name="T111" fmla="*/ 53 h 943"/>
                <a:gd name="T112" fmla="*/ 60 w 511"/>
                <a:gd name="T113" fmla="*/ 95 h 943"/>
                <a:gd name="T114" fmla="*/ 24 w 511"/>
                <a:gd name="T115" fmla="*/ 121 h 9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11" h="943">
                  <a:moveTo>
                    <a:pt x="26" y="134"/>
                  </a:moveTo>
                  <a:lnTo>
                    <a:pt x="20" y="137"/>
                  </a:lnTo>
                  <a:lnTo>
                    <a:pt x="23" y="151"/>
                  </a:lnTo>
                  <a:lnTo>
                    <a:pt x="32" y="163"/>
                  </a:lnTo>
                  <a:lnTo>
                    <a:pt x="41" y="152"/>
                  </a:lnTo>
                  <a:lnTo>
                    <a:pt x="41" y="158"/>
                  </a:lnTo>
                  <a:lnTo>
                    <a:pt x="54" y="152"/>
                  </a:lnTo>
                  <a:lnTo>
                    <a:pt x="39" y="163"/>
                  </a:lnTo>
                  <a:lnTo>
                    <a:pt x="50" y="167"/>
                  </a:lnTo>
                  <a:lnTo>
                    <a:pt x="50" y="170"/>
                  </a:lnTo>
                  <a:lnTo>
                    <a:pt x="38" y="173"/>
                  </a:lnTo>
                  <a:lnTo>
                    <a:pt x="33" y="178"/>
                  </a:lnTo>
                  <a:lnTo>
                    <a:pt x="44" y="190"/>
                  </a:lnTo>
                  <a:lnTo>
                    <a:pt x="35" y="185"/>
                  </a:lnTo>
                  <a:lnTo>
                    <a:pt x="26" y="191"/>
                  </a:lnTo>
                  <a:lnTo>
                    <a:pt x="38" y="197"/>
                  </a:lnTo>
                  <a:lnTo>
                    <a:pt x="24" y="199"/>
                  </a:lnTo>
                  <a:lnTo>
                    <a:pt x="23" y="208"/>
                  </a:lnTo>
                  <a:lnTo>
                    <a:pt x="29" y="217"/>
                  </a:lnTo>
                  <a:lnTo>
                    <a:pt x="27" y="225"/>
                  </a:lnTo>
                  <a:lnTo>
                    <a:pt x="21" y="226"/>
                  </a:lnTo>
                  <a:lnTo>
                    <a:pt x="15" y="223"/>
                  </a:lnTo>
                  <a:lnTo>
                    <a:pt x="2" y="226"/>
                  </a:lnTo>
                  <a:lnTo>
                    <a:pt x="0" y="231"/>
                  </a:lnTo>
                  <a:lnTo>
                    <a:pt x="11" y="237"/>
                  </a:lnTo>
                  <a:lnTo>
                    <a:pt x="17" y="234"/>
                  </a:lnTo>
                  <a:lnTo>
                    <a:pt x="17" y="231"/>
                  </a:lnTo>
                  <a:lnTo>
                    <a:pt x="29" y="232"/>
                  </a:lnTo>
                  <a:lnTo>
                    <a:pt x="18" y="235"/>
                  </a:lnTo>
                  <a:lnTo>
                    <a:pt x="17" y="244"/>
                  </a:lnTo>
                  <a:lnTo>
                    <a:pt x="26" y="249"/>
                  </a:lnTo>
                  <a:lnTo>
                    <a:pt x="32" y="256"/>
                  </a:lnTo>
                  <a:lnTo>
                    <a:pt x="39" y="256"/>
                  </a:lnTo>
                  <a:lnTo>
                    <a:pt x="44" y="252"/>
                  </a:lnTo>
                  <a:lnTo>
                    <a:pt x="53" y="244"/>
                  </a:lnTo>
                  <a:lnTo>
                    <a:pt x="53" y="235"/>
                  </a:lnTo>
                  <a:lnTo>
                    <a:pt x="60" y="229"/>
                  </a:lnTo>
                  <a:lnTo>
                    <a:pt x="68" y="220"/>
                  </a:lnTo>
                  <a:lnTo>
                    <a:pt x="88" y="196"/>
                  </a:lnTo>
                  <a:lnTo>
                    <a:pt x="62" y="229"/>
                  </a:lnTo>
                  <a:lnTo>
                    <a:pt x="65" y="237"/>
                  </a:lnTo>
                  <a:lnTo>
                    <a:pt x="62" y="243"/>
                  </a:lnTo>
                  <a:lnTo>
                    <a:pt x="63" y="247"/>
                  </a:lnTo>
                  <a:lnTo>
                    <a:pt x="53" y="256"/>
                  </a:lnTo>
                  <a:lnTo>
                    <a:pt x="54" y="264"/>
                  </a:lnTo>
                  <a:lnTo>
                    <a:pt x="50" y="262"/>
                  </a:lnTo>
                  <a:lnTo>
                    <a:pt x="51" y="270"/>
                  </a:lnTo>
                  <a:lnTo>
                    <a:pt x="41" y="271"/>
                  </a:lnTo>
                  <a:lnTo>
                    <a:pt x="41" y="279"/>
                  </a:lnTo>
                  <a:lnTo>
                    <a:pt x="48" y="288"/>
                  </a:lnTo>
                  <a:lnTo>
                    <a:pt x="45" y="296"/>
                  </a:lnTo>
                  <a:lnTo>
                    <a:pt x="39" y="305"/>
                  </a:lnTo>
                  <a:lnTo>
                    <a:pt x="35" y="315"/>
                  </a:lnTo>
                  <a:lnTo>
                    <a:pt x="41" y="314"/>
                  </a:lnTo>
                  <a:lnTo>
                    <a:pt x="38" y="327"/>
                  </a:lnTo>
                  <a:lnTo>
                    <a:pt x="33" y="333"/>
                  </a:lnTo>
                  <a:lnTo>
                    <a:pt x="35" y="338"/>
                  </a:lnTo>
                  <a:lnTo>
                    <a:pt x="42" y="336"/>
                  </a:lnTo>
                  <a:lnTo>
                    <a:pt x="42" y="341"/>
                  </a:lnTo>
                  <a:lnTo>
                    <a:pt x="35" y="357"/>
                  </a:lnTo>
                  <a:lnTo>
                    <a:pt x="29" y="372"/>
                  </a:lnTo>
                  <a:lnTo>
                    <a:pt x="24" y="383"/>
                  </a:lnTo>
                  <a:lnTo>
                    <a:pt x="27" y="392"/>
                  </a:lnTo>
                  <a:lnTo>
                    <a:pt x="35" y="392"/>
                  </a:lnTo>
                  <a:lnTo>
                    <a:pt x="41" y="389"/>
                  </a:lnTo>
                  <a:lnTo>
                    <a:pt x="45" y="376"/>
                  </a:lnTo>
                  <a:lnTo>
                    <a:pt x="48" y="363"/>
                  </a:lnTo>
                  <a:lnTo>
                    <a:pt x="51" y="344"/>
                  </a:lnTo>
                  <a:lnTo>
                    <a:pt x="57" y="336"/>
                  </a:lnTo>
                  <a:lnTo>
                    <a:pt x="59" y="326"/>
                  </a:lnTo>
                  <a:lnTo>
                    <a:pt x="54" y="320"/>
                  </a:lnTo>
                  <a:lnTo>
                    <a:pt x="50" y="312"/>
                  </a:lnTo>
                  <a:lnTo>
                    <a:pt x="53" y="302"/>
                  </a:lnTo>
                  <a:lnTo>
                    <a:pt x="56" y="305"/>
                  </a:lnTo>
                  <a:lnTo>
                    <a:pt x="72" y="279"/>
                  </a:lnTo>
                  <a:lnTo>
                    <a:pt x="72" y="286"/>
                  </a:lnTo>
                  <a:lnTo>
                    <a:pt x="62" y="309"/>
                  </a:lnTo>
                  <a:lnTo>
                    <a:pt x="62" y="315"/>
                  </a:lnTo>
                  <a:lnTo>
                    <a:pt x="66" y="321"/>
                  </a:lnTo>
                  <a:lnTo>
                    <a:pt x="69" y="317"/>
                  </a:lnTo>
                  <a:lnTo>
                    <a:pt x="74" y="318"/>
                  </a:lnTo>
                  <a:lnTo>
                    <a:pt x="82" y="315"/>
                  </a:lnTo>
                  <a:lnTo>
                    <a:pt x="83" y="308"/>
                  </a:lnTo>
                  <a:lnTo>
                    <a:pt x="82" y="293"/>
                  </a:lnTo>
                  <a:lnTo>
                    <a:pt x="89" y="311"/>
                  </a:lnTo>
                  <a:lnTo>
                    <a:pt x="106" y="312"/>
                  </a:lnTo>
                  <a:lnTo>
                    <a:pt x="122" y="323"/>
                  </a:lnTo>
                  <a:lnTo>
                    <a:pt x="104" y="315"/>
                  </a:lnTo>
                  <a:lnTo>
                    <a:pt x="98" y="318"/>
                  </a:lnTo>
                  <a:lnTo>
                    <a:pt x="92" y="315"/>
                  </a:lnTo>
                  <a:lnTo>
                    <a:pt x="83" y="330"/>
                  </a:lnTo>
                  <a:lnTo>
                    <a:pt x="83" y="341"/>
                  </a:lnTo>
                  <a:lnTo>
                    <a:pt x="89" y="353"/>
                  </a:lnTo>
                  <a:lnTo>
                    <a:pt x="89" y="359"/>
                  </a:lnTo>
                  <a:lnTo>
                    <a:pt x="98" y="363"/>
                  </a:lnTo>
                  <a:lnTo>
                    <a:pt x="95" y="374"/>
                  </a:lnTo>
                  <a:lnTo>
                    <a:pt x="91" y="379"/>
                  </a:lnTo>
                  <a:lnTo>
                    <a:pt x="80" y="406"/>
                  </a:lnTo>
                  <a:lnTo>
                    <a:pt x="77" y="418"/>
                  </a:lnTo>
                  <a:lnTo>
                    <a:pt x="80" y="433"/>
                  </a:lnTo>
                  <a:lnTo>
                    <a:pt x="78" y="434"/>
                  </a:lnTo>
                  <a:lnTo>
                    <a:pt x="74" y="425"/>
                  </a:lnTo>
                  <a:lnTo>
                    <a:pt x="69" y="424"/>
                  </a:lnTo>
                  <a:lnTo>
                    <a:pt x="65" y="431"/>
                  </a:lnTo>
                  <a:lnTo>
                    <a:pt x="66" y="439"/>
                  </a:lnTo>
                  <a:lnTo>
                    <a:pt x="77" y="445"/>
                  </a:lnTo>
                  <a:lnTo>
                    <a:pt x="83" y="458"/>
                  </a:lnTo>
                  <a:lnTo>
                    <a:pt x="92" y="465"/>
                  </a:lnTo>
                  <a:lnTo>
                    <a:pt x="92" y="458"/>
                  </a:lnTo>
                  <a:lnTo>
                    <a:pt x="85" y="454"/>
                  </a:lnTo>
                  <a:lnTo>
                    <a:pt x="83" y="442"/>
                  </a:lnTo>
                  <a:lnTo>
                    <a:pt x="97" y="437"/>
                  </a:lnTo>
                  <a:lnTo>
                    <a:pt x="104" y="454"/>
                  </a:lnTo>
                  <a:lnTo>
                    <a:pt x="110" y="457"/>
                  </a:lnTo>
                  <a:lnTo>
                    <a:pt x="119" y="457"/>
                  </a:lnTo>
                  <a:lnTo>
                    <a:pt x="125" y="449"/>
                  </a:lnTo>
                  <a:lnTo>
                    <a:pt x="118" y="437"/>
                  </a:lnTo>
                  <a:lnTo>
                    <a:pt x="122" y="431"/>
                  </a:lnTo>
                  <a:lnTo>
                    <a:pt x="124" y="437"/>
                  </a:lnTo>
                  <a:lnTo>
                    <a:pt x="131" y="445"/>
                  </a:lnTo>
                  <a:lnTo>
                    <a:pt x="145" y="440"/>
                  </a:lnTo>
                  <a:lnTo>
                    <a:pt x="151" y="433"/>
                  </a:lnTo>
                  <a:lnTo>
                    <a:pt x="152" y="437"/>
                  </a:lnTo>
                  <a:lnTo>
                    <a:pt x="166" y="436"/>
                  </a:lnTo>
                  <a:lnTo>
                    <a:pt x="172" y="427"/>
                  </a:lnTo>
                  <a:lnTo>
                    <a:pt x="177" y="416"/>
                  </a:lnTo>
                  <a:lnTo>
                    <a:pt x="180" y="422"/>
                  </a:lnTo>
                  <a:lnTo>
                    <a:pt x="190" y="424"/>
                  </a:lnTo>
                  <a:lnTo>
                    <a:pt x="198" y="425"/>
                  </a:lnTo>
                  <a:lnTo>
                    <a:pt x="204" y="430"/>
                  </a:lnTo>
                  <a:lnTo>
                    <a:pt x="210" y="427"/>
                  </a:lnTo>
                  <a:lnTo>
                    <a:pt x="205" y="431"/>
                  </a:lnTo>
                  <a:lnTo>
                    <a:pt x="192" y="431"/>
                  </a:lnTo>
                  <a:lnTo>
                    <a:pt x="184" y="436"/>
                  </a:lnTo>
                  <a:lnTo>
                    <a:pt x="180" y="445"/>
                  </a:lnTo>
                  <a:lnTo>
                    <a:pt x="174" y="454"/>
                  </a:lnTo>
                  <a:lnTo>
                    <a:pt x="167" y="475"/>
                  </a:lnTo>
                  <a:lnTo>
                    <a:pt x="174" y="496"/>
                  </a:lnTo>
                  <a:lnTo>
                    <a:pt x="178" y="504"/>
                  </a:lnTo>
                  <a:lnTo>
                    <a:pt x="184" y="507"/>
                  </a:lnTo>
                  <a:lnTo>
                    <a:pt x="192" y="501"/>
                  </a:lnTo>
                  <a:lnTo>
                    <a:pt x="190" y="510"/>
                  </a:lnTo>
                  <a:lnTo>
                    <a:pt x="196" y="520"/>
                  </a:lnTo>
                  <a:lnTo>
                    <a:pt x="199" y="516"/>
                  </a:lnTo>
                  <a:lnTo>
                    <a:pt x="204" y="510"/>
                  </a:lnTo>
                  <a:lnTo>
                    <a:pt x="205" y="513"/>
                  </a:lnTo>
                  <a:lnTo>
                    <a:pt x="211" y="510"/>
                  </a:lnTo>
                  <a:lnTo>
                    <a:pt x="214" y="504"/>
                  </a:lnTo>
                  <a:lnTo>
                    <a:pt x="217" y="508"/>
                  </a:lnTo>
                  <a:lnTo>
                    <a:pt x="210" y="516"/>
                  </a:lnTo>
                  <a:lnTo>
                    <a:pt x="211" y="520"/>
                  </a:lnTo>
                  <a:lnTo>
                    <a:pt x="220" y="531"/>
                  </a:lnTo>
                  <a:lnTo>
                    <a:pt x="219" y="537"/>
                  </a:lnTo>
                  <a:lnTo>
                    <a:pt x="213" y="537"/>
                  </a:lnTo>
                  <a:lnTo>
                    <a:pt x="207" y="543"/>
                  </a:lnTo>
                  <a:lnTo>
                    <a:pt x="208" y="557"/>
                  </a:lnTo>
                  <a:lnTo>
                    <a:pt x="217" y="557"/>
                  </a:lnTo>
                  <a:lnTo>
                    <a:pt x="210" y="560"/>
                  </a:lnTo>
                  <a:lnTo>
                    <a:pt x="204" y="573"/>
                  </a:lnTo>
                  <a:lnTo>
                    <a:pt x="205" y="585"/>
                  </a:lnTo>
                  <a:lnTo>
                    <a:pt x="211" y="596"/>
                  </a:lnTo>
                  <a:lnTo>
                    <a:pt x="222" y="600"/>
                  </a:lnTo>
                  <a:lnTo>
                    <a:pt x="216" y="605"/>
                  </a:lnTo>
                  <a:lnTo>
                    <a:pt x="207" y="600"/>
                  </a:lnTo>
                  <a:lnTo>
                    <a:pt x="205" y="588"/>
                  </a:lnTo>
                  <a:lnTo>
                    <a:pt x="195" y="597"/>
                  </a:lnTo>
                  <a:lnTo>
                    <a:pt x="193" y="602"/>
                  </a:lnTo>
                  <a:lnTo>
                    <a:pt x="207" y="609"/>
                  </a:lnTo>
                  <a:lnTo>
                    <a:pt x="190" y="606"/>
                  </a:lnTo>
                  <a:lnTo>
                    <a:pt x="184" y="603"/>
                  </a:lnTo>
                  <a:lnTo>
                    <a:pt x="175" y="609"/>
                  </a:lnTo>
                  <a:lnTo>
                    <a:pt x="164" y="606"/>
                  </a:lnTo>
                  <a:lnTo>
                    <a:pt x="154" y="602"/>
                  </a:lnTo>
                  <a:lnTo>
                    <a:pt x="134" y="614"/>
                  </a:lnTo>
                  <a:lnTo>
                    <a:pt x="125" y="618"/>
                  </a:lnTo>
                  <a:lnTo>
                    <a:pt x="127" y="630"/>
                  </a:lnTo>
                  <a:lnTo>
                    <a:pt x="118" y="640"/>
                  </a:lnTo>
                  <a:lnTo>
                    <a:pt x="110" y="643"/>
                  </a:lnTo>
                  <a:lnTo>
                    <a:pt x="104" y="644"/>
                  </a:lnTo>
                  <a:lnTo>
                    <a:pt x="88" y="662"/>
                  </a:lnTo>
                  <a:lnTo>
                    <a:pt x="91" y="665"/>
                  </a:lnTo>
                  <a:lnTo>
                    <a:pt x="98" y="658"/>
                  </a:lnTo>
                  <a:lnTo>
                    <a:pt x="109" y="662"/>
                  </a:lnTo>
                  <a:lnTo>
                    <a:pt x="112" y="659"/>
                  </a:lnTo>
                  <a:lnTo>
                    <a:pt x="115" y="652"/>
                  </a:lnTo>
                  <a:lnTo>
                    <a:pt x="115" y="652"/>
                  </a:lnTo>
                  <a:lnTo>
                    <a:pt x="130" y="649"/>
                  </a:lnTo>
                  <a:lnTo>
                    <a:pt x="136" y="646"/>
                  </a:lnTo>
                  <a:lnTo>
                    <a:pt x="134" y="652"/>
                  </a:lnTo>
                  <a:lnTo>
                    <a:pt x="136" y="661"/>
                  </a:lnTo>
                  <a:lnTo>
                    <a:pt x="142" y="667"/>
                  </a:lnTo>
                  <a:lnTo>
                    <a:pt x="140" y="679"/>
                  </a:lnTo>
                  <a:lnTo>
                    <a:pt x="148" y="680"/>
                  </a:lnTo>
                  <a:lnTo>
                    <a:pt x="139" y="701"/>
                  </a:lnTo>
                  <a:lnTo>
                    <a:pt x="130" y="716"/>
                  </a:lnTo>
                  <a:lnTo>
                    <a:pt x="116" y="723"/>
                  </a:lnTo>
                  <a:lnTo>
                    <a:pt x="103" y="732"/>
                  </a:lnTo>
                  <a:lnTo>
                    <a:pt x="92" y="741"/>
                  </a:lnTo>
                  <a:lnTo>
                    <a:pt x="78" y="742"/>
                  </a:lnTo>
                  <a:lnTo>
                    <a:pt x="69" y="748"/>
                  </a:lnTo>
                  <a:lnTo>
                    <a:pt x="66" y="753"/>
                  </a:lnTo>
                  <a:lnTo>
                    <a:pt x="59" y="753"/>
                  </a:lnTo>
                  <a:lnTo>
                    <a:pt x="60" y="754"/>
                  </a:lnTo>
                  <a:lnTo>
                    <a:pt x="72" y="756"/>
                  </a:lnTo>
                  <a:lnTo>
                    <a:pt x="66" y="763"/>
                  </a:lnTo>
                  <a:lnTo>
                    <a:pt x="66" y="769"/>
                  </a:lnTo>
                  <a:lnTo>
                    <a:pt x="75" y="774"/>
                  </a:lnTo>
                  <a:lnTo>
                    <a:pt x="78" y="783"/>
                  </a:lnTo>
                  <a:lnTo>
                    <a:pt x="89" y="783"/>
                  </a:lnTo>
                  <a:lnTo>
                    <a:pt x="94" y="775"/>
                  </a:lnTo>
                  <a:lnTo>
                    <a:pt x="107" y="771"/>
                  </a:lnTo>
                  <a:lnTo>
                    <a:pt x="118" y="762"/>
                  </a:lnTo>
                  <a:lnTo>
                    <a:pt x="118" y="768"/>
                  </a:lnTo>
                  <a:lnTo>
                    <a:pt x="137" y="769"/>
                  </a:lnTo>
                  <a:lnTo>
                    <a:pt x="118" y="781"/>
                  </a:lnTo>
                  <a:lnTo>
                    <a:pt x="127" y="786"/>
                  </a:lnTo>
                  <a:lnTo>
                    <a:pt x="143" y="786"/>
                  </a:lnTo>
                  <a:lnTo>
                    <a:pt x="154" y="777"/>
                  </a:lnTo>
                  <a:lnTo>
                    <a:pt x="166" y="789"/>
                  </a:lnTo>
                  <a:lnTo>
                    <a:pt x="180" y="802"/>
                  </a:lnTo>
                  <a:lnTo>
                    <a:pt x="195" y="799"/>
                  </a:lnTo>
                  <a:lnTo>
                    <a:pt x="207" y="787"/>
                  </a:lnTo>
                  <a:lnTo>
                    <a:pt x="217" y="786"/>
                  </a:lnTo>
                  <a:lnTo>
                    <a:pt x="226" y="775"/>
                  </a:lnTo>
                  <a:lnTo>
                    <a:pt x="235" y="772"/>
                  </a:lnTo>
                  <a:lnTo>
                    <a:pt x="249" y="762"/>
                  </a:lnTo>
                  <a:lnTo>
                    <a:pt x="253" y="754"/>
                  </a:lnTo>
                  <a:lnTo>
                    <a:pt x="252" y="760"/>
                  </a:lnTo>
                  <a:lnTo>
                    <a:pt x="235" y="777"/>
                  </a:lnTo>
                  <a:lnTo>
                    <a:pt x="232" y="790"/>
                  </a:lnTo>
                  <a:lnTo>
                    <a:pt x="211" y="802"/>
                  </a:lnTo>
                  <a:lnTo>
                    <a:pt x="207" y="822"/>
                  </a:lnTo>
                  <a:lnTo>
                    <a:pt x="193" y="824"/>
                  </a:lnTo>
                  <a:lnTo>
                    <a:pt x="160" y="818"/>
                  </a:lnTo>
                  <a:lnTo>
                    <a:pt x="131" y="822"/>
                  </a:lnTo>
                  <a:lnTo>
                    <a:pt x="130" y="831"/>
                  </a:lnTo>
                  <a:lnTo>
                    <a:pt x="131" y="836"/>
                  </a:lnTo>
                  <a:lnTo>
                    <a:pt x="142" y="833"/>
                  </a:lnTo>
                  <a:lnTo>
                    <a:pt x="131" y="842"/>
                  </a:lnTo>
                  <a:lnTo>
                    <a:pt x="122" y="837"/>
                  </a:lnTo>
                  <a:lnTo>
                    <a:pt x="115" y="837"/>
                  </a:lnTo>
                  <a:lnTo>
                    <a:pt x="109" y="872"/>
                  </a:lnTo>
                  <a:lnTo>
                    <a:pt x="89" y="879"/>
                  </a:lnTo>
                  <a:lnTo>
                    <a:pt x="72" y="908"/>
                  </a:lnTo>
                  <a:lnTo>
                    <a:pt x="51" y="922"/>
                  </a:lnTo>
                  <a:lnTo>
                    <a:pt x="48" y="926"/>
                  </a:lnTo>
                  <a:lnTo>
                    <a:pt x="39" y="926"/>
                  </a:lnTo>
                  <a:lnTo>
                    <a:pt x="36" y="935"/>
                  </a:lnTo>
                  <a:lnTo>
                    <a:pt x="45" y="943"/>
                  </a:lnTo>
                  <a:lnTo>
                    <a:pt x="47" y="935"/>
                  </a:lnTo>
                  <a:lnTo>
                    <a:pt x="56" y="931"/>
                  </a:lnTo>
                  <a:lnTo>
                    <a:pt x="71" y="940"/>
                  </a:lnTo>
                  <a:lnTo>
                    <a:pt x="78" y="943"/>
                  </a:lnTo>
                  <a:lnTo>
                    <a:pt x="82" y="937"/>
                  </a:lnTo>
                  <a:lnTo>
                    <a:pt x="77" y="928"/>
                  </a:lnTo>
                  <a:lnTo>
                    <a:pt x="97" y="916"/>
                  </a:lnTo>
                  <a:lnTo>
                    <a:pt x="101" y="905"/>
                  </a:lnTo>
                  <a:lnTo>
                    <a:pt x="118" y="904"/>
                  </a:lnTo>
                  <a:lnTo>
                    <a:pt x="137" y="910"/>
                  </a:lnTo>
                  <a:lnTo>
                    <a:pt x="154" y="911"/>
                  </a:lnTo>
                  <a:lnTo>
                    <a:pt x="164" y="916"/>
                  </a:lnTo>
                  <a:lnTo>
                    <a:pt x="174" y="914"/>
                  </a:lnTo>
                  <a:lnTo>
                    <a:pt x="172" y="890"/>
                  </a:lnTo>
                  <a:lnTo>
                    <a:pt x="180" y="875"/>
                  </a:lnTo>
                  <a:lnTo>
                    <a:pt x="183" y="881"/>
                  </a:lnTo>
                  <a:lnTo>
                    <a:pt x="190" y="882"/>
                  </a:lnTo>
                  <a:lnTo>
                    <a:pt x="207" y="870"/>
                  </a:lnTo>
                  <a:lnTo>
                    <a:pt x="232" y="872"/>
                  </a:lnTo>
                  <a:lnTo>
                    <a:pt x="243" y="887"/>
                  </a:lnTo>
                  <a:lnTo>
                    <a:pt x="256" y="882"/>
                  </a:lnTo>
                  <a:lnTo>
                    <a:pt x="269" y="884"/>
                  </a:lnTo>
                  <a:lnTo>
                    <a:pt x="272" y="887"/>
                  </a:lnTo>
                  <a:lnTo>
                    <a:pt x="279" y="876"/>
                  </a:lnTo>
                  <a:lnTo>
                    <a:pt x="272" y="872"/>
                  </a:lnTo>
                  <a:lnTo>
                    <a:pt x="275" y="866"/>
                  </a:lnTo>
                  <a:lnTo>
                    <a:pt x="285" y="870"/>
                  </a:lnTo>
                  <a:lnTo>
                    <a:pt x="296" y="872"/>
                  </a:lnTo>
                  <a:lnTo>
                    <a:pt x="299" y="867"/>
                  </a:lnTo>
                  <a:lnTo>
                    <a:pt x="309" y="861"/>
                  </a:lnTo>
                  <a:lnTo>
                    <a:pt x="311" y="857"/>
                  </a:lnTo>
                  <a:lnTo>
                    <a:pt x="308" y="852"/>
                  </a:lnTo>
                  <a:lnTo>
                    <a:pt x="303" y="848"/>
                  </a:lnTo>
                  <a:lnTo>
                    <a:pt x="312" y="848"/>
                  </a:lnTo>
                  <a:lnTo>
                    <a:pt x="321" y="860"/>
                  </a:lnTo>
                  <a:lnTo>
                    <a:pt x="327" y="861"/>
                  </a:lnTo>
                  <a:lnTo>
                    <a:pt x="332" y="855"/>
                  </a:lnTo>
                  <a:lnTo>
                    <a:pt x="335" y="858"/>
                  </a:lnTo>
                  <a:lnTo>
                    <a:pt x="342" y="858"/>
                  </a:lnTo>
                  <a:lnTo>
                    <a:pt x="345" y="866"/>
                  </a:lnTo>
                  <a:lnTo>
                    <a:pt x="358" y="870"/>
                  </a:lnTo>
                  <a:lnTo>
                    <a:pt x="364" y="860"/>
                  </a:lnTo>
                  <a:lnTo>
                    <a:pt x="397" y="860"/>
                  </a:lnTo>
                  <a:lnTo>
                    <a:pt x="404" y="866"/>
                  </a:lnTo>
                  <a:lnTo>
                    <a:pt x="440" y="852"/>
                  </a:lnTo>
                  <a:lnTo>
                    <a:pt x="460" y="849"/>
                  </a:lnTo>
                  <a:lnTo>
                    <a:pt x="463" y="836"/>
                  </a:lnTo>
                  <a:lnTo>
                    <a:pt x="484" y="830"/>
                  </a:lnTo>
                  <a:lnTo>
                    <a:pt x="489" y="824"/>
                  </a:lnTo>
                  <a:lnTo>
                    <a:pt x="487" y="810"/>
                  </a:lnTo>
                  <a:lnTo>
                    <a:pt x="492" y="802"/>
                  </a:lnTo>
                  <a:lnTo>
                    <a:pt x="486" y="802"/>
                  </a:lnTo>
                  <a:lnTo>
                    <a:pt x="471" y="807"/>
                  </a:lnTo>
                  <a:lnTo>
                    <a:pt x="463" y="810"/>
                  </a:lnTo>
                  <a:lnTo>
                    <a:pt x="450" y="809"/>
                  </a:lnTo>
                  <a:lnTo>
                    <a:pt x="442" y="802"/>
                  </a:lnTo>
                  <a:lnTo>
                    <a:pt x="434" y="810"/>
                  </a:lnTo>
                  <a:lnTo>
                    <a:pt x="431" y="807"/>
                  </a:lnTo>
                  <a:lnTo>
                    <a:pt x="440" y="798"/>
                  </a:lnTo>
                  <a:lnTo>
                    <a:pt x="431" y="792"/>
                  </a:lnTo>
                  <a:lnTo>
                    <a:pt x="442" y="796"/>
                  </a:lnTo>
                  <a:lnTo>
                    <a:pt x="447" y="790"/>
                  </a:lnTo>
                  <a:lnTo>
                    <a:pt x="450" y="781"/>
                  </a:lnTo>
                  <a:lnTo>
                    <a:pt x="456" y="775"/>
                  </a:lnTo>
                  <a:lnTo>
                    <a:pt x="456" y="769"/>
                  </a:lnTo>
                  <a:lnTo>
                    <a:pt x="445" y="763"/>
                  </a:lnTo>
                  <a:lnTo>
                    <a:pt x="450" y="762"/>
                  </a:lnTo>
                  <a:lnTo>
                    <a:pt x="459" y="762"/>
                  </a:lnTo>
                  <a:lnTo>
                    <a:pt x="462" y="756"/>
                  </a:lnTo>
                  <a:lnTo>
                    <a:pt x="466" y="759"/>
                  </a:lnTo>
                  <a:lnTo>
                    <a:pt x="474" y="760"/>
                  </a:lnTo>
                  <a:lnTo>
                    <a:pt x="481" y="757"/>
                  </a:lnTo>
                  <a:lnTo>
                    <a:pt x="483" y="751"/>
                  </a:lnTo>
                  <a:lnTo>
                    <a:pt x="478" y="747"/>
                  </a:lnTo>
                  <a:lnTo>
                    <a:pt x="478" y="738"/>
                  </a:lnTo>
                  <a:lnTo>
                    <a:pt x="487" y="733"/>
                  </a:lnTo>
                  <a:lnTo>
                    <a:pt x="495" y="735"/>
                  </a:lnTo>
                  <a:lnTo>
                    <a:pt x="505" y="718"/>
                  </a:lnTo>
                  <a:lnTo>
                    <a:pt x="510" y="700"/>
                  </a:lnTo>
                  <a:lnTo>
                    <a:pt x="511" y="685"/>
                  </a:lnTo>
                  <a:lnTo>
                    <a:pt x="498" y="658"/>
                  </a:lnTo>
                  <a:lnTo>
                    <a:pt x="489" y="644"/>
                  </a:lnTo>
                  <a:lnTo>
                    <a:pt x="459" y="640"/>
                  </a:lnTo>
                  <a:lnTo>
                    <a:pt x="445" y="637"/>
                  </a:lnTo>
                  <a:lnTo>
                    <a:pt x="436" y="638"/>
                  </a:lnTo>
                  <a:lnTo>
                    <a:pt x="425" y="640"/>
                  </a:lnTo>
                  <a:lnTo>
                    <a:pt x="422" y="649"/>
                  </a:lnTo>
                  <a:lnTo>
                    <a:pt x="421" y="658"/>
                  </a:lnTo>
                  <a:lnTo>
                    <a:pt x="416" y="659"/>
                  </a:lnTo>
                  <a:lnTo>
                    <a:pt x="404" y="655"/>
                  </a:lnTo>
                  <a:lnTo>
                    <a:pt x="400" y="647"/>
                  </a:lnTo>
                  <a:lnTo>
                    <a:pt x="404" y="635"/>
                  </a:lnTo>
                  <a:lnTo>
                    <a:pt x="413" y="626"/>
                  </a:lnTo>
                  <a:lnTo>
                    <a:pt x="418" y="618"/>
                  </a:lnTo>
                  <a:lnTo>
                    <a:pt x="416" y="600"/>
                  </a:lnTo>
                  <a:lnTo>
                    <a:pt x="412" y="591"/>
                  </a:lnTo>
                  <a:lnTo>
                    <a:pt x="401" y="581"/>
                  </a:lnTo>
                  <a:lnTo>
                    <a:pt x="392" y="575"/>
                  </a:lnTo>
                  <a:lnTo>
                    <a:pt x="386" y="569"/>
                  </a:lnTo>
                  <a:lnTo>
                    <a:pt x="379" y="569"/>
                  </a:lnTo>
                  <a:lnTo>
                    <a:pt x="370" y="569"/>
                  </a:lnTo>
                  <a:lnTo>
                    <a:pt x="364" y="564"/>
                  </a:lnTo>
                  <a:lnTo>
                    <a:pt x="356" y="564"/>
                  </a:lnTo>
                  <a:lnTo>
                    <a:pt x="347" y="564"/>
                  </a:lnTo>
                  <a:lnTo>
                    <a:pt x="348" y="561"/>
                  </a:lnTo>
                  <a:lnTo>
                    <a:pt x="358" y="561"/>
                  </a:lnTo>
                  <a:lnTo>
                    <a:pt x="368" y="560"/>
                  </a:lnTo>
                  <a:lnTo>
                    <a:pt x="380" y="567"/>
                  </a:lnTo>
                  <a:lnTo>
                    <a:pt x="389" y="566"/>
                  </a:lnTo>
                  <a:lnTo>
                    <a:pt x="392" y="569"/>
                  </a:lnTo>
                  <a:lnTo>
                    <a:pt x="406" y="567"/>
                  </a:lnTo>
                  <a:lnTo>
                    <a:pt x="412" y="575"/>
                  </a:lnTo>
                  <a:lnTo>
                    <a:pt x="409" y="563"/>
                  </a:lnTo>
                  <a:lnTo>
                    <a:pt x="392" y="547"/>
                  </a:lnTo>
                  <a:lnTo>
                    <a:pt x="383" y="522"/>
                  </a:lnTo>
                  <a:lnTo>
                    <a:pt x="388" y="514"/>
                  </a:lnTo>
                  <a:lnTo>
                    <a:pt x="376" y="507"/>
                  </a:lnTo>
                  <a:lnTo>
                    <a:pt x="368" y="490"/>
                  </a:lnTo>
                  <a:lnTo>
                    <a:pt x="351" y="475"/>
                  </a:lnTo>
                  <a:lnTo>
                    <a:pt x="341" y="468"/>
                  </a:lnTo>
                  <a:lnTo>
                    <a:pt x="335" y="463"/>
                  </a:lnTo>
                  <a:lnTo>
                    <a:pt x="329" y="463"/>
                  </a:lnTo>
                  <a:lnTo>
                    <a:pt x="327" y="466"/>
                  </a:lnTo>
                  <a:lnTo>
                    <a:pt x="320" y="466"/>
                  </a:lnTo>
                  <a:lnTo>
                    <a:pt x="315" y="471"/>
                  </a:lnTo>
                  <a:lnTo>
                    <a:pt x="320" y="460"/>
                  </a:lnTo>
                  <a:lnTo>
                    <a:pt x="324" y="452"/>
                  </a:lnTo>
                  <a:lnTo>
                    <a:pt x="318" y="446"/>
                  </a:lnTo>
                  <a:lnTo>
                    <a:pt x="315" y="440"/>
                  </a:lnTo>
                  <a:lnTo>
                    <a:pt x="306" y="437"/>
                  </a:lnTo>
                  <a:lnTo>
                    <a:pt x="309" y="433"/>
                  </a:lnTo>
                  <a:lnTo>
                    <a:pt x="302" y="418"/>
                  </a:lnTo>
                  <a:lnTo>
                    <a:pt x="299" y="394"/>
                  </a:lnTo>
                  <a:lnTo>
                    <a:pt x="294" y="383"/>
                  </a:lnTo>
                  <a:lnTo>
                    <a:pt x="288" y="380"/>
                  </a:lnTo>
                  <a:lnTo>
                    <a:pt x="291" y="374"/>
                  </a:lnTo>
                  <a:lnTo>
                    <a:pt x="297" y="371"/>
                  </a:lnTo>
                  <a:lnTo>
                    <a:pt x="290" y="354"/>
                  </a:lnTo>
                  <a:lnTo>
                    <a:pt x="290" y="354"/>
                  </a:lnTo>
                  <a:lnTo>
                    <a:pt x="284" y="351"/>
                  </a:lnTo>
                  <a:lnTo>
                    <a:pt x="278" y="347"/>
                  </a:lnTo>
                  <a:lnTo>
                    <a:pt x="278" y="347"/>
                  </a:lnTo>
                  <a:lnTo>
                    <a:pt x="262" y="324"/>
                  </a:lnTo>
                  <a:lnTo>
                    <a:pt x="250" y="320"/>
                  </a:lnTo>
                  <a:lnTo>
                    <a:pt x="240" y="317"/>
                  </a:lnTo>
                  <a:lnTo>
                    <a:pt x="232" y="309"/>
                  </a:lnTo>
                  <a:lnTo>
                    <a:pt x="225" y="305"/>
                  </a:lnTo>
                  <a:lnTo>
                    <a:pt x="217" y="305"/>
                  </a:lnTo>
                  <a:lnTo>
                    <a:pt x="208" y="314"/>
                  </a:lnTo>
                  <a:lnTo>
                    <a:pt x="202" y="315"/>
                  </a:lnTo>
                  <a:lnTo>
                    <a:pt x="187" y="314"/>
                  </a:lnTo>
                  <a:lnTo>
                    <a:pt x="177" y="311"/>
                  </a:lnTo>
                  <a:lnTo>
                    <a:pt x="169" y="308"/>
                  </a:lnTo>
                  <a:lnTo>
                    <a:pt x="158" y="306"/>
                  </a:lnTo>
                  <a:lnTo>
                    <a:pt x="148" y="308"/>
                  </a:lnTo>
                  <a:lnTo>
                    <a:pt x="148" y="305"/>
                  </a:lnTo>
                  <a:lnTo>
                    <a:pt x="164" y="303"/>
                  </a:lnTo>
                  <a:lnTo>
                    <a:pt x="181" y="303"/>
                  </a:lnTo>
                  <a:lnTo>
                    <a:pt x="189" y="305"/>
                  </a:lnTo>
                  <a:lnTo>
                    <a:pt x="198" y="300"/>
                  </a:lnTo>
                  <a:lnTo>
                    <a:pt x="204" y="293"/>
                  </a:lnTo>
                  <a:lnTo>
                    <a:pt x="205" y="286"/>
                  </a:lnTo>
                  <a:lnTo>
                    <a:pt x="213" y="288"/>
                  </a:lnTo>
                  <a:lnTo>
                    <a:pt x="222" y="288"/>
                  </a:lnTo>
                  <a:lnTo>
                    <a:pt x="225" y="283"/>
                  </a:lnTo>
                  <a:lnTo>
                    <a:pt x="226" y="279"/>
                  </a:lnTo>
                  <a:lnTo>
                    <a:pt x="223" y="274"/>
                  </a:lnTo>
                  <a:lnTo>
                    <a:pt x="216" y="271"/>
                  </a:lnTo>
                  <a:lnTo>
                    <a:pt x="217" y="268"/>
                  </a:lnTo>
                  <a:lnTo>
                    <a:pt x="211" y="264"/>
                  </a:lnTo>
                  <a:lnTo>
                    <a:pt x="202" y="265"/>
                  </a:lnTo>
                  <a:lnTo>
                    <a:pt x="196" y="270"/>
                  </a:lnTo>
                  <a:lnTo>
                    <a:pt x="195" y="265"/>
                  </a:lnTo>
                  <a:lnTo>
                    <a:pt x="204" y="258"/>
                  </a:lnTo>
                  <a:lnTo>
                    <a:pt x="219" y="262"/>
                  </a:lnTo>
                  <a:lnTo>
                    <a:pt x="223" y="253"/>
                  </a:lnTo>
                  <a:lnTo>
                    <a:pt x="226" y="246"/>
                  </a:lnTo>
                  <a:lnTo>
                    <a:pt x="237" y="240"/>
                  </a:lnTo>
                  <a:lnTo>
                    <a:pt x="237" y="231"/>
                  </a:lnTo>
                  <a:lnTo>
                    <a:pt x="247" y="223"/>
                  </a:lnTo>
                  <a:lnTo>
                    <a:pt x="249" y="210"/>
                  </a:lnTo>
                  <a:lnTo>
                    <a:pt x="259" y="190"/>
                  </a:lnTo>
                  <a:lnTo>
                    <a:pt x="262" y="170"/>
                  </a:lnTo>
                  <a:lnTo>
                    <a:pt x="275" y="152"/>
                  </a:lnTo>
                  <a:lnTo>
                    <a:pt x="276" y="130"/>
                  </a:lnTo>
                  <a:lnTo>
                    <a:pt x="272" y="118"/>
                  </a:lnTo>
                  <a:lnTo>
                    <a:pt x="264" y="114"/>
                  </a:lnTo>
                  <a:lnTo>
                    <a:pt x="247" y="114"/>
                  </a:lnTo>
                  <a:lnTo>
                    <a:pt x="232" y="116"/>
                  </a:lnTo>
                  <a:lnTo>
                    <a:pt x="223" y="111"/>
                  </a:lnTo>
                  <a:lnTo>
                    <a:pt x="211" y="114"/>
                  </a:lnTo>
                  <a:lnTo>
                    <a:pt x="204" y="119"/>
                  </a:lnTo>
                  <a:lnTo>
                    <a:pt x="195" y="116"/>
                  </a:lnTo>
                  <a:lnTo>
                    <a:pt x="184" y="111"/>
                  </a:lnTo>
                  <a:lnTo>
                    <a:pt x="174" y="116"/>
                  </a:lnTo>
                  <a:lnTo>
                    <a:pt x="169" y="121"/>
                  </a:lnTo>
                  <a:lnTo>
                    <a:pt x="161" y="122"/>
                  </a:lnTo>
                  <a:lnTo>
                    <a:pt x="152" y="124"/>
                  </a:lnTo>
                  <a:lnTo>
                    <a:pt x="149" y="127"/>
                  </a:lnTo>
                  <a:lnTo>
                    <a:pt x="134" y="130"/>
                  </a:lnTo>
                  <a:lnTo>
                    <a:pt x="137" y="133"/>
                  </a:lnTo>
                  <a:lnTo>
                    <a:pt x="127" y="143"/>
                  </a:lnTo>
                  <a:lnTo>
                    <a:pt x="122" y="143"/>
                  </a:lnTo>
                  <a:lnTo>
                    <a:pt x="110" y="136"/>
                  </a:lnTo>
                  <a:lnTo>
                    <a:pt x="112" y="134"/>
                  </a:lnTo>
                  <a:lnTo>
                    <a:pt x="116" y="136"/>
                  </a:lnTo>
                  <a:lnTo>
                    <a:pt x="124" y="134"/>
                  </a:lnTo>
                  <a:lnTo>
                    <a:pt x="131" y="130"/>
                  </a:lnTo>
                  <a:lnTo>
                    <a:pt x="134" y="116"/>
                  </a:lnTo>
                  <a:lnTo>
                    <a:pt x="130" y="116"/>
                  </a:lnTo>
                  <a:lnTo>
                    <a:pt x="121" y="121"/>
                  </a:lnTo>
                  <a:lnTo>
                    <a:pt x="112" y="127"/>
                  </a:lnTo>
                  <a:lnTo>
                    <a:pt x="110" y="124"/>
                  </a:lnTo>
                  <a:lnTo>
                    <a:pt x="119" y="113"/>
                  </a:lnTo>
                  <a:lnTo>
                    <a:pt x="139" y="105"/>
                  </a:lnTo>
                  <a:lnTo>
                    <a:pt x="142" y="111"/>
                  </a:lnTo>
                  <a:lnTo>
                    <a:pt x="152" y="96"/>
                  </a:lnTo>
                  <a:lnTo>
                    <a:pt x="149" y="95"/>
                  </a:lnTo>
                  <a:lnTo>
                    <a:pt x="130" y="101"/>
                  </a:lnTo>
                  <a:lnTo>
                    <a:pt x="128" y="96"/>
                  </a:lnTo>
                  <a:lnTo>
                    <a:pt x="118" y="95"/>
                  </a:lnTo>
                  <a:lnTo>
                    <a:pt x="128" y="92"/>
                  </a:lnTo>
                  <a:lnTo>
                    <a:pt x="134" y="93"/>
                  </a:lnTo>
                  <a:lnTo>
                    <a:pt x="145" y="81"/>
                  </a:lnTo>
                  <a:lnTo>
                    <a:pt x="146" y="77"/>
                  </a:lnTo>
                  <a:lnTo>
                    <a:pt x="155" y="72"/>
                  </a:lnTo>
                  <a:lnTo>
                    <a:pt x="161" y="62"/>
                  </a:lnTo>
                  <a:lnTo>
                    <a:pt x="183" y="44"/>
                  </a:lnTo>
                  <a:lnTo>
                    <a:pt x="196" y="35"/>
                  </a:lnTo>
                  <a:lnTo>
                    <a:pt x="202" y="19"/>
                  </a:lnTo>
                  <a:lnTo>
                    <a:pt x="196" y="18"/>
                  </a:lnTo>
                  <a:lnTo>
                    <a:pt x="193" y="13"/>
                  </a:lnTo>
                  <a:lnTo>
                    <a:pt x="195" y="6"/>
                  </a:lnTo>
                  <a:lnTo>
                    <a:pt x="189" y="0"/>
                  </a:lnTo>
                  <a:lnTo>
                    <a:pt x="163" y="7"/>
                  </a:lnTo>
                  <a:lnTo>
                    <a:pt x="152" y="15"/>
                  </a:lnTo>
                  <a:lnTo>
                    <a:pt x="142" y="9"/>
                  </a:lnTo>
                  <a:lnTo>
                    <a:pt x="125" y="15"/>
                  </a:lnTo>
                  <a:lnTo>
                    <a:pt x="118" y="19"/>
                  </a:lnTo>
                  <a:lnTo>
                    <a:pt x="112" y="16"/>
                  </a:lnTo>
                  <a:lnTo>
                    <a:pt x="106" y="12"/>
                  </a:lnTo>
                  <a:lnTo>
                    <a:pt x="101" y="12"/>
                  </a:lnTo>
                  <a:lnTo>
                    <a:pt x="98" y="16"/>
                  </a:lnTo>
                  <a:lnTo>
                    <a:pt x="91" y="9"/>
                  </a:lnTo>
                  <a:lnTo>
                    <a:pt x="85" y="6"/>
                  </a:lnTo>
                  <a:lnTo>
                    <a:pt x="77" y="9"/>
                  </a:lnTo>
                  <a:lnTo>
                    <a:pt x="74" y="9"/>
                  </a:lnTo>
                  <a:lnTo>
                    <a:pt x="72" y="16"/>
                  </a:lnTo>
                  <a:lnTo>
                    <a:pt x="65" y="29"/>
                  </a:lnTo>
                  <a:lnTo>
                    <a:pt x="63" y="36"/>
                  </a:lnTo>
                  <a:lnTo>
                    <a:pt x="65" y="44"/>
                  </a:lnTo>
                  <a:lnTo>
                    <a:pt x="77" y="50"/>
                  </a:lnTo>
                  <a:lnTo>
                    <a:pt x="77" y="54"/>
                  </a:lnTo>
                  <a:lnTo>
                    <a:pt x="68" y="48"/>
                  </a:lnTo>
                  <a:lnTo>
                    <a:pt x="60" y="53"/>
                  </a:lnTo>
                  <a:lnTo>
                    <a:pt x="54" y="57"/>
                  </a:lnTo>
                  <a:lnTo>
                    <a:pt x="60" y="68"/>
                  </a:lnTo>
                  <a:lnTo>
                    <a:pt x="59" y="71"/>
                  </a:lnTo>
                  <a:lnTo>
                    <a:pt x="51" y="68"/>
                  </a:lnTo>
                  <a:lnTo>
                    <a:pt x="47" y="69"/>
                  </a:lnTo>
                  <a:lnTo>
                    <a:pt x="47" y="74"/>
                  </a:lnTo>
                  <a:lnTo>
                    <a:pt x="56" y="81"/>
                  </a:lnTo>
                  <a:lnTo>
                    <a:pt x="63" y="92"/>
                  </a:lnTo>
                  <a:lnTo>
                    <a:pt x="60" y="95"/>
                  </a:lnTo>
                  <a:lnTo>
                    <a:pt x="53" y="90"/>
                  </a:lnTo>
                  <a:lnTo>
                    <a:pt x="50" y="93"/>
                  </a:lnTo>
                  <a:lnTo>
                    <a:pt x="53" y="96"/>
                  </a:lnTo>
                  <a:lnTo>
                    <a:pt x="38" y="95"/>
                  </a:lnTo>
                  <a:lnTo>
                    <a:pt x="29" y="96"/>
                  </a:lnTo>
                  <a:lnTo>
                    <a:pt x="23" y="102"/>
                  </a:lnTo>
                  <a:lnTo>
                    <a:pt x="33" y="116"/>
                  </a:lnTo>
                  <a:lnTo>
                    <a:pt x="27" y="116"/>
                  </a:lnTo>
                  <a:lnTo>
                    <a:pt x="24" y="121"/>
                  </a:lnTo>
                  <a:lnTo>
                    <a:pt x="38" y="136"/>
                  </a:lnTo>
                  <a:lnTo>
                    <a:pt x="45" y="140"/>
                  </a:lnTo>
                  <a:lnTo>
                    <a:pt x="38" y="140"/>
                  </a:lnTo>
                  <a:lnTo>
                    <a:pt x="26" y="134"/>
                  </a:lnTo>
                  <a:lnTo>
                    <a:pt x="26" y="134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883" name="Freeform 228"/>
            <p:cNvSpPr>
              <a:spLocks/>
            </p:cNvSpPr>
            <p:nvPr userDrawn="1"/>
          </p:nvSpPr>
          <p:spPr bwMode="auto">
            <a:xfrm>
              <a:off x="3344" y="2561"/>
              <a:ext cx="37" cy="21"/>
            </a:xfrm>
            <a:custGeom>
              <a:avLst/>
              <a:gdLst>
                <a:gd name="T0" fmla="*/ 21 w 37"/>
                <a:gd name="T1" fmla="*/ 3 h 21"/>
                <a:gd name="T2" fmla="*/ 18 w 37"/>
                <a:gd name="T3" fmla="*/ 0 h 21"/>
                <a:gd name="T4" fmla="*/ 3 w 37"/>
                <a:gd name="T5" fmla="*/ 10 h 21"/>
                <a:gd name="T6" fmla="*/ 0 w 37"/>
                <a:gd name="T7" fmla="*/ 13 h 21"/>
                <a:gd name="T8" fmla="*/ 10 w 37"/>
                <a:gd name="T9" fmla="*/ 13 h 21"/>
                <a:gd name="T10" fmla="*/ 25 w 37"/>
                <a:gd name="T11" fmla="*/ 21 h 21"/>
                <a:gd name="T12" fmla="*/ 31 w 37"/>
                <a:gd name="T13" fmla="*/ 19 h 21"/>
                <a:gd name="T14" fmla="*/ 36 w 37"/>
                <a:gd name="T15" fmla="*/ 15 h 21"/>
                <a:gd name="T16" fmla="*/ 37 w 37"/>
                <a:gd name="T17" fmla="*/ 10 h 21"/>
                <a:gd name="T18" fmla="*/ 33 w 37"/>
                <a:gd name="T19" fmla="*/ 6 h 21"/>
                <a:gd name="T20" fmla="*/ 21 w 37"/>
                <a:gd name="T21" fmla="*/ 3 h 21"/>
                <a:gd name="T22" fmla="*/ 21 w 37"/>
                <a:gd name="T23" fmla="*/ 3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7" h="21">
                  <a:moveTo>
                    <a:pt x="21" y="3"/>
                  </a:moveTo>
                  <a:lnTo>
                    <a:pt x="18" y="0"/>
                  </a:lnTo>
                  <a:lnTo>
                    <a:pt x="3" y="10"/>
                  </a:lnTo>
                  <a:lnTo>
                    <a:pt x="0" y="13"/>
                  </a:lnTo>
                  <a:lnTo>
                    <a:pt x="10" y="13"/>
                  </a:lnTo>
                  <a:lnTo>
                    <a:pt x="25" y="21"/>
                  </a:lnTo>
                  <a:lnTo>
                    <a:pt x="31" y="19"/>
                  </a:lnTo>
                  <a:lnTo>
                    <a:pt x="36" y="15"/>
                  </a:lnTo>
                  <a:lnTo>
                    <a:pt x="37" y="10"/>
                  </a:lnTo>
                  <a:lnTo>
                    <a:pt x="33" y="6"/>
                  </a:lnTo>
                  <a:lnTo>
                    <a:pt x="21" y="3"/>
                  </a:lnTo>
                  <a:lnTo>
                    <a:pt x="21" y="3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884" name="Freeform 229"/>
            <p:cNvSpPr>
              <a:spLocks/>
            </p:cNvSpPr>
            <p:nvPr userDrawn="1"/>
          </p:nvSpPr>
          <p:spPr bwMode="auto">
            <a:xfrm>
              <a:off x="4357" y="3089"/>
              <a:ext cx="17" cy="44"/>
            </a:xfrm>
            <a:custGeom>
              <a:avLst/>
              <a:gdLst>
                <a:gd name="T0" fmla="*/ 9 w 17"/>
                <a:gd name="T1" fmla="*/ 12 h 44"/>
                <a:gd name="T2" fmla="*/ 6 w 17"/>
                <a:gd name="T3" fmla="*/ 9 h 44"/>
                <a:gd name="T4" fmla="*/ 6 w 17"/>
                <a:gd name="T5" fmla="*/ 0 h 44"/>
                <a:gd name="T6" fmla="*/ 0 w 17"/>
                <a:gd name="T7" fmla="*/ 0 h 44"/>
                <a:gd name="T8" fmla="*/ 0 w 17"/>
                <a:gd name="T9" fmla="*/ 6 h 44"/>
                <a:gd name="T10" fmla="*/ 8 w 17"/>
                <a:gd name="T11" fmla="*/ 15 h 44"/>
                <a:gd name="T12" fmla="*/ 8 w 17"/>
                <a:gd name="T13" fmla="*/ 21 h 44"/>
                <a:gd name="T14" fmla="*/ 6 w 17"/>
                <a:gd name="T15" fmla="*/ 24 h 44"/>
                <a:gd name="T16" fmla="*/ 3 w 17"/>
                <a:gd name="T17" fmla="*/ 21 h 44"/>
                <a:gd name="T18" fmla="*/ 2 w 17"/>
                <a:gd name="T19" fmla="*/ 26 h 44"/>
                <a:gd name="T20" fmla="*/ 5 w 17"/>
                <a:gd name="T21" fmla="*/ 33 h 44"/>
                <a:gd name="T22" fmla="*/ 11 w 17"/>
                <a:gd name="T23" fmla="*/ 39 h 44"/>
                <a:gd name="T24" fmla="*/ 14 w 17"/>
                <a:gd name="T25" fmla="*/ 44 h 44"/>
                <a:gd name="T26" fmla="*/ 17 w 17"/>
                <a:gd name="T27" fmla="*/ 44 h 44"/>
                <a:gd name="T28" fmla="*/ 14 w 17"/>
                <a:gd name="T29" fmla="*/ 19 h 44"/>
                <a:gd name="T30" fmla="*/ 9 w 17"/>
                <a:gd name="T31" fmla="*/ 12 h 44"/>
                <a:gd name="T32" fmla="*/ 9 w 17"/>
                <a:gd name="T33" fmla="*/ 12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" h="44">
                  <a:moveTo>
                    <a:pt x="9" y="12"/>
                  </a:moveTo>
                  <a:lnTo>
                    <a:pt x="6" y="9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8" y="15"/>
                  </a:lnTo>
                  <a:lnTo>
                    <a:pt x="8" y="21"/>
                  </a:lnTo>
                  <a:lnTo>
                    <a:pt x="6" y="24"/>
                  </a:lnTo>
                  <a:lnTo>
                    <a:pt x="3" y="21"/>
                  </a:lnTo>
                  <a:lnTo>
                    <a:pt x="2" y="26"/>
                  </a:lnTo>
                  <a:lnTo>
                    <a:pt x="5" y="33"/>
                  </a:lnTo>
                  <a:lnTo>
                    <a:pt x="11" y="39"/>
                  </a:lnTo>
                  <a:lnTo>
                    <a:pt x="14" y="44"/>
                  </a:lnTo>
                  <a:lnTo>
                    <a:pt x="17" y="44"/>
                  </a:lnTo>
                  <a:lnTo>
                    <a:pt x="14" y="19"/>
                  </a:lnTo>
                  <a:lnTo>
                    <a:pt x="9" y="12"/>
                  </a:lnTo>
                  <a:lnTo>
                    <a:pt x="9" y="12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885" name="Freeform 230"/>
            <p:cNvSpPr>
              <a:spLocks/>
            </p:cNvSpPr>
            <p:nvPr userDrawn="1"/>
          </p:nvSpPr>
          <p:spPr bwMode="auto">
            <a:xfrm>
              <a:off x="4359" y="3131"/>
              <a:ext cx="15" cy="20"/>
            </a:xfrm>
            <a:custGeom>
              <a:avLst/>
              <a:gdLst>
                <a:gd name="T0" fmla="*/ 4 w 15"/>
                <a:gd name="T1" fmla="*/ 0 h 20"/>
                <a:gd name="T2" fmla="*/ 0 w 15"/>
                <a:gd name="T3" fmla="*/ 2 h 20"/>
                <a:gd name="T4" fmla="*/ 1 w 15"/>
                <a:gd name="T5" fmla="*/ 6 h 20"/>
                <a:gd name="T6" fmla="*/ 6 w 15"/>
                <a:gd name="T7" fmla="*/ 12 h 20"/>
                <a:gd name="T8" fmla="*/ 10 w 15"/>
                <a:gd name="T9" fmla="*/ 14 h 20"/>
                <a:gd name="T10" fmla="*/ 12 w 15"/>
                <a:gd name="T11" fmla="*/ 20 h 20"/>
                <a:gd name="T12" fmla="*/ 15 w 15"/>
                <a:gd name="T13" fmla="*/ 18 h 20"/>
                <a:gd name="T14" fmla="*/ 13 w 15"/>
                <a:gd name="T15" fmla="*/ 11 h 20"/>
                <a:gd name="T16" fmla="*/ 4 w 15"/>
                <a:gd name="T17" fmla="*/ 0 h 20"/>
                <a:gd name="T18" fmla="*/ 4 w 15"/>
                <a:gd name="T19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" h="20">
                  <a:moveTo>
                    <a:pt x="4" y="0"/>
                  </a:moveTo>
                  <a:lnTo>
                    <a:pt x="0" y="2"/>
                  </a:lnTo>
                  <a:lnTo>
                    <a:pt x="1" y="6"/>
                  </a:lnTo>
                  <a:lnTo>
                    <a:pt x="6" y="12"/>
                  </a:lnTo>
                  <a:lnTo>
                    <a:pt x="10" y="14"/>
                  </a:lnTo>
                  <a:lnTo>
                    <a:pt x="12" y="20"/>
                  </a:lnTo>
                  <a:lnTo>
                    <a:pt x="15" y="18"/>
                  </a:lnTo>
                  <a:lnTo>
                    <a:pt x="13" y="11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886" name="Freeform 231"/>
            <p:cNvSpPr>
              <a:spLocks/>
            </p:cNvSpPr>
            <p:nvPr userDrawn="1"/>
          </p:nvSpPr>
          <p:spPr bwMode="auto">
            <a:xfrm>
              <a:off x="4381" y="3160"/>
              <a:ext cx="26" cy="25"/>
            </a:xfrm>
            <a:custGeom>
              <a:avLst/>
              <a:gdLst>
                <a:gd name="T0" fmla="*/ 0 w 26"/>
                <a:gd name="T1" fmla="*/ 0 h 25"/>
                <a:gd name="T2" fmla="*/ 6 w 26"/>
                <a:gd name="T3" fmla="*/ 9 h 25"/>
                <a:gd name="T4" fmla="*/ 14 w 26"/>
                <a:gd name="T5" fmla="*/ 19 h 25"/>
                <a:gd name="T6" fmla="*/ 26 w 26"/>
                <a:gd name="T7" fmla="*/ 25 h 25"/>
                <a:gd name="T8" fmla="*/ 17 w 26"/>
                <a:gd name="T9" fmla="*/ 16 h 25"/>
                <a:gd name="T10" fmla="*/ 0 w 26"/>
                <a:gd name="T11" fmla="*/ 0 h 25"/>
                <a:gd name="T12" fmla="*/ 0 w 26"/>
                <a:gd name="T13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25">
                  <a:moveTo>
                    <a:pt x="0" y="0"/>
                  </a:moveTo>
                  <a:lnTo>
                    <a:pt x="6" y="9"/>
                  </a:lnTo>
                  <a:lnTo>
                    <a:pt x="14" y="19"/>
                  </a:lnTo>
                  <a:lnTo>
                    <a:pt x="26" y="25"/>
                  </a:lnTo>
                  <a:lnTo>
                    <a:pt x="17" y="1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887" name="Freeform 232"/>
            <p:cNvSpPr>
              <a:spLocks/>
            </p:cNvSpPr>
            <p:nvPr userDrawn="1"/>
          </p:nvSpPr>
          <p:spPr bwMode="auto">
            <a:xfrm>
              <a:off x="4389" y="3133"/>
              <a:ext cx="27" cy="25"/>
            </a:xfrm>
            <a:custGeom>
              <a:avLst/>
              <a:gdLst>
                <a:gd name="T0" fmla="*/ 0 w 27"/>
                <a:gd name="T1" fmla="*/ 0 h 25"/>
                <a:gd name="T2" fmla="*/ 1 w 27"/>
                <a:gd name="T3" fmla="*/ 6 h 25"/>
                <a:gd name="T4" fmla="*/ 7 w 27"/>
                <a:gd name="T5" fmla="*/ 13 h 25"/>
                <a:gd name="T6" fmla="*/ 15 w 27"/>
                <a:gd name="T7" fmla="*/ 21 h 25"/>
                <a:gd name="T8" fmla="*/ 14 w 27"/>
                <a:gd name="T9" fmla="*/ 15 h 25"/>
                <a:gd name="T10" fmla="*/ 27 w 27"/>
                <a:gd name="T11" fmla="*/ 25 h 25"/>
                <a:gd name="T12" fmla="*/ 27 w 27"/>
                <a:gd name="T13" fmla="*/ 22 h 25"/>
                <a:gd name="T14" fmla="*/ 21 w 27"/>
                <a:gd name="T15" fmla="*/ 18 h 25"/>
                <a:gd name="T16" fmla="*/ 14 w 27"/>
                <a:gd name="T17" fmla="*/ 10 h 25"/>
                <a:gd name="T18" fmla="*/ 18 w 27"/>
                <a:gd name="T19" fmla="*/ 12 h 25"/>
                <a:gd name="T20" fmla="*/ 17 w 27"/>
                <a:gd name="T21" fmla="*/ 9 h 25"/>
                <a:gd name="T22" fmla="*/ 3 w 27"/>
                <a:gd name="T23" fmla="*/ 0 h 25"/>
                <a:gd name="T24" fmla="*/ 0 w 27"/>
                <a:gd name="T25" fmla="*/ 0 h 25"/>
                <a:gd name="T26" fmla="*/ 0 w 27"/>
                <a:gd name="T27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7" h="25">
                  <a:moveTo>
                    <a:pt x="0" y="0"/>
                  </a:moveTo>
                  <a:lnTo>
                    <a:pt x="1" y="6"/>
                  </a:lnTo>
                  <a:lnTo>
                    <a:pt x="7" y="13"/>
                  </a:lnTo>
                  <a:lnTo>
                    <a:pt x="15" y="21"/>
                  </a:lnTo>
                  <a:lnTo>
                    <a:pt x="14" y="15"/>
                  </a:lnTo>
                  <a:lnTo>
                    <a:pt x="27" y="25"/>
                  </a:lnTo>
                  <a:lnTo>
                    <a:pt x="27" y="22"/>
                  </a:lnTo>
                  <a:lnTo>
                    <a:pt x="21" y="18"/>
                  </a:lnTo>
                  <a:lnTo>
                    <a:pt x="14" y="10"/>
                  </a:lnTo>
                  <a:lnTo>
                    <a:pt x="18" y="12"/>
                  </a:lnTo>
                  <a:lnTo>
                    <a:pt x="17" y="9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888" name="Freeform 233"/>
            <p:cNvSpPr>
              <a:spLocks/>
            </p:cNvSpPr>
            <p:nvPr userDrawn="1"/>
          </p:nvSpPr>
          <p:spPr bwMode="auto">
            <a:xfrm>
              <a:off x="4401" y="3157"/>
              <a:ext cx="9" cy="6"/>
            </a:xfrm>
            <a:custGeom>
              <a:avLst/>
              <a:gdLst>
                <a:gd name="T0" fmla="*/ 6 w 9"/>
                <a:gd name="T1" fmla="*/ 6 h 6"/>
                <a:gd name="T2" fmla="*/ 9 w 9"/>
                <a:gd name="T3" fmla="*/ 4 h 6"/>
                <a:gd name="T4" fmla="*/ 0 w 9"/>
                <a:gd name="T5" fmla="*/ 0 h 6"/>
                <a:gd name="T6" fmla="*/ 6 w 9"/>
                <a:gd name="T7" fmla="*/ 6 h 6"/>
                <a:gd name="T8" fmla="*/ 6 w 9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6">
                  <a:moveTo>
                    <a:pt x="6" y="6"/>
                  </a:moveTo>
                  <a:lnTo>
                    <a:pt x="9" y="4"/>
                  </a:lnTo>
                  <a:lnTo>
                    <a:pt x="0" y="0"/>
                  </a:lnTo>
                  <a:lnTo>
                    <a:pt x="6" y="6"/>
                  </a:lnTo>
                  <a:lnTo>
                    <a:pt x="6" y="6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889" name="Freeform 234"/>
            <p:cNvSpPr>
              <a:spLocks/>
            </p:cNvSpPr>
            <p:nvPr userDrawn="1"/>
          </p:nvSpPr>
          <p:spPr bwMode="auto">
            <a:xfrm>
              <a:off x="4369" y="3084"/>
              <a:ext cx="31" cy="40"/>
            </a:xfrm>
            <a:custGeom>
              <a:avLst/>
              <a:gdLst>
                <a:gd name="T0" fmla="*/ 15 w 31"/>
                <a:gd name="T1" fmla="*/ 29 h 40"/>
                <a:gd name="T2" fmla="*/ 24 w 31"/>
                <a:gd name="T3" fmla="*/ 34 h 40"/>
                <a:gd name="T4" fmla="*/ 27 w 31"/>
                <a:gd name="T5" fmla="*/ 35 h 40"/>
                <a:gd name="T6" fmla="*/ 31 w 31"/>
                <a:gd name="T7" fmla="*/ 40 h 40"/>
                <a:gd name="T8" fmla="*/ 26 w 31"/>
                <a:gd name="T9" fmla="*/ 29 h 40"/>
                <a:gd name="T10" fmla="*/ 20 w 31"/>
                <a:gd name="T11" fmla="*/ 23 h 40"/>
                <a:gd name="T12" fmla="*/ 23 w 31"/>
                <a:gd name="T13" fmla="*/ 18 h 40"/>
                <a:gd name="T14" fmla="*/ 20 w 31"/>
                <a:gd name="T15" fmla="*/ 15 h 40"/>
                <a:gd name="T16" fmla="*/ 9 w 31"/>
                <a:gd name="T17" fmla="*/ 0 h 40"/>
                <a:gd name="T18" fmla="*/ 6 w 31"/>
                <a:gd name="T19" fmla="*/ 0 h 40"/>
                <a:gd name="T20" fmla="*/ 6 w 31"/>
                <a:gd name="T21" fmla="*/ 6 h 40"/>
                <a:gd name="T22" fmla="*/ 0 w 31"/>
                <a:gd name="T23" fmla="*/ 6 h 40"/>
                <a:gd name="T24" fmla="*/ 2 w 31"/>
                <a:gd name="T25" fmla="*/ 14 h 40"/>
                <a:gd name="T26" fmla="*/ 11 w 31"/>
                <a:gd name="T27" fmla="*/ 21 h 40"/>
                <a:gd name="T28" fmla="*/ 14 w 31"/>
                <a:gd name="T29" fmla="*/ 21 h 40"/>
                <a:gd name="T30" fmla="*/ 15 w 31"/>
                <a:gd name="T31" fmla="*/ 29 h 40"/>
                <a:gd name="T32" fmla="*/ 15 w 31"/>
                <a:gd name="T33" fmla="*/ 2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15" y="29"/>
                  </a:moveTo>
                  <a:lnTo>
                    <a:pt x="24" y="34"/>
                  </a:lnTo>
                  <a:lnTo>
                    <a:pt x="27" y="35"/>
                  </a:lnTo>
                  <a:lnTo>
                    <a:pt x="31" y="40"/>
                  </a:lnTo>
                  <a:lnTo>
                    <a:pt x="26" y="29"/>
                  </a:lnTo>
                  <a:lnTo>
                    <a:pt x="20" y="23"/>
                  </a:lnTo>
                  <a:lnTo>
                    <a:pt x="23" y="18"/>
                  </a:lnTo>
                  <a:lnTo>
                    <a:pt x="20" y="15"/>
                  </a:lnTo>
                  <a:lnTo>
                    <a:pt x="9" y="0"/>
                  </a:lnTo>
                  <a:lnTo>
                    <a:pt x="6" y="0"/>
                  </a:lnTo>
                  <a:lnTo>
                    <a:pt x="6" y="6"/>
                  </a:lnTo>
                  <a:lnTo>
                    <a:pt x="0" y="6"/>
                  </a:lnTo>
                  <a:lnTo>
                    <a:pt x="2" y="14"/>
                  </a:lnTo>
                  <a:lnTo>
                    <a:pt x="11" y="21"/>
                  </a:lnTo>
                  <a:lnTo>
                    <a:pt x="14" y="21"/>
                  </a:lnTo>
                  <a:lnTo>
                    <a:pt x="15" y="29"/>
                  </a:lnTo>
                  <a:lnTo>
                    <a:pt x="15" y="29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890" name="Freeform 235"/>
            <p:cNvSpPr>
              <a:spLocks/>
            </p:cNvSpPr>
            <p:nvPr userDrawn="1"/>
          </p:nvSpPr>
          <p:spPr bwMode="auto">
            <a:xfrm>
              <a:off x="4384" y="3121"/>
              <a:ext cx="12" cy="10"/>
            </a:xfrm>
            <a:custGeom>
              <a:avLst/>
              <a:gdLst>
                <a:gd name="T0" fmla="*/ 9 w 12"/>
                <a:gd name="T1" fmla="*/ 7 h 10"/>
                <a:gd name="T2" fmla="*/ 5 w 12"/>
                <a:gd name="T3" fmla="*/ 0 h 10"/>
                <a:gd name="T4" fmla="*/ 0 w 12"/>
                <a:gd name="T5" fmla="*/ 1 h 10"/>
                <a:gd name="T6" fmla="*/ 2 w 12"/>
                <a:gd name="T7" fmla="*/ 4 h 10"/>
                <a:gd name="T8" fmla="*/ 12 w 12"/>
                <a:gd name="T9" fmla="*/ 10 h 10"/>
                <a:gd name="T10" fmla="*/ 9 w 12"/>
                <a:gd name="T11" fmla="*/ 7 h 10"/>
                <a:gd name="T12" fmla="*/ 9 w 12"/>
                <a:gd name="T13" fmla="*/ 7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0">
                  <a:moveTo>
                    <a:pt x="9" y="7"/>
                  </a:moveTo>
                  <a:lnTo>
                    <a:pt x="5" y="0"/>
                  </a:lnTo>
                  <a:lnTo>
                    <a:pt x="0" y="1"/>
                  </a:lnTo>
                  <a:lnTo>
                    <a:pt x="2" y="4"/>
                  </a:lnTo>
                  <a:lnTo>
                    <a:pt x="12" y="10"/>
                  </a:lnTo>
                  <a:lnTo>
                    <a:pt x="9" y="7"/>
                  </a:lnTo>
                  <a:lnTo>
                    <a:pt x="9" y="7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891" name="Freeform 236"/>
            <p:cNvSpPr>
              <a:spLocks/>
            </p:cNvSpPr>
            <p:nvPr userDrawn="1"/>
          </p:nvSpPr>
          <p:spPr bwMode="auto">
            <a:xfrm>
              <a:off x="4475" y="3240"/>
              <a:ext cx="15" cy="6"/>
            </a:xfrm>
            <a:custGeom>
              <a:avLst/>
              <a:gdLst>
                <a:gd name="T0" fmla="*/ 0 w 15"/>
                <a:gd name="T1" fmla="*/ 0 h 6"/>
                <a:gd name="T2" fmla="*/ 9 w 15"/>
                <a:gd name="T3" fmla="*/ 4 h 6"/>
                <a:gd name="T4" fmla="*/ 15 w 15"/>
                <a:gd name="T5" fmla="*/ 6 h 6"/>
                <a:gd name="T6" fmla="*/ 6 w 15"/>
                <a:gd name="T7" fmla="*/ 0 h 6"/>
                <a:gd name="T8" fmla="*/ 0 w 15"/>
                <a:gd name="T9" fmla="*/ 0 h 6"/>
                <a:gd name="T10" fmla="*/ 0 w 15"/>
                <a:gd name="T11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" h="6">
                  <a:moveTo>
                    <a:pt x="0" y="0"/>
                  </a:moveTo>
                  <a:lnTo>
                    <a:pt x="9" y="4"/>
                  </a:lnTo>
                  <a:lnTo>
                    <a:pt x="15" y="6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892" name="Freeform 237"/>
            <p:cNvSpPr>
              <a:spLocks/>
            </p:cNvSpPr>
            <p:nvPr userDrawn="1"/>
          </p:nvSpPr>
          <p:spPr bwMode="auto">
            <a:xfrm>
              <a:off x="4495" y="3243"/>
              <a:ext cx="24" cy="10"/>
            </a:xfrm>
            <a:custGeom>
              <a:avLst/>
              <a:gdLst>
                <a:gd name="T0" fmla="*/ 3 w 24"/>
                <a:gd name="T1" fmla="*/ 7 h 10"/>
                <a:gd name="T2" fmla="*/ 10 w 24"/>
                <a:gd name="T3" fmla="*/ 9 h 10"/>
                <a:gd name="T4" fmla="*/ 22 w 24"/>
                <a:gd name="T5" fmla="*/ 10 h 10"/>
                <a:gd name="T6" fmla="*/ 24 w 24"/>
                <a:gd name="T7" fmla="*/ 6 h 10"/>
                <a:gd name="T8" fmla="*/ 13 w 24"/>
                <a:gd name="T9" fmla="*/ 0 h 10"/>
                <a:gd name="T10" fmla="*/ 0 w 24"/>
                <a:gd name="T11" fmla="*/ 0 h 10"/>
                <a:gd name="T12" fmla="*/ 0 w 24"/>
                <a:gd name="T13" fmla="*/ 3 h 10"/>
                <a:gd name="T14" fmla="*/ 3 w 24"/>
                <a:gd name="T15" fmla="*/ 7 h 10"/>
                <a:gd name="T16" fmla="*/ 3 w 24"/>
                <a:gd name="T17" fmla="*/ 7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" h="10">
                  <a:moveTo>
                    <a:pt x="3" y="7"/>
                  </a:moveTo>
                  <a:lnTo>
                    <a:pt x="10" y="9"/>
                  </a:lnTo>
                  <a:lnTo>
                    <a:pt x="22" y="10"/>
                  </a:lnTo>
                  <a:lnTo>
                    <a:pt x="24" y="6"/>
                  </a:lnTo>
                  <a:lnTo>
                    <a:pt x="13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3" y="7"/>
                  </a:lnTo>
                  <a:lnTo>
                    <a:pt x="3" y="7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893" name="Freeform 238"/>
            <p:cNvSpPr>
              <a:spLocks/>
            </p:cNvSpPr>
            <p:nvPr userDrawn="1"/>
          </p:nvSpPr>
          <p:spPr bwMode="auto">
            <a:xfrm>
              <a:off x="4492" y="3256"/>
              <a:ext cx="40" cy="9"/>
            </a:xfrm>
            <a:custGeom>
              <a:avLst/>
              <a:gdLst>
                <a:gd name="T0" fmla="*/ 40 w 40"/>
                <a:gd name="T1" fmla="*/ 9 h 9"/>
                <a:gd name="T2" fmla="*/ 40 w 40"/>
                <a:gd name="T3" fmla="*/ 6 h 9"/>
                <a:gd name="T4" fmla="*/ 19 w 40"/>
                <a:gd name="T5" fmla="*/ 5 h 9"/>
                <a:gd name="T6" fmla="*/ 0 w 40"/>
                <a:gd name="T7" fmla="*/ 0 h 9"/>
                <a:gd name="T8" fmla="*/ 1 w 40"/>
                <a:gd name="T9" fmla="*/ 5 h 9"/>
                <a:gd name="T10" fmla="*/ 19 w 40"/>
                <a:gd name="T11" fmla="*/ 9 h 9"/>
                <a:gd name="T12" fmla="*/ 40 w 40"/>
                <a:gd name="T13" fmla="*/ 9 h 9"/>
                <a:gd name="T14" fmla="*/ 40 w 40"/>
                <a:gd name="T15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9">
                  <a:moveTo>
                    <a:pt x="40" y="9"/>
                  </a:moveTo>
                  <a:lnTo>
                    <a:pt x="40" y="6"/>
                  </a:lnTo>
                  <a:lnTo>
                    <a:pt x="19" y="5"/>
                  </a:lnTo>
                  <a:lnTo>
                    <a:pt x="0" y="0"/>
                  </a:lnTo>
                  <a:lnTo>
                    <a:pt x="1" y="5"/>
                  </a:lnTo>
                  <a:lnTo>
                    <a:pt x="19" y="9"/>
                  </a:lnTo>
                  <a:lnTo>
                    <a:pt x="40" y="9"/>
                  </a:lnTo>
                  <a:lnTo>
                    <a:pt x="40" y="9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894" name="Freeform 239"/>
            <p:cNvSpPr>
              <a:spLocks/>
            </p:cNvSpPr>
            <p:nvPr userDrawn="1"/>
          </p:nvSpPr>
          <p:spPr bwMode="auto">
            <a:xfrm>
              <a:off x="4472" y="3268"/>
              <a:ext cx="9" cy="9"/>
            </a:xfrm>
            <a:custGeom>
              <a:avLst/>
              <a:gdLst>
                <a:gd name="T0" fmla="*/ 0 w 9"/>
                <a:gd name="T1" fmla="*/ 3 h 9"/>
                <a:gd name="T2" fmla="*/ 1 w 9"/>
                <a:gd name="T3" fmla="*/ 6 h 9"/>
                <a:gd name="T4" fmla="*/ 1 w 9"/>
                <a:gd name="T5" fmla="*/ 9 h 9"/>
                <a:gd name="T6" fmla="*/ 9 w 9"/>
                <a:gd name="T7" fmla="*/ 2 h 9"/>
                <a:gd name="T8" fmla="*/ 6 w 9"/>
                <a:gd name="T9" fmla="*/ 0 h 9"/>
                <a:gd name="T10" fmla="*/ 0 w 9"/>
                <a:gd name="T11" fmla="*/ 3 h 9"/>
                <a:gd name="T12" fmla="*/ 0 w 9"/>
                <a:gd name="T13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9">
                  <a:moveTo>
                    <a:pt x="0" y="3"/>
                  </a:moveTo>
                  <a:lnTo>
                    <a:pt x="1" y="6"/>
                  </a:lnTo>
                  <a:lnTo>
                    <a:pt x="1" y="9"/>
                  </a:lnTo>
                  <a:lnTo>
                    <a:pt x="9" y="2"/>
                  </a:lnTo>
                  <a:lnTo>
                    <a:pt x="6" y="0"/>
                  </a:lnTo>
                  <a:lnTo>
                    <a:pt x="0" y="3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895" name="Freeform 240"/>
            <p:cNvSpPr>
              <a:spLocks/>
            </p:cNvSpPr>
            <p:nvPr userDrawn="1"/>
          </p:nvSpPr>
          <p:spPr bwMode="auto">
            <a:xfrm>
              <a:off x="4502" y="3280"/>
              <a:ext cx="42" cy="14"/>
            </a:xfrm>
            <a:custGeom>
              <a:avLst/>
              <a:gdLst>
                <a:gd name="T0" fmla="*/ 20 w 42"/>
                <a:gd name="T1" fmla="*/ 8 h 14"/>
                <a:gd name="T2" fmla="*/ 8 w 42"/>
                <a:gd name="T3" fmla="*/ 0 h 14"/>
                <a:gd name="T4" fmla="*/ 0 w 42"/>
                <a:gd name="T5" fmla="*/ 2 h 14"/>
                <a:gd name="T6" fmla="*/ 21 w 42"/>
                <a:gd name="T7" fmla="*/ 14 h 14"/>
                <a:gd name="T8" fmla="*/ 29 w 42"/>
                <a:gd name="T9" fmla="*/ 10 h 14"/>
                <a:gd name="T10" fmla="*/ 42 w 42"/>
                <a:gd name="T11" fmla="*/ 10 h 14"/>
                <a:gd name="T12" fmla="*/ 29 w 42"/>
                <a:gd name="T13" fmla="*/ 5 h 14"/>
                <a:gd name="T14" fmla="*/ 20 w 42"/>
                <a:gd name="T15" fmla="*/ 8 h 14"/>
                <a:gd name="T16" fmla="*/ 20 w 42"/>
                <a:gd name="T17" fmla="*/ 8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" h="14">
                  <a:moveTo>
                    <a:pt x="20" y="8"/>
                  </a:moveTo>
                  <a:lnTo>
                    <a:pt x="8" y="0"/>
                  </a:lnTo>
                  <a:lnTo>
                    <a:pt x="0" y="2"/>
                  </a:lnTo>
                  <a:lnTo>
                    <a:pt x="21" y="14"/>
                  </a:lnTo>
                  <a:lnTo>
                    <a:pt x="29" y="10"/>
                  </a:lnTo>
                  <a:lnTo>
                    <a:pt x="42" y="10"/>
                  </a:lnTo>
                  <a:lnTo>
                    <a:pt x="29" y="5"/>
                  </a:lnTo>
                  <a:lnTo>
                    <a:pt x="20" y="8"/>
                  </a:lnTo>
                  <a:lnTo>
                    <a:pt x="20" y="8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896" name="Freeform 241"/>
            <p:cNvSpPr>
              <a:spLocks/>
            </p:cNvSpPr>
            <p:nvPr userDrawn="1"/>
          </p:nvSpPr>
          <p:spPr bwMode="auto">
            <a:xfrm>
              <a:off x="4393" y="3157"/>
              <a:ext cx="20" cy="19"/>
            </a:xfrm>
            <a:custGeom>
              <a:avLst/>
              <a:gdLst>
                <a:gd name="T0" fmla="*/ 0 w 20"/>
                <a:gd name="T1" fmla="*/ 0 h 19"/>
                <a:gd name="T2" fmla="*/ 20 w 20"/>
                <a:gd name="T3" fmla="*/ 19 h 19"/>
                <a:gd name="T4" fmla="*/ 19 w 20"/>
                <a:gd name="T5" fmla="*/ 13 h 19"/>
                <a:gd name="T6" fmla="*/ 0 w 20"/>
                <a:gd name="T7" fmla="*/ 0 h 19"/>
                <a:gd name="T8" fmla="*/ 0 w 20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19">
                  <a:moveTo>
                    <a:pt x="0" y="0"/>
                  </a:moveTo>
                  <a:lnTo>
                    <a:pt x="20" y="19"/>
                  </a:lnTo>
                  <a:lnTo>
                    <a:pt x="19" y="13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897" name="Freeform 242"/>
            <p:cNvSpPr>
              <a:spLocks/>
            </p:cNvSpPr>
            <p:nvPr userDrawn="1"/>
          </p:nvSpPr>
          <p:spPr bwMode="auto">
            <a:xfrm>
              <a:off x="4549" y="3294"/>
              <a:ext cx="27" cy="12"/>
            </a:xfrm>
            <a:custGeom>
              <a:avLst/>
              <a:gdLst>
                <a:gd name="T0" fmla="*/ 3 w 27"/>
                <a:gd name="T1" fmla="*/ 0 h 12"/>
                <a:gd name="T2" fmla="*/ 0 w 27"/>
                <a:gd name="T3" fmla="*/ 2 h 12"/>
                <a:gd name="T4" fmla="*/ 9 w 27"/>
                <a:gd name="T5" fmla="*/ 9 h 12"/>
                <a:gd name="T6" fmla="*/ 25 w 27"/>
                <a:gd name="T7" fmla="*/ 12 h 12"/>
                <a:gd name="T8" fmla="*/ 27 w 27"/>
                <a:gd name="T9" fmla="*/ 9 h 12"/>
                <a:gd name="T10" fmla="*/ 12 w 27"/>
                <a:gd name="T11" fmla="*/ 5 h 12"/>
                <a:gd name="T12" fmla="*/ 3 w 27"/>
                <a:gd name="T13" fmla="*/ 0 h 12"/>
                <a:gd name="T14" fmla="*/ 3 w 27"/>
                <a:gd name="T1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" h="12">
                  <a:moveTo>
                    <a:pt x="3" y="0"/>
                  </a:moveTo>
                  <a:lnTo>
                    <a:pt x="0" y="2"/>
                  </a:lnTo>
                  <a:lnTo>
                    <a:pt x="9" y="9"/>
                  </a:lnTo>
                  <a:lnTo>
                    <a:pt x="25" y="12"/>
                  </a:lnTo>
                  <a:lnTo>
                    <a:pt x="27" y="9"/>
                  </a:lnTo>
                  <a:lnTo>
                    <a:pt x="12" y="5"/>
                  </a:lnTo>
                  <a:lnTo>
                    <a:pt x="3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898" name="Freeform 243"/>
            <p:cNvSpPr>
              <a:spLocks/>
            </p:cNvSpPr>
            <p:nvPr userDrawn="1"/>
          </p:nvSpPr>
          <p:spPr bwMode="auto">
            <a:xfrm>
              <a:off x="4523" y="3297"/>
              <a:ext cx="6" cy="3"/>
            </a:xfrm>
            <a:custGeom>
              <a:avLst/>
              <a:gdLst>
                <a:gd name="T0" fmla="*/ 3 w 6"/>
                <a:gd name="T1" fmla="*/ 3 h 3"/>
                <a:gd name="T2" fmla="*/ 6 w 6"/>
                <a:gd name="T3" fmla="*/ 0 h 3"/>
                <a:gd name="T4" fmla="*/ 0 w 6"/>
                <a:gd name="T5" fmla="*/ 0 h 3"/>
                <a:gd name="T6" fmla="*/ 3 w 6"/>
                <a:gd name="T7" fmla="*/ 3 h 3"/>
                <a:gd name="T8" fmla="*/ 3 w 6"/>
                <a:gd name="T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3">
                  <a:moveTo>
                    <a:pt x="3" y="3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3" y="3"/>
                  </a:lnTo>
                  <a:lnTo>
                    <a:pt x="3" y="3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899" name="Freeform 244"/>
            <p:cNvSpPr>
              <a:spLocks/>
            </p:cNvSpPr>
            <p:nvPr userDrawn="1"/>
          </p:nvSpPr>
          <p:spPr bwMode="auto">
            <a:xfrm>
              <a:off x="4695" y="3548"/>
              <a:ext cx="27" cy="36"/>
            </a:xfrm>
            <a:custGeom>
              <a:avLst/>
              <a:gdLst>
                <a:gd name="T0" fmla="*/ 14 w 27"/>
                <a:gd name="T1" fmla="*/ 28 h 36"/>
                <a:gd name="T2" fmla="*/ 26 w 27"/>
                <a:gd name="T3" fmla="*/ 36 h 36"/>
                <a:gd name="T4" fmla="*/ 27 w 27"/>
                <a:gd name="T5" fmla="*/ 28 h 36"/>
                <a:gd name="T6" fmla="*/ 20 w 27"/>
                <a:gd name="T7" fmla="*/ 28 h 36"/>
                <a:gd name="T8" fmla="*/ 20 w 27"/>
                <a:gd name="T9" fmla="*/ 22 h 36"/>
                <a:gd name="T10" fmla="*/ 14 w 27"/>
                <a:gd name="T11" fmla="*/ 18 h 36"/>
                <a:gd name="T12" fmla="*/ 12 w 27"/>
                <a:gd name="T13" fmla="*/ 10 h 36"/>
                <a:gd name="T14" fmla="*/ 20 w 27"/>
                <a:gd name="T15" fmla="*/ 7 h 36"/>
                <a:gd name="T16" fmla="*/ 17 w 27"/>
                <a:gd name="T17" fmla="*/ 3 h 36"/>
                <a:gd name="T18" fmla="*/ 12 w 27"/>
                <a:gd name="T19" fmla="*/ 0 h 36"/>
                <a:gd name="T20" fmla="*/ 11 w 27"/>
                <a:gd name="T21" fmla="*/ 3 h 36"/>
                <a:gd name="T22" fmla="*/ 0 w 27"/>
                <a:gd name="T23" fmla="*/ 1 h 36"/>
                <a:gd name="T24" fmla="*/ 0 w 27"/>
                <a:gd name="T25" fmla="*/ 6 h 36"/>
                <a:gd name="T26" fmla="*/ 14 w 27"/>
                <a:gd name="T27" fmla="*/ 21 h 36"/>
                <a:gd name="T28" fmla="*/ 14 w 27"/>
                <a:gd name="T29" fmla="*/ 28 h 36"/>
                <a:gd name="T30" fmla="*/ 14 w 27"/>
                <a:gd name="T31" fmla="*/ 2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7" h="36">
                  <a:moveTo>
                    <a:pt x="14" y="28"/>
                  </a:moveTo>
                  <a:lnTo>
                    <a:pt x="26" y="36"/>
                  </a:lnTo>
                  <a:lnTo>
                    <a:pt x="27" y="28"/>
                  </a:lnTo>
                  <a:lnTo>
                    <a:pt x="20" y="28"/>
                  </a:lnTo>
                  <a:lnTo>
                    <a:pt x="20" y="22"/>
                  </a:lnTo>
                  <a:lnTo>
                    <a:pt x="14" y="18"/>
                  </a:lnTo>
                  <a:lnTo>
                    <a:pt x="12" y="10"/>
                  </a:lnTo>
                  <a:lnTo>
                    <a:pt x="20" y="7"/>
                  </a:lnTo>
                  <a:lnTo>
                    <a:pt x="17" y="3"/>
                  </a:lnTo>
                  <a:lnTo>
                    <a:pt x="12" y="0"/>
                  </a:lnTo>
                  <a:lnTo>
                    <a:pt x="11" y="3"/>
                  </a:lnTo>
                  <a:lnTo>
                    <a:pt x="0" y="1"/>
                  </a:lnTo>
                  <a:lnTo>
                    <a:pt x="0" y="6"/>
                  </a:lnTo>
                  <a:lnTo>
                    <a:pt x="14" y="21"/>
                  </a:lnTo>
                  <a:lnTo>
                    <a:pt x="14" y="28"/>
                  </a:lnTo>
                  <a:lnTo>
                    <a:pt x="14" y="28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900" name="Freeform 245"/>
            <p:cNvSpPr>
              <a:spLocks/>
            </p:cNvSpPr>
            <p:nvPr userDrawn="1"/>
          </p:nvSpPr>
          <p:spPr bwMode="auto">
            <a:xfrm>
              <a:off x="4751" y="3624"/>
              <a:ext cx="15" cy="25"/>
            </a:xfrm>
            <a:custGeom>
              <a:avLst/>
              <a:gdLst>
                <a:gd name="T0" fmla="*/ 9 w 15"/>
                <a:gd name="T1" fmla="*/ 19 h 25"/>
                <a:gd name="T2" fmla="*/ 9 w 15"/>
                <a:gd name="T3" fmla="*/ 22 h 25"/>
                <a:gd name="T4" fmla="*/ 14 w 15"/>
                <a:gd name="T5" fmla="*/ 22 h 25"/>
                <a:gd name="T6" fmla="*/ 15 w 15"/>
                <a:gd name="T7" fmla="*/ 11 h 25"/>
                <a:gd name="T8" fmla="*/ 12 w 15"/>
                <a:gd name="T9" fmla="*/ 7 h 25"/>
                <a:gd name="T10" fmla="*/ 12 w 15"/>
                <a:gd name="T11" fmla="*/ 0 h 25"/>
                <a:gd name="T12" fmla="*/ 4 w 15"/>
                <a:gd name="T13" fmla="*/ 5 h 25"/>
                <a:gd name="T14" fmla="*/ 4 w 15"/>
                <a:gd name="T15" fmla="*/ 13 h 25"/>
                <a:gd name="T16" fmla="*/ 1 w 15"/>
                <a:gd name="T17" fmla="*/ 17 h 25"/>
                <a:gd name="T18" fmla="*/ 0 w 15"/>
                <a:gd name="T19" fmla="*/ 23 h 25"/>
                <a:gd name="T20" fmla="*/ 3 w 15"/>
                <a:gd name="T21" fmla="*/ 25 h 25"/>
                <a:gd name="T22" fmla="*/ 9 w 15"/>
                <a:gd name="T23" fmla="*/ 19 h 25"/>
                <a:gd name="T24" fmla="*/ 9 w 15"/>
                <a:gd name="T25" fmla="*/ 19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" h="25">
                  <a:moveTo>
                    <a:pt x="9" y="19"/>
                  </a:moveTo>
                  <a:lnTo>
                    <a:pt x="9" y="22"/>
                  </a:lnTo>
                  <a:lnTo>
                    <a:pt x="14" y="22"/>
                  </a:lnTo>
                  <a:lnTo>
                    <a:pt x="15" y="11"/>
                  </a:lnTo>
                  <a:lnTo>
                    <a:pt x="12" y="7"/>
                  </a:lnTo>
                  <a:lnTo>
                    <a:pt x="12" y="0"/>
                  </a:lnTo>
                  <a:lnTo>
                    <a:pt x="4" y="5"/>
                  </a:lnTo>
                  <a:lnTo>
                    <a:pt x="4" y="13"/>
                  </a:lnTo>
                  <a:lnTo>
                    <a:pt x="1" y="17"/>
                  </a:lnTo>
                  <a:lnTo>
                    <a:pt x="0" y="23"/>
                  </a:lnTo>
                  <a:lnTo>
                    <a:pt x="3" y="25"/>
                  </a:lnTo>
                  <a:lnTo>
                    <a:pt x="9" y="19"/>
                  </a:lnTo>
                  <a:lnTo>
                    <a:pt x="9" y="19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901" name="Freeform 246"/>
            <p:cNvSpPr>
              <a:spLocks/>
            </p:cNvSpPr>
            <p:nvPr userDrawn="1"/>
          </p:nvSpPr>
          <p:spPr bwMode="auto">
            <a:xfrm>
              <a:off x="4766" y="3641"/>
              <a:ext cx="6" cy="9"/>
            </a:xfrm>
            <a:custGeom>
              <a:avLst/>
              <a:gdLst>
                <a:gd name="T0" fmla="*/ 3 w 6"/>
                <a:gd name="T1" fmla="*/ 5 h 9"/>
                <a:gd name="T2" fmla="*/ 6 w 6"/>
                <a:gd name="T3" fmla="*/ 0 h 9"/>
                <a:gd name="T4" fmla="*/ 2 w 6"/>
                <a:gd name="T5" fmla="*/ 0 h 9"/>
                <a:gd name="T6" fmla="*/ 0 w 6"/>
                <a:gd name="T7" fmla="*/ 8 h 9"/>
                <a:gd name="T8" fmla="*/ 6 w 6"/>
                <a:gd name="T9" fmla="*/ 9 h 9"/>
                <a:gd name="T10" fmla="*/ 3 w 6"/>
                <a:gd name="T11" fmla="*/ 5 h 9"/>
                <a:gd name="T12" fmla="*/ 3 w 6"/>
                <a:gd name="T13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9">
                  <a:moveTo>
                    <a:pt x="3" y="5"/>
                  </a:moveTo>
                  <a:lnTo>
                    <a:pt x="6" y="0"/>
                  </a:lnTo>
                  <a:lnTo>
                    <a:pt x="2" y="0"/>
                  </a:lnTo>
                  <a:lnTo>
                    <a:pt x="0" y="8"/>
                  </a:lnTo>
                  <a:lnTo>
                    <a:pt x="6" y="9"/>
                  </a:lnTo>
                  <a:lnTo>
                    <a:pt x="3" y="5"/>
                  </a:lnTo>
                  <a:lnTo>
                    <a:pt x="3" y="5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902" name="Freeform 247"/>
            <p:cNvSpPr>
              <a:spLocks/>
            </p:cNvSpPr>
            <p:nvPr userDrawn="1"/>
          </p:nvSpPr>
          <p:spPr bwMode="auto">
            <a:xfrm>
              <a:off x="4757" y="3656"/>
              <a:ext cx="11" cy="17"/>
            </a:xfrm>
            <a:custGeom>
              <a:avLst/>
              <a:gdLst>
                <a:gd name="T0" fmla="*/ 0 w 11"/>
                <a:gd name="T1" fmla="*/ 0 h 17"/>
                <a:gd name="T2" fmla="*/ 0 w 11"/>
                <a:gd name="T3" fmla="*/ 11 h 17"/>
                <a:gd name="T4" fmla="*/ 4 w 11"/>
                <a:gd name="T5" fmla="*/ 14 h 17"/>
                <a:gd name="T6" fmla="*/ 11 w 11"/>
                <a:gd name="T7" fmla="*/ 17 h 17"/>
                <a:gd name="T8" fmla="*/ 11 w 11"/>
                <a:gd name="T9" fmla="*/ 12 h 17"/>
                <a:gd name="T10" fmla="*/ 4 w 11"/>
                <a:gd name="T11" fmla="*/ 9 h 17"/>
                <a:gd name="T12" fmla="*/ 6 w 11"/>
                <a:gd name="T13" fmla="*/ 2 h 17"/>
                <a:gd name="T14" fmla="*/ 0 w 11"/>
                <a:gd name="T15" fmla="*/ 0 h 17"/>
                <a:gd name="T16" fmla="*/ 0 w 11"/>
                <a:gd name="T17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" h="17">
                  <a:moveTo>
                    <a:pt x="0" y="0"/>
                  </a:moveTo>
                  <a:lnTo>
                    <a:pt x="0" y="11"/>
                  </a:lnTo>
                  <a:lnTo>
                    <a:pt x="4" y="14"/>
                  </a:lnTo>
                  <a:lnTo>
                    <a:pt x="11" y="17"/>
                  </a:lnTo>
                  <a:lnTo>
                    <a:pt x="11" y="12"/>
                  </a:lnTo>
                  <a:lnTo>
                    <a:pt x="4" y="9"/>
                  </a:lnTo>
                  <a:lnTo>
                    <a:pt x="6" y="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903" name="Freeform 248"/>
            <p:cNvSpPr>
              <a:spLocks/>
            </p:cNvSpPr>
            <p:nvPr userDrawn="1"/>
          </p:nvSpPr>
          <p:spPr bwMode="auto">
            <a:xfrm>
              <a:off x="4742" y="3655"/>
              <a:ext cx="29" cy="31"/>
            </a:xfrm>
            <a:custGeom>
              <a:avLst/>
              <a:gdLst>
                <a:gd name="T0" fmla="*/ 7 w 29"/>
                <a:gd name="T1" fmla="*/ 18 h 31"/>
                <a:gd name="T2" fmla="*/ 10 w 29"/>
                <a:gd name="T3" fmla="*/ 24 h 31"/>
                <a:gd name="T4" fmla="*/ 10 w 29"/>
                <a:gd name="T5" fmla="*/ 28 h 31"/>
                <a:gd name="T6" fmla="*/ 19 w 29"/>
                <a:gd name="T7" fmla="*/ 31 h 31"/>
                <a:gd name="T8" fmla="*/ 21 w 29"/>
                <a:gd name="T9" fmla="*/ 30 h 31"/>
                <a:gd name="T10" fmla="*/ 29 w 29"/>
                <a:gd name="T11" fmla="*/ 31 h 31"/>
                <a:gd name="T12" fmla="*/ 29 w 29"/>
                <a:gd name="T13" fmla="*/ 22 h 31"/>
                <a:gd name="T14" fmla="*/ 16 w 29"/>
                <a:gd name="T15" fmla="*/ 16 h 31"/>
                <a:gd name="T16" fmla="*/ 15 w 29"/>
                <a:gd name="T17" fmla="*/ 19 h 31"/>
                <a:gd name="T18" fmla="*/ 12 w 29"/>
                <a:gd name="T19" fmla="*/ 13 h 31"/>
                <a:gd name="T20" fmla="*/ 12 w 29"/>
                <a:gd name="T21" fmla="*/ 7 h 31"/>
                <a:gd name="T22" fmla="*/ 12 w 29"/>
                <a:gd name="T23" fmla="*/ 0 h 31"/>
                <a:gd name="T24" fmla="*/ 7 w 29"/>
                <a:gd name="T25" fmla="*/ 12 h 31"/>
                <a:gd name="T26" fmla="*/ 1 w 29"/>
                <a:gd name="T27" fmla="*/ 7 h 31"/>
                <a:gd name="T28" fmla="*/ 0 w 29"/>
                <a:gd name="T29" fmla="*/ 18 h 31"/>
                <a:gd name="T30" fmla="*/ 6 w 29"/>
                <a:gd name="T31" fmla="*/ 24 h 31"/>
                <a:gd name="T32" fmla="*/ 7 w 29"/>
                <a:gd name="T33" fmla="*/ 18 h 31"/>
                <a:gd name="T34" fmla="*/ 7 w 29"/>
                <a:gd name="T35" fmla="*/ 18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9" h="31">
                  <a:moveTo>
                    <a:pt x="7" y="18"/>
                  </a:moveTo>
                  <a:lnTo>
                    <a:pt x="10" y="24"/>
                  </a:lnTo>
                  <a:lnTo>
                    <a:pt x="10" y="28"/>
                  </a:lnTo>
                  <a:lnTo>
                    <a:pt x="19" y="31"/>
                  </a:lnTo>
                  <a:lnTo>
                    <a:pt x="21" y="30"/>
                  </a:lnTo>
                  <a:lnTo>
                    <a:pt x="29" y="31"/>
                  </a:lnTo>
                  <a:lnTo>
                    <a:pt x="29" y="22"/>
                  </a:lnTo>
                  <a:lnTo>
                    <a:pt x="16" y="16"/>
                  </a:lnTo>
                  <a:lnTo>
                    <a:pt x="15" y="19"/>
                  </a:lnTo>
                  <a:lnTo>
                    <a:pt x="12" y="13"/>
                  </a:lnTo>
                  <a:lnTo>
                    <a:pt x="12" y="7"/>
                  </a:lnTo>
                  <a:lnTo>
                    <a:pt x="12" y="0"/>
                  </a:lnTo>
                  <a:lnTo>
                    <a:pt x="7" y="12"/>
                  </a:lnTo>
                  <a:lnTo>
                    <a:pt x="1" y="7"/>
                  </a:lnTo>
                  <a:lnTo>
                    <a:pt x="0" y="18"/>
                  </a:lnTo>
                  <a:lnTo>
                    <a:pt x="6" y="24"/>
                  </a:lnTo>
                  <a:lnTo>
                    <a:pt x="7" y="18"/>
                  </a:lnTo>
                  <a:lnTo>
                    <a:pt x="7" y="18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904" name="Freeform 249"/>
            <p:cNvSpPr>
              <a:spLocks/>
            </p:cNvSpPr>
            <p:nvPr userDrawn="1"/>
          </p:nvSpPr>
          <p:spPr bwMode="auto">
            <a:xfrm>
              <a:off x="4760" y="3697"/>
              <a:ext cx="21" cy="20"/>
            </a:xfrm>
            <a:custGeom>
              <a:avLst/>
              <a:gdLst>
                <a:gd name="T0" fmla="*/ 6 w 21"/>
                <a:gd name="T1" fmla="*/ 1 h 20"/>
                <a:gd name="T2" fmla="*/ 1 w 21"/>
                <a:gd name="T3" fmla="*/ 0 h 20"/>
                <a:gd name="T4" fmla="*/ 0 w 21"/>
                <a:gd name="T5" fmla="*/ 7 h 20"/>
                <a:gd name="T6" fmla="*/ 5 w 21"/>
                <a:gd name="T7" fmla="*/ 15 h 20"/>
                <a:gd name="T8" fmla="*/ 11 w 21"/>
                <a:gd name="T9" fmla="*/ 20 h 20"/>
                <a:gd name="T10" fmla="*/ 12 w 21"/>
                <a:gd name="T11" fmla="*/ 13 h 20"/>
                <a:gd name="T12" fmla="*/ 21 w 21"/>
                <a:gd name="T13" fmla="*/ 16 h 20"/>
                <a:gd name="T14" fmla="*/ 15 w 21"/>
                <a:gd name="T15" fmla="*/ 6 h 20"/>
                <a:gd name="T16" fmla="*/ 6 w 21"/>
                <a:gd name="T17" fmla="*/ 4 h 20"/>
                <a:gd name="T18" fmla="*/ 6 w 21"/>
                <a:gd name="T19" fmla="*/ 1 h 20"/>
                <a:gd name="T20" fmla="*/ 6 w 21"/>
                <a:gd name="T21" fmla="*/ 1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" h="20">
                  <a:moveTo>
                    <a:pt x="6" y="1"/>
                  </a:moveTo>
                  <a:lnTo>
                    <a:pt x="1" y="0"/>
                  </a:lnTo>
                  <a:lnTo>
                    <a:pt x="0" y="7"/>
                  </a:lnTo>
                  <a:lnTo>
                    <a:pt x="5" y="15"/>
                  </a:lnTo>
                  <a:lnTo>
                    <a:pt x="11" y="20"/>
                  </a:lnTo>
                  <a:lnTo>
                    <a:pt x="12" y="13"/>
                  </a:lnTo>
                  <a:lnTo>
                    <a:pt x="21" y="16"/>
                  </a:lnTo>
                  <a:lnTo>
                    <a:pt x="15" y="6"/>
                  </a:lnTo>
                  <a:lnTo>
                    <a:pt x="6" y="4"/>
                  </a:lnTo>
                  <a:lnTo>
                    <a:pt x="6" y="1"/>
                  </a:lnTo>
                  <a:lnTo>
                    <a:pt x="6" y="1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905" name="Freeform 250"/>
            <p:cNvSpPr>
              <a:spLocks/>
            </p:cNvSpPr>
            <p:nvPr userDrawn="1"/>
          </p:nvSpPr>
          <p:spPr bwMode="auto">
            <a:xfrm>
              <a:off x="4938" y="3594"/>
              <a:ext cx="8" cy="6"/>
            </a:xfrm>
            <a:custGeom>
              <a:avLst/>
              <a:gdLst>
                <a:gd name="T0" fmla="*/ 0 w 8"/>
                <a:gd name="T1" fmla="*/ 6 h 6"/>
                <a:gd name="T2" fmla="*/ 8 w 8"/>
                <a:gd name="T3" fmla="*/ 0 h 6"/>
                <a:gd name="T4" fmla="*/ 1 w 8"/>
                <a:gd name="T5" fmla="*/ 0 h 6"/>
                <a:gd name="T6" fmla="*/ 0 w 8"/>
                <a:gd name="T7" fmla="*/ 6 h 6"/>
                <a:gd name="T8" fmla="*/ 0 w 8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6">
                  <a:moveTo>
                    <a:pt x="0" y="6"/>
                  </a:moveTo>
                  <a:lnTo>
                    <a:pt x="8" y="0"/>
                  </a:lnTo>
                  <a:lnTo>
                    <a:pt x="1" y="0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906" name="Freeform 251"/>
            <p:cNvSpPr>
              <a:spLocks/>
            </p:cNvSpPr>
            <p:nvPr userDrawn="1"/>
          </p:nvSpPr>
          <p:spPr bwMode="auto">
            <a:xfrm>
              <a:off x="4950" y="3590"/>
              <a:ext cx="12" cy="12"/>
            </a:xfrm>
            <a:custGeom>
              <a:avLst/>
              <a:gdLst>
                <a:gd name="T0" fmla="*/ 8 w 12"/>
                <a:gd name="T1" fmla="*/ 6 h 12"/>
                <a:gd name="T2" fmla="*/ 5 w 12"/>
                <a:gd name="T3" fmla="*/ 0 h 12"/>
                <a:gd name="T4" fmla="*/ 0 w 12"/>
                <a:gd name="T5" fmla="*/ 3 h 12"/>
                <a:gd name="T6" fmla="*/ 2 w 12"/>
                <a:gd name="T7" fmla="*/ 7 h 12"/>
                <a:gd name="T8" fmla="*/ 6 w 12"/>
                <a:gd name="T9" fmla="*/ 12 h 12"/>
                <a:gd name="T10" fmla="*/ 12 w 12"/>
                <a:gd name="T11" fmla="*/ 10 h 12"/>
                <a:gd name="T12" fmla="*/ 11 w 12"/>
                <a:gd name="T13" fmla="*/ 6 h 12"/>
                <a:gd name="T14" fmla="*/ 8 w 12"/>
                <a:gd name="T15" fmla="*/ 6 h 12"/>
                <a:gd name="T16" fmla="*/ 8 w 12"/>
                <a:gd name="T17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" h="12">
                  <a:moveTo>
                    <a:pt x="8" y="6"/>
                  </a:moveTo>
                  <a:lnTo>
                    <a:pt x="5" y="0"/>
                  </a:lnTo>
                  <a:lnTo>
                    <a:pt x="0" y="3"/>
                  </a:lnTo>
                  <a:lnTo>
                    <a:pt x="2" y="7"/>
                  </a:lnTo>
                  <a:lnTo>
                    <a:pt x="6" y="12"/>
                  </a:lnTo>
                  <a:lnTo>
                    <a:pt x="12" y="10"/>
                  </a:lnTo>
                  <a:lnTo>
                    <a:pt x="11" y="6"/>
                  </a:lnTo>
                  <a:lnTo>
                    <a:pt x="8" y="6"/>
                  </a:lnTo>
                  <a:lnTo>
                    <a:pt x="8" y="6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907" name="Freeform 252"/>
            <p:cNvSpPr>
              <a:spLocks/>
            </p:cNvSpPr>
            <p:nvPr userDrawn="1"/>
          </p:nvSpPr>
          <p:spPr bwMode="auto">
            <a:xfrm>
              <a:off x="4964" y="3582"/>
              <a:ext cx="6" cy="15"/>
            </a:xfrm>
            <a:custGeom>
              <a:avLst/>
              <a:gdLst>
                <a:gd name="T0" fmla="*/ 1 w 6"/>
                <a:gd name="T1" fmla="*/ 8 h 15"/>
                <a:gd name="T2" fmla="*/ 0 w 6"/>
                <a:gd name="T3" fmla="*/ 12 h 15"/>
                <a:gd name="T4" fmla="*/ 1 w 6"/>
                <a:gd name="T5" fmla="*/ 15 h 15"/>
                <a:gd name="T6" fmla="*/ 6 w 6"/>
                <a:gd name="T7" fmla="*/ 8 h 15"/>
                <a:gd name="T8" fmla="*/ 3 w 6"/>
                <a:gd name="T9" fmla="*/ 0 h 15"/>
                <a:gd name="T10" fmla="*/ 1 w 6"/>
                <a:gd name="T11" fmla="*/ 8 h 15"/>
                <a:gd name="T12" fmla="*/ 1 w 6"/>
                <a:gd name="T13" fmla="*/ 8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15">
                  <a:moveTo>
                    <a:pt x="1" y="8"/>
                  </a:moveTo>
                  <a:lnTo>
                    <a:pt x="0" y="12"/>
                  </a:lnTo>
                  <a:lnTo>
                    <a:pt x="1" y="15"/>
                  </a:lnTo>
                  <a:lnTo>
                    <a:pt x="6" y="8"/>
                  </a:lnTo>
                  <a:lnTo>
                    <a:pt x="3" y="0"/>
                  </a:lnTo>
                  <a:lnTo>
                    <a:pt x="1" y="8"/>
                  </a:lnTo>
                  <a:lnTo>
                    <a:pt x="1" y="8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908" name="Freeform 253"/>
            <p:cNvSpPr>
              <a:spLocks/>
            </p:cNvSpPr>
            <p:nvPr userDrawn="1"/>
          </p:nvSpPr>
          <p:spPr bwMode="auto">
            <a:xfrm>
              <a:off x="4909" y="3611"/>
              <a:ext cx="107" cy="86"/>
            </a:xfrm>
            <a:custGeom>
              <a:avLst/>
              <a:gdLst>
                <a:gd name="T0" fmla="*/ 65 w 107"/>
                <a:gd name="T1" fmla="*/ 53 h 86"/>
                <a:gd name="T2" fmla="*/ 74 w 107"/>
                <a:gd name="T3" fmla="*/ 59 h 86"/>
                <a:gd name="T4" fmla="*/ 73 w 107"/>
                <a:gd name="T5" fmla="*/ 65 h 86"/>
                <a:gd name="T6" fmla="*/ 85 w 107"/>
                <a:gd name="T7" fmla="*/ 71 h 86"/>
                <a:gd name="T8" fmla="*/ 86 w 107"/>
                <a:gd name="T9" fmla="*/ 78 h 86"/>
                <a:gd name="T10" fmla="*/ 91 w 107"/>
                <a:gd name="T11" fmla="*/ 84 h 86"/>
                <a:gd name="T12" fmla="*/ 100 w 107"/>
                <a:gd name="T13" fmla="*/ 86 h 86"/>
                <a:gd name="T14" fmla="*/ 107 w 107"/>
                <a:gd name="T15" fmla="*/ 80 h 86"/>
                <a:gd name="T16" fmla="*/ 107 w 107"/>
                <a:gd name="T17" fmla="*/ 65 h 86"/>
                <a:gd name="T18" fmla="*/ 97 w 107"/>
                <a:gd name="T19" fmla="*/ 63 h 86"/>
                <a:gd name="T20" fmla="*/ 89 w 107"/>
                <a:gd name="T21" fmla="*/ 62 h 86"/>
                <a:gd name="T22" fmla="*/ 82 w 107"/>
                <a:gd name="T23" fmla="*/ 56 h 86"/>
                <a:gd name="T24" fmla="*/ 77 w 107"/>
                <a:gd name="T25" fmla="*/ 50 h 86"/>
                <a:gd name="T26" fmla="*/ 79 w 107"/>
                <a:gd name="T27" fmla="*/ 44 h 86"/>
                <a:gd name="T28" fmla="*/ 76 w 107"/>
                <a:gd name="T29" fmla="*/ 39 h 86"/>
                <a:gd name="T30" fmla="*/ 76 w 107"/>
                <a:gd name="T31" fmla="*/ 32 h 86"/>
                <a:gd name="T32" fmla="*/ 74 w 107"/>
                <a:gd name="T33" fmla="*/ 29 h 86"/>
                <a:gd name="T34" fmla="*/ 55 w 107"/>
                <a:gd name="T35" fmla="*/ 29 h 86"/>
                <a:gd name="T36" fmla="*/ 50 w 107"/>
                <a:gd name="T37" fmla="*/ 24 h 86"/>
                <a:gd name="T38" fmla="*/ 40 w 107"/>
                <a:gd name="T39" fmla="*/ 21 h 86"/>
                <a:gd name="T40" fmla="*/ 33 w 107"/>
                <a:gd name="T41" fmla="*/ 12 h 86"/>
                <a:gd name="T42" fmla="*/ 26 w 107"/>
                <a:gd name="T43" fmla="*/ 1 h 86"/>
                <a:gd name="T44" fmla="*/ 15 w 107"/>
                <a:gd name="T45" fmla="*/ 0 h 86"/>
                <a:gd name="T46" fmla="*/ 11 w 107"/>
                <a:gd name="T47" fmla="*/ 6 h 86"/>
                <a:gd name="T48" fmla="*/ 6 w 107"/>
                <a:gd name="T49" fmla="*/ 6 h 86"/>
                <a:gd name="T50" fmla="*/ 0 w 107"/>
                <a:gd name="T51" fmla="*/ 13 h 86"/>
                <a:gd name="T52" fmla="*/ 8 w 107"/>
                <a:gd name="T53" fmla="*/ 10 h 86"/>
                <a:gd name="T54" fmla="*/ 11 w 107"/>
                <a:gd name="T55" fmla="*/ 9 h 86"/>
                <a:gd name="T56" fmla="*/ 11 w 107"/>
                <a:gd name="T57" fmla="*/ 12 h 86"/>
                <a:gd name="T58" fmla="*/ 33 w 107"/>
                <a:gd name="T59" fmla="*/ 26 h 86"/>
                <a:gd name="T60" fmla="*/ 40 w 107"/>
                <a:gd name="T61" fmla="*/ 33 h 86"/>
                <a:gd name="T62" fmla="*/ 38 w 107"/>
                <a:gd name="T63" fmla="*/ 41 h 86"/>
                <a:gd name="T64" fmla="*/ 41 w 107"/>
                <a:gd name="T65" fmla="*/ 45 h 86"/>
                <a:gd name="T66" fmla="*/ 62 w 107"/>
                <a:gd name="T67" fmla="*/ 47 h 86"/>
                <a:gd name="T68" fmla="*/ 65 w 107"/>
                <a:gd name="T69" fmla="*/ 53 h 86"/>
                <a:gd name="T70" fmla="*/ 65 w 107"/>
                <a:gd name="T71" fmla="*/ 53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7" h="86">
                  <a:moveTo>
                    <a:pt x="65" y="53"/>
                  </a:moveTo>
                  <a:lnTo>
                    <a:pt x="74" y="59"/>
                  </a:lnTo>
                  <a:lnTo>
                    <a:pt x="73" y="65"/>
                  </a:lnTo>
                  <a:lnTo>
                    <a:pt x="85" y="71"/>
                  </a:lnTo>
                  <a:lnTo>
                    <a:pt x="86" y="78"/>
                  </a:lnTo>
                  <a:lnTo>
                    <a:pt x="91" y="84"/>
                  </a:lnTo>
                  <a:lnTo>
                    <a:pt x="100" y="86"/>
                  </a:lnTo>
                  <a:lnTo>
                    <a:pt x="107" y="80"/>
                  </a:lnTo>
                  <a:lnTo>
                    <a:pt x="107" y="65"/>
                  </a:lnTo>
                  <a:lnTo>
                    <a:pt x="97" y="63"/>
                  </a:lnTo>
                  <a:lnTo>
                    <a:pt x="89" y="62"/>
                  </a:lnTo>
                  <a:lnTo>
                    <a:pt x="82" y="56"/>
                  </a:lnTo>
                  <a:lnTo>
                    <a:pt x="77" y="50"/>
                  </a:lnTo>
                  <a:lnTo>
                    <a:pt x="79" y="44"/>
                  </a:lnTo>
                  <a:lnTo>
                    <a:pt x="76" y="39"/>
                  </a:lnTo>
                  <a:lnTo>
                    <a:pt x="76" y="32"/>
                  </a:lnTo>
                  <a:lnTo>
                    <a:pt x="74" y="29"/>
                  </a:lnTo>
                  <a:lnTo>
                    <a:pt x="55" y="29"/>
                  </a:lnTo>
                  <a:lnTo>
                    <a:pt x="50" y="24"/>
                  </a:lnTo>
                  <a:lnTo>
                    <a:pt x="40" y="21"/>
                  </a:lnTo>
                  <a:lnTo>
                    <a:pt x="33" y="12"/>
                  </a:lnTo>
                  <a:lnTo>
                    <a:pt x="26" y="1"/>
                  </a:lnTo>
                  <a:lnTo>
                    <a:pt x="15" y="0"/>
                  </a:lnTo>
                  <a:lnTo>
                    <a:pt x="11" y="6"/>
                  </a:lnTo>
                  <a:lnTo>
                    <a:pt x="6" y="6"/>
                  </a:lnTo>
                  <a:lnTo>
                    <a:pt x="0" y="13"/>
                  </a:lnTo>
                  <a:lnTo>
                    <a:pt x="8" y="10"/>
                  </a:lnTo>
                  <a:lnTo>
                    <a:pt x="11" y="9"/>
                  </a:lnTo>
                  <a:lnTo>
                    <a:pt x="11" y="12"/>
                  </a:lnTo>
                  <a:lnTo>
                    <a:pt x="33" y="26"/>
                  </a:lnTo>
                  <a:lnTo>
                    <a:pt x="40" y="33"/>
                  </a:lnTo>
                  <a:lnTo>
                    <a:pt x="38" y="41"/>
                  </a:lnTo>
                  <a:lnTo>
                    <a:pt x="41" y="45"/>
                  </a:lnTo>
                  <a:lnTo>
                    <a:pt x="62" y="47"/>
                  </a:lnTo>
                  <a:lnTo>
                    <a:pt x="65" y="53"/>
                  </a:lnTo>
                  <a:lnTo>
                    <a:pt x="65" y="53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909" name="Freeform 254"/>
            <p:cNvSpPr>
              <a:spLocks/>
            </p:cNvSpPr>
            <p:nvPr userDrawn="1"/>
          </p:nvSpPr>
          <p:spPr bwMode="auto">
            <a:xfrm>
              <a:off x="5000" y="3612"/>
              <a:ext cx="21" cy="20"/>
            </a:xfrm>
            <a:custGeom>
              <a:avLst/>
              <a:gdLst>
                <a:gd name="T0" fmla="*/ 19 w 21"/>
                <a:gd name="T1" fmla="*/ 12 h 20"/>
                <a:gd name="T2" fmla="*/ 12 w 21"/>
                <a:gd name="T3" fmla="*/ 8 h 20"/>
                <a:gd name="T4" fmla="*/ 9 w 21"/>
                <a:gd name="T5" fmla="*/ 0 h 20"/>
                <a:gd name="T6" fmla="*/ 1 w 21"/>
                <a:gd name="T7" fmla="*/ 0 h 20"/>
                <a:gd name="T8" fmla="*/ 0 w 21"/>
                <a:gd name="T9" fmla="*/ 5 h 20"/>
                <a:gd name="T10" fmla="*/ 1 w 21"/>
                <a:gd name="T11" fmla="*/ 9 h 20"/>
                <a:gd name="T12" fmla="*/ 10 w 21"/>
                <a:gd name="T13" fmla="*/ 12 h 20"/>
                <a:gd name="T14" fmla="*/ 9 w 21"/>
                <a:gd name="T15" fmla="*/ 17 h 20"/>
                <a:gd name="T16" fmla="*/ 13 w 21"/>
                <a:gd name="T17" fmla="*/ 20 h 20"/>
                <a:gd name="T18" fmla="*/ 21 w 21"/>
                <a:gd name="T19" fmla="*/ 15 h 20"/>
                <a:gd name="T20" fmla="*/ 19 w 21"/>
                <a:gd name="T21" fmla="*/ 12 h 20"/>
                <a:gd name="T22" fmla="*/ 19 w 21"/>
                <a:gd name="T23" fmla="*/ 1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1" h="20">
                  <a:moveTo>
                    <a:pt x="19" y="12"/>
                  </a:moveTo>
                  <a:lnTo>
                    <a:pt x="12" y="8"/>
                  </a:lnTo>
                  <a:lnTo>
                    <a:pt x="9" y="0"/>
                  </a:lnTo>
                  <a:lnTo>
                    <a:pt x="1" y="0"/>
                  </a:lnTo>
                  <a:lnTo>
                    <a:pt x="0" y="5"/>
                  </a:lnTo>
                  <a:lnTo>
                    <a:pt x="1" y="9"/>
                  </a:lnTo>
                  <a:lnTo>
                    <a:pt x="10" y="12"/>
                  </a:lnTo>
                  <a:lnTo>
                    <a:pt x="9" y="17"/>
                  </a:lnTo>
                  <a:lnTo>
                    <a:pt x="13" y="20"/>
                  </a:lnTo>
                  <a:lnTo>
                    <a:pt x="21" y="15"/>
                  </a:lnTo>
                  <a:lnTo>
                    <a:pt x="19" y="12"/>
                  </a:lnTo>
                  <a:lnTo>
                    <a:pt x="19" y="12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910" name="Freeform 255"/>
            <p:cNvSpPr>
              <a:spLocks/>
            </p:cNvSpPr>
            <p:nvPr userDrawn="1"/>
          </p:nvSpPr>
          <p:spPr bwMode="auto">
            <a:xfrm>
              <a:off x="4787" y="3668"/>
              <a:ext cx="159" cy="156"/>
            </a:xfrm>
            <a:custGeom>
              <a:avLst/>
              <a:gdLst>
                <a:gd name="T0" fmla="*/ 103 w 159"/>
                <a:gd name="T1" fmla="*/ 18 h 156"/>
                <a:gd name="T2" fmla="*/ 71 w 159"/>
                <a:gd name="T3" fmla="*/ 12 h 156"/>
                <a:gd name="T4" fmla="*/ 44 w 159"/>
                <a:gd name="T5" fmla="*/ 5 h 156"/>
                <a:gd name="T6" fmla="*/ 29 w 159"/>
                <a:gd name="T7" fmla="*/ 11 h 156"/>
                <a:gd name="T8" fmla="*/ 18 w 159"/>
                <a:gd name="T9" fmla="*/ 3 h 156"/>
                <a:gd name="T10" fmla="*/ 6 w 159"/>
                <a:gd name="T11" fmla="*/ 29 h 156"/>
                <a:gd name="T12" fmla="*/ 0 w 159"/>
                <a:gd name="T13" fmla="*/ 38 h 156"/>
                <a:gd name="T14" fmla="*/ 14 w 159"/>
                <a:gd name="T15" fmla="*/ 56 h 156"/>
                <a:gd name="T16" fmla="*/ 27 w 159"/>
                <a:gd name="T17" fmla="*/ 56 h 156"/>
                <a:gd name="T18" fmla="*/ 41 w 159"/>
                <a:gd name="T19" fmla="*/ 86 h 156"/>
                <a:gd name="T20" fmla="*/ 35 w 159"/>
                <a:gd name="T21" fmla="*/ 109 h 156"/>
                <a:gd name="T22" fmla="*/ 48 w 159"/>
                <a:gd name="T23" fmla="*/ 119 h 156"/>
                <a:gd name="T24" fmla="*/ 54 w 159"/>
                <a:gd name="T25" fmla="*/ 106 h 156"/>
                <a:gd name="T26" fmla="*/ 65 w 159"/>
                <a:gd name="T27" fmla="*/ 110 h 156"/>
                <a:gd name="T28" fmla="*/ 74 w 159"/>
                <a:gd name="T29" fmla="*/ 116 h 156"/>
                <a:gd name="T30" fmla="*/ 85 w 159"/>
                <a:gd name="T31" fmla="*/ 145 h 156"/>
                <a:gd name="T32" fmla="*/ 91 w 159"/>
                <a:gd name="T33" fmla="*/ 153 h 156"/>
                <a:gd name="T34" fmla="*/ 92 w 159"/>
                <a:gd name="T35" fmla="*/ 142 h 156"/>
                <a:gd name="T36" fmla="*/ 109 w 159"/>
                <a:gd name="T37" fmla="*/ 121 h 156"/>
                <a:gd name="T38" fmla="*/ 121 w 159"/>
                <a:gd name="T39" fmla="*/ 145 h 156"/>
                <a:gd name="T40" fmla="*/ 127 w 159"/>
                <a:gd name="T41" fmla="*/ 148 h 156"/>
                <a:gd name="T42" fmla="*/ 130 w 159"/>
                <a:gd name="T43" fmla="*/ 144 h 156"/>
                <a:gd name="T44" fmla="*/ 142 w 159"/>
                <a:gd name="T45" fmla="*/ 148 h 156"/>
                <a:gd name="T46" fmla="*/ 134 w 159"/>
                <a:gd name="T47" fmla="*/ 136 h 156"/>
                <a:gd name="T48" fmla="*/ 130 w 159"/>
                <a:gd name="T49" fmla="*/ 119 h 156"/>
                <a:gd name="T50" fmla="*/ 125 w 159"/>
                <a:gd name="T51" fmla="*/ 98 h 156"/>
                <a:gd name="T52" fmla="*/ 121 w 159"/>
                <a:gd name="T53" fmla="*/ 77 h 156"/>
                <a:gd name="T54" fmla="*/ 116 w 159"/>
                <a:gd name="T55" fmla="*/ 65 h 156"/>
                <a:gd name="T56" fmla="*/ 125 w 159"/>
                <a:gd name="T57" fmla="*/ 68 h 156"/>
                <a:gd name="T58" fmla="*/ 131 w 159"/>
                <a:gd name="T59" fmla="*/ 74 h 156"/>
                <a:gd name="T60" fmla="*/ 137 w 159"/>
                <a:gd name="T61" fmla="*/ 82 h 156"/>
                <a:gd name="T62" fmla="*/ 146 w 159"/>
                <a:gd name="T63" fmla="*/ 71 h 156"/>
                <a:gd name="T64" fmla="*/ 157 w 159"/>
                <a:gd name="T65" fmla="*/ 65 h 156"/>
                <a:gd name="T66" fmla="*/ 155 w 159"/>
                <a:gd name="T67" fmla="*/ 61 h 156"/>
                <a:gd name="T68" fmla="*/ 149 w 159"/>
                <a:gd name="T69" fmla="*/ 47 h 156"/>
                <a:gd name="T70" fmla="*/ 149 w 159"/>
                <a:gd name="T71" fmla="*/ 58 h 156"/>
                <a:gd name="T72" fmla="*/ 139 w 159"/>
                <a:gd name="T73" fmla="*/ 55 h 156"/>
                <a:gd name="T74" fmla="*/ 130 w 159"/>
                <a:gd name="T75" fmla="*/ 42 h 156"/>
                <a:gd name="T76" fmla="*/ 127 w 159"/>
                <a:gd name="T77" fmla="*/ 35 h 156"/>
                <a:gd name="T78" fmla="*/ 116 w 159"/>
                <a:gd name="T79" fmla="*/ 27 h 156"/>
                <a:gd name="T80" fmla="*/ 112 w 159"/>
                <a:gd name="T81" fmla="*/ 27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59" h="156">
                  <a:moveTo>
                    <a:pt x="112" y="27"/>
                  </a:moveTo>
                  <a:lnTo>
                    <a:pt x="103" y="18"/>
                  </a:lnTo>
                  <a:lnTo>
                    <a:pt x="88" y="18"/>
                  </a:lnTo>
                  <a:lnTo>
                    <a:pt x="71" y="12"/>
                  </a:lnTo>
                  <a:lnTo>
                    <a:pt x="54" y="0"/>
                  </a:lnTo>
                  <a:lnTo>
                    <a:pt x="44" y="5"/>
                  </a:lnTo>
                  <a:lnTo>
                    <a:pt x="39" y="11"/>
                  </a:lnTo>
                  <a:lnTo>
                    <a:pt x="29" y="11"/>
                  </a:lnTo>
                  <a:lnTo>
                    <a:pt x="20" y="0"/>
                  </a:lnTo>
                  <a:lnTo>
                    <a:pt x="18" y="3"/>
                  </a:lnTo>
                  <a:lnTo>
                    <a:pt x="20" y="14"/>
                  </a:lnTo>
                  <a:lnTo>
                    <a:pt x="6" y="29"/>
                  </a:lnTo>
                  <a:lnTo>
                    <a:pt x="0" y="29"/>
                  </a:lnTo>
                  <a:lnTo>
                    <a:pt x="0" y="38"/>
                  </a:lnTo>
                  <a:lnTo>
                    <a:pt x="9" y="39"/>
                  </a:lnTo>
                  <a:lnTo>
                    <a:pt x="14" y="56"/>
                  </a:lnTo>
                  <a:lnTo>
                    <a:pt x="18" y="53"/>
                  </a:lnTo>
                  <a:lnTo>
                    <a:pt x="27" y="56"/>
                  </a:lnTo>
                  <a:lnTo>
                    <a:pt x="38" y="71"/>
                  </a:lnTo>
                  <a:lnTo>
                    <a:pt x="41" y="86"/>
                  </a:lnTo>
                  <a:lnTo>
                    <a:pt x="35" y="94"/>
                  </a:lnTo>
                  <a:lnTo>
                    <a:pt x="35" y="109"/>
                  </a:lnTo>
                  <a:lnTo>
                    <a:pt x="42" y="121"/>
                  </a:lnTo>
                  <a:lnTo>
                    <a:pt x="48" y="119"/>
                  </a:lnTo>
                  <a:lnTo>
                    <a:pt x="51" y="124"/>
                  </a:lnTo>
                  <a:lnTo>
                    <a:pt x="54" y="106"/>
                  </a:lnTo>
                  <a:lnTo>
                    <a:pt x="63" y="101"/>
                  </a:lnTo>
                  <a:lnTo>
                    <a:pt x="65" y="110"/>
                  </a:lnTo>
                  <a:lnTo>
                    <a:pt x="73" y="112"/>
                  </a:lnTo>
                  <a:lnTo>
                    <a:pt x="74" y="116"/>
                  </a:lnTo>
                  <a:lnTo>
                    <a:pt x="79" y="119"/>
                  </a:lnTo>
                  <a:lnTo>
                    <a:pt x="85" y="145"/>
                  </a:lnTo>
                  <a:lnTo>
                    <a:pt x="88" y="154"/>
                  </a:lnTo>
                  <a:lnTo>
                    <a:pt x="91" y="153"/>
                  </a:lnTo>
                  <a:lnTo>
                    <a:pt x="94" y="156"/>
                  </a:lnTo>
                  <a:lnTo>
                    <a:pt x="92" y="142"/>
                  </a:lnTo>
                  <a:lnTo>
                    <a:pt x="98" y="124"/>
                  </a:lnTo>
                  <a:lnTo>
                    <a:pt x="109" y="121"/>
                  </a:lnTo>
                  <a:lnTo>
                    <a:pt x="116" y="134"/>
                  </a:lnTo>
                  <a:lnTo>
                    <a:pt x="121" y="145"/>
                  </a:lnTo>
                  <a:lnTo>
                    <a:pt x="121" y="150"/>
                  </a:lnTo>
                  <a:lnTo>
                    <a:pt x="127" y="148"/>
                  </a:lnTo>
                  <a:lnTo>
                    <a:pt x="125" y="142"/>
                  </a:lnTo>
                  <a:lnTo>
                    <a:pt x="130" y="144"/>
                  </a:lnTo>
                  <a:lnTo>
                    <a:pt x="134" y="153"/>
                  </a:lnTo>
                  <a:lnTo>
                    <a:pt x="142" y="148"/>
                  </a:lnTo>
                  <a:lnTo>
                    <a:pt x="131" y="141"/>
                  </a:lnTo>
                  <a:lnTo>
                    <a:pt x="134" y="136"/>
                  </a:lnTo>
                  <a:lnTo>
                    <a:pt x="127" y="130"/>
                  </a:lnTo>
                  <a:lnTo>
                    <a:pt x="130" y="119"/>
                  </a:lnTo>
                  <a:lnTo>
                    <a:pt x="128" y="109"/>
                  </a:lnTo>
                  <a:lnTo>
                    <a:pt x="125" y="98"/>
                  </a:lnTo>
                  <a:lnTo>
                    <a:pt x="119" y="89"/>
                  </a:lnTo>
                  <a:lnTo>
                    <a:pt x="121" y="77"/>
                  </a:lnTo>
                  <a:lnTo>
                    <a:pt x="115" y="70"/>
                  </a:lnTo>
                  <a:lnTo>
                    <a:pt x="116" y="65"/>
                  </a:lnTo>
                  <a:lnTo>
                    <a:pt x="124" y="64"/>
                  </a:lnTo>
                  <a:lnTo>
                    <a:pt x="125" y="68"/>
                  </a:lnTo>
                  <a:lnTo>
                    <a:pt x="136" y="73"/>
                  </a:lnTo>
                  <a:lnTo>
                    <a:pt x="131" y="74"/>
                  </a:lnTo>
                  <a:lnTo>
                    <a:pt x="136" y="82"/>
                  </a:lnTo>
                  <a:lnTo>
                    <a:pt x="137" y="82"/>
                  </a:lnTo>
                  <a:lnTo>
                    <a:pt x="143" y="77"/>
                  </a:lnTo>
                  <a:lnTo>
                    <a:pt x="146" y="71"/>
                  </a:lnTo>
                  <a:lnTo>
                    <a:pt x="151" y="73"/>
                  </a:lnTo>
                  <a:lnTo>
                    <a:pt x="157" y="65"/>
                  </a:lnTo>
                  <a:lnTo>
                    <a:pt x="159" y="61"/>
                  </a:lnTo>
                  <a:lnTo>
                    <a:pt x="155" y="61"/>
                  </a:lnTo>
                  <a:lnTo>
                    <a:pt x="155" y="52"/>
                  </a:lnTo>
                  <a:lnTo>
                    <a:pt x="149" y="47"/>
                  </a:lnTo>
                  <a:lnTo>
                    <a:pt x="146" y="49"/>
                  </a:lnTo>
                  <a:lnTo>
                    <a:pt x="149" y="58"/>
                  </a:lnTo>
                  <a:lnTo>
                    <a:pt x="145" y="58"/>
                  </a:lnTo>
                  <a:lnTo>
                    <a:pt x="139" y="55"/>
                  </a:lnTo>
                  <a:lnTo>
                    <a:pt x="136" y="44"/>
                  </a:lnTo>
                  <a:lnTo>
                    <a:pt x="130" y="42"/>
                  </a:lnTo>
                  <a:lnTo>
                    <a:pt x="134" y="38"/>
                  </a:lnTo>
                  <a:lnTo>
                    <a:pt x="127" y="35"/>
                  </a:lnTo>
                  <a:lnTo>
                    <a:pt x="125" y="26"/>
                  </a:lnTo>
                  <a:lnTo>
                    <a:pt x="116" y="27"/>
                  </a:lnTo>
                  <a:lnTo>
                    <a:pt x="112" y="27"/>
                  </a:lnTo>
                  <a:lnTo>
                    <a:pt x="112" y="27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911" name="Freeform 256"/>
            <p:cNvSpPr>
              <a:spLocks/>
            </p:cNvSpPr>
            <p:nvPr userDrawn="1"/>
          </p:nvSpPr>
          <p:spPr bwMode="auto">
            <a:xfrm>
              <a:off x="4906" y="3824"/>
              <a:ext cx="14" cy="22"/>
            </a:xfrm>
            <a:custGeom>
              <a:avLst/>
              <a:gdLst>
                <a:gd name="T0" fmla="*/ 11 w 14"/>
                <a:gd name="T1" fmla="*/ 22 h 22"/>
                <a:gd name="T2" fmla="*/ 14 w 14"/>
                <a:gd name="T3" fmla="*/ 18 h 22"/>
                <a:gd name="T4" fmla="*/ 11 w 14"/>
                <a:gd name="T5" fmla="*/ 10 h 22"/>
                <a:gd name="T6" fmla="*/ 14 w 14"/>
                <a:gd name="T7" fmla="*/ 9 h 22"/>
                <a:gd name="T8" fmla="*/ 11 w 14"/>
                <a:gd name="T9" fmla="*/ 3 h 22"/>
                <a:gd name="T10" fmla="*/ 2 w 14"/>
                <a:gd name="T11" fmla="*/ 0 h 22"/>
                <a:gd name="T12" fmla="*/ 0 w 14"/>
                <a:gd name="T13" fmla="*/ 9 h 22"/>
                <a:gd name="T14" fmla="*/ 3 w 14"/>
                <a:gd name="T15" fmla="*/ 21 h 22"/>
                <a:gd name="T16" fmla="*/ 11 w 14"/>
                <a:gd name="T17" fmla="*/ 22 h 22"/>
                <a:gd name="T18" fmla="*/ 11 w 14"/>
                <a:gd name="T19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" h="22">
                  <a:moveTo>
                    <a:pt x="11" y="22"/>
                  </a:moveTo>
                  <a:lnTo>
                    <a:pt x="14" y="18"/>
                  </a:lnTo>
                  <a:lnTo>
                    <a:pt x="11" y="10"/>
                  </a:lnTo>
                  <a:lnTo>
                    <a:pt x="14" y="9"/>
                  </a:lnTo>
                  <a:lnTo>
                    <a:pt x="11" y="3"/>
                  </a:lnTo>
                  <a:lnTo>
                    <a:pt x="2" y="0"/>
                  </a:lnTo>
                  <a:lnTo>
                    <a:pt x="0" y="9"/>
                  </a:lnTo>
                  <a:lnTo>
                    <a:pt x="3" y="21"/>
                  </a:lnTo>
                  <a:lnTo>
                    <a:pt x="11" y="22"/>
                  </a:lnTo>
                  <a:lnTo>
                    <a:pt x="11" y="22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912" name="Freeform 257"/>
            <p:cNvSpPr>
              <a:spLocks/>
            </p:cNvSpPr>
            <p:nvPr userDrawn="1"/>
          </p:nvSpPr>
          <p:spPr bwMode="auto">
            <a:xfrm>
              <a:off x="4831" y="3789"/>
              <a:ext cx="4" cy="9"/>
            </a:xfrm>
            <a:custGeom>
              <a:avLst/>
              <a:gdLst>
                <a:gd name="T0" fmla="*/ 3 w 4"/>
                <a:gd name="T1" fmla="*/ 0 h 9"/>
                <a:gd name="T2" fmla="*/ 0 w 4"/>
                <a:gd name="T3" fmla="*/ 3 h 9"/>
                <a:gd name="T4" fmla="*/ 4 w 4"/>
                <a:gd name="T5" fmla="*/ 9 h 9"/>
                <a:gd name="T6" fmla="*/ 3 w 4"/>
                <a:gd name="T7" fmla="*/ 0 h 9"/>
                <a:gd name="T8" fmla="*/ 3 w 4"/>
                <a:gd name="T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9">
                  <a:moveTo>
                    <a:pt x="3" y="0"/>
                  </a:moveTo>
                  <a:lnTo>
                    <a:pt x="0" y="3"/>
                  </a:lnTo>
                  <a:lnTo>
                    <a:pt x="4" y="9"/>
                  </a:lnTo>
                  <a:lnTo>
                    <a:pt x="3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913" name="Freeform 258"/>
            <p:cNvSpPr>
              <a:spLocks/>
            </p:cNvSpPr>
            <p:nvPr userDrawn="1"/>
          </p:nvSpPr>
          <p:spPr bwMode="auto">
            <a:xfrm>
              <a:off x="4936" y="3739"/>
              <a:ext cx="13" cy="8"/>
            </a:xfrm>
            <a:custGeom>
              <a:avLst/>
              <a:gdLst>
                <a:gd name="T0" fmla="*/ 13 w 13"/>
                <a:gd name="T1" fmla="*/ 3 h 8"/>
                <a:gd name="T2" fmla="*/ 11 w 13"/>
                <a:gd name="T3" fmla="*/ 0 h 8"/>
                <a:gd name="T4" fmla="*/ 3 w 13"/>
                <a:gd name="T5" fmla="*/ 5 h 8"/>
                <a:gd name="T6" fmla="*/ 0 w 13"/>
                <a:gd name="T7" fmla="*/ 6 h 8"/>
                <a:gd name="T8" fmla="*/ 5 w 13"/>
                <a:gd name="T9" fmla="*/ 8 h 8"/>
                <a:gd name="T10" fmla="*/ 13 w 13"/>
                <a:gd name="T11" fmla="*/ 3 h 8"/>
                <a:gd name="T12" fmla="*/ 13 w 13"/>
                <a:gd name="T13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" h="8">
                  <a:moveTo>
                    <a:pt x="13" y="3"/>
                  </a:moveTo>
                  <a:lnTo>
                    <a:pt x="11" y="0"/>
                  </a:lnTo>
                  <a:lnTo>
                    <a:pt x="3" y="5"/>
                  </a:lnTo>
                  <a:lnTo>
                    <a:pt x="0" y="6"/>
                  </a:lnTo>
                  <a:lnTo>
                    <a:pt x="5" y="8"/>
                  </a:lnTo>
                  <a:lnTo>
                    <a:pt x="13" y="3"/>
                  </a:lnTo>
                  <a:lnTo>
                    <a:pt x="13" y="3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914" name="Freeform 259"/>
            <p:cNvSpPr>
              <a:spLocks/>
            </p:cNvSpPr>
            <p:nvPr userDrawn="1"/>
          </p:nvSpPr>
          <p:spPr bwMode="auto">
            <a:xfrm>
              <a:off x="4920" y="3751"/>
              <a:ext cx="4" cy="6"/>
            </a:xfrm>
            <a:custGeom>
              <a:avLst/>
              <a:gdLst>
                <a:gd name="T0" fmla="*/ 0 w 4"/>
                <a:gd name="T1" fmla="*/ 6 h 6"/>
                <a:gd name="T2" fmla="*/ 4 w 4"/>
                <a:gd name="T3" fmla="*/ 2 h 6"/>
                <a:gd name="T4" fmla="*/ 0 w 4"/>
                <a:gd name="T5" fmla="*/ 0 h 6"/>
                <a:gd name="T6" fmla="*/ 0 w 4"/>
                <a:gd name="T7" fmla="*/ 6 h 6"/>
                <a:gd name="T8" fmla="*/ 0 w 4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6">
                  <a:moveTo>
                    <a:pt x="0" y="6"/>
                  </a:moveTo>
                  <a:lnTo>
                    <a:pt x="4" y="2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915" name="Freeform 260"/>
            <p:cNvSpPr>
              <a:spLocks/>
            </p:cNvSpPr>
            <p:nvPr userDrawn="1"/>
          </p:nvSpPr>
          <p:spPr bwMode="auto">
            <a:xfrm>
              <a:off x="4985" y="3715"/>
              <a:ext cx="7" cy="8"/>
            </a:xfrm>
            <a:custGeom>
              <a:avLst/>
              <a:gdLst>
                <a:gd name="T0" fmla="*/ 7 w 7"/>
                <a:gd name="T1" fmla="*/ 2 h 8"/>
                <a:gd name="T2" fmla="*/ 3 w 7"/>
                <a:gd name="T3" fmla="*/ 0 h 8"/>
                <a:gd name="T4" fmla="*/ 0 w 7"/>
                <a:gd name="T5" fmla="*/ 5 h 8"/>
                <a:gd name="T6" fmla="*/ 1 w 7"/>
                <a:gd name="T7" fmla="*/ 8 h 8"/>
                <a:gd name="T8" fmla="*/ 7 w 7"/>
                <a:gd name="T9" fmla="*/ 2 h 8"/>
                <a:gd name="T10" fmla="*/ 7 w 7"/>
                <a:gd name="T11" fmla="*/ 2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8">
                  <a:moveTo>
                    <a:pt x="7" y="2"/>
                  </a:moveTo>
                  <a:lnTo>
                    <a:pt x="3" y="0"/>
                  </a:lnTo>
                  <a:lnTo>
                    <a:pt x="0" y="5"/>
                  </a:lnTo>
                  <a:lnTo>
                    <a:pt x="1" y="8"/>
                  </a:lnTo>
                  <a:lnTo>
                    <a:pt x="7" y="2"/>
                  </a:lnTo>
                  <a:lnTo>
                    <a:pt x="7" y="2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916" name="Freeform 261"/>
            <p:cNvSpPr>
              <a:spLocks/>
            </p:cNvSpPr>
            <p:nvPr userDrawn="1"/>
          </p:nvSpPr>
          <p:spPr bwMode="auto">
            <a:xfrm>
              <a:off x="5000" y="3720"/>
              <a:ext cx="9" cy="15"/>
            </a:xfrm>
            <a:custGeom>
              <a:avLst/>
              <a:gdLst>
                <a:gd name="T0" fmla="*/ 3 w 9"/>
                <a:gd name="T1" fmla="*/ 15 h 15"/>
                <a:gd name="T2" fmla="*/ 9 w 9"/>
                <a:gd name="T3" fmla="*/ 9 h 15"/>
                <a:gd name="T4" fmla="*/ 9 w 9"/>
                <a:gd name="T5" fmla="*/ 4 h 15"/>
                <a:gd name="T6" fmla="*/ 4 w 9"/>
                <a:gd name="T7" fmla="*/ 0 h 15"/>
                <a:gd name="T8" fmla="*/ 0 w 9"/>
                <a:gd name="T9" fmla="*/ 3 h 15"/>
                <a:gd name="T10" fmla="*/ 3 w 9"/>
                <a:gd name="T11" fmla="*/ 7 h 15"/>
                <a:gd name="T12" fmla="*/ 3 w 9"/>
                <a:gd name="T13" fmla="*/ 15 h 15"/>
                <a:gd name="T14" fmla="*/ 3 w 9"/>
                <a:gd name="T15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15">
                  <a:moveTo>
                    <a:pt x="3" y="15"/>
                  </a:moveTo>
                  <a:lnTo>
                    <a:pt x="9" y="9"/>
                  </a:lnTo>
                  <a:lnTo>
                    <a:pt x="9" y="4"/>
                  </a:lnTo>
                  <a:lnTo>
                    <a:pt x="4" y="0"/>
                  </a:lnTo>
                  <a:lnTo>
                    <a:pt x="0" y="3"/>
                  </a:lnTo>
                  <a:lnTo>
                    <a:pt x="3" y="7"/>
                  </a:lnTo>
                  <a:lnTo>
                    <a:pt x="3" y="15"/>
                  </a:lnTo>
                  <a:lnTo>
                    <a:pt x="3" y="15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917" name="Freeform 262"/>
            <p:cNvSpPr>
              <a:spLocks/>
            </p:cNvSpPr>
            <p:nvPr userDrawn="1"/>
          </p:nvSpPr>
          <p:spPr bwMode="auto">
            <a:xfrm>
              <a:off x="5007" y="3741"/>
              <a:ext cx="6" cy="13"/>
            </a:xfrm>
            <a:custGeom>
              <a:avLst/>
              <a:gdLst>
                <a:gd name="T0" fmla="*/ 0 w 6"/>
                <a:gd name="T1" fmla="*/ 10 h 13"/>
                <a:gd name="T2" fmla="*/ 2 w 6"/>
                <a:gd name="T3" fmla="*/ 13 h 13"/>
                <a:gd name="T4" fmla="*/ 6 w 6"/>
                <a:gd name="T5" fmla="*/ 9 h 13"/>
                <a:gd name="T6" fmla="*/ 6 w 6"/>
                <a:gd name="T7" fmla="*/ 3 h 13"/>
                <a:gd name="T8" fmla="*/ 3 w 6"/>
                <a:gd name="T9" fmla="*/ 0 h 13"/>
                <a:gd name="T10" fmla="*/ 0 w 6"/>
                <a:gd name="T11" fmla="*/ 3 h 13"/>
                <a:gd name="T12" fmla="*/ 0 w 6"/>
                <a:gd name="T13" fmla="*/ 10 h 13"/>
                <a:gd name="T14" fmla="*/ 0 w 6"/>
                <a:gd name="T15" fmla="*/ 1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13">
                  <a:moveTo>
                    <a:pt x="0" y="10"/>
                  </a:moveTo>
                  <a:lnTo>
                    <a:pt x="2" y="13"/>
                  </a:lnTo>
                  <a:lnTo>
                    <a:pt x="6" y="9"/>
                  </a:lnTo>
                  <a:lnTo>
                    <a:pt x="6" y="3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10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918" name="Freeform 263"/>
            <p:cNvSpPr>
              <a:spLocks/>
            </p:cNvSpPr>
            <p:nvPr userDrawn="1"/>
          </p:nvSpPr>
          <p:spPr bwMode="auto">
            <a:xfrm>
              <a:off x="5012" y="3763"/>
              <a:ext cx="12" cy="12"/>
            </a:xfrm>
            <a:custGeom>
              <a:avLst/>
              <a:gdLst>
                <a:gd name="T0" fmla="*/ 0 w 12"/>
                <a:gd name="T1" fmla="*/ 5 h 12"/>
                <a:gd name="T2" fmla="*/ 1 w 12"/>
                <a:gd name="T3" fmla="*/ 11 h 12"/>
                <a:gd name="T4" fmla="*/ 7 w 12"/>
                <a:gd name="T5" fmla="*/ 12 h 12"/>
                <a:gd name="T6" fmla="*/ 12 w 12"/>
                <a:gd name="T7" fmla="*/ 8 h 12"/>
                <a:gd name="T8" fmla="*/ 7 w 12"/>
                <a:gd name="T9" fmla="*/ 0 h 12"/>
                <a:gd name="T10" fmla="*/ 1 w 12"/>
                <a:gd name="T11" fmla="*/ 2 h 12"/>
                <a:gd name="T12" fmla="*/ 0 w 12"/>
                <a:gd name="T13" fmla="*/ 5 h 12"/>
                <a:gd name="T14" fmla="*/ 0 w 12"/>
                <a:gd name="T15" fmla="*/ 5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12">
                  <a:moveTo>
                    <a:pt x="0" y="5"/>
                  </a:moveTo>
                  <a:lnTo>
                    <a:pt x="1" y="11"/>
                  </a:lnTo>
                  <a:lnTo>
                    <a:pt x="7" y="12"/>
                  </a:lnTo>
                  <a:lnTo>
                    <a:pt x="12" y="8"/>
                  </a:lnTo>
                  <a:lnTo>
                    <a:pt x="7" y="0"/>
                  </a:lnTo>
                  <a:lnTo>
                    <a:pt x="1" y="2"/>
                  </a:lnTo>
                  <a:lnTo>
                    <a:pt x="0" y="5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919" name="Freeform 264"/>
            <p:cNvSpPr>
              <a:spLocks/>
            </p:cNvSpPr>
            <p:nvPr userDrawn="1"/>
          </p:nvSpPr>
          <p:spPr bwMode="auto">
            <a:xfrm>
              <a:off x="5027" y="3780"/>
              <a:ext cx="8" cy="12"/>
            </a:xfrm>
            <a:custGeom>
              <a:avLst/>
              <a:gdLst>
                <a:gd name="T0" fmla="*/ 1 w 8"/>
                <a:gd name="T1" fmla="*/ 0 h 12"/>
                <a:gd name="T2" fmla="*/ 0 w 8"/>
                <a:gd name="T3" fmla="*/ 9 h 12"/>
                <a:gd name="T4" fmla="*/ 1 w 8"/>
                <a:gd name="T5" fmla="*/ 12 h 12"/>
                <a:gd name="T6" fmla="*/ 8 w 8"/>
                <a:gd name="T7" fmla="*/ 9 h 12"/>
                <a:gd name="T8" fmla="*/ 6 w 8"/>
                <a:gd name="T9" fmla="*/ 4 h 12"/>
                <a:gd name="T10" fmla="*/ 1 w 8"/>
                <a:gd name="T11" fmla="*/ 0 h 12"/>
                <a:gd name="T12" fmla="*/ 1 w 8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12">
                  <a:moveTo>
                    <a:pt x="1" y="0"/>
                  </a:moveTo>
                  <a:lnTo>
                    <a:pt x="0" y="9"/>
                  </a:lnTo>
                  <a:lnTo>
                    <a:pt x="1" y="12"/>
                  </a:lnTo>
                  <a:lnTo>
                    <a:pt x="8" y="9"/>
                  </a:lnTo>
                  <a:lnTo>
                    <a:pt x="6" y="4"/>
                  </a:lnTo>
                  <a:lnTo>
                    <a:pt x="1" y="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920" name="Freeform 265"/>
            <p:cNvSpPr>
              <a:spLocks/>
            </p:cNvSpPr>
            <p:nvPr userDrawn="1"/>
          </p:nvSpPr>
          <p:spPr bwMode="auto">
            <a:xfrm>
              <a:off x="4997" y="3784"/>
              <a:ext cx="18" cy="22"/>
            </a:xfrm>
            <a:custGeom>
              <a:avLst/>
              <a:gdLst>
                <a:gd name="T0" fmla="*/ 3 w 18"/>
                <a:gd name="T1" fmla="*/ 20 h 22"/>
                <a:gd name="T2" fmla="*/ 7 w 18"/>
                <a:gd name="T3" fmla="*/ 22 h 22"/>
                <a:gd name="T4" fmla="*/ 12 w 18"/>
                <a:gd name="T5" fmla="*/ 18 h 22"/>
                <a:gd name="T6" fmla="*/ 18 w 18"/>
                <a:gd name="T7" fmla="*/ 8 h 22"/>
                <a:gd name="T8" fmla="*/ 10 w 18"/>
                <a:gd name="T9" fmla="*/ 0 h 22"/>
                <a:gd name="T10" fmla="*/ 10 w 18"/>
                <a:gd name="T11" fmla="*/ 5 h 22"/>
                <a:gd name="T12" fmla="*/ 12 w 18"/>
                <a:gd name="T13" fmla="*/ 9 h 22"/>
                <a:gd name="T14" fmla="*/ 10 w 18"/>
                <a:gd name="T15" fmla="*/ 9 h 22"/>
                <a:gd name="T16" fmla="*/ 3 w 18"/>
                <a:gd name="T17" fmla="*/ 9 h 22"/>
                <a:gd name="T18" fmla="*/ 1 w 18"/>
                <a:gd name="T19" fmla="*/ 11 h 22"/>
                <a:gd name="T20" fmla="*/ 6 w 18"/>
                <a:gd name="T21" fmla="*/ 14 h 22"/>
                <a:gd name="T22" fmla="*/ 0 w 18"/>
                <a:gd name="T23" fmla="*/ 15 h 22"/>
                <a:gd name="T24" fmla="*/ 3 w 18"/>
                <a:gd name="T25" fmla="*/ 20 h 22"/>
                <a:gd name="T26" fmla="*/ 3 w 18"/>
                <a:gd name="T27" fmla="*/ 2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" h="22">
                  <a:moveTo>
                    <a:pt x="3" y="20"/>
                  </a:moveTo>
                  <a:lnTo>
                    <a:pt x="7" y="22"/>
                  </a:lnTo>
                  <a:lnTo>
                    <a:pt x="12" y="18"/>
                  </a:lnTo>
                  <a:lnTo>
                    <a:pt x="18" y="8"/>
                  </a:lnTo>
                  <a:lnTo>
                    <a:pt x="10" y="0"/>
                  </a:lnTo>
                  <a:lnTo>
                    <a:pt x="10" y="5"/>
                  </a:lnTo>
                  <a:lnTo>
                    <a:pt x="12" y="9"/>
                  </a:lnTo>
                  <a:lnTo>
                    <a:pt x="10" y="9"/>
                  </a:lnTo>
                  <a:lnTo>
                    <a:pt x="3" y="9"/>
                  </a:lnTo>
                  <a:lnTo>
                    <a:pt x="1" y="11"/>
                  </a:lnTo>
                  <a:lnTo>
                    <a:pt x="6" y="14"/>
                  </a:lnTo>
                  <a:lnTo>
                    <a:pt x="0" y="15"/>
                  </a:lnTo>
                  <a:lnTo>
                    <a:pt x="3" y="20"/>
                  </a:lnTo>
                  <a:lnTo>
                    <a:pt x="3" y="20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921" name="Freeform 266"/>
            <p:cNvSpPr>
              <a:spLocks/>
            </p:cNvSpPr>
            <p:nvPr userDrawn="1"/>
          </p:nvSpPr>
          <p:spPr bwMode="auto">
            <a:xfrm>
              <a:off x="5019" y="3692"/>
              <a:ext cx="25" cy="32"/>
            </a:xfrm>
            <a:custGeom>
              <a:avLst/>
              <a:gdLst>
                <a:gd name="T0" fmla="*/ 5 w 25"/>
                <a:gd name="T1" fmla="*/ 17 h 32"/>
                <a:gd name="T2" fmla="*/ 12 w 25"/>
                <a:gd name="T3" fmla="*/ 20 h 32"/>
                <a:gd name="T4" fmla="*/ 12 w 25"/>
                <a:gd name="T5" fmla="*/ 26 h 32"/>
                <a:gd name="T6" fmla="*/ 22 w 25"/>
                <a:gd name="T7" fmla="*/ 32 h 32"/>
                <a:gd name="T8" fmla="*/ 25 w 25"/>
                <a:gd name="T9" fmla="*/ 32 h 32"/>
                <a:gd name="T10" fmla="*/ 23 w 25"/>
                <a:gd name="T11" fmla="*/ 29 h 32"/>
                <a:gd name="T12" fmla="*/ 23 w 25"/>
                <a:gd name="T13" fmla="*/ 20 h 32"/>
                <a:gd name="T14" fmla="*/ 19 w 25"/>
                <a:gd name="T15" fmla="*/ 15 h 32"/>
                <a:gd name="T16" fmla="*/ 19 w 25"/>
                <a:gd name="T17" fmla="*/ 11 h 32"/>
                <a:gd name="T18" fmla="*/ 12 w 25"/>
                <a:gd name="T19" fmla="*/ 6 h 32"/>
                <a:gd name="T20" fmla="*/ 9 w 25"/>
                <a:gd name="T21" fmla="*/ 8 h 32"/>
                <a:gd name="T22" fmla="*/ 6 w 25"/>
                <a:gd name="T23" fmla="*/ 0 h 32"/>
                <a:gd name="T24" fmla="*/ 2 w 25"/>
                <a:gd name="T25" fmla="*/ 3 h 32"/>
                <a:gd name="T26" fmla="*/ 0 w 25"/>
                <a:gd name="T27" fmla="*/ 11 h 32"/>
                <a:gd name="T28" fmla="*/ 5 w 25"/>
                <a:gd name="T29" fmla="*/ 17 h 32"/>
                <a:gd name="T30" fmla="*/ 5 w 25"/>
                <a:gd name="T31" fmla="*/ 17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5" h="32">
                  <a:moveTo>
                    <a:pt x="5" y="17"/>
                  </a:moveTo>
                  <a:lnTo>
                    <a:pt x="12" y="20"/>
                  </a:lnTo>
                  <a:lnTo>
                    <a:pt x="12" y="26"/>
                  </a:lnTo>
                  <a:lnTo>
                    <a:pt x="22" y="32"/>
                  </a:lnTo>
                  <a:lnTo>
                    <a:pt x="25" y="32"/>
                  </a:lnTo>
                  <a:lnTo>
                    <a:pt x="23" y="29"/>
                  </a:lnTo>
                  <a:lnTo>
                    <a:pt x="23" y="20"/>
                  </a:lnTo>
                  <a:lnTo>
                    <a:pt x="19" y="15"/>
                  </a:lnTo>
                  <a:lnTo>
                    <a:pt x="19" y="11"/>
                  </a:lnTo>
                  <a:lnTo>
                    <a:pt x="12" y="6"/>
                  </a:lnTo>
                  <a:lnTo>
                    <a:pt x="9" y="8"/>
                  </a:lnTo>
                  <a:lnTo>
                    <a:pt x="6" y="0"/>
                  </a:lnTo>
                  <a:lnTo>
                    <a:pt x="2" y="3"/>
                  </a:lnTo>
                  <a:lnTo>
                    <a:pt x="0" y="11"/>
                  </a:lnTo>
                  <a:lnTo>
                    <a:pt x="5" y="17"/>
                  </a:lnTo>
                  <a:lnTo>
                    <a:pt x="5" y="17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922" name="Freeform 267"/>
            <p:cNvSpPr>
              <a:spLocks/>
            </p:cNvSpPr>
            <p:nvPr userDrawn="1"/>
          </p:nvSpPr>
          <p:spPr bwMode="auto">
            <a:xfrm>
              <a:off x="5042" y="3727"/>
              <a:ext cx="17" cy="11"/>
            </a:xfrm>
            <a:custGeom>
              <a:avLst/>
              <a:gdLst>
                <a:gd name="T0" fmla="*/ 15 w 17"/>
                <a:gd name="T1" fmla="*/ 8 h 11"/>
                <a:gd name="T2" fmla="*/ 17 w 17"/>
                <a:gd name="T3" fmla="*/ 2 h 11"/>
                <a:gd name="T4" fmla="*/ 11 w 17"/>
                <a:gd name="T5" fmla="*/ 0 h 11"/>
                <a:gd name="T6" fmla="*/ 5 w 17"/>
                <a:gd name="T7" fmla="*/ 0 h 11"/>
                <a:gd name="T8" fmla="*/ 0 w 17"/>
                <a:gd name="T9" fmla="*/ 2 h 11"/>
                <a:gd name="T10" fmla="*/ 11 w 17"/>
                <a:gd name="T11" fmla="*/ 11 h 11"/>
                <a:gd name="T12" fmla="*/ 15 w 17"/>
                <a:gd name="T13" fmla="*/ 8 h 11"/>
                <a:gd name="T14" fmla="*/ 15 w 17"/>
                <a:gd name="T15" fmla="*/ 8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" h="11">
                  <a:moveTo>
                    <a:pt x="15" y="8"/>
                  </a:moveTo>
                  <a:lnTo>
                    <a:pt x="17" y="2"/>
                  </a:lnTo>
                  <a:lnTo>
                    <a:pt x="11" y="0"/>
                  </a:lnTo>
                  <a:lnTo>
                    <a:pt x="5" y="0"/>
                  </a:lnTo>
                  <a:lnTo>
                    <a:pt x="0" y="2"/>
                  </a:lnTo>
                  <a:lnTo>
                    <a:pt x="11" y="11"/>
                  </a:lnTo>
                  <a:lnTo>
                    <a:pt x="15" y="8"/>
                  </a:lnTo>
                  <a:lnTo>
                    <a:pt x="15" y="8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923" name="Freeform 268"/>
            <p:cNvSpPr>
              <a:spLocks/>
            </p:cNvSpPr>
            <p:nvPr userDrawn="1"/>
          </p:nvSpPr>
          <p:spPr bwMode="auto">
            <a:xfrm>
              <a:off x="5060" y="3736"/>
              <a:ext cx="14" cy="8"/>
            </a:xfrm>
            <a:custGeom>
              <a:avLst/>
              <a:gdLst>
                <a:gd name="T0" fmla="*/ 14 w 14"/>
                <a:gd name="T1" fmla="*/ 3 h 8"/>
                <a:gd name="T2" fmla="*/ 14 w 14"/>
                <a:gd name="T3" fmla="*/ 0 h 8"/>
                <a:gd name="T4" fmla="*/ 6 w 14"/>
                <a:gd name="T5" fmla="*/ 0 h 8"/>
                <a:gd name="T6" fmla="*/ 0 w 14"/>
                <a:gd name="T7" fmla="*/ 6 h 8"/>
                <a:gd name="T8" fmla="*/ 6 w 14"/>
                <a:gd name="T9" fmla="*/ 8 h 8"/>
                <a:gd name="T10" fmla="*/ 14 w 14"/>
                <a:gd name="T11" fmla="*/ 3 h 8"/>
                <a:gd name="T12" fmla="*/ 14 w 14"/>
                <a:gd name="T13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" h="8">
                  <a:moveTo>
                    <a:pt x="14" y="3"/>
                  </a:moveTo>
                  <a:lnTo>
                    <a:pt x="14" y="0"/>
                  </a:lnTo>
                  <a:lnTo>
                    <a:pt x="6" y="0"/>
                  </a:lnTo>
                  <a:lnTo>
                    <a:pt x="0" y="6"/>
                  </a:lnTo>
                  <a:lnTo>
                    <a:pt x="6" y="8"/>
                  </a:lnTo>
                  <a:lnTo>
                    <a:pt x="14" y="3"/>
                  </a:lnTo>
                  <a:lnTo>
                    <a:pt x="14" y="3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924" name="Freeform 269"/>
            <p:cNvSpPr>
              <a:spLocks/>
            </p:cNvSpPr>
            <p:nvPr userDrawn="1"/>
          </p:nvSpPr>
          <p:spPr bwMode="auto">
            <a:xfrm>
              <a:off x="5033" y="3735"/>
              <a:ext cx="9" cy="12"/>
            </a:xfrm>
            <a:custGeom>
              <a:avLst/>
              <a:gdLst>
                <a:gd name="T0" fmla="*/ 9 w 9"/>
                <a:gd name="T1" fmla="*/ 6 h 12"/>
                <a:gd name="T2" fmla="*/ 0 w 9"/>
                <a:gd name="T3" fmla="*/ 0 h 12"/>
                <a:gd name="T4" fmla="*/ 0 w 9"/>
                <a:gd name="T5" fmla="*/ 7 h 12"/>
                <a:gd name="T6" fmla="*/ 2 w 9"/>
                <a:gd name="T7" fmla="*/ 12 h 12"/>
                <a:gd name="T8" fmla="*/ 9 w 9"/>
                <a:gd name="T9" fmla="*/ 6 h 12"/>
                <a:gd name="T10" fmla="*/ 9 w 9"/>
                <a:gd name="T11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12">
                  <a:moveTo>
                    <a:pt x="9" y="6"/>
                  </a:moveTo>
                  <a:lnTo>
                    <a:pt x="0" y="0"/>
                  </a:lnTo>
                  <a:lnTo>
                    <a:pt x="0" y="7"/>
                  </a:lnTo>
                  <a:lnTo>
                    <a:pt x="2" y="12"/>
                  </a:lnTo>
                  <a:lnTo>
                    <a:pt x="9" y="6"/>
                  </a:lnTo>
                  <a:lnTo>
                    <a:pt x="9" y="6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925" name="Freeform 270"/>
            <p:cNvSpPr>
              <a:spLocks/>
            </p:cNvSpPr>
            <p:nvPr userDrawn="1"/>
          </p:nvSpPr>
          <p:spPr bwMode="auto">
            <a:xfrm>
              <a:off x="5047" y="3759"/>
              <a:ext cx="12" cy="18"/>
            </a:xfrm>
            <a:custGeom>
              <a:avLst/>
              <a:gdLst>
                <a:gd name="T0" fmla="*/ 10 w 12"/>
                <a:gd name="T1" fmla="*/ 13 h 18"/>
                <a:gd name="T2" fmla="*/ 12 w 12"/>
                <a:gd name="T3" fmla="*/ 9 h 18"/>
                <a:gd name="T4" fmla="*/ 10 w 12"/>
                <a:gd name="T5" fmla="*/ 0 h 18"/>
                <a:gd name="T6" fmla="*/ 1 w 12"/>
                <a:gd name="T7" fmla="*/ 3 h 18"/>
                <a:gd name="T8" fmla="*/ 0 w 12"/>
                <a:gd name="T9" fmla="*/ 12 h 18"/>
                <a:gd name="T10" fmla="*/ 4 w 12"/>
                <a:gd name="T11" fmla="*/ 18 h 18"/>
                <a:gd name="T12" fmla="*/ 10 w 12"/>
                <a:gd name="T13" fmla="*/ 13 h 18"/>
                <a:gd name="T14" fmla="*/ 10 w 12"/>
                <a:gd name="T15" fmla="*/ 13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18">
                  <a:moveTo>
                    <a:pt x="10" y="13"/>
                  </a:moveTo>
                  <a:lnTo>
                    <a:pt x="12" y="9"/>
                  </a:lnTo>
                  <a:lnTo>
                    <a:pt x="10" y="0"/>
                  </a:lnTo>
                  <a:lnTo>
                    <a:pt x="1" y="3"/>
                  </a:lnTo>
                  <a:lnTo>
                    <a:pt x="0" y="12"/>
                  </a:lnTo>
                  <a:lnTo>
                    <a:pt x="4" y="18"/>
                  </a:lnTo>
                  <a:lnTo>
                    <a:pt x="10" y="13"/>
                  </a:lnTo>
                  <a:lnTo>
                    <a:pt x="10" y="13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926" name="Freeform 271"/>
            <p:cNvSpPr>
              <a:spLocks/>
            </p:cNvSpPr>
            <p:nvPr userDrawn="1"/>
          </p:nvSpPr>
          <p:spPr bwMode="auto">
            <a:xfrm>
              <a:off x="5065" y="3754"/>
              <a:ext cx="16" cy="26"/>
            </a:xfrm>
            <a:custGeom>
              <a:avLst/>
              <a:gdLst>
                <a:gd name="T0" fmla="*/ 16 w 16"/>
                <a:gd name="T1" fmla="*/ 14 h 26"/>
                <a:gd name="T2" fmla="*/ 15 w 16"/>
                <a:gd name="T3" fmla="*/ 3 h 26"/>
                <a:gd name="T4" fmla="*/ 12 w 16"/>
                <a:gd name="T5" fmla="*/ 0 h 26"/>
                <a:gd name="T6" fmla="*/ 3 w 16"/>
                <a:gd name="T7" fmla="*/ 3 h 26"/>
                <a:gd name="T8" fmla="*/ 0 w 16"/>
                <a:gd name="T9" fmla="*/ 14 h 26"/>
                <a:gd name="T10" fmla="*/ 6 w 16"/>
                <a:gd name="T11" fmla="*/ 26 h 26"/>
                <a:gd name="T12" fmla="*/ 9 w 16"/>
                <a:gd name="T13" fmla="*/ 23 h 26"/>
                <a:gd name="T14" fmla="*/ 16 w 16"/>
                <a:gd name="T15" fmla="*/ 14 h 26"/>
                <a:gd name="T16" fmla="*/ 16 w 16"/>
                <a:gd name="T17" fmla="*/ 1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26">
                  <a:moveTo>
                    <a:pt x="16" y="14"/>
                  </a:moveTo>
                  <a:lnTo>
                    <a:pt x="15" y="3"/>
                  </a:lnTo>
                  <a:lnTo>
                    <a:pt x="12" y="0"/>
                  </a:lnTo>
                  <a:lnTo>
                    <a:pt x="3" y="3"/>
                  </a:lnTo>
                  <a:lnTo>
                    <a:pt x="0" y="14"/>
                  </a:lnTo>
                  <a:lnTo>
                    <a:pt x="6" y="26"/>
                  </a:lnTo>
                  <a:lnTo>
                    <a:pt x="9" y="23"/>
                  </a:lnTo>
                  <a:lnTo>
                    <a:pt x="16" y="14"/>
                  </a:lnTo>
                  <a:lnTo>
                    <a:pt x="16" y="14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927" name="Freeform 272"/>
            <p:cNvSpPr>
              <a:spLocks/>
            </p:cNvSpPr>
            <p:nvPr userDrawn="1"/>
          </p:nvSpPr>
          <p:spPr bwMode="auto">
            <a:xfrm>
              <a:off x="5056" y="3784"/>
              <a:ext cx="10" cy="15"/>
            </a:xfrm>
            <a:custGeom>
              <a:avLst/>
              <a:gdLst>
                <a:gd name="T0" fmla="*/ 7 w 10"/>
                <a:gd name="T1" fmla="*/ 15 h 15"/>
                <a:gd name="T2" fmla="*/ 10 w 10"/>
                <a:gd name="T3" fmla="*/ 8 h 15"/>
                <a:gd name="T4" fmla="*/ 7 w 10"/>
                <a:gd name="T5" fmla="*/ 0 h 15"/>
                <a:gd name="T6" fmla="*/ 0 w 10"/>
                <a:gd name="T7" fmla="*/ 3 h 15"/>
                <a:gd name="T8" fmla="*/ 0 w 10"/>
                <a:gd name="T9" fmla="*/ 8 h 15"/>
                <a:gd name="T10" fmla="*/ 7 w 10"/>
                <a:gd name="T11" fmla="*/ 15 h 15"/>
                <a:gd name="T12" fmla="*/ 7 w 10"/>
                <a:gd name="T13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15">
                  <a:moveTo>
                    <a:pt x="7" y="15"/>
                  </a:moveTo>
                  <a:lnTo>
                    <a:pt x="10" y="8"/>
                  </a:lnTo>
                  <a:lnTo>
                    <a:pt x="7" y="0"/>
                  </a:lnTo>
                  <a:lnTo>
                    <a:pt x="0" y="3"/>
                  </a:lnTo>
                  <a:lnTo>
                    <a:pt x="0" y="8"/>
                  </a:lnTo>
                  <a:lnTo>
                    <a:pt x="7" y="15"/>
                  </a:lnTo>
                  <a:lnTo>
                    <a:pt x="7" y="15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928" name="Freeform 273"/>
            <p:cNvSpPr>
              <a:spLocks/>
            </p:cNvSpPr>
            <p:nvPr userDrawn="1"/>
          </p:nvSpPr>
          <p:spPr bwMode="auto">
            <a:xfrm>
              <a:off x="5089" y="3771"/>
              <a:ext cx="18" cy="21"/>
            </a:xfrm>
            <a:custGeom>
              <a:avLst/>
              <a:gdLst>
                <a:gd name="T0" fmla="*/ 0 w 18"/>
                <a:gd name="T1" fmla="*/ 21 h 21"/>
                <a:gd name="T2" fmla="*/ 9 w 18"/>
                <a:gd name="T3" fmla="*/ 18 h 21"/>
                <a:gd name="T4" fmla="*/ 13 w 18"/>
                <a:gd name="T5" fmla="*/ 12 h 21"/>
                <a:gd name="T6" fmla="*/ 15 w 18"/>
                <a:gd name="T7" fmla="*/ 3 h 21"/>
                <a:gd name="T8" fmla="*/ 18 w 18"/>
                <a:gd name="T9" fmla="*/ 0 h 21"/>
                <a:gd name="T10" fmla="*/ 12 w 18"/>
                <a:gd name="T11" fmla="*/ 1 h 21"/>
                <a:gd name="T12" fmla="*/ 10 w 18"/>
                <a:gd name="T13" fmla="*/ 9 h 21"/>
                <a:gd name="T14" fmla="*/ 1 w 18"/>
                <a:gd name="T15" fmla="*/ 13 h 21"/>
                <a:gd name="T16" fmla="*/ 0 w 18"/>
                <a:gd name="T17" fmla="*/ 21 h 21"/>
                <a:gd name="T18" fmla="*/ 0 w 18"/>
                <a:gd name="T19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21">
                  <a:moveTo>
                    <a:pt x="0" y="21"/>
                  </a:moveTo>
                  <a:lnTo>
                    <a:pt x="9" y="18"/>
                  </a:lnTo>
                  <a:lnTo>
                    <a:pt x="13" y="12"/>
                  </a:lnTo>
                  <a:lnTo>
                    <a:pt x="15" y="3"/>
                  </a:lnTo>
                  <a:lnTo>
                    <a:pt x="18" y="0"/>
                  </a:lnTo>
                  <a:lnTo>
                    <a:pt x="12" y="1"/>
                  </a:lnTo>
                  <a:lnTo>
                    <a:pt x="10" y="9"/>
                  </a:lnTo>
                  <a:lnTo>
                    <a:pt x="1" y="13"/>
                  </a:lnTo>
                  <a:lnTo>
                    <a:pt x="0" y="21"/>
                  </a:lnTo>
                  <a:lnTo>
                    <a:pt x="0" y="21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929" name="Freeform 274"/>
            <p:cNvSpPr>
              <a:spLocks/>
            </p:cNvSpPr>
            <p:nvPr userDrawn="1"/>
          </p:nvSpPr>
          <p:spPr bwMode="auto">
            <a:xfrm>
              <a:off x="5060" y="3818"/>
              <a:ext cx="14" cy="15"/>
            </a:xfrm>
            <a:custGeom>
              <a:avLst/>
              <a:gdLst>
                <a:gd name="T0" fmla="*/ 14 w 14"/>
                <a:gd name="T1" fmla="*/ 9 h 15"/>
                <a:gd name="T2" fmla="*/ 6 w 14"/>
                <a:gd name="T3" fmla="*/ 0 h 15"/>
                <a:gd name="T4" fmla="*/ 0 w 14"/>
                <a:gd name="T5" fmla="*/ 1 h 15"/>
                <a:gd name="T6" fmla="*/ 0 w 14"/>
                <a:gd name="T7" fmla="*/ 4 h 15"/>
                <a:gd name="T8" fmla="*/ 5 w 14"/>
                <a:gd name="T9" fmla="*/ 4 h 15"/>
                <a:gd name="T10" fmla="*/ 8 w 14"/>
                <a:gd name="T11" fmla="*/ 7 h 15"/>
                <a:gd name="T12" fmla="*/ 6 w 14"/>
                <a:gd name="T13" fmla="*/ 15 h 15"/>
                <a:gd name="T14" fmla="*/ 14 w 14"/>
                <a:gd name="T15" fmla="*/ 9 h 15"/>
                <a:gd name="T16" fmla="*/ 14 w 14"/>
                <a:gd name="T17" fmla="*/ 9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" h="15">
                  <a:moveTo>
                    <a:pt x="14" y="9"/>
                  </a:moveTo>
                  <a:lnTo>
                    <a:pt x="6" y="0"/>
                  </a:lnTo>
                  <a:lnTo>
                    <a:pt x="0" y="1"/>
                  </a:lnTo>
                  <a:lnTo>
                    <a:pt x="0" y="4"/>
                  </a:lnTo>
                  <a:lnTo>
                    <a:pt x="5" y="4"/>
                  </a:lnTo>
                  <a:lnTo>
                    <a:pt x="8" y="7"/>
                  </a:lnTo>
                  <a:lnTo>
                    <a:pt x="6" y="15"/>
                  </a:lnTo>
                  <a:lnTo>
                    <a:pt x="14" y="9"/>
                  </a:lnTo>
                  <a:lnTo>
                    <a:pt x="14" y="9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930" name="Freeform 275"/>
            <p:cNvSpPr>
              <a:spLocks/>
            </p:cNvSpPr>
            <p:nvPr userDrawn="1"/>
          </p:nvSpPr>
          <p:spPr bwMode="auto">
            <a:xfrm>
              <a:off x="5122" y="3801"/>
              <a:ext cx="8" cy="11"/>
            </a:xfrm>
            <a:custGeom>
              <a:avLst/>
              <a:gdLst>
                <a:gd name="T0" fmla="*/ 1 w 8"/>
                <a:gd name="T1" fmla="*/ 11 h 11"/>
                <a:gd name="T2" fmla="*/ 8 w 8"/>
                <a:gd name="T3" fmla="*/ 1 h 11"/>
                <a:gd name="T4" fmla="*/ 5 w 8"/>
                <a:gd name="T5" fmla="*/ 0 h 11"/>
                <a:gd name="T6" fmla="*/ 0 w 8"/>
                <a:gd name="T7" fmla="*/ 8 h 11"/>
                <a:gd name="T8" fmla="*/ 1 w 8"/>
                <a:gd name="T9" fmla="*/ 11 h 11"/>
                <a:gd name="T10" fmla="*/ 1 w 8"/>
                <a:gd name="T11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11">
                  <a:moveTo>
                    <a:pt x="1" y="11"/>
                  </a:moveTo>
                  <a:lnTo>
                    <a:pt x="8" y="1"/>
                  </a:lnTo>
                  <a:lnTo>
                    <a:pt x="5" y="0"/>
                  </a:lnTo>
                  <a:lnTo>
                    <a:pt x="0" y="8"/>
                  </a:lnTo>
                  <a:lnTo>
                    <a:pt x="1" y="11"/>
                  </a:lnTo>
                  <a:lnTo>
                    <a:pt x="1" y="11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931" name="Freeform 276"/>
            <p:cNvSpPr>
              <a:spLocks/>
            </p:cNvSpPr>
            <p:nvPr userDrawn="1"/>
          </p:nvSpPr>
          <p:spPr bwMode="auto">
            <a:xfrm>
              <a:off x="5216" y="3802"/>
              <a:ext cx="7" cy="7"/>
            </a:xfrm>
            <a:custGeom>
              <a:avLst/>
              <a:gdLst>
                <a:gd name="T0" fmla="*/ 7 w 7"/>
                <a:gd name="T1" fmla="*/ 2 h 7"/>
                <a:gd name="T2" fmla="*/ 4 w 7"/>
                <a:gd name="T3" fmla="*/ 0 h 7"/>
                <a:gd name="T4" fmla="*/ 0 w 7"/>
                <a:gd name="T5" fmla="*/ 7 h 7"/>
                <a:gd name="T6" fmla="*/ 6 w 7"/>
                <a:gd name="T7" fmla="*/ 5 h 7"/>
                <a:gd name="T8" fmla="*/ 7 w 7"/>
                <a:gd name="T9" fmla="*/ 2 h 7"/>
                <a:gd name="T10" fmla="*/ 7 w 7"/>
                <a:gd name="T11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7">
                  <a:moveTo>
                    <a:pt x="7" y="2"/>
                  </a:moveTo>
                  <a:lnTo>
                    <a:pt x="4" y="0"/>
                  </a:lnTo>
                  <a:lnTo>
                    <a:pt x="0" y="7"/>
                  </a:lnTo>
                  <a:lnTo>
                    <a:pt x="6" y="5"/>
                  </a:lnTo>
                  <a:lnTo>
                    <a:pt x="7" y="2"/>
                  </a:lnTo>
                  <a:lnTo>
                    <a:pt x="7" y="2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932" name="Freeform 277"/>
            <p:cNvSpPr>
              <a:spLocks/>
            </p:cNvSpPr>
            <p:nvPr userDrawn="1"/>
          </p:nvSpPr>
          <p:spPr bwMode="auto">
            <a:xfrm>
              <a:off x="4946" y="3875"/>
              <a:ext cx="179" cy="63"/>
            </a:xfrm>
            <a:custGeom>
              <a:avLst/>
              <a:gdLst>
                <a:gd name="T0" fmla="*/ 0 w 179"/>
                <a:gd name="T1" fmla="*/ 12 h 63"/>
                <a:gd name="T2" fmla="*/ 3 w 179"/>
                <a:gd name="T3" fmla="*/ 26 h 63"/>
                <a:gd name="T4" fmla="*/ 9 w 179"/>
                <a:gd name="T5" fmla="*/ 39 h 63"/>
                <a:gd name="T6" fmla="*/ 24 w 179"/>
                <a:gd name="T7" fmla="*/ 33 h 63"/>
                <a:gd name="T8" fmla="*/ 40 w 179"/>
                <a:gd name="T9" fmla="*/ 41 h 63"/>
                <a:gd name="T10" fmla="*/ 55 w 179"/>
                <a:gd name="T11" fmla="*/ 42 h 63"/>
                <a:gd name="T12" fmla="*/ 69 w 179"/>
                <a:gd name="T13" fmla="*/ 42 h 63"/>
                <a:gd name="T14" fmla="*/ 84 w 179"/>
                <a:gd name="T15" fmla="*/ 54 h 63"/>
                <a:gd name="T16" fmla="*/ 84 w 179"/>
                <a:gd name="T17" fmla="*/ 63 h 63"/>
                <a:gd name="T18" fmla="*/ 98 w 179"/>
                <a:gd name="T19" fmla="*/ 60 h 63"/>
                <a:gd name="T20" fmla="*/ 110 w 179"/>
                <a:gd name="T21" fmla="*/ 53 h 63"/>
                <a:gd name="T22" fmla="*/ 129 w 179"/>
                <a:gd name="T23" fmla="*/ 54 h 63"/>
                <a:gd name="T24" fmla="*/ 149 w 179"/>
                <a:gd name="T25" fmla="*/ 56 h 63"/>
                <a:gd name="T26" fmla="*/ 162 w 179"/>
                <a:gd name="T27" fmla="*/ 50 h 63"/>
                <a:gd name="T28" fmla="*/ 173 w 179"/>
                <a:gd name="T29" fmla="*/ 51 h 63"/>
                <a:gd name="T30" fmla="*/ 179 w 179"/>
                <a:gd name="T31" fmla="*/ 39 h 63"/>
                <a:gd name="T32" fmla="*/ 176 w 179"/>
                <a:gd name="T33" fmla="*/ 30 h 63"/>
                <a:gd name="T34" fmla="*/ 173 w 179"/>
                <a:gd name="T35" fmla="*/ 26 h 63"/>
                <a:gd name="T36" fmla="*/ 170 w 179"/>
                <a:gd name="T37" fmla="*/ 36 h 63"/>
                <a:gd name="T38" fmla="*/ 158 w 179"/>
                <a:gd name="T39" fmla="*/ 36 h 63"/>
                <a:gd name="T40" fmla="*/ 147 w 179"/>
                <a:gd name="T41" fmla="*/ 39 h 63"/>
                <a:gd name="T42" fmla="*/ 143 w 179"/>
                <a:gd name="T43" fmla="*/ 29 h 63"/>
                <a:gd name="T44" fmla="*/ 140 w 179"/>
                <a:gd name="T45" fmla="*/ 23 h 63"/>
                <a:gd name="T46" fmla="*/ 126 w 179"/>
                <a:gd name="T47" fmla="*/ 27 h 63"/>
                <a:gd name="T48" fmla="*/ 108 w 179"/>
                <a:gd name="T49" fmla="*/ 27 h 63"/>
                <a:gd name="T50" fmla="*/ 99 w 179"/>
                <a:gd name="T51" fmla="*/ 21 h 63"/>
                <a:gd name="T52" fmla="*/ 90 w 179"/>
                <a:gd name="T53" fmla="*/ 21 h 63"/>
                <a:gd name="T54" fmla="*/ 72 w 179"/>
                <a:gd name="T55" fmla="*/ 27 h 63"/>
                <a:gd name="T56" fmla="*/ 57 w 179"/>
                <a:gd name="T57" fmla="*/ 29 h 63"/>
                <a:gd name="T58" fmla="*/ 48 w 179"/>
                <a:gd name="T59" fmla="*/ 21 h 63"/>
                <a:gd name="T60" fmla="*/ 39 w 179"/>
                <a:gd name="T61" fmla="*/ 17 h 63"/>
                <a:gd name="T62" fmla="*/ 43 w 179"/>
                <a:gd name="T63" fmla="*/ 7 h 63"/>
                <a:gd name="T64" fmla="*/ 31 w 179"/>
                <a:gd name="T65" fmla="*/ 7 h 63"/>
                <a:gd name="T66" fmla="*/ 19 w 179"/>
                <a:gd name="T67" fmla="*/ 9 h 63"/>
                <a:gd name="T68" fmla="*/ 13 w 179"/>
                <a:gd name="T69" fmla="*/ 0 h 63"/>
                <a:gd name="T70" fmla="*/ 16 w 179"/>
                <a:gd name="T71" fmla="*/ 12 h 63"/>
                <a:gd name="T72" fmla="*/ 9 w 179"/>
                <a:gd name="T73" fmla="*/ 13 h 63"/>
                <a:gd name="T74" fmla="*/ 0 w 179"/>
                <a:gd name="T75" fmla="*/ 4 h 63"/>
                <a:gd name="T76" fmla="*/ 1 w 179"/>
                <a:gd name="T77" fmla="*/ 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79" h="63">
                  <a:moveTo>
                    <a:pt x="1" y="7"/>
                  </a:moveTo>
                  <a:lnTo>
                    <a:pt x="0" y="12"/>
                  </a:lnTo>
                  <a:lnTo>
                    <a:pt x="3" y="18"/>
                  </a:lnTo>
                  <a:lnTo>
                    <a:pt x="3" y="26"/>
                  </a:lnTo>
                  <a:lnTo>
                    <a:pt x="4" y="32"/>
                  </a:lnTo>
                  <a:lnTo>
                    <a:pt x="9" y="39"/>
                  </a:lnTo>
                  <a:lnTo>
                    <a:pt x="16" y="36"/>
                  </a:lnTo>
                  <a:lnTo>
                    <a:pt x="24" y="33"/>
                  </a:lnTo>
                  <a:lnTo>
                    <a:pt x="34" y="36"/>
                  </a:lnTo>
                  <a:lnTo>
                    <a:pt x="40" y="41"/>
                  </a:lnTo>
                  <a:lnTo>
                    <a:pt x="48" y="41"/>
                  </a:lnTo>
                  <a:lnTo>
                    <a:pt x="55" y="42"/>
                  </a:lnTo>
                  <a:lnTo>
                    <a:pt x="63" y="45"/>
                  </a:lnTo>
                  <a:lnTo>
                    <a:pt x="69" y="42"/>
                  </a:lnTo>
                  <a:lnTo>
                    <a:pt x="78" y="48"/>
                  </a:lnTo>
                  <a:lnTo>
                    <a:pt x="84" y="54"/>
                  </a:lnTo>
                  <a:lnTo>
                    <a:pt x="81" y="62"/>
                  </a:lnTo>
                  <a:lnTo>
                    <a:pt x="84" y="63"/>
                  </a:lnTo>
                  <a:lnTo>
                    <a:pt x="87" y="60"/>
                  </a:lnTo>
                  <a:lnTo>
                    <a:pt x="98" y="60"/>
                  </a:lnTo>
                  <a:lnTo>
                    <a:pt x="102" y="59"/>
                  </a:lnTo>
                  <a:lnTo>
                    <a:pt x="110" y="53"/>
                  </a:lnTo>
                  <a:lnTo>
                    <a:pt x="122" y="51"/>
                  </a:lnTo>
                  <a:lnTo>
                    <a:pt x="129" y="54"/>
                  </a:lnTo>
                  <a:lnTo>
                    <a:pt x="138" y="51"/>
                  </a:lnTo>
                  <a:lnTo>
                    <a:pt x="149" y="56"/>
                  </a:lnTo>
                  <a:lnTo>
                    <a:pt x="155" y="54"/>
                  </a:lnTo>
                  <a:lnTo>
                    <a:pt x="162" y="50"/>
                  </a:lnTo>
                  <a:lnTo>
                    <a:pt x="167" y="54"/>
                  </a:lnTo>
                  <a:lnTo>
                    <a:pt x="173" y="51"/>
                  </a:lnTo>
                  <a:lnTo>
                    <a:pt x="177" y="44"/>
                  </a:lnTo>
                  <a:lnTo>
                    <a:pt x="179" y="39"/>
                  </a:lnTo>
                  <a:lnTo>
                    <a:pt x="179" y="36"/>
                  </a:lnTo>
                  <a:lnTo>
                    <a:pt x="176" y="30"/>
                  </a:lnTo>
                  <a:lnTo>
                    <a:pt x="176" y="24"/>
                  </a:lnTo>
                  <a:lnTo>
                    <a:pt x="173" y="26"/>
                  </a:lnTo>
                  <a:lnTo>
                    <a:pt x="173" y="32"/>
                  </a:lnTo>
                  <a:lnTo>
                    <a:pt x="170" y="36"/>
                  </a:lnTo>
                  <a:lnTo>
                    <a:pt x="162" y="35"/>
                  </a:lnTo>
                  <a:lnTo>
                    <a:pt x="158" y="36"/>
                  </a:lnTo>
                  <a:lnTo>
                    <a:pt x="153" y="41"/>
                  </a:lnTo>
                  <a:lnTo>
                    <a:pt x="147" y="39"/>
                  </a:lnTo>
                  <a:lnTo>
                    <a:pt x="144" y="33"/>
                  </a:lnTo>
                  <a:lnTo>
                    <a:pt x="143" y="29"/>
                  </a:lnTo>
                  <a:lnTo>
                    <a:pt x="144" y="24"/>
                  </a:lnTo>
                  <a:lnTo>
                    <a:pt x="140" y="23"/>
                  </a:lnTo>
                  <a:lnTo>
                    <a:pt x="132" y="27"/>
                  </a:lnTo>
                  <a:lnTo>
                    <a:pt x="126" y="27"/>
                  </a:lnTo>
                  <a:lnTo>
                    <a:pt x="120" y="23"/>
                  </a:lnTo>
                  <a:lnTo>
                    <a:pt x="108" y="27"/>
                  </a:lnTo>
                  <a:lnTo>
                    <a:pt x="102" y="26"/>
                  </a:lnTo>
                  <a:lnTo>
                    <a:pt x="99" y="21"/>
                  </a:lnTo>
                  <a:lnTo>
                    <a:pt x="93" y="18"/>
                  </a:lnTo>
                  <a:lnTo>
                    <a:pt x="90" y="21"/>
                  </a:lnTo>
                  <a:lnTo>
                    <a:pt x="78" y="23"/>
                  </a:lnTo>
                  <a:lnTo>
                    <a:pt x="72" y="27"/>
                  </a:lnTo>
                  <a:lnTo>
                    <a:pt x="61" y="27"/>
                  </a:lnTo>
                  <a:lnTo>
                    <a:pt x="57" y="29"/>
                  </a:lnTo>
                  <a:lnTo>
                    <a:pt x="51" y="20"/>
                  </a:lnTo>
                  <a:lnTo>
                    <a:pt x="48" y="21"/>
                  </a:lnTo>
                  <a:lnTo>
                    <a:pt x="39" y="20"/>
                  </a:lnTo>
                  <a:lnTo>
                    <a:pt x="39" y="17"/>
                  </a:lnTo>
                  <a:lnTo>
                    <a:pt x="45" y="12"/>
                  </a:lnTo>
                  <a:lnTo>
                    <a:pt x="43" y="7"/>
                  </a:lnTo>
                  <a:lnTo>
                    <a:pt x="37" y="4"/>
                  </a:lnTo>
                  <a:lnTo>
                    <a:pt x="31" y="7"/>
                  </a:lnTo>
                  <a:lnTo>
                    <a:pt x="24" y="13"/>
                  </a:lnTo>
                  <a:lnTo>
                    <a:pt x="19" y="9"/>
                  </a:lnTo>
                  <a:lnTo>
                    <a:pt x="18" y="0"/>
                  </a:lnTo>
                  <a:lnTo>
                    <a:pt x="13" y="0"/>
                  </a:lnTo>
                  <a:lnTo>
                    <a:pt x="10" y="6"/>
                  </a:lnTo>
                  <a:lnTo>
                    <a:pt x="16" y="12"/>
                  </a:lnTo>
                  <a:lnTo>
                    <a:pt x="13" y="15"/>
                  </a:lnTo>
                  <a:lnTo>
                    <a:pt x="9" y="13"/>
                  </a:lnTo>
                  <a:lnTo>
                    <a:pt x="4" y="6"/>
                  </a:lnTo>
                  <a:lnTo>
                    <a:pt x="0" y="4"/>
                  </a:lnTo>
                  <a:lnTo>
                    <a:pt x="1" y="7"/>
                  </a:lnTo>
                  <a:lnTo>
                    <a:pt x="1" y="7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933" name="Freeform 278"/>
            <p:cNvSpPr>
              <a:spLocks/>
            </p:cNvSpPr>
            <p:nvPr userDrawn="1"/>
          </p:nvSpPr>
          <p:spPr bwMode="auto">
            <a:xfrm>
              <a:off x="5160" y="3892"/>
              <a:ext cx="9" cy="12"/>
            </a:xfrm>
            <a:custGeom>
              <a:avLst/>
              <a:gdLst>
                <a:gd name="T0" fmla="*/ 6 w 9"/>
                <a:gd name="T1" fmla="*/ 3 h 12"/>
                <a:gd name="T2" fmla="*/ 3 w 9"/>
                <a:gd name="T3" fmla="*/ 1 h 12"/>
                <a:gd name="T4" fmla="*/ 0 w 9"/>
                <a:gd name="T5" fmla="*/ 7 h 12"/>
                <a:gd name="T6" fmla="*/ 1 w 9"/>
                <a:gd name="T7" fmla="*/ 12 h 12"/>
                <a:gd name="T8" fmla="*/ 9 w 9"/>
                <a:gd name="T9" fmla="*/ 4 h 12"/>
                <a:gd name="T10" fmla="*/ 9 w 9"/>
                <a:gd name="T11" fmla="*/ 0 h 12"/>
                <a:gd name="T12" fmla="*/ 6 w 9"/>
                <a:gd name="T13" fmla="*/ 3 h 12"/>
                <a:gd name="T14" fmla="*/ 6 w 9"/>
                <a:gd name="T15" fmla="*/ 3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12">
                  <a:moveTo>
                    <a:pt x="6" y="3"/>
                  </a:moveTo>
                  <a:lnTo>
                    <a:pt x="3" y="1"/>
                  </a:lnTo>
                  <a:lnTo>
                    <a:pt x="0" y="7"/>
                  </a:lnTo>
                  <a:lnTo>
                    <a:pt x="1" y="12"/>
                  </a:lnTo>
                  <a:lnTo>
                    <a:pt x="9" y="4"/>
                  </a:lnTo>
                  <a:lnTo>
                    <a:pt x="9" y="0"/>
                  </a:lnTo>
                  <a:lnTo>
                    <a:pt x="6" y="3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934" name="Freeform 279"/>
            <p:cNvSpPr>
              <a:spLocks/>
            </p:cNvSpPr>
            <p:nvPr userDrawn="1"/>
          </p:nvSpPr>
          <p:spPr bwMode="auto">
            <a:xfrm>
              <a:off x="5175" y="3854"/>
              <a:ext cx="12" cy="39"/>
            </a:xfrm>
            <a:custGeom>
              <a:avLst/>
              <a:gdLst>
                <a:gd name="T0" fmla="*/ 6 w 12"/>
                <a:gd name="T1" fmla="*/ 13 h 39"/>
                <a:gd name="T2" fmla="*/ 6 w 12"/>
                <a:gd name="T3" fmla="*/ 7 h 39"/>
                <a:gd name="T4" fmla="*/ 9 w 12"/>
                <a:gd name="T5" fmla="*/ 6 h 39"/>
                <a:gd name="T6" fmla="*/ 3 w 12"/>
                <a:gd name="T7" fmla="*/ 0 h 39"/>
                <a:gd name="T8" fmla="*/ 4 w 12"/>
                <a:gd name="T9" fmla="*/ 6 h 39"/>
                <a:gd name="T10" fmla="*/ 1 w 12"/>
                <a:gd name="T11" fmla="*/ 10 h 39"/>
                <a:gd name="T12" fmla="*/ 1 w 12"/>
                <a:gd name="T13" fmla="*/ 16 h 39"/>
                <a:gd name="T14" fmla="*/ 0 w 12"/>
                <a:gd name="T15" fmla="*/ 21 h 39"/>
                <a:gd name="T16" fmla="*/ 0 w 12"/>
                <a:gd name="T17" fmla="*/ 25 h 39"/>
                <a:gd name="T18" fmla="*/ 4 w 12"/>
                <a:gd name="T19" fmla="*/ 30 h 39"/>
                <a:gd name="T20" fmla="*/ 0 w 12"/>
                <a:gd name="T21" fmla="*/ 38 h 39"/>
                <a:gd name="T22" fmla="*/ 1 w 12"/>
                <a:gd name="T23" fmla="*/ 39 h 39"/>
                <a:gd name="T24" fmla="*/ 7 w 12"/>
                <a:gd name="T25" fmla="*/ 38 h 39"/>
                <a:gd name="T26" fmla="*/ 12 w 12"/>
                <a:gd name="T27" fmla="*/ 27 h 39"/>
                <a:gd name="T28" fmla="*/ 4 w 12"/>
                <a:gd name="T29" fmla="*/ 22 h 39"/>
                <a:gd name="T30" fmla="*/ 6 w 12"/>
                <a:gd name="T31" fmla="*/ 13 h 39"/>
                <a:gd name="T32" fmla="*/ 6 w 12"/>
                <a:gd name="T33" fmla="*/ 13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39">
                  <a:moveTo>
                    <a:pt x="6" y="13"/>
                  </a:moveTo>
                  <a:lnTo>
                    <a:pt x="6" y="7"/>
                  </a:lnTo>
                  <a:lnTo>
                    <a:pt x="9" y="6"/>
                  </a:lnTo>
                  <a:lnTo>
                    <a:pt x="3" y="0"/>
                  </a:lnTo>
                  <a:lnTo>
                    <a:pt x="4" y="6"/>
                  </a:lnTo>
                  <a:lnTo>
                    <a:pt x="1" y="10"/>
                  </a:lnTo>
                  <a:lnTo>
                    <a:pt x="1" y="16"/>
                  </a:lnTo>
                  <a:lnTo>
                    <a:pt x="0" y="21"/>
                  </a:lnTo>
                  <a:lnTo>
                    <a:pt x="0" y="25"/>
                  </a:lnTo>
                  <a:lnTo>
                    <a:pt x="4" y="30"/>
                  </a:lnTo>
                  <a:lnTo>
                    <a:pt x="0" y="38"/>
                  </a:lnTo>
                  <a:lnTo>
                    <a:pt x="1" y="39"/>
                  </a:lnTo>
                  <a:lnTo>
                    <a:pt x="7" y="38"/>
                  </a:lnTo>
                  <a:lnTo>
                    <a:pt x="12" y="27"/>
                  </a:lnTo>
                  <a:lnTo>
                    <a:pt x="4" y="22"/>
                  </a:lnTo>
                  <a:lnTo>
                    <a:pt x="6" y="13"/>
                  </a:lnTo>
                  <a:lnTo>
                    <a:pt x="6" y="13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935" name="Freeform 280"/>
            <p:cNvSpPr>
              <a:spLocks/>
            </p:cNvSpPr>
            <p:nvPr userDrawn="1"/>
          </p:nvSpPr>
          <p:spPr bwMode="auto">
            <a:xfrm>
              <a:off x="5629" y="2995"/>
              <a:ext cx="4" cy="8"/>
            </a:xfrm>
            <a:custGeom>
              <a:avLst/>
              <a:gdLst>
                <a:gd name="T0" fmla="*/ 0 w 4"/>
                <a:gd name="T1" fmla="*/ 2 h 8"/>
                <a:gd name="T2" fmla="*/ 4 w 4"/>
                <a:gd name="T3" fmla="*/ 8 h 8"/>
                <a:gd name="T4" fmla="*/ 4 w 4"/>
                <a:gd name="T5" fmla="*/ 5 h 8"/>
                <a:gd name="T6" fmla="*/ 3 w 4"/>
                <a:gd name="T7" fmla="*/ 0 h 8"/>
                <a:gd name="T8" fmla="*/ 0 w 4"/>
                <a:gd name="T9" fmla="*/ 2 h 8"/>
                <a:gd name="T10" fmla="*/ 0 w 4"/>
                <a:gd name="T11" fmla="*/ 2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8">
                  <a:moveTo>
                    <a:pt x="0" y="2"/>
                  </a:moveTo>
                  <a:lnTo>
                    <a:pt x="4" y="8"/>
                  </a:lnTo>
                  <a:lnTo>
                    <a:pt x="4" y="5"/>
                  </a:lnTo>
                  <a:lnTo>
                    <a:pt x="3" y="0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936" name="Freeform 281"/>
            <p:cNvSpPr>
              <a:spLocks/>
            </p:cNvSpPr>
            <p:nvPr userDrawn="1"/>
          </p:nvSpPr>
          <p:spPr bwMode="auto">
            <a:xfrm>
              <a:off x="5683" y="2976"/>
              <a:ext cx="17" cy="24"/>
            </a:xfrm>
            <a:custGeom>
              <a:avLst/>
              <a:gdLst>
                <a:gd name="T0" fmla="*/ 3 w 17"/>
                <a:gd name="T1" fmla="*/ 12 h 24"/>
                <a:gd name="T2" fmla="*/ 0 w 17"/>
                <a:gd name="T3" fmla="*/ 18 h 24"/>
                <a:gd name="T4" fmla="*/ 8 w 17"/>
                <a:gd name="T5" fmla="*/ 24 h 24"/>
                <a:gd name="T6" fmla="*/ 12 w 17"/>
                <a:gd name="T7" fmla="*/ 9 h 24"/>
                <a:gd name="T8" fmla="*/ 17 w 17"/>
                <a:gd name="T9" fmla="*/ 0 h 24"/>
                <a:gd name="T10" fmla="*/ 12 w 17"/>
                <a:gd name="T11" fmla="*/ 4 h 24"/>
                <a:gd name="T12" fmla="*/ 3 w 17"/>
                <a:gd name="T13" fmla="*/ 12 h 24"/>
                <a:gd name="T14" fmla="*/ 3 w 17"/>
                <a:gd name="T15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" h="24">
                  <a:moveTo>
                    <a:pt x="3" y="12"/>
                  </a:moveTo>
                  <a:lnTo>
                    <a:pt x="0" y="18"/>
                  </a:lnTo>
                  <a:lnTo>
                    <a:pt x="8" y="24"/>
                  </a:lnTo>
                  <a:lnTo>
                    <a:pt x="12" y="9"/>
                  </a:lnTo>
                  <a:lnTo>
                    <a:pt x="17" y="0"/>
                  </a:lnTo>
                  <a:lnTo>
                    <a:pt x="12" y="4"/>
                  </a:lnTo>
                  <a:lnTo>
                    <a:pt x="3" y="12"/>
                  </a:lnTo>
                  <a:lnTo>
                    <a:pt x="3" y="12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937" name="Freeform 282"/>
            <p:cNvSpPr>
              <a:spLocks/>
            </p:cNvSpPr>
            <p:nvPr userDrawn="1"/>
          </p:nvSpPr>
          <p:spPr bwMode="auto">
            <a:xfrm>
              <a:off x="5748" y="2956"/>
              <a:ext cx="9" cy="8"/>
            </a:xfrm>
            <a:custGeom>
              <a:avLst/>
              <a:gdLst>
                <a:gd name="T0" fmla="*/ 0 w 9"/>
                <a:gd name="T1" fmla="*/ 8 h 8"/>
                <a:gd name="T2" fmla="*/ 9 w 9"/>
                <a:gd name="T3" fmla="*/ 0 h 8"/>
                <a:gd name="T4" fmla="*/ 3 w 9"/>
                <a:gd name="T5" fmla="*/ 2 h 8"/>
                <a:gd name="T6" fmla="*/ 0 w 9"/>
                <a:gd name="T7" fmla="*/ 8 h 8"/>
                <a:gd name="T8" fmla="*/ 0 w 9"/>
                <a:gd name="T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8">
                  <a:moveTo>
                    <a:pt x="0" y="8"/>
                  </a:moveTo>
                  <a:lnTo>
                    <a:pt x="9" y="0"/>
                  </a:lnTo>
                  <a:lnTo>
                    <a:pt x="3" y="2"/>
                  </a:lnTo>
                  <a:lnTo>
                    <a:pt x="0" y="8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938" name="Freeform 283"/>
            <p:cNvSpPr>
              <a:spLocks/>
            </p:cNvSpPr>
            <p:nvPr userDrawn="1"/>
          </p:nvSpPr>
          <p:spPr bwMode="auto">
            <a:xfrm>
              <a:off x="5191" y="3483"/>
              <a:ext cx="14" cy="7"/>
            </a:xfrm>
            <a:custGeom>
              <a:avLst/>
              <a:gdLst>
                <a:gd name="T0" fmla="*/ 3 w 14"/>
                <a:gd name="T1" fmla="*/ 7 h 7"/>
                <a:gd name="T2" fmla="*/ 8 w 14"/>
                <a:gd name="T3" fmla="*/ 4 h 7"/>
                <a:gd name="T4" fmla="*/ 14 w 14"/>
                <a:gd name="T5" fmla="*/ 0 h 7"/>
                <a:gd name="T6" fmla="*/ 0 w 14"/>
                <a:gd name="T7" fmla="*/ 0 h 7"/>
                <a:gd name="T8" fmla="*/ 0 w 14"/>
                <a:gd name="T9" fmla="*/ 4 h 7"/>
                <a:gd name="T10" fmla="*/ 3 w 14"/>
                <a:gd name="T11" fmla="*/ 7 h 7"/>
                <a:gd name="T12" fmla="*/ 3 w 14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" h="7">
                  <a:moveTo>
                    <a:pt x="3" y="7"/>
                  </a:moveTo>
                  <a:lnTo>
                    <a:pt x="8" y="4"/>
                  </a:lnTo>
                  <a:lnTo>
                    <a:pt x="14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3" y="7"/>
                  </a:lnTo>
                  <a:lnTo>
                    <a:pt x="3" y="7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939" name="Freeform 284"/>
            <p:cNvSpPr>
              <a:spLocks/>
            </p:cNvSpPr>
            <p:nvPr userDrawn="1"/>
          </p:nvSpPr>
          <p:spPr bwMode="auto">
            <a:xfrm>
              <a:off x="5197" y="3492"/>
              <a:ext cx="3" cy="4"/>
            </a:xfrm>
            <a:custGeom>
              <a:avLst/>
              <a:gdLst>
                <a:gd name="T0" fmla="*/ 0 w 3"/>
                <a:gd name="T1" fmla="*/ 3 h 4"/>
                <a:gd name="T2" fmla="*/ 3 w 3"/>
                <a:gd name="T3" fmla="*/ 4 h 4"/>
                <a:gd name="T4" fmla="*/ 3 w 3"/>
                <a:gd name="T5" fmla="*/ 0 h 4"/>
                <a:gd name="T6" fmla="*/ 0 w 3"/>
                <a:gd name="T7" fmla="*/ 3 h 4"/>
                <a:gd name="T8" fmla="*/ 0 w 3"/>
                <a:gd name="T9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4">
                  <a:moveTo>
                    <a:pt x="0" y="3"/>
                  </a:moveTo>
                  <a:lnTo>
                    <a:pt x="3" y="4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940" name="Freeform 285"/>
            <p:cNvSpPr>
              <a:spLocks/>
            </p:cNvSpPr>
            <p:nvPr userDrawn="1"/>
          </p:nvSpPr>
          <p:spPr bwMode="auto">
            <a:xfrm>
              <a:off x="5006" y="3466"/>
              <a:ext cx="13" cy="17"/>
            </a:xfrm>
            <a:custGeom>
              <a:avLst/>
              <a:gdLst>
                <a:gd name="T0" fmla="*/ 13 w 13"/>
                <a:gd name="T1" fmla="*/ 12 h 17"/>
                <a:gd name="T2" fmla="*/ 13 w 13"/>
                <a:gd name="T3" fmla="*/ 3 h 17"/>
                <a:gd name="T4" fmla="*/ 9 w 13"/>
                <a:gd name="T5" fmla="*/ 0 h 17"/>
                <a:gd name="T6" fmla="*/ 1 w 13"/>
                <a:gd name="T7" fmla="*/ 6 h 17"/>
                <a:gd name="T8" fmla="*/ 0 w 13"/>
                <a:gd name="T9" fmla="*/ 12 h 17"/>
                <a:gd name="T10" fmla="*/ 7 w 13"/>
                <a:gd name="T11" fmla="*/ 17 h 17"/>
                <a:gd name="T12" fmla="*/ 13 w 13"/>
                <a:gd name="T13" fmla="*/ 12 h 17"/>
                <a:gd name="T14" fmla="*/ 13 w 13"/>
                <a:gd name="T15" fmla="*/ 12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17">
                  <a:moveTo>
                    <a:pt x="13" y="12"/>
                  </a:moveTo>
                  <a:lnTo>
                    <a:pt x="13" y="3"/>
                  </a:lnTo>
                  <a:lnTo>
                    <a:pt x="9" y="0"/>
                  </a:lnTo>
                  <a:lnTo>
                    <a:pt x="1" y="6"/>
                  </a:lnTo>
                  <a:lnTo>
                    <a:pt x="0" y="12"/>
                  </a:lnTo>
                  <a:lnTo>
                    <a:pt x="7" y="17"/>
                  </a:lnTo>
                  <a:lnTo>
                    <a:pt x="13" y="12"/>
                  </a:lnTo>
                  <a:lnTo>
                    <a:pt x="13" y="12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941" name="Freeform 286"/>
            <p:cNvSpPr>
              <a:spLocks/>
            </p:cNvSpPr>
            <p:nvPr userDrawn="1"/>
          </p:nvSpPr>
          <p:spPr bwMode="auto">
            <a:xfrm>
              <a:off x="5063" y="3490"/>
              <a:ext cx="18" cy="9"/>
            </a:xfrm>
            <a:custGeom>
              <a:avLst/>
              <a:gdLst>
                <a:gd name="T0" fmla="*/ 17 w 18"/>
                <a:gd name="T1" fmla="*/ 9 h 9"/>
                <a:gd name="T2" fmla="*/ 18 w 18"/>
                <a:gd name="T3" fmla="*/ 3 h 9"/>
                <a:gd name="T4" fmla="*/ 9 w 18"/>
                <a:gd name="T5" fmla="*/ 0 h 9"/>
                <a:gd name="T6" fmla="*/ 2 w 18"/>
                <a:gd name="T7" fmla="*/ 3 h 9"/>
                <a:gd name="T8" fmla="*/ 0 w 18"/>
                <a:gd name="T9" fmla="*/ 8 h 9"/>
                <a:gd name="T10" fmla="*/ 9 w 18"/>
                <a:gd name="T11" fmla="*/ 8 h 9"/>
                <a:gd name="T12" fmla="*/ 17 w 18"/>
                <a:gd name="T13" fmla="*/ 9 h 9"/>
                <a:gd name="T14" fmla="*/ 17 w 18"/>
                <a:gd name="T15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9">
                  <a:moveTo>
                    <a:pt x="17" y="9"/>
                  </a:moveTo>
                  <a:lnTo>
                    <a:pt x="18" y="3"/>
                  </a:lnTo>
                  <a:lnTo>
                    <a:pt x="9" y="0"/>
                  </a:lnTo>
                  <a:lnTo>
                    <a:pt x="2" y="3"/>
                  </a:lnTo>
                  <a:lnTo>
                    <a:pt x="0" y="8"/>
                  </a:lnTo>
                  <a:lnTo>
                    <a:pt x="9" y="8"/>
                  </a:lnTo>
                  <a:lnTo>
                    <a:pt x="17" y="9"/>
                  </a:lnTo>
                  <a:lnTo>
                    <a:pt x="17" y="9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942" name="Freeform 287"/>
            <p:cNvSpPr>
              <a:spLocks/>
            </p:cNvSpPr>
            <p:nvPr userDrawn="1"/>
          </p:nvSpPr>
          <p:spPr bwMode="auto">
            <a:xfrm>
              <a:off x="5077" y="3507"/>
              <a:ext cx="21" cy="15"/>
            </a:xfrm>
            <a:custGeom>
              <a:avLst/>
              <a:gdLst>
                <a:gd name="T0" fmla="*/ 0 w 21"/>
                <a:gd name="T1" fmla="*/ 13 h 15"/>
                <a:gd name="T2" fmla="*/ 16 w 21"/>
                <a:gd name="T3" fmla="*/ 15 h 15"/>
                <a:gd name="T4" fmla="*/ 21 w 21"/>
                <a:gd name="T5" fmla="*/ 9 h 15"/>
                <a:gd name="T6" fmla="*/ 19 w 21"/>
                <a:gd name="T7" fmla="*/ 1 h 15"/>
                <a:gd name="T8" fmla="*/ 15 w 21"/>
                <a:gd name="T9" fmla="*/ 0 h 15"/>
                <a:gd name="T10" fmla="*/ 3 w 21"/>
                <a:gd name="T11" fmla="*/ 7 h 15"/>
                <a:gd name="T12" fmla="*/ 0 w 21"/>
                <a:gd name="T13" fmla="*/ 13 h 15"/>
                <a:gd name="T14" fmla="*/ 0 w 21"/>
                <a:gd name="T15" fmla="*/ 1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15">
                  <a:moveTo>
                    <a:pt x="0" y="13"/>
                  </a:moveTo>
                  <a:lnTo>
                    <a:pt x="16" y="15"/>
                  </a:lnTo>
                  <a:lnTo>
                    <a:pt x="21" y="9"/>
                  </a:lnTo>
                  <a:lnTo>
                    <a:pt x="19" y="1"/>
                  </a:lnTo>
                  <a:lnTo>
                    <a:pt x="15" y="0"/>
                  </a:lnTo>
                  <a:lnTo>
                    <a:pt x="3" y="7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943" name="Freeform 288"/>
            <p:cNvSpPr>
              <a:spLocks/>
            </p:cNvSpPr>
            <p:nvPr userDrawn="1"/>
          </p:nvSpPr>
          <p:spPr bwMode="auto">
            <a:xfrm>
              <a:off x="5036" y="3520"/>
              <a:ext cx="30" cy="32"/>
            </a:xfrm>
            <a:custGeom>
              <a:avLst/>
              <a:gdLst>
                <a:gd name="T0" fmla="*/ 9 w 30"/>
                <a:gd name="T1" fmla="*/ 32 h 32"/>
                <a:gd name="T2" fmla="*/ 14 w 30"/>
                <a:gd name="T3" fmla="*/ 21 h 32"/>
                <a:gd name="T4" fmla="*/ 18 w 30"/>
                <a:gd name="T5" fmla="*/ 21 h 32"/>
                <a:gd name="T6" fmla="*/ 17 w 30"/>
                <a:gd name="T7" fmla="*/ 28 h 32"/>
                <a:gd name="T8" fmla="*/ 24 w 30"/>
                <a:gd name="T9" fmla="*/ 31 h 32"/>
                <a:gd name="T10" fmla="*/ 23 w 30"/>
                <a:gd name="T11" fmla="*/ 18 h 32"/>
                <a:gd name="T12" fmla="*/ 30 w 30"/>
                <a:gd name="T13" fmla="*/ 6 h 32"/>
                <a:gd name="T14" fmla="*/ 23 w 30"/>
                <a:gd name="T15" fmla="*/ 0 h 32"/>
                <a:gd name="T16" fmla="*/ 20 w 30"/>
                <a:gd name="T17" fmla="*/ 15 h 32"/>
                <a:gd name="T18" fmla="*/ 12 w 30"/>
                <a:gd name="T19" fmla="*/ 12 h 32"/>
                <a:gd name="T20" fmla="*/ 0 w 30"/>
                <a:gd name="T21" fmla="*/ 12 h 32"/>
                <a:gd name="T22" fmla="*/ 3 w 30"/>
                <a:gd name="T23" fmla="*/ 23 h 32"/>
                <a:gd name="T24" fmla="*/ 9 w 30"/>
                <a:gd name="T25" fmla="*/ 32 h 32"/>
                <a:gd name="T26" fmla="*/ 9 w 30"/>
                <a:gd name="T27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0" h="32">
                  <a:moveTo>
                    <a:pt x="9" y="32"/>
                  </a:moveTo>
                  <a:lnTo>
                    <a:pt x="14" y="21"/>
                  </a:lnTo>
                  <a:lnTo>
                    <a:pt x="18" y="21"/>
                  </a:lnTo>
                  <a:lnTo>
                    <a:pt x="17" y="28"/>
                  </a:lnTo>
                  <a:lnTo>
                    <a:pt x="24" y="31"/>
                  </a:lnTo>
                  <a:lnTo>
                    <a:pt x="23" y="18"/>
                  </a:lnTo>
                  <a:lnTo>
                    <a:pt x="30" y="6"/>
                  </a:lnTo>
                  <a:lnTo>
                    <a:pt x="23" y="0"/>
                  </a:lnTo>
                  <a:lnTo>
                    <a:pt x="20" y="15"/>
                  </a:lnTo>
                  <a:lnTo>
                    <a:pt x="12" y="12"/>
                  </a:lnTo>
                  <a:lnTo>
                    <a:pt x="0" y="12"/>
                  </a:lnTo>
                  <a:lnTo>
                    <a:pt x="3" y="23"/>
                  </a:lnTo>
                  <a:lnTo>
                    <a:pt x="9" y="32"/>
                  </a:lnTo>
                  <a:lnTo>
                    <a:pt x="9" y="32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944" name="Freeform 289"/>
            <p:cNvSpPr>
              <a:spLocks/>
            </p:cNvSpPr>
            <p:nvPr userDrawn="1"/>
          </p:nvSpPr>
          <p:spPr bwMode="auto">
            <a:xfrm>
              <a:off x="5095" y="3582"/>
              <a:ext cx="53" cy="30"/>
            </a:xfrm>
            <a:custGeom>
              <a:avLst/>
              <a:gdLst>
                <a:gd name="T0" fmla="*/ 0 w 53"/>
                <a:gd name="T1" fmla="*/ 17 h 30"/>
                <a:gd name="T2" fmla="*/ 13 w 53"/>
                <a:gd name="T3" fmla="*/ 21 h 30"/>
                <a:gd name="T4" fmla="*/ 19 w 53"/>
                <a:gd name="T5" fmla="*/ 14 h 30"/>
                <a:gd name="T6" fmla="*/ 28 w 53"/>
                <a:gd name="T7" fmla="*/ 15 h 30"/>
                <a:gd name="T8" fmla="*/ 16 w 53"/>
                <a:gd name="T9" fmla="*/ 23 h 30"/>
                <a:gd name="T10" fmla="*/ 24 w 53"/>
                <a:gd name="T11" fmla="*/ 30 h 30"/>
                <a:gd name="T12" fmla="*/ 36 w 53"/>
                <a:gd name="T13" fmla="*/ 30 h 30"/>
                <a:gd name="T14" fmla="*/ 39 w 53"/>
                <a:gd name="T15" fmla="*/ 26 h 30"/>
                <a:gd name="T16" fmla="*/ 36 w 53"/>
                <a:gd name="T17" fmla="*/ 15 h 30"/>
                <a:gd name="T18" fmla="*/ 42 w 53"/>
                <a:gd name="T19" fmla="*/ 20 h 30"/>
                <a:gd name="T20" fmla="*/ 53 w 53"/>
                <a:gd name="T21" fmla="*/ 15 h 30"/>
                <a:gd name="T22" fmla="*/ 38 w 53"/>
                <a:gd name="T23" fmla="*/ 9 h 30"/>
                <a:gd name="T24" fmla="*/ 38 w 53"/>
                <a:gd name="T25" fmla="*/ 2 h 30"/>
                <a:gd name="T26" fmla="*/ 30 w 53"/>
                <a:gd name="T27" fmla="*/ 0 h 30"/>
                <a:gd name="T28" fmla="*/ 24 w 53"/>
                <a:gd name="T29" fmla="*/ 3 h 30"/>
                <a:gd name="T30" fmla="*/ 15 w 53"/>
                <a:gd name="T31" fmla="*/ 3 h 30"/>
                <a:gd name="T32" fmla="*/ 13 w 53"/>
                <a:gd name="T33" fmla="*/ 9 h 30"/>
                <a:gd name="T34" fmla="*/ 0 w 53"/>
                <a:gd name="T35" fmla="*/ 8 h 30"/>
                <a:gd name="T36" fmla="*/ 0 w 53"/>
                <a:gd name="T37" fmla="*/ 17 h 30"/>
                <a:gd name="T38" fmla="*/ 0 w 53"/>
                <a:gd name="T39" fmla="*/ 17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3" h="30">
                  <a:moveTo>
                    <a:pt x="0" y="17"/>
                  </a:moveTo>
                  <a:lnTo>
                    <a:pt x="13" y="21"/>
                  </a:lnTo>
                  <a:lnTo>
                    <a:pt x="19" y="14"/>
                  </a:lnTo>
                  <a:lnTo>
                    <a:pt x="28" y="15"/>
                  </a:lnTo>
                  <a:lnTo>
                    <a:pt x="16" y="23"/>
                  </a:lnTo>
                  <a:lnTo>
                    <a:pt x="24" y="30"/>
                  </a:lnTo>
                  <a:lnTo>
                    <a:pt x="36" y="30"/>
                  </a:lnTo>
                  <a:lnTo>
                    <a:pt x="39" y="26"/>
                  </a:lnTo>
                  <a:lnTo>
                    <a:pt x="36" y="15"/>
                  </a:lnTo>
                  <a:lnTo>
                    <a:pt x="42" y="20"/>
                  </a:lnTo>
                  <a:lnTo>
                    <a:pt x="53" y="15"/>
                  </a:lnTo>
                  <a:lnTo>
                    <a:pt x="38" y="9"/>
                  </a:lnTo>
                  <a:lnTo>
                    <a:pt x="38" y="2"/>
                  </a:lnTo>
                  <a:lnTo>
                    <a:pt x="30" y="0"/>
                  </a:lnTo>
                  <a:lnTo>
                    <a:pt x="24" y="3"/>
                  </a:lnTo>
                  <a:lnTo>
                    <a:pt x="15" y="3"/>
                  </a:lnTo>
                  <a:lnTo>
                    <a:pt x="13" y="9"/>
                  </a:lnTo>
                  <a:lnTo>
                    <a:pt x="0" y="8"/>
                  </a:lnTo>
                  <a:lnTo>
                    <a:pt x="0" y="17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945" name="Freeform 290"/>
            <p:cNvSpPr>
              <a:spLocks/>
            </p:cNvSpPr>
            <p:nvPr userDrawn="1"/>
          </p:nvSpPr>
          <p:spPr bwMode="auto">
            <a:xfrm>
              <a:off x="5095" y="3643"/>
              <a:ext cx="19" cy="31"/>
            </a:xfrm>
            <a:custGeom>
              <a:avLst/>
              <a:gdLst>
                <a:gd name="T0" fmla="*/ 12 w 19"/>
                <a:gd name="T1" fmla="*/ 31 h 31"/>
                <a:gd name="T2" fmla="*/ 13 w 19"/>
                <a:gd name="T3" fmla="*/ 22 h 31"/>
                <a:gd name="T4" fmla="*/ 19 w 19"/>
                <a:gd name="T5" fmla="*/ 19 h 31"/>
                <a:gd name="T6" fmla="*/ 18 w 19"/>
                <a:gd name="T7" fmla="*/ 12 h 31"/>
                <a:gd name="T8" fmla="*/ 15 w 19"/>
                <a:gd name="T9" fmla="*/ 0 h 31"/>
                <a:gd name="T10" fmla="*/ 6 w 19"/>
                <a:gd name="T11" fmla="*/ 0 h 31"/>
                <a:gd name="T12" fmla="*/ 0 w 19"/>
                <a:gd name="T13" fmla="*/ 1 h 31"/>
                <a:gd name="T14" fmla="*/ 0 w 19"/>
                <a:gd name="T15" fmla="*/ 9 h 31"/>
                <a:gd name="T16" fmla="*/ 9 w 19"/>
                <a:gd name="T17" fmla="*/ 15 h 31"/>
                <a:gd name="T18" fmla="*/ 3 w 19"/>
                <a:gd name="T19" fmla="*/ 24 h 31"/>
                <a:gd name="T20" fmla="*/ 12 w 19"/>
                <a:gd name="T21" fmla="*/ 31 h 31"/>
                <a:gd name="T22" fmla="*/ 12 w 19"/>
                <a:gd name="T23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" h="31">
                  <a:moveTo>
                    <a:pt x="12" y="31"/>
                  </a:moveTo>
                  <a:lnTo>
                    <a:pt x="13" y="22"/>
                  </a:lnTo>
                  <a:lnTo>
                    <a:pt x="19" y="19"/>
                  </a:lnTo>
                  <a:lnTo>
                    <a:pt x="18" y="12"/>
                  </a:lnTo>
                  <a:lnTo>
                    <a:pt x="15" y="0"/>
                  </a:lnTo>
                  <a:lnTo>
                    <a:pt x="6" y="0"/>
                  </a:lnTo>
                  <a:lnTo>
                    <a:pt x="0" y="1"/>
                  </a:lnTo>
                  <a:lnTo>
                    <a:pt x="0" y="9"/>
                  </a:lnTo>
                  <a:lnTo>
                    <a:pt x="9" y="15"/>
                  </a:lnTo>
                  <a:lnTo>
                    <a:pt x="3" y="24"/>
                  </a:lnTo>
                  <a:lnTo>
                    <a:pt x="12" y="31"/>
                  </a:lnTo>
                  <a:lnTo>
                    <a:pt x="12" y="31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946" name="Freeform 291"/>
            <p:cNvSpPr>
              <a:spLocks/>
            </p:cNvSpPr>
            <p:nvPr userDrawn="1"/>
          </p:nvSpPr>
          <p:spPr bwMode="auto">
            <a:xfrm>
              <a:off x="5105" y="3715"/>
              <a:ext cx="22" cy="18"/>
            </a:xfrm>
            <a:custGeom>
              <a:avLst/>
              <a:gdLst>
                <a:gd name="T0" fmla="*/ 3 w 22"/>
                <a:gd name="T1" fmla="*/ 8 h 18"/>
                <a:gd name="T2" fmla="*/ 0 w 22"/>
                <a:gd name="T3" fmla="*/ 18 h 18"/>
                <a:gd name="T4" fmla="*/ 9 w 22"/>
                <a:gd name="T5" fmla="*/ 11 h 18"/>
                <a:gd name="T6" fmla="*/ 17 w 22"/>
                <a:gd name="T7" fmla="*/ 11 h 18"/>
                <a:gd name="T8" fmla="*/ 22 w 22"/>
                <a:gd name="T9" fmla="*/ 0 h 18"/>
                <a:gd name="T10" fmla="*/ 9 w 22"/>
                <a:gd name="T11" fmla="*/ 6 h 18"/>
                <a:gd name="T12" fmla="*/ 3 w 22"/>
                <a:gd name="T13" fmla="*/ 8 h 18"/>
                <a:gd name="T14" fmla="*/ 3 w 22"/>
                <a:gd name="T15" fmla="*/ 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18">
                  <a:moveTo>
                    <a:pt x="3" y="8"/>
                  </a:moveTo>
                  <a:lnTo>
                    <a:pt x="0" y="18"/>
                  </a:lnTo>
                  <a:lnTo>
                    <a:pt x="9" y="11"/>
                  </a:lnTo>
                  <a:lnTo>
                    <a:pt x="17" y="11"/>
                  </a:lnTo>
                  <a:lnTo>
                    <a:pt x="22" y="0"/>
                  </a:lnTo>
                  <a:lnTo>
                    <a:pt x="9" y="6"/>
                  </a:lnTo>
                  <a:lnTo>
                    <a:pt x="3" y="8"/>
                  </a:lnTo>
                  <a:lnTo>
                    <a:pt x="3" y="8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947" name="Freeform 292"/>
            <p:cNvSpPr>
              <a:spLocks/>
            </p:cNvSpPr>
            <p:nvPr userDrawn="1"/>
          </p:nvSpPr>
          <p:spPr bwMode="auto">
            <a:xfrm>
              <a:off x="5142" y="3701"/>
              <a:ext cx="27" cy="16"/>
            </a:xfrm>
            <a:custGeom>
              <a:avLst/>
              <a:gdLst>
                <a:gd name="T0" fmla="*/ 12 w 27"/>
                <a:gd name="T1" fmla="*/ 16 h 16"/>
                <a:gd name="T2" fmla="*/ 16 w 27"/>
                <a:gd name="T3" fmla="*/ 14 h 16"/>
                <a:gd name="T4" fmla="*/ 16 w 27"/>
                <a:gd name="T5" fmla="*/ 8 h 16"/>
                <a:gd name="T6" fmla="*/ 27 w 27"/>
                <a:gd name="T7" fmla="*/ 8 h 16"/>
                <a:gd name="T8" fmla="*/ 25 w 27"/>
                <a:gd name="T9" fmla="*/ 3 h 16"/>
                <a:gd name="T10" fmla="*/ 21 w 27"/>
                <a:gd name="T11" fmla="*/ 3 h 16"/>
                <a:gd name="T12" fmla="*/ 16 w 27"/>
                <a:gd name="T13" fmla="*/ 0 h 16"/>
                <a:gd name="T14" fmla="*/ 13 w 27"/>
                <a:gd name="T15" fmla="*/ 0 h 16"/>
                <a:gd name="T16" fmla="*/ 3 w 27"/>
                <a:gd name="T17" fmla="*/ 3 h 16"/>
                <a:gd name="T18" fmla="*/ 0 w 27"/>
                <a:gd name="T19" fmla="*/ 12 h 16"/>
                <a:gd name="T20" fmla="*/ 7 w 27"/>
                <a:gd name="T21" fmla="*/ 12 h 16"/>
                <a:gd name="T22" fmla="*/ 12 w 27"/>
                <a:gd name="T23" fmla="*/ 16 h 16"/>
                <a:gd name="T24" fmla="*/ 12 w 27"/>
                <a:gd name="T25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" h="16">
                  <a:moveTo>
                    <a:pt x="12" y="16"/>
                  </a:moveTo>
                  <a:lnTo>
                    <a:pt x="16" y="14"/>
                  </a:lnTo>
                  <a:lnTo>
                    <a:pt x="16" y="8"/>
                  </a:lnTo>
                  <a:lnTo>
                    <a:pt x="27" y="8"/>
                  </a:lnTo>
                  <a:lnTo>
                    <a:pt x="25" y="3"/>
                  </a:lnTo>
                  <a:lnTo>
                    <a:pt x="21" y="3"/>
                  </a:lnTo>
                  <a:lnTo>
                    <a:pt x="16" y="0"/>
                  </a:lnTo>
                  <a:lnTo>
                    <a:pt x="13" y="0"/>
                  </a:lnTo>
                  <a:lnTo>
                    <a:pt x="3" y="3"/>
                  </a:lnTo>
                  <a:lnTo>
                    <a:pt x="0" y="12"/>
                  </a:lnTo>
                  <a:lnTo>
                    <a:pt x="7" y="12"/>
                  </a:lnTo>
                  <a:lnTo>
                    <a:pt x="12" y="16"/>
                  </a:lnTo>
                  <a:lnTo>
                    <a:pt x="12" y="16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948" name="Freeform 293"/>
            <p:cNvSpPr>
              <a:spLocks/>
            </p:cNvSpPr>
            <p:nvPr userDrawn="1"/>
          </p:nvSpPr>
          <p:spPr bwMode="auto">
            <a:xfrm>
              <a:off x="5167" y="3780"/>
              <a:ext cx="27" cy="21"/>
            </a:xfrm>
            <a:custGeom>
              <a:avLst/>
              <a:gdLst>
                <a:gd name="T0" fmla="*/ 0 w 27"/>
                <a:gd name="T1" fmla="*/ 16 h 21"/>
                <a:gd name="T2" fmla="*/ 5 w 27"/>
                <a:gd name="T3" fmla="*/ 21 h 21"/>
                <a:gd name="T4" fmla="*/ 3 w 27"/>
                <a:gd name="T5" fmla="*/ 10 h 21"/>
                <a:gd name="T6" fmla="*/ 12 w 27"/>
                <a:gd name="T7" fmla="*/ 6 h 21"/>
                <a:gd name="T8" fmla="*/ 20 w 27"/>
                <a:gd name="T9" fmla="*/ 7 h 21"/>
                <a:gd name="T10" fmla="*/ 23 w 27"/>
                <a:gd name="T11" fmla="*/ 4 h 21"/>
                <a:gd name="T12" fmla="*/ 27 w 27"/>
                <a:gd name="T13" fmla="*/ 1 h 21"/>
                <a:gd name="T14" fmla="*/ 21 w 27"/>
                <a:gd name="T15" fmla="*/ 0 h 21"/>
                <a:gd name="T16" fmla="*/ 18 w 27"/>
                <a:gd name="T17" fmla="*/ 0 h 21"/>
                <a:gd name="T18" fmla="*/ 8 w 27"/>
                <a:gd name="T19" fmla="*/ 1 h 21"/>
                <a:gd name="T20" fmla="*/ 0 w 27"/>
                <a:gd name="T21" fmla="*/ 9 h 21"/>
                <a:gd name="T22" fmla="*/ 0 w 27"/>
                <a:gd name="T23" fmla="*/ 16 h 21"/>
                <a:gd name="T24" fmla="*/ 0 w 27"/>
                <a:gd name="T25" fmla="*/ 16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" h="21">
                  <a:moveTo>
                    <a:pt x="0" y="16"/>
                  </a:moveTo>
                  <a:lnTo>
                    <a:pt x="5" y="21"/>
                  </a:lnTo>
                  <a:lnTo>
                    <a:pt x="3" y="10"/>
                  </a:lnTo>
                  <a:lnTo>
                    <a:pt x="12" y="6"/>
                  </a:lnTo>
                  <a:lnTo>
                    <a:pt x="20" y="7"/>
                  </a:lnTo>
                  <a:lnTo>
                    <a:pt x="23" y="4"/>
                  </a:lnTo>
                  <a:lnTo>
                    <a:pt x="27" y="1"/>
                  </a:lnTo>
                  <a:lnTo>
                    <a:pt x="21" y="0"/>
                  </a:lnTo>
                  <a:lnTo>
                    <a:pt x="18" y="0"/>
                  </a:lnTo>
                  <a:lnTo>
                    <a:pt x="8" y="1"/>
                  </a:lnTo>
                  <a:lnTo>
                    <a:pt x="0" y="9"/>
                  </a:lnTo>
                  <a:lnTo>
                    <a:pt x="0" y="16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949" name="Freeform 294"/>
            <p:cNvSpPr>
              <a:spLocks/>
            </p:cNvSpPr>
            <p:nvPr userDrawn="1"/>
          </p:nvSpPr>
          <p:spPr bwMode="auto">
            <a:xfrm>
              <a:off x="5163" y="3765"/>
              <a:ext cx="10" cy="12"/>
            </a:xfrm>
            <a:custGeom>
              <a:avLst/>
              <a:gdLst>
                <a:gd name="T0" fmla="*/ 0 w 10"/>
                <a:gd name="T1" fmla="*/ 4 h 12"/>
                <a:gd name="T2" fmla="*/ 4 w 10"/>
                <a:gd name="T3" fmla="*/ 4 h 12"/>
                <a:gd name="T4" fmla="*/ 1 w 10"/>
                <a:gd name="T5" fmla="*/ 10 h 12"/>
                <a:gd name="T6" fmla="*/ 3 w 10"/>
                <a:gd name="T7" fmla="*/ 12 h 12"/>
                <a:gd name="T8" fmla="*/ 10 w 10"/>
                <a:gd name="T9" fmla="*/ 9 h 12"/>
                <a:gd name="T10" fmla="*/ 7 w 10"/>
                <a:gd name="T11" fmla="*/ 1 h 12"/>
                <a:gd name="T12" fmla="*/ 1 w 10"/>
                <a:gd name="T13" fmla="*/ 0 h 12"/>
                <a:gd name="T14" fmla="*/ 0 w 10"/>
                <a:gd name="T15" fmla="*/ 4 h 12"/>
                <a:gd name="T16" fmla="*/ 0 w 10"/>
                <a:gd name="T17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" h="12">
                  <a:moveTo>
                    <a:pt x="0" y="4"/>
                  </a:moveTo>
                  <a:lnTo>
                    <a:pt x="4" y="4"/>
                  </a:lnTo>
                  <a:lnTo>
                    <a:pt x="1" y="10"/>
                  </a:lnTo>
                  <a:lnTo>
                    <a:pt x="3" y="12"/>
                  </a:lnTo>
                  <a:lnTo>
                    <a:pt x="10" y="9"/>
                  </a:lnTo>
                  <a:lnTo>
                    <a:pt x="7" y="1"/>
                  </a:lnTo>
                  <a:lnTo>
                    <a:pt x="1" y="0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950" name="Freeform 295"/>
            <p:cNvSpPr>
              <a:spLocks/>
            </p:cNvSpPr>
            <p:nvPr userDrawn="1"/>
          </p:nvSpPr>
          <p:spPr bwMode="auto">
            <a:xfrm>
              <a:off x="5151" y="3747"/>
              <a:ext cx="6" cy="9"/>
            </a:xfrm>
            <a:custGeom>
              <a:avLst/>
              <a:gdLst>
                <a:gd name="T0" fmla="*/ 0 w 6"/>
                <a:gd name="T1" fmla="*/ 6 h 9"/>
                <a:gd name="T2" fmla="*/ 0 w 6"/>
                <a:gd name="T3" fmla="*/ 9 h 9"/>
                <a:gd name="T4" fmla="*/ 4 w 6"/>
                <a:gd name="T5" fmla="*/ 9 h 9"/>
                <a:gd name="T6" fmla="*/ 6 w 6"/>
                <a:gd name="T7" fmla="*/ 4 h 9"/>
                <a:gd name="T8" fmla="*/ 1 w 6"/>
                <a:gd name="T9" fmla="*/ 0 h 9"/>
                <a:gd name="T10" fmla="*/ 0 w 6"/>
                <a:gd name="T11" fmla="*/ 6 h 9"/>
                <a:gd name="T12" fmla="*/ 0 w 6"/>
                <a:gd name="T13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9">
                  <a:moveTo>
                    <a:pt x="0" y="6"/>
                  </a:moveTo>
                  <a:lnTo>
                    <a:pt x="0" y="9"/>
                  </a:lnTo>
                  <a:lnTo>
                    <a:pt x="4" y="9"/>
                  </a:lnTo>
                  <a:lnTo>
                    <a:pt x="6" y="4"/>
                  </a:lnTo>
                  <a:lnTo>
                    <a:pt x="1" y="0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951" name="Freeform 296"/>
            <p:cNvSpPr>
              <a:spLocks/>
            </p:cNvSpPr>
            <p:nvPr userDrawn="1"/>
          </p:nvSpPr>
          <p:spPr bwMode="auto">
            <a:xfrm>
              <a:off x="5131" y="3717"/>
              <a:ext cx="8" cy="4"/>
            </a:xfrm>
            <a:custGeom>
              <a:avLst/>
              <a:gdLst>
                <a:gd name="T0" fmla="*/ 3 w 8"/>
                <a:gd name="T1" fmla="*/ 0 h 4"/>
                <a:gd name="T2" fmla="*/ 0 w 8"/>
                <a:gd name="T3" fmla="*/ 4 h 4"/>
                <a:gd name="T4" fmla="*/ 8 w 8"/>
                <a:gd name="T5" fmla="*/ 4 h 4"/>
                <a:gd name="T6" fmla="*/ 3 w 8"/>
                <a:gd name="T7" fmla="*/ 0 h 4"/>
                <a:gd name="T8" fmla="*/ 3 w 8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3" y="0"/>
                  </a:moveTo>
                  <a:lnTo>
                    <a:pt x="0" y="4"/>
                  </a:lnTo>
                  <a:lnTo>
                    <a:pt x="8" y="4"/>
                  </a:lnTo>
                  <a:lnTo>
                    <a:pt x="3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952" name="Freeform 297"/>
            <p:cNvSpPr>
              <a:spLocks/>
            </p:cNvSpPr>
            <p:nvPr userDrawn="1"/>
          </p:nvSpPr>
          <p:spPr bwMode="auto">
            <a:xfrm>
              <a:off x="5214" y="3815"/>
              <a:ext cx="38" cy="43"/>
            </a:xfrm>
            <a:custGeom>
              <a:avLst/>
              <a:gdLst>
                <a:gd name="T0" fmla="*/ 6 w 38"/>
                <a:gd name="T1" fmla="*/ 43 h 43"/>
                <a:gd name="T2" fmla="*/ 20 w 38"/>
                <a:gd name="T3" fmla="*/ 39 h 43"/>
                <a:gd name="T4" fmla="*/ 27 w 38"/>
                <a:gd name="T5" fmla="*/ 24 h 43"/>
                <a:gd name="T6" fmla="*/ 29 w 38"/>
                <a:gd name="T7" fmla="*/ 13 h 43"/>
                <a:gd name="T8" fmla="*/ 38 w 38"/>
                <a:gd name="T9" fmla="*/ 7 h 43"/>
                <a:gd name="T10" fmla="*/ 38 w 38"/>
                <a:gd name="T11" fmla="*/ 0 h 43"/>
                <a:gd name="T12" fmla="*/ 24 w 38"/>
                <a:gd name="T13" fmla="*/ 6 h 43"/>
                <a:gd name="T14" fmla="*/ 15 w 38"/>
                <a:gd name="T15" fmla="*/ 9 h 43"/>
                <a:gd name="T16" fmla="*/ 6 w 38"/>
                <a:gd name="T17" fmla="*/ 21 h 43"/>
                <a:gd name="T18" fmla="*/ 3 w 38"/>
                <a:gd name="T19" fmla="*/ 30 h 43"/>
                <a:gd name="T20" fmla="*/ 0 w 38"/>
                <a:gd name="T21" fmla="*/ 33 h 43"/>
                <a:gd name="T22" fmla="*/ 8 w 38"/>
                <a:gd name="T23" fmla="*/ 33 h 43"/>
                <a:gd name="T24" fmla="*/ 6 w 38"/>
                <a:gd name="T25" fmla="*/ 43 h 43"/>
                <a:gd name="T26" fmla="*/ 6 w 38"/>
                <a:gd name="T27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8" h="43">
                  <a:moveTo>
                    <a:pt x="6" y="43"/>
                  </a:moveTo>
                  <a:lnTo>
                    <a:pt x="20" y="39"/>
                  </a:lnTo>
                  <a:lnTo>
                    <a:pt x="27" y="24"/>
                  </a:lnTo>
                  <a:lnTo>
                    <a:pt x="29" y="13"/>
                  </a:lnTo>
                  <a:lnTo>
                    <a:pt x="38" y="7"/>
                  </a:lnTo>
                  <a:lnTo>
                    <a:pt x="38" y="0"/>
                  </a:lnTo>
                  <a:lnTo>
                    <a:pt x="24" y="6"/>
                  </a:lnTo>
                  <a:lnTo>
                    <a:pt x="15" y="9"/>
                  </a:lnTo>
                  <a:lnTo>
                    <a:pt x="6" y="21"/>
                  </a:lnTo>
                  <a:lnTo>
                    <a:pt x="3" y="30"/>
                  </a:lnTo>
                  <a:lnTo>
                    <a:pt x="0" y="33"/>
                  </a:lnTo>
                  <a:lnTo>
                    <a:pt x="8" y="33"/>
                  </a:lnTo>
                  <a:lnTo>
                    <a:pt x="6" y="43"/>
                  </a:lnTo>
                  <a:lnTo>
                    <a:pt x="6" y="43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953" name="Freeform 298"/>
            <p:cNvSpPr>
              <a:spLocks/>
            </p:cNvSpPr>
            <p:nvPr userDrawn="1"/>
          </p:nvSpPr>
          <p:spPr bwMode="auto">
            <a:xfrm>
              <a:off x="5505" y="3866"/>
              <a:ext cx="151" cy="90"/>
            </a:xfrm>
            <a:custGeom>
              <a:avLst/>
              <a:gdLst>
                <a:gd name="T0" fmla="*/ 2 w 151"/>
                <a:gd name="T1" fmla="*/ 69 h 90"/>
                <a:gd name="T2" fmla="*/ 8 w 151"/>
                <a:gd name="T3" fmla="*/ 74 h 90"/>
                <a:gd name="T4" fmla="*/ 11 w 151"/>
                <a:gd name="T5" fmla="*/ 81 h 90"/>
                <a:gd name="T6" fmla="*/ 14 w 151"/>
                <a:gd name="T7" fmla="*/ 86 h 90"/>
                <a:gd name="T8" fmla="*/ 30 w 151"/>
                <a:gd name="T9" fmla="*/ 87 h 90"/>
                <a:gd name="T10" fmla="*/ 39 w 151"/>
                <a:gd name="T11" fmla="*/ 89 h 90"/>
                <a:gd name="T12" fmla="*/ 45 w 151"/>
                <a:gd name="T13" fmla="*/ 90 h 90"/>
                <a:gd name="T14" fmla="*/ 44 w 151"/>
                <a:gd name="T15" fmla="*/ 86 h 90"/>
                <a:gd name="T16" fmla="*/ 48 w 151"/>
                <a:gd name="T17" fmla="*/ 81 h 90"/>
                <a:gd name="T18" fmla="*/ 59 w 151"/>
                <a:gd name="T19" fmla="*/ 83 h 90"/>
                <a:gd name="T20" fmla="*/ 72 w 151"/>
                <a:gd name="T21" fmla="*/ 81 h 90"/>
                <a:gd name="T22" fmla="*/ 88 w 151"/>
                <a:gd name="T23" fmla="*/ 72 h 90"/>
                <a:gd name="T24" fmla="*/ 94 w 151"/>
                <a:gd name="T25" fmla="*/ 65 h 90"/>
                <a:gd name="T26" fmla="*/ 98 w 151"/>
                <a:gd name="T27" fmla="*/ 60 h 90"/>
                <a:gd name="T28" fmla="*/ 103 w 151"/>
                <a:gd name="T29" fmla="*/ 60 h 90"/>
                <a:gd name="T30" fmla="*/ 109 w 151"/>
                <a:gd name="T31" fmla="*/ 59 h 90"/>
                <a:gd name="T32" fmla="*/ 110 w 151"/>
                <a:gd name="T33" fmla="*/ 63 h 90"/>
                <a:gd name="T34" fmla="*/ 115 w 151"/>
                <a:gd name="T35" fmla="*/ 63 h 90"/>
                <a:gd name="T36" fmla="*/ 113 w 151"/>
                <a:gd name="T37" fmla="*/ 57 h 90"/>
                <a:gd name="T38" fmla="*/ 107 w 151"/>
                <a:gd name="T39" fmla="*/ 50 h 90"/>
                <a:gd name="T40" fmla="*/ 106 w 151"/>
                <a:gd name="T41" fmla="*/ 42 h 90"/>
                <a:gd name="T42" fmla="*/ 115 w 151"/>
                <a:gd name="T43" fmla="*/ 35 h 90"/>
                <a:gd name="T44" fmla="*/ 122 w 151"/>
                <a:gd name="T45" fmla="*/ 26 h 90"/>
                <a:gd name="T46" fmla="*/ 128 w 151"/>
                <a:gd name="T47" fmla="*/ 21 h 90"/>
                <a:gd name="T48" fmla="*/ 139 w 151"/>
                <a:gd name="T49" fmla="*/ 15 h 90"/>
                <a:gd name="T50" fmla="*/ 139 w 151"/>
                <a:gd name="T51" fmla="*/ 9 h 90"/>
                <a:gd name="T52" fmla="*/ 148 w 151"/>
                <a:gd name="T53" fmla="*/ 6 h 90"/>
                <a:gd name="T54" fmla="*/ 151 w 151"/>
                <a:gd name="T55" fmla="*/ 0 h 90"/>
                <a:gd name="T56" fmla="*/ 145 w 151"/>
                <a:gd name="T57" fmla="*/ 0 h 90"/>
                <a:gd name="T58" fmla="*/ 139 w 151"/>
                <a:gd name="T59" fmla="*/ 6 h 90"/>
                <a:gd name="T60" fmla="*/ 130 w 151"/>
                <a:gd name="T61" fmla="*/ 9 h 90"/>
                <a:gd name="T62" fmla="*/ 118 w 151"/>
                <a:gd name="T63" fmla="*/ 18 h 90"/>
                <a:gd name="T64" fmla="*/ 103 w 151"/>
                <a:gd name="T65" fmla="*/ 26 h 90"/>
                <a:gd name="T66" fmla="*/ 80 w 151"/>
                <a:gd name="T67" fmla="*/ 33 h 90"/>
                <a:gd name="T68" fmla="*/ 68 w 151"/>
                <a:gd name="T69" fmla="*/ 38 h 90"/>
                <a:gd name="T70" fmla="*/ 56 w 151"/>
                <a:gd name="T71" fmla="*/ 36 h 90"/>
                <a:gd name="T72" fmla="*/ 51 w 151"/>
                <a:gd name="T73" fmla="*/ 32 h 90"/>
                <a:gd name="T74" fmla="*/ 42 w 151"/>
                <a:gd name="T75" fmla="*/ 32 h 90"/>
                <a:gd name="T76" fmla="*/ 44 w 151"/>
                <a:gd name="T77" fmla="*/ 41 h 90"/>
                <a:gd name="T78" fmla="*/ 44 w 151"/>
                <a:gd name="T79" fmla="*/ 45 h 90"/>
                <a:gd name="T80" fmla="*/ 30 w 151"/>
                <a:gd name="T81" fmla="*/ 44 h 90"/>
                <a:gd name="T82" fmla="*/ 18 w 151"/>
                <a:gd name="T83" fmla="*/ 48 h 90"/>
                <a:gd name="T84" fmla="*/ 12 w 151"/>
                <a:gd name="T85" fmla="*/ 60 h 90"/>
                <a:gd name="T86" fmla="*/ 8 w 151"/>
                <a:gd name="T87" fmla="*/ 57 h 90"/>
                <a:gd name="T88" fmla="*/ 0 w 151"/>
                <a:gd name="T89" fmla="*/ 56 h 90"/>
                <a:gd name="T90" fmla="*/ 2 w 151"/>
                <a:gd name="T91" fmla="*/ 62 h 90"/>
                <a:gd name="T92" fmla="*/ 2 w 151"/>
                <a:gd name="T93" fmla="*/ 69 h 90"/>
                <a:gd name="T94" fmla="*/ 2 w 151"/>
                <a:gd name="T95" fmla="*/ 69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1" h="90">
                  <a:moveTo>
                    <a:pt x="2" y="69"/>
                  </a:moveTo>
                  <a:lnTo>
                    <a:pt x="8" y="74"/>
                  </a:lnTo>
                  <a:lnTo>
                    <a:pt x="11" y="81"/>
                  </a:lnTo>
                  <a:lnTo>
                    <a:pt x="14" y="86"/>
                  </a:lnTo>
                  <a:lnTo>
                    <a:pt x="30" y="87"/>
                  </a:lnTo>
                  <a:lnTo>
                    <a:pt x="39" y="89"/>
                  </a:lnTo>
                  <a:lnTo>
                    <a:pt x="45" y="90"/>
                  </a:lnTo>
                  <a:lnTo>
                    <a:pt x="44" y="86"/>
                  </a:lnTo>
                  <a:lnTo>
                    <a:pt x="48" y="81"/>
                  </a:lnTo>
                  <a:lnTo>
                    <a:pt x="59" y="83"/>
                  </a:lnTo>
                  <a:lnTo>
                    <a:pt x="72" y="81"/>
                  </a:lnTo>
                  <a:lnTo>
                    <a:pt x="88" y="72"/>
                  </a:lnTo>
                  <a:lnTo>
                    <a:pt x="94" y="65"/>
                  </a:lnTo>
                  <a:lnTo>
                    <a:pt x="98" y="60"/>
                  </a:lnTo>
                  <a:lnTo>
                    <a:pt x="103" y="60"/>
                  </a:lnTo>
                  <a:lnTo>
                    <a:pt x="109" y="59"/>
                  </a:lnTo>
                  <a:lnTo>
                    <a:pt x="110" y="63"/>
                  </a:lnTo>
                  <a:lnTo>
                    <a:pt x="115" y="63"/>
                  </a:lnTo>
                  <a:lnTo>
                    <a:pt x="113" y="57"/>
                  </a:lnTo>
                  <a:lnTo>
                    <a:pt x="107" y="50"/>
                  </a:lnTo>
                  <a:lnTo>
                    <a:pt x="106" y="42"/>
                  </a:lnTo>
                  <a:lnTo>
                    <a:pt x="115" y="35"/>
                  </a:lnTo>
                  <a:lnTo>
                    <a:pt x="122" y="26"/>
                  </a:lnTo>
                  <a:lnTo>
                    <a:pt x="128" y="21"/>
                  </a:lnTo>
                  <a:lnTo>
                    <a:pt x="139" y="15"/>
                  </a:lnTo>
                  <a:lnTo>
                    <a:pt x="139" y="9"/>
                  </a:lnTo>
                  <a:lnTo>
                    <a:pt x="148" y="6"/>
                  </a:lnTo>
                  <a:lnTo>
                    <a:pt x="151" y="0"/>
                  </a:lnTo>
                  <a:lnTo>
                    <a:pt x="145" y="0"/>
                  </a:lnTo>
                  <a:lnTo>
                    <a:pt x="139" y="6"/>
                  </a:lnTo>
                  <a:lnTo>
                    <a:pt x="130" y="9"/>
                  </a:lnTo>
                  <a:lnTo>
                    <a:pt x="118" y="18"/>
                  </a:lnTo>
                  <a:lnTo>
                    <a:pt x="103" y="26"/>
                  </a:lnTo>
                  <a:lnTo>
                    <a:pt x="80" y="33"/>
                  </a:lnTo>
                  <a:lnTo>
                    <a:pt x="68" y="38"/>
                  </a:lnTo>
                  <a:lnTo>
                    <a:pt x="56" y="36"/>
                  </a:lnTo>
                  <a:lnTo>
                    <a:pt x="51" y="32"/>
                  </a:lnTo>
                  <a:lnTo>
                    <a:pt x="42" y="32"/>
                  </a:lnTo>
                  <a:lnTo>
                    <a:pt x="44" y="41"/>
                  </a:lnTo>
                  <a:lnTo>
                    <a:pt x="44" y="45"/>
                  </a:lnTo>
                  <a:lnTo>
                    <a:pt x="30" y="44"/>
                  </a:lnTo>
                  <a:lnTo>
                    <a:pt x="18" y="48"/>
                  </a:lnTo>
                  <a:lnTo>
                    <a:pt x="12" y="60"/>
                  </a:lnTo>
                  <a:lnTo>
                    <a:pt x="8" y="57"/>
                  </a:lnTo>
                  <a:lnTo>
                    <a:pt x="0" y="56"/>
                  </a:lnTo>
                  <a:lnTo>
                    <a:pt x="2" y="62"/>
                  </a:lnTo>
                  <a:lnTo>
                    <a:pt x="2" y="69"/>
                  </a:lnTo>
                  <a:lnTo>
                    <a:pt x="2" y="69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954" name="Freeform 299"/>
            <p:cNvSpPr>
              <a:spLocks/>
            </p:cNvSpPr>
            <p:nvPr userDrawn="1"/>
          </p:nvSpPr>
          <p:spPr bwMode="auto">
            <a:xfrm>
              <a:off x="5980" y="3213"/>
              <a:ext cx="410" cy="215"/>
            </a:xfrm>
            <a:custGeom>
              <a:avLst/>
              <a:gdLst>
                <a:gd name="T0" fmla="*/ 142 w 410"/>
                <a:gd name="T1" fmla="*/ 160 h 215"/>
                <a:gd name="T2" fmla="*/ 154 w 410"/>
                <a:gd name="T3" fmla="*/ 160 h 215"/>
                <a:gd name="T4" fmla="*/ 162 w 410"/>
                <a:gd name="T5" fmla="*/ 149 h 215"/>
                <a:gd name="T6" fmla="*/ 174 w 410"/>
                <a:gd name="T7" fmla="*/ 150 h 215"/>
                <a:gd name="T8" fmla="*/ 184 w 410"/>
                <a:gd name="T9" fmla="*/ 169 h 215"/>
                <a:gd name="T10" fmla="*/ 196 w 410"/>
                <a:gd name="T11" fmla="*/ 175 h 215"/>
                <a:gd name="T12" fmla="*/ 201 w 410"/>
                <a:gd name="T13" fmla="*/ 184 h 215"/>
                <a:gd name="T14" fmla="*/ 237 w 410"/>
                <a:gd name="T15" fmla="*/ 185 h 215"/>
                <a:gd name="T16" fmla="*/ 270 w 410"/>
                <a:gd name="T17" fmla="*/ 181 h 215"/>
                <a:gd name="T18" fmla="*/ 303 w 410"/>
                <a:gd name="T19" fmla="*/ 190 h 215"/>
                <a:gd name="T20" fmla="*/ 332 w 410"/>
                <a:gd name="T21" fmla="*/ 191 h 215"/>
                <a:gd name="T22" fmla="*/ 344 w 410"/>
                <a:gd name="T23" fmla="*/ 182 h 215"/>
                <a:gd name="T24" fmla="*/ 365 w 410"/>
                <a:gd name="T25" fmla="*/ 200 h 215"/>
                <a:gd name="T26" fmla="*/ 385 w 410"/>
                <a:gd name="T27" fmla="*/ 206 h 215"/>
                <a:gd name="T28" fmla="*/ 397 w 410"/>
                <a:gd name="T29" fmla="*/ 215 h 215"/>
                <a:gd name="T30" fmla="*/ 400 w 410"/>
                <a:gd name="T31" fmla="*/ 202 h 215"/>
                <a:gd name="T32" fmla="*/ 410 w 410"/>
                <a:gd name="T33" fmla="*/ 193 h 215"/>
                <a:gd name="T34" fmla="*/ 397 w 410"/>
                <a:gd name="T35" fmla="*/ 182 h 215"/>
                <a:gd name="T36" fmla="*/ 394 w 410"/>
                <a:gd name="T37" fmla="*/ 176 h 215"/>
                <a:gd name="T38" fmla="*/ 379 w 410"/>
                <a:gd name="T39" fmla="*/ 169 h 215"/>
                <a:gd name="T40" fmla="*/ 377 w 410"/>
                <a:gd name="T41" fmla="*/ 156 h 215"/>
                <a:gd name="T42" fmla="*/ 394 w 410"/>
                <a:gd name="T43" fmla="*/ 146 h 215"/>
                <a:gd name="T44" fmla="*/ 395 w 410"/>
                <a:gd name="T45" fmla="*/ 132 h 215"/>
                <a:gd name="T46" fmla="*/ 383 w 410"/>
                <a:gd name="T47" fmla="*/ 128 h 215"/>
                <a:gd name="T48" fmla="*/ 364 w 410"/>
                <a:gd name="T49" fmla="*/ 114 h 215"/>
                <a:gd name="T50" fmla="*/ 365 w 410"/>
                <a:gd name="T51" fmla="*/ 104 h 215"/>
                <a:gd name="T52" fmla="*/ 356 w 410"/>
                <a:gd name="T53" fmla="*/ 92 h 215"/>
                <a:gd name="T54" fmla="*/ 331 w 410"/>
                <a:gd name="T55" fmla="*/ 87 h 215"/>
                <a:gd name="T56" fmla="*/ 314 w 410"/>
                <a:gd name="T57" fmla="*/ 72 h 215"/>
                <a:gd name="T58" fmla="*/ 300 w 410"/>
                <a:gd name="T59" fmla="*/ 80 h 215"/>
                <a:gd name="T60" fmla="*/ 275 w 410"/>
                <a:gd name="T61" fmla="*/ 87 h 215"/>
                <a:gd name="T62" fmla="*/ 263 w 410"/>
                <a:gd name="T63" fmla="*/ 86 h 215"/>
                <a:gd name="T64" fmla="*/ 260 w 410"/>
                <a:gd name="T65" fmla="*/ 77 h 215"/>
                <a:gd name="T66" fmla="*/ 240 w 410"/>
                <a:gd name="T67" fmla="*/ 69 h 215"/>
                <a:gd name="T68" fmla="*/ 226 w 410"/>
                <a:gd name="T69" fmla="*/ 52 h 215"/>
                <a:gd name="T70" fmla="*/ 207 w 410"/>
                <a:gd name="T71" fmla="*/ 45 h 215"/>
                <a:gd name="T72" fmla="*/ 168 w 410"/>
                <a:gd name="T73" fmla="*/ 37 h 215"/>
                <a:gd name="T74" fmla="*/ 124 w 410"/>
                <a:gd name="T75" fmla="*/ 22 h 215"/>
                <a:gd name="T76" fmla="*/ 97 w 410"/>
                <a:gd name="T77" fmla="*/ 19 h 215"/>
                <a:gd name="T78" fmla="*/ 79 w 410"/>
                <a:gd name="T79" fmla="*/ 12 h 215"/>
                <a:gd name="T80" fmla="*/ 44 w 410"/>
                <a:gd name="T81" fmla="*/ 9 h 215"/>
                <a:gd name="T82" fmla="*/ 20 w 410"/>
                <a:gd name="T83" fmla="*/ 0 h 215"/>
                <a:gd name="T84" fmla="*/ 0 w 410"/>
                <a:gd name="T85" fmla="*/ 7 h 215"/>
                <a:gd name="T86" fmla="*/ 5 w 410"/>
                <a:gd name="T87" fmla="*/ 21 h 215"/>
                <a:gd name="T88" fmla="*/ 18 w 410"/>
                <a:gd name="T89" fmla="*/ 28 h 215"/>
                <a:gd name="T90" fmla="*/ 24 w 410"/>
                <a:gd name="T91" fmla="*/ 27 h 215"/>
                <a:gd name="T92" fmla="*/ 23 w 410"/>
                <a:gd name="T93" fmla="*/ 31 h 215"/>
                <a:gd name="T94" fmla="*/ 30 w 410"/>
                <a:gd name="T95" fmla="*/ 45 h 215"/>
                <a:gd name="T96" fmla="*/ 47 w 410"/>
                <a:gd name="T97" fmla="*/ 51 h 215"/>
                <a:gd name="T98" fmla="*/ 73 w 410"/>
                <a:gd name="T99" fmla="*/ 52 h 215"/>
                <a:gd name="T100" fmla="*/ 82 w 410"/>
                <a:gd name="T101" fmla="*/ 60 h 215"/>
                <a:gd name="T102" fmla="*/ 85 w 410"/>
                <a:gd name="T103" fmla="*/ 72 h 215"/>
                <a:gd name="T104" fmla="*/ 103 w 410"/>
                <a:gd name="T105" fmla="*/ 90 h 215"/>
                <a:gd name="T106" fmla="*/ 107 w 410"/>
                <a:gd name="T107" fmla="*/ 128 h 215"/>
                <a:gd name="T108" fmla="*/ 116 w 410"/>
                <a:gd name="T109" fmla="*/ 141 h 215"/>
                <a:gd name="T110" fmla="*/ 116 w 410"/>
                <a:gd name="T111" fmla="*/ 161 h 215"/>
                <a:gd name="T112" fmla="*/ 122 w 410"/>
                <a:gd name="T113" fmla="*/ 164 h 215"/>
                <a:gd name="T114" fmla="*/ 142 w 410"/>
                <a:gd name="T115" fmla="*/ 160 h 215"/>
                <a:gd name="T116" fmla="*/ 142 w 410"/>
                <a:gd name="T117" fmla="*/ 160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10" h="215">
                  <a:moveTo>
                    <a:pt x="142" y="160"/>
                  </a:moveTo>
                  <a:lnTo>
                    <a:pt x="154" y="160"/>
                  </a:lnTo>
                  <a:lnTo>
                    <a:pt x="162" y="149"/>
                  </a:lnTo>
                  <a:lnTo>
                    <a:pt x="174" y="150"/>
                  </a:lnTo>
                  <a:lnTo>
                    <a:pt x="184" y="169"/>
                  </a:lnTo>
                  <a:lnTo>
                    <a:pt x="196" y="175"/>
                  </a:lnTo>
                  <a:lnTo>
                    <a:pt x="201" y="184"/>
                  </a:lnTo>
                  <a:lnTo>
                    <a:pt x="237" y="185"/>
                  </a:lnTo>
                  <a:lnTo>
                    <a:pt x="270" y="181"/>
                  </a:lnTo>
                  <a:lnTo>
                    <a:pt x="303" y="190"/>
                  </a:lnTo>
                  <a:lnTo>
                    <a:pt x="332" y="191"/>
                  </a:lnTo>
                  <a:lnTo>
                    <a:pt x="344" y="182"/>
                  </a:lnTo>
                  <a:lnTo>
                    <a:pt x="365" y="200"/>
                  </a:lnTo>
                  <a:lnTo>
                    <a:pt x="385" y="206"/>
                  </a:lnTo>
                  <a:lnTo>
                    <a:pt x="397" y="215"/>
                  </a:lnTo>
                  <a:lnTo>
                    <a:pt x="400" y="202"/>
                  </a:lnTo>
                  <a:lnTo>
                    <a:pt x="410" y="193"/>
                  </a:lnTo>
                  <a:lnTo>
                    <a:pt x="397" y="182"/>
                  </a:lnTo>
                  <a:lnTo>
                    <a:pt x="394" y="176"/>
                  </a:lnTo>
                  <a:lnTo>
                    <a:pt x="379" y="169"/>
                  </a:lnTo>
                  <a:lnTo>
                    <a:pt x="377" y="156"/>
                  </a:lnTo>
                  <a:lnTo>
                    <a:pt x="394" y="146"/>
                  </a:lnTo>
                  <a:lnTo>
                    <a:pt x="395" y="132"/>
                  </a:lnTo>
                  <a:lnTo>
                    <a:pt x="383" y="128"/>
                  </a:lnTo>
                  <a:lnTo>
                    <a:pt x="364" y="114"/>
                  </a:lnTo>
                  <a:lnTo>
                    <a:pt x="365" y="104"/>
                  </a:lnTo>
                  <a:lnTo>
                    <a:pt x="356" y="92"/>
                  </a:lnTo>
                  <a:lnTo>
                    <a:pt x="331" y="87"/>
                  </a:lnTo>
                  <a:lnTo>
                    <a:pt x="314" y="72"/>
                  </a:lnTo>
                  <a:lnTo>
                    <a:pt x="300" y="80"/>
                  </a:lnTo>
                  <a:lnTo>
                    <a:pt x="275" y="87"/>
                  </a:lnTo>
                  <a:lnTo>
                    <a:pt x="263" y="86"/>
                  </a:lnTo>
                  <a:lnTo>
                    <a:pt x="260" y="77"/>
                  </a:lnTo>
                  <a:lnTo>
                    <a:pt x="240" y="69"/>
                  </a:lnTo>
                  <a:lnTo>
                    <a:pt x="226" y="52"/>
                  </a:lnTo>
                  <a:lnTo>
                    <a:pt x="207" y="45"/>
                  </a:lnTo>
                  <a:lnTo>
                    <a:pt x="168" y="37"/>
                  </a:lnTo>
                  <a:lnTo>
                    <a:pt x="124" y="22"/>
                  </a:lnTo>
                  <a:lnTo>
                    <a:pt x="97" y="19"/>
                  </a:lnTo>
                  <a:lnTo>
                    <a:pt x="79" y="12"/>
                  </a:lnTo>
                  <a:lnTo>
                    <a:pt x="44" y="9"/>
                  </a:lnTo>
                  <a:lnTo>
                    <a:pt x="20" y="0"/>
                  </a:lnTo>
                  <a:lnTo>
                    <a:pt x="0" y="7"/>
                  </a:lnTo>
                  <a:lnTo>
                    <a:pt x="5" y="21"/>
                  </a:lnTo>
                  <a:lnTo>
                    <a:pt x="18" y="28"/>
                  </a:lnTo>
                  <a:lnTo>
                    <a:pt x="24" y="27"/>
                  </a:lnTo>
                  <a:lnTo>
                    <a:pt x="23" y="31"/>
                  </a:lnTo>
                  <a:lnTo>
                    <a:pt x="30" y="45"/>
                  </a:lnTo>
                  <a:lnTo>
                    <a:pt x="47" y="51"/>
                  </a:lnTo>
                  <a:lnTo>
                    <a:pt x="73" y="52"/>
                  </a:lnTo>
                  <a:lnTo>
                    <a:pt x="82" y="60"/>
                  </a:lnTo>
                  <a:lnTo>
                    <a:pt x="85" y="72"/>
                  </a:lnTo>
                  <a:lnTo>
                    <a:pt x="103" y="90"/>
                  </a:lnTo>
                  <a:lnTo>
                    <a:pt x="107" y="128"/>
                  </a:lnTo>
                  <a:lnTo>
                    <a:pt x="116" y="141"/>
                  </a:lnTo>
                  <a:lnTo>
                    <a:pt x="116" y="161"/>
                  </a:lnTo>
                  <a:lnTo>
                    <a:pt x="122" y="164"/>
                  </a:lnTo>
                  <a:lnTo>
                    <a:pt x="142" y="160"/>
                  </a:lnTo>
                  <a:lnTo>
                    <a:pt x="142" y="160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955" name="Freeform 300"/>
            <p:cNvSpPr>
              <a:spLocks/>
            </p:cNvSpPr>
            <p:nvPr userDrawn="1"/>
          </p:nvSpPr>
          <p:spPr bwMode="auto">
            <a:xfrm>
              <a:off x="5671" y="4095"/>
              <a:ext cx="35" cy="83"/>
            </a:xfrm>
            <a:custGeom>
              <a:avLst/>
              <a:gdLst>
                <a:gd name="T0" fmla="*/ 14 w 35"/>
                <a:gd name="T1" fmla="*/ 45 h 83"/>
                <a:gd name="T2" fmla="*/ 0 w 35"/>
                <a:gd name="T3" fmla="*/ 71 h 83"/>
                <a:gd name="T4" fmla="*/ 12 w 35"/>
                <a:gd name="T5" fmla="*/ 83 h 83"/>
                <a:gd name="T6" fmla="*/ 32 w 35"/>
                <a:gd name="T7" fmla="*/ 83 h 83"/>
                <a:gd name="T8" fmla="*/ 35 w 35"/>
                <a:gd name="T9" fmla="*/ 0 h 83"/>
                <a:gd name="T10" fmla="*/ 20 w 35"/>
                <a:gd name="T11" fmla="*/ 3 h 83"/>
                <a:gd name="T12" fmla="*/ 14 w 35"/>
                <a:gd name="T13" fmla="*/ 45 h 83"/>
                <a:gd name="T14" fmla="*/ 14 w 35"/>
                <a:gd name="T15" fmla="*/ 45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5" h="83">
                  <a:moveTo>
                    <a:pt x="14" y="45"/>
                  </a:moveTo>
                  <a:lnTo>
                    <a:pt x="0" y="71"/>
                  </a:lnTo>
                  <a:lnTo>
                    <a:pt x="12" y="83"/>
                  </a:lnTo>
                  <a:lnTo>
                    <a:pt x="32" y="83"/>
                  </a:lnTo>
                  <a:lnTo>
                    <a:pt x="35" y="0"/>
                  </a:lnTo>
                  <a:lnTo>
                    <a:pt x="20" y="3"/>
                  </a:lnTo>
                  <a:lnTo>
                    <a:pt x="14" y="45"/>
                  </a:lnTo>
                  <a:lnTo>
                    <a:pt x="14" y="45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956" name="Freeform 301"/>
            <p:cNvSpPr>
              <a:spLocks/>
            </p:cNvSpPr>
            <p:nvPr userDrawn="1"/>
          </p:nvSpPr>
          <p:spPr bwMode="auto">
            <a:xfrm>
              <a:off x="6312" y="3345"/>
              <a:ext cx="338" cy="296"/>
            </a:xfrm>
            <a:custGeom>
              <a:avLst/>
              <a:gdLst>
                <a:gd name="T0" fmla="*/ 47 w 338"/>
                <a:gd name="T1" fmla="*/ 37 h 296"/>
                <a:gd name="T2" fmla="*/ 65 w 338"/>
                <a:gd name="T3" fmla="*/ 50 h 296"/>
                <a:gd name="T4" fmla="*/ 68 w 338"/>
                <a:gd name="T5" fmla="*/ 70 h 296"/>
                <a:gd name="T6" fmla="*/ 53 w 338"/>
                <a:gd name="T7" fmla="*/ 74 h 296"/>
                <a:gd name="T8" fmla="*/ 12 w 338"/>
                <a:gd name="T9" fmla="*/ 50 h 296"/>
                <a:gd name="T10" fmla="*/ 0 w 338"/>
                <a:gd name="T11" fmla="*/ 70 h 296"/>
                <a:gd name="T12" fmla="*/ 8 w 338"/>
                <a:gd name="T13" fmla="*/ 95 h 296"/>
                <a:gd name="T14" fmla="*/ 33 w 338"/>
                <a:gd name="T15" fmla="*/ 104 h 296"/>
                <a:gd name="T16" fmla="*/ 71 w 338"/>
                <a:gd name="T17" fmla="*/ 148 h 296"/>
                <a:gd name="T18" fmla="*/ 75 w 338"/>
                <a:gd name="T19" fmla="*/ 177 h 296"/>
                <a:gd name="T20" fmla="*/ 98 w 338"/>
                <a:gd name="T21" fmla="*/ 190 h 296"/>
                <a:gd name="T22" fmla="*/ 100 w 338"/>
                <a:gd name="T23" fmla="*/ 206 h 296"/>
                <a:gd name="T24" fmla="*/ 106 w 338"/>
                <a:gd name="T25" fmla="*/ 218 h 296"/>
                <a:gd name="T26" fmla="*/ 140 w 338"/>
                <a:gd name="T27" fmla="*/ 222 h 296"/>
                <a:gd name="T28" fmla="*/ 195 w 338"/>
                <a:gd name="T29" fmla="*/ 186 h 296"/>
                <a:gd name="T30" fmla="*/ 198 w 338"/>
                <a:gd name="T31" fmla="*/ 228 h 296"/>
                <a:gd name="T32" fmla="*/ 189 w 338"/>
                <a:gd name="T33" fmla="*/ 266 h 296"/>
                <a:gd name="T34" fmla="*/ 223 w 338"/>
                <a:gd name="T35" fmla="*/ 289 h 296"/>
                <a:gd name="T36" fmla="*/ 249 w 338"/>
                <a:gd name="T37" fmla="*/ 292 h 296"/>
                <a:gd name="T38" fmla="*/ 256 w 338"/>
                <a:gd name="T39" fmla="*/ 248 h 296"/>
                <a:gd name="T40" fmla="*/ 264 w 338"/>
                <a:gd name="T41" fmla="*/ 263 h 296"/>
                <a:gd name="T42" fmla="*/ 261 w 338"/>
                <a:gd name="T43" fmla="*/ 224 h 296"/>
                <a:gd name="T44" fmla="*/ 272 w 338"/>
                <a:gd name="T45" fmla="*/ 209 h 296"/>
                <a:gd name="T46" fmla="*/ 278 w 338"/>
                <a:gd name="T47" fmla="*/ 209 h 296"/>
                <a:gd name="T48" fmla="*/ 275 w 338"/>
                <a:gd name="T49" fmla="*/ 177 h 296"/>
                <a:gd name="T50" fmla="*/ 291 w 338"/>
                <a:gd name="T51" fmla="*/ 150 h 296"/>
                <a:gd name="T52" fmla="*/ 312 w 338"/>
                <a:gd name="T53" fmla="*/ 139 h 296"/>
                <a:gd name="T54" fmla="*/ 329 w 338"/>
                <a:gd name="T55" fmla="*/ 145 h 296"/>
                <a:gd name="T56" fmla="*/ 333 w 338"/>
                <a:gd name="T57" fmla="*/ 156 h 296"/>
                <a:gd name="T58" fmla="*/ 338 w 338"/>
                <a:gd name="T59" fmla="*/ 153 h 296"/>
                <a:gd name="T60" fmla="*/ 327 w 338"/>
                <a:gd name="T61" fmla="*/ 136 h 296"/>
                <a:gd name="T62" fmla="*/ 303 w 338"/>
                <a:gd name="T63" fmla="*/ 127 h 296"/>
                <a:gd name="T64" fmla="*/ 291 w 338"/>
                <a:gd name="T65" fmla="*/ 117 h 296"/>
                <a:gd name="T66" fmla="*/ 266 w 338"/>
                <a:gd name="T67" fmla="*/ 88 h 296"/>
                <a:gd name="T68" fmla="*/ 255 w 338"/>
                <a:gd name="T69" fmla="*/ 43 h 296"/>
                <a:gd name="T70" fmla="*/ 234 w 338"/>
                <a:gd name="T71" fmla="*/ 23 h 296"/>
                <a:gd name="T72" fmla="*/ 210 w 338"/>
                <a:gd name="T73" fmla="*/ 28 h 296"/>
                <a:gd name="T74" fmla="*/ 160 w 338"/>
                <a:gd name="T75" fmla="*/ 62 h 296"/>
                <a:gd name="T76" fmla="*/ 88 w 338"/>
                <a:gd name="T77" fmla="*/ 0 h 296"/>
                <a:gd name="T78" fmla="*/ 62 w 338"/>
                <a:gd name="T79" fmla="*/ 14 h 296"/>
                <a:gd name="T80" fmla="*/ 45 w 338"/>
                <a:gd name="T81" fmla="*/ 24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8" h="296">
                  <a:moveTo>
                    <a:pt x="45" y="24"/>
                  </a:moveTo>
                  <a:lnTo>
                    <a:pt x="47" y="37"/>
                  </a:lnTo>
                  <a:lnTo>
                    <a:pt x="62" y="44"/>
                  </a:lnTo>
                  <a:lnTo>
                    <a:pt x="65" y="50"/>
                  </a:lnTo>
                  <a:lnTo>
                    <a:pt x="78" y="61"/>
                  </a:lnTo>
                  <a:lnTo>
                    <a:pt x="68" y="70"/>
                  </a:lnTo>
                  <a:lnTo>
                    <a:pt x="65" y="83"/>
                  </a:lnTo>
                  <a:lnTo>
                    <a:pt x="53" y="74"/>
                  </a:lnTo>
                  <a:lnTo>
                    <a:pt x="33" y="68"/>
                  </a:lnTo>
                  <a:lnTo>
                    <a:pt x="12" y="50"/>
                  </a:lnTo>
                  <a:lnTo>
                    <a:pt x="0" y="59"/>
                  </a:lnTo>
                  <a:lnTo>
                    <a:pt x="0" y="70"/>
                  </a:lnTo>
                  <a:lnTo>
                    <a:pt x="9" y="71"/>
                  </a:lnTo>
                  <a:lnTo>
                    <a:pt x="8" y="95"/>
                  </a:lnTo>
                  <a:lnTo>
                    <a:pt x="26" y="95"/>
                  </a:lnTo>
                  <a:lnTo>
                    <a:pt x="33" y="104"/>
                  </a:lnTo>
                  <a:lnTo>
                    <a:pt x="33" y="123"/>
                  </a:lnTo>
                  <a:lnTo>
                    <a:pt x="71" y="148"/>
                  </a:lnTo>
                  <a:lnTo>
                    <a:pt x="72" y="157"/>
                  </a:lnTo>
                  <a:lnTo>
                    <a:pt x="75" y="177"/>
                  </a:lnTo>
                  <a:lnTo>
                    <a:pt x="86" y="189"/>
                  </a:lnTo>
                  <a:lnTo>
                    <a:pt x="98" y="190"/>
                  </a:lnTo>
                  <a:lnTo>
                    <a:pt x="103" y="196"/>
                  </a:lnTo>
                  <a:lnTo>
                    <a:pt x="100" y="206"/>
                  </a:lnTo>
                  <a:lnTo>
                    <a:pt x="112" y="210"/>
                  </a:lnTo>
                  <a:lnTo>
                    <a:pt x="106" y="218"/>
                  </a:lnTo>
                  <a:lnTo>
                    <a:pt x="118" y="231"/>
                  </a:lnTo>
                  <a:lnTo>
                    <a:pt x="140" y="222"/>
                  </a:lnTo>
                  <a:lnTo>
                    <a:pt x="172" y="187"/>
                  </a:lnTo>
                  <a:lnTo>
                    <a:pt x="195" y="186"/>
                  </a:lnTo>
                  <a:lnTo>
                    <a:pt x="210" y="209"/>
                  </a:lnTo>
                  <a:lnTo>
                    <a:pt x="198" y="228"/>
                  </a:lnTo>
                  <a:lnTo>
                    <a:pt x="207" y="242"/>
                  </a:lnTo>
                  <a:lnTo>
                    <a:pt x="189" y="266"/>
                  </a:lnTo>
                  <a:lnTo>
                    <a:pt x="213" y="295"/>
                  </a:lnTo>
                  <a:lnTo>
                    <a:pt x="223" y="289"/>
                  </a:lnTo>
                  <a:lnTo>
                    <a:pt x="234" y="296"/>
                  </a:lnTo>
                  <a:lnTo>
                    <a:pt x="249" y="292"/>
                  </a:lnTo>
                  <a:lnTo>
                    <a:pt x="249" y="248"/>
                  </a:lnTo>
                  <a:lnTo>
                    <a:pt x="256" y="248"/>
                  </a:lnTo>
                  <a:lnTo>
                    <a:pt x="255" y="258"/>
                  </a:lnTo>
                  <a:lnTo>
                    <a:pt x="264" y="263"/>
                  </a:lnTo>
                  <a:lnTo>
                    <a:pt x="267" y="246"/>
                  </a:lnTo>
                  <a:lnTo>
                    <a:pt x="261" y="224"/>
                  </a:lnTo>
                  <a:lnTo>
                    <a:pt x="269" y="213"/>
                  </a:lnTo>
                  <a:lnTo>
                    <a:pt x="272" y="209"/>
                  </a:lnTo>
                  <a:lnTo>
                    <a:pt x="275" y="215"/>
                  </a:lnTo>
                  <a:lnTo>
                    <a:pt x="278" y="209"/>
                  </a:lnTo>
                  <a:lnTo>
                    <a:pt x="273" y="196"/>
                  </a:lnTo>
                  <a:lnTo>
                    <a:pt x="275" y="177"/>
                  </a:lnTo>
                  <a:lnTo>
                    <a:pt x="288" y="156"/>
                  </a:lnTo>
                  <a:lnTo>
                    <a:pt x="291" y="150"/>
                  </a:lnTo>
                  <a:lnTo>
                    <a:pt x="299" y="141"/>
                  </a:lnTo>
                  <a:lnTo>
                    <a:pt x="312" y="139"/>
                  </a:lnTo>
                  <a:lnTo>
                    <a:pt x="318" y="144"/>
                  </a:lnTo>
                  <a:lnTo>
                    <a:pt x="329" y="145"/>
                  </a:lnTo>
                  <a:lnTo>
                    <a:pt x="335" y="150"/>
                  </a:lnTo>
                  <a:lnTo>
                    <a:pt x="333" y="156"/>
                  </a:lnTo>
                  <a:lnTo>
                    <a:pt x="336" y="156"/>
                  </a:lnTo>
                  <a:lnTo>
                    <a:pt x="338" y="153"/>
                  </a:lnTo>
                  <a:lnTo>
                    <a:pt x="330" y="138"/>
                  </a:lnTo>
                  <a:lnTo>
                    <a:pt x="327" y="136"/>
                  </a:lnTo>
                  <a:lnTo>
                    <a:pt x="314" y="124"/>
                  </a:lnTo>
                  <a:lnTo>
                    <a:pt x="303" y="127"/>
                  </a:lnTo>
                  <a:lnTo>
                    <a:pt x="299" y="127"/>
                  </a:lnTo>
                  <a:lnTo>
                    <a:pt x="291" y="117"/>
                  </a:lnTo>
                  <a:lnTo>
                    <a:pt x="281" y="97"/>
                  </a:lnTo>
                  <a:lnTo>
                    <a:pt x="266" y="88"/>
                  </a:lnTo>
                  <a:lnTo>
                    <a:pt x="261" y="64"/>
                  </a:lnTo>
                  <a:lnTo>
                    <a:pt x="255" y="43"/>
                  </a:lnTo>
                  <a:lnTo>
                    <a:pt x="246" y="29"/>
                  </a:lnTo>
                  <a:lnTo>
                    <a:pt x="234" y="23"/>
                  </a:lnTo>
                  <a:lnTo>
                    <a:pt x="219" y="9"/>
                  </a:lnTo>
                  <a:lnTo>
                    <a:pt x="210" y="28"/>
                  </a:lnTo>
                  <a:lnTo>
                    <a:pt x="199" y="56"/>
                  </a:lnTo>
                  <a:lnTo>
                    <a:pt x="160" y="62"/>
                  </a:lnTo>
                  <a:lnTo>
                    <a:pt x="121" y="18"/>
                  </a:lnTo>
                  <a:lnTo>
                    <a:pt x="88" y="0"/>
                  </a:lnTo>
                  <a:lnTo>
                    <a:pt x="63" y="0"/>
                  </a:lnTo>
                  <a:lnTo>
                    <a:pt x="62" y="14"/>
                  </a:lnTo>
                  <a:lnTo>
                    <a:pt x="45" y="24"/>
                  </a:lnTo>
                  <a:lnTo>
                    <a:pt x="45" y="24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957" name="Freeform 302"/>
            <p:cNvSpPr>
              <a:spLocks/>
            </p:cNvSpPr>
            <p:nvPr userDrawn="1"/>
          </p:nvSpPr>
          <p:spPr bwMode="auto">
            <a:xfrm>
              <a:off x="6298" y="3526"/>
              <a:ext cx="103" cy="77"/>
            </a:xfrm>
            <a:custGeom>
              <a:avLst/>
              <a:gdLst>
                <a:gd name="T0" fmla="*/ 79 w 103"/>
                <a:gd name="T1" fmla="*/ 53 h 77"/>
                <a:gd name="T2" fmla="*/ 70 w 103"/>
                <a:gd name="T3" fmla="*/ 41 h 77"/>
                <a:gd name="T4" fmla="*/ 70 w 103"/>
                <a:gd name="T5" fmla="*/ 26 h 77"/>
                <a:gd name="T6" fmla="*/ 49 w 103"/>
                <a:gd name="T7" fmla="*/ 9 h 77"/>
                <a:gd name="T8" fmla="*/ 32 w 103"/>
                <a:gd name="T9" fmla="*/ 15 h 77"/>
                <a:gd name="T10" fmla="*/ 14 w 103"/>
                <a:gd name="T11" fmla="*/ 0 h 77"/>
                <a:gd name="T12" fmla="*/ 0 w 103"/>
                <a:gd name="T13" fmla="*/ 8 h 77"/>
                <a:gd name="T14" fmla="*/ 8 w 103"/>
                <a:gd name="T15" fmla="*/ 35 h 77"/>
                <a:gd name="T16" fmla="*/ 38 w 103"/>
                <a:gd name="T17" fmla="*/ 67 h 77"/>
                <a:gd name="T18" fmla="*/ 79 w 103"/>
                <a:gd name="T19" fmla="*/ 77 h 77"/>
                <a:gd name="T20" fmla="*/ 103 w 103"/>
                <a:gd name="T21" fmla="*/ 76 h 77"/>
                <a:gd name="T22" fmla="*/ 100 w 103"/>
                <a:gd name="T23" fmla="*/ 61 h 77"/>
                <a:gd name="T24" fmla="*/ 79 w 103"/>
                <a:gd name="T25" fmla="*/ 53 h 77"/>
                <a:gd name="T26" fmla="*/ 79 w 103"/>
                <a:gd name="T27" fmla="*/ 53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3" h="77">
                  <a:moveTo>
                    <a:pt x="79" y="53"/>
                  </a:moveTo>
                  <a:lnTo>
                    <a:pt x="70" y="41"/>
                  </a:lnTo>
                  <a:lnTo>
                    <a:pt x="70" y="26"/>
                  </a:lnTo>
                  <a:lnTo>
                    <a:pt x="49" y="9"/>
                  </a:lnTo>
                  <a:lnTo>
                    <a:pt x="32" y="15"/>
                  </a:lnTo>
                  <a:lnTo>
                    <a:pt x="14" y="0"/>
                  </a:lnTo>
                  <a:lnTo>
                    <a:pt x="0" y="8"/>
                  </a:lnTo>
                  <a:lnTo>
                    <a:pt x="8" y="35"/>
                  </a:lnTo>
                  <a:lnTo>
                    <a:pt x="38" y="67"/>
                  </a:lnTo>
                  <a:lnTo>
                    <a:pt x="79" y="77"/>
                  </a:lnTo>
                  <a:lnTo>
                    <a:pt x="103" y="76"/>
                  </a:lnTo>
                  <a:lnTo>
                    <a:pt x="100" y="61"/>
                  </a:lnTo>
                  <a:lnTo>
                    <a:pt x="79" y="53"/>
                  </a:lnTo>
                  <a:lnTo>
                    <a:pt x="79" y="53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958" name="Freeform 303"/>
            <p:cNvSpPr>
              <a:spLocks/>
            </p:cNvSpPr>
            <p:nvPr userDrawn="1"/>
          </p:nvSpPr>
          <p:spPr bwMode="auto">
            <a:xfrm>
              <a:off x="6181" y="3394"/>
              <a:ext cx="249" cy="208"/>
            </a:xfrm>
            <a:custGeom>
              <a:avLst/>
              <a:gdLst>
                <a:gd name="T0" fmla="*/ 243 w 249"/>
                <a:gd name="T1" fmla="*/ 161 h 208"/>
                <a:gd name="T2" fmla="*/ 231 w 249"/>
                <a:gd name="T3" fmla="*/ 157 h 208"/>
                <a:gd name="T4" fmla="*/ 234 w 249"/>
                <a:gd name="T5" fmla="*/ 147 h 208"/>
                <a:gd name="T6" fmla="*/ 229 w 249"/>
                <a:gd name="T7" fmla="*/ 141 h 208"/>
                <a:gd name="T8" fmla="*/ 217 w 249"/>
                <a:gd name="T9" fmla="*/ 140 h 208"/>
                <a:gd name="T10" fmla="*/ 206 w 249"/>
                <a:gd name="T11" fmla="*/ 128 h 208"/>
                <a:gd name="T12" fmla="*/ 203 w 249"/>
                <a:gd name="T13" fmla="*/ 108 h 208"/>
                <a:gd name="T14" fmla="*/ 202 w 249"/>
                <a:gd name="T15" fmla="*/ 99 h 208"/>
                <a:gd name="T16" fmla="*/ 164 w 249"/>
                <a:gd name="T17" fmla="*/ 74 h 208"/>
                <a:gd name="T18" fmla="*/ 164 w 249"/>
                <a:gd name="T19" fmla="*/ 55 h 208"/>
                <a:gd name="T20" fmla="*/ 157 w 249"/>
                <a:gd name="T21" fmla="*/ 46 h 208"/>
                <a:gd name="T22" fmla="*/ 139 w 249"/>
                <a:gd name="T23" fmla="*/ 46 h 208"/>
                <a:gd name="T24" fmla="*/ 140 w 249"/>
                <a:gd name="T25" fmla="*/ 22 h 208"/>
                <a:gd name="T26" fmla="*/ 131 w 249"/>
                <a:gd name="T27" fmla="*/ 21 h 208"/>
                <a:gd name="T28" fmla="*/ 131 w 249"/>
                <a:gd name="T29" fmla="*/ 10 h 208"/>
                <a:gd name="T30" fmla="*/ 102 w 249"/>
                <a:gd name="T31" fmla="*/ 9 h 208"/>
                <a:gd name="T32" fmla="*/ 69 w 249"/>
                <a:gd name="T33" fmla="*/ 0 h 208"/>
                <a:gd name="T34" fmla="*/ 36 w 249"/>
                <a:gd name="T35" fmla="*/ 4 h 208"/>
                <a:gd name="T36" fmla="*/ 0 w 249"/>
                <a:gd name="T37" fmla="*/ 3 h 208"/>
                <a:gd name="T38" fmla="*/ 9 w 249"/>
                <a:gd name="T39" fmla="*/ 13 h 208"/>
                <a:gd name="T40" fmla="*/ 30 w 249"/>
                <a:gd name="T41" fmla="*/ 25 h 208"/>
                <a:gd name="T42" fmla="*/ 48 w 249"/>
                <a:gd name="T43" fmla="*/ 37 h 208"/>
                <a:gd name="T44" fmla="*/ 51 w 249"/>
                <a:gd name="T45" fmla="*/ 66 h 208"/>
                <a:gd name="T46" fmla="*/ 45 w 249"/>
                <a:gd name="T47" fmla="*/ 83 h 208"/>
                <a:gd name="T48" fmla="*/ 54 w 249"/>
                <a:gd name="T49" fmla="*/ 110 h 208"/>
                <a:gd name="T50" fmla="*/ 74 w 249"/>
                <a:gd name="T51" fmla="*/ 116 h 208"/>
                <a:gd name="T52" fmla="*/ 92 w 249"/>
                <a:gd name="T53" fmla="*/ 110 h 208"/>
                <a:gd name="T54" fmla="*/ 104 w 249"/>
                <a:gd name="T55" fmla="*/ 134 h 208"/>
                <a:gd name="T56" fmla="*/ 117 w 249"/>
                <a:gd name="T57" fmla="*/ 140 h 208"/>
                <a:gd name="T58" fmla="*/ 131 w 249"/>
                <a:gd name="T59" fmla="*/ 132 h 208"/>
                <a:gd name="T60" fmla="*/ 149 w 249"/>
                <a:gd name="T61" fmla="*/ 147 h 208"/>
                <a:gd name="T62" fmla="*/ 166 w 249"/>
                <a:gd name="T63" fmla="*/ 141 h 208"/>
                <a:gd name="T64" fmla="*/ 187 w 249"/>
                <a:gd name="T65" fmla="*/ 158 h 208"/>
                <a:gd name="T66" fmla="*/ 187 w 249"/>
                <a:gd name="T67" fmla="*/ 173 h 208"/>
                <a:gd name="T68" fmla="*/ 196 w 249"/>
                <a:gd name="T69" fmla="*/ 185 h 208"/>
                <a:gd name="T70" fmla="*/ 217 w 249"/>
                <a:gd name="T71" fmla="*/ 193 h 208"/>
                <a:gd name="T72" fmla="*/ 220 w 249"/>
                <a:gd name="T73" fmla="*/ 208 h 208"/>
                <a:gd name="T74" fmla="*/ 231 w 249"/>
                <a:gd name="T75" fmla="*/ 196 h 208"/>
                <a:gd name="T76" fmla="*/ 249 w 249"/>
                <a:gd name="T77" fmla="*/ 182 h 208"/>
                <a:gd name="T78" fmla="*/ 237 w 249"/>
                <a:gd name="T79" fmla="*/ 169 h 208"/>
                <a:gd name="T80" fmla="*/ 243 w 249"/>
                <a:gd name="T81" fmla="*/ 161 h 208"/>
                <a:gd name="T82" fmla="*/ 243 w 249"/>
                <a:gd name="T83" fmla="*/ 161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49" h="208">
                  <a:moveTo>
                    <a:pt x="243" y="161"/>
                  </a:moveTo>
                  <a:lnTo>
                    <a:pt x="231" y="157"/>
                  </a:lnTo>
                  <a:lnTo>
                    <a:pt x="234" y="147"/>
                  </a:lnTo>
                  <a:lnTo>
                    <a:pt x="229" y="141"/>
                  </a:lnTo>
                  <a:lnTo>
                    <a:pt x="217" y="140"/>
                  </a:lnTo>
                  <a:lnTo>
                    <a:pt x="206" y="128"/>
                  </a:lnTo>
                  <a:lnTo>
                    <a:pt x="203" y="108"/>
                  </a:lnTo>
                  <a:lnTo>
                    <a:pt x="202" y="99"/>
                  </a:lnTo>
                  <a:lnTo>
                    <a:pt x="164" y="74"/>
                  </a:lnTo>
                  <a:lnTo>
                    <a:pt x="164" y="55"/>
                  </a:lnTo>
                  <a:lnTo>
                    <a:pt x="157" y="46"/>
                  </a:lnTo>
                  <a:lnTo>
                    <a:pt x="139" y="46"/>
                  </a:lnTo>
                  <a:lnTo>
                    <a:pt x="140" y="22"/>
                  </a:lnTo>
                  <a:lnTo>
                    <a:pt x="131" y="21"/>
                  </a:lnTo>
                  <a:lnTo>
                    <a:pt x="131" y="10"/>
                  </a:lnTo>
                  <a:lnTo>
                    <a:pt x="102" y="9"/>
                  </a:lnTo>
                  <a:lnTo>
                    <a:pt x="69" y="0"/>
                  </a:lnTo>
                  <a:lnTo>
                    <a:pt x="36" y="4"/>
                  </a:lnTo>
                  <a:lnTo>
                    <a:pt x="0" y="3"/>
                  </a:lnTo>
                  <a:lnTo>
                    <a:pt x="9" y="13"/>
                  </a:lnTo>
                  <a:lnTo>
                    <a:pt x="30" y="25"/>
                  </a:lnTo>
                  <a:lnTo>
                    <a:pt x="48" y="37"/>
                  </a:lnTo>
                  <a:lnTo>
                    <a:pt x="51" y="66"/>
                  </a:lnTo>
                  <a:lnTo>
                    <a:pt x="45" y="83"/>
                  </a:lnTo>
                  <a:lnTo>
                    <a:pt x="54" y="110"/>
                  </a:lnTo>
                  <a:lnTo>
                    <a:pt x="74" y="116"/>
                  </a:lnTo>
                  <a:lnTo>
                    <a:pt x="92" y="110"/>
                  </a:lnTo>
                  <a:lnTo>
                    <a:pt x="104" y="134"/>
                  </a:lnTo>
                  <a:lnTo>
                    <a:pt x="117" y="140"/>
                  </a:lnTo>
                  <a:lnTo>
                    <a:pt x="131" y="132"/>
                  </a:lnTo>
                  <a:lnTo>
                    <a:pt x="149" y="147"/>
                  </a:lnTo>
                  <a:lnTo>
                    <a:pt x="166" y="141"/>
                  </a:lnTo>
                  <a:lnTo>
                    <a:pt x="187" y="158"/>
                  </a:lnTo>
                  <a:lnTo>
                    <a:pt x="187" y="173"/>
                  </a:lnTo>
                  <a:lnTo>
                    <a:pt x="196" y="185"/>
                  </a:lnTo>
                  <a:lnTo>
                    <a:pt x="217" y="193"/>
                  </a:lnTo>
                  <a:lnTo>
                    <a:pt x="220" y="208"/>
                  </a:lnTo>
                  <a:lnTo>
                    <a:pt x="231" y="196"/>
                  </a:lnTo>
                  <a:lnTo>
                    <a:pt x="249" y="182"/>
                  </a:lnTo>
                  <a:lnTo>
                    <a:pt x="237" y="169"/>
                  </a:lnTo>
                  <a:lnTo>
                    <a:pt x="243" y="161"/>
                  </a:lnTo>
                  <a:lnTo>
                    <a:pt x="243" y="161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959" name="Freeform 304"/>
            <p:cNvSpPr>
              <a:spLocks/>
            </p:cNvSpPr>
            <p:nvPr userDrawn="1"/>
          </p:nvSpPr>
          <p:spPr bwMode="auto">
            <a:xfrm>
              <a:off x="6778" y="3276"/>
              <a:ext cx="902" cy="612"/>
            </a:xfrm>
            <a:custGeom>
              <a:avLst/>
              <a:gdLst>
                <a:gd name="T0" fmla="*/ 632 w 902"/>
                <a:gd name="T1" fmla="*/ 213 h 612"/>
                <a:gd name="T2" fmla="*/ 578 w 902"/>
                <a:gd name="T3" fmla="*/ 121 h 612"/>
                <a:gd name="T4" fmla="*/ 540 w 902"/>
                <a:gd name="T5" fmla="*/ 131 h 612"/>
                <a:gd name="T6" fmla="*/ 472 w 902"/>
                <a:gd name="T7" fmla="*/ 62 h 612"/>
                <a:gd name="T8" fmla="*/ 391 w 902"/>
                <a:gd name="T9" fmla="*/ 11 h 612"/>
                <a:gd name="T10" fmla="*/ 385 w 902"/>
                <a:gd name="T11" fmla="*/ 29 h 612"/>
                <a:gd name="T12" fmla="*/ 356 w 902"/>
                <a:gd name="T13" fmla="*/ 27 h 612"/>
                <a:gd name="T14" fmla="*/ 297 w 902"/>
                <a:gd name="T15" fmla="*/ 59 h 612"/>
                <a:gd name="T16" fmla="*/ 297 w 902"/>
                <a:gd name="T17" fmla="*/ 121 h 612"/>
                <a:gd name="T18" fmla="*/ 183 w 902"/>
                <a:gd name="T19" fmla="*/ 90 h 612"/>
                <a:gd name="T20" fmla="*/ 83 w 902"/>
                <a:gd name="T21" fmla="*/ 33 h 612"/>
                <a:gd name="T22" fmla="*/ 0 w 902"/>
                <a:gd name="T23" fmla="*/ 101 h 612"/>
                <a:gd name="T24" fmla="*/ 20 w 902"/>
                <a:gd name="T25" fmla="*/ 134 h 612"/>
                <a:gd name="T26" fmla="*/ 29 w 902"/>
                <a:gd name="T27" fmla="*/ 130 h 612"/>
                <a:gd name="T28" fmla="*/ 24 w 902"/>
                <a:gd name="T29" fmla="*/ 115 h 612"/>
                <a:gd name="T30" fmla="*/ 62 w 902"/>
                <a:gd name="T31" fmla="*/ 72 h 612"/>
                <a:gd name="T32" fmla="*/ 92 w 902"/>
                <a:gd name="T33" fmla="*/ 107 h 612"/>
                <a:gd name="T34" fmla="*/ 128 w 902"/>
                <a:gd name="T35" fmla="*/ 145 h 612"/>
                <a:gd name="T36" fmla="*/ 121 w 902"/>
                <a:gd name="T37" fmla="*/ 158 h 612"/>
                <a:gd name="T38" fmla="*/ 127 w 902"/>
                <a:gd name="T39" fmla="*/ 169 h 612"/>
                <a:gd name="T40" fmla="*/ 107 w 902"/>
                <a:gd name="T41" fmla="*/ 169 h 612"/>
                <a:gd name="T42" fmla="*/ 86 w 902"/>
                <a:gd name="T43" fmla="*/ 169 h 612"/>
                <a:gd name="T44" fmla="*/ 65 w 902"/>
                <a:gd name="T45" fmla="*/ 169 h 612"/>
                <a:gd name="T46" fmla="*/ 51 w 902"/>
                <a:gd name="T47" fmla="*/ 173 h 612"/>
                <a:gd name="T48" fmla="*/ 33 w 902"/>
                <a:gd name="T49" fmla="*/ 158 h 612"/>
                <a:gd name="T50" fmla="*/ 29 w 902"/>
                <a:gd name="T51" fmla="*/ 167 h 612"/>
                <a:gd name="T52" fmla="*/ 9 w 902"/>
                <a:gd name="T53" fmla="*/ 202 h 612"/>
                <a:gd name="T54" fmla="*/ 26 w 902"/>
                <a:gd name="T55" fmla="*/ 255 h 612"/>
                <a:gd name="T56" fmla="*/ 33 w 902"/>
                <a:gd name="T57" fmla="*/ 249 h 612"/>
                <a:gd name="T58" fmla="*/ 66 w 902"/>
                <a:gd name="T59" fmla="*/ 249 h 612"/>
                <a:gd name="T60" fmla="*/ 71 w 902"/>
                <a:gd name="T61" fmla="*/ 249 h 612"/>
                <a:gd name="T62" fmla="*/ 57 w 902"/>
                <a:gd name="T63" fmla="*/ 279 h 612"/>
                <a:gd name="T64" fmla="*/ 56 w 902"/>
                <a:gd name="T65" fmla="*/ 282 h 612"/>
                <a:gd name="T66" fmla="*/ 65 w 902"/>
                <a:gd name="T67" fmla="*/ 306 h 612"/>
                <a:gd name="T68" fmla="*/ 69 w 902"/>
                <a:gd name="T69" fmla="*/ 302 h 612"/>
                <a:gd name="T70" fmla="*/ 89 w 902"/>
                <a:gd name="T71" fmla="*/ 314 h 612"/>
                <a:gd name="T72" fmla="*/ 83 w 902"/>
                <a:gd name="T73" fmla="*/ 406 h 612"/>
                <a:gd name="T74" fmla="*/ 139 w 902"/>
                <a:gd name="T75" fmla="*/ 436 h 612"/>
                <a:gd name="T76" fmla="*/ 207 w 902"/>
                <a:gd name="T77" fmla="*/ 382 h 612"/>
                <a:gd name="T78" fmla="*/ 288 w 902"/>
                <a:gd name="T79" fmla="*/ 373 h 612"/>
                <a:gd name="T80" fmla="*/ 320 w 902"/>
                <a:gd name="T81" fmla="*/ 385 h 612"/>
                <a:gd name="T82" fmla="*/ 377 w 902"/>
                <a:gd name="T83" fmla="*/ 421 h 612"/>
                <a:gd name="T84" fmla="*/ 453 w 902"/>
                <a:gd name="T85" fmla="*/ 453 h 612"/>
                <a:gd name="T86" fmla="*/ 552 w 902"/>
                <a:gd name="T87" fmla="*/ 499 h 612"/>
                <a:gd name="T88" fmla="*/ 567 w 902"/>
                <a:gd name="T89" fmla="*/ 584 h 612"/>
                <a:gd name="T90" fmla="*/ 631 w 902"/>
                <a:gd name="T91" fmla="*/ 612 h 612"/>
                <a:gd name="T92" fmla="*/ 679 w 902"/>
                <a:gd name="T93" fmla="*/ 552 h 612"/>
                <a:gd name="T94" fmla="*/ 789 w 902"/>
                <a:gd name="T95" fmla="*/ 453 h 612"/>
                <a:gd name="T96" fmla="*/ 902 w 902"/>
                <a:gd name="T97" fmla="*/ 442 h 612"/>
                <a:gd name="T98" fmla="*/ 780 w 902"/>
                <a:gd name="T99" fmla="*/ 333 h 6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902" h="612">
                  <a:moveTo>
                    <a:pt x="780" y="333"/>
                  </a:moveTo>
                  <a:lnTo>
                    <a:pt x="714" y="299"/>
                  </a:lnTo>
                  <a:lnTo>
                    <a:pt x="673" y="269"/>
                  </a:lnTo>
                  <a:lnTo>
                    <a:pt x="632" y="213"/>
                  </a:lnTo>
                  <a:lnTo>
                    <a:pt x="626" y="196"/>
                  </a:lnTo>
                  <a:lnTo>
                    <a:pt x="600" y="164"/>
                  </a:lnTo>
                  <a:lnTo>
                    <a:pt x="597" y="143"/>
                  </a:lnTo>
                  <a:lnTo>
                    <a:pt x="578" y="121"/>
                  </a:lnTo>
                  <a:lnTo>
                    <a:pt x="567" y="122"/>
                  </a:lnTo>
                  <a:lnTo>
                    <a:pt x="563" y="131"/>
                  </a:lnTo>
                  <a:lnTo>
                    <a:pt x="551" y="137"/>
                  </a:lnTo>
                  <a:lnTo>
                    <a:pt x="540" y="131"/>
                  </a:lnTo>
                  <a:lnTo>
                    <a:pt x="527" y="133"/>
                  </a:lnTo>
                  <a:lnTo>
                    <a:pt x="516" y="122"/>
                  </a:lnTo>
                  <a:lnTo>
                    <a:pt x="501" y="121"/>
                  </a:lnTo>
                  <a:lnTo>
                    <a:pt x="472" y="62"/>
                  </a:lnTo>
                  <a:lnTo>
                    <a:pt x="460" y="48"/>
                  </a:lnTo>
                  <a:lnTo>
                    <a:pt x="427" y="30"/>
                  </a:lnTo>
                  <a:lnTo>
                    <a:pt x="415" y="11"/>
                  </a:lnTo>
                  <a:lnTo>
                    <a:pt x="391" y="11"/>
                  </a:lnTo>
                  <a:lnTo>
                    <a:pt x="376" y="0"/>
                  </a:lnTo>
                  <a:lnTo>
                    <a:pt x="370" y="3"/>
                  </a:lnTo>
                  <a:lnTo>
                    <a:pt x="380" y="18"/>
                  </a:lnTo>
                  <a:lnTo>
                    <a:pt x="385" y="29"/>
                  </a:lnTo>
                  <a:lnTo>
                    <a:pt x="373" y="27"/>
                  </a:lnTo>
                  <a:lnTo>
                    <a:pt x="361" y="17"/>
                  </a:lnTo>
                  <a:lnTo>
                    <a:pt x="353" y="18"/>
                  </a:lnTo>
                  <a:lnTo>
                    <a:pt x="356" y="27"/>
                  </a:lnTo>
                  <a:lnTo>
                    <a:pt x="353" y="39"/>
                  </a:lnTo>
                  <a:lnTo>
                    <a:pt x="341" y="41"/>
                  </a:lnTo>
                  <a:lnTo>
                    <a:pt x="335" y="38"/>
                  </a:lnTo>
                  <a:lnTo>
                    <a:pt x="297" y="59"/>
                  </a:lnTo>
                  <a:lnTo>
                    <a:pt x="291" y="80"/>
                  </a:lnTo>
                  <a:lnTo>
                    <a:pt x="288" y="104"/>
                  </a:lnTo>
                  <a:lnTo>
                    <a:pt x="299" y="118"/>
                  </a:lnTo>
                  <a:lnTo>
                    <a:pt x="297" y="121"/>
                  </a:lnTo>
                  <a:lnTo>
                    <a:pt x="284" y="113"/>
                  </a:lnTo>
                  <a:lnTo>
                    <a:pt x="235" y="112"/>
                  </a:lnTo>
                  <a:lnTo>
                    <a:pt x="195" y="103"/>
                  </a:lnTo>
                  <a:lnTo>
                    <a:pt x="183" y="90"/>
                  </a:lnTo>
                  <a:lnTo>
                    <a:pt x="143" y="33"/>
                  </a:lnTo>
                  <a:lnTo>
                    <a:pt x="97" y="26"/>
                  </a:lnTo>
                  <a:lnTo>
                    <a:pt x="97" y="26"/>
                  </a:lnTo>
                  <a:lnTo>
                    <a:pt x="83" y="33"/>
                  </a:lnTo>
                  <a:lnTo>
                    <a:pt x="18" y="54"/>
                  </a:lnTo>
                  <a:lnTo>
                    <a:pt x="3" y="80"/>
                  </a:lnTo>
                  <a:lnTo>
                    <a:pt x="0" y="92"/>
                  </a:lnTo>
                  <a:lnTo>
                    <a:pt x="0" y="101"/>
                  </a:lnTo>
                  <a:lnTo>
                    <a:pt x="3" y="115"/>
                  </a:lnTo>
                  <a:lnTo>
                    <a:pt x="12" y="121"/>
                  </a:lnTo>
                  <a:lnTo>
                    <a:pt x="18" y="127"/>
                  </a:lnTo>
                  <a:lnTo>
                    <a:pt x="20" y="134"/>
                  </a:lnTo>
                  <a:lnTo>
                    <a:pt x="26" y="149"/>
                  </a:lnTo>
                  <a:lnTo>
                    <a:pt x="32" y="149"/>
                  </a:lnTo>
                  <a:lnTo>
                    <a:pt x="24" y="137"/>
                  </a:lnTo>
                  <a:lnTo>
                    <a:pt x="29" y="130"/>
                  </a:lnTo>
                  <a:lnTo>
                    <a:pt x="27" y="119"/>
                  </a:lnTo>
                  <a:lnTo>
                    <a:pt x="24" y="125"/>
                  </a:lnTo>
                  <a:lnTo>
                    <a:pt x="21" y="121"/>
                  </a:lnTo>
                  <a:lnTo>
                    <a:pt x="24" y="115"/>
                  </a:lnTo>
                  <a:lnTo>
                    <a:pt x="26" y="100"/>
                  </a:lnTo>
                  <a:lnTo>
                    <a:pt x="32" y="90"/>
                  </a:lnTo>
                  <a:lnTo>
                    <a:pt x="47" y="78"/>
                  </a:lnTo>
                  <a:lnTo>
                    <a:pt x="62" y="72"/>
                  </a:lnTo>
                  <a:lnTo>
                    <a:pt x="73" y="69"/>
                  </a:lnTo>
                  <a:lnTo>
                    <a:pt x="85" y="80"/>
                  </a:lnTo>
                  <a:lnTo>
                    <a:pt x="92" y="95"/>
                  </a:lnTo>
                  <a:lnTo>
                    <a:pt x="92" y="107"/>
                  </a:lnTo>
                  <a:lnTo>
                    <a:pt x="91" y="119"/>
                  </a:lnTo>
                  <a:lnTo>
                    <a:pt x="103" y="127"/>
                  </a:lnTo>
                  <a:lnTo>
                    <a:pt x="122" y="137"/>
                  </a:lnTo>
                  <a:lnTo>
                    <a:pt x="128" y="145"/>
                  </a:lnTo>
                  <a:lnTo>
                    <a:pt x="134" y="157"/>
                  </a:lnTo>
                  <a:lnTo>
                    <a:pt x="134" y="161"/>
                  </a:lnTo>
                  <a:lnTo>
                    <a:pt x="130" y="164"/>
                  </a:lnTo>
                  <a:lnTo>
                    <a:pt x="121" y="158"/>
                  </a:lnTo>
                  <a:lnTo>
                    <a:pt x="116" y="161"/>
                  </a:lnTo>
                  <a:lnTo>
                    <a:pt x="115" y="166"/>
                  </a:lnTo>
                  <a:lnTo>
                    <a:pt x="119" y="166"/>
                  </a:lnTo>
                  <a:lnTo>
                    <a:pt x="127" y="169"/>
                  </a:lnTo>
                  <a:lnTo>
                    <a:pt x="124" y="172"/>
                  </a:lnTo>
                  <a:lnTo>
                    <a:pt x="115" y="176"/>
                  </a:lnTo>
                  <a:lnTo>
                    <a:pt x="110" y="167"/>
                  </a:lnTo>
                  <a:lnTo>
                    <a:pt x="107" y="169"/>
                  </a:lnTo>
                  <a:lnTo>
                    <a:pt x="107" y="176"/>
                  </a:lnTo>
                  <a:lnTo>
                    <a:pt x="100" y="178"/>
                  </a:lnTo>
                  <a:lnTo>
                    <a:pt x="92" y="175"/>
                  </a:lnTo>
                  <a:lnTo>
                    <a:pt x="86" y="169"/>
                  </a:lnTo>
                  <a:lnTo>
                    <a:pt x="83" y="169"/>
                  </a:lnTo>
                  <a:lnTo>
                    <a:pt x="82" y="173"/>
                  </a:lnTo>
                  <a:lnTo>
                    <a:pt x="71" y="175"/>
                  </a:lnTo>
                  <a:lnTo>
                    <a:pt x="65" y="169"/>
                  </a:lnTo>
                  <a:lnTo>
                    <a:pt x="63" y="169"/>
                  </a:lnTo>
                  <a:lnTo>
                    <a:pt x="62" y="175"/>
                  </a:lnTo>
                  <a:lnTo>
                    <a:pt x="56" y="169"/>
                  </a:lnTo>
                  <a:lnTo>
                    <a:pt x="51" y="173"/>
                  </a:lnTo>
                  <a:lnTo>
                    <a:pt x="47" y="163"/>
                  </a:lnTo>
                  <a:lnTo>
                    <a:pt x="42" y="167"/>
                  </a:lnTo>
                  <a:lnTo>
                    <a:pt x="41" y="158"/>
                  </a:lnTo>
                  <a:lnTo>
                    <a:pt x="33" y="158"/>
                  </a:lnTo>
                  <a:lnTo>
                    <a:pt x="33" y="152"/>
                  </a:lnTo>
                  <a:lnTo>
                    <a:pt x="30" y="154"/>
                  </a:lnTo>
                  <a:lnTo>
                    <a:pt x="32" y="161"/>
                  </a:lnTo>
                  <a:lnTo>
                    <a:pt x="29" y="167"/>
                  </a:lnTo>
                  <a:lnTo>
                    <a:pt x="27" y="178"/>
                  </a:lnTo>
                  <a:lnTo>
                    <a:pt x="29" y="184"/>
                  </a:lnTo>
                  <a:lnTo>
                    <a:pt x="20" y="186"/>
                  </a:lnTo>
                  <a:lnTo>
                    <a:pt x="9" y="202"/>
                  </a:lnTo>
                  <a:lnTo>
                    <a:pt x="8" y="208"/>
                  </a:lnTo>
                  <a:lnTo>
                    <a:pt x="14" y="222"/>
                  </a:lnTo>
                  <a:lnTo>
                    <a:pt x="21" y="237"/>
                  </a:lnTo>
                  <a:lnTo>
                    <a:pt x="26" y="255"/>
                  </a:lnTo>
                  <a:lnTo>
                    <a:pt x="29" y="261"/>
                  </a:lnTo>
                  <a:lnTo>
                    <a:pt x="38" y="262"/>
                  </a:lnTo>
                  <a:lnTo>
                    <a:pt x="32" y="258"/>
                  </a:lnTo>
                  <a:lnTo>
                    <a:pt x="33" y="249"/>
                  </a:lnTo>
                  <a:lnTo>
                    <a:pt x="38" y="241"/>
                  </a:lnTo>
                  <a:lnTo>
                    <a:pt x="51" y="246"/>
                  </a:lnTo>
                  <a:lnTo>
                    <a:pt x="66" y="249"/>
                  </a:lnTo>
                  <a:lnTo>
                    <a:pt x="66" y="249"/>
                  </a:lnTo>
                  <a:lnTo>
                    <a:pt x="68" y="247"/>
                  </a:lnTo>
                  <a:lnTo>
                    <a:pt x="69" y="247"/>
                  </a:lnTo>
                  <a:lnTo>
                    <a:pt x="71" y="249"/>
                  </a:lnTo>
                  <a:lnTo>
                    <a:pt x="71" y="249"/>
                  </a:lnTo>
                  <a:lnTo>
                    <a:pt x="73" y="255"/>
                  </a:lnTo>
                  <a:lnTo>
                    <a:pt x="74" y="259"/>
                  </a:lnTo>
                  <a:lnTo>
                    <a:pt x="63" y="270"/>
                  </a:lnTo>
                  <a:lnTo>
                    <a:pt x="57" y="279"/>
                  </a:lnTo>
                  <a:lnTo>
                    <a:pt x="65" y="287"/>
                  </a:lnTo>
                  <a:lnTo>
                    <a:pt x="65" y="288"/>
                  </a:lnTo>
                  <a:lnTo>
                    <a:pt x="56" y="287"/>
                  </a:lnTo>
                  <a:lnTo>
                    <a:pt x="56" y="282"/>
                  </a:lnTo>
                  <a:lnTo>
                    <a:pt x="53" y="285"/>
                  </a:lnTo>
                  <a:lnTo>
                    <a:pt x="53" y="294"/>
                  </a:lnTo>
                  <a:lnTo>
                    <a:pt x="57" y="305"/>
                  </a:lnTo>
                  <a:lnTo>
                    <a:pt x="65" y="306"/>
                  </a:lnTo>
                  <a:lnTo>
                    <a:pt x="60" y="300"/>
                  </a:lnTo>
                  <a:lnTo>
                    <a:pt x="66" y="293"/>
                  </a:lnTo>
                  <a:lnTo>
                    <a:pt x="69" y="293"/>
                  </a:lnTo>
                  <a:lnTo>
                    <a:pt x="69" y="302"/>
                  </a:lnTo>
                  <a:lnTo>
                    <a:pt x="73" y="305"/>
                  </a:lnTo>
                  <a:lnTo>
                    <a:pt x="76" y="315"/>
                  </a:lnTo>
                  <a:lnTo>
                    <a:pt x="85" y="318"/>
                  </a:lnTo>
                  <a:lnTo>
                    <a:pt x="89" y="314"/>
                  </a:lnTo>
                  <a:lnTo>
                    <a:pt x="95" y="323"/>
                  </a:lnTo>
                  <a:lnTo>
                    <a:pt x="92" y="344"/>
                  </a:lnTo>
                  <a:lnTo>
                    <a:pt x="83" y="370"/>
                  </a:lnTo>
                  <a:lnTo>
                    <a:pt x="83" y="406"/>
                  </a:lnTo>
                  <a:lnTo>
                    <a:pt x="86" y="424"/>
                  </a:lnTo>
                  <a:lnTo>
                    <a:pt x="95" y="450"/>
                  </a:lnTo>
                  <a:lnTo>
                    <a:pt x="109" y="437"/>
                  </a:lnTo>
                  <a:lnTo>
                    <a:pt x="139" y="436"/>
                  </a:lnTo>
                  <a:lnTo>
                    <a:pt x="142" y="439"/>
                  </a:lnTo>
                  <a:lnTo>
                    <a:pt x="149" y="433"/>
                  </a:lnTo>
                  <a:lnTo>
                    <a:pt x="158" y="401"/>
                  </a:lnTo>
                  <a:lnTo>
                    <a:pt x="207" y="382"/>
                  </a:lnTo>
                  <a:lnTo>
                    <a:pt x="240" y="391"/>
                  </a:lnTo>
                  <a:lnTo>
                    <a:pt x="260" y="373"/>
                  </a:lnTo>
                  <a:lnTo>
                    <a:pt x="284" y="367"/>
                  </a:lnTo>
                  <a:lnTo>
                    <a:pt x="288" y="373"/>
                  </a:lnTo>
                  <a:lnTo>
                    <a:pt x="294" y="376"/>
                  </a:lnTo>
                  <a:lnTo>
                    <a:pt x="300" y="371"/>
                  </a:lnTo>
                  <a:lnTo>
                    <a:pt x="314" y="376"/>
                  </a:lnTo>
                  <a:lnTo>
                    <a:pt x="320" y="385"/>
                  </a:lnTo>
                  <a:lnTo>
                    <a:pt x="317" y="391"/>
                  </a:lnTo>
                  <a:lnTo>
                    <a:pt x="338" y="401"/>
                  </a:lnTo>
                  <a:lnTo>
                    <a:pt x="353" y="401"/>
                  </a:lnTo>
                  <a:lnTo>
                    <a:pt x="377" y="421"/>
                  </a:lnTo>
                  <a:lnTo>
                    <a:pt x="406" y="421"/>
                  </a:lnTo>
                  <a:lnTo>
                    <a:pt x="425" y="416"/>
                  </a:lnTo>
                  <a:lnTo>
                    <a:pt x="441" y="427"/>
                  </a:lnTo>
                  <a:lnTo>
                    <a:pt x="453" y="453"/>
                  </a:lnTo>
                  <a:lnTo>
                    <a:pt x="484" y="468"/>
                  </a:lnTo>
                  <a:lnTo>
                    <a:pt x="498" y="490"/>
                  </a:lnTo>
                  <a:lnTo>
                    <a:pt x="539" y="492"/>
                  </a:lnTo>
                  <a:lnTo>
                    <a:pt x="552" y="499"/>
                  </a:lnTo>
                  <a:lnTo>
                    <a:pt x="552" y="514"/>
                  </a:lnTo>
                  <a:lnTo>
                    <a:pt x="551" y="539"/>
                  </a:lnTo>
                  <a:lnTo>
                    <a:pt x="555" y="570"/>
                  </a:lnTo>
                  <a:lnTo>
                    <a:pt x="567" y="584"/>
                  </a:lnTo>
                  <a:lnTo>
                    <a:pt x="609" y="593"/>
                  </a:lnTo>
                  <a:lnTo>
                    <a:pt x="625" y="591"/>
                  </a:lnTo>
                  <a:lnTo>
                    <a:pt x="631" y="605"/>
                  </a:lnTo>
                  <a:lnTo>
                    <a:pt x="631" y="612"/>
                  </a:lnTo>
                  <a:lnTo>
                    <a:pt x="647" y="606"/>
                  </a:lnTo>
                  <a:lnTo>
                    <a:pt x="665" y="599"/>
                  </a:lnTo>
                  <a:lnTo>
                    <a:pt x="677" y="573"/>
                  </a:lnTo>
                  <a:lnTo>
                    <a:pt x="679" y="552"/>
                  </a:lnTo>
                  <a:lnTo>
                    <a:pt x="741" y="540"/>
                  </a:lnTo>
                  <a:lnTo>
                    <a:pt x="768" y="516"/>
                  </a:lnTo>
                  <a:lnTo>
                    <a:pt x="784" y="490"/>
                  </a:lnTo>
                  <a:lnTo>
                    <a:pt x="789" y="453"/>
                  </a:lnTo>
                  <a:lnTo>
                    <a:pt x="839" y="453"/>
                  </a:lnTo>
                  <a:lnTo>
                    <a:pt x="863" y="439"/>
                  </a:lnTo>
                  <a:lnTo>
                    <a:pt x="892" y="442"/>
                  </a:lnTo>
                  <a:lnTo>
                    <a:pt x="902" y="442"/>
                  </a:lnTo>
                  <a:lnTo>
                    <a:pt x="902" y="392"/>
                  </a:lnTo>
                  <a:lnTo>
                    <a:pt x="863" y="379"/>
                  </a:lnTo>
                  <a:lnTo>
                    <a:pt x="780" y="333"/>
                  </a:lnTo>
                  <a:lnTo>
                    <a:pt x="780" y="333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960" name="Freeform 305"/>
            <p:cNvSpPr>
              <a:spLocks/>
            </p:cNvSpPr>
            <p:nvPr userDrawn="1"/>
          </p:nvSpPr>
          <p:spPr bwMode="auto">
            <a:xfrm>
              <a:off x="5685" y="4039"/>
              <a:ext cx="251" cy="278"/>
            </a:xfrm>
            <a:custGeom>
              <a:avLst/>
              <a:gdLst>
                <a:gd name="T0" fmla="*/ 166 w 251"/>
                <a:gd name="T1" fmla="*/ 252 h 278"/>
                <a:gd name="T2" fmla="*/ 185 w 251"/>
                <a:gd name="T3" fmla="*/ 219 h 278"/>
                <a:gd name="T4" fmla="*/ 172 w 251"/>
                <a:gd name="T5" fmla="*/ 209 h 278"/>
                <a:gd name="T6" fmla="*/ 150 w 251"/>
                <a:gd name="T7" fmla="*/ 184 h 278"/>
                <a:gd name="T8" fmla="*/ 131 w 251"/>
                <a:gd name="T9" fmla="*/ 156 h 278"/>
                <a:gd name="T10" fmla="*/ 132 w 251"/>
                <a:gd name="T11" fmla="*/ 138 h 278"/>
                <a:gd name="T12" fmla="*/ 176 w 251"/>
                <a:gd name="T13" fmla="*/ 129 h 278"/>
                <a:gd name="T14" fmla="*/ 251 w 251"/>
                <a:gd name="T15" fmla="*/ 97 h 278"/>
                <a:gd name="T16" fmla="*/ 230 w 251"/>
                <a:gd name="T17" fmla="*/ 41 h 278"/>
                <a:gd name="T18" fmla="*/ 223 w 251"/>
                <a:gd name="T19" fmla="*/ 0 h 278"/>
                <a:gd name="T20" fmla="*/ 105 w 251"/>
                <a:gd name="T21" fmla="*/ 80 h 278"/>
                <a:gd name="T22" fmla="*/ 80 w 251"/>
                <a:gd name="T23" fmla="*/ 80 h 278"/>
                <a:gd name="T24" fmla="*/ 48 w 251"/>
                <a:gd name="T25" fmla="*/ 46 h 278"/>
                <a:gd name="T26" fmla="*/ 33 w 251"/>
                <a:gd name="T27" fmla="*/ 40 h 278"/>
                <a:gd name="T28" fmla="*/ 21 w 251"/>
                <a:gd name="T29" fmla="*/ 56 h 278"/>
                <a:gd name="T30" fmla="*/ 18 w 251"/>
                <a:gd name="T31" fmla="*/ 139 h 278"/>
                <a:gd name="T32" fmla="*/ 16 w 251"/>
                <a:gd name="T33" fmla="*/ 166 h 278"/>
                <a:gd name="T34" fmla="*/ 1 w 251"/>
                <a:gd name="T35" fmla="*/ 233 h 278"/>
                <a:gd name="T36" fmla="*/ 0 w 251"/>
                <a:gd name="T37" fmla="*/ 278 h 278"/>
                <a:gd name="T38" fmla="*/ 122 w 251"/>
                <a:gd name="T39" fmla="*/ 278 h 278"/>
                <a:gd name="T40" fmla="*/ 125 w 251"/>
                <a:gd name="T41" fmla="*/ 276 h 278"/>
                <a:gd name="T42" fmla="*/ 166 w 251"/>
                <a:gd name="T43" fmla="*/ 252 h 278"/>
                <a:gd name="T44" fmla="*/ 166 w 251"/>
                <a:gd name="T45" fmla="*/ 252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51" h="278">
                  <a:moveTo>
                    <a:pt x="166" y="252"/>
                  </a:moveTo>
                  <a:lnTo>
                    <a:pt x="185" y="219"/>
                  </a:lnTo>
                  <a:lnTo>
                    <a:pt x="172" y="209"/>
                  </a:lnTo>
                  <a:lnTo>
                    <a:pt x="150" y="184"/>
                  </a:lnTo>
                  <a:lnTo>
                    <a:pt x="131" y="156"/>
                  </a:lnTo>
                  <a:lnTo>
                    <a:pt x="132" y="138"/>
                  </a:lnTo>
                  <a:lnTo>
                    <a:pt x="176" y="129"/>
                  </a:lnTo>
                  <a:lnTo>
                    <a:pt x="251" y="97"/>
                  </a:lnTo>
                  <a:lnTo>
                    <a:pt x="230" y="41"/>
                  </a:lnTo>
                  <a:lnTo>
                    <a:pt x="223" y="0"/>
                  </a:lnTo>
                  <a:lnTo>
                    <a:pt x="105" y="80"/>
                  </a:lnTo>
                  <a:lnTo>
                    <a:pt x="80" y="80"/>
                  </a:lnTo>
                  <a:lnTo>
                    <a:pt x="48" y="46"/>
                  </a:lnTo>
                  <a:lnTo>
                    <a:pt x="33" y="40"/>
                  </a:lnTo>
                  <a:lnTo>
                    <a:pt x="21" y="56"/>
                  </a:lnTo>
                  <a:lnTo>
                    <a:pt x="18" y="139"/>
                  </a:lnTo>
                  <a:lnTo>
                    <a:pt x="16" y="166"/>
                  </a:lnTo>
                  <a:lnTo>
                    <a:pt x="1" y="233"/>
                  </a:lnTo>
                  <a:lnTo>
                    <a:pt x="0" y="278"/>
                  </a:lnTo>
                  <a:lnTo>
                    <a:pt x="122" y="278"/>
                  </a:lnTo>
                  <a:lnTo>
                    <a:pt x="125" y="276"/>
                  </a:lnTo>
                  <a:lnTo>
                    <a:pt x="166" y="252"/>
                  </a:lnTo>
                  <a:lnTo>
                    <a:pt x="166" y="252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961" name="Freeform 306"/>
            <p:cNvSpPr>
              <a:spLocks/>
            </p:cNvSpPr>
            <p:nvPr userDrawn="1"/>
          </p:nvSpPr>
          <p:spPr bwMode="auto">
            <a:xfrm>
              <a:off x="7289" y="3715"/>
              <a:ext cx="391" cy="602"/>
            </a:xfrm>
            <a:custGeom>
              <a:avLst/>
              <a:gdLst>
                <a:gd name="T0" fmla="*/ 352 w 391"/>
                <a:gd name="T1" fmla="*/ 0 h 602"/>
                <a:gd name="T2" fmla="*/ 328 w 391"/>
                <a:gd name="T3" fmla="*/ 14 h 602"/>
                <a:gd name="T4" fmla="*/ 278 w 391"/>
                <a:gd name="T5" fmla="*/ 14 h 602"/>
                <a:gd name="T6" fmla="*/ 273 w 391"/>
                <a:gd name="T7" fmla="*/ 51 h 602"/>
                <a:gd name="T8" fmla="*/ 257 w 391"/>
                <a:gd name="T9" fmla="*/ 77 h 602"/>
                <a:gd name="T10" fmla="*/ 230 w 391"/>
                <a:gd name="T11" fmla="*/ 101 h 602"/>
                <a:gd name="T12" fmla="*/ 168 w 391"/>
                <a:gd name="T13" fmla="*/ 113 h 602"/>
                <a:gd name="T14" fmla="*/ 166 w 391"/>
                <a:gd name="T15" fmla="*/ 134 h 602"/>
                <a:gd name="T16" fmla="*/ 154 w 391"/>
                <a:gd name="T17" fmla="*/ 160 h 602"/>
                <a:gd name="T18" fmla="*/ 136 w 391"/>
                <a:gd name="T19" fmla="*/ 167 h 602"/>
                <a:gd name="T20" fmla="*/ 120 w 391"/>
                <a:gd name="T21" fmla="*/ 173 h 602"/>
                <a:gd name="T22" fmla="*/ 120 w 391"/>
                <a:gd name="T23" fmla="*/ 166 h 602"/>
                <a:gd name="T24" fmla="*/ 114 w 391"/>
                <a:gd name="T25" fmla="*/ 152 h 602"/>
                <a:gd name="T26" fmla="*/ 98 w 391"/>
                <a:gd name="T27" fmla="*/ 154 h 602"/>
                <a:gd name="T28" fmla="*/ 56 w 391"/>
                <a:gd name="T29" fmla="*/ 145 h 602"/>
                <a:gd name="T30" fmla="*/ 44 w 391"/>
                <a:gd name="T31" fmla="*/ 131 h 602"/>
                <a:gd name="T32" fmla="*/ 43 w 391"/>
                <a:gd name="T33" fmla="*/ 158 h 602"/>
                <a:gd name="T34" fmla="*/ 35 w 391"/>
                <a:gd name="T35" fmla="*/ 195 h 602"/>
                <a:gd name="T36" fmla="*/ 17 w 391"/>
                <a:gd name="T37" fmla="*/ 216 h 602"/>
                <a:gd name="T38" fmla="*/ 16 w 391"/>
                <a:gd name="T39" fmla="*/ 232 h 602"/>
                <a:gd name="T40" fmla="*/ 2 w 391"/>
                <a:gd name="T41" fmla="*/ 263 h 602"/>
                <a:gd name="T42" fmla="*/ 0 w 391"/>
                <a:gd name="T43" fmla="*/ 279 h 602"/>
                <a:gd name="T44" fmla="*/ 8 w 391"/>
                <a:gd name="T45" fmla="*/ 291 h 602"/>
                <a:gd name="T46" fmla="*/ 26 w 391"/>
                <a:gd name="T47" fmla="*/ 291 h 602"/>
                <a:gd name="T48" fmla="*/ 25 w 391"/>
                <a:gd name="T49" fmla="*/ 305 h 602"/>
                <a:gd name="T50" fmla="*/ 8 w 391"/>
                <a:gd name="T51" fmla="*/ 332 h 602"/>
                <a:gd name="T52" fmla="*/ 23 w 391"/>
                <a:gd name="T53" fmla="*/ 382 h 602"/>
                <a:gd name="T54" fmla="*/ 23 w 391"/>
                <a:gd name="T55" fmla="*/ 421 h 602"/>
                <a:gd name="T56" fmla="*/ 29 w 391"/>
                <a:gd name="T57" fmla="*/ 439 h 602"/>
                <a:gd name="T58" fmla="*/ 50 w 391"/>
                <a:gd name="T59" fmla="*/ 451 h 602"/>
                <a:gd name="T60" fmla="*/ 83 w 391"/>
                <a:gd name="T61" fmla="*/ 462 h 602"/>
                <a:gd name="T62" fmla="*/ 83 w 391"/>
                <a:gd name="T63" fmla="*/ 498 h 602"/>
                <a:gd name="T64" fmla="*/ 73 w 391"/>
                <a:gd name="T65" fmla="*/ 519 h 602"/>
                <a:gd name="T66" fmla="*/ 31 w 391"/>
                <a:gd name="T67" fmla="*/ 569 h 602"/>
                <a:gd name="T68" fmla="*/ 40 w 391"/>
                <a:gd name="T69" fmla="*/ 582 h 602"/>
                <a:gd name="T70" fmla="*/ 74 w 391"/>
                <a:gd name="T71" fmla="*/ 590 h 602"/>
                <a:gd name="T72" fmla="*/ 112 w 391"/>
                <a:gd name="T73" fmla="*/ 602 h 602"/>
                <a:gd name="T74" fmla="*/ 151 w 391"/>
                <a:gd name="T75" fmla="*/ 602 h 602"/>
                <a:gd name="T76" fmla="*/ 204 w 391"/>
                <a:gd name="T77" fmla="*/ 599 h 602"/>
                <a:gd name="T78" fmla="*/ 212 w 391"/>
                <a:gd name="T79" fmla="*/ 602 h 602"/>
                <a:gd name="T80" fmla="*/ 245 w 391"/>
                <a:gd name="T81" fmla="*/ 602 h 602"/>
                <a:gd name="T82" fmla="*/ 249 w 391"/>
                <a:gd name="T83" fmla="*/ 600 h 602"/>
                <a:gd name="T84" fmla="*/ 293 w 391"/>
                <a:gd name="T85" fmla="*/ 596 h 602"/>
                <a:gd name="T86" fmla="*/ 391 w 391"/>
                <a:gd name="T87" fmla="*/ 570 h 602"/>
                <a:gd name="T88" fmla="*/ 391 w 391"/>
                <a:gd name="T89" fmla="*/ 3 h 602"/>
                <a:gd name="T90" fmla="*/ 381 w 391"/>
                <a:gd name="T91" fmla="*/ 3 h 602"/>
                <a:gd name="T92" fmla="*/ 352 w 391"/>
                <a:gd name="T93" fmla="*/ 0 h 602"/>
                <a:gd name="T94" fmla="*/ 352 w 391"/>
                <a:gd name="T95" fmla="*/ 0 h 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91" h="602">
                  <a:moveTo>
                    <a:pt x="352" y="0"/>
                  </a:moveTo>
                  <a:lnTo>
                    <a:pt x="328" y="14"/>
                  </a:lnTo>
                  <a:lnTo>
                    <a:pt x="278" y="14"/>
                  </a:lnTo>
                  <a:lnTo>
                    <a:pt x="273" y="51"/>
                  </a:lnTo>
                  <a:lnTo>
                    <a:pt x="257" y="77"/>
                  </a:lnTo>
                  <a:lnTo>
                    <a:pt x="230" y="101"/>
                  </a:lnTo>
                  <a:lnTo>
                    <a:pt x="168" y="113"/>
                  </a:lnTo>
                  <a:lnTo>
                    <a:pt x="166" y="134"/>
                  </a:lnTo>
                  <a:lnTo>
                    <a:pt x="154" y="160"/>
                  </a:lnTo>
                  <a:lnTo>
                    <a:pt x="136" y="167"/>
                  </a:lnTo>
                  <a:lnTo>
                    <a:pt x="120" y="173"/>
                  </a:lnTo>
                  <a:lnTo>
                    <a:pt x="120" y="166"/>
                  </a:lnTo>
                  <a:lnTo>
                    <a:pt x="114" y="152"/>
                  </a:lnTo>
                  <a:lnTo>
                    <a:pt x="98" y="154"/>
                  </a:lnTo>
                  <a:lnTo>
                    <a:pt x="56" y="145"/>
                  </a:lnTo>
                  <a:lnTo>
                    <a:pt x="44" y="131"/>
                  </a:lnTo>
                  <a:lnTo>
                    <a:pt x="43" y="158"/>
                  </a:lnTo>
                  <a:lnTo>
                    <a:pt x="35" y="195"/>
                  </a:lnTo>
                  <a:lnTo>
                    <a:pt x="17" y="216"/>
                  </a:lnTo>
                  <a:lnTo>
                    <a:pt x="16" y="232"/>
                  </a:lnTo>
                  <a:lnTo>
                    <a:pt x="2" y="263"/>
                  </a:lnTo>
                  <a:lnTo>
                    <a:pt x="0" y="279"/>
                  </a:lnTo>
                  <a:lnTo>
                    <a:pt x="8" y="291"/>
                  </a:lnTo>
                  <a:lnTo>
                    <a:pt x="26" y="291"/>
                  </a:lnTo>
                  <a:lnTo>
                    <a:pt x="25" y="305"/>
                  </a:lnTo>
                  <a:lnTo>
                    <a:pt x="8" y="332"/>
                  </a:lnTo>
                  <a:lnTo>
                    <a:pt x="23" y="382"/>
                  </a:lnTo>
                  <a:lnTo>
                    <a:pt x="23" y="421"/>
                  </a:lnTo>
                  <a:lnTo>
                    <a:pt x="29" y="439"/>
                  </a:lnTo>
                  <a:lnTo>
                    <a:pt x="50" y="451"/>
                  </a:lnTo>
                  <a:lnTo>
                    <a:pt x="83" y="462"/>
                  </a:lnTo>
                  <a:lnTo>
                    <a:pt x="83" y="498"/>
                  </a:lnTo>
                  <a:lnTo>
                    <a:pt x="73" y="519"/>
                  </a:lnTo>
                  <a:lnTo>
                    <a:pt x="31" y="569"/>
                  </a:lnTo>
                  <a:lnTo>
                    <a:pt x="40" y="582"/>
                  </a:lnTo>
                  <a:lnTo>
                    <a:pt x="74" y="590"/>
                  </a:lnTo>
                  <a:lnTo>
                    <a:pt x="112" y="602"/>
                  </a:lnTo>
                  <a:lnTo>
                    <a:pt x="151" y="602"/>
                  </a:lnTo>
                  <a:lnTo>
                    <a:pt x="204" y="599"/>
                  </a:lnTo>
                  <a:lnTo>
                    <a:pt x="212" y="602"/>
                  </a:lnTo>
                  <a:lnTo>
                    <a:pt x="245" y="602"/>
                  </a:lnTo>
                  <a:lnTo>
                    <a:pt x="249" y="600"/>
                  </a:lnTo>
                  <a:lnTo>
                    <a:pt x="293" y="596"/>
                  </a:lnTo>
                  <a:lnTo>
                    <a:pt x="391" y="570"/>
                  </a:lnTo>
                  <a:lnTo>
                    <a:pt x="391" y="3"/>
                  </a:lnTo>
                  <a:lnTo>
                    <a:pt x="381" y="3"/>
                  </a:lnTo>
                  <a:lnTo>
                    <a:pt x="352" y="0"/>
                  </a:lnTo>
                  <a:lnTo>
                    <a:pt x="352" y="0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962" name="Freeform 307"/>
            <p:cNvSpPr>
              <a:spLocks/>
            </p:cNvSpPr>
            <p:nvPr userDrawn="1"/>
          </p:nvSpPr>
          <p:spPr bwMode="auto">
            <a:xfrm>
              <a:off x="5484" y="4186"/>
              <a:ext cx="187" cy="131"/>
            </a:xfrm>
            <a:custGeom>
              <a:avLst/>
              <a:gdLst>
                <a:gd name="T0" fmla="*/ 149 w 187"/>
                <a:gd name="T1" fmla="*/ 10 h 131"/>
                <a:gd name="T2" fmla="*/ 149 w 187"/>
                <a:gd name="T3" fmla="*/ 9 h 131"/>
                <a:gd name="T4" fmla="*/ 145 w 187"/>
                <a:gd name="T5" fmla="*/ 0 h 131"/>
                <a:gd name="T6" fmla="*/ 140 w 187"/>
                <a:gd name="T7" fmla="*/ 4 h 131"/>
                <a:gd name="T8" fmla="*/ 128 w 187"/>
                <a:gd name="T9" fmla="*/ 21 h 131"/>
                <a:gd name="T10" fmla="*/ 112 w 187"/>
                <a:gd name="T11" fmla="*/ 25 h 131"/>
                <a:gd name="T12" fmla="*/ 90 w 187"/>
                <a:gd name="T13" fmla="*/ 24 h 131"/>
                <a:gd name="T14" fmla="*/ 89 w 187"/>
                <a:gd name="T15" fmla="*/ 31 h 131"/>
                <a:gd name="T16" fmla="*/ 83 w 187"/>
                <a:gd name="T17" fmla="*/ 36 h 131"/>
                <a:gd name="T18" fmla="*/ 71 w 187"/>
                <a:gd name="T19" fmla="*/ 28 h 131"/>
                <a:gd name="T20" fmla="*/ 65 w 187"/>
                <a:gd name="T21" fmla="*/ 37 h 131"/>
                <a:gd name="T22" fmla="*/ 57 w 187"/>
                <a:gd name="T23" fmla="*/ 31 h 131"/>
                <a:gd name="T24" fmla="*/ 71 w 187"/>
                <a:gd name="T25" fmla="*/ 22 h 131"/>
                <a:gd name="T26" fmla="*/ 71 w 187"/>
                <a:gd name="T27" fmla="*/ 21 h 131"/>
                <a:gd name="T28" fmla="*/ 57 w 187"/>
                <a:gd name="T29" fmla="*/ 22 h 131"/>
                <a:gd name="T30" fmla="*/ 54 w 187"/>
                <a:gd name="T31" fmla="*/ 27 h 131"/>
                <a:gd name="T32" fmla="*/ 45 w 187"/>
                <a:gd name="T33" fmla="*/ 31 h 131"/>
                <a:gd name="T34" fmla="*/ 14 w 187"/>
                <a:gd name="T35" fmla="*/ 19 h 131"/>
                <a:gd name="T36" fmla="*/ 14 w 187"/>
                <a:gd name="T37" fmla="*/ 24 h 131"/>
                <a:gd name="T38" fmla="*/ 12 w 187"/>
                <a:gd name="T39" fmla="*/ 24 h 131"/>
                <a:gd name="T40" fmla="*/ 0 w 187"/>
                <a:gd name="T41" fmla="*/ 30 h 131"/>
                <a:gd name="T42" fmla="*/ 3 w 187"/>
                <a:gd name="T43" fmla="*/ 42 h 131"/>
                <a:gd name="T44" fmla="*/ 12 w 187"/>
                <a:gd name="T45" fmla="*/ 71 h 131"/>
                <a:gd name="T46" fmla="*/ 20 w 187"/>
                <a:gd name="T47" fmla="*/ 81 h 131"/>
                <a:gd name="T48" fmla="*/ 26 w 187"/>
                <a:gd name="T49" fmla="*/ 95 h 131"/>
                <a:gd name="T50" fmla="*/ 50 w 187"/>
                <a:gd name="T51" fmla="*/ 113 h 131"/>
                <a:gd name="T52" fmla="*/ 51 w 187"/>
                <a:gd name="T53" fmla="*/ 131 h 131"/>
                <a:gd name="T54" fmla="*/ 187 w 187"/>
                <a:gd name="T55" fmla="*/ 131 h 131"/>
                <a:gd name="T56" fmla="*/ 166 w 187"/>
                <a:gd name="T57" fmla="*/ 53 h 131"/>
                <a:gd name="T58" fmla="*/ 149 w 187"/>
                <a:gd name="T59" fmla="*/ 10 h 131"/>
                <a:gd name="T60" fmla="*/ 149 w 187"/>
                <a:gd name="T61" fmla="*/ 10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87" h="131">
                  <a:moveTo>
                    <a:pt x="149" y="10"/>
                  </a:moveTo>
                  <a:lnTo>
                    <a:pt x="149" y="9"/>
                  </a:lnTo>
                  <a:lnTo>
                    <a:pt x="145" y="0"/>
                  </a:lnTo>
                  <a:lnTo>
                    <a:pt x="140" y="4"/>
                  </a:lnTo>
                  <a:lnTo>
                    <a:pt x="128" y="21"/>
                  </a:lnTo>
                  <a:lnTo>
                    <a:pt x="112" y="25"/>
                  </a:lnTo>
                  <a:lnTo>
                    <a:pt x="90" y="24"/>
                  </a:lnTo>
                  <a:lnTo>
                    <a:pt x="89" y="31"/>
                  </a:lnTo>
                  <a:lnTo>
                    <a:pt x="83" y="36"/>
                  </a:lnTo>
                  <a:lnTo>
                    <a:pt x="71" y="28"/>
                  </a:lnTo>
                  <a:lnTo>
                    <a:pt x="65" y="37"/>
                  </a:lnTo>
                  <a:lnTo>
                    <a:pt x="57" y="31"/>
                  </a:lnTo>
                  <a:lnTo>
                    <a:pt x="71" y="22"/>
                  </a:lnTo>
                  <a:lnTo>
                    <a:pt x="71" y="21"/>
                  </a:lnTo>
                  <a:lnTo>
                    <a:pt x="57" y="22"/>
                  </a:lnTo>
                  <a:lnTo>
                    <a:pt x="54" y="27"/>
                  </a:lnTo>
                  <a:lnTo>
                    <a:pt x="45" y="31"/>
                  </a:lnTo>
                  <a:lnTo>
                    <a:pt x="14" y="19"/>
                  </a:lnTo>
                  <a:lnTo>
                    <a:pt x="14" y="24"/>
                  </a:lnTo>
                  <a:lnTo>
                    <a:pt x="12" y="24"/>
                  </a:lnTo>
                  <a:lnTo>
                    <a:pt x="0" y="30"/>
                  </a:lnTo>
                  <a:lnTo>
                    <a:pt x="3" y="42"/>
                  </a:lnTo>
                  <a:lnTo>
                    <a:pt x="12" y="71"/>
                  </a:lnTo>
                  <a:lnTo>
                    <a:pt x="20" y="81"/>
                  </a:lnTo>
                  <a:lnTo>
                    <a:pt x="26" y="95"/>
                  </a:lnTo>
                  <a:lnTo>
                    <a:pt x="50" y="113"/>
                  </a:lnTo>
                  <a:lnTo>
                    <a:pt x="51" y="131"/>
                  </a:lnTo>
                  <a:lnTo>
                    <a:pt x="187" y="131"/>
                  </a:lnTo>
                  <a:lnTo>
                    <a:pt x="166" y="53"/>
                  </a:lnTo>
                  <a:lnTo>
                    <a:pt x="149" y="10"/>
                  </a:lnTo>
                  <a:lnTo>
                    <a:pt x="149" y="10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963" name="Freeform 308"/>
            <p:cNvSpPr>
              <a:spLocks/>
            </p:cNvSpPr>
            <p:nvPr userDrawn="1"/>
          </p:nvSpPr>
          <p:spPr bwMode="auto">
            <a:xfrm>
              <a:off x="5807" y="4136"/>
              <a:ext cx="458" cy="181"/>
            </a:xfrm>
            <a:custGeom>
              <a:avLst/>
              <a:gdLst>
                <a:gd name="T0" fmla="*/ 129 w 458"/>
                <a:gd name="T1" fmla="*/ 0 h 181"/>
                <a:gd name="T2" fmla="*/ 54 w 458"/>
                <a:gd name="T3" fmla="*/ 32 h 181"/>
                <a:gd name="T4" fmla="*/ 10 w 458"/>
                <a:gd name="T5" fmla="*/ 41 h 181"/>
                <a:gd name="T6" fmla="*/ 9 w 458"/>
                <a:gd name="T7" fmla="*/ 59 h 181"/>
                <a:gd name="T8" fmla="*/ 28 w 458"/>
                <a:gd name="T9" fmla="*/ 87 h 181"/>
                <a:gd name="T10" fmla="*/ 50 w 458"/>
                <a:gd name="T11" fmla="*/ 112 h 181"/>
                <a:gd name="T12" fmla="*/ 63 w 458"/>
                <a:gd name="T13" fmla="*/ 122 h 181"/>
                <a:gd name="T14" fmla="*/ 44 w 458"/>
                <a:gd name="T15" fmla="*/ 155 h 181"/>
                <a:gd name="T16" fmla="*/ 3 w 458"/>
                <a:gd name="T17" fmla="*/ 179 h 181"/>
                <a:gd name="T18" fmla="*/ 0 w 458"/>
                <a:gd name="T19" fmla="*/ 181 h 181"/>
                <a:gd name="T20" fmla="*/ 458 w 458"/>
                <a:gd name="T21" fmla="*/ 181 h 181"/>
                <a:gd name="T22" fmla="*/ 243 w 458"/>
                <a:gd name="T23" fmla="*/ 10 h 181"/>
                <a:gd name="T24" fmla="*/ 129 w 458"/>
                <a:gd name="T25" fmla="*/ 0 h 181"/>
                <a:gd name="T26" fmla="*/ 129 w 458"/>
                <a:gd name="T27" fmla="*/ 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58" h="181">
                  <a:moveTo>
                    <a:pt x="129" y="0"/>
                  </a:moveTo>
                  <a:lnTo>
                    <a:pt x="54" y="32"/>
                  </a:lnTo>
                  <a:lnTo>
                    <a:pt x="10" y="41"/>
                  </a:lnTo>
                  <a:lnTo>
                    <a:pt x="9" y="59"/>
                  </a:lnTo>
                  <a:lnTo>
                    <a:pt x="28" y="87"/>
                  </a:lnTo>
                  <a:lnTo>
                    <a:pt x="50" y="112"/>
                  </a:lnTo>
                  <a:lnTo>
                    <a:pt x="63" y="122"/>
                  </a:lnTo>
                  <a:lnTo>
                    <a:pt x="44" y="155"/>
                  </a:lnTo>
                  <a:lnTo>
                    <a:pt x="3" y="179"/>
                  </a:lnTo>
                  <a:lnTo>
                    <a:pt x="0" y="181"/>
                  </a:lnTo>
                  <a:lnTo>
                    <a:pt x="458" y="181"/>
                  </a:lnTo>
                  <a:lnTo>
                    <a:pt x="243" y="10"/>
                  </a:lnTo>
                  <a:lnTo>
                    <a:pt x="129" y="0"/>
                  </a:lnTo>
                  <a:lnTo>
                    <a:pt x="129" y="0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964" name="Freeform 309"/>
            <p:cNvSpPr>
              <a:spLocks/>
            </p:cNvSpPr>
            <p:nvPr userDrawn="1"/>
          </p:nvSpPr>
          <p:spPr bwMode="auto">
            <a:xfrm>
              <a:off x="5694" y="3944"/>
              <a:ext cx="72" cy="91"/>
            </a:xfrm>
            <a:custGeom>
              <a:avLst/>
              <a:gdLst>
                <a:gd name="T0" fmla="*/ 43 w 72"/>
                <a:gd name="T1" fmla="*/ 73 h 91"/>
                <a:gd name="T2" fmla="*/ 48 w 72"/>
                <a:gd name="T3" fmla="*/ 52 h 91"/>
                <a:gd name="T4" fmla="*/ 68 w 72"/>
                <a:gd name="T5" fmla="*/ 41 h 91"/>
                <a:gd name="T6" fmla="*/ 72 w 72"/>
                <a:gd name="T7" fmla="*/ 24 h 91"/>
                <a:gd name="T8" fmla="*/ 64 w 72"/>
                <a:gd name="T9" fmla="*/ 3 h 91"/>
                <a:gd name="T10" fmla="*/ 52 w 72"/>
                <a:gd name="T11" fmla="*/ 0 h 91"/>
                <a:gd name="T12" fmla="*/ 42 w 72"/>
                <a:gd name="T13" fmla="*/ 0 h 91"/>
                <a:gd name="T14" fmla="*/ 36 w 72"/>
                <a:gd name="T15" fmla="*/ 12 h 91"/>
                <a:gd name="T16" fmla="*/ 22 w 72"/>
                <a:gd name="T17" fmla="*/ 26 h 91"/>
                <a:gd name="T18" fmla="*/ 19 w 72"/>
                <a:gd name="T19" fmla="*/ 43 h 91"/>
                <a:gd name="T20" fmla="*/ 1 w 72"/>
                <a:gd name="T21" fmla="*/ 77 h 91"/>
                <a:gd name="T22" fmla="*/ 0 w 72"/>
                <a:gd name="T23" fmla="*/ 88 h 91"/>
                <a:gd name="T24" fmla="*/ 25 w 72"/>
                <a:gd name="T25" fmla="*/ 91 h 91"/>
                <a:gd name="T26" fmla="*/ 43 w 72"/>
                <a:gd name="T27" fmla="*/ 73 h 91"/>
                <a:gd name="T28" fmla="*/ 43 w 72"/>
                <a:gd name="T29" fmla="*/ 73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2" h="91">
                  <a:moveTo>
                    <a:pt x="43" y="73"/>
                  </a:moveTo>
                  <a:lnTo>
                    <a:pt x="48" y="52"/>
                  </a:lnTo>
                  <a:lnTo>
                    <a:pt x="68" y="41"/>
                  </a:lnTo>
                  <a:lnTo>
                    <a:pt x="72" y="24"/>
                  </a:lnTo>
                  <a:lnTo>
                    <a:pt x="64" y="3"/>
                  </a:lnTo>
                  <a:lnTo>
                    <a:pt x="52" y="0"/>
                  </a:lnTo>
                  <a:lnTo>
                    <a:pt x="42" y="0"/>
                  </a:lnTo>
                  <a:lnTo>
                    <a:pt x="36" y="12"/>
                  </a:lnTo>
                  <a:lnTo>
                    <a:pt x="22" y="26"/>
                  </a:lnTo>
                  <a:lnTo>
                    <a:pt x="19" y="43"/>
                  </a:lnTo>
                  <a:lnTo>
                    <a:pt x="1" y="77"/>
                  </a:lnTo>
                  <a:lnTo>
                    <a:pt x="0" y="88"/>
                  </a:lnTo>
                  <a:lnTo>
                    <a:pt x="25" y="91"/>
                  </a:lnTo>
                  <a:lnTo>
                    <a:pt x="43" y="73"/>
                  </a:lnTo>
                  <a:lnTo>
                    <a:pt x="43" y="73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965" name="Freeform 310"/>
            <p:cNvSpPr>
              <a:spLocks/>
            </p:cNvSpPr>
            <p:nvPr userDrawn="1"/>
          </p:nvSpPr>
          <p:spPr bwMode="auto">
            <a:xfrm>
              <a:off x="5110" y="3353"/>
              <a:ext cx="1188" cy="493"/>
            </a:xfrm>
            <a:custGeom>
              <a:avLst/>
              <a:gdLst>
                <a:gd name="T0" fmla="*/ 670 w 1188"/>
                <a:gd name="T1" fmla="*/ 431 h 493"/>
                <a:gd name="T2" fmla="*/ 805 w 1188"/>
                <a:gd name="T3" fmla="*/ 407 h 493"/>
                <a:gd name="T4" fmla="*/ 1033 w 1188"/>
                <a:gd name="T5" fmla="*/ 392 h 493"/>
                <a:gd name="T6" fmla="*/ 1173 w 1188"/>
                <a:gd name="T7" fmla="*/ 362 h 493"/>
                <a:gd name="T8" fmla="*/ 1167 w 1188"/>
                <a:gd name="T9" fmla="*/ 291 h 493"/>
                <a:gd name="T10" fmla="*/ 1160 w 1188"/>
                <a:gd name="T11" fmla="*/ 220 h 493"/>
                <a:gd name="T12" fmla="*/ 1163 w 1188"/>
                <a:gd name="T13" fmla="*/ 151 h 493"/>
                <a:gd name="T14" fmla="*/ 1101 w 1188"/>
                <a:gd name="T15" fmla="*/ 66 h 493"/>
                <a:gd name="T16" fmla="*/ 1032 w 1188"/>
                <a:gd name="T17" fmla="*/ 9 h 493"/>
                <a:gd name="T18" fmla="*/ 940 w 1188"/>
                <a:gd name="T19" fmla="*/ 69 h 493"/>
                <a:gd name="T20" fmla="*/ 766 w 1188"/>
                <a:gd name="T21" fmla="*/ 99 h 493"/>
                <a:gd name="T22" fmla="*/ 703 w 1188"/>
                <a:gd name="T23" fmla="*/ 77 h 493"/>
                <a:gd name="T24" fmla="*/ 650 w 1188"/>
                <a:gd name="T25" fmla="*/ 62 h 493"/>
                <a:gd name="T26" fmla="*/ 593 w 1188"/>
                <a:gd name="T27" fmla="*/ 27 h 493"/>
                <a:gd name="T28" fmla="*/ 507 w 1188"/>
                <a:gd name="T29" fmla="*/ 7 h 493"/>
                <a:gd name="T30" fmla="*/ 333 w 1188"/>
                <a:gd name="T31" fmla="*/ 68 h 493"/>
                <a:gd name="T32" fmla="*/ 234 w 1188"/>
                <a:gd name="T33" fmla="*/ 84 h 493"/>
                <a:gd name="T34" fmla="*/ 185 w 1188"/>
                <a:gd name="T35" fmla="*/ 92 h 493"/>
                <a:gd name="T36" fmla="*/ 202 w 1188"/>
                <a:gd name="T37" fmla="*/ 115 h 493"/>
                <a:gd name="T38" fmla="*/ 223 w 1188"/>
                <a:gd name="T39" fmla="*/ 118 h 493"/>
                <a:gd name="T40" fmla="*/ 169 w 1188"/>
                <a:gd name="T41" fmla="*/ 130 h 493"/>
                <a:gd name="T42" fmla="*/ 185 w 1188"/>
                <a:gd name="T43" fmla="*/ 145 h 493"/>
                <a:gd name="T44" fmla="*/ 119 w 1188"/>
                <a:gd name="T45" fmla="*/ 142 h 493"/>
                <a:gd name="T46" fmla="*/ 101 w 1188"/>
                <a:gd name="T47" fmla="*/ 152 h 493"/>
                <a:gd name="T48" fmla="*/ 51 w 1188"/>
                <a:gd name="T49" fmla="*/ 145 h 493"/>
                <a:gd name="T50" fmla="*/ 6 w 1188"/>
                <a:gd name="T51" fmla="*/ 181 h 493"/>
                <a:gd name="T52" fmla="*/ 10 w 1188"/>
                <a:gd name="T53" fmla="*/ 226 h 493"/>
                <a:gd name="T54" fmla="*/ 53 w 1188"/>
                <a:gd name="T55" fmla="*/ 223 h 493"/>
                <a:gd name="T56" fmla="*/ 35 w 1188"/>
                <a:gd name="T57" fmla="*/ 235 h 493"/>
                <a:gd name="T58" fmla="*/ 48 w 1188"/>
                <a:gd name="T59" fmla="*/ 267 h 493"/>
                <a:gd name="T60" fmla="*/ 41 w 1188"/>
                <a:gd name="T61" fmla="*/ 284 h 493"/>
                <a:gd name="T62" fmla="*/ 59 w 1188"/>
                <a:gd name="T63" fmla="*/ 308 h 493"/>
                <a:gd name="T64" fmla="*/ 39 w 1188"/>
                <a:gd name="T65" fmla="*/ 311 h 493"/>
                <a:gd name="T66" fmla="*/ 15 w 1188"/>
                <a:gd name="T67" fmla="*/ 288 h 493"/>
                <a:gd name="T68" fmla="*/ 20 w 1188"/>
                <a:gd name="T69" fmla="*/ 308 h 493"/>
                <a:gd name="T70" fmla="*/ 38 w 1188"/>
                <a:gd name="T71" fmla="*/ 321 h 493"/>
                <a:gd name="T72" fmla="*/ 72 w 1188"/>
                <a:gd name="T73" fmla="*/ 367 h 493"/>
                <a:gd name="T74" fmla="*/ 84 w 1188"/>
                <a:gd name="T75" fmla="*/ 395 h 493"/>
                <a:gd name="T76" fmla="*/ 80 w 1188"/>
                <a:gd name="T77" fmla="*/ 409 h 493"/>
                <a:gd name="T78" fmla="*/ 104 w 1188"/>
                <a:gd name="T79" fmla="*/ 419 h 493"/>
                <a:gd name="T80" fmla="*/ 146 w 1188"/>
                <a:gd name="T81" fmla="*/ 415 h 493"/>
                <a:gd name="T82" fmla="*/ 121 w 1188"/>
                <a:gd name="T83" fmla="*/ 437 h 493"/>
                <a:gd name="T84" fmla="*/ 87 w 1188"/>
                <a:gd name="T85" fmla="*/ 449 h 493"/>
                <a:gd name="T86" fmla="*/ 121 w 1188"/>
                <a:gd name="T87" fmla="*/ 448 h 493"/>
                <a:gd name="T88" fmla="*/ 133 w 1188"/>
                <a:gd name="T89" fmla="*/ 459 h 493"/>
                <a:gd name="T90" fmla="*/ 161 w 1188"/>
                <a:gd name="T91" fmla="*/ 443 h 493"/>
                <a:gd name="T92" fmla="*/ 208 w 1188"/>
                <a:gd name="T93" fmla="*/ 474 h 493"/>
                <a:gd name="T94" fmla="*/ 268 w 1188"/>
                <a:gd name="T95" fmla="*/ 469 h 493"/>
                <a:gd name="T96" fmla="*/ 306 w 1188"/>
                <a:gd name="T97" fmla="*/ 428 h 493"/>
                <a:gd name="T98" fmla="*/ 404 w 1188"/>
                <a:gd name="T99" fmla="*/ 481 h 493"/>
                <a:gd name="T100" fmla="*/ 496 w 1188"/>
                <a:gd name="T101" fmla="*/ 468 h 493"/>
                <a:gd name="T102" fmla="*/ 578 w 1188"/>
                <a:gd name="T103" fmla="*/ 443 h 493"/>
                <a:gd name="T104" fmla="*/ 642 w 1188"/>
                <a:gd name="T105" fmla="*/ 439 h 493"/>
                <a:gd name="T106" fmla="*/ 636 w 1188"/>
                <a:gd name="T107" fmla="*/ 493 h 4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188" h="493">
                  <a:moveTo>
                    <a:pt x="636" y="493"/>
                  </a:moveTo>
                  <a:lnTo>
                    <a:pt x="641" y="487"/>
                  </a:lnTo>
                  <a:lnTo>
                    <a:pt x="653" y="486"/>
                  </a:lnTo>
                  <a:lnTo>
                    <a:pt x="655" y="469"/>
                  </a:lnTo>
                  <a:lnTo>
                    <a:pt x="670" y="456"/>
                  </a:lnTo>
                  <a:lnTo>
                    <a:pt x="670" y="431"/>
                  </a:lnTo>
                  <a:lnTo>
                    <a:pt x="685" y="413"/>
                  </a:lnTo>
                  <a:lnTo>
                    <a:pt x="694" y="407"/>
                  </a:lnTo>
                  <a:lnTo>
                    <a:pt x="709" y="424"/>
                  </a:lnTo>
                  <a:lnTo>
                    <a:pt x="728" y="425"/>
                  </a:lnTo>
                  <a:lnTo>
                    <a:pt x="778" y="406"/>
                  </a:lnTo>
                  <a:lnTo>
                    <a:pt x="805" y="407"/>
                  </a:lnTo>
                  <a:lnTo>
                    <a:pt x="840" y="433"/>
                  </a:lnTo>
                  <a:lnTo>
                    <a:pt x="869" y="425"/>
                  </a:lnTo>
                  <a:lnTo>
                    <a:pt x="943" y="394"/>
                  </a:lnTo>
                  <a:lnTo>
                    <a:pt x="988" y="389"/>
                  </a:lnTo>
                  <a:lnTo>
                    <a:pt x="1018" y="379"/>
                  </a:lnTo>
                  <a:lnTo>
                    <a:pt x="1033" y="392"/>
                  </a:lnTo>
                  <a:lnTo>
                    <a:pt x="1072" y="370"/>
                  </a:lnTo>
                  <a:lnTo>
                    <a:pt x="1090" y="373"/>
                  </a:lnTo>
                  <a:lnTo>
                    <a:pt x="1109" y="367"/>
                  </a:lnTo>
                  <a:lnTo>
                    <a:pt x="1131" y="364"/>
                  </a:lnTo>
                  <a:lnTo>
                    <a:pt x="1146" y="377"/>
                  </a:lnTo>
                  <a:lnTo>
                    <a:pt x="1173" y="362"/>
                  </a:lnTo>
                  <a:lnTo>
                    <a:pt x="1173" y="362"/>
                  </a:lnTo>
                  <a:lnTo>
                    <a:pt x="1170" y="341"/>
                  </a:lnTo>
                  <a:lnTo>
                    <a:pt x="1167" y="317"/>
                  </a:lnTo>
                  <a:lnTo>
                    <a:pt x="1167" y="317"/>
                  </a:lnTo>
                  <a:lnTo>
                    <a:pt x="1167" y="306"/>
                  </a:lnTo>
                  <a:lnTo>
                    <a:pt x="1167" y="291"/>
                  </a:lnTo>
                  <a:lnTo>
                    <a:pt x="1169" y="265"/>
                  </a:lnTo>
                  <a:lnTo>
                    <a:pt x="1169" y="265"/>
                  </a:lnTo>
                  <a:lnTo>
                    <a:pt x="1169" y="258"/>
                  </a:lnTo>
                  <a:lnTo>
                    <a:pt x="1166" y="244"/>
                  </a:lnTo>
                  <a:lnTo>
                    <a:pt x="1160" y="220"/>
                  </a:lnTo>
                  <a:lnTo>
                    <a:pt x="1160" y="220"/>
                  </a:lnTo>
                  <a:lnTo>
                    <a:pt x="1158" y="213"/>
                  </a:lnTo>
                  <a:lnTo>
                    <a:pt x="1155" y="201"/>
                  </a:lnTo>
                  <a:lnTo>
                    <a:pt x="1154" y="187"/>
                  </a:lnTo>
                  <a:lnTo>
                    <a:pt x="1188" y="181"/>
                  </a:lnTo>
                  <a:lnTo>
                    <a:pt x="1175" y="175"/>
                  </a:lnTo>
                  <a:lnTo>
                    <a:pt x="1163" y="151"/>
                  </a:lnTo>
                  <a:lnTo>
                    <a:pt x="1145" y="157"/>
                  </a:lnTo>
                  <a:lnTo>
                    <a:pt x="1125" y="151"/>
                  </a:lnTo>
                  <a:lnTo>
                    <a:pt x="1116" y="124"/>
                  </a:lnTo>
                  <a:lnTo>
                    <a:pt x="1122" y="107"/>
                  </a:lnTo>
                  <a:lnTo>
                    <a:pt x="1119" y="78"/>
                  </a:lnTo>
                  <a:lnTo>
                    <a:pt x="1101" y="66"/>
                  </a:lnTo>
                  <a:lnTo>
                    <a:pt x="1080" y="54"/>
                  </a:lnTo>
                  <a:lnTo>
                    <a:pt x="1071" y="44"/>
                  </a:lnTo>
                  <a:lnTo>
                    <a:pt x="1066" y="35"/>
                  </a:lnTo>
                  <a:lnTo>
                    <a:pt x="1054" y="29"/>
                  </a:lnTo>
                  <a:lnTo>
                    <a:pt x="1044" y="10"/>
                  </a:lnTo>
                  <a:lnTo>
                    <a:pt x="1032" y="9"/>
                  </a:lnTo>
                  <a:lnTo>
                    <a:pt x="1024" y="20"/>
                  </a:lnTo>
                  <a:lnTo>
                    <a:pt x="1012" y="20"/>
                  </a:lnTo>
                  <a:lnTo>
                    <a:pt x="992" y="24"/>
                  </a:lnTo>
                  <a:lnTo>
                    <a:pt x="986" y="21"/>
                  </a:lnTo>
                  <a:lnTo>
                    <a:pt x="952" y="60"/>
                  </a:lnTo>
                  <a:lnTo>
                    <a:pt x="940" y="69"/>
                  </a:lnTo>
                  <a:lnTo>
                    <a:pt x="929" y="71"/>
                  </a:lnTo>
                  <a:lnTo>
                    <a:pt x="897" y="90"/>
                  </a:lnTo>
                  <a:lnTo>
                    <a:pt x="882" y="89"/>
                  </a:lnTo>
                  <a:lnTo>
                    <a:pt x="834" y="81"/>
                  </a:lnTo>
                  <a:lnTo>
                    <a:pt x="790" y="90"/>
                  </a:lnTo>
                  <a:lnTo>
                    <a:pt x="766" y="99"/>
                  </a:lnTo>
                  <a:lnTo>
                    <a:pt x="747" y="93"/>
                  </a:lnTo>
                  <a:lnTo>
                    <a:pt x="728" y="83"/>
                  </a:lnTo>
                  <a:lnTo>
                    <a:pt x="722" y="83"/>
                  </a:lnTo>
                  <a:lnTo>
                    <a:pt x="721" y="89"/>
                  </a:lnTo>
                  <a:lnTo>
                    <a:pt x="713" y="86"/>
                  </a:lnTo>
                  <a:lnTo>
                    <a:pt x="703" y="77"/>
                  </a:lnTo>
                  <a:lnTo>
                    <a:pt x="686" y="72"/>
                  </a:lnTo>
                  <a:lnTo>
                    <a:pt x="680" y="68"/>
                  </a:lnTo>
                  <a:lnTo>
                    <a:pt x="673" y="62"/>
                  </a:lnTo>
                  <a:lnTo>
                    <a:pt x="667" y="62"/>
                  </a:lnTo>
                  <a:lnTo>
                    <a:pt x="662" y="65"/>
                  </a:lnTo>
                  <a:lnTo>
                    <a:pt x="650" y="62"/>
                  </a:lnTo>
                  <a:lnTo>
                    <a:pt x="639" y="38"/>
                  </a:lnTo>
                  <a:lnTo>
                    <a:pt x="633" y="32"/>
                  </a:lnTo>
                  <a:lnTo>
                    <a:pt x="629" y="30"/>
                  </a:lnTo>
                  <a:lnTo>
                    <a:pt x="614" y="38"/>
                  </a:lnTo>
                  <a:lnTo>
                    <a:pt x="602" y="35"/>
                  </a:lnTo>
                  <a:lnTo>
                    <a:pt x="593" y="27"/>
                  </a:lnTo>
                  <a:lnTo>
                    <a:pt x="582" y="26"/>
                  </a:lnTo>
                  <a:lnTo>
                    <a:pt x="572" y="0"/>
                  </a:lnTo>
                  <a:lnTo>
                    <a:pt x="563" y="0"/>
                  </a:lnTo>
                  <a:lnTo>
                    <a:pt x="555" y="9"/>
                  </a:lnTo>
                  <a:lnTo>
                    <a:pt x="543" y="12"/>
                  </a:lnTo>
                  <a:lnTo>
                    <a:pt x="507" y="7"/>
                  </a:lnTo>
                  <a:lnTo>
                    <a:pt x="452" y="6"/>
                  </a:lnTo>
                  <a:lnTo>
                    <a:pt x="446" y="12"/>
                  </a:lnTo>
                  <a:lnTo>
                    <a:pt x="427" y="21"/>
                  </a:lnTo>
                  <a:lnTo>
                    <a:pt x="406" y="26"/>
                  </a:lnTo>
                  <a:lnTo>
                    <a:pt x="369" y="47"/>
                  </a:lnTo>
                  <a:lnTo>
                    <a:pt x="333" y="68"/>
                  </a:lnTo>
                  <a:lnTo>
                    <a:pt x="329" y="81"/>
                  </a:lnTo>
                  <a:lnTo>
                    <a:pt x="309" y="84"/>
                  </a:lnTo>
                  <a:lnTo>
                    <a:pt x="299" y="84"/>
                  </a:lnTo>
                  <a:lnTo>
                    <a:pt x="273" y="77"/>
                  </a:lnTo>
                  <a:lnTo>
                    <a:pt x="249" y="86"/>
                  </a:lnTo>
                  <a:lnTo>
                    <a:pt x="234" y="84"/>
                  </a:lnTo>
                  <a:lnTo>
                    <a:pt x="220" y="80"/>
                  </a:lnTo>
                  <a:lnTo>
                    <a:pt x="213" y="83"/>
                  </a:lnTo>
                  <a:lnTo>
                    <a:pt x="202" y="77"/>
                  </a:lnTo>
                  <a:lnTo>
                    <a:pt x="191" y="78"/>
                  </a:lnTo>
                  <a:lnTo>
                    <a:pt x="188" y="86"/>
                  </a:lnTo>
                  <a:lnTo>
                    <a:pt x="185" y="92"/>
                  </a:lnTo>
                  <a:lnTo>
                    <a:pt x="188" y="95"/>
                  </a:lnTo>
                  <a:lnTo>
                    <a:pt x="187" y="96"/>
                  </a:lnTo>
                  <a:lnTo>
                    <a:pt x="193" y="101"/>
                  </a:lnTo>
                  <a:lnTo>
                    <a:pt x="199" y="104"/>
                  </a:lnTo>
                  <a:lnTo>
                    <a:pt x="199" y="112"/>
                  </a:lnTo>
                  <a:lnTo>
                    <a:pt x="202" y="115"/>
                  </a:lnTo>
                  <a:lnTo>
                    <a:pt x="211" y="116"/>
                  </a:lnTo>
                  <a:lnTo>
                    <a:pt x="214" y="113"/>
                  </a:lnTo>
                  <a:lnTo>
                    <a:pt x="223" y="113"/>
                  </a:lnTo>
                  <a:lnTo>
                    <a:pt x="234" y="115"/>
                  </a:lnTo>
                  <a:lnTo>
                    <a:pt x="238" y="118"/>
                  </a:lnTo>
                  <a:lnTo>
                    <a:pt x="223" y="118"/>
                  </a:lnTo>
                  <a:lnTo>
                    <a:pt x="211" y="116"/>
                  </a:lnTo>
                  <a:lnTo>
                    <a:pt x="210" y="121"/>
                  </a:lnTo>
                  <a:lnTo>
                    <a:pt x="202" y="122"/>
                  </a:lnTo>
                  <a:lnTo>
                    <a:pt x="182" y="121"/>
                  </a:lnTo>
                  <a:lnTo>
                    <a:pt x="181" y="125"/>
                  </a:lnTo>
                  <a:lnTo>
                    <a:pt x="169" y="130"/>
                  </a:lnTo>
                  <a:lnTo>
                    <a:pt x="175" y="134"/>
                  </a:lnTo>
                  <a:lnTo>
                    <a:pt x="181" y="137"/>
                  </a:lnTo>
                  <a:lnTo>
                    <a:pt x="190" y="134"/>
                  </a:lnTo>
                  <a:lnTo>
                    <a:pt x="193" y="136"/>
                  </a:lnTo>
                  <a:lnTo>
                    <a:pt x="194" y="145"/>
                  </a:lnTo>
                  <a:lnTo>
                    <a:pt x="185" y="145"/>
                  </a:lnTo>
                  <a:lnTo>
                    <a:pt x="179" y="142"/>
                  </a:lnTo>
                  <a:lnTo>
                    <a:pt x="164" y="143"/>
                  </a:lnTo>
                  <a:lnTo>
                    <a:pt x="145" y="149"/>
                  </a:lnTo>
                  <a:lnTo>
                    <a:pt x="128" y="151"/>
                  </a:lnTo>
                  <a:lnTo>
                    <a:pt x="112" y="143"/>
                  </a:lnTo>
                  <a:lnTo>
                    <a:pt x="119" y="142"/>
                  </a:lnTo>
                  <a:lnTo>
                    <a:pt x="119" y="136"/>
                  </a:lnTo>
                  <a:lnTo>
                    <a:pt x="107" y="134"/>
                  </a:lnTo>
                  <a:lnTo>
                    <a:pt x="96" y="136"/>
                  </a:lnTo>
                  <a:lnTo>
                    <a:pt x="95" y="140"/>
                  </a:lnTo>
                  <a:lnTo>
                    <a:pt x="107" y="148"/>
                  </a:lnTo>
                  <a:lnTo>
                    <a:pt x="101" y="152"/>
                  </a:lnTo>
                  <a:lnTo>
                    <a:pt x="86" y="152"/>
                  </a:lnTo>
                  <a:lnTo>
                    <a:pt x="80" y="149"/>
                  </a:lnTo>
                  <a:lnTo>
                    <a:pt x="75" y="140"/>
                  </a:lnTo>
                  <a:lnTo>
                    <a:pt x="65" y="139"/>
                  </a:lnTo>
                  <a:lnTo>
                    <a:pt x="60" y="143"/>
                  </a:lnTo>
                  <a:lnTo>
                    <a:pt x="51" y="145"/>
                  </a:lnTo>
                  <a:lnTo>
                    <a:pt x="42" y="146"/>
                  </a:lnTo>
                  <a:lnTo>
                    <a:pt x="35" y="157"/>
                  </a:lnTo>
                  <a:lnTo>
                    <a:pt x="26" y="158"/>
                  </a:lnTo>
                  <a:lnTo>
                    <a:pt x="20" y="166"/>
                  </a:lnTo>
                  <a:lnTo>
                    <a:pt x="20" y="170"/>
                  </a:lnTo>
                  <a:lnTo>
                    <a:pt x="6" y="181"/>
                  </a:lnTo>
                  <a:lnTo>
                    <a:pt x="1" y="195"/>
                  </a:lnTo>
                  <a:lnTo>
                    <a:pt x="4" y="204"/>
                  </a:lnTo>
                  <a:lnTo>
                    <a:pt x="4" y="213"/>
                  </a:lnTo>
                  <a:lnTo>
                    <a:pt x="1" y="217"/>
                  </a:lnTo>
                  <a:lnTo>
                    <a:pt x="0" y="226"/>
                  </a:lnTo>
                  <a:lnTo>
                    <a:pt x="10" y="226"/>
                  </a:lnTo>
                  <a:lnTo>
                    <a:pt x="18" y="217"/>
                  </a:lnTo>
                  <a:lnTo>
                    <a:pt x="27" y="217"/>
                  </a:lnTo>
                  <a:lnTo>
                    <a:pt x="36" y="217"/>
                  </a:lnTo>
                  <a:lnTo>
                    <a:pt x="54" y="211"/>
                  </a:lnTo>
                  <a:lnTo>
                    <a:pt x="57" y="217"/>
                  </a:lnTo>
                  <a:lnTo>
                    <a:pt x="53" y="223"/>
                  </a:lnTo>
                  <a:lnTo>
                    <a:pt x="45" y="225"/>
                  </a:lnTo>
                  <a:lnTo>
                    <a:pt x="45" y="226"/>
                  </a:lnTo>
                  <a:lnTo>
                    <a:pt x="36" y="229"/>
                  </a:lnTo>
                  <a:lnTo>
                    <a:pt x="30" y="229"/>
                  </a:lnTo>
                  <a:lnTo>
                    <a:pt x="30" y="235"/>
                  </a:lnTo>
                  <a:lnTo>
                    <a:pt x="35" y="235"/>
                  </a:lnTo>
                  <a:lnTo>
                    <a:pt x="38" y="240"/>
                  </a:lnTo>
                  <a:lnTo>
                    <a:pt x="44" y="244"/>
                  </a:lnTo>
                  <a:lnTo>
                    <a:pt x="48" y="249"/>
                  </a:lnTo>
                  <a:lnTo>
                    <a:pt x="44" y="255"/>
                  </a:lnTo>
                  <a:lnTo>
                    <a:pt x="45" y="264"/>
                  </a:lnTo>
                  <a:lnTo>
                    <a:pt x="48" y="267"/>
                  </a:lnTo>
                  <a:lnTo>
                    <a:pt x="57" y="262"/>
                  </a:lnTo>
                  <a:lnTo>
                    <a:pt x="59" y="265"/>
                  </a:lnTo>
                  <a:lnTo>
                    <a:pt x="56" y="273"/>
                  </a:lnTo>
                  <a:lnTo>
                    <a:pt x="50" y="281"/>
                  </a:lnTo>
                  <a:lnTo>
                    <a:pt x="45" y="278"/>
                  </a:lnTo>
                  <a:lnTo>
                    <a:pt x="41" y="284"/>
                  </a:lnTo>
                  <a:lnTo>
                    <a:pt x="47" y="296"/>
                  </a:lnTo>
                  <a:lnTo>
                    <a:pt x="51" y="300"/>
                  </a:lnTo>
                  <a:lnTo>
                    <a:pt x="57" y="302"/>
                  </a:lnTo>
                  <a:lnTo>
                    <a:pt x="66" y="302"/>
                  </a:lnTo>
                  <a:lnTo>
                    <a:pt x="71" y="308"/>
                  </a:lnTo>
                  <a:lnTo>
                    <a:pt x="59" y="308"/>
                  </a:lnTo>
                  <a:lnTo>
                    <a:pt x="50" y="306"/>
                  </a:lnTo>
                  <a:lnTo>
                    <a:pt x="42" y="311"/>
                  </a:lnTo>
                  <a:lnTo>
                    <a:pt x="42" y="302"/>
                  </a:lnTo>
                  <a:lnTo>
                    <a:pt x="39" y="299"/>
                  </a:lnTo>
                  <a:lnTo>
                    <a:pt x="38" y="303"/>
                  </a:lnTo>
                  <a:lnTo>
                    <a:pt x="39" y="311"/>
                  </a:lnTo>
                  <a:lnTo>
                    <a:pt x="33" y="308"/>
                  </a:lnTo>
                  <a:lnTo>
                    <a:pt x="30" y="303"/>
                  </a:lnTo>
                  <a:lnTo>
                    <a:pt x="30" y="296"/>
                  </a:lnTo>
                  <a:lnTo>
                    <a:pt x="29" y="288"/>
                  </a:lnTo>
                  <a:lnTo>
                    <a:pt x="21" y="287"/>
                  </a:lnTo>
                  <a:lnTo>
                    <a:pt x="15" y="288"/>
                  </a:lnTo>
                  <a:lnTo>
                    <a:pt x="18" y="299"/>
                  </a:lnTo>
                  <a:lnTo>
                    <a:pt x="24" y="302"/>
                  </a:lnTo>
                  <a:lnTo>
                    <a:pt x="27" y="306"/>
                  </a:lnTo>
                  <a:lnTo>
                    <a:pt x="21" y="314"/>
                  </a:lnTo>
                  <a:lnTo>
                    <a:pt x="18" y="312"/>
                  </a:lnTo>
                  <a:lnTo>
                    <a:pt x="20" y="308"/>
                  </a:lnTo>
                  <a:lnTo>
                    <a:pt x="13" y="306"/>
                  </a:lnTo>
                  <a:lnTo>
                    <a:pt x="10" y="318"/>
                  </a:lnTo>
                  <a:lnTo>
                    <a:pt x="20" y="320"/>
                  </a:lnTo>
                  <a:lnTo>
                    <a:pt x="30" y="329"/>
                  </a:lnTo>
                  <a:lnTo>
                    <a:pt x="35" y="332"/>
                  </a:lnTo>
                  <a:lnTo>
                    <a:pt x="38" y="321"/>
                  </a:lnTo>
                  <a:lnTo>
                    <a:pt x="47" y="321"/>
                  </a:lnTo>
                  <a:lnTo>
                    <a:pt x="57" y="338"/>
                  </a:lnTo>
                  <a:lnTo>
                    <a:pt x="69" y="344"/>
                  </a:lnTo>
                  <a:lnTo>
                    <a:pt x="74" y="350"/>
                  </a:lnTo>
                  <a:lnTo>
                    <a:pt x="77" y="359"/>
                  </a:lnTo>
                  <a:lnTo>
                    <a:pt x="72" y="367"/>
                  </a:lnTo>
                  <a:lnTo>
                    <a:pt x="66" y="364"/>
                  </a:lnTo>
                  <a:lnTo>
                    <a:pt x="63" y="367"/>
                  </a:lnTo>
                  <a:lnTo>
                    <a:pt x="74" y="376"/>
                  </a:lnTo>
                  <a:lnTo>
                    <a:pt x="75" y="382"/>
                  </a:lnTo>
                  <a:lnTo>
                    <a:pt x="77" y="388"/>
                  </a:lnTo>
                  <a:lnTo>
                    <a:pt x="84" y="395"/>
                  </a:lnTo>
                  <a:lnTo>
                    <a:pt x="87" y="394"/>
                  </a:lnTo>
                  <a:lnTo>
                    <a:pt x="95" y="394"/>
                  </a:lnTo>
                  <a:lnTo>
                    <a:pt x="93" y="400"/>
                  </a:lnTo>
                  <a:lnTo>
                    <a:pt x="93" y="406"/>
                  </a:lnTo>
                  <a:lnTo>
                    <a:pt x="90" y="407"/>
                  </a:lnTo>
                  <a:lnTo>
                    <a:pt x="80" y="409"/>
                  </a:lnTo>
                  <a:lnTo>
                    <a:pt x="75" y="415"/>
                  </a:lnTo>
                  <a:lnTo>
                    <a:pt x="78" y="424"/>
                  </a:lnTo>
                  <a:lnTo>
                    <a:pt x="84" y="427"/>
                  </a:lnTo>
                  <a:lnTo>
                    <a:pt x="90" y="418"/>
                  </a:lnTo>
                  <a:lnTo>
                    <a:pt x="96" y="416"/>
                  </a:lnTo>
                  <a:lnTo>
                    <a:pt x="104" y="419"/>
                  </a:lnTo>
                  <a:lnTo>
                    <a:pt x="109" y="419"/>
                  </a:lnTo>
                  <a:lnTo>
                    <a:pt x="112" y="419"/>
                  </a:lnTo>
                  <a:lnTo>
                    <a:pt x="118" y="413"/>
                  </a:lnTo>
                  <a:lnTo>
                    <a:pt x="125" y="413"/>
                  </a:lnTo>
                  <a:lnTo>
                    <a:pt x="146" y="412"/>
                  </a:lnTo>
                  <a:lnTo>
                    <a:pt x="146" y="415"/>
                  </a:lnTo>
                  <a:lnTo>
                    <a:pt x="137" y="418"/>
                  </a:lnTo>
                  <a:lnTo>
                    <a:pt x="131" y="424"/>
                  </a:lnTo>
                  <a:lnTo>
                    <a:pt x="127" y="421"/>
                  </a:lnTo>
                  <a:lnTo>
                    <a:pt x="121" y="424"/>
                  </a:lnTo>
                  <a:lnTo>
                    <a:pt x="125" y="431"/>
                  </a:lnTo>
                  <a:lnTo>
                    <a:pt x="121" y="437"/>
                  </a:lnTo>
                  <a:lnTo>
                    <a:pt x="110" y="436"/>
                  </a:lnTo>
                  <a:lnTo>
                    <a:pt x="101" y="436"/>
                  </a:lnTo>
                  <a:lnTo>
                    <a:pt x="90" y="437"/>
                  </a:lnTo>
                  <a:lnTo>
                    <a:pt x="84" y="442"/>
                  </a:lnTo>
                  <a:lnTo>
                    <a:pt x="84" y="448"/>
                  </a:lnTo>
                  <a:lnTo>
                    <a:pt x="87" y="449"/>
                  </a:lnTo>
                  <a:lnTo>
                    <a:pt x="90" y="446"/>
                  </a:lnTo>
                  <a:lnTo>
                    <a:pt x="101" y="449"/>
                  </a:lnTo>
                  <a:lnTo>
                    <a:pt x="112" y="442"/>
                  </a:lnTo>
                  <a:lnTo>
                    <a:pt x="124" y="440"/>
                  </a:lnTo>
                  <a:lnTo>
                    <a:pt x="127" y="442"/>
                  </a:lnTo>
                  <a:lnTo>
                    <a:pt x="121" y="448"/>
                  </a:lnTo>
                  <a:lnTo>
                    <a:pt x="121" y="457"/>
                  </a:lnTo>
                  <a:lnTo>
                    <a:pt x="125" y="453"/>
                  </a:lnTo>
                  <a:lnTo>
                    <a:pt x="130" y="454"/>
                  </a:lnTo>
                  <a:lnTo>
                    <a:pt x="124" y="463"/>
                  </a:lnTo>
                  <a:lnTo>
                    <a:pt x="128" y="463"/>
                  </a:lnTo>
                  <a:lnTo>
                    <a:pt x="133" y="459"/>
                  </a:lnTo>
                  <a:lnTo>
                    <a:pt x="140" y="449"/>
                  </a:lnTo>
                  <a:lnTo>
                    <a:pt x="139" y="439"/>
                  </a:lnTo>
                  <a:lnTo>
                    <a:pt x="143" y="430"/>
                  </a:lnTo>
                  <a:lnTo>
                    <a:pt x="151" y="436"/>
                  </a:lnTo>
                  <a:lnTo>
                    <a:pt x="157" y="434"/>
                  </a:lnTo>
                  <a:lnTo>
                    <a:pt x="161" y="443"/>
                  </a:lnTo>
                  <a:lnTo>
                    <a:pt x="170" y="453"/>
                  </a:lnTo>
                  <a:lnTo>
                    <a:pt x="182" y="451"/>
                  </a:lnTo>
                  <a:lnTo>
                    <a:pt x="179" y="439"/>
                  </a:lnTo>
                  <a:lnTo>
                    <a:pt x="190" y="443"/>
                  </a:lnTo>
                  <a:lnTo>
                    <a:pt x="191" y="456"/>
                  </a:lnTo>
                  <a:lnTo>
                    <a:pt x="208" y="474"/>
                  </a:lnTo>
                  <a:lnTo>
                    <a:pt x="222" y="484"/>
                  </a:lnTo>
                  <a:lnTo>
                    <a:pt x="240" y="487"/>
                  </a:lnTo>
                  <a:lnTo>
                    <a:pt x="250" y="483"/>
                  </a:lnTo>
                  <a:lnTo>
                    <a:pt x="259" y="480"/>
                  </a:lnTo>
                  <a:lnTo>
                    <a:pt x="264" y="469"/>
                  </a:lnTo>
                  <a:lnTo>
                    <a:pt x="268" y="469"/>
                  </a:lnTo>
                  <a:lnTo>
                    <a:pt x="267" y="474"/>
                  </a:lnTo>
                  <a:lnTo>
                    <a:pt x="276" y="474"/>
                  </a:lnTo>
                  <a:lnTo>
                    <a:pt x="291" y="459"/>
                  </a:lnTo>
                  <a:lnTo>
                    <a:pt x="293" y="449"/>
                  </a:lnTo>
                  <a:lnTo>
                    <a:pt x="296" y="437"/>
                  </a:lnTo>
                  <a:lnTo>
                    <a:pt x="306" y="428"/>
                  </a:lnTo>
                  <a:lnTo>
                    <a:pt x="332" y="430"/>
                  </a:lnTo>
                  <a:lnTo>
                    <a:pt x="348" y="440"/>
                  </a:lnTo>
                  <a:lnTo>
                    <a:pt x="360" y="442"/>
                  </a:lnTo>
                  <a:lnTo>
                    <a:pt x="372" y="454"/>
                  </a:lnTo>
                  <a:lnTo>
                    <a:pt x="388" y="460"/>
                  </a:lnTo>
                  <a:lnTo>
                    <a:pt x="404" y="481"/>
                  </a:lnTo>
                  <a:lnTo>
                    <a:pt x="422" y="492"/>
                  </a:lnTo>
                  <a:lnTo>
                    <a:pt x="437" y="487"/>
                  </a:lnTo>
                  <a:lnTo>
                    <a:pt x="445" y="481"/>
                  </a:lnTo>
                  <a:lnTo>
                    <a:pt x="460" y="483"/>
                  </a:lnTo>
                  <a:lnTo>
                    <a:pt x="490" y="480"/>
                  </a:lnTo>
                  <a:lnTo>
                    <a:pt x="496" y="468"/>
                  </a:lnTo>
                  <a:lnTo>
                    <a:pt x="510" y="465"/>
                  </a:lnTo>
                  <a:lnTo>
                    <a:pt x="517" y="448"/>
                  </a:lnTo>
                  <a:lnTo>
                    <a:pt x="531" y="440"/>
                  </a:lnTo>
                  <a:lnTo>
                    <a:pt x="546" y="428"/>
                  </a:lnTo>
                  <a:lnTo>
                    <a:pt x="569" y="434"/>
                  </a:lnTo>
                  <a:lnTo>
                    <a:pt x="578" y="443"/>
                  </a:lnTo>
                  <a:lnTo>
                    <a:pt x="602" y="446"/>
                  </a:lnTo>
                  <a:lnTo>
                    <a:pt x="611" y="439"/>
                  </a:lnTo>
                  <a:lnTo>
                    <a:pt x="617" y="428"/>
                  </a:lnTo>
                  <a:lnTo>
                    <a:pt x="630" y="418"/>
                  </a:lnTo>
                  <a:lnTo>
                    <a:pt x="642" y="425"/>
                  </a:lnTo>
                  <a:lnTo>
                    <a:pt x="642" y="439"/>
                  </a:lnTo>
                  <a:lnTo>
                    <a:pt x="624" y="454"/>
                  </a:lnTo>
                  <a:lnTo>
                    <a:pt x="618" y="471"/>
                  </a:lnTo>
                  <a:lnTo>
                    <a:pt x="624" y="480"/>
                  </a:lnTo>
                  <a:lnTo>
                    <a:pt x="629" y="487"/>
                  </a:lnTo>
                  <a:lnTo>
                    <a:pt x="626" y="493"/>
                  </a:lnTo>
                  <a:lnTo>
                    <a:pt x="636" y="493"/>
                  </a:lnTo>
                  <a:lnTo>
                    <a:pt x="636" y="493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966" name="Freeform 311"/>
            <p:cNvSpPr>
              <a:spLocks/>
            </p:cNvSpPr>
            <p:nvPr userDrawn="1"/>
          </p:nvSpPr>
          <p:spPr bwMode="auto">
            <a:xfrm>
              <a:off x="5629" y="4163"/>
              <a:ext cx="24" cy="33"/>
            </a:xfrm>
            <a:custGeom>
              <a:avLst/>
              <a:gdLst>
                <a:gd name="T0" fmla="*/ 4 w 24"/>
                <a:gd name="T1" fmla="*/ 33 h 33"/>
                <a:gd name="T2" fmla="*/ 24 w 24"/>
                <a:gd name="T3" fmla="*/ 11 h 33"/>
                <a:gd name="T4" fmla="*/ 21 w 24"/>
                <a:gd name="T5" fmla="*/ 0 h 33"/>
                <a:gd name="T6" fmla="*/ 0 w 24"/>
                <a:gd name="T7" fmla="*/ 23 h 33"/>
                <a:gd name="T8" fmla="*/ 4 w 24"/>
                <a:gd name="T9" fmla="*/ 32 h 33"/>
                <a:gd name="T10" fmla="*/ 4 w 24"/>
                <a:gd name="T11" fmla="*/ 33 h 33"/>
                <a:gd name="T12" fmla="*/ 4 w 24"/>
                <a:gd name="T13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33">
                  <a:moveTo>
                    <a:pt x="4" y="33"/>
                  </a:moveTo>
                  <a:lnTo>
                    <a:pt x="24" y="11"/>
                  </a:lnTo>
                  <a:lnTo>
                    <a:pt x="21" y="0"/>
                  </a:lnTo>
                  <a:lnTo>
                    <a:pt x="0" y="23"/>
                  </a:lnTo>
                  <a:lnTo>
                    <a:pt x="4" y="32"/>
                  </a:lnTo>
                  <a:lnTo>
                    <a:pt x="4" y="33"/>
                  </a:lnTo>
                  <a:lnTo>
                    <a:pt x="4" y="33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967" name="Freeform 312"/>
            <p:cNvSpPr>
              <a:spLocks/>
            </p:cNvSpPr>
            <p:nvPr userDrawn="1"/>
          </p:nvSpPr>
          <p:spPr bwMode="auto">
            <a:xfrm>
              <a:off x="5718" y="3732"/>
              <a:ext cx="425" cy="387"/>
            </a:xfrm>
            <a:custGeom>
              <a:avLst/>
              <a:gdLst>
                <a:gd name="T0" fmla="*/ 40 w 425"/>
                <a:gd name="T1" fmla="*/ 215 h 387"/>
                <a:gd name="T2" fmla="*/ 48 w 425"/>
                <a:gd name="T3" fmla="*/ 236 h 387"/>
                <a:gd name="T4" fmla="*/ 44 w 425"/>
                <a:gd name="T5" fmla="*/ 253 h 387"/>
                <a:gd name="T6" fmla="*/ 24 w 425"/>
                <a:gd name="T7" fmla="*/ 264 h 387"/>
                <a:gd name="T8" fmla="*/ 19 w 425"/>
                <a:gd name="T9" fmla="*/ 285 h 387"/>
                <a:gd name="T10" fmla="*/ 1 w 425"/>
                <a:gd name="T11" fmla="*/ 303 h 387"/>
                <a:gd name="T12" fmla="*/ 0 w 425"/>
                <a:gd name="T13" fmla="*/ 347 h 387"/>
                <a:gd name="T14" fmla="*/ 15 w 425"/>
                <a:gd name="T15" fmla="*/ 353 h 387"/>
                <a:gd name="T16" fmla="*/ 47 w 425"/>
                <a:gd name="T17" fmla="*/ 387 h 387"/>
                <a:gd name="T18" fmla="*/ 72 w 425"/>
                <a:gd name="T19" fmla="*/ 387 h 387"/>
                <a:gd name="T20" fmla="*/ 190 w 425"/>
                <a:gd name="T21" fmla="*/ 307 h 387"/>
                <a:gd name="T22" fmla="*/ 351 w 425"/>
                <a:gd name="T23" fmla="*/ 199 h 387"/>
                <a:gd name="T24" fmla="*/ 374 w 425"/>
                <a:gd name="T25" fmla="*/ 120 h 387"/>
                <a:gd name="T26" fmla="*/ 363 w 425"/>
                <a:gd name="T27" fmla="*/ 72 h 387"/>
                <a:gd name="T28" fmla="*/ 425 w 425"/>
                <a:gd name="T29" fmla="*/ 13 h 387"/>
                <a:gd name="T30" fmla="*/ 410 w 425"/>
                <a:gd name="T31" fmla="*/ 0 h 387"/>
                <a:gd name="T32" fmla="*/ 380 w 425"/>
                <a:gd name="T33" fmla="*/ 10 h 387"/>
                <a:gd name="T34" fmla="*/ 335 w 425"/>
                <a:gd name="T35" fmla="*/ 15 h 387"/>
                <a:gd name="T36" fmla="*/ 261 w 425"/>
                <a:gd name="T37" fmla="*/ 46 h 387"/>
                <a:gd name="T38" fmla="*/ 232 w 425"/>
                <a:gd name="T39" fmla="*/ 54 h 387"/>
                <a:gd name="T40" fmla="*/ 197 w 425"/>
                <a:gd name="T41" fmla="*/ 28 h 387"/>
                <a:gd name="T42" fmla="*/ 170 w 425"/>
                <a:gd name="T43" fmla="*/ 27 h 387"/>
                <a:gd name="T44" fmla="*/ 120 w 425"/>
                <a:gd name="T45" fmla="*/ 46 h 387"/>
                <a:gd name="T46" fmla="*/ 101 w 425"/>
                <a:gd name="T47" fmla="*/ 45 h 387"/>
                <a:gd name="T48" fmla="*/ 86 w 425"/>
                <a:gd name="T49" fmla="*/ 28 h 387"/>
                <a:gd name="T50" fmla="*/ 77 w 425"/>
                <a:gd name="T51" fmla="*/ 34 h 387"/>
                <a:gd name="T52" fmla="*/ 62 w 425"/>
                <a:gd name="T53" fmla="*/ 52 h 387"/>
                <a:gd name="T54" fmla="*/ 62 w 425"/>
                <a:gd name="T55" fmla="*/ 77 h 387"/>
                <a:gd name="T56" fmla="*/ 47 w 425"/>
                <a:gd name="T57" fmla="*/ 90 h 387"/>
                <a:gd name="T58" fmla="*/ 45 w 425"/>
                <a:gd name="T59" fmla="*/ 107 h 387"/>
                <a:gd name="T60" fmla="*/ 33 w 425"/>
                <a:gd name="T61" fmla="*/ 108 h 387"/>
                <a:gd name="T62" fmla="*/ 28 w 425"/>
                <a:gd name="T63" fmla="*/ 114 h 387"/>
                <a:gd name="T64" fmla="*/ 18 w 425"/>
                <a:gd name="T65" fmla="*/ 114 h 387"/>
                <a:gd name="T66" fmla="*/ 21 w 425"/>
                <a:gd name="T67" fmla="*/ 108 h 387"/>
                <a:gd name="T68" fmla="*/ 12 w 425"/>
                <a:gd name="T69" fmla="*/ 116 h 387"/>
                <a:gd name="T70" fmla="*/ 13 w 425"/>
                <a:gd name="T71" fmla="*/ 120 h 387"/>
                <a:gd name="T72" fmla="*/ 6 w 425"/>
                <a:gd name="T73" fmla="*/ 131 h 387"/>
                <a:gd name="T74" fmla="*/ 3 w 425"/>
                <a:gd name="T75" fmla="*/ 141 h 387"/>
                <a:gd name="T76" fmla="*/ 13 w 425"/>
                <a:gd name="T77" fmla="*/ 147 h 387"/>
                <a:gd name="T78" fmla="*/ 15 w 425"/>
                <a:gd name="T79" fmla="*/ 164 h 387"/>
                <a:gd name="T80" fmla="*/ 12 w 425"/>
                <a:gd name="T81" fmla="*/ 172 h 387"/>
                <a:gd name="T82" fmla="*/ 10 w 425"/>
                <a:gd name="T83" fmla="*/ 185 h 387"/>
                <a:gd name="T84" fmla="*/ 18 w 425"/>
                <a:gd name="T85" fmla="*/ 212 h 387"/>
                <a:gd name="T86" fmla="*/ 28 w 425"/>
                <a:gd name="T87" fmla="*/ 212 h 387"/>
                <a:gd name="T88" fmla="*/ 40 w 425"/>
                <a:gd name="T89" fmla="*/ 215 h 387"/>
                <a:gd name="T90" fmla="*/ 40 w 425"/>
                <a:gd name="T91" fmla="*/ 215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25" h="387">
                  <a:moveTo>
                    <a:pt x="40" y="215"/>
                  </a:moveTo>
                  <a:lnTo>
                    <a:pt x="48" y="236"/>
                  </a:lnTo>
                  <a:lnTo>
                    <a:pt x="44" y="253"/>
                  </a:lnTo>
                  <a:lnTo>
                    <a:pt x="24" y="264"/>
                  </a:lnTo>
                  <a:lnTo>
                    <a:pt x="19" y="285"/>
                  </a:lnTo>
                  <a:lnTo>
                    <a:pt x="1" y="303"/>
                  </a:lnTo>
                  <a:lnTo>
                    <a:pt x="0" y="347"/>
                  </a:lnTo>
                  <a:lnTo>
                    <a:pt x="15" y="353"/>
                  </a:lnTo>
                  <a:lnTo>
                    <a:pt x="47" y="387"/>
                  </a:lnTo>
                  <a:lnTo>
                    <a:pt x="72" y="387"/>
                  </a:lnTo>
                  <a:lnTo>
                    <a:pt x="190" y="307"/>
                  </a:lnTo>
                  <a:lnTo>
                    <a:pt x="351" y="199"/>
                  </a:lnTo>
                  <a:lnTo>
                    <a:pt x="374" y="120"/>
                  </a:lnTo>
                  <a:lnTo>
                    <a:pt x="363" y="72"/>
                  </a:lnTo>
                  <a:lnTo>
                    <a:pt x="425" y="13"/>
                  </a:lnTo>
                  <a:lnTo>
                    <a:pt x="410" y="0"/>
                  </a:lnTo>
                  <a:lnTo>
                    <a:pt x="380" y="10"/>
                  </a:lnTo>
                  <a:lnTo>
                    <a:pt x="335" y="15"/>
                  </a:lnTo>
                  <a:lnTo>
                    <a:pt x="261" y="46"/>
                  </a:lnTo>
                  <a:lnTo>
                    <a:pt x="232" y="54"/>
                  </a:lnTo>
                  <a:lnTo>
                    <a:pt x="197" y="28"/>
                  </a:lnTo>
                  <a:lnTo>
                    <a:pt x="170" y="27"/>
                  </a:lnTo>
                  <a:lnTo>
                    <a:pt x="120" y="46"/>
                  </a:lnTo>
                  <a:lnTo>
                    <a:pt x="101" y="45"/>
                  </a:lnTo>
                  <a:lnTo>
                    <a:pt x="86" y="28"/>
                  </a:lnTo>
                  <a:lnTo>
                    <a:pt x="77" y="34"/>
                  </a:lnTo>
                  <a:lnTo>
                    <a:pt x="62" y="52"/>
                  </a:lnTo>
                  <a:lnTo>
                    <a:pt x="62" y="77"/>
                  </a:lnTo>
                  <a:lnTo>
                    <a:pt x="47" y="90"/>
                  </a:lnTo>
                  <a:lnTo>
                    <a:pt x="45" y="107"/>
                  </a:lnTo>
                  <a:lnTo>
                    <a:pt x="33" y="108"/>
                  </a:lnTo>
                  <a:lnTo>
                    <a:pt x="28" y="114"/>
                  </a:lnTo>
                  <a:lnTo>
                    <a:pt x="18" y="114"/>
                  </a:lnTo>
                  <a:lnTo>
                    <a:pt x="21" y="108"/>
                  </a:lnTo>
                  <a:lnTo>
                    <a:pt x="12" y="116"/>
                  </a:lnTo>
                  <a:lnTo>
                    <a:pt x="13" y="120"/>
                  </a:lnTo>
                  <a:lnTo>
                    <a:pt x="6" y="131"/>
                  </a:lnTo>
                  <a:lnTo>
                    <a:pt x="3" y="141"/>
                  </a:lnTo>
                  <a:lnTo>
                    <a:pt x="13" y="147"/>
                  </a:lnTo>
                  <a:lnTo>
                    <a:pt x="15" y="164"/>
                  </a:lnTo>
                  <a:lnTo>
                    <a:pt x="12" y="172"/>
                  </a:lnTo>
                  <a:lnTo>
                    <a:pt x="10" y="185"/>
                  </a:lnTo>
                  <a:lnTo>
                    <a:pt x="18" y="212"/>
                  </a:lnTo>
                  <a:lnTo>
                    <a:pt x="28" y="212"/>
                  </a:lnTo>
                  <a:lnTo>
                    <a:pt x="40" y="215"/>
                  </a:lnTo>
                  <a:lnTo>
                    <a:pt x="40" y="215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968" name="Freeform 313"/>
            <p:cNvSpPr>
              <a:spLocks/>
            </p:cNvSpPr>
            <p:nvPr userDrawn="1"/>
          </p:nvSpPr>
          <p:spPr bwMode="auto">
            <a:xfrm>
              <a:off x="5633" y="4032"/>
              <a:ext cx="86" cy="285"/>
            </a:xfrm>
            <a:custGeom>
              <a:avLst/>
              <a:gdLst>
                <a:gd name="T0" fmla="*/ 68 w 86"/>
                <a:gd name="T1" fmla="*/ 173 h 285"/>
                <a:gd name="T2" fmla="*/ 70 w 86"/>
                <a:gd name="T3" fmla="*/ 146 h 285"/>
                <a:gd name="T4" fmla="*/ 50 w 86"/>
                <a:gd name="T5" fmla="*/ 146 h 285"/>
                <a:gd name="T6" fmla="*/ 38 w 86"/>
                <a:gd name="T7" fmla="*/ 134 h 285"/>
                <a:gd name="T8" fmla="*/ 52 w 86"/>
                <a:gd name="T9" fmla="*/ 108 h 285"/>
                <a:gd name="T10" fmla="*/ 58 w 86"/>
                <a:gd name="T11" fmla="*/ 66 h 285"/>
                <a:gd name="T12" fmla="*/ 73 w 86"/>
                <a:gd name="T13" fmla="*/ 63 h 285"/>
                <a:gd name="T14" fmla="*/ 85 w 86"/>
                <a:gd name="T15" fmla="*/ 47 h 285"/>
                <a:gd name="T16" fmla="*/ 86 w 86"/>
                <a:gd name="T17" fmla="*/ 3 h 285"/>
                <a:gd name="T18" fmla="*/ 61 w 86"/>
                <a:gd name="T19" fmla="*/ 0 h 285"/>
                <a:gd name="T20" fmla="*/ 53 w 86"/>
                <a:gd name="T21" fmla="*/ 12 h 285"/>
                <a:gd name="T22" fmla="*/ 49 w 86"/>
                <a:gd name="T23" fmla="*/ 36 h 285"/>
                <a:gd name="T24" fmla="*/ 35 w 86"/>
                <a:gd name="T25" fmla="*/ 57 h 285"/>
                <a:gd name="T26" fmla="*/ 30 w 86"/>
                <a:gd name="T27" fmla="*/ 98 h 285"/>
                <a:gd name="T28" fmla="*/ 21 w 86"/>
                <a:gd name="T29" fmla="*/ 113 h 285"/>
                <a:gd name="T30" fmla="*/ 17 w 86"/>
                <a:gd name="T31" fmla="*/ 131 h 285"/>
                <a:gd name="T32" fmla="*/ 20 w 86"/>
                <a:gd name="T33" fmla="*/ 142 h 285"/>
                <a:gd name="T34" fmla="*/ 0 w 86"/>
                <a:gd name="T35" fmla="*/ 164 h 285"/>
                <a:gd name="T36" fmla="*/ 17 w 86"/>
                <a:gd name="T37" fmla="*/ 207 h 285"/>
                <a:gd name="T38" fmla="*/ 38 w 86"/>
                <a:gd name="T39" fmla="*/ 285 h 285"/>
                <a:gd name="T40" fmla="*/ 52 w 86"/>
                <a:gd name="T41" fmla="*/ 285 h 285"/>
                <a:gd name="T42" fmla="*/ 53 w 86"/>
                <a:gd name="T43" fmla="*/ 240 h 285"/>
                <a:gd name="T44" fmla="*/ 68 w 86"/>
                <a:gd name="T45" fmla="*/ 173 h 285"/>
                <a:gd name="T46" fmla="*/ 68 w 86"/>
                <a:gd name="T47" fmla="*/ 173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86" h="285">
                  <a:moveTo>
                    <a:pt x="68" y="173"/>
                  </a:moveTo>
                  <a:lnTo>
                    <a:pt x="70" y="146"/>
                  </a:lnTo>
                  <a:lnTo>
                    <a:pt x="50" y="146"/>
                  </a:lnTo>
                  <a:lnTo>
                    <a:pt x="38" y="134"/>
                  </a:lnTo>
                  <a:lnTo>
                    <a:pt x="52" y="108"/>
                  </a:lnTo>
                  <a:lnTo>
                    <a:pt x="58" y="66"/>
                  </a:lnTo>
                  <a:lnTo>
                    <a:pt x="73" y="63"/>
                  </a:lnTo>
                  <a:lnTo>
                    <a:pt x="85" y="47"/>
                  </a:lnTo>
                  <a:lnTo>
                    <a:pt x="86" y="3"/>
                  </a:lnTo>
                  <a:lnTo>
                    <a:pt x="61" y="0"/>
                  </a:lnTo>
                  <a:lnTo>
                    <a:pt x="53" y="12"/>
                  </a:lnTo>
                  <a:lnTo>
                    <a:pt x="49" y="36"/>
                  </a:lnTo>
                  <a:lnTo>
                    <a:pt x="35" y="57"/>
                  </a:lnTo>
                  <a:lnTo>
                    <a:pt x="30" y="98"/>
                  </a:lnTo>
                  <a:lnTo>
                    <a:pt x="21" y="113"/>
                  </a:lnTo>
                  <a:lnTo>
                    <a:pt x="17" y="131"/>
                  </a:lnTo>
                  <a:lnTo>
                    <a:pt x="20" y="142"/>
                  </a:lnTo>
                  <a:lnTo>
                    <a:pt x="0" y="164"/>
                  </a:lnTo>
                  <a:lnTo>
                    <a:pt x="17" y="207"/>
                  </a:lnTo>
                  <a:lnTo>
                    <a:pt x="38" y="285"/>
                  </a:lnTo>
                  <a:lnTo>
                    <a:pt x="52" y="285"/>
                  </a:lnTo>
                  <a:lnTo>
                    <a:pt x="53" y="240"/>
                  </a:lnTo>
                  <a:lnTo>
                    <a:pt x="68" y="173"/>
                  </a:lnTo>
                  <a:lnTo>
                    <a:pt x="68" y="173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969" name="Freeform 314"/>
            <p:cNvSpPr>
              <a:spLocks/>
            </p:cNvSpPr>
            <p:nvPr userDrawn="1"/>
          </p:nvSpPr>
          <p:spPr bwMode="auto">
            <a:xfrm>
              <a:off x="6264" y="3531"/>
              <a:ext cx="1108" cy="786"/>
            </a:xfrm>
            <a:custGeom>
              <a:avLst/>
              <a:gdLst>
                <a:gd name="T0" fmla="*/ 1108 w 1108"/>
                <a:gd name="T1" fmla="*/ 682 h 786"/>
                <a:gd name="T2" fmla="*/ 1054 w 1108"/>
                <a:gd name="T3" fmla="*/ 623 h 786"/>
                <a:gd name="T4" fmla="*/ 1033 w 1108"/>
                <a:gd name="T5" fmla="*/ 516 h 786"/>
                <a:gd name="T6" fmla="*/ 1033 w 1108"/>
                <a:gd name="T7" fmla="*/ 475 h 786"/>
                <a:gd name="T8" fmla="*/ 1041 w 1108"/>
                <a:gd name="T9" fmla="*/ 416 h 786"/>
                <a:gd name="T10" fmla="*/ 1068 w 1108"/>
                <a:gd name="T11" fmla="*/ 342 h 786"/>
                <a:gd name="T12" fmla="*/ 1066 w 1108"/>
                <a:gd name="T13" fmla="*/ 259 h 786"/>
                <a:gd name="T14" fmla="*/ 1012 w 1108"/>
                <a:gd name="T15" fmla="*/ 235 h 786"/>
                <a:gd name="T16" fmla="*/ 955 w 1108"/>
                <a:gd name="T17" fmla="*/ 172 h 786"/>
                <a:gd name="T18" fmla="*/ 891 w 1108"/>
                <a:gd name="T19" fmla="*/ 166 h 786"/>
                <a:gd name="T20" fmla="*/ 831 w 1108"/>
                <a:gd name="T21" fmla="*/ 136 h 786"/>
                <a:gd name="T22" fmla="*/ 814 w 1108"/>
                <a:gd name="T23" fmla="*/ 116 h 786"/>
                <a:gd name="T24" fmla="*/ 798 w 1108"/>
                <a:gd name="T25" fmla="*/ 112 h 786"/>
                <a:gd name="T26" fmla="*/ 721 w 1108"/>
                <a:gd name="T27" fmla="*/ 127 h 786"/>
                <a:gd name="T28" fmla="*/ 656 w 1108"/>
                <a:gd name="T29" fmla="*/ 184 h 786"/>
                <a:gd name="T30" fmla="*/ 609 w 1108"/>
                <a:gd name="T31" fmla="*/ 195 h 786"/>
                <a:gd name="T32" fmla="*/ 608 w 1108"/>
                <a:gd name="T33" fmla="*/ 226 h 786"/>
                <a:gd name="T34" fmla="*/ 579 w 1108"/>
                <a:gd name="T35" fmla="*/ 234 h 786"/>
                <a:gd name="T36" fmla="*/ 590 w 1108"/>
                <a:gd name="T37" fmla="*/ 222 h 786"/>
                <a:gd name="T38" fmla="*/ 522 w 1108"/>
                <a:gd name="T39" fmla="*/ 240 h 786"/>
                <a:gd name="T40" fmla="*/ 442 w 1108"/>
                <a:gd name="T41" fmla="*/ 244 h 786"/>
                <a:gd name="T42" fmla="*/ 384 w 1108"/>
                <a:gd name="T43" fmla="*/ 213 h 786"/>
                <a:gd name="T44" fmla="*/ 329 w 1108"/>
                <a:gd name="T45" fmla="*/ 181 h 786"/>
                <a:gd name="T46" fmla="*/ 297 w 1108"/>
                <a:gd name="T47" fmla="*/ 106 h 786"/>
                <a:gd name="T48" fmla="*/ 261 w 1108"/>
                <a:gd name="T49" fmla="*/ 109 h 786"/>
                <a:gd name="T50" fmla="*/ 246 w 1108"/>
                <a:gd name="T51" fmla="*/ 42 h 786"/>
                <a:gd name="T52" fmla="*/ 220 w 1108"/>
                <a:gd name="T53" fmla="*/ 1 h 786"/>
                <a:gd name="T54" fmla="*/ 148 w 1108"/>
                <a:gd name="T55" fmla="*/ 59 h 786"/>
                <a:gd name="T56" fmla="*/ 72 w 1108"/>
                <a:gd name="T57" fmla="*/ 62 h 786"/>
                <a:gd name="T58" fmla="*/ 0 w 1108"/>
                <a:gd name="T59" fmla="*/ 9 h 786"/>
                <a:gd name="T60" fmla="*/ 4 w 1108"/>
                <a:gd name="T61" fmla="*/ 35 h 786"/>
                <a:gd name="T62" fmla="*/ 12 w 1108"/>
                <a:gd name="T63" fmla="*/ 66 h 786"/>
                <a:gd name="T64" fmla="*/ 15 w 1108"/>
                <a:gd name="T65" fmla="*/ 87 h 786"/>
                <a:gd name="T66" fmla="*/ 13 w 1108"/>
                <a:gd name="T67" fmla="*/ 139 h 786"/>
                <a:gd name="T68" fmla="*/ 19 w 1108"/>
                <a:gd name="T69" fmla="*/ 184 h 786"/>
                <a:gd name="T70" fmla="*/ 66 w 1108"/>
                <a:gd name="T71" fmla="*/ 290 h 786"/>
                <a:gd name="T72" fmla="*/ 107 w 1108"/>
                <a:gd name="T73" fmla="*/ 296 h 786"/>
                <a:gd name="T74" fmla="*/ 123 w 1108"/>
                <a:gd name="T75" fmla="*/ 338 h 786"/>
                <a:gd name="T76" fmla="*/ 90 w 1108"/>
                <a:gd name="T77" fmla="*/ 397 h 786"/>
                <a:gd name="T78" fmla="*/ 117 w 1108"/>
                <a:gd name="T79" fmla="*/ 508 h 786"/>
                <a:gd name="T80" fmla="*/ 161 w 1108"/>
                <a:gd name="T81" fmla="*/ 542 h 786"/>
                <a:gd name="T82" fmla="*/ 211 w 1108"/>
                <a:gd name="T83" fmla="*/ 644 h 786"/>
                <a:gd name="T84" fmla="*/ 237 w 1108"/>
                <a:gd name="T85" fmla="*/ 676 h 786"/>
                <a:gd name="T86" fmla="*/ 280 w 1108"/>
                <a:gd name="T87" fmla="*/ 747 h 786"/>
                <a:gd name="T88" fmla="*/ 288 w 1108"/>
                <a:gd name="T89" fmla="*/ 729 h 786"/>
                <a:gd name="T90" fmla="*/ 291 w 1108"/>
                <a:gd name="T91" fmla="*/ 711 h 786"/>
                <a:gd name="T92" fmla="*/ 318 w 1108"/>
                <a:gd name="T93" fmla="*/ 744 h 786"/>
                <a:gd name="T94" fmla="*/ 342 w 1108"/>
                <a:gd name="T95" fmla="*/ 754 h 786"/>
                <a:gd name="T96" fmla="*/ 380 w 1108"/>
                <a:gd name="T97" fmla="*/ 781 h 786"/>
                <a:gd name="T98" fmla="*/ 1065 w 1108"/>
                <a:gd name="T99" fmla="*/ 766 h 7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08" h="786">
                  <a:moveTo>
                    <a:pt x="1056" y="753"/>
                  </a:moveTo>
                  <a:lnTo>
                    <a:pt x="1098" y="703"/>
                  </a:lnTo>
                  <a:lnTo>
                    <a:pt x="1108" y="682"/>
                  </a:lnTo>
                  <a:lnTo>
                    <a:pt x="1108" y="646"/>
                  </a:lnTo>
                  <a:lnTo>
                    <a:pt x="1075" y="635"/>
                  </a:lnTo>
                  <a:lnTo>
                    <a:pt x="1054" y="623"/>
                  </a:lnTo>
                  <a:lnTo>
                    <a:pt x="1048" y="605"/>
                  </a:lnTo>
                  <a:lnTo>
                    <a:pt x="1048" y="566"/>
                  </a:lnTo>
                  <a:lnTo>
                    <a:pt x="1033" y="516"/>
                  </a:lnTo>
                  <a:lnTo>
                    <a:pt x="1050" y="489"/>
                  </a:lnTo>
                  <a:lnTo>
                    <a:pt x="1051" y="475"/>
                  </a:lnTo>
                  <a:lnTo>
                    <a:pt x="1033" y="475"/>
                  </a:lnTo>
                  <a:lnTo>
                    <a:pt x="1025" y="463"/>
                  </a:lnTo>
                  <a:lnTo>
                    <a:pt x="1027" y="447"/>
                  </a:lnTo>
                  <a:lnTo>
                    <a:pt x="1041" y="416"/>
                  </a:lnTo>
                  <a:lnTo>
                    <a:pt x="1042" y="400"/>
                  </a:lnTo>
                  <a:lnTo>
                    <a:pt x="1060" y="379"/>
                  </a:lnTo>
                  <a:lnTo>
                    <a:pt x="1068" y="342"/>
                  </a:lnTo>
                  <a:lnTo>
                    <a:pt x="1069" y="315"/>
                  </a:lnTo>
                  <a:lnTo>
                    <a:pt x="1065" y="284"/>
                  </a:lnTo>
                  <a:lnTo>
                    <a:pt x="1066" y="259"/>
                  </a:lnTo>
                  <a:lnTo>
                    <a:pt x="1066" y="244"/>
                  </a:lnTo>
                  <a:lnTo>
                    <a:pt x="1053" y="237"/>
                  </a:lnTo>
                  <a:lnTo>
                    <a:pt x="1012" y="235"/>
                  </a:lnTo>
                  <a:lnTo>
                    <a:pt x="998" y="213"/>
                  </a:lnTo>
                  <a:lnTo>
                    <a:pt x="967" y="198"/>
                  </a:lnTo>
                  <a:lnTo>
                    <a:pt x="955" y="172"/>
                  </a:lnTo>
                  <a:lnTo>
                    <a:pt x="939" y="161"/>
                  </a:lnTo>
                  <a:lnTo>
                    <a:pt x="920" y="166"/>
                  </a:lnTo>
                  <a:lnTo>
                    <a:pt x="891" y="166"/>
                  </a:lnTo>
                  <a:lnTo>
                    <a:pt x="867" y="146"/>
                  </a:lnTo>
                  <a:lnTo>
                    <a:pt x="852" y="146"/>
                  </a:lnTo>
                  <a:lnTo>
                    <a:pt x="831" y="136"/>
                  </a:lnTo>
                  <a:lnTo>
                    <a:pt x="834" y="130"/>
                  </a:lnTo>
                  <a:lnTo>
                    <a:pt x="828" y="121"/>
                  </a:lnTo>
                  <a:lnTo>
                    <a:pt x="814" y="116"/>
                  </a:lnTo>
                  <a:lnTo>
                    <a:pt x="808" y="121"/>
                  </a:lnTo>
                  <a:lnTo>
                    <a:pt x="802" y="118"/>
                  </a:lnTo>
                  <a:lnTo>
                    <a:pt x="798" y="112"/>
                  </a:lnTo>
                  <a:lnTo>
                    <a:pt x="774" y="118"/>
                  </a:lnTo>
                  <a:lnTo>
                    <a:pt x="754" y="136"/>
                  </a:lnTo>
                  <a:lnTo>
                    <a:pt x="721" y="127"/>
                  </a:lnTo>
                  <a:lnTo>
                    <a:pt x="672" y="146"/>
                  </a:lnTo>
                  <a:lnTo>
                    <a:pt x="663" y="178"/>
                  </a:lnTo>
                  <a:lnTo>
                    <a:pt x="656" y="184"/>
                  </a:lnTo>
                  <a:lnTo>
                    <a:pt x="653" y="181"/>
                  </a:lnTo>
                  <a:lnTo>
                    <a:pt x="623" y="182"/>
                  </a:lnTo>
                  <a:lnTo>
                    <a:pt x="609" y="195"/>
                  </a:lnTo>
                  <a:lnTo>
                    <a:pt x="609" y="207"/>
                  </a:lnTo>
                  <a:lnTo>
                    <a:pt x="612" y="220"/>
                  </a:lnTo>
                  <a:lnTo>
                    <a:pt x="608" y="226"/>
                  </a:lnTo>
                  <a:lnTo>
                    <a:pt x="599" y="232"/>
                  </a:lnTo>
                  <a:lnTo>
                    <a:pt x="590" y="237"/>
                  </a:lnTo>
                  <a:lnTo>
                    <a:pt x="579" y="234"/>
                  </a:lnTo>
                  <a:lnTo>
                    <a:pt x="582" y="228"/>
                  </a:lnTo>
                  <a:lnTo>
                    <a:pt x="596" y="228"/>
                  </a:lnTo>
                  <a:lnTo>
                    <a:pt x="590" y="222"/>
                  </a:lnTo>
                  <a:lnTo>
                    <a:pt x="576" y="225"/>
                  </a:lnTo>
                  <a:lnTo>
                    <a:pt x="553" y="235"/>
                  </a:lnTo>
                  <a:lnTo>
                    <a:pt x="522" y="240"/>
                  </a:lnTo>
                  <a:lnTo>
                    <a:pt x="487" y="250"/>
                  </a:lnTo>
                  <a:lnTo>
                    <a:pt x="463" y="252"/>
                  </a:lnTo>
                  <a:lnTo>
                    <a:pt x="442" y="244"/>
                  </a:lnTo>
                  <a:lnTo>
                    <a:pt x="416" y="232"/>
                  </a:lnTo>
                  <a:lnTo>
                    <a:pt x="396" y="217"/>
                  </a:lnTo>
                  <a:lnTo>
                    <a:pt x="384" y="213"/>
                  </a:lnTo>
                  <a:lnTo>
                    <a:pt x="368" y="187"/>
                  </a:lnTo>
                  <a:lnTo>
                    <a:pt x="353" y="182"/>
                  </a:lnTo>
                  <a:lnTo>
                    <a:pt x="329" y="181"/>
                  </a:lnTo>
                  <a:lnTo>
                    <a:pt x="303" y="161"/>
                  </a:lnTo>
                  <a:lnTo>
                    <a:pt x="292" y="136"/>
                  </a:lnTo>
                  <a:lnTo>
                    <a:pt x="297" y="106"/>
                  </a:lnTo>
                  <a:lnTo>
                    <a:pt x="282" y="110"/>
                  </a:lnTo>
                  <a:lnTo>
                    <a:pt x="271" y="103"/>
                  </a:lnTo>
                  <a:lnTo>
                    <a:pt x="261" y="109"/>
                  </a:lnTo>
                  <a:lnTo>
                    <a:pt x="237" y="80"/>
                  </a:lnTo>
                  <a:lnTo>
                    <a:pt x="255" y="56"/>
                  </a:lnTo>
                  <a:lnTo>
                    <a:pt x="246" y="42"/>
                  </a:lnTo>
                  <a:lnTo>
                    <a:pt x="258" y="23"/>
                  </a:lnTo>
                  <a:lnTo>
                    <a:pt x="243" y="0"/>
                  </a:lnTo>
                  <a:lnTo>
                    <a:pt x="220" y="1"/>
                  </a:lnTo>
                  <a:lnTo>
                    <a:pt x="188" y="36"/>
                  </a:lnTo>
                  <a:lnTo>
                    <a:pt x="166" y="45"/>
                  </a:lnTo>
                  <a:lnTo>
                    <a:pt x="148" y="59"/>
                  </a:lnTo>
                  <a:lnTo>
                    <a:pt x="137" y="71"/>
                  </a:lnTo>
                  <a:lnTo>
                    <a:pt x="113" y="72"/>
                  </a:lnTo>
                  <a:lnTo>
                    <a:pt x="72" y="62"/>
                  </a:lnTo>
                  <a:lnTo>
                    <a:pt x="42" y="30"/>
                  </a:lnTo>
                  <a:lnTo>
                    <a:pt x="34" y="3"/>
                  </a:lnTo>
                  <a:lnTo>
                    <a:pt x="0" y="9"/>
                  </a:lnTo>
                  <a:lnTo>
                    <a:pt x="0" y="9"/>
                  </a:lnTo>
                  <a:lnTo>
                    <a:pt x="1" y="23"/>
                  </a:lnTo>
                  <a:lnTo>
                    <a:pt x="4" y="35"/>
                  </a:lnTo>
                  <a:lnTo>
                    <a:pt x="6" y="42"/>
                  </a:lnTo>
                  <a:lnTo>
                    <a:pt x="6" y="42"/>
                  </a:lnTo>
                  <a:lnTo>
                    <a:pt x="12" y="66"/>
                  </a:lnTo>
                  <a:lnTo>
                    <a:pt x="15" y="80"/>
                  </a:lnTo>
                  <a:lnTo>
                    <a:pt x="15" y="87"/>
                  </a:lnTo>
                  <a:lnTo>
                    <a:pt x="15" y="87"/>
                  </a:lnTo>
                  <a:lnTo>
                    <a:pt x="13" y="113"/>
                  </a:lnTo>
                  <a:lnTo>
                    <a:pt x="13" y="128"/>
                  </a:lnTo>
                  <a:lnTo>
                    <a:pt x="13" y="139"/>
                  </a:lnTo>
                  <a:lnTo>
                    <a:pt x="13" y="139"/>
                  </a:lnTo>
                  <a:lnTo>
                    <a:pt x="16" y="163"/>
                  </a:lnTo>
                  <a:lnTo>
                    <a:pt x="19" y="184"/>
                  </a:lnTo>
                  <a:lnTo>
                    <a:pt x="51" y="229"/>
                  </a:lnTo>
                  <a:lnTo>
                    <a:pt x="57" y="281"/>
                  </a:lnTo>
                  <a:lnTo>
                    <a:pt x="66" y="290"/>
                  </a:lnTo>
                  <a:lnTo>
                    <a:pt x="77" y="290"/>
                  </a:lnTo>
                  <a:lnTo>
                    <a:pt x="93" y="302"/>
                  </a:lnTo>
                  <a:lnTo>
                    <a:pt x="107" y="296"/>
                  </a:lnTo>
                  <a:lnTo>
                    <a:pt x="119" y="302"/>
                  </a:lnTo>
                  <a:lnTo>
                    <a:pt x="108" y="320"/>
                  </a:lnTo>
                  <a:lnTo>
                    <a:pt x="123" y="338"/>
                  </a:lnTo>
                  <a:lnTo>
                    <a:pt x="123" y="359"/>
                  </a:lnTo>
                  <a:lnTo>
                    <a:pt x="90" y="385"/>
                  </a:lnTo>
                  <a:lnTo>
                    <a:pt x="90" y="397"/>
                  </a:lnTo>
                  <a:lnTo>
                    <a:pt x="77" y="413"/>
                  </a:lnTo>
                  <a:lnTo>
                    <a:pt x="83" y="462"/>
                  </a:lnTo>
                  <a:lnTo>
                    <a:pt x="117" y="508"/>
                  </a:lnTo>
                  <a:lnTo>
                    <a:pt x="122" y="528"/>
                  </a:lnTo>
                  <a:lnTo>
                    <a:pt x="140" y="540"/>
                  </a:lnTo>
                  <a:lnTo>
                    <a:pt x="161" y="542"/>
                  </a:lnTo>
                  <a:lnTo>
                    <a:pt x="212" y="584"/>
                  </a:lnTo>
                  <a:lnTo>
                    <a:pt x="225" y="609"/>
                  </a:lnTo>
                  <a:lnTo>
                    <a:pt x="211" y="644"/>
                  </a:lnTo>
                  <a:lnTo>
                    <a:pt x="215" y="667"/>
                  </a:lnTo>
                  <a:lnTo>
                    <a:pt x="231" y="665"/>
                  </a:lnTo>
                  <a:lnTo>
                    <a:pt x="237" y="676"/>
                  </a:lnTo>
                  <a:lnTo>
                    <a:pt x="238" y="723"/>
                  </a:lnTo>
                  <a:lnTo>
                    <a:pt x="270" y="748"/>
                  </a:lnTo>
                  <a:lnTo>
                    <a:pt x="280" y="747"/>
                  </a:lnTo>
                  <a:lnTo>
                    <a:pt x="280" y="739"/>
                  </a:lnTo>
                  <a:lnTo>
                    <a:pt x="289" y="741"/>
                  </a:lnTo>
                  <a:lnTo>
                    <a:pt x="288" y="729"/>
                  </a:lnTo>
                  <a:lnTo>
                    <a:pt x="297" y="723"/>
                  </a:lnTo>
                  <a:lnTo>
                    <a:pt x="286" y="715"/>
                  </a:lnTo>
                  <a:lnTo>
                    <a:pt x="291" y="711"/>
                  </a:lnTo>
                  <a:lnTo>
                    <a:pt x="310" y="715"/>
                  </a:lnTo>
                  <a:lnTo>
                    <a:pt x="312" y="735"/>
                  </a:lnTo>
                  <a:lnTo>
                    <a:pt x="318" y="744"/>
                  </a:lnTo>
                  <a:lnTo>
                    <a:pt x="326" y="744"/>
                  </a:lnTo>
                  <a:lnTo>
                    <a:pt x="329" y="751"/>
                  </a:lnTo>
                  <a:lnTo>
                    <a:pt x="342" y="754"/>
                  </a:lnTo>
                  <a:lnTo>
                    <a:pt x="354" y="748"/>
                  </a:lnTo>
                  <a:lnTo>
                    <a:pt x="372" y="751"/>
                  </a:lnTo>
                  <a:lnTo>
                    <a:pt x="380" y="781"/>
                  </a:lnTo>
                  <a:lnTo>
                    <a:pt x="392" y="786"/>
                  </a:lnTo>
                  <a:lnTo>
                    <a:pt x="1078" y="786"/>
                  </a:lnTo>
                  <a:lnTo>
                    <a:pt x="1065" y="766"/>
                  </a:lnTo>
                  <a:lnTo>
                    <a:pt x="1056" y="753"/>
                  </a:lnTo>
                  <a:lnTo>
                    <a:pt x="1056" y="753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970" name="Freeform 315"/>
            <p:cNvSpPr>
              <a:spLocks/>
            </p:cNvSpPr>
            <p:nvPr userDrawn="1"/>
          </p:nvSpPr>
          <p:spPr bwMode="auto">
            <a:xfrm>
              <a:off x="6433" y="4276"/>
              <a:ext cx="89" cy="41"/>
            </a:xfrm>
            <a:custGeom>
              <a:avLst/>
              <a:gdLst>
                <a:gd name="T0" fmla="*/ 89 w 89"/>
                <a:gd name="T1" fmla="*/ 24 h 41"/>
                <a:gd name="T2" fmla="*/ 71 w 89"/>
                <a:gd name="T3" fmla="*/ 17 h 41"/>
                <a:gd name="T4" fmla="*/ 68 w 89"/>
                <a:gd name="T5" fmla="*/ 9 h 41"/>
                <a:gd name="T6" fmla="*/ 43 w 89"/>
                <a:gd name="T7" fmla="*/ 0 h 41"/>
                <a:gd name="T8" fmla="*/ 24 w 89"/>
                <a:gd name="T9" fmla="*/ 9 h 41"/>
                <a:gd name="T10" fmla="*/ 0 w 89"/>
                <a:gd name="T11" fmla="*/ 41 h 41"/>
                <a:gd name="T12" fmla="*/ 0 w 89"/>
                <a:gd name="T13" fmla="*/ 41 h 41"/>
                <a:gd name="T14" fmla="*/ 77 w 89"/>
                <a:gd name="T15" fmla="*/ 41 h 41"/>
                <a:gd name="T16" fmla="*/ 89 w 89"/>
                <a:gd name="T17" fmla="*/ 35 h 41"/>
                <a:gd name="T18" fmla="*/ 89 w 89"/>
                <a:gd name="T19" fmla="*/ 24 h 41"/>
                <a:gd name="T20" fmla="*/ 89 w 89"/>
                <a:gd name="T21" fmla="*/ 24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9" h="41">
                  <a:moveTo>
                    <a:pt x="89" y="24"/>
                  </a:moveTo>
                  <a:lnTo>
                    <a:pt x="71" y="17"/>
                  </a:lnTo>
                  <a:lnTo>
                    <a:pt x="68" y="9"/>
                  </a:lnTo>
                  <a:lnTo>
                    <a:pt x="43" y="0"/>
                  </a:lnTo>
                  <a:lnTo>
                    <a:pt x="24" y="9"/>
                  </a:lnTo>
                  <a:lnTo>
                    <a:pt x="0" y="41"/>
                  </a:lnTo>
                  <a:lnTo>
                    <a:pt x="0" y="41"/>
                  </a:lnTo>
                  <a:lnTo>
                    <a:pt x="77" y="41"/>
                  </a:lnTo>
                  <a:lnTo>
                    <a:pt x="89" y="35"/>
                  </a:lnTo>
                  <a:lnTo>
                    <a:pt x="89" y="24"/>
                  </a:lnTo>
                  <a:lnTo>
                    <a:pt x="89" y="24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971" name="Freeform 316"/>
            <p:cNvSpPr>
              <a:spLocks/>
            </p:cNvSpPr>
            <p:nvPr userDrawn="1"/>
          </p:nvSpPr>
          <p:spPr bwMode="auto">
            <a:xfrm>
              <a:off x="5908" y="3715"/>
              <a:ext cx="629" cy="602"/>
            </a:xfrm>
            <a:custGeom>
              <a:avLst/>
              <a:gdLst>
                <a:gd name="T0" fmla="*/ 549 w 629"/>
                <a:gd name="T1" fmla="*/ 570 h 602"/>
                <a:gd name="T2" fmla="*/ 568 w 629"/>
                <a:gd name="T3" fmla="*/ 561 h 602"/>
                <a:gd name="T4" fmla="*/ 593 w 629"/>
                <a:gd name="T5" fmla="*/ 570 h 602"/>
                <a:gd name="T6" fmla="*/ 608 w 629"/>
                <a:gd name="T7" fmla="*/ 567 h 602"/>
                <a:gd name="T8" fmla="*/ 623 w 629"/>
                <a:gd name="T9" fmla="*/ 578 h 602"/>
                <a:gd name="T10" fmla="*/ 629 w 629"/>
                <a:gd name="T11" fmla="*/ 572 h 602"/>
                <a:gd name="T12" fmla="*/ 626 w 629"/>
                <a:gd name="T13" fmla="*/ 564 h 602"/>
                <a:gd name="T14" fmla="*/ 594 w 629"/>
                <a:gd name="T15" fmla="*/ 539 h 602"/>
                <a:gd name="T16" fmla="*/ 593 w 629"/>
                <a:gd name="T17" fmla="*/ 492 h 602"/>
                <a:gd name="T18" fmla="*/ 587 w 629"/>
                <a:gd name="T19" fmla="*/ 481 h 602"/>
                <a:gd name="T20" fmla="*/ 571 w 629"/>
                <a:gd name="T21" fmla="*/ 483 h 602"/>
                <a:gd name="T22" fmla="*/ 567 w 629"/>
                <a:gd name="T23" fmla="*/ 460 h 602"/>
                <a:gd name="T24" fmla="*/ 581 w 629"/>
                <a:gd name="T25" fmla="*/ 425 h 602"/>
                <a:gd name="T26" fmla="*/ 568 w 629"/>
                <a:gd name="T27" fmla="*/ 400 h 602"/>
                <a:gd name="T28" fmla="*/ 517 w 629"/>
                <a:gd name="T29" fmla="*/ 358 h 602"/>
                <a:gd name="T30" fmla="*/ 496 w 629"/>
                <a:gd name="T31" fmla="*/ 356 h 602"/>
                <a:gd name="T32" fmla="*/ 478 w 629"/>
                <a:gd name="T33" fmla="*/ 344 h 602"/>
                <a:gd name="T34" fmla="*/ 473 w 629"/>
                <a:gd name="T35" fmla="*/ 324 h 602"/>
                <a:gd name="T36" fmla="*/ 439 w 629"/>
                <a:gd name="T37" fmla="*/ 278 h 602"/>
                <a:gd name="T38" fmla="*/ 433 w 629"/>
                <a:gd name="T39" fmla="*/ 229 h 602"/>
                <a:gd name="T40" fmla="*/ 446 w 629"/>
                <a:gd name="T41" fmla="*/ 213 h 602"/>
                <a:gd name="T42" fmla="*/ 446 w 629"/>
                <a:gd name="T43" fmla="*/ 201 h 602"/>
                <a:gd name="T44" fmla="*/ 479 w 629"/>
                <a:gd name="T45" fmla="*/ 175 h 602"/>
                <a:gd name="T46" fmla="*/ 479 w 629"/>
                <a:gd name="T47" fmla="*/ 154 h 602"/>
                <a:gd name="T48" fmla="*/ 464 w 629"/>
                <a:gd name="T49" fmla="*/ 136 h 602"/>
                <a:gd name="T50" fmla="*/ 475 w 629"/>
                <a:gd name="T51" fmla="*/ 118 h 602"/>
                <a:gd name="T52" fmla="*/ 463 w 629"/>
                <a:gd name="T53" fmla="*/ 112 h 602"/>
                <a:gd name="T54" fmla="*/ 449 w 629"/>
                <a:gd name="T55" fmla="*/ 118 h 602"/>
                <a:gd name="T56" fmla="*/ 433 w 629"/>
                <a:gd name="T57" fmla="*/ 106 h 602"/>
                <a:gd name="T58" fmla="*/ 422 w 629"/>
                <a:gd name="T59" fmla="*/ 106 h 602"/>
                <a:gd name="T60" fmla="*/ 413 w 629"/>
                <a:gd name="T61" fmla="*/ 97 h 602"/>
                <a:gd name="T62" fmla="*/ 407 w 629"/>
                <a:gd name="T63" fmla="*/ 45 h 602"/>
                <a:gd name="T64" fmla="*/ 375 w 629"/>
                <a:gd name="T65" fmla="*/ 0 h 602"/>
                <a:gd name="T66" fmla="*/ 348 w 629"/>
                <a:gd name="T67" fmla="*/ 15 h 602"/>
                <a:gd name="T68" fmla="*/ 333 w 629"/>
                <a:gd name="T69" fmla="*/ 2 h 602"/>
                <a:gd name="T70" fmla="*/ 311 w 629"/>
                <a:gd name="T71" fmla="*/ 5 h 602"/>
                <a:gd name="T72" fmla="*/ 292 w 629"/>
                <a:gd name="T73" fmla="*/ 11 h 602"/>
                <a:gd name="T74" fmla="*/ 274 w 629"/>
                <a:gd name="T75" fmla="*/ 8 h 602"/>
                <a:gd name="T76" fmla="*/ 235 w 629"/>
                <a:gd name="T77" fmla="*/ 30 h 602"/>
                <a:gd name="T78" fmla="*/ 173 w 629"/>
                <a:gd name="T79" fmla="*/ 89 h 602"/>
                <a:gd name="T80" fmla="*/ 184 w 629"/>
                <a:gd name="T81" fmla="*/ 137 h 602"/>
                <a:gd name="T82" fmla="*/ 161 w 629"/>
                <a:gd name="T83" fmla="*/ 216 h 602"/>
                <a:gd name="T84" fmla="*/ 0 w 629"/>
                <a:gd name="T85" fmla="*/ 324 h 602"/>
                <a:gd name="T86" fmla="*/ 7 w 629"/>
                <a:gd name="T87" fmla="*/ 365 h 602"/>
                <a:gd name="T88" fmla="*/ 28 w 629"/>
                <a:gd name="T89" fmla="*/ 421 h 602"/>
                <a:gd name="T90" fmla="*/ 142 w 629"/>
                <a:gd name="T91" fmla="*/ 431 h 602"/>
                <a:gd name="T92" fmla="*/ 357 w 629"/>
                <a:gd name="T93" fmla="*/ 602 h 602"/>
                <a:gd name="T94" fmla="*/ 525 w 629"/>
                <a:gd name="T95" fmla="*/ 602 h 602"/>
                <a:gd name="T96" fmla="*/ 525 w 629"/>
                <a:gd name="T97" fmla="*/ 602 h 602"/>
                <a:gd name="T98" fmla="*/ 549 w 629"/>
                <a:gd name="T99" fmla="*/ 570 h 602"/>
                <a:gd name="T100" fmla="*/ 549 w 629"/>
                <a:gd name="T101" fmla="*/ 570 h 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29" h="602">
                  <a:moveTo>
                    <a:pt x="549" y="570"/>
                  </a:moveTo>
                  <a:lnTo>
                    <a:pt x="568" y="561"/>
                  </a:lnTo>
                  <a:lnTo>
                    <a:pt x="593" y="570"/>
                  </a:lnTo>
                  <a:lnTo>
                    <a:pt x="608" y="567"/>
                  </a:lnTo>
                  <a:lnTo>
                    <a:pt x="623" y="578"/>
                  </a:lnTo>
                  <a:lnTo>
                    <a:pt x="629" y="572"/>
                  </a:lnTo>
                  <a:lnTo>
                    <a:pt x="626" y="564"/>
                  </a:lnTo>
                  <a:lnTo>
                    <a:pt x="594" y="539"/>
                  </a:lnTo>
                  <a:lnTo>
                    <a:pt x="593" y="492"/>
                  </a:lnTo>
                  <a:lnTo>
                    <a:pt x="587" y="481"/>
                  </a:lnTo>
                  <a:lnTo>
                    <a:pt x="571" y="483"/>
                  </a:lnTo>
                  <a:lnTo>
                    <a:pt x="567" y="460"/>
                  </a:lnTo>
                  <a:lnTo>
                    <a:pt x="581" y="425"/>
                  </a:lnTo>
                  <a:lnTo>
                    <a:pt x="568" y="400"/>
                  </a:lnTo>
                  <a:lnTo>
                    <a:pt x="517" y="358"/>
                  </a:lnTo>
                  <a:lnTo>
                    <a:pt x="496" y="356"/>
                  </a:lnTo>
                  <a:lnTo>
                    <a:pt x="478" y="344"/>
                  </a:lnTo>
                  <a:lnTo>
                    <a:pt x="473" y="324"/>
                  </a:lnTo>
                  <a:lnTo>
                    <a:pt x="439" y="278"/>
                  </a:lnTo>
                  <a:lnTo>
                    <a:pt x="433" y="229"/>
                  </a:lnTo>
                  <a:lnTo>
                    <a:pt x="446" y="213"/>
                  </a:lnTo>
                  <a:lnTo>
                    <a:pt x="446" y="201"/>
                  </a:lnTo>
                  <a:lnTo>
                    <a:pt x="479" y="175"/>
                  </a:lnTo>
                  <a:lnTo>
                    <a:pt x="479" y="154"/>
                  </a:lnTo>
                  <a:lnTo>
                    <a:pt x="464" y="136"/>
                  </a:lnTo>
                  <a:lnTo>
                    <a:pt x="475" y="118"/>
                  </a:lnTo>
                  <a:lnTo>
                    <a:pt x="463" y="112"/>
                  </a:lnTo>
                  <a:lnTo>
                    <a:pt x="449" y="118"/>
                  </a:lnTo>
                  <a:lnTo>
                    <a:pt x="433" y="106"/>
                  </a:lnTo>
                  <a:lnTo>
                    <a:pt x="422" y="106"/>
                  </a:lnTo>
                  <a:lnTo>
                    <a:pt x="413" y="97"/>
                  </a:lnTo>
                  <a:lnTo>
                    <a:pt x="407" y="45"/>
                  </a:lnTo>
                  <a:lnTo>
                    <a:pt x="375" y="0"/>
                  </a:lnTo>
                  <a:lnTo>
                    <a:pt x="348" y="15"/>
                  </a:lnTo>
                  <a:lnTo>
                    <a:pt x="333" y="2"/>
                  </a:lnTo>
                  <a:lnTo>
                    <a:pt x="311" y="5"/>
                  </a:lnTo>
                  <a:lnTo>
                    <a:pt x="292" y="11"/>
                  </a:lnTo>
                  <a:lnTo>
                    <a:pt x="274" y="8"/>
                  </a:lnTo>
                  <a:lnTo>
                    <a:pt x="235" y="30"/>
                  </a:lnTo>
                  <a:lnTo>
                    <a:pt x="173" y="89"/>
                  </a:lnTo>
                  <a:lnTo>
                    <a:pt x="184" y="137"/>
                  </a:lnTo>
                  <a:lnTo>
                    <a:pt x="161" y="216"/>
                  </a:lnTo>
                  <a:lnTo>
                    <a:pt x="0" y="324"/>
                  </a:lnTo>
                  <a:lnTo>
                    <a:pt x="7" y="365"/>
                  </a:lnTo>
                  <a:lnTo>
                    <a:pt x="28" y="421"/>
                  </a:lnTo>
                  <a:lnTo>
                    <a:pt x="142" y="431"/>
                  </a:lnTo>
                  <a:lnTo>
                    <a:pt x="357" y="602"/>
                  </a:lnTo>
                  <a:lnTo>
                    <a:pt x="525" y="602"/>
                  </a:lnTo>
                  <a:lnTo>
                    <a:pt x="525" y="602"/>
                  </a:lnTo>
                  <a:lnTo>
                    <a:pt x="549" y="570"/>
                  </a:lnTo>
                  <a:lnTo>
                    <a:pt x="549" y="570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972" name="Freeform 317"/>
            <p:cNvSpPr>
              <a:spLocks/>
            </p:cNvSpPr>
            <p:nvPr userDrawn="1"/>
          </p:nvSpPr>
          <p:spPr bwMode="auto">
            <a:xfrm>
              <a:off x="3615" y="2497"/>
              <a:ext cx="238" cy="185"/>
            </a:xfrm>
            <a:custGeom>
              <a:avLst/>
              <a:gdLst>
                <a:gd name="T0" fmla="*/ 6 w 238"/>
                <a:gd name="T1" fmla="*/ 59 h 185"/>
                <a:gd name="T2" fmla="*/ 9 w 238"/>
                <a:gd name="T3" fmla="*/ 71 h 185"/>
                <a:gd name="T4" fmla="*/ 29 w 238"/>
                <a:gd name="T5" fmla="*/ 65 h 185"/>
                <a:gd name="T6" fmla="*/ 39 w 238"/>
                <a:gd name="T7" fmla="*/ 68 h 185"/>
                <a:gd name="T8" fmla="*/ 45 w 238"/>
                <a:gd name="T9" fmla="*/ 86 h 185"/>
                <a:gd name="T10" fmla="*/ 56 w 238"/>
                <a:gd name="T11" fmla="*/ 92 h 185"/>
                <a:gd name="T12" fmla="*/ 82 w 238"/>
                <a:gd name="T13" fmla="*/ 92 h 185"/>
                <a:gd name="T14" fmla="*/ 92 w 238"/>
                <a:gd name="T15" fmla="*/ 117 h 185"/>
                <a:gd name="T16" fmla="*/ 104 w 238"/>
                <a:gd name="T17" fmla="*/ 138 h 185"/>
                <a:gd name="T18" fmla="*/ 127 w 238"/>
                <a:gd name="T19" fmla="*/ 144 h 185"/>
                <a:gd name="T20" fmla="*/ 140 w 238"/>
                <a:gd name="T21" fmla="*/ 126 h 185"/>
                <a:gd name="T22" fmla="*/ 146 w 238"/>
                <a:gd name="T23" fmla="*/ 130 h 185"/>
                <a:gd name="T24" fmla="*/ 150 w 238"/>
                <a:gd name="T25" fmla="*/ 150 h 185"/>
                <a:gd name="T26" fmla="*/ 162 w 238"/>
                <a:gd name="T27" fmla="*/ 171 h 185"/>
                <a:gd name="T28" fmla="*/ 184 w 238"/>
                <a:gd name="T29" fmla="*/ 185 h 185"/>
                <a:gd name="T30" fmla="*/ 205 w 238"/>
                <a:gd name="T31" fmla="*/ 182 h 185"/>
                <a:gd name="T32" fmla="*/ 205 w 238"/>
                <a:gd name="T33" fmla="*/ 162 h 185"/>
                <a:gd name="T34" fmla="*/ 213 w 238"/>
                <a:gd name="T35" fmla="*/ 138 h 185"/>
                <a:gd name="T36" fmla="*/ 229 w 238"/>
                <a:gd name="T37" fmla="*/ 120 h 185"/>
                <a:gd name="T38" fmla="*/ 238 w 238"/>
                <a:gd name="T39" fmla="*/ 97 h 185"/>
                <a:gd name="T40" fmla="*/ 238 w 238"/>
                <a:gd name="T41" fmla="*/ 74 h 185"/>
                <a:gd name="T42" fmla="*/ 229 w 238"/>
                <a:gd name="T43" fmla="*/ 71 h 185"/>
                <a:gd name="T44" fmla="*/ 222 w 238"/>
                <a:gd name="T45" fmla="*/ 58 h 185"/>
                <a:gd name="T46" fmla="*/ 204 w 238"/>
                <a:gd name="T47" fmla="*/ 61 h 185"/>
                <a:gd name="T48" fmla="*/ 192 w 238"/>
                <a:gd name="T49" fmla="*/ 56 h 185"/>
                <a:gd name="T50" fmla="*/ 186 w 238"/>
                <a:gd name="T51" fmla="*/ 44 h 185"/>
                <a:gd name="T52" fmla="*/ 198 w 238"/>
                <a:gd name="T53" fmla="*/ 35 h 185"/>
                <a:gd name="T54" fmla="*/ 204 w 238"/>
                <a:gd name="T55" fmla="*/ 23 h 185"/>
                <a:gd name="T56" fmla="*/ 198 w 238"/>
                <a:gd name="T57" fmla="*/ 11 h 185"/>
                <a:gd name="T58" fmla="*/ 189 w 238"/>
                <a:gd name="T59" fmla="*/ 8 h 185"/>
                <a:gd name="T60" fmla="*/ 169 w 238"/>
                <a:gd name="T61" fmla="*/ 10 h 185"/>
                <a:gd name="T62" fmla="*/ 157 w 238"/>
                <a:gd name="T63" fmla="*/ 2 h 185"/>
                <a:gd name="T64" fmla="*/ 125 w 238"/>
                <a:gd name="T65" fmla="*/ 0 h 185"/>
                <a:gd name="T66" fmla="*/ 109 w 238"/>
                <a:gd name="T67" fmla="*/ 17 h 185"/>
                <a:gd name="T68" fmla="*/ 88 w 238"/>
                <a:gd name="T69" fmla="*/ 28 h 185"/>
                <a:gd name="T70" fmla="*/ 68 w 238"/>
                <a:gd name="T71" fmla="*/ 28 h 185"/>
                <a:gd name="T72" fmla="*/ 39 w 238"/>
                <a:gd name="T73" fmla="*/ 8 h 185"/>
                <a:gd name="T74" fmla="*/ 20 w 238"/>
                <a:gd name="T75" fmla="*/ 25 h 185"/>
                <a:gd name="T76" fmla="*/ 2 w 238"/>
                <a:gd name="T77" fmla="*/ 35 h 185"/>
                <a:gd name="T78" fmla="*/ 0 w 238"/>
                <a:gd name="T79" fmla="*/ 49 h 185"/>
                <a:gd name="T80" fmla="*/ 6 w 238"/>
                <a:gd name="T81" fmla="*/ 59 h 185"/>
                <a:gd name="T82" fmla="*/ 6 w 238"/>
                <a:gd name="T83" fmla="*/ 59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38" h="185">
                  <a:moveTo>
                    <a:pt x="6" y="59"/>
                  </a:moveTo>
                  <a:lnTo>
                    <a:pt x="9" y="71"/>
                  </a:lnTo>
                  <a:lnTo>
                    <a:pt x="29" y="65"/>
                  </a:lnTo>
                  <a:lnTo>
                    <a:pt x="39" y="68"/>
                  </a:lnTo>
                  <a:lnTo>
                    <a:pt x="45" y="86"/>
                  </a:lnTo>
                  <a:lnTo>
                    <a:pt x="56" y="92"/>
                  </a:lnTo>
                  <a:lnTo>
                    <a:pt x="82" y="92"/>
                  </a:lnTo>
                  <a:lnTo>
                    <a:pt x="92" y="117"/>
                  </a:lnTo>
                  <a:lnTo>
                    <a:pt x="104" y="138"/>
                  </a:lnTo>
                  <a:lnTo>
                    <a:pt x="127" y="144"/>
                  </a:lnTo>
                  <a:lnTo>
                    <a:pt x="140" y="126"/>
                  </a:lnTo>
                  <a:lnTo>
                    <a:pt x="146" y="130"/>
                  </a:lnTo>
                  <a:lnTo>
                    <a:pt x="150" y="150"/>
                  </a:lnTo>
                  <a:lnTo>
                    <a:pt x="162" y="171"/>
                  </a:lnTo>
                  <a:lnTo>
                    <a:pt x="184" y="185"/>
                  </a:lnTo>
                  <a:lnTo>
                    <a:pt x="205" y="182"/>
                  </a:lnTo>
                  <a:lnTo>
                    <a:pt x="205" y="162"/>
                  </a:lnTo>
                  <a:lnTo>
                    <a:pt x="213" y="138"/>
                  </a:lnTo>
                  <a:lnTo>
                    <a:pt x="229" y="120"/>
                  </a:lnTo>
                  <a:lnTo>
                    <a:pt x="238" y="97"/>
                  </a:lnTo>
                  <a:lnTo>
                    <a:pt x="238" y="74"/>
                  </a:lnTo>
                  <a:lnTo>
                    <a:pt x="229" y="71"/>
                  </a:lnTo>
                  <a:lnTo>
                    <a:pt x="222" y="58"/>
                  </a:lnTo>
                  <a:lnTo>
                    <a:pt x="204" y="61"/>
                  </a:lnTo>
                  <a:lnTo>
                    <a:pt x="192" y="56"/>
                  </a:lnTo>
                  <a:lnTo>
                    <a:pt x="186" y="44"/>
                  </a:lnTo>
                  <a:lnTo>
                    <a:pt x="198" y="35"/>
                  </a:lnTo>
                  <a:lnTo>
                    <a:pt x="204" y="23"/>
                  </a:lnTo>
                  <a:lnTo>
                    <a:pt x="198" y="11"/>
                  </a:lnTo>
                  <a:lnTo>
                    <a:pt x="189" y="8"/>
                  </a:lnTo>
                  <a:lnTo>
                    <a:pt x="169" y="10"/>
                  </a:lnTo>
                  <a:lnTo>
                    <a:pt x="157" y="2"/>
                  </a:lnTo>
                  <a:lnTo>
                    <a:pt x="125" y="0"/>
                  </a:lnTo>
                  <a:lnTo>
                    <a:pt x="109" y="17"/>
                  </a:lnTo>
                  <a:lnTo>
                    <a:pt x="88" y="28"/>
                  </a:lnTo>
                  <a:lnTo>
                    <a:pt x="68" y="28"/>
                  </a:lnTo>
                  <a:lnTo>
                    <a:pt x="39" y="8"/>
                  </a:lnTo>
                  <a:lnTo>
                    <a:pt x="20" y="25"/>
                  </a:lnTo>
                  <a:lnTo>
                    <a:pt x="2" y="35"/>
                  </a:lnTo>
                  <a:lnTo>
                    <a:pt x="0" y="49"/>
                  </a:lnTo>
                  <a:lnTo>
                    <a:pt x="6" y="59"/>
                  </a:lnTo>
                  <a:lnTo>
                    <a:pt x="6" y="59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973" name="Freeform 318"/>
            <p:cNvSpPr>
              <a:spLocks/>
            </p:cNvSpPr>
            <p:nvPr userDrawn="1"/>
          </p:nvSpPr>
          <p:spPr bwMode="auto">
            <a:xfrm>
              <a:off x="4698" y="2031"/>
              <a:ext cx="202" cy="157"/>
            </a:xfrm>
            <a:custGeom>
              <a:avLst/>
              <a:gdLst>
                <a:gd name="T0" fmla="*/ 157 w 202"/>
                <a:gd name="T1" fmla="*/ 157 h 157"/>
                <a:gd name="T2" fmla="*/ 202 w 202"/>
                <a:gd name="T3" fmla="*/ 151 h 157"/>
                <a:gd name="T4" fmla="*/ 193 w 202"/>
                <a:gd name="T5" fmla="*/ 122 h 157"/>
                <a:gd name="T6" fmla="*/ 202 w 202"/>
                <a:gd name="T7" fmla="*/ 95 h 157"/>
                <a:gd name="T8" fmla="*/ 183 w 202"/>
                <a:gd name="T9" fmla="*/ 71 h 157"/>
                <a:gd name="T10" fmla="*/ 156 w 202"/>
                <a:gd name="T11" fmla="*/ 71 h 157"/>
                <a:gd name="T12" fmla="*/ 137 w 202"/>
                <a:gd name="T13" fmla="*/ 67 h 157"/>
                <a:gd name="T14" fmla="*/ 113 w 202"/>
                <a:gd name="T15" fmla="*/ 50 h 157"/>
                <a:gd name="T16" fmla="*/ 104 w 202"/>
                <a:gd name="T17" fmla="*/ 50 h 157"/>
                <a:gd name="T18" fmla="*/ 92 w 202"/>
                <a:gd name="T19" fmla="*/ 55 h 157"/>
                <a:gd name="T20" fmla="*/ 92 w 202"/>
                <a:gd name="T21" fmla="*/ 83 h 157"/>
                <a:gd name="T22" fmla="*/ 85 w 202"/>
                <a:gd name="T23" fmla="*/ 91 h 157"/>
                <a:gd name="T24" fmla="*/ 80 w 202"/>
                <a:gd name="T25" fmla="*/ 89 h 157"/>
                <a:gd name="T26" fmla="*/ 73 w 202"/>
                <a:gd name="T27" fmla="*/ 83 h 157"/>
                <a:gd name="T28" fmla="*/ 65 w 202"/>
                <a:gd name="T29" fmla="*/ 85 h 157"/>
                <a:gd name="T30" fmla="*/ 56 w 202"/>
                <a:gd name="T31" fmla="*/ 79 h 157"/>
                <a:gd name="T32" fmla="*/ 71 w 202"/>
                <a:gd name="T33" fmla="*/ 64 h 157"/>
                <a:gd name="T34" fmla="*/ 82 w 202"/>
                <a:gd name="T35" fmla="*/ 47 h 157"/>
                <a:gd name="T36" fmla="*/ 85 w 202"/>
                <a:gd name="T37" fmla="*/ 27 h 157"/>
                <a:gd name="T38" fmla="*/ 88 w 202"/>
                <a:gd name="T39" fmla="*/ 11 h 157"/>
                <a:gd name="T40" fmla="*/ 82 w 202"/>
                <a:gd name="T41" fmla="*/ 0 h 157"/>
                <a:gd name="T42" fmla="*/ 82 w 202"/>
                <a:gd name="T43" fmla="*/ 11 h 157"/>
                <a:gd name="T44" fmla="*/ 80 w 202"/>
                <a:gd name="T45" fmla="*/ 32 h 157"/>
                <a:gd name="T46" fmla="*/ 71 w 202"/>
                <a:gd name="T47" fmla="*/ 53 h 157"/>
                <a:gd name="T48" fmla="*/ 59 w 202"/>
                <a:gd name="T49" fmla="*/ 70 h 157"/>
                <a:gd name="T50" fmla="*/ 42 w 202"/>
                <a:gd name="T51" fmla="*/ 82 h 157"/>
                <a:gd name="T52" fmla="*/ 26 w 202"/>
                <a:gd name="T53" fmla="*/ 85 h 157"/>
                <a:gd name="T54" fmla="*/ 20 w 202"/>
                <a:gd name="T55" fmla="*/ 82 h 157"/>
                <a:gd name="T56" fmla="*/ 14 w 202"/>
                <a:gd name="T57" fmla="*/ 86 h 157"/>
                <a:gd name="T58" fmla="*/ 14 w 202"/>
                <a:gd name="T59" fmla="*/ 91 h 157"/>
                <a:gd name="T60" fmla="*/ 12 w 202"/>
                <a:gd name="T61" fmla="*/ 101 h 157"/>
                <a:gd name="T62" fmla="*/ 6 w 202"/>
                <a:gd name="T63" fmla="*/ 109 h 157"/>
                <a:gd name="T64" fmla="*/ 11 w 202"/>
                <a:gd name="T65" fmla="*/ 113 h 157"/>
                <a:gd name="T66" fmla="*/ 21 w 202"/>
                <a:gd name="T67" fmla="*/ 104 h 157"/>
                <a:gd name="T68" fmla="*/ 26 w 202"/>
                <a:gd name="T69" fmla="*/ 107 h 157"/>
                <a:gd name="T70" fmla="*/ 33 w 202"/>
                <a:gd name="T71" fmla="*/ 112 h 157"/>
                <a:gd name="T72" fmla="*/ 39 w 202"/>
                <a:gd name="T73" fmla="*/ 106 h 157"/>
                <a:gd name="T74" fmla="*/ 41 w 202"/>
                <a:gd name="T75" fmla="*/ 119 h 157"/>
                <a:gd name="T76" fmla="*/ 26 w 202"/>
                <a:gd name="T77" fmla="*/ 119 h 157"/>
                <a:gd name="T78" fmla="*/ 14 w 202"/>
                <a:gd name="T79" fmla="*/ 119 h 157"/>
                <a:gd name="T80" fmla="*/ 9 w 202"/>
                <a:gd name="T81" fmla="*/ 130 h 157"/>
                <a:gd name="T82" fmla="*/ 0 w 202"/>
                <a:gd name="T83" fmla="*/ 141 h 157"/>
                <a:gd name="T84" fmla="*/ 104 w 202"/>
                <a:gd name="T85" fmla="*/ 145 h 157"/>
                <a:gd name="T86" fmla="*/ 157 w 202"/>
                <a:gd name="T87" fmla="*/ 157 h 157"/>
                <a:gd name="T88" fmla="*/ 157 w 202"/>
                <a:gd name="T89" fmla="*/ 157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02" h="157">
                  <a:moveTo>
                    <a:pt x="157" y="157"/>
                  </a:moveTo>
                  <a:lnTo>
                    <a:pt x="202" y="151"/>
                  </a:lnTo>
                  <a:lnTo>
                    <a:pt x="193" y="122"/>
                  </a:lnTo>
                  <a:lnTo>
                    <a:pt x="202" y="95"/>
                  </a:lnTo>
                  <a:lnTo>
                    <a:pt x="183" y="71"/>
                  </a:lnTo>
                  <a:lnTo>
                    <a:pt x="156" y="71"/>
                  </a:lnTo>
                  <a:lnTo>
                    <a:pt x="137" y="67"/>
                  </a:lnTo>
                  <a:lnTo>
                    <a:pt x="113" y="50"/>
                  </a:lnTo>
                  <a:lnTo>
                    <a:pt x="104" y="50"/>
                  </a:lnTo>
                  <a:lnTo>
                    <a:pt x="92" y="55"/>
                  </a:lnTo>
                  <a:lnTo>
                    <a:pt x="92" y="83"/>
                  </a:lnTo>
                  <a:lnTo>
                    <a:pt x="85" y="91"/>
                  </a:lnTo>
                  <a:lnTo>
                    <a:pt x="80" y="89"/>
                  </a:lnTo>
                  <a:lnTo>
                    <a:pt x="73" y="83"/>
                  </a:lnTo>
                  <a:lnTo>
                    <a:pt x="65" y="85"/>
                  </a:lnTo>
                  <a:lnTo>
                    <a:pt x="56" y="79"/>
                  </a:lnTo>
                  <a:lnTo>
                    <a:pt x="71" y="64"/>
                  </a:lnTo>
                  <a:lnTo>
                    <a:pt x="82" y="47"/>
                  </a:lnTo>
                  <a:lnTo>
                    <a:pt x="85" y="27"/>
                  </a:lnTo>
                  <a:lnTo>
                    <a:pt x="88" y="11"/>
                  </a:lnTo>
                  <a:lnTo>
                    <a:pt x="82" y="0"/>
                  </a:lnTo>
                  <a:lnTo>
                    <a:pt x="82" y="11"/>
                  </a:lnTo>
                  <a:lnTo>
                    <a:pt x="80" y="32"/>
                  </a:lnTo>
                  <a:lnTo>
                    <a:pt x="71" y="53"/>
                  </a:lnTo>
                  <a:lnTo>
                    <a:pt x="59" y="70"/>
                  </a:lnTo>
                  <a:lnTo>
                    <a:pt x="42" y="82"/>
                  </a:lnTo>
                  <a:lnTo>
                    <a:pt x="26" y="85"/>
                  </a:lnTo>
                  <a:lnTo>
                    <a:pt x="20" y="82"/>
                  </a:lnTo>
                  <a:lnTo>
                    <a:pt x="14" y="86"/>
                  </a:lnTo>
                  <a:lnTo>
                    <a:pt x="14" y="91"/>
                  </a:lnTo>
                  <a:lnTo>
                    <a:pt x="12" y="101"/>
                  </a:lnTo>
                  <a:lnTo>
                    <a:pt x="6" y="109"/>
                  </a:lnTo>
                  <a:lnTo>
                    <a:pt x="11" y="113"/>
                  </a:lnTo>
                  <a:lnTo>
                    <a:pt x="21" y="104"/>
                  </a:lnTo>
                  <a:lnTo>
                    <a:pt x="26" y="107"/>
                  </a:lnTo>
                  <a:lnTo>
                    <a:pt x="33" y="112"/>
                  </a:lnTo>
                  <a:lnTo>
                    <a:pt x="39" y="106"/>
                  </a:lnTo>
                  <a:lnTo>
                    <a:pt x="41" y="119"/>
                  </a:lnTo>
                  <a:lnTo>
                    <a:pt x="26" y="119"/>
                  </a:lnTo>
                  <a:lnTo>
                    <a:pt x="14" y="119"/>
                  </a:lnTo>
                  <a:lnTo>
                    <a:pt x="9" y="130"/>
                  </a:lnTo>
                  <a:lnTo>
                    <a:pt x="0" y="141"/>
                  </a:lnTo>
                  <a:lnTo>
                    <a:pt x="104" y="145"/>
                  </a:lnTo>
                  <a:lnTo>
                    <a:pt x="157" y="157"/>
                  </a:lnTo>
                  <a:lnTo>
                    <a:pt x="157" y="157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974" name="Freeform 319"/>
            <p:cNvSpPr>
              <a:spLocks/>
            </p:cNvSpPr>
            <p:nvPr userDrawn="1"/>
          </p:nvSpPr>
          <p:spPr bwMode="auto">
            <a:xfrm>
              <a:off x="4348" y="2126"/>
              <a:ext cx="635" cy="583"/>
            </a:xfrm>
            <a:custGeom>
              <a:avLst/>
              <a:gdLst>
                <a:gd name="T0" fmla="*/ 29 w 635"/>
                <a:gd name="T1" fmla="*/ 239 h 583"/>
                <a:gd name="T2" fmla="*/ 38 w 635"/>
                <a:gd name="T3" fmla="*/ 293 h 583"/>
                <a:gd name="T4" fmla="*/ 38 w 635"/>
                <a:gd name="T5" fmla="*/ 340 h 583"/>
                <a:gd name="T6" fmla="*/ 55 w 635"/>
                <a:gd name="T7" fmla="*/ 384 h 583"/>
                <a:gd name="T8" fmla="*/ 39 w 635"/>
                <a:gd name="T9" fmla="*/ 423 h 583"/>
                <a:gd name="T10" fmla="*/ 55 w 635"/>
                <a:gd name="T11" fmla="*/ 403 h 583"/>
                <a:gd name="T12" fmla="*/ 76 w 635"/>
                <a:gd name="T13" fmla="*/ 439 h 583"/>
                <a:gd name="T14" fmla="*/ 100 w 635"/>
                <a:gd name="T15" fmla="*/ 433 h 583"/>
                <a:gd name="T16" fmla="*/ 142 w 635"/>
                <a:gd name="T17" fmla="*/ 445 h 583"/>
                <a:gd name="T18" fmla="*/ 157 w 635"/>
                <a:gd name="T19" fmla="*/ 488 h 583"/>
                <a:gd name="T20" fmla="*/ 163 w 635"/>
                <a:gd name="T21" fmla="*/ 467 h 583"/>
                <a:gd name="T22" fmla="*/ 190 w 635"/>
                <a:gd name="T23" fmla="*/ 471 h 583"/>
                <a:gd name="T24" fmla="*/ 228 w 635"/>
                <a:gd name="T25" fmla="*/ 468 h 583"/>
                <a:gd name="T26" fmla="*/ 248 w 635"/>
                <a:gd name="T27" fmla="*/ 497 h 583"/>
                <a:gd name="T28" fmla="*/ 276 w 635"/>
                <a:gd name="T29" fmla="*/ 534 h 583"/>
                <a:gd name="T30" fmla="*/ 291 w 635"/>
                <a:gd name="T31" fmla="*/ 545 h 583"/>
                <a:gd name="T32" fmla="*/ 332 w 635"/>
                <a:gd name="T33" fmla="*/ 540 h 583"/>
                <a:gd name="T34" fmla="*/ 352 w 635"/>
                <a:gd name="T35" fmla="*/ 559 h 583"/>
                <a:gd name="T36" fmla="*/ 401 w 635"/>
                <a:gd name="T37" fmla="*/ 556 h 583"/>
                <a:gd name="T38" fmla="*/ 445 w 635"/>
                <a:gd name="T39" fmla="*/ 553 h 583"/>
                <a:gd name="T40" fmla="*/ 498 w 635"/>
                <a:gd name="T41" fmla="*/ 569 h 583"/>
                <a:gd name="T42" fmla="*/ 533 w 635"/>
                <a:gd name="T43" fmla="*/ 571 h 583"/>
                <a:gd name="T44" fmla="*/ 610 w 635"/>
                <a:gd name="T45" fmla="*/ 479 h 583"/>
                <a:gd name="T46" fmla="*/ 632 w 635"/>
                <a:gd name="T47" fmla="*/ 468 h 583"/>
                <a:gd name="T48" fmla="*/ 608 w 635"/>
                <a:gd name="T49" fmla="*/ 379 h 583"/>
                <a:gd name="T50" fmla="*/ 598 w 635"/>
                <a:gd name="T51" fmla="*/ 326 h 583"/>
                <a:gd name="T52" fmla="*/ 575 w 635"/>
                <a:gd name="T53" fmla="*/ 278 h 583"/>
                <a:gd name="T54" fmla="*/ 619 w 635"/>
                <a:gd name="T55" fmla="*/ 233 h 583"/>
                <a:gd name="T56" fmla="*/ 625 w 635"/>
                <a:gd name="T57" fmla="*/ 199 h 583"/>
                <a:gd name="T58" fmla="*/ 599 w 635"/>
                <a:gd name="T59" fmla="*/ 127 h 583"/>
                <a:gd name="T60" fmla="*/ 601 w 635"/>
                <a:gd name="T61" fmla="*/ 89 h 583"/>
                <a:gd name="T62" fmla="*/ 560 w 635"/>
                <a:gd name="T63" fmla="*/ 56 h 583"/>
                <a:gd name="T64" fmla="*/ 507 w 635"/>
                <a:gd name="T65" fmla="*/ 62 h 583"/>
                <a:gd name="T66" fmla="*/ 350 w 635"/>
                <a:gd name="T67" fmla="*/ 46 h 583"/>
                <a:gd name="T68" fmla="*/ 329 w 635"/>
                <a:gd name="T69" fmla="*/ 64 h 583"/>
                <a:gd name="T70" fmla="*/ 318 w 635"/>
                <a:gd name="T71" fmla="*/ 53 h 583"/>
                <a:gd name="T72" fmla="*/ 344 w 635"/>
                <a:gd name="T73" fmla="*/ 41 h 583"/>
                <a:gd name="T74" fmla="*/ 356 w 635"/>
                <a:gd name="T75" fmla="*/ 18 h 583"/>
                <a:gd name="T76" fmla="*/ 349 w 635"/>
                <a:gd name="T77" fmla="*/ 30 h 583"/>
                <a:gd name="T78" fmla="*/ 309 w 635"/>
                <a:gd name="T79" fmla="*/ 53 h 583"/>
                <a:gd name="T80" fmla="*/ 291 w 635"/>
                <a:gd name="T81" fmla="*/ 49 h 583"/>
                <a:gd name="T82" fmla="*/ 273 w 635"/>
                <a:gd name="T83" fmla="*/ 27 h 583"/>
                <a:gd name="T84" fmla="*/ 278 w 635"/>
                <a:gd name="T85" fmla="*/ 11 h 583"/>
                <a:gd name="T86" fmla="*/ 290 w 635"/>
                <a:gd name="T87" fmla="*/ 24 h 583"/>
                <a:gd name="T88" fmla="*/ 294 w 635"/>
                <a:gd name="T89" fmla="*/ 27 h 583"/>
                <a:gd name="T90" fmla="*/ 273 w 635"/>
                <a:gd name="T91" fmla="*/ 3 h 583"/>
                <a:gd name="T92" fmla="*/ 211 w 635"/>
                <a:gd name="T93" fmla="*/ 9 h 583"/>
                <a:gd name="T94" fmla="*/ 168 w 635"/>
                <a:gd name="T95" fmla="*/ 29 h 583"/>
                <a:gd name="T96" fmla="*/ 128 w 635"/>
                <a:gd name="T97" fmla="*/ 52 h 583"/>
                <a:gd name="T98" fmla="*/ 80 w 635"/>
                <a:gd name="T99" fmla="*/ 73 h 583"/>
                <a:gd name="T100" fmla="*/ 36 w 635"/>
                <a:gd name="T101" fmla="*/ 95 h 583"/>
                <a:gd name="T102" fmla="*/ 21 w 635"/>
                <a:gd name="T103" fmla="*/ 100 h 583"/>
                <a:gd name="T104" fmla="*/ 20 w 635"/>
                <a:gd name="T105" fmla="*/ 116 h 583"/>
                <a:gd name="T106" fmla="*/ 21 w 635"/>
                <a:gd name="T107" fmla="*/ 124 h 583"/>
                <a:gd name="T108" fmla="*/ 20 w 635"/>
                <a:gd name="T109" fmla="*/ 166 h 583"/>
                <a:gd name="T110" fmla="*/ 0 w 635"/>
                <a:gd name="T111" fmla="*/ 215 h 5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35" h="583">
                  <a:moveTo>
                    <a:pt x="0" y="215"/>
                  </a:moveTo>
                  <a:lnTo>
                    <a:pt x="29" y="239"/>
                  </a:lnTo>
                  <a:lnTo>
                    <a:pt x="26" y="269"/>
                  </a:lnTo>
                  <a:lnTo>
                    <a:pt x="38" y="293"/>
                  </a:lnTo>
                  <a:lnTo>
                    <a:pt x="30" y="314"/>
                  </a:lnTo>
                  <a:lnTo>
                    <a:pt x="38" y="340"/>
                  </a:lnTo>
                  <a:lnTo>
                    <a:pt x="55" y="370"/>
                  </a:lnTo>
                  <a:lnTo>
                    <a:pt x="55" y="384"/>
                  </a:lnTo>
                  <a:lnTo>
                    <a:pt x="45" y="405"/>
                  </a:lnTo>
                  <a:lnTo>
                    <a:pt x="39" y="423"/>
                  </a:lnTo>
                  <a:lnTo>
                    <a:pt x="48" y="417"/>
                  </a:lnTo>
                  <a:lnTo>
                    <a:pt x="55" y="403"/>
                  </a:lnTo>
                  <a:lnTo>
                    <a:pt x="70" y="405"/>
                  </a:lnTo>
                  <a:lnTo>
                    <a:pt x="76" y="439"/>
                  </a:lnTo>
                  <a:lnTo>
                    <a:pt x="85" y="441"/>
                  </a:lnTo>
                  <a:lnTo>
                    <a:pt x="100" y="433"/>
                  </a:lnTo>
                  <a:lnTo>
                    <a:pt x="115" y="450"/>
                  </a:lnTo>
                  <a:lnTo>
                    <a:pt x="142" y="445"/>
                  </a:lnTo>
                  <a:lnTo>
                    <a:pt x="136" y="467"/>
                  </a:lnTo>
                  <a:lnTo>
                    <a:pt x="157" y="488"/>
                  </a:lnTo>
                  <a:lnTo>
                    <a:pt x="172" y="483"/>
                  </a:lnTo>
                  <a:lnTo>
                    <a:pt x="163" y="467"/>
                  </a:lnTo>
                  <a:lnTo>
                    <a:pt x="172" y="456"/>
                  </a:lnTo>
                  <a:lnTo>
                    <a:pt x="190" y="471"/>
                  </a:lnTo>
                  <a:lnTo>
                    <a:pt x="220" y="470"/>
                  </a:lnTo>
                  <a:lnTo>
                    <a:pt x="228" y="468"/>
                  </a:lnTo>
                  <a:lnTo>
                    <a:pt x="236" y="501"/>
                  </a:lnTo>
                  <a:lnTo>
                    <a:pt x="248" y="497"/>
                  </a:lnTo>
                  <a:lnTo>
                    <a:pt x="276" y="515"/>
                  </a:lnTo>
                  <a:lnTo>
                    <a:pt x="276" y="534"/>
                  </a:lnTo>
                  <a:lnTo>
                    <a:pt x="290" y="542"/>
                  </a:lnTo>
                  <a:lnTo>
                    <a:pt x="291" y="545"/>
                  </a:lnTo>
                  <a:lnTo>
                    <a:pt x="312" y="563"/>
                  </a:lnTo>
                  <a:lnTo>
                    <a:pt x="332" y="540"/>
                  </a:lnTo>
                  <a:lnTo>
                    <a:pt x="341" y="536"/>
                  </a:lnTo>
                  <a:lnTo>
                    <a:pt x="352" y="559"/>
                  </a:lnTo>
                  <a:lnTo>
                    <a:pt x="365" y="572"/>
                  </a:lnTo>
                  <a:lnTo>
                    <a:pt x="401" y="556"/>
                  </a:lnTo>
                  <a:lnTo>
                    <a:pt x="432" y="566"/>
                  </a:lnTo>
                  <a:lnTo>
                    <a:pt x="445" y="553"/>
                  </a:lnTo>
                  <a:lnTo>
                    <a:pt x="483" y="549"/>
                  </a:lnTo>
                  <a:lnTo>
                    <a:pt x="498" y="569"/>
                  </a:lnTo>
                  <a:lnTo>
                    <a:pt x="519" y="583"/>
                  </a:lnTo>
                  <a:lnTo>
                    <a:pt x="533" y="571"/>
                  </a:lnTo>
                  <a:lnTo>
                    <a:pt x="531" y="560"/>
                  </a:lnTo>
                  <a:lnTo>
                    <a:pt x="610" y="479"/>
                  </a:lnTo>
                  <a:lnTo>
                    <a:pt x="623" y="477"/>
                  </a:lnTo>
                  <a:lnTo>
                    <a:pt x="632" y="468"/>
                  </a:lnTo>
                  <a:lnTo>
                    <a:pt x="635" y="421"/>
                  </a:lnTo>
                  <a:lnTo>
                    <a:pt x="608" y="379"/>
                  </a:lnTo>
                  <a:lnTo>
                    <a:pt x="602" y="359"/>
                  </a:lnTo>
                  <a:lnTo>
                    <a:pt x="598" y="326"/>
                  </a:lnTo>
                  <a:lnTo>
                    <a:pt x="607" y="293"/>
                  </a:lnTo>
                  <a:lnTo>
                    <a:pt x="575" y="278"/>
                  </a:lnTo>
                  <a:lnTo>
                    <a:pt x="581" y="252"/>
                  </a:lnTo>
                  <a:lnTo>
                    <a:pt x="619" y="233"/>
                  </a:lnTo>
                  <a:lnTo>
                    <a:pt x="620" y="207"/>
                  </a:lnTo>
                  <a:lnTo>
                    <a:pt x="625" y="199"/>
                  </a:lnTo>
                  <a:lnTo>
                    <a:pt x="616" y="175"/>
                  </a:lnTo>
                  <a:lnTo>
                    <a:pt x="599" y="127"/>
                  </a:lnTo>
                  <a:lnTo>
                    <a:pt x="601" y="116"/>
                  </a:lnTo>
                  <a:lnTo>
                    <a:pt x="601" y="89"/>
                  </a:lnTo>
                  <a:lnTo>
                    <a:pt x="578" y="68"/>
                  </a:lnTo>
                  <a:lnTo>
                    <a:pt x="560" y="56"/>
                  </a:lnTo>
                  <a:lnTo>
                    <a:pt x="552" y="56"/>
                  </a:lnTo>
                  <a:lnTo>
                    <a:pt x="507" y="62"/>
                  </a:lnTo>
                  <a:lnTo>
                    <a:pt x="454" y="50"/>
                  </a:lnTo>
                  <a:lnTo>
                    <a:pt x="350" y="46"/>
                  </a:lnTo>
                  <a:lnTo>
                    <a:pt x="341" y="55"/>
                  </a:lnTo>
                  <a:lnTo>
                    <a:pt x="329" y="64"/>
                  </a:lnTo>
                  <a:lnTo>
                    <a:pt x="323" y="68"/>
                  </a:lnTo>
                  <a:lnTo>
                    <a:pt x="318" y="53"/>
                  </a:lnTo>
                  <a:lnTo>
                    <a:pt x="326" y="53"/>
                  </a:lnTo>
                  <a:lnTo>
                    <a:pt x="344" y="41"/>
                  </a:lnTo>
                  <a:lnTo>
                    <a:pt x="355" y="30"/>
                  </a:lnTo>
                  <a:lnTo>
                    <a:pt x="356" y="18"/>
                  </a:lnTo>
                  <a:lnTo>
                    <a:pt x="353" y="17"/>
                  </a:lnTo>
                  <a:lnTo>
                    <a:pt x="349" y="30"/>
                  </a:lnTo>
                  <a:lnTo>
                    <a:pt x="325" y="49"/>
                  </a:lnTo>
                  <a:lnTo>
                    <a:pt x="309" y="53"/>
                  </a:lnTo>
                  <a:lnTo>
                    <a:pt x="296" y="55"/>
                  </a:lnTo>
                  <a:lnTo>
                    <a:pt x="291" y="49"/>
                  </a:lnTo>
                  <a:lnTo>
                    <a:pt x="275" y="43"/>
                  </a:lnTo>
                  <a:lnTo>
                    <a:pt x="273" y="27"/>
                  </a:lnTo>
                  <a:lnTo>
                    <a:pt x="270" y="17"/>
                  </a:lnTo>
                  <a:lnTo>
                    <a:pt x="278" y="11"/>
                  </a:lnTo>
                  <a:lnTo>
                    <a:pt x="282" y="14"/>
                  </a:lnTo>
                  <a:lnTo>
                    <a:pt x="290" y="24"/>
                  </a:lnTo>
                  <a:lnTo>
                    <a:pt x="293" y="32"/>
                  </a:lnTo>
                  <a:lnTo>
                    <a:pt x="294" y="27"/>
                  </a:lnTo>
                  <a:lnTo>
                    <a:pt x="290" y="14"/>
                  </a:lnTo>
                  <a:lnTo>
                    <a:pt x="273" y="3"/>
                  </a:lnTo>
                  <a:lnTo>
                    <a:pt x="243" y="0"/>
                  </a:lnTo>
                  <a:lnTo>
                    <a:pt x="211" y="9"/>
                  </a:lnTo>
                  <a:lnTo>
                    <a:pt x="187" y="14"/>
                  </a:lnTo>
                  <a:lnTo>
                    <a:pt x="168" y="29"/>
                  </a:lnTo>
                  <a:lnTo>
                    <a:pt x="145" y="32"/>
                  </a:lnTo>
                  <a:lnTo>
                    <a:pt x="128" y="52"/>
                  </a:lnTo>
                  <a:lnTo>
                    <a:pt x="112" y="67"/>
                  </a:lnTo>
                  <a:lnTo>
                    <a:pt x="80" y="73"/>
                  </a:lnTo>
                  <a:lnTo>
                    <a:pt x="44" y="86"/>
                  </a:lnTo>
                  <a:lnTo>
                    <a:pt x="36" y="95"/>
                  </a:lnTo>
                  <a:lnTo>
                    <a:pt x="29" y="103"/>
                  </a:lnTo>
                  <a:lnTo>
                    <a:pt x="21" y="100"/>
                  </a:lnTo>
                  <a:lnTo>
                    <a:pt x="15" y="107"/>
                  </a:lnTo>
                  <a:lnTo>
                    <a:pt x="20" y="116"/>
                  </a:lnTo>
                  <a:lnTo>
                    <a:pt x="24" y="118"/>
                  </a:lnTo>
                  <a:lnTo>
                    <a:pt x="21" y="124"/>
                  </a:lnTo>
                  <a:lnTo>
                    <a:pt x="18" y="132"/>
                  </a:lnTo>
                  <a:lnTo>
                    <a:pt x="20" y="166"/>
                  </a:lnTo>
                  <a:lnTo>
                    <a:pt x="0" y="215"/>
                  </a:lnTo>
                  <a:lnTo>
                    <a:pt x="0" y="215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975" name="Freeform 320"/>
            <p:cNvSpPr>
              <a:spLocks/>
            </p:cNvSpPr>
            <p:nvPr userDrawn="1"/>
          </p:nvSpPr>
          <p:spPr bwMode="auto">
            <a:xfrm>
              <a:off x="4783" y="1951"/>
              <a:ext cx="357" cy="291"/>
            </a:xfrm>
            <a:custGeom>
              <a:avLst/>
              <a:gdLst>
                <a:gd name="T0" fmla="*/ 52 w 357"/>
                <a:gd name="T1" fmla="*/ 147 h 291"/>
                <a:gd name="T2" fmla="*/ 71 w 357"/>
                <a:gd name="T3" fmla="*/ 151 h 291"/>
                <a:gd name="T4" fmla="*/ 98 w 357"/>
                <a:gd name="T5" fmla="*/ 151 h 291"/>
                <a:gd name="T6" fmla="*/ 117 w 357"/>
                <a:gd name="T7" fmla="*/ 175 h 291"/>
                <a:gd name="T8" fmla="*/ 108 w 357"/>
                <a:gd name="T9" fmla="*/ 202 h 291"/>
                <a:gd name="T10" fmla="*/ 117 w 357"/>
                <a:gd name="T11" fmla="*/ 231 h 291"/>
                <a:gd name="T12" fmla="*/ 125 w 357"/>
                <a:gd name="T13" fmla="*/ 231 h 291"/>
                <a:gd name="T14" fmla="*/ 143 w 357"/>
                <a:gd name="T15" fmla="*/ 243 h 291"/>
                <a:gd name="T16" fmla="*/ 166 w 357"/>
                <a:gd name="T17" fmla="*/ 264 h 291"/>
                <a:gd name="T18" fmla="*/ 166 w 357"/>
                <a:gd name="T19" fmla="*/ 291 h 291"/>
                <a:gd name="T20" fmla="*/ 173 w 357"/>
                <a:gd name="T21" fmla="*/ 287 h 291"/>
                <a:gd name="T22" fmla="*/ 203 w 357"/>
                <a:gd name="T23" fmla="*/ 284 h 291"/>
                <a:gd name="T24" fmla="*/ 220 w 357"/>
                <a:gd name="T25" fmla="*/ 278 h 291"/>
                <a:gd name="T26" fmla="*/ 230 w 357"/>
                <a:gd name="T27" fmla="*/ 252 h 291"/>
                <a:gd name="T28" fmla="*/ 241 w 357"/>
                <a:gd name="T29" fmla="*/ 251 h 291"/>
                <a:gd name="T30" fmla="*/ 239 w 357"/>
                <a:gd name="T31" fmla="*/ 243 h 291"/>
                <a:gd name="T32" fmla="*/ 267 w 357"/>
                <a:gd name="T33" fmla="*/ 231 h 291"/>
                <a:gd name="T34" fmla="*/ 279 w 357"/>
                <a:gd name="T35" fmla="*/ 240 h 291"/>
                <a:gd name="T36" fmla="*/ 285 w 357"/>
                <a:gd name="T37" fmla="*/ 237 h 291"/>
                <a:gd name="T38" fmla="*/ 279 w 357"/>
                <a:gd name="T39" fmla="*/ 209 h 291"/>
                <a:gd name="T40" fmla="*/ 298 w 357"/>
                <a:gd name="T41" fmla="*/ 163 h 291"/>
                <a:gd name="T42" fmla="*/ 309 w 357"/>
                <a:gd name="T43" fmla="*/ 153 h 291"/>
                <a:gd name="T44" fmla="*/ 324 w 357"/>
                <a:gd name="T45" fmla="*/ 153 h 291"/>
                <a:gd name="T46" fmla="*/ 328 w 357"/>
                <a:gd name="T47" fmla="*/ 139 h 291"/>
                <a:gd name="T48" fmla="*/ 348 w 357"/>
                <a:gd name="T49" fmla="*/ 138 h 291"/>
                <a:gd name="T50" fmla="*/ 351 w 357"/>
                <a:gd name="T51" fmla="*/ 119 h 291"/>
                <a:gd name="T52" fmla="*/ 339 w 357"/>
                <a:gd name="T53" fmla="*/ 113 h 291"/>
                <a:gd name="T54" fmla="*/ 357 w 357"/>
                <a:gd name="T55" fmla="*/ 71 h 291"/>
                <a:gd name="T56" fmla="*/ 331 w 357"/>
                <a:gd name="T57" fmla="*/ 62 h 291"/>
                <a:gd name="T58" fmla="*/ 294 w 357"/>
                <a:gd name="T59" fmla="*/ 30 h 291"/>
                <a:gd name="T60" fmla="*/ 259 w 357"/>
                <a:gd name="T61" fmla="*/ 24 h 291"/>
                <a:gd name="T62" fmla="*/ 236 w 357"/>
                <a:gd name="T63" fmla="*/ 0 h 291"/>
                <a:gd name="T64" fmla="*/ 212 w 357"/>
                <a:gd name="T65" fmla="*/ 11 h 291"/>
                <a:gd name="T66" fmla="*/ 170 w 357"/>
                <a:gd name="T67" fmla="*/ 5 h 291"/>
                <a:gd name="T68" fmla="*/ 128 w 357"/>
                <a:gd name="T69" fmla="*/ 9 h 291"/>
                <a:gd name="T70" fmla="*/ 102 w 357"/>
                <a:gd name="T71" fmla="*/ 5 h 291"/>
                <a:gd name="T72" fmla="*/ 72 w 357"/>
                <a:gd name="T73" fmla="*/ 9 h 291"/>
                <a:gd name="T74" fmla="*/ 49 w 357"/>
                <a:gd name="T75" fmla="*/ 5 h 291"/>
                <a:gd name="T76" fmla="*/ 0 w 357"/>
                <a:gd name="T77" fmla="*/ 33 h 291"/>
                <a:gd name="T78" fmla="*/ 1 w 357"/>
                <a:gd name="T79" fmla="*/ 68 h 291"/>
                <a:gd name="T80" fmla="*/ 12 w 357"/>
                <a:gd name="T81" fmla="*/ 83 h 291"/>
                <a:gd name="T82" fmla="*/ 13 w 357"/>
                <a:gd name="T83" fmla="*/ 98 h 291"/>
                <a:gd name="T84" fmla="*/ 9 w 357"/>
                <a:gd name="T85" fmla="*/ 119 h 291"/>
                <a:gd name="T86" fmla="*/ 19 w 357"/>
                <a:gd name="T87" fmla="*/ 130 h 291"/>
                <a:gd name="T88" fmla="*/ 28 w 357"/>
                <a:gd name="T89" fmla="*/ 130 h 291"/>
                <a:gd name="T90" fmla="*/ 52 w 357"/>
                <a:gd name="T91" fmla="*/ 147 h 291"/>
                <a:gd name="T92" fmla="*/ 52 w 357"/>
                <a:gd name="T93" fmla="*/ 147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57" h="291">
                  <a:moveTo>
                    <a:pt x="52" y="147"/>
                  </a:moveTo>
                  <a:lnTo>
                    <a:pt x="71" y="151"/>
                  </a:lnTo>
                  <a:lnTo>
                    <a:pt x="98" y="151"/>
                  </a:lnTo>
                  <a:lnTo>
                    <a:pt x="117" y="175"/>
                  </a:lnTo>
                  <a:lnTo>
                    <a:pt x="108" y="202"/>
                  </a:lnTo>
                  <a:lnTo>
                    <a:pt x="117" y="231"/>
                  </a:lnTo>
                  <a:lnTo>
                    <a:pt x="125" y="231"/>
                  </a:lnTo>
                  <a:lnTo>
                    <a:pt x="143" y="243"/>
                  </a:lnTo>
                  <a:lnTo>
                    <a:pt x="166" y="264"/>
                  </a:lnTo>
                  <a:lnTo>
                    <a:pt x="166" y="291"/>
                  </a:lnTo>
                  <a:lnTo>
                    <a:pt x="173" y="287"/>
                  </a:lnTo>
                  <a:lnTo>
                    <a:pt x="203" y="284"/>
                  </a:lnTo>
                  <a:lnTo>
                    <a:pt x="220" y="278"/>
                  </a:lnTo>
                  <a:lnTo>
                    <a:pt x="230" y="252"/>
                  </a:lnTo>
                  <a:lnTo>
                    <a:pt x="241" y="251"/>
                  </a:lnTo>
                  <a:lnTo>
                    <a:pt x="239" y="243"/>
                  </a:lnTo>
                  <a:lnTo>
                    <a:pt x="267" y="231"/>
                  </a:lnTo>
                  <a:lnTo>
                    <a:pt x="279" y="240"/>
                  </a:lnTo>
                  <a:lnTo>
                    <a:pt x="285" y="237"/>
                  </a:lnTo>
                  <a:lnTo>
                    <a:pt x="279" y="209"/>
                  </a:lnTo>
                  <a:lnTo>
                    <a:pt x="298" y="163"/>
                  </a:lnTo>
                  <a:lnTo>
                    <a:pt x="309" y="153"/>
                  </a:lnTo>
                  <a:lnTo>
                    <a:pt x="324" y="153"/>
                  </a:lnTo>
                  <a:lnTo>
                    <a:pt x="328" y="139"/>
                  </a:lnTo>
                  <a:lnTo>
                    <a:pt x="348" y="138"/>
                  </a:lnTo>
                  <a:lnTo>
                    <a:pt x="351" y="119"/>
                  </a:lnTo>
                  <a:lnTo>
                    <a:pt x="339" y="113"/>
                  </a:lnTo>
                  <a:lnTo>
                    <a:pt x="357" y="71"/>
                  </a:lnTo>
                  <a:lnTo>
                    <a:pt x="331" y="62"/>
                  </a:lnTo>
                  <a:lnTo>
                    <a:pt x="294" y="30"/>
                  </a:lnTo>
                  <a:lnTo>
                    <a:pt x="259" y="24"/>
                  </a:lnTo>
                  <a:lnTo>
                    <a:pt x="236" y="0"/>
                  </a:lnTo>
                  <a:lnTo>
                    <a:pt x="212" y="11"/>
                  </a:lnTo>
                  <a:lnTo>
                    <a:pt x="170" y="5"/>
                  </a:lnTo>
                  <a:lnTo>
                    <a:pt x="128" y="9"/>
                  </a:lnTo>
                  <a:lnTo>
                    <a:pt x="102" y="5"/>
                  </a:lnTo>
                  <a:lnTo>
                    <a:pt x="72" y="9"/>
                  </a:lnTo>
                  <a:lnTo>
                    <a:pt x="49" y="5"/>
                  </a:lnTo>
                  <a:lnTo>
                    <a:pt x="0" y="33"/>
                  </a:lnTo>
                  <a:lnTo>
                    <a:pt x="1" y="68"/>
                  </a:lnTo>
                  <a:lnTo>
                    <a:pt x="12" y="83"/>
                  </a:lnTo>
                  <a:lnTo>
                    <a:pt x="13" y="98"/>
                  </a:lnTo>
                  <a:lnTo>
                    <a:pt x="9" y="119"/>
                  </a:lnTo>
                  <a:lnTo>
                    <a:pt x="19" y="130"/>
                  </a:lnTo>
                  <a:lnTo>
                    <a:pt x="28" y="130"/>
                  </a:lnTo>
                  <a:lnTo>
                    <a:pt x="52" y="147"/>
                  </a:lnTo>
                  <a:lnTo>
                    <a:pt x="52" y="147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976" name="Freeform 321"/>
            <p:cNvSpPr>
              <a:spLocks/>
            </p:cNvSpPr>
            <p:nvPr userDrawn="1"/>
          </p:nvSpPr>
          <p:spPr bwMode="auto">
            <a:xfrm>
              <a:off x="3958" y="1888"/>
              <a:ext cx="179" cy="255"/>
            </a:xfrm>
            <a:custGeom>
              <a:avLst/>
              <a:gdLst>
                <a:gd name="T0" fmla="*/ 84 w 179"/>
                <a:gd name="T1" fmla="*/ 246 h 255"/>
                <a:gd name="T2" fmla="*/ 98 w 179"/>
                <a:gd name="T3" fmla="*/ 243 h 255"/>
                <a:gd name="T4" fmla="*/ 101 w 179"/>
                <a:gd name="T5" fmla="*/ 226 h 255"/>
                <a:gd name="T6" fmla="*/ 86 w 179"/>
                <a:gd name="T7" fmla="*/ 214 h 255"/>
                <a:gd name="T8" fmla="*/ 95 w 179"/>
                <a:gd name="T9" fmla="*/ 187 h 255"/>
                <a:gd name="T10" fmla="*/ 101 w 179"/>
                <a:gd name="T11" fmla="*/ 172 h 255"/>
                <a:gd name="T12" fmla="*/ 99 w 179"/>
                <a:gd name="T13" fmla="*/ 164 h 255"/>
                <a:gd name="T14" fmla="*/ 93 w 179"/>
                <a:gd name="T15" fmla="*/ 149 h 255"/>
                <a:gd name="T16" fmla="*/ 104 w 179"/>
                <a:gd name="T17" fmla="*/ 137 h 255"/>
                <a:gd name="T18" fmla="*/ 123 w 179"/>
                <a:gd name="T19" fmla="*/ 145 h 255"/>
                <a:gd name="T20" fmla="*/ 119 w 179"/>
                <a:gd name="T21" fmla="*/ 134 h 255"/>
                <a:gd name="T22" fmla="*/ 117 w 179"/>
                <a:gd name="T23" fmla="*/ 125 h 255"/>
                <a:gd name="T24" fmla="*/ 132 w 179"/>
                <a:gd name="T25" fmla="*/ 133 h 255"/>
                <a:gd name="T26" fmla="*/ 138 w 179"/>
                <a:gd name="T27" fmla="*/ 116 h 255"/>
                <a:gd name="T28" fmla="*/ 135 w 179"/>
                <a:gd name="T29" fmla="*/ 100 h 255"/>
                <a:gd name="T30" fmla="*/ 146 w 179"/>
                <a:gd name="T31" fmla="*/ 86 h 255"/>
                <a:gd name="T32" fmla="*/ 153 w 179"/>
                <a:gd name="T33" fmla="*/ 92 h 255"/>
                <a:gd name="T34" fmla="*/ 162 w 179"/>
                <a:gd name="T35" fmla="*/ 101 h 255"/>
                <a:gd name="T36" fmla="*/ 165 w 179"/>
                <a:gd name="T37" fmla="*/ 95 h 255"/>
                <a:gd name="T38" fmla="*/ 179 w 179"/>
                <a:gd name="T39" fmla="*/ 68 h 255"/>
                <a:gd name="T40" fmla="*/ 159 w 179"/>
                <a:gd name="T41" fmla="*/ 57 h 255"/>
                <a:gd name="T42" fmla="*/ 140 w 179"/>
                <a:gd name="T43" fmla="*/ 57 h 255"/>
                <a:gd name="T44" fmla="*/ 126 w 179"/>
                <a:gd name="T45" fmla="*/ 68 h 255"/>
                <a:gd name="T46" fmla="*/ 129 w 179"/>
                <a:gd name="T47" fmla="*/ 60 h 255"/>
                <a:gd name="T48" fmla="*/ 132 w 179"/>
                <a:gd name="T49" fmla="*/ 56 h 255"/>
                <a:gd name="T50" fmla="*/ 140 w 179"/>
                <a:gd name="T51" fmla="*/ 47 h 255"/>
                <a:gd name="T52" fmla="*/ 128 w 179"/>
                <a:gd name="T53" fmla="*/ 51 h 255"/>
                <a:gd name="T54" fmla="*/ 132 w 179"/>
                <a:gd name="T55" fmla="*/ 42 h 255"/>
                <a:gd name="T56" fmla="*/ 138 w 179"/>
                <a:gd name="T57" fmla="*/ 32 h 255"/>
                <a:gd name="T58" fmla="*/ 134 w 179"/>
                <a:gd name="T59" fmla="*/ 12 h 255"/>
                <a:gd name="T60" fmla="*/ 120 w 179"/>
                <a:gd name="T61" fmla="*/ 0 h 255"/>
                <a:gd name="T62" fmla="*/ 98 w 179"/>
                <a:gd name="T63" fmla="*/ 9 h 255"/>
                <a:gd name="T64" fmla="*/ 73 w 179"/>
                <a:gd name="T65" fmla="*/ 9 h 255"/>
                <a:gd name="T66" fmla="*/ 73 w 179"/>
                <a:gd name="T67" fmla="*/ 30 h 255"/>
                <a:gd name="T68" fmla="*/ 73 w 179"/>
                <a:gd name="T69" fmla="*/ 38 h 255"/>
                <a:gd name="T70" fmla="*/ 76 w 179"/>
                <a:gd name="T71" fmla="*/ 56 h 255"/>
                <a:gd name="T72" fmla="*/ 64 w 179"/>
                <a:gd name="T73" fmla="*/ 38 h 255"/>
                <a:gd name="T74" fmla="*/ 51 w 179"/>
                <a:gd name="T75" fmla="*/ 35 h 255"/>
                <a:gd name="T76" fmla="*/ 43 w 179"/>
                <a:gd name="T77" fmla="*/ 54 h 255"/>
                <a:gd name="T78" fmla="*/ 42 w 179"/>
                <a:gd name="T79" fmla="*/ 57 h 255"/>
                <a:gd name="T80" fmla="*/ 34 w 179"/>
                <a:gd name="T81" fmla="*/ 57 h 255"/>
                <a:gd name="T82" fmla="*/ 19 w 179"/>
                <a:gd name="T83" fmla="*/ 56 h 255"/>
                <a:gd name="T84" fmla="*/ 12 w 179"/>
                <a:gd name="T85" fmla="*/ 41 h 255"/>
                <a:gd name="T86" fmla="*/ 3 w 179"/>
                <a:gd name="T87" fmla="*/ 53 h 255"/>
                <a:gd name="T88" fmla="*/ 7 w 179"/>
                <a:gd name="T89" fmla="*/ 75 h 255"/>
                <a:gd name="T90" fmla="*/ 4 w 179"/>
                <a:gd name="T91" fmla="*/ 78 h 255"/>
                <a:gd name="T92" fmla="*/ 10 w 179"/>
                <a:gd name="T93" fmla="*/ 109 h 255"/>
                <a:gd name="T94" fmla="*/ 15 w 179"/>
                <a:gd name="T95" fmla="*/ 131 h 255"/>
                <a:gd name="T96" fmla="*/ 4 w 179"/>
                <a:gd name="T97" fmla="*/ 136 h 255"/>
                <a:gd name="T98" fmla="*/ 3 w 179"/>
                <a:gd name="T99" fmla="*/ 121 h 255"/>
                <a:gd name="T100" fmla="*/ 0 w 179"/>
                <a:gd name="T101" fmla="*/ 160 h 255"/>
                <a:gd name="T102" fmla="*/ 16 w 179"/>
                <a:gd name="T103" fmla="*/ 169 h 255"/>
                <a:gd name="T104" fmla="*/ 21 w 179"/>
                <a:gd name="T105" fmla="*/ 158 h 255"/>
                <a:gd name="T106" fmla="*/ 25 w 179"/>
                <a:gd name="T107" fmla="*/ 176 h 255"/>
                <a:gd name="T108" fmla="*/ 39 w 179"/>
                <a:gd name="T109" fmla="*/ 184 h 255"/>
                <a:gd name="T110" fmla="*/ 42 w 179"/>
                <a:gd name="T111" fmla="*/ 213 h 255"/>
                <a:gd name="T112" fmla="*/ 46 w 179"/>
                <a:gd name="T113" fmla="*/ 237 h 255"/>
                <a:gd name="T114" fmla="*/ 69 w 179"/>
                <a:gd name="T115" fmla="*/ 255 h 255"/>
                <a:gd name="T116" fmla="*/ 89 w 179"/>
                <a:gd name="T117" fmla="*/ 247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79" h="255">
                  <a:moveTo>
                    <a:pt x="89" y="247"/>
                  </a:moveTo>
                  <a:lnTo>
                    <a:pt x="84" y="246"/>
                  </a:lnTo>
                  <a:lnTo>
                    <a:pt x="89" y="238"/>
                  </a:lnTo>
                  <a:lnTo>
                    <a:pt x="98" y="243"/>
                  </a:lnTo>
                  <a:lnTo>
                    <a:pt x="102" y="237"/>
                  </a:lnTo>
                  <a:lnTo>
                    <a:pt x="101" y="226"/>
                  </a:lnTo>
                  <a:lnTo>
                    <a:pt x="86" y="226"/>
                  </a:lnTo>
                  <a:lnTo>
                    <a:pt x="86" y="214"/>
                  </a:lnTo>
                  <a:lnTo>
                    <a:pt x="95" y="207"/>
                  </a:lnTo>
                  <a:lnTo>
                    <a:pt x="95" y="187"/>
                  </a:lnTo>
                  <a:lnTo>
                    <a:pt x="104" y="179"/>
                  </a:lnTo>
                  <a:lnTo>
                    <a:pt x="101" y="172"/>
                  </a:lnTo>
                  <a:lnTo>
                    <a:pt x="90" y="172"/>
                  </a:lnTo>
                  <a:lnTo>
                    <a:pt x="99" y="164"/>
                  </a:lnTo>
                  <a:lnTo>
                    <a:pt x="107" y="155"/>
                  </a:lnTo>
                  <a:lnTo>
                    <a:pt x="93" y="149"/>
                  </a:lnTo>
                  <a:lnTo>
                    <a:pt x="101" y="148"/>
                  </a:lnTo>
                  <a:lnTo>
                    <a:pt x="104" y="137"/>
                  </a:lnTo>
                  <a:lnTo>
                    <a:pt x="111" y="146"/>
                  </a:lnTo>
                  <a:lnTo>
                    <a:pt x="123" y="145"/>
                  </a:lnTo>
                  <a:lnTo>
                    <a:pt x="126" y="139"/>
                  </a:lnTo>
                  <a:lnTo>
                    <a:pt x="119" y="134"/>
                  </a:lnTo>
                  <a:lnTo>
                    <a:pt x="110" y="130"/>
                  </a:lnTo>
                  <a:lnTo>
                    <a:pt x="117" y="125"/>
                  </a:lnTo>
                  <a:lnTo>
                    <a:pt x="117" y="122"/>
                  </a:lnTo>
                  <a:lnTo>
                    <a:pt x="132" y="133"/>
                  </a:lnTo>
                  <a:lnTo>
                    <a:pt x="138" y="124"/>
                  </a:lnTo>
                  <a:lnTo>
                    <a:pt x="138" y="116"/>
                  </a:lnTo>
                  <a:lnTo>
                    <a:pt x="131" y="110"/>
                  </a:lnTo>
                  <a:lnTo>
                    <a:pt x="135" y="100"/>
                  </a:lnTo>
                  <a:lnTo>
                    <a:pt x="138" y="92"/>
                  </a:lnTo>
                  <a:lnTo>
                    <a:pt x="146" y="86"/>
                  </a:lnTo>
                  <a:lnTo>
                    <a:pt x="144" y="103"/>
                  </a:lnTo>
                  <a:lnTo>
                    <a:pt x="153" y="92"/>
                  </a:lnTo>
                  <a:lnTo>
                    <a:pt x="161" y="90"/>
                  </a:lnTo>
                  <a:lnTo>
                    <a:pt x="162" y="101"/>
                  </a:lnTo>
                  <a:lnTo>
                    <a:pt x="165" y="101"/>
                  </a:lnTo>
                  <a:lnTo>
                    <a:pt x="165" y="95"/>
                  </a:lnTo>
                  <a:lnTo>
                    <a:pt x="176" y="89"/>
                  </a:lnTo>
                  <a:lnTo>
                    <a:pt x="179" y="68"/>
                  </a:lnTo>
                  <a:lnTo>
                    <a:pt x="170" y="56"/>
                  </a:lnTo>
                  <a:lnTo>
                    <a:pt x="159" y="57"/>
                  </a:lnTo>
                  <a:lnTo>
                    <a:pt x="150" y="60"/>
                  </a:lnTo>
                  <a:lnTo>
                    <a:pt x="140" y="57"/>
                  </a:lnTo>
                  <a:lnTo>
                    <a:pt x="132" y="65"/>
                  </a:lnTo>
                  <a:lnTo>
                    <a:pt x="126" y="68"/>
                  </a:lnTo>
                  <a:lnTo>
                    <a:pt x="126" y="68"/>
                  </a:lnTo>
                  <a:lnTo>
                    <a:pt x="129" y="60"/>
                  </a:lnTo>
                  <a:lnTo>
                    <a:pt x="129" y="60"/>
                  </a:lnTo>
                  <a:lnTo>
                    <a:pt x="132" y="56"/>
                  </a:lnTo>
                  <a:lnTo>
                    <a:pt x="135" y="54"/>
                  </a:lnTo>
                  <a:lnTo>
                    <a:pt x="140" y="47"/>
                  </a:lnTo>
                  <a:lnTo>
                    <a:pt x="138" y="44"/>
                  </a:lnTo>
                  <a:lnTo>
                    <a:pt x="128" y="51"/>
                  </a:lnTo>
                  <a:lnTo>
                    <a:pt x="128" y="44"/>
                  </a:lnTo>
                  <a:lnTo>
                    <a:pt x="132" y="42"/>
                  </a:lnTo>
                  <a:lnTo>
                    <a:pt x="138" y="39"/>
                  </a:lnTo>
                  <a:lnTo>
                    <a:pt x="138" y="32"/>
                  </a:lnTo>
                  <a:lnTo>
                    <a:pt x="135" y="29"/>
                  </a:lnTo>
                  <a:lnTo>
                    <a:pt x="134" y="12"/>
                  </a:lnTo>
                  <a:lnTo>
                    <a:pt x="132" y="6"/>
                  </a:lnTo>
                  <a:lnTo>
                    <a:pt x="120" y="0"/>
                  </a:lnTo>
                  <a:lnTo>
                    <a:pt x="105" y="3"/>
                  </a:lnTo>
                  <a:lnTo>
                    <a:pt x="98" y="9"/>
                  </a:lnTo>
                  <a:lnTo>
                    <a:pt x="84" y="6"/>
                  </a:lnTo>
                  <a:lnTo>
                    <a:pt x="73" y="9"/>
                  </a:lnTo>
                  <a:lnTo>
                    <a:pt x="70" y="23"/>
                  </a:lnTo>
                  <a:lnTo>
                    <a:pt x="73" y="30"/>
                  </a:lnTo>
                  <a:lnTo>
                    <a:pt x="70" y="38"/>
                  </a:lnTo>
                  <a:lnTo>
                    <a:pt x="73" y="38"/>
                  </a:lnTo>
                  <a:lnTo>
                    <a:pt x="80" y="42"/>
                  </a:lnTo>
                  <a:lnTo>
                    <a:pt x="76" y="56"/>
                  </a:lnTo>
                  <a:lnTo>
                    <a:pt x="64" y="48"/>
                  </a:lnTo>
                  <a:lnTo>
                    <a:pt x="64" y="38"/>
                  </a:lnTo>
                  <a:lnTo>
                    <a:pt x="60" y="30"/>
                  </a:lnTo>
                  <a:lnTo>
                    <a:pt x="51" y="35"/>
                  </a:lnTo>
                  <a:lnTo>
                    <a:pt x="42" y="44"/>
                  </a:lnTo>
                  <a:lnTo>
                    <a:pt x="43" y="54"/>
                  </a:lnTo>
                  <a:lnTo>
                    <a:pt x="46" y="56"/>
                  </a:lnTo>
                  <a:lnTo>
                    <a:pt x="42" y="57"/>
                  </a:lnTo>
                  <a:lnTo>
                    <a:pt x="40" y="69"/>
                  </a:lnTo>
                  <a:lnTo>
                    <a:pt x="34" y="57"/>
                  </a:lnTo>
                  <a:lnTo>
                    <a:pt x="25" y="54"/>
                  </a:lnTo>
                  <a:lnTo>
                    <a:pt x="19" y="56"/>
                  </a:lnTo>
                  <a:lnTo>
                    <a:pt x="12" y="47"/>
                  </a:lnTo>
                  <a:lnTo>
                    <a:pt x="12" y="41"/>
                  </a:lnTo>
                  <a:lnTo>
                    <a:pt x="9" y="38"/>
                  </a:lnTo>
                  <a:lnTo>
                    <a:pt x="3" y="53"/>
                  </a:lnTo>
                  <a:lnTo>
                    <a:pt x="6" y="72"/>
                  </a:lnTo>
                  <a:lnTo>
                    <a:pt x="7" y="75"/>
                  </a:lnTo>
                  <a:lnTo>
                    <a:pt x="7" y="86"/>
                  </a:lnTo>
                  <a:lnTo>
                    <a:pt x="4" y="78"/>
                  </a:lnTo>
                  <a:lnTo>
                    <a:pt x="4" y="110"/>
                  </a:lnTo>
                  <a:lnTo>
                    <a:pt x="10" y="109"/>
                  </a:lnTo>
                  <a:lnTo>
                    <a:pt x="15" y="119"/>
                  </a:lnTo>
                  <a:lnTo>
                    <a:pt x="15" y="131"/>
                  </a:lnTo>
                  <a:lnTo>
                    <a:pt x="12" y="139"/>
                  </a:lnTo>
                  <a:lnTo>
                    <a:pt x="4" y="136"/>
                  </a:lnTo>
                  <a:lnTo>
                    <a:pt x="6" y="121"/>
                  </a:lnTo>
                  <a:lnTo>
                    <a:pt x="3" y="121"/>
                  </a:lnTo>
                  <a:lnTo>
                    <a:pt x="3" y="151"/>
                  </a:lnTo>
                  <a:lnTo>
                    <a:pt x="0" y="160"/>
                  </a:lnTo>
                  <a:lnTo>
                    <a:pt x="9" y="169"/>
                  </a:lnTo>
                  <a:lnTo>
                    <a:pt x="16" y="169"/>
                  </a:lnTo>
                  <a:lnTo>
                    <a:pt x="13" y="160"/>
                  </a:lnTo>
                  <a:lnTo>
                    <a:pt x="21" y="158"/>
                  </a:lnTo>
                  <a:lnTo>
                    <a:pt x="21" y="170"/>
                  </a:lnTo>
                  <a:lnTo>
                    <a:pt x="25" y="176"/>
                  </a:lnTo>
                  <a:lnTo>
                    <a:pt x="33" y="176"/>
                  </a:lnTo>
                  <a:lnTo>
                    <a:pt x="39" y="184"/>
                  </a:lnTo>
                  <a:lnTo>
                    <a:pt x="40" y="199"/>
                  </a:lnTo>
                  <a:lnTo>
                    <a:pt x="42" y="213"/>
                  </a:lnTo>
                  <a:lnTo>
                    <a:pt x="40" y="220"/>
                  </a:lnTo>
                  <a:lnTo>
                    <a:pt x="46" y="237"/>
                  </a:lnTo>
                  <a:lnTo>
                    <a:pt x="45" y="243"/>
                  </a:lnTo>
                  <a:lnTo>
                    <a:pt x="69" y="255"/>
                  </a:lnTo>
                  <a:lnTo>
                    <a:pt x="89" y="247"/>
                  </a:lnTo>
                  <a:lnTo>
                    <a:pt x="89" y="247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977" name="Freeform 322"/>
            <p:cNvSpPr>
              <a:spLocks/>
            </p:cNvSpPr>
            <p:nvPr userDrawn="1"/>
          </p:nvSpPr>
          <p:spPr bwMode="auto">
            <a:xfrm>
              <a:off x="3829" y="2116"/>
              <a:ext cx="574" cy="771"/>
            </a:xfrm>
            <a:custGeom>
              <a:avLst/>
              <a:gdLst>
                <a:gd name="T0" fmla="*/ 53 w 574"/>
                <a:gd name="T1" fmla="*/ 306 h 771"/>
                <a:gd name="T2" fmla="*/ 15 w 574"/>
                <a:gd name="T3" fmla="*/ 386 h 771"/>
                <a:gd name="T4" fmla="*/ 15 w 574"/>
                <a:gd name="T5" fmla="*/ 452 h 771"/>
                <a:gd name="T6" fmla="*/ 18 w 574"/>
                <a:gd name="T7" fmla="*/ 519 h 771"/>
                <a:gd name="T8" fmla="*/ 80 w 574"/>
                <a:gd name="T9" fmla="*/ 593 h 771"/>
                <a:gd name="T10" fmla="*/ 144 w 574"/>
                <a:gd name="T11" fmla="*/ 614 h 771"/>
                <a:gd name="T12" fmla="*/ 94 w 574"/>
                <a:gd name="T13" fmla="*/ 724 h 771"/>
                <a:gd name="T14" fmla="*/ 145 w 574"/>
                <a:gd name="T15" fmla="*/ 744 h 771"/>
                <a:gd name="T16" fmla="*/ 195 w 574"/>
                <a:gd name="T17" fmla="*/ 730 h 771"/>
                <a:gd name="T18" fmla="*/ 249 w 574"/>
                <a:gd name="T19" fmla="*/ 750 h 771"/>
                <a:gd name="T20" fmla="*/ 290 w 574"/>
                <a:gd name="T21" fmla="*/ 753 h 771"/>
                <a:gd name="T22" fmla="*/ 365 w 574"/>
                <a:gd name="T23" fmla="*/ 742 h 771"/>
                <a:gd name="T24" fmla="*/ 448 w 574"/>
                <a:gd name="T25" fmla="*/ 734 h 771"/>
                <a:gd name="T26" fmla="*/ 475 w 574"/>
                <a:gd name="T27" fmla="*/ 676 h 771"/>
                <a:gd name="T28" fmla="*/ 471 w 574"/>
                <a:gd name="T29" fmla="*/ 617 h 771"/>
                <a:gd name="T30" fmla="*/ 415 w 574"/>
                <a:gd name="T31" fmla="*/ 528 h 771"/>
                <a:gd name="T32" fmla="*/ 408 w 574"/>
                <a:gd name="T33" fmla="*/ 489 h 771"/>
                <a:gd name="T34" fmla="*/ 500 w 574"/>
                <a:gd name="T35" fmla="*/ 437 h 771"/>
                <a:gd name="T36" fmla="*/ 558 w 574"/>
                <a:gd name="T37" fmla="*/ 433 h 771"/>
                <a:gd name="T38" fmla="*/ 557 w 574"/>
                <a:gd name="T39" fmla="*/ 350 h 771"/>
                <a:gd name="T40" fmla="*/ 548 w 574"/>
                <a:gd name="T41" fmla="*/ 249 h 771"/>
                <a:gd name="T42" fmla="*/ 533 w 574"/>
                <a:gd name="T43" fmla="*/ 140 h 771"/>
                <a:gd name="T44" fmla="*/ 512 w 574"/>
                <a:gd name="T45" fmla="*/ 131 h 771"/>
                <a:gd name="T46" fmla="*/ 492 w 574"/>
                <a:gd name="T47" fmla="*/ 113 h 771"/>
                <a:gd name="T48" fmla="*/ 482 w 574"/>
                <a:gd name="T49" fmla="*/ 92 h 771"/>
                <a:gd name="T50" fmla="*/ 460 w 574"/>
                <a:gd name="T51" fmla="*/ 89 h 771"/>
                <a:gd name="T52" fmla="*/ 435 w 574"/>
                <a:gd name="T53" fmla="*/ 65 h 771"/>
                <a:gd name="T54" fmla="*/ 403 w 574"/>
                <a:gd name="T55" fmla="*/ 81 h 771"/>
                <a:gd name="T56" fmla="*/ 426 w 574"/>
                <a:gd name="T57" fmla="*/ 63 h 771"/>
                <a:gd name="T58" fmla="*/ 391 w 574"/>
                <a:gd name="T59" fmla="*/ 86 h 771"/>
                <a:gd name="T60" fmla="*/ 352 w 574"/>
                <a:gd name="T61" fmla="*/ 96 h 771"/>
                <a:gd name="T62" fmla="*/ 328 w 574"/>
                <a:gd name="T63" fmla="*/ 107 h 771"/>
                <a:gd name="T64" fmla="*/ 294 w 574"/>
                <a:gd name="T65" fmla="*/ 98 h 771"/>
                <a:gd name="T66" fmla="*/ 317 w 574"/>
                <a:gd name="T67" fmla="*/ 65 h 771"/>
                <a:gd name="T68" fmla="*/ 267 w 574"/>
                <a:gd name="T69" fmla="*/ 57 h 771"/>
                <a:gd name="T70" fmla="*/ 248 w 574"/>
                <a:gd name="T71" fmla="*/ 44 h 771"/>
                <a:gd name="T72" fmla="*/ 239 w 574"/>
                <a:gd name="T73" fmla="*/ 24 h 771"/>
                <a:gd name="T74" fmla="*/ 198 w 574"/>
                <a:gd name="T75" fmla="*/ 27 h 771"/>
                <a:gd name="T76" fmla="*/ 154 w 574"/>
                <a:gd name="T77" fmla="*/ 13 h 771"/>
                <a:gd name="T78" fmla="*/ 145 w 574"/>
                <a:gd name="T79" fmla="*/ 9 h 771"/>
                <a:gd name="T80" fmla="*/ 150 w 574"/>
                <a:gd name="T81" fmla="*/ 18 h 771"/>
                <a:gd name="T82" fmla="*/ 177 w 574"/>
                <a:gd name="T83" fmla="*/ 33 h 771"/>
                <a:gd name="T84" fmla="*/ 187 w 574"/>
                <a:gd name="T85" fmla="*/ 62 h 771"/>
                <a:gd name="T86" fmla="*/ 171 w 574"/>
                <a:gd name="T87" fmla="*/ 77 h 771"/>
                <a:gd name="T88" fmla="*/ 177 w 574"/>
                <a:gd name="T89" fmla="*/ 84 h 771"/>
                <a:gd name="T90" fmla="*/ 192 w 574"/>
                <a:gd name="T91" fmla="*/ 104 h 771"/>
                <a:gd name="T92" fmla="*/ 180 w 574"/>
                <a:gd name="T93" fmla="*/ 116 h 771"/>
                <a:gd name="T94" fmla="*/ 230 w 574"/>
                <a:gd name="T95" fmla="*/ 140 h 771"/>
                <a:gd name="T96" fmla="*/ 237 w 574"/>
                <a:gd name="T97" fmla="*/ 163 h 771"/>
                <a:gd name="T98" fmla="*/ 168 w 574"/>
                <a:gd name="T99" fmla="*/ 125 h 771"/>
                <a:gd name="T100" fmla="*/ 165 w 574"/>
                <a:gd name="T101" fmla="*/ 167 h 771"/>
                <a:gd name="T102" fmla="*/ 142 w 574"/>
                <a:gd name="T103" fmla="*/ 154 h 771"/>
                <a:gd name="T104" fmla="*/ 136 w 574"/>
                <a:gd name="T105" fmla="*/ 172 h 771"/>
                <a:gd name="T106" fmla="*/ 73 w 574"/>
                <a:gd name="T107" fmla="*/ 157 h 771"/>
                <a:gd name="T108" fmla="*/ 65 w 574"/>
                <a:gd name="T109" fmla="*/ 178 h 771"/>
                <a:gd name="T110" fmla="*/ 95 w 574"/>
                <a:gd name="T111" fmla="*/ 185 h 771"/>
                <a:gd name="T112" fmla="*/ 83 w 574"/>
                <a:gd name="T113" fmla="*/ 184 h 771"/>
                <a:gd name="T114" fmla="*/ 70 w 574"/>
                <a:gd name="T115" fmla="*/ 259 h 7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74" h="771">
                  <a:moveTo>
                    <a:pt x="70" y="259"/>
                  </a:moveTo>
                  <a:lnTo>
                    <a:pt x="59" y="268"/>
                  </a:lnTo>
                  <a:lnTo>
                    <a:pt x="67" y="286"/>
                  </a:lnTo>
                  <a:lnTo>
                    <a:pt x="53" y="306"/>
                  </a:lnTo>
                  <a:lnTo>
                    <a:pt x="35" y="323"/>
                  </a:lnTo>
                  <a:lnTo>
                    <a:pt x="5" y="335"/>
                  </a:lnTo>
                  <a:lnTo>
                    <a:pt x="5" y="362"/>
                  </a:lnTo>
                  <a:lnTo>
                    <a:pt x="15" y="386"/>
                  </a:lnTo>
                  <a:lnTo>
                    <a:pt x="3" y="409"/>
                  </a:lnTo>
                  <a:lnTo>
                    <a:pt x="0" y="428"/>
                  </a:lnTo>
                  <a:lnTo>
                    <a:pt x="8" y="439"/>
                  </a:lnTo>
                  <a:lnTo>
                    <a:pt x="15" y="452"/>
                  </a:lnTo>
                  <a:lnTo>
                    <a:pt x="24" y="455"/>
                  </a:lnTo>
                  <a:lnTo>
                    <a:pt x="24" y="478"/>
                  </a:lnTo>
                  <a:lnTo>
                    <a:pt x="15" y="501"/>
                  </a:lnTo>
                  <a:lnTo>
                    <a:pt x="18" y="519"/>
                  </a:lnTo>
                  <a:lnTo>
                    <a:pt x="29" y="543"/>
                  </a:lnTo>
                  <a:lnTo>
                    <a:pt x="26" y="567"/>
                  </a:lnTo>
                  <a:lnTo>
                    <a:pt x="50" y="591"/>
                  </a:lnTo>
                  <a:lnTo>
                    <a:pt x="80" y="593"/>
                  </a:lnTo>
                  <a:lnTo>
                    <a:pt x="98" y="600"/>
                  </a:lnTo>
                  <a:lnTo>
                    <a:pt x="110" y="599"/>
                  </a:lnTo>
                  <a:lnTo>
                    <a:pt x="139" y="608"/>
                  </a:lnTo>
                  <a:lnTo>
                    <a:pt x="144" y="614"/>
                  </a:lnTo>
                  <a:lnTo>
                    <a:pt x="130" y="624"/>
                  </a:lnTo>
                  <a:lnTo>
                    <a:pt x="113" y="647"/>
                  </a:lnTo>
                  <a:lnTo>
                    <a:pt x="107" y="683"/>
                  </a:lnTo>
                  <a:lnTo>
                    <a:pt x="94" y="724"/>
                  </a:lnTo>
                  <a:lnTo>
                    <a:pt x="97" y="748"/>
                  </a:lnTo>
                  <a:lnTo>
                    <a:pt x="112" y="747"/>
                  </a:lnTo>
                  <a:lnTo>
                    <a:pt x="132" y="751"/>
                  </a:lnTo>
                  <a:lnTo>
                    <a:pt x="145" y="744"/>
                  </a:lnTo>
                  <a:lnTo>
                    <a:pt x="162" y="747"/>
                  </a:lnTo>
                  <a:lnTo>
                    <a:pt x="172" y="734"/>
                  </a:lnTo>
                  <a:lnTo>
                    <a:pt x="180" y="741"/>
                  </a:lnTo>
                  <a:lnTo>
                    <a:pt x="195" y="730"/>
                  </a:lnTo>
                  <a:lnTo>
                    <a:pt x="207" y="747"/>
                  </a:lnTo>
                  <a:lnTo>
                    <a:pt x="222" y="751"/>
                  </a:lnTo>
                  <a:lnTo>
                    <a:pt x="240" y="751"/>
                  </a:lnTo>
                  <a:lnTo>
                    <a:pt x="249" y="750"/>
                  </a:lnTo>
                  <a:lnTo>
                    <a:pt x="270" y="769"/>
                  </a:lnTo>
                  <a:lnTo>
                    <a:pt x="282" y="771"/>
                  </a:lnTo>
                  <a:lnTo>
                    <a:pt x="291" y="760"/>
                  </a:lnTo>
                  <a:lnTo>
                    <a:pt x="290" y="753"/>
                  </a:lnTo>
                  <a:lnTo>
                    <a:pt x="307" y="750"/>
                  </a:lnTo>
                  <a:lnTo>
                    <a:pt x="328" y="762"/>
                  </a:lnTo>
                  <a:lnTo>
                    <a:pt x="353" y="757"/>
                  </a:lnTo>
                  <a:lnTo>
                    <a:pt x="365" y="742"/>
                  </a:lnTo>
                  <a:lnTo>
                    <a:pt x="406" y="744"/>
                  </a:lnTo>
                  <a:lnTo>
                    <a:pt x="421" y="736"/>
                  </a:lnTo>
                  <a:lnTo>
                    <a:pt x="454" y="750"/>
                  </a:lnTo>
                  <a:lnTo>
                    <a:pt x="448" y="734"/>
                  </a:lnTo>
                  <a:lnTo>
                    <a:pt x="454" y="722"/>
                  </a:lnTo>
                  <a:lnTo>
                    <a:pt x="436" y="698"/>
                  </a:lnTo>
                  <a:lnTo>
                    <a:pt x="462" y="676"/>
                  </a:lnTo>
                  <a:lnTo>
                    <a:pt x="475" y="676"/>
                  </a:lnTo>
                  <a:lnTo>
                    <a:pt x="478" y="658"/>
                  </a:lnTo>
                  <a:lnTo>
                    <a:pt x="498" y="642"/>
                  </a:lnTo>
                  <a:lnTo>
                    <a:pt x="494" y="633"/>
                  </a:lnTo>
                  <a:lnTo>
                    <a:pt x="471" y="617"/>
                  </a:lnTo>
                  <a:lnTo>
                    <a:pt x="466" y="597"/>
                  </a:lnTo>
                  <a:lnTo>
                    <a:pt x="444" y="585"/>
                  </a:lnTo>
                  <a:lnTo>
                    <a:pt x="418" y="558"/>
                  </a:lnTo>
                  <a:lnTo>
                    <a:pt x="415" y="528"/>
                  </a:lnTo>
                  <a:lnTo>
                    <a:pt x="394" y="501"/>
                  </a:lnTo>
                  <a:lnTo>
                    <a:pt x="391" y="483"/>
                  </a:lnTo>
                  <a:lnTo>
                    <a:pt x="399" y="473"/>
                  </a:lnTo>
                  <a:lnTo>
                    <a:pt x="408" y="489"/>
                  </a:lnTo>
                  <a:lnTo>
                    <a:pt x="417" y="481"/>
                  </a:lnTo>
                  <a:lnTo>
                    <a:pt x="451" y="464"/>
                  </a:lnTo>
                  <a:lnTo>
                    <a:pt x="466" y="463"/>
                  </a:lnTo>
                  <a:lnTo>
                    <a:pt x="500" y="437"/>
                  </a:lnTo>
                  <a:lnTo>
                    <a:pt x="521" y="431"/>
                  </a:lnTo>
                  <a:lnTo>
                    <a:pt x="516" y="416"/>
                  </a:lnTo>
                  <a:lnTo>
                    <a:pt x="531" y="413"/>
                  </a:lnTo>
                  <a:lnTo>
                    <a:pt x="558" y="433"/>
                  </a:lnTo>
                  <a:lnTo>
                    <a:pt x="564" y="415"/>
                  </a:lnTo>
                  <a:lnTo>
                    <a:pt x="574" y="394"/>
                  </a:lnTo>
                  <a:lnTo>
                    <a:pt x="574" y="380"/>
                  </a:lnTo>
                  <a:lnTo>
                    <a:pt x="557" y="350"/>
                  </a:lnTo>
                  <a:lnTo>
                    <a:pt x="549" y="324"/>
                  </a:lnTo>
                  <a:lnTo>
                    <a:pt x="557" y="303"/>
                  </a:lnTo>
                  <a:lnTo>
                    <a:pt x="545" y="279"/>
                  </a:lnTo>
                  <a:lnTo>
                    <a:pt x="548" y="249"/>
                  </a:lnTo>
                  <a:lnTo>
                    <a:pt x="519" y="225"/>
                  </a:lnTo>
                  <a:lnTo>
                    <a:pt x="539" y="176"/>
                  </a:lnTo>
                  <a:lnTo>
                    <a:pt x="537" y="142"/>
                  </a:lnTo>
                  <a:lnTo>
                    <a:pt x="533" y="140"/>
                  </a:lnTo>
                  <a:lnTo>
                    <a:pt x="528" y="134"/>
                  </a:lnTo>
                  <a:lnTo>
                    <a:pt x="522" y="140"/>
                  </a:lnTo>
                  <a:lnTo>
                    <a:pt x="519" y="131"/>
                  </a:lnTo>
                  <a:lnTo>
                    <a:pt x="512" y="131"/>
                  </a:lnTo>
                  <a:lnTo>
                    <a:pt x="503" y="131"/>
                  </a:lnTo>
                  <a:lnTo>
                    <a:pt x="483" y="122"/>
                  </a:lnTo>
                  <a:lnTo>
                    <a:pt x="489" y="117"/>
                  </a:lnTo>
                  <a:lnTo>
                    <a:pt x="492" y="113"/>
                  </a:lnTo>
                  <a:lnTo>
                    <a:pt x="485" y="105"/>
                  </a:lnTo>
                  <a:lnTo>
                    <a:pt x="489" y="102"/>
                  </a:lnTo>
                  <a:lnTo>
                    <a:pt x="485" y="101"/>
                  </a:lnTo>
                  <a:lnTo>
                    <a:pt x="482" y="92"/>
                  </a:lnTo>
                  <a:lnTo>
                    <a:pt x="474" y="92"/>
                  </a:lnTo>
                  <a:lnTo>
                    <a:pt x="472" y="96"/>
                  </a:lnTo>
                  <a:lnTo>
                    <a:pt x="466" y="87"/>
                  </a:lnTo>
                  <a:lnTo>
                    <a:pt x="460" y="89"/>
                  </a:lnTo>
                  <a:lnTo>
                    <a:pt x="456" y="84"/>
                  </a:lnTo>
                  <a:lnTo>
                    <a:pt x="448" y="72"/>
                  </a:lnTo>
                  <a:lnTo>
                    <a:pt x="438" y="63"/>
                  </a:lnTo>
                  <a:lnTo>
                    <a:pt x="435" y="65"/>
                  </a:lnTo>
                  <a:lnTo>
                    <a:pt x="432" y="69"/>
                  </a:lnTo>
                  <a:lnTo>
                    <a:pt x="420" y="72"/>
                  </a:lnTo>
                  <a:lnTo>
                    <a:pt x="408" y="84"/>
                  </a:lnTo>
                  <a:lnTo>
                    <a:pt x="403" y="81"/>
                  </a:lnTo>
                  <a:lnTo>
                    <a:pt x="403" y="77"/>
                  </a:lnTo>
                  <a:lnTo>
                    <a:pt x="409" y="74"/>
                  </a:lnTo>
                  <a:lnTo>
                    <a:pt x="412" y="63"/>
                  </a:lnTo>
                  <a:lnTo>
                    <a:pt x="426" y="63"/>
                  </a:lnTo>
                  <a:lnTo>
                    <a:pt x="426" y="60"/>
                  </a:lnTo>
                  <a:lnTo>
                    <a:pt x="406" y="60"/>
                  </a:lnTo>
                  <a:lnTo>
                    <a:pt x="394" y="75"/>
                  </a:lnTo>
                  <a:lnTo>
                    <a:pt x="391" y="86"/>
                  </a:lnTo>
                  <a:lnTo>
                    <a:pt x="382" y="90"/>
                  </a:lnTo>
                  <a:lnTo>
                    <a:pt x="383" y="86"/>
                  </a:lnTo>
                  <a:lnTo>
                    <a:pt x="376" y="83"/>
                  </a:lnTo>
                  <a:lnTo>
                    <a:pt x="352" y="96"/>
                  </a:lnTo>
                  <a:lnTo>
                    <a:pt x="350" y="104"/>
                  </a:lnTo>
                  <a:lnTo>
                    <a:pt x="341" y="104"/>
                  </a:lnTo>
                  <a:lnTo>
                    <a:pt x="344" y="116"/>
                  </a:lnTo>
                  <a:lnTo>
                    <a:pt x="328" y="107"/>
                  </a:lnTo>
                  <a:lnTo>
                    <a:pt x="311" y="110"/>
                  </a:lnTo>
                  <a:lnTo>
                    <a:pt x="302" y="119"/>
                  </a:lnTo>
                  <a:lnTo>
                    <a:pt x="297" y="117"/>
                  </a:lnTo>
                  <a:lnTo>
                    <a:pt x="294" y="98"/>
                  </a:lnTo>
                  <a:lnTo>
                    <a:pt x="304" y="92"/>
                  </a:lnTo>
                  <a:lnTo>
                    <a:pt x="310" y="87"/>
                  </a:lnTo>
                  <a:lnTo>
                    <a:pt x="319" y="71"/>
                  </a:lnTo>
                  <a:lnTo>
                    <a:pt x="317" y="65"/>
                  </a:lnTo>
                  <a:lnTo>
                    <a:pt x="297" y="69"/>
                  </a:lnTo>
                  <a:lnTo>
                    <a:pt x="290" y="75"/>
                  </a:lnTo>
                  <a:lnTo>
                    <a:pt x="276" y="63"/>
                  </a:lnTo>
                  <a:lnTo>
                    <a:pt x="267" y="57"/>
                  </a:lnTo>
                  <a:lnTo>
                    <a:pt x="260" y="69"/>
                  </a:lnTo>
                  <a:lnTo>
                    <a:pt x="257" y="57"/>
                  </a:lnTo>
                  <a:lnTo>
                    <a:pt x="240" y="54"/>
                  </a:lnTo>
                  <a:lnTo>
                    <a:pt x="248" y="44"/>
                  </a:lnTo>
                  <a:lnTo>
                    <a:pt x="249" y="36"/>
                  </a:lnTo>
                  <a:lnTo>
                    <a:pt x="249" y="30"/>
                  </a:lnTo>
                  <a:lnTo>
                    <a:pt x="245" y="22"/>
                  </a:lnTo>
                  <a:lnTo>
                    <a:pt x="239" y="24"/>
                  </a:lnTo>
                  <a:lnTo>
                    <a:pt x="228" y="19"/>
                  </a:lnTo>
                  <a:lnTo>
                    <a:pt x="213" y="27"/>
                  </a:lnTo>
                  <a:lnTo>
                    <a:pt x="218" y="19"/>
                  </a:lnTo>
                  <a:lnTo>
                    <a:pt x="198" y="27"/>
                  </a:lnTo>
                  <a:lnTo>
                    <a:pt x="174" y="15"/>
                  </a:lnTo>
                  <a:lnTo>
                    <a:pt x="166" y="18"/>
                  </a:lnTo>
                  <a:lnTo>
                    <a:pt x="160" y="19"/>
                  </a:lnTo>
                  <a:lnTo>
                    <a:pt x="154" y="13"/>
                  </a:lnTo>
                  <a:lnTo>
                    <a:pt x="153" y="6"/>
                  </a:lnTo>
                  <a:lnTo>
                    <a:pt x="153" y="0"/>
                  </a:lnTo>
                  <a:lnTo>
                    <a:pt x="148" y="0"/>
                  </a:lnTo>
                  <a:lnTo>
                    <a:pt x="145" y="9"/>
                  </a:lnTo>
                  <a:lnTo>
                    <a:pt x="145" y="19"/>
                  </a:lnTo>
                  <a:lnTo>
                    <a:pt x="148" y="28"/>
                  </a:lnTo>
                  <a:lnTo>
                    <a:pt x="148" y="25"/>
                  </a:lnTo>
                  <a:lnTo>
                    <a:pt x="150" y="18"/>
                  </a:lnTo>
                  <a:lnTo>
                    <a:pt x="159" y="22"/>
                  </a:lnTo>
                  <a:lnTo>
                    <a:pt x="168" y="21"/>
                  </a:lnTo>
                  <a:lnTo>
                    <a:pt x="172" y="25"/>
                  </a:lnTo>
                  <a:lnTo>
                    <a:pt x="177" y="33"/>
                  </a:lnTo>
                  <a:lnTo>
                    <a:pt x="177" y="39"/>
                  </a:lnTo>
                  <a:lnTo>
                    <a:pt x="184" y="47"/>
                  </a:lnTo>
                  <a:lnTo>
                    <a:pt x="192" y="53"/>
                  </a:lnTo>
                  <a:lnTo>
                    <a:pt x="187" y="62"/>
                  </a:lnTo>
                  <a:lnTo>
                    <a:pt x="180" y="60"/>
                  </a:lnTo>
                  <a:lnTo>
                    <a:pt x="174" y="63"/>
                  </a:lnTo>
                  <a:lnTo>
                    <a:pt x="168" y="69"/>
                  </a:lnTo>
                  <a:lnTo>
                    <a:pt x="171" y="77"/>
                  </a:lnTo>
                  <a:lnTo>
                    <a:pt x="178" y="75"/>
                  </a:lnTo>
                  <a:lnTo>
                    <a:pt x="180" y="69"/>
                  </a:lnTo>
                  <a:lnTo>
                    <a:pt x="186" y="75"/>
                  </a:lnTo>
                  <a:lnTo>
                    <a:pt x="177" y="84"/>
                  </a:lnTo>
                  <a:lnTo>
                    <a:pt x="178" y="93"/>
                  </a:lnTo>
                  <a:lnTo>
                    <a:pt x="190" y="93"/>
                  </a:lnTo>
                  <a:lnTo>
                    <a:pt x="193" y="101"/>
                  </a:lnTo>
                  <a:lnTo>
                    <a:pt x="192" y="104"/>
                  </a:lnTo>
                  <a:lnTo>
                    <a:pt x="190" y="108"/>
                  </a:lnTo>
                  <a:lnTo>
                    <a:pt x="181" y="104"/>
                  </a:lnTo>
                  <a:lnTo>
                    <a:pt x="180" y="107"/>
                  </a:lnTo>
                  <a:lnTo>
                    <a:pt x="180" y="116"/>
                  </a:lnTo>
                  <a:lnTo>
                    <a:pt x="196" y="123"/>
                  </a:lnTo>
                  <a:lnTo>
                    <a:pt x="212" y="126"/>
                  </a:lnTo>
                  <a:lnTo>
                    <a:pt x="222" y="129"/>
                  </a:lnTo>
                  <a:lnTo>
                    <a:pt x="230" y="140"/>
                  </a:lnTo>
                  <a:lnTo>
                    <a:pt x="230" y="151"/>
                  </a:lnTo>
                  <a:lnTo>
                    <a:pt x="239" y="157"/>
                  </a:lnTo>
                  <a:lnTo>
                    <a:pt x="252" y="164"/>
                  </a:lnTo>
                  <a:lnTo>
                    <a:pt x="237" y="163"/>
                  </a:lnTo>
                  <a:lnTo>
                    <a:pt x="221" y="142"/>
                  </a:lnTo>
                  <a:lnTo>
                    <a:pt x="209" y="129"/>
                  </a:lnTo>
                  <a:lnTo>
                    <a:pt x="190" y="128"/>
                  </a:lnTo>
                  <a:lnTo>
                    <a:pt x="168" y="125"/>
                  </a:lnTo>
                  <a:lnTo>
                    <a:pt x="157" y="136"/>
                  </a:lnTo>
                  <a:lnTo>
                    <a:pt x="154" y="148"/>
                  </a:lnTo>
                  <a:lnTo>
                    <a:pt x="159" y="163"/>
                  </a:lnTo>
                  <a:lnTo>
                    <a:pt x="165" y="167"/>
                  </a:lnTo>
                  <a:lnTo>
                    <a:pt x="159" y="173"/>
                  </a:lnTo>
                  <a:lnTo>
                    <a:pt x="159" y="167"/>
                  </a:lnTo>
                  <a:lnTo>
                    <a:pt x="153" y="157"/>
                  </a:lnTo>
                  <a:lnTo>
                    <a:pt x="142" y="154"/>
                  </a:lnTo>
                  <a:lnTo>
                    <a:pt x="141" y="158"/>
                  </a:lnTo>
                  <a:lnTo>
                    <a:pt x="150" y="167"/>
                  </a:lnTo>
                  <a:lnTo>
                    <a:pt x="147" y="173"/>
                  </a:lnTo>
                  <a:lnTo>
                    <a:pt x="136" y="172"/>
                  </a:lnTo>
                  <a:lnTo>
                    <a:pt x="130" y="149"/>
                  </a:lnTo>
                  <a:lnTo>
                    <a:pt x="133" y="142"/>
                  </a:lnTo>
                  <a:lnTo>
                    <a:pt x="83" y="145"/>
                  </a:lnTo>
                  <a:lnTo>
                    <a:pt x="73" y="157"/>
                  </a:lnTo>
                  <a:lnTo>
                    <a:pt x="74" y="163"/>
                  </a:lnTo>
                  <a:lnTo>
                    <a:pt x="70" y="161"/>
                  </a:lnTo>
                  <a:lnTo>
                    <a:pt x="64" y="166"/>
                  </a:lnTo>
                  <a:lnTo>
                    <a:pt x="65" y="178"/>
                  </a:lnTo>
                  <a:lnTo>
                    <a:pt x="71" y="178"/>
                  </a:lnTo>
                  <a:lnTo>
                    <a:pt x="80" y="176"/>
                  </a:lnTo>
                  <a:lnTo>
                    <a:pt x="89" y="176"/>
                  </a:lnTo>
                  <a:lnTo>
                    <a:pt x="95" y="185"/>
                  </a:lnTo>
                  <a:lnTo>
                    <a:pt x="100" y="196"/>
                  </a:lnTo>
                  <a:lnTo>
                    <a:pt x="94" y="188"/>
                  </a:lnTo>
                  <a:lnTo>
                    <a:pt x="88" y="184"/>
                  </a:lnTo>
                  <a:lnTo>
                    <a:pt x="83" y="184"/>
                  </a:lnTo>
                  <a:lnTo>
                    <a:pt x="79" y="187"/>
                  </a:lnTo>
                  <a:lnTo>
                    <a:pt x="79" y="194"/>
                  </a:lnTo>
                  <a:lnTo>
                    <a:pt x="68" y="232"/>
                  </a:lnTo>
                  <a:lnTo>
                    <a:pt x="70" y="259"/>
                  </a:lnTo>
                  <a:lnTo>
                    <a:pt x="70" y="259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978" name="Freeform 323"/>
            <p:cNvSpPr>
              <a:spLocks/>
            </p:cNvSpPr>
            <p:nvPr userDrawn="1"/>
          </p:nvSpPr>
          <p:spPr bwMode="auto">
            <a:xfrm>
              <a:off x="4923" y="1981"/>
              <a:ext cx="606" cy="526"/>
            </a:xfrm>
            <a:custGeom>
              <a:avLst/>
              <a:gdLst>
                <a:gd name="T0" fmla="*/ 267 w 606"/>
                <a:gd name="T1" fmla="*/ 38 h 526"/>
                <a:gd name="T2" fmla="*/ 217 w 606"/>
                <a:gd name="T3" fmla="*/ 41 h 526"/>
                <a:gd name="T4" fmla="*/ 211 w 606"/>
                <a:gd name="T5" fmla="*/ 89 h 526"/>
                <a:gd name="T6" fmla="*/ 188 w 606"/>
                <a:gd name="T7" fmla="*/ 109 h 526"/>
                <a:gd name="T8" fmla="*/ 169 w 606"/>
                <a:gd name="T9" fmla="*/ 123 h 526"/>
                <a:gd name="T10" fmla="*/ 139 w 606"/>
                <a:gd name="T11" fmla="*/ 179 h 526"/>
                <a:gd name="T12" fmla="*/ 139 w 606"/>
                <a:gd name="T13" fmla="*/ 210 h 526"/>
                <a:gd name="T14" fmla="*/ 99 w 606"/>
                <a:gd name="T15" fmla="*/ 213 h 526"/>
                <a:gd name="T16" fmla="*/ 90 w 606"/>
                <a:gd name="T17" fmla="*/ 222 h 526"/>
                <a:gd name="T18" fmla="*/ 63 w 606"/>
                <a:gd name="T19" fmla="*/ 254 h 526"/>
                <a:gd name="T20" fmla="*/ 26 w 606"/>
                <a:gd name="T21" fmla="*/ 261 h 526"/>
                <a:gd name="T22" fmla="*/ 41 w 606"/>
                <a:gd name="T23" fmla="*/ 320 h 526"/>
                <a:gd name="T24" fmla="*/ 45 w 606"/>
                <a:gd name="T25" fmla="*/ 352 h 526"/>
                <a:gd name="T26" fmla="*/ 6 w 606"/>
                <a:gd name="T27" fmla="*/ 397 h 526"/>
                <a:gd name="T28" fmla="*/ 32 w 606"/>
                <a:gd name="T29" fmla="*/ 438 h 526"/>
                <a:gd name="T30" fmla="*/ 27 w 606"/>
                <a:gd name="T31" fmla="*/ 504 h 526"/>
                <a:gd name="T32" fmla="*/ 41 w 606"/>
                <a:gd name="T33" fmla="*/ 498 h 526"/>
                <a:gd name="T34" fmla="*/ 54 w 606"/>
                <a:gd name="T35" fmla="*/ 498 h 526"/>
                <a:gd name="T36" fmla="*/ 69 w 606"/>
                <a:gd name="T37" fmla="*/ 467 h 526"/>
                <a:gd name="T38" fmla="*/ 155 w 606"/>
                <a:gd name="T39" fmla="*/ 467 h 526"/>
                <a:gd name="T40" fmla="*/ 222 w 606"/>
                <a:gd name="T41" fmla="*/ 483 h 526"/>
                <a:gd name="T42" fmla="*/ 256 w 606"/>
                <a:gd name="T43" fmla="*/ 476 h 526"/>
                <a:gd name="T44" fmla="*/ 317 w 606"/>
                <a:gd name="T45" fmla="*/ 491 h 526"/>
                <a:gd name="T46" fmla="*/ 351 w 606"/>
                <a:gd name="T47" fmla="*/ 494 h 526"/>
                <a:gd name="T48" fmla="*/ 371 w 606"/>
                <a:gd name="T49" fmla="*/ 486 h 526"/>
                <a:gd name="T50" fmla="*/ 383 w 606"/>
                <a:gd name="T51" fmla="*/ 501 h 526"/>
                <a:gd name="T52" fmla="*/ 403 w 606"/>
                <a:gd name="T53" fmla="*/ 506 h 526"/>
                <a:gd name="T54" fmla="*/ 439 w 606"/>
                <a:gd name="T55" fmla="*/ 521 h 526"/>
                <a:gd name="T56" fmla="*/ 458 w 606"/>
                <a:gd name="T57" fmla="*/ 526 h 526"/>
                <a:gd name="T58" fmla="*/ 460 w 606"/>
                <a:gd name="T59" fmla="*/ 507 h 526"/>
                <a:gd name="T60" fmla="*/ 495 w 606"/>
                <a:gd name="T61" fmla="*/ 435 h 526"/>
                <a:gd name="T62" fmla="*/ 537 w 606"/>
                <a:gd name="T63" fmla="*/ 406 h 526"/>
                <a:gd name="T64" fmla="*/ 531 w 606"/>
                <a:gd name="T65" fmla="*/ 393 h 526"/>
                <a:gd name="T66" fmla="*/ 525 w 606"/>
                <a:gd name="T67" fmla="*/ 344 h 526"/>
                <a:gd name="T68" fmla="*/ 567 w 606"/>
                <a:gd name="T69" fmla="*/ 332 h 526"/>
                <a:gd name="T70" fmla="*/ 606 w 606"/>
                <a:gd name="T71" fmla="*/ 278 h 526"/>
                <a:gd name="T72" fmla="*/ 585 w 606"/>
                <a:gd name="T73" fmla="*/ 255 h 526"/>
                <a:gd name="T74" fmla="*/ 555 w 606"/>
                <a:gd name="T75" fmla="*/ 257 h 526"/>
                <a:gd name="T76" fmla="*/ 549 w 606"/>
                <a:gd name="T77" fmla="*/ 227 h 526"/>
                <a:gd name="T78" fmla="*/ 517 w 606"/>
                <a:gd name="T79" fmla="*/ 191 h 526"/>
                <a:gd name="T80" fmla="*/ 498 w 606"/>
                <a:gd name="T81" fmla="*/ 100 h 526"/>
                <a:gd name="T82" fmla="*/ 492 w 606"/>
                <a:gd name="T83" fmla="*/ 47 h 526"/>
                <a:gd name="T84" fmla="*/ 433 w 606"/>
                <a:gd name="T85" fmla="*/ 31 h 526"/>
                <a:gd name="T86" fmla="*/ 406 w 606"/>
                <a:gd name="T87" fmla="*/ 40 h 526"/>
                <a:gd name="T88" fmla="*/ 375 w 606"/>
                <a:gd name="T89" fmla="*/ 7 h 526"/>
                <a:gd name="T90" fmla="*/ 351 w 606"/>
                <a:gd name="T91" fmla="*/ 13 h 526"/>
                <a:gd name="T92" fmla="*/ 323 w 606"/>
                <a:gd name="T93" fmla="*/ 8 h 526"/>
                <a:gd name="T94" fmla="*/ 293 w 606"/>
                <a:gd name="T95" fmla="*/ 16 h 526"/>
                <a:gd name="T96" fmla="*/ 283 w 606"/>
                <a:gd name="T97" fmla="*/ 34 h 5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606" h="526">
                  <a:moveTo>
                    <a:pt x="283" y="34"/>
                  </a:moveTo>
                  <a:lnTo>
                    <a:pt x="267" y="38"/>
                  </a:lnTo>
                  <a:lnTo>
                    <a:pt x="244" y="26"/>
                  </a:lnTo>
                  <a:lnTo>
                    <a:pt x="217" y="41"/>
                  </a:lnTo>
                  <a:lnTo>
                    <a:pt x="199" y="83"/>
                  </a:lnTo>
                  <a:lnTo>
                    <a:pt x="211" y="89"/>
                  </a:lnTo>
                  <a:lnTo>
                    <a:pt x="208" y="108"/>
                  </a:lnTo>
                  <a:lnTo>
                    <a:pt x="188" y="109"/>
                  </a:lnTo>
                  <a:lnTo>
                    <a:pt x="184" y="123"/>
                  </a:lnTo>
                  <a:lnTo>
                    <a:pt x="169" y="123"/>
                  </a:lnTo>
                  <a:lnTo>
                    <a:pt x="158" y="133"/>
                  </a:lnTo>
                  <a:lnTo>
                    <a:pt x="139" y="179"/>
                  </a:lnTo>
                  <a:lnTo>
                    <a:pt x="145" y="207"/>
                  </a:lnTo>
                  <a:lnTo>
                    <a:pt x="139" y="210"/>
                  </a:lnTo>
                  <a:lnTo>
                    <a:pt x="127" y="201"/>
                  </a:lnTo>
                  <a:lnTo>
                    <a:pt x="99" y="213"/>
                  </a:lnTo>
                  <a:lnTo>
                    <a:pt x="101" y="221"/>
                  </a:lnTo>
                  <a:lnTo>
                    <a:pt x="90" y="222"/>
                  </a:lnTo>
                  <a:lnTo>
                    <a:pt x="80" y="248"/>
                  </a:lnTo>
                  <a:lnTo>
                    <a:pt x="63" y="254"/>
                  </a:lnTo>
                  <a:lnTo>
                    <a:pt x="33" y="257"/>
                  </a:lnTo>
                  <a:lnTo>
                    <a:pt x="26" y="261"/>
                  </a:lnTo>
                  <a:lnTo>
                    <a:pt x="24" y="272"/>
                  </a:lnTo>
                  <a:lnTo>
                    <a:pt x="41" y="320"/>
                  </a:lnTo>
                  <a:lnTo>
                    <a:pt x="50" y="344"/>
                  </a:lnTo>
                  <a:lnTo>
                    <a:pt x="45" y="352"/>
                  </a:lnTo>
                  <a:lnTo>
                    <a:pt x="44" y="378"/>
                  </a:lnTo>
                  <a:lnTo>
                    <a:pt x="6" y="397"/>
                  </a:lnTo>
                  <a:lnTo>
                    <a:pt x="0" y="423"/>
                  </a:lnTo>
                  <a:lnTo>
                    <a:pt x="32" y="438"/>
                  </a:lnTo>
                  <a:lnTo>
                    <a:pt x="23" y="471"/>
                  </a:lnTo>
                  <a:lnTo>
                    <a:pt x="27" y="504"/>
                  </a:lnTo>
                  <a:lnTo>
                    <a:pt x="41" y="503"/>
                  </a:lnTo>
                  <a:lnTo>
                    <a:pt x="41" y="498"/>
                  </a:lnTo>
                  <a:lnTo>
                    <a:pt x="44" y="492"/>
                  </a:lnTo>
                  <a:lnTo>
                    <a:pt x="54" y="498"/>
                  </a:lnTo>
                  <a:lnTo>
                    <a:pt x="71" y="476"/>
                  </a:lnTo>
                  <a:lnTo>
                    <a:pt x="69" y="467"/>
                  </a:lnTo>
                  <a:lnTo>
                    <a:pt x="77" y="459"/>
                  </a:lnTo>
                  <a:lnTo>
                    <a:pt x="155" y="467"/>
                  </a:lnTo>
                  <a:lnTo>
                    <a:pt x="185" y="467"/>
                  </a:lnTo>
                  <a:lnTo>
                    <a:pt x="222" y="483"/>
                  </a:lnTo>
                  <a:lnTo>
                    <a:pt x="238" y="480"/>
                  </a:lnTo>
                  <a:lnTo>
                    <a:pt x="256" y="476"/>
                  </a:lnTo>
                  <a:lnTo>
                    <a:pt x="273" y="492"/>
                  </a:lnTo>
                  <a:lnTo>
                    <a:pt x="317" y="491"/>
                  </a:lnTo>
                  <a:lnTo>
                    <a:pt x="327" y="498"/>
                  </a:lnTo>
                  <a:lnTo>
                    <a:pt x="351" y="494"/>
                  </a:lnTo>
                  <a:lnTo>
                    <a:pt x="359" y="501"/>
                  </a:lnTo>
                  <a:lnTo>
                    <a:pt x="371" y="486"/>
                  </a:lnTo>
                  <a:lnTo>
                    <a:pt x="385" y="492"/>
                  </a:lnTo>
                  <a:lnTo>
                    <a:pt x="383" y="501"/>
                  </a:lnTo>
                  <a:lnTo>
                    <a:pt x="398" y="498"/>
                  </a:lnTo>
                  <a:lnTo>
                    <a:pt x="403" y="506"/>
                  </a:lnTo>
                  <a:lnTo>
                    <a:pt x="427" y="500"/>
                  </a:lnTo>
                  <a:lnTo>
                    <a:pt x="439" y="521"/>
                  </a:lnTo>
                  <a:lnTo>
                    <a:pt x="454" y="522"/>
                  </a:lnTo>
                  <a:lnTo>
                    <a:pt x="458" y="526"/>
                  </a:lnTo>
                  <a:lnTo>
                    <a:pt x="466" y="513"/>
                  </a:lnTo>
                  <a:lnTo>
                    <a:pt x="460" y="507"/>
                  </a:lnTo>
                  <a:lnTo>
                    <a:pt x="464" y="476"/>
                  </a:lnTo>
                  <a:lnTo>
                    <a:pt x="495" y="435"/>
                  </a:lnTo>
                  <a:lnTo>
                    <a:pt x="549" y="427"/>
                  </a:lnTo>
                  <a:lnTo>
                    <a:pt x="537" y="406"/>
                  </a:lnTo>
                  <a:lnTo>
                    <a:pt x="538" y="396"/>
                  </a:lnTo>
                  <a:lnTo>
                    <a:pt x="531" y="393"/>
                  </a:lnTo>
                  <a:lnTo>
                    <a:pt x="540" y="372"/>
                  </a:lnTo>
                  <a:lnTo>
                    <a:pt x="525" y="344"/>
                  </a:lnTo>
                  <a:lnTo>
                    <a:pt x="534" y="328"/>
                  </a:lnTo>
                  <a:lnTo>
                    <a:pt x="567" y="332"/>
                  </a:lnTo>
                  <a:lnTo>
                    <a:pt x="603" y="302"/>
                  </a:lnTo>
                  <a:lnTo>
                    <a:pt x="606" y="278"/>
                  </a:lnTo>
                  <a:lnTo>
                    <a:pt x="590" y="268"/>
                  </a:lnTo>
                  <a:lnTo>
                    <a:pt x="585" y="255"/>
                  </a:lnTo>
                  <a:lnTo>
                    <a:pt x="567" y="254"/>
                  </a:lnTo>
                  <a:lnTo>
                    <a:pt x="555" y="257"/>
                  </a:lnTo>
                  <a:lnTo>
                    <a:pt x="555" y="249"/>
                  </a:lnTo>
                  <a:lnTo>
                    <a:pt x="549" y="227"/>
                  </a:lnTo>
                  <a:lnTo>
                    <a:pt x="517" y="198"/>
                  </a:lnTo>
                  <a:lnTo>
                    <a:pt x="517" y="191"/>
                  </a:lnTo>
                  <a:lnTo>
                    <a:pt x="489" y="127"/>
                  </a:lnTo>
                  <a:lnTo>
                    <a:pt x="498" y="100"/>
                  </a:lnTo>
                  <a:lnTo>
                    <a:pt x="489" y="88"/>
                  </a:lnTo>
                  <a:lnTo>
                    <a:pt x="492" y="47"/>
                  </a:lnTo>
                  <a:lnTo>
                    <a:pt x="469" y="31"/>
                  </a:lnTo>
                  <a:lnTo>
                    <a:pt x="433" y="31"/>
                  </a:lnTo>
                  <a:lnTo>
                    <a:pt x="424" y="40"/>
                  </a:lnTo>
                  <a:lnTo>
                    <a:pt x="406" y="40"/>
                  </a:lnTo>
                  <a:lnTo>
                    <a:pt x="395" y="13"/>
                  </a:lnTo>
                  <a:lnTo>
                    <a:pt x="375" y="7"/>
                  </a:lnTo>
                  <a:lnTo>
                    <a:pt x="372" y="13"/>
                  </a:lnTo>
                  <a:lnTo>
                    <a:pt x="351" y="13"/>
                  </a:lnTo>
                  <a:lnTo>
                    <a:pt x="341" y="3"/>
                  </a:lnTo>
                  <a:lnTo>
                    <a:pt x="323" y="8"/>
                  </a:lnTo>
                  <a:lnTo>
                    <a:pt x="312" y="0"/>
                  </a:lnTo>
                  <a:lnTo>
                    <a:pt x="293" y="16"/>
                  </a:lnTo>
                  <a:lnTo>
                    <a:pt x="283" y="34"/>
                  </a:lnTo>
                  <a:lnTo>
                    <a:pt x="283" y="34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979" name="Freeform 324"/>
            <p:cNvSpPr>
              <a:spLocks/>
            </p:cNvSpPr>
            <p:nvPr userDrawn="1"/>
          </p:nvSpPr>
          <p:spPr bwMode="auto">
            <a:xfrm>
              <a:off x="4516" y="2662"/>
              <a:ext cx="351" cy="181"/>
            </a:xfrm>
            <a:custGeom>
              <a:avLst/>
              <a:gdLst>
                <a:gd name="T0" fmla="*/ 315 w 351"/>
                <a:gd name="T1" fmla="*/ 13 h 181"/>
                <a:gd name="T2" fmla="*/ 277 w 351"/>
                <a:gd name="T3" fmla="*/ 17 h 181"/>
                <a:gd name="T4" fmla="*/ 264 w 351"/>
                <a:gd name="T5" fmla="*/ 30 h 181"/>
                <a:gd name="T6" fmla="*/ 233 w 351"/>
                <a:gd name="T7" fmla="*/ 20 h 181"/>
                <a:gd name="T8" fmla="*/ 197 w 351"/>
                <a:gd name="T9" fmla="*/ 36 h 181"/>
                <a:gd name="T10" fmla="*/ 184 w 351"/>
                <a:gd name="T11" fmla="*/ 23 h 181"/>
                <a:gd name="T12" fmla="*/ 173 w 351"/>
                <a:gd name="T13" fmla="*/ 0 h 181"/>
                <a:gd name="T14" fmla="*/ 164 w 351"/>
                <a:gd name="T15" fmla="*/ 4 h 181"/>
                <a:gd name="T16" fmla="*/ 144 w 351"/>
                <a:gd name="T17" fmla="*/ 27 h 181"/>
                <a:gd name="T18" fmla="*/ 123 w 351"/>
                <a:gd name="T19" fmla="*/ 9 h 181"/>
                <a:gd name="T20" fmla="*/ 119 w 351"/>
                <a:gd name="T21" fmla="*/ 15 h 181"/>
                <a:gd name="T22" fmla="*/ 92 w 351"/>
                <a:gd name="T23" fmla="*/ 21 h 181"/>
                <a:gd name="T24" fmla="*/ 80 w 351"/>
                <a:gd name="T25" fmla="*/ 41 h 181"/>
                <a:gd name="T26" fmla="*/ 55 w 351"/>
                <a:gd name="T27" fmla="*/ 57 h 181"/>
                <a:gd name="T28" fmla="*/ 43 w 351"/>
                <a:gd name="T29" fmla="*/ 65 h 181"/>
                <a:gd name="T30" fmla="*/ 15 w 351"/>
                <a:gd name="T31" fmla="*/ 63 h 181"/>
                <a:gd name="T32" fmla="*/ 4 w 351"/>
                <a:gd name="T33" fmla="*/ 83 h 181"/>
                <a:gd name="T34" fmla="*/ 0 w 351"/>
                <a:gd name="T35" fmla="*/ 102 h 181"/>
                <a:gd name="T36" fmla="*/ 6 w 351"/>
                <a:gd name="T37" fmla="*/ 142 h 181"/>
                <a:gd name="T38" fmla="*/ 15 w 351"/>
                <a:gd name="T39" fmla="*/ 151 h 181"/>
                <a:gd name="T40" fmla="*/ 25 w 351"/>
                <a:gd name="T41" fmla="*/ 154 h 181"/>
                <a:gd name="T42" fmla="*/ 52 w 351"/>
                <a:gd name="T43" fmla="*/ 170 h 181"/>
                <a:gd name="T44" fmla="*/ 60 w 351"/>
                <a:gd name="T45" fmla="*/ 179 h 181"/>
                <a:gd name="T46" fmla="*/ 108 w 351"/>
                <a:gd name="T47" fmla="*/ 181 h 181"/>
                <a:gd name="T48" fmla="*/ 117 w 351"/>
                <a:gd name="T49" fmla="*/ 173 h 181"/>
                <a:gd name="T50" fmla="*/ 117 w 351"/>
                <a:gd name="T51" fmla="*/ 163 h 181"/>
                <a:gd name="T52" fmla="*/ 132 w 351"/>
                <a:gd name="T53" fmla="*/ 160 h 181"/>
                <a:gd name="T54" fmla="*/ 161 w 351"/>
                <a:gd name="T55" fmla="*/ 137 h 181"/>
                <a:gd name="T56" fmla="*/ 187 w 351"/>
                <a:gd name="T57" fmla="*/ 139 h 181"/>
                <a:gd name="T58" fmla="*/ 215 w 351"/>
                <a:gd name="T59" fmla="*/ 146 h 181"/>
                <a:gd name="T60" fmla="*/ 226 w 351"/>
                <a:gd name="T61" fmla="*/ 118 h 181"/>
                <a:gd name="T62" fmla="*/ 244 w 351"/>
                <a:gd name="T63" fmla="*/ 112 h 181"/>
                <a:gd name="T64" fmla="*/ 252 w 351"/>
                <a:gd name="T65" fmla="*/ 98 h 181"/>
                <a:gd name="T66" fmla="*/ 274 w 351"/>
                <a:gd name="T67" fmla="*/ 113 h 181"/>
                <a:gd name="T68" fmla="*/ 300 w 351"/>
                <a:gd name="T69" fmla="*/ 110 h 181"/>
                <a:gd name="T70" fmla="*/ 324 w 351"/>
                <a:gd name="T71" fmla="*/ 122 h 181"/>
                <a:gd name="T72" fmla="*/ 341 w 351"/>
                <a:gd name="T73" fmla="*/ 116 h 181"/>
                <a:gd name="T74" fmla="*/ 336 w 351"/>
                <a:gd name="T75" fmla="*/ 89 h 181"/>
                <a:gd name="T76" fmla="*/ 351 w 351"/>
                <a:gd name="T77" fmla="*/ 47 h 181"/>
                <a:gd name="T78" fmla="*/ 330 w 351"/>
                <a:gd name="T79" fmla="*/ 33 h 181"/>
                <a:gd name="T80" fmla="*/ 315 w 351"/>
                <a:gd name="T81" fmla="*/ 13 h 181"/>
                <a:gd name="T82" fmla="*/ 315 w 351"/>
                <a:gd name="T83" fmla="*/ 13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51" h="181">
                  <a:moveTo>
                    <a:pt x="315" y="13"/>
                  </a:moveTo>
                  <a:lnTo>
                    <a:pt x="277" y="17"/>
                  </a:lnTo>
                  <a:lnTo>
                    <a:pt x="264" y="30"/>
                  </a:lnTo>
                  <a:lnTo>
                    <a:pt x="233" y="20"/>
                  </a:lnTo>
                  <a:lnTo>
                    <a:pt x="197" y="36"/>
                  </a:lnTo>
                  <a:lnTo>
                    <a:pt x="184" y="23"/>
                  </a:lnTo>
                  <a:lnTo>
                    <a:pt x="173" y="0"/>
                  </a:lnTo>
                  <a:lnTo>
                    <a:pt x="164" y="4"/>
                  </a:lnTo>
                  <a:lnTo>
                    <a:pt x="144" y="27"/>
                  </a:lnTo>
                  <a:lnTo>
                    <a:pt x="123" y="9"/>
                  </a:lnTo>
                  <a:lnTo>
                    <a:pt x="119" y="15"/>
                  </a:lnTo>
                  <a:lnTo>
                    <a:pt x="92" y="21"/>
                  </a:lnTo>
                  <a:lnTo>
                    <a:pt x="80" y="41"/>
                  </a:lnTo>
                  <a:lnTo>
                    <a:pt x="55" y="57"/>
                  </a:lnTo>
                  <a:lnTo>
                    <a:pt x="43" y="65"/>
                  </a:lnTo>
                  <a:lnTo>
                    <a:pt x="15" y="63"/>
                  </a:lnTo>
                  <a:lnTo>
                    <a:pt x="4" y="83"/>
                  </a:lnTo>
                  <a:lnTo>
                    <a:pt x="0" y="102"/>
                  </a:lnTo>
                  <a:lnTo>
                    <a:pt x="6" y="142"/>
                  </a:lnTo>
                  <a:lnTo>
                    <a:pt x="15" y="151"/>
                  </a:lnTo>
                  <a:lnTo>
                    <a:pt x="25" y="154"/>
                  </a:lnTo>
                  <a:lnTo>
                    <a:pt x="52" y="170"/>
                  </a:lnTo>
                  <a:lnTo>
                    <a:pt x="60" y="179"/>
                  </a:lnTo>
                  <a:lnTo>
                    <a:pt x="108" y="181"/>
                  </a:lnTo>
                  <a:lnTo>
                    <a:pt x="117" y="173"/>
                  </a:lnTo>
                  <a:lnTo>
                    <a:pt x="117" y="163"/>
                  </a:lnTo>
                  <a:lnTo>
                    <a:pt x="132" y="160"/>
                  </a:lnTo>
                  <a:lnTo>
                    <a:pt x="161" y="137"/>
                  </a:lnTo>
                  <a:lnTo>
                    <a:pt x="187" y="139"/>
                  </a:lnTo>
                  <a:lnTo>
                    <a:pt x="215" y="146"/>
                  </a:lnTo>
                  <a:lnTo>
                    <a:pt x="226" y="118"/>
                  </a:lnTo>
                  <a:lnTo>
                    <a:pt x="244" y="112"/>
                  </a:lnTo>
                  <a:lnTo>
                    <a:pt x="252" y="98"/>
                  </a:lnTo>
                  <a:lnTo>
                    <a:pt x="274" y="113"/>
                  </a:lnTo>
                  <a:lnTo>
                    <a:pt x="300" y="110"/>
                  </a:lnTo>
                  <a:lnTo>
                    <a:pt x="324" y="122"/>
                  </a:lnTo>
                  <a:lnTo>
                    <a:pt x="341" y="116"/>
                  </a:lnTo>
                  <a:lnTo>
                    <a:pt x="336" y="89"/>
                  </a:lnTo>
                  <a:lnTo>
                    <a:pt x="351" y="47"/>
                  </a:lnTo>
                  <a:lnTo>
                    <a:pt x="330" y="33"/>
                  </a:lnTo>
                  <a:lnTo>
                    <a:pt x="315" y="13"/>
                  </a:lnTo>
                  <a:lnTo>
                    <a:pt x="315" y="13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980" name="Freeform 325"/>
            <p:cNvSpPr>
              <a:spLocks/>
            </p:cNvSpPr>
            <p:nvPr userDrawn="1"/>
          </p:nvSpPr>
          <p:spPr bwMode="auto">
            <a:xfrm>
              <a:off x="4769" y="1749"/>
              <a:ext cx="481" cy="273"/>
            </a:xfrm>
            <a:custGeom>
              <a:avLst/>
              <a:gdLst>
                <a:gd name="T0" fmla="*/ 116 w 481"/>
                <a:gd name="T1" fmla="*/ 207 h 273"/>
                <a:gd name="T2" fmla="*/ 184 w 481"/>
                <a:gd name="T3" fmla="*/ 207 h 273"/>
                <a:gd name="T4" fmla="*/ 250 w 481"/>
                <a:gd name="T5" fmla="*/ 202 h 273"/>
                <a:gd name="T6" fmla="*/ 308 w 481"/>
                <a:gd name="T7" fmla="*/ 232 h 273"/>
                <a:gd name="T8" fmla="*/ 371 w 481"/>
                <a:gd name="T9" fmla="*/ 273 h 273"/>
                <a:gd name="T10" fmla="*/ 421 w 481"/>
                <a:gd name="T11" fmla="*/ 270 h 273"/>
                <a:gd name="T12" fmla="*/ 447 w 481"/>
                <a:gd name="T13" fmla="*/ 248 h 273"/>
                <a:gd name="T14" fmla="*/ 471 w 481"/>
                <a:gd name="T15" fmla="*/ 207 h 273"/>
                <a:gd name="T16" fmla="*/ 453 w 481"/>
                <a:gd name="T17" fmla="*/ 153 h 273"/>
                <a:gd name="T18" fmla="*/ 480 w 481"/>
                <a:gd name="T19" fmla="*/ 137 h 273"/>
                <a:gd name="T20" fmla="*/ 468 w 481"/>
                <a:gd name="T21" fmla="*/ 91 h 273"/>
                <a:gd name="T22" fmla="*/ 447 w 481"/>
                <a:gd name="T23" fmla="*/ 44 h 273"/>
                <a:gd name="T24" fmla="*/ 427 w 481"/>
                <a:gd name="T25" fmla="*/ 56 h 273"/>
                <a:gd name="T26" fmla="*/ 377 w 481"/>
                <a:gd name="T27" fmla="*/ 48 h 273"/>
                <a:gd name="T28" fmla="*/ 303 w 481"/>
                <a:gd name="T29" fmla="*/ 23 h 273"/>
                <a:gd name="T30" fmla="*/ 275 w 481"/>
                <a:gd name="T31" fmla="*/ 11 h 273"/>
                <a:gd name="T32" fmla="*/ 217 w 481"/>
                <a:gd name="T33" fmla="*/ 29 h 273"/>
                <a:gd name="T34" fmla="*/ 219 w 481"/>
                <a:gd name="T35" fmla="*/ 113 h 273"/>
                <a:gd name="T36" fmla="*/ 202 w 481"/>
                <a:gd name="T37" fmla="*/ 134 h 273"/>
                <a:gd name="T38" fmla="*/ 180 w 481"/>
                <a:gd name="T39" fmla="*/ 139 h 273"/>
                <a:gd name="T40" fmla="*/ 152 w 481"/>
                <a:gd name="T41" fmla="*/ 122 h 273"/>
                <a:gd name="T42" fmla="*/ 146 w 481"/>
                <a:gd name="T43" fmla="*/ 109 h 273"/>
                <a:gd name="T44" fmla="*/ 139 w 481"/>
                <a:gd name="T45" fmla="*/ 95 h 273"/>
                <a:gd name="T46" fmla="*/ 140 w 481"/>
                <a:gd name="T47" fmla="*/ 113 h 273"/>
                <a:gd name="T48" fmla="*/ 137 w 481"/>
                <a:gd name="T49" fmla="*/ 92 h 273"/>
                <a:gd name="T50" fmla="*/ 109 w 481"/>
                <a:gd name="T51" fmla="*/ 65 h 273"/>
                <a:gd name="T52" fmla="*/ 104 w 481"/>
                <a:gd name="T53" fmla="*/ 48 h 273"/>
                <a:gd name="T54" fmla="*/ 78 w 481"/>
                <a:gd name="T55" fmla="*/ 63 h 273"/>
                <a:gd name="T56" fmla="*/ 36 w 481"/>
                <a:gd name="T57" fmla="*/ 86 h 273"/>
                <a:gd name="T58" fmla="*/ 29 w 481"/>
                <a:gd name="T59" fmla="*/ 128 h 273"/>
                <a:gd name="T60" fmla="*/ 0 w 481"/>
                <a:gd name="T61" fmla="*/ 180 h 273"/>
                <a:gd name="T62" fmla="*/ 14 w 481"/>
                <a:gd name="T63" fmla="*/ 235 h 273"/>
                <a:gd name="T64" fmla="*/ 86 w 481"/>
                <a:gd name="T65" fmla="*/ 211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81" h="273">
                  <a:moveTo>
                    <a:pt x="86" y="211"/>
                  </a:moveTo>
                  <a:lnTo>
                    <a:pt x="116" y="207"/>
                  </a:lnTo>
                  <a:lnTo>
                    <a:pt x="142" y="211"/>
                  </a:lnTo>
                  <a:lnTo>
                    <a:pt x="184" y="207"/>
                  </a:lnTo>
                  <a:lnTo>
                    <a:pt x="226" y="213"/>
                  </a:lnTo>
                  <a:lnTo>
                    <a:pt x="250" y="202"/>
                  </a:lnTo>
                  <a:lnTo>
                    <a:pt x="273" y="226"/>
                  </a:lnTo>
                  <a:lnTo>
                    <a:pt x="308" y="232"/>
                  </a:lnTo>
                  <a:lnTo>
                    <a:pt x="345" y="264"/>
                  </a:lnTo>
                  <a:lnTo>
                    <a:pt x="371" y="273"/>
                  </a:lnTo>
                  <a:lnTo>
                    <a:pt x="398" y="258"/>
                  </a:lnTo>
                  <a:lnTo>
                    <a:pt x="421" y="270"/>
                  </a:lnTo>
                  <a:lnTo>
                    <a:pt x="437" y="266"/>
                  </a:lnTo>
                  <a:lnTo>
                    <a:pt x="447" y="248"/>
                  </a:lnTo>
                  <a:lnTo>
                    <a:pt x="466" y="232"/>
                  </a:lnTo>
                  <a:lnTo>
                    <a:pt x="471" y="207"/>
                  </a:lnTo>
                  <a:lnTo>
                    <a:pt x="459" y="184"/>
                  </a:lnTo>
                  <a:lnTo>
                    <a:pt x="453" y="153"/>
                  </a:lnTo>
                  <a:lnTo>
                    <a:pt x="460" y="143"/>
                  </a:lnTo>
                  <a:lnTo>
                    <a:pt x="480" y="137"/>
                  </a:lnTo>
                  <a:lnTo>
                    <a:pt x="481" y="100"/>
                  </a:lnTo>
                  <a:lnTo>
                    <a:pt x="468" y="91"/>
                  </a:lnTo>
                  <a:lnTo>
                    <a:pt x="469" y="48"/>
                  </a:lnTo>
                  <a:lnTo>
                    <a:pt x="447" y="44"/>
                  </a:lnTo>
                  <a:lnTo>
                    <a:pt x="439" y="35"/>
                  </a:lnTo>
                  <a:lnTo>
                    <a:pt x="427" y="56"/>
                  </a:lnTo>
                  <a:lnTo>
                    <a:pt x="410" y="57"/>
                  </a:lnTo>
                  <a:lnTo>
                    <a:pt x="377" y="48"/>
                  </a:lnTo>
                  <a:lnTo>
                    <a:pt x="364" y="57"/>
                  </a:lnTo>
                  <a:lnTo>
                    <a:pt x="303" y="23"/>
                  </a:lnTo>
                  <a:lnTo>
                    <a:pt x="296" y="14"/>
                  </a:lnTo>
                  <a:lnTo>
                    <a:pt x="275" y="11"/>
                  </a:lnTo>
                  <a:lnTo>
                    <a:pt x="264" y="0"/>
                  </a:lnTo>
                  <a:lnTo>
                    <a:pt x="217" y="29"/>
                  </a:lnTo>
                  <a:lnTo>
                    <a:pt x="220" y="95"/>
                  </a:lnTo>
                  <a:lnTo>
                    <a:pt x="219" y="113"/>
                  </a:lnTo>
                  <a:lnTo>
                    <a:pt x="204" y="125"/>
                  </a:lnTo>
                  <a:lnTo>
                    <a:pt x="202" y="134"/>
                  </a:lnTo>
                  <a:lnTo>
                    <a:pt x="196" y="133"/>
                  </a:lnTo>
                  <a:lnTo>
                    <a:pt x="180" y="139"/>
                  </a:lnTo>
                  <a:lnTo>
                    <a:pt x="158" y="131"/>
                  </a:lnTo>
                  <a:lnTo>
                    <a:pt x="152" y="122"/>
                  </a:lnTo>
                  <a:lnTo>
                    <a:pt x="149" y="116"/>
                  </a:lnTo>
                  <a:lnTo>
                    <a:pt x="146" y="109"/>
                  </a:lnTo>
                  <a:lnTo>
                    <a:pt x="145" y="104"/>
                  </a:lnTo>
                  <a:lnTo>
                    <a:pt x="139" y="95"/>
                  </a:lnTo>
                  <a:lnTo>
                    <a:pt x="137" y="100"/>
                  </a:lnTo>
                  <a:lnTo>
                    <a:pt x="140" y="113"/>
                  </a:lnTo>
                  <a:lnTo>
                    <a:pt x="134" y="109"/>
                  </a:lnTo>
                  <a:lnTo>
                    <a:pt x="137" y="92"/>
                  </a:lnTo>
                  <a:lnTo>
                    <a:pt x="115" y="74"/>
                  </a:lnTo>
                  <a:lnTo>
                    <a:pt x="109" y="65"/>
                  </a:lnTo>
                  <a:lnTo>
                    <a:pt x="107" y="53"/>
                  </a:lnTo>
                  <a:lnTo>
                    <a:pt x="104" y="48"/>
                  </a:lnTo>
                  <a:lnTo>
                    <a:pt x="95" y="54"/>
                  </a:lnTo>
                  <a:lnTo>
                    <a:pt x="78" y="63"/>
                  </a:lnTo>
                  <a:lnTo>
                    <a:pt x="62" y="63"/>
                  </a:lnTo>
                  <a:lnTo>
                    <a:pt x="36" y="86"/>
                  </a:lnTo>
                  <a:lnTo>
                    <a:pt x="29" y="101"/>
                  </a:lnTo>
                  <a:lnTo>
                    <a:pt x="29" y="128"/>
                  </a:lnTo>
                  <a:lnTo>
                    <a:pt x="11" y="157"/>
                  </a:lnTo>
                  <a:lnTo>
                    <a:pt x="0" y="180"/>
                  </a:lnTo>
                  <a:lnTo>
                    <a:pt x="2" y="210"/>
                  </a:lnTo>
                  <a:lnTo>
                    <a:pt x="14" y="235"/>
                  </a:lnTo>
                  <a:lnTo>
                    <a:pt x="63" y="207"/>
                  </a:lnTo>
                  <a:lnTo>
                    <a:pt x="86" y="211"/>
                  </a:lnTo>
                  <a:lnTo>
                    <a:pt x="86" y="211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981" name="Freeform 326"/>
            <p:cNvSpPr>
              <a:spLocks/>
            </p:cNvSpPr>
            <p:nvPr userDrawn="1"/>
          </p:nvSpPr>
          <p:spPr bwMode="auto">
            <a:xfrm>
              <a:off x="4065" y="2725"/>
              <a:ext cx="469" cy="246"/>
            </a:xfrm>
            <a:custGeom>
              <a:avLst/>
              <a:gdLst>
                <a:gd name="T0" fmla="*/ 440 w 469"/>
                <a:gd name="T1" fmla="*/ 112 h 246"/>
                <a:gd name="T2" fmla="*/ 469 w 469"/>
                <a:gd name="T3" fmla="*/ 104 h 246"/>
                <a:gd name="T4" fmla="*/ 457 w 469"/>
                <a:gd name="T5" fmla="*/ 79 h 246"/>
                <a:gd name="T6" fmla="*/ 455 w 469"/>
                <a:gd name="T7" fmla="*/ 20 h 246"/>
                <a:gd name="T8" fmla="*/ 414 w 469"/>
                <a:gd name="T9" fmla="*/ 20 h 246"/>
                <a:gd name="T10" fmla="*/ 360 w 469"/>
                <a:gd name="T11" fmla="*/ 12 h 246"/>
                <a:gd name="T12" fmla="*/ 335 w 469"/>
                <a:gd name="T13" fmla="*/ 2 h 246"/>
                <a:gd name="T14" fmla="*/ 315 w 469"/>
                <a:gd name="T15" fmla="*/ 30 h 246"/>
                <a:gd name="T16" fmla="*/ 301 w 469"/>
                <a:gd name="T17" fmla="*/ 47 h 246"/>
                <a:gd name="T18" fmla="*/ 276 w 469"/>
                <a:gd name="T19" fmla="*/ 39 h 246"/>
                <a:gd name="T20" fmla="*/ 242 w 469"/>
                <a:gd name="T21" fmla="*/ 49 h 246"/>
                <a:gd name="T22" fmla="*/ 226 w 469"/>
                <a:gd name="T23" fmla="*/ 67 h 246"/>
                <a:gd name="T24" fmla="*/ 218 w 469"/>
                <a:gd name="T25" fmla="*/ 113 h 246"/>
                <a:gd name="T26" fmla="*/ 218 w 469"/>
                <a:gd name="T27" fmla="*/ 141 h 246"/>
                <a:gd name="T28" fmla="*/ 170 w 469"/>
                <a:gd name="T29" fmla="*/ 135 h 246"/>
                <a:gd name="T30" fmla="*/ 117 w 469"/>
                <a:gd name="T31" fmla="*/ 148 h 246"/>
                <a:gd name="T32" fmla="*/ 71 w 469"/>
                <a:gd name="T33" fmla="*/ 141 h 246"/>
                <a:gd name="T34" fmla="*/ 55 w 469"/>
                <a:gd name="T35" fmla="*/ 151 h 246"/>
                <a:gd name="T36" fmla="*/ 34 w 469"/>
                <a:gd name="T37" fmla="*/ 160 h 246"/>
                <a:gd name="T38" fmla="*/ 4 w 469"/>
                <a:gd name="T39" fmla="*/ 142 h 246"/>
                <a:gd name="T40" fmla="*/ 15 w 469"/>
                <a:gd name="T41" fmla="*/ 186 h 246"/>
                <a:gd name="T42" fmla="*/ 25 w 469"/>
                <a:gd name="T43" fmla="*/ 211 h 246"/>
                <a:gd name="T44" fmla="*/ 42 w 469"/>
                <a:gd name="T45" fmla="*/ 193 h 246"/>
                <a:gd name="T46" fmla="*/ 65 w 469"/>
                <a:gd name="T47" fmla="*/ 202 h 246"/>
                <a:gd name="T48" fmla="*/ 104 w 469"/>
                <a:gd name="T49" fmla="*/ 195 h 246"/>
                <a:gd name="T50" fmla="*/ 167 w 469"/>
                <a:gd name="T51" fmla="*/ 204 h 246"/>
                <a:gd name="T52" fmla="*/ 226 w 469"/>
                <a:gd name="T53" fmla="*/ 224 h 246"/>
                <a:gd name="T54" fmla="*/ 307 w 469"/>
                <a:gd name="T55" fmla="*/ 246 h 246"/>
                <a:gd name="T56" fmla="*/ 360 w 469"/>
                <a:gd name="T57" fmla="*/ 221 h 246"/>
                <a:gd name="T58" fmla="*/ 395 w 469"/>
                <a:gd name="T59" fmla="*/ 224 h 246"/>
                <a:gd name="T60" fmla="*/ 404 w 469"/>
                <a:gd name="T61" fmla="*/ 193 h 246"/>
                <a:gd name="T62" fmla="*/ 433 w 469"/>
                <a:gd name="T63" fmla="*/ 160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69" h="246">
                  <a:moveTo>
                    <a:pt x="433" y="160"/>
                  </a:moveTo>
                  <a:lnTo>
                    <a:pt x="440" y="112"/>
                  </a:lnTo>
                  <a:lnTo>
                    <a:pt x="457" y="103"/>
                  </a:lnTo>
                  <a:lnTo>
                    <a:pt x="469" y="104"/>
                  </a:lnTo>
                  <a:lnTo>
                    <a:pt x="466" y="88"/>
                  </a:lnTo>
                  <a:lnTo>
                    <a:pt x="457" y="79"/>
                  </a:lnTo>
                  <a:lnTo>
                    <a:pt x="451" y="39"/>
                  </a:lnTo>
                  <a:lnTo>
                    <a:pt x="455" y="20"/>
                  </a:lnTo>
                  <a:lnTo>
                    <a:pt x="433" y="18"/>
                  </a:lnTo>
                  <a:lnTo>
                    <a:pt x="414" y="20"/>
                  </a:lnTo>
                  <a:lnTo>
                    <a:pt x="384" y="8"/>
                  </a:lnTo>
                  <a:lnTo>
                    <a:pt x="360" y="12"/>
                  </a:lnTo>
                  <a:lnTo>
                    <a:pt x="348" y="0"/>
                  </a:lnTo>
                  <a:lnTo>
                    <a:pt x="335" y="2"/>
                  </a:lnTo>
                  <a:lnTo>
                    <a:pt x="341" y="24"/>
                  </a:lnTo>
                  <a:lnTo>
                    <a:pt x="315" y="30"/>
                  </a:lnTo>
                  <a:lnTo>
                    <a:pt x="315" y="43"/>
                  </a:lnTo>
                  <a:lnTo>
                    <a:pt x="301" y="47"/>
                  </a:lnTo>
                  <a:lnTo>
                    <a:pt x="294" y="41"/>
                  </a:lnTo>
                  <a:lnTo>
                    <a:pt x="276" y="39"/>
                  </a:lnTo>
                  <a:lnTo>
                    <a:pt x="262" y="33"/>
                  </a:lnTo>
                  <a:lnTo>
                    <a:pt x="242" y="49"/>
                  </a:lnTo>
                  <a:lnTo>
                    <a:pt x="239" y="67"/>
                  </a:lnTo>
                  <a:lnTo>
                    <a:pt x="226" y="67"/>
                  </a:lnTo>
                  <a:lnTo>
                    <a:pt x="200" y="89"/>
                  </a:lnTo>
                  <a:lnTo>
                    <a:pt x="218" y="113"/>
                  </a:lnTo>
                  <a:lnTo>
                    <a:pt x="212" y="125"/>
                  </a:lnTo>
                  <a:lnTo>
                    <a:pt x="218" y="141"/>
                  </a:lnTo>
                  <a:lnTo>
                    <a:pt x="185" y="127"/>
                  </a:lnTo>
                  <a:lnTo>
                    <a:pt x="170" y="135"/>
                  </a:lnTo>
                  <a:lnTo>
                    <a:pt x="129" y="133"/>
                  </a:lnTo>
                  <a:lnTo>
                    <a:pt x="117" y="148"/>
                  </a:lnTo>
                  <a:lnTo>
                    <a:pt x="92" y="153"/>
                  </a:lnTo>
                  <a:lnTo>
                    <a:pt x="71" y="141"/>
                  </a:lnTo>
                  <a:lnTo>
                    <a:pt x="54" y="144"/>
                  </a:lnTo>
                  <a:lnTo>
                    <a:pt x="55" y="151"/>
                  </a:lnTo>
                  <a:lnTo>
                    <a:pt x="46" y="162"/>
                  </a:lnTo>
                  <a:lnTo>
                    <a:pt x="34" y="160"/>
                  </a:lnTo>
                  <a:lnTo>
                    <a:pt x="13" y="141"/>
                  </a:lnTo>
                  <a:lnTo>
                    <a:pt x="4" y="142"/>
                  </a:lnTo>
                  <a:lnTo>
                    <a:pt x="0" y="171"/>
                  </a:lnTo>
                  <a:lnTo>
                    <a:pt x="15" y="186"/>
                  </a:lnTo>
                  <a:lnTo>
                    <a:pt x="19" y="204"/>
                  </a:lnTo>
                  <a:lnTo>
                    <a:pt x="25" y="211"/>
                  </a:lnTo>
                  <a:lnTo>
                    <a:pt x="36" y="201"/>
                  </a:lnTo>
                  <a:lnTo>
                    <a:pt x="42" y="193"/>
                  </a:lnTo>
                  <a:lnTo>
                    <a:pt x="49" y="204"/>
                  </a:lnTo>
                  <a:lnTo>
                    <a:pt x="65" y="202"/>
                  </a:lnTo>
                  <a:lnTo>
                    <a:pt x="89" y="210"/>
                  </a:lnTo>
                  <a:lnTo>
                    <a:pt x="104" y="195"/>
                  </a:lnTo>
                  <a:lnTo>
                    <a:pt x="154" y="184"/>
                  </a:lnTo>
                  <a:lnTo>
                    <a:pt x="167" y="204"/>
                  </a:lnTo>
                  <a:lnTo>
                    <a:pt x="179" y="222"/>
                  </a:lnTo>
                  <a:lnTo>
                    <a:pt x="226" y="224"/>
                  </a:lnTo>
                  <a:lnTo>
                    <a:pt x="250" y="236"/>
                  </a:lnTo>
                  <a:lnTo>
                    <a:pt x="307" y="246"/>
                  </a:lnTo>
                  <a:lnTo>
                    <a:pt x="339" y="221"/>
                  </a:lnTo>
                  <a:lnTo>
                    <a:pt x="360" y="221"/>
                  </a:lnTo>
                  <a:lnTo>
                    <a:pt x="377" y="215"/>
                  </a:lnTo>
                  <a:lnTo>
                    <a:pt x="395" y="224"/>
                  </a:lnTo>
                  <a:lnTo>
                    <a:pt x="402" y="215"/>
                  </a:lnTo>
                  <a:lnTo>
                    <a:pt x="404" y="193"/>
                  </a:lnTo>
                  <a:lnTo>
                    <a:pt x="433" y="160"/>
                  </a:lnTo>
                  <a:lnTo>
                    <a:pt x="433" y="160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982" name="Freeform 327"/>
            <p:cNvSpPr>
              <a:spLocks/>
            </p:cNvSpPr>
            <p:nvPr userDrawn="1"/>
          </p:nvSpPr>
          <p:spPr bwMode="auto">
            <a:xfrm>
              <a:off x="3654" y="2286"/>
              <a:ext cx="254" cy="272"/>
            </a:xfrm>
            <a:custGeom>
              <a:avLst/>
              <a:gdLst>
                <a:gd name="T0" fmla="*/ 86 w 254"/>
                <a:gd name="T1" fmla="*/ 211 h 272"/>
                <a:gd name="T2" fmla="*/ 150 w 254"/>
                <a:gd name="T3" fmla="*/ 219 h 272"/>
                <a:gd name="T4" fmla="*/ 159 w 254"/>
                <a:gd name="T5" fmla="*/ 246 h 272"/>
                <a:gd name="T6" fmla="*/ 165 w 254"/>
                <a:gd name="T7" fmla="*/ 272 h 272"/>
                <a:gd name="T8" fmla="*/ 178 w 254"/>
                <a:gd name="T9" fmla="*/ 239 h 272"/>
                <a:gd name="T10" fmla="*/ 180 w 254"/>
                <a:gd name="T11" fmla="*/ 165 h 272"/>
                <a:gd name="T12" fmla="*/ 242 w 254"/>
                <a:gd name="T13" fmla="*/ 116 h 272"/>
                <a:gd name="T14" fmla="*/ 243 w 254"/>
                <a:gd name="T15" fmla="*/ 62 h 272"/>
                <a:gd name="T16" fmla="*/ 246 w 254"/>
                <a:gd name="T17" fmla="*/ 18 h 272"/>
                <a:gd name="T18" fmla="*/ 231 w 254"/>
                <a:gd name="T19" fmla="*/ 9 h 272"/>
                <a:gd name="T20" fmla="*/ 201 w 254"/>
                <a:gd name="T21" fmla="*/ 3 h 272"/>
                <a:gd name="T22" fmla="*/ 160 w 254"/>
                <a:gd name="T23" fmla="*/ 11 h 272"/>
                <a:gd name="T24" fmla="*/ 135 w 254"/>
                <a:gd name="T25" fmla="*/ 56 h 272"/>
                <a:gd name="T26" fmla="*/ 150 w 254"/>
                <a:gd name="T27" fmla="*/ 64 h 272"/>
                <a:gd name="T28" fmla="*/ 142 w 254"/>
                <a:gd name="T29" fmla="*/ 79 h 272"/>
                <a:gd name="T30" fmla="*/ 150 w 254"/>
                <a:gd name="T31" fmla="*/ 89 h 272"/>
                <a:gd name="T32" fmla="*/ 154 w 254"/>
                <a:gd name="T33" fmla="*/ 97 h 272"/>
                <a:gd name="T34" fmla="*/ 135 w 254"/>
                <a:gd name="T35" fmla="*/ 98 h 272"/>
                <a:gd name="T36" fmla="*/ 132 w 254"/>
                <a:gd name="T37" fmla="*/ 112 h 272"/>
                <a:gd name="T38" fmla="*/ 154 w 254"/>
                <a:gd name="T39" fmla="*/ 98 h 272"/>
                <a:gd name="T40" fmla="*/ 121 w 254"/>
                <a:gd name="T41" fmla="*/ 107 h 272"/>
                <a:gd name="T42" fmla="*/ 114 w 254"/>
                <a:gd name="T43" fmla="*/ 89 h 272"/>
                <a:gd name="T44" fmla="*/ 130 w 254"/>
                <a:gd name="T45" fmla="*/ 70 h 272"/>
                <a:gd name="T46" fmla="*/ 117 w 254"/>
                <a:gd name="T47" fmla="*/ 55 h 272"/>
                <a:gd name="T48" fmla="*/ 101 w 254"/>
                <a:gd name="T49" fmla="*/ 52 h 272"/>
                <a:gd name="T50" fmla="*/ 86 w 254"/>
                <a:gd name="T51" fmla="*/ 71 h 272"/>
                <a:gd name="T52" fmla="*/ 64 w 254"/>
                <a:gd name="T53" fmla="*/ 138 h 272"/>
                <a:gd name="T54" fmla="*/ 82 w 254"/>
                <a:gd name="T55" fmla="*/ 159 h 272"/>
                <a:gd name="T56" fmla="*/ 49 w 254"/>
                <a:gd name="T57" fmla="*/ 162 h 272"/>
                <a:gd name="T58" fmla="*/ 74 w 254"/>
                <a:gd name="T59" fmla="*/ 178 h 272"/>
                <a:gd name="T60" fmla="*/ 91 w 254"/>
                <a:gd name="T61" fmla="*/ 171 h 272"/>
                <a:gd name="T62" fmla="*/ 94 w 254"/>
                <a:gd name="T63" fmla="*/ 180 h 272"/>
                <a:gd name="T64" fmla="*/ 83 w 254"/>
                <a:gd name="T65" fmla="*/ 180 h 272"/>
                <a:gd name="T66" fmla="*/ 59 w 254"/>
                <a:gd name="T67" fmla="*/ 189 h 272"/>
                <a:gd name="T68" fmla="*/ 44 w 254"/>
                <a:gd name="T69" fmla="*/ 193 h 272"/>
                <a:gd name="T70" fmla="*/ 56 w 254"/>
                <a:gd name="T71" fmla="*/ 202 h 272"/>
                <a:gd name="T72" fmla="*/ 41 w 254"/>
                <a:gd name="T73" fmla="*/ 205 h 272"/>
                <a:gd name="T74" fmla="*/ 58 w 254"/>
                <a:gd name="T75" fmla="*/ 216 h 272"/>
                <a:gd name="T76" fmla="*/ 41 w 254"/>
                <a:gd name="T77" fmla="*/ 213 h 272"/>
                <a:gd name="T78" fmla="*/ 28 w 254"/>
                <a:gd name="T79" fmla="*/ 196 h 272"/>
                <a:gd name="T80" fmla="*/ 40 w 254"/>
                <a:gd name="T81" fmla="*/ 198 h 272"/>
                <a:gd name="T82" fmla="*/ 47 w 254"/>
                <a:gd name="T83" fmla="*/ 186 h 272"/>
                <a:gd name="T84" fmla="*/ 35 w 254"/>
                <a:gd name="T85" fmla="*/ 177 h 272"/>
                <a:gd name="T86" fmla="*/ 52 w 254"/>
                <a:gd name="T87" fmla="*/ 189 h 272"/>
                <a:gd name="T88" fmla="*/ 58 w 254"/>
                <a:gd name="T89" fmla="*/ 181 h 272"/>
                <a:gd name="T90" fmla="*/ 59 w 254"/>
                <a:gd name="T91" fmla="*/ 169 h 272"/>
                <a:gd name="T92" fmla="*/ 37 w 254"/>
                <a:gd name="T93" fmla="*/ 172 h 272"/>
                <a:gd name="T94" fmla="*/ 31 w 254"/>
                <a:gd name="T95" fmla="*/ 190 h 272"/>
                <a:gd name="T96" fmla="*/ 17 w 254"/>
                <a:gd name="T97" fmla="*/ 201 h 272"/>
                <a:gd name="T98" fmla="*/ 32 w 254"/>
                <a:gd name="T99" fmla="*/ 207 h 272"/>
                <a:gd name="T100" fmla="*/ 31 w 254"/>
                <a:gd name="T101" fmla="*/ 219 h 272"/>
                <a:gd name="T102" fmla="*/ 26 w 254"/>
                <a:gd name="T103" fmla="*/ 214 h 272"/>
                <a:gd name="T104" fmla="*/ 0 w 254"/>
                <a:gd name="T105" fmla="*/ 219 h 272"/>
                <a:gd name="T106" fmla="*/ 49 w 254"/>
                <a:gd name="T107" fmla="*/ 239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54" h="272">
                  <a:moveTo>
                    <a:pt x="49" y="239"/>
                  </a:moveTo>
                  <a:lnTo>
                    <a:pt x="70" y="228"/>
                  </a:lnTo>
                  <a:lnTo>
                    <a:pt x="86" y="211"/>
                  </a:lnTo>
                  <a:lnTo>
                    <a:pt x="118" y="213"/>
                  </a:lnTo>
                  <a:lnTo>
                    <a:pt x="130" y="221"/>
                  </a:lnTo>
                  <a:lnTo>
                    <a:pt x="150" y="219"/>
                  </a:lnTo>
                  <a:lnTo>
                    <a:pt x="159" y="222"/>
                  </a:lnTo>
                  <a:lnTo>
                    <a:pt x="165" y="234"/>
                  </a:lnTo>
                  <a:lnTo>
                    <a:pt x="159" y="246"/>
                  </a:lnTo>
                  <a:lnTo>
                    <a:pt x="147" y="255"/>
                  </a:lnTo>
                  <a:lnTo>
                    <a:pt x="153" y="267"/>
                  </a:lnTo>
                  <a:lnTo>
                    <a:pt x="165" y="272"/>
                  </a:lnTo>
                  <a:lnTo>
                    <a:pt x="183" y="269"/>
                  </a:lnTo>
                  <a:lnTo>
                    <a:pt x="175" y="258"/>
                  </a:lnTo>
                  <a:lnTo>
                    <a:pt x="178" y="239"/>
                  </a:lnTo>
                  <a:lnTo>
                    <a:pt x="190" y="216"/>
                  </a:lnTo>
                  <a:lnTo>
                    <a:pt x="180" y="192"/>
                  </a:lnTo>
                  <a:lnTo>
                    <a:pt x="180" y="165"/>
                  </a:lnTo>
                  <a:lnTo>
                    <a:pt x="210" y="153"/>
                  </a:lnTo>
                  <a:lnTo>
                    <a:pt x="228" y="136"/>
                  </a:lnTo>
                  <a:lnTo>
                    <a:pt x="242" y="116"/>
                  </a:lnTo>
                  <a:lnTo>
                    <a:pt x="234" y="98"/>
                  </a:lnTo>
                  <a:lnTo>
                    <a:pt x="245" y="89"/>
                  </a:lnTo>
                  <a:lnTo>
                    <a:pt x="243" y="62"/>
                  </a:lnTo>
                  <a:lnTo>
                    <a:pt x="254" y="24"/>
                  </a:lnTo>
                  <a:lnTo>
                    <a:pt x="249" y="23"/>
                  </a:lnTo>
                  <a:lnTo>
                    <a:pt x="246" y="18"/>
                  </a:lnTo>
                  <a:lnTo>
                    <a:pt x="249" y="15"/>
                  </a:lnTo>
                  <a:lnTo>
                    <a:pt x="239" y="15"/>
                  </a:lnTo>
                  <a:lnTo>
                    <a:pt x="231" y="9"/>
                  </a:lnTo>
                  <a:lnTo>
                    <a:pt x="225" y="2"/>
                  </a:lnTo>
                  <a:lnTo>
                    <a:pt x="216" y="0"/>
                  </a:lnTo>
                  <a:lnTo>
                    <a:pt x="201" y="3"/>
                  </a:lnTo>
                  <a:lnTo>
                    <a:pt x="192" y="9"/>
                  </a:lnTo>
                  <a:lnTo>
                    <a:pt x="180" y="8"/>
                  </a:lnTo>
                  <a:lnTo>
                    <a:pt x="160" y="11"/>
                  </a:lnTo>
                  <a:lnTo>
                    <a:pt x="145" y="21"/>
                  </a:lnTo>
                  <a:lnTo>
                    <a:pt x="138" y="41"/>
                  </a:lnTo>
                  <a:lnTo>
                    <a:pt x="135" y="56"/>
                  </a:lnTo>
                  <a:lnTo>
                    <a:pt x="132" y="59"/>
                  </a:lnTo>
                  <a:lnTo>
                    <a:pt x="136" y="62"/>
                  </a:lnTo>
                  <a:lnTo>
                    <a:pt x="150" y="64"/>
                  </a:lnTo>
                  <a:lnTo>
                    <a:pt x="154" y="65"/>
                  </a:lnTo>
                  <a:lnTo>
                    <a:pt x="147" y="67"/>
                  </a:lnTo>
                  <a:lnTo>
                    <a:pt x="142" y="79"/>
                  </a:lnTo>
                  <a:lnTo>
                    <a:pt x="141" y="85"/>
                  </a:lnTo>
                  <a:lnTo>
                    <a:pt x="145" y="89"/>
                  </a:lnTo>
                  <a:lnTo>
                    <a:pt x="150" y="89"/>
                  </a:lnTo>
                  <a:lnTo>
                    <a:pt x="157" y="88"/>
                  </a:lnTo>
                  <a:lnTo>
                    <a:pt x="153" y="91"/>
                  </a:lnTo>
                  <a:lnTo>
                    <a:pt x="154" y="97"/>
                  </a:lnTo>
                  <a:lnTo>
                    <a:pt x="144" y="92"/>
                  </a:lnTo>
                  <a:lnTo>
                    <a:pt x="138" y="95"/>
                  </a:lnTo>
                  <a:lnTo>
                    <a:pt x="135" y="98"/>
                  </a:lnTo>
                  <a:lnTo>
                    <a:pt x="124" y="101"/>
                  </a:lnTo>
                  <a:lnTo>
                    <a:pt x="127" y="109"/>
                  </a:lnTo>
                  <a:lnTo>
                    <a:pt x="132" y="112"/>
                  </a:lnTo>
                  <a:lnTo>
                    <a:pt x="139" y="113"/>
                  </a:lnTo>
                  <a:lnTo>
                    <a:pt x="145" y="110"/>
                  </a:lnTo>
                  <a:lnTo>
                    <a:pt x="154" y="98"/>
                  </a:lnTo>
                  <a:lnTo>
                    <a:pt x="147" y="113"/>
                  </a:lnTo>
                  <a:lnTo>
                    <a:pt x="135" y="115"/>
                  </a:lnTo>
                  <a:lnTo>
                    <a:pt x="121" y="107"/>
                  </a:lnTo>
                  <a:lnTo>
                    <a:pt x="118" y="101"/>
                  </a:lnTo>
                  <a:lnTo>
                    <a:pt x="120" y="95"/>
                  </a:lnTo>
                  <a:lnTo>
                    <a:pt x="114" y="89"/>
                  </a:lnTo>
                  <a:lnTo>
                    <a:pt x="120" y="80"/>
                  </a:lnTo>
                  <a:lnTo>
                    <a:pt x="126" y="80"/>
                  </a:lnTo>
                  <a:lnTo>
                    <a:pt x="130" y="70"/>
                  </a:lnTo>
                  <a:lnTo>
                    <a:pt x="120" y="64"/>
                  </a:lnTo>
                  <a:lnTo>
                    <a:pt x="118" y="61"/>
                  </a:lnTo>
                  <a:lnTo>
                    <a:pt x="117" y="55"/>
                  </a:lnTo>
                  <a:lnTo>
                    <a:pt x="107" y="58"/>
                  </a:lnTo>
                  <a:lnTo>
                    <a:pt x="103" y="56"/>
                  </a:lnTo>
                  <a:lnTo>
                    <a:pt x="101" y="52"/>
                  </a:lnTo>
                  <a:lnTo>
                    <a:pt x="95" y="52"/>
                  </a:lnTo>
                  <a:lnTo>
                    <a:pt x="91" y="61"/>
                  </a:lnTo>
                  <a:lnTo>
                    <a:pt x="86" y="71"/>
                  </a:lnTo>
                  <a:lnTo>
                    <a:pt x="89" y="89"/>
                  </a:lnTo>
                  <a:lnTo>
                    <a:pt x="85" y="112"/>
                  </a:lnTo>
                  <a:lnTo>
                    <a:pt x="64" y="138"/>
                  </a:lnTo>
                  <a:lnTo>
                    <a:pt x="58" y="151"/>
                  </a:lnTo>
                  <a:lnTo>
                    <a:pt x="67" y="160"/>
                  </a:lnTo>
                  <a:lnTo>
                    <a:pt x="82" y="159"/>
                  </a:lnTo>
                  <a:lnTo>
                    <a:pt x="67" y="163"/>
                  </a:lnTo>
                  <a:lnTo>
                    <a:pt x="56" y="156"/>
                  </a:lnTo>
                  <a:lnTo>
                    <a:pt x="49" y="162"/>
                  </a:lnTo>
                  <a:lnTo>
                    <a:pt x="59" y="169"/>
                  </a:lnTo>
                  <a:lnTo>
                    <a:pt x="67" y="175"/>
                  </a:lnTo>
                  <a:lnTo>
                    <a:pt x="74" y="178"/>
                  </a:lnTo>
                  <a:lnTo>
                    <a:pt x="80" y="178"/>
                  </a:lnTo>
                  <a:lnTo>
                    <a:pt x="83" y="177"/>
                  </a:lnTo>
                  <a:lnTo>
                    <a:pt x="91" y="171"/>
                  </a:lnTo>
                  <a:lnTo>
                    <a:pt x="88" y="178"/>
                  </a:lnTo>
                  <a:lnTo>
                    <a:pt x="100" y="175"/>
                  </a:lnTo>
                  <a:lnTo>
                    <a:pt x="94" y="180"/>
                  </a:lnTo>
                  <a:lnTo>
                    <a:pt x="101" y="180"/>
                  </a:lnTo>
                  <a:lnTo>
                    <a:pt x="92" y="184"/>
                  </a:lnTo>
                  <a:lnTo>
                    <a:pt x="83" y="180"/>
                  </a:lnTo>
                  <a:lnTo>
                    <a:pt x="71" y="183"/>
                  </a:lnTo>
                  <a:lnTo>
                    <a:pt x="67" y="183"/>
                  </a:lnTo>
                  <a:lnTo>
                    <a:pt x="59" y="189"/>
                  </a:lnTo>
                  <a:lnTo>
                    <a:pt x="56" y="193"/>
                  </a:lnTo>
                  <a:lnTo>
                    <a:pt x="49" y="190"/>
                  </a:lnTo>
                  <a:lnTo>
                    <a:pt x="44" y="193"/>
                  </a:lnTo>
                  <a:lnTo>
                    <a:pt x="47" y="198"/>
                  </a:lnTo>
                  <a:lnTo>
                    <a:pt x="58" y="199"/>
                  </a:lnTo>
                  <a:lnTo>
                    <a:pt x="56" y="202"/>
                  </a:lnTo>
                  <a:lnTo>
                    <a:pt x="50" y="201"/>
                  </a:lnTo>
                  <a:lnTo>
                    <a:pt x="44" y="201"/>
                  </a:lnTo>
                  <a:lnTo>
                    <a:pt x="41" y="205"/>
                  </a:lnTo>
                  <a:lnTo>
                    <a:pt x="59" y="210"/>
                  </a:lnTo>
                  <a:lnTo>
                    <a:pt x="61" y="216"/>
                  </a:lnTo>
                  <a:lnTo>
                    <a:pt x="58" y="216"/>
                  </a:lnTo>
                  <a:lnTo>
                    <a:pt x="47" y="211"/>
                  </a:lnTo>
                  <a:lnTo>
                    <a:pt x="44" y="211"/>
                  </a:lnTo>
                  <a:lnTo>
                    <a:pt x="41" y="213"/>
                  </a:lnTo>
                  <a:lnTo>
                    <a:pt x="38" y="205"/>
                  </a:lnTo>
                  <a:lnTo>
                    <a:pt x="38" y="199"/>
                  </a:lnTo>
                  <a:lnTo>
                    <a:pt x="28" y="196"/>
                  </a:lnTo>
                  <a:lnTo>
                    <a:pt x="32" y="190"/>
                  </a:lnTo>
                  <a:lnTo>
                    <a:pt x="41" y="195"/>
                  </a:lnTo>
                  <a:lnTo>
                    <a:pt x="40" y="198"/>
                  </a:lnTo>
                  <a:lnTo>
                    <a:pt x="43" y="196"/>
                  </a:lnTo>
                  <a:lnTo>
                    <a:pt x="43" y="190"/>
                  </a:lnTo>
                  <a:lnTo>
                    <a:pt x="47" y="186"/>
                  </a:lnTo>
                  <a:lnTo>
                    <a:pt x="43" y="189"/>
                  </a:lnTo>
                  <a:lnTo>
                    <a:pt x="34" y="183"/>
                  </a:lnTo>
                  <a:lnTo>
                    <a:pt x="35" y="177"/>
                  </a:lnTo>
                  <a:lnTo>
                    <a:pt x="43" y="175"/>
                  </a:lnTo>
                  <a:lnTo>
                    <a:pt x="47" y="184"/>
                  </a:lnTo>
                  <a:lnTo>
                    <a:pt x="52" y="189"/>
                  </a:lnTo>
                  <a:lnTo>
                    <a:pt x="53" y="189"/>
                  </a:lnTo>
                  <a:lnTo>
                    <a:pt x="56" y="187"/>
                  </a:lnTo>
                  <a:lnTo>
                    <a:pt x="58" y="181"/>
                  </a:lnTo>
                  <a:lnTo>
                    <a:pt x="56" y="175"/>
                  </a:lnTo>
                  <a:lnTo>
                    <a:pt x="61" y="171"/>
                  </a:lnTo>
                  <a:lnTo>
                    <a:pt x="59" y="169"/>
                  </a:lnTo>
                  <a:lnTo>
                    <a:pt x="55" y="174"/>
                  </a:lnTo>
                  <a:lnTo>
                    <a:pt x="47" y="169"/>
                  </a:lnTo>
                  <a:lnTo>
                    <a:pt x="37" y="172"/>
                  </a:lnTo>
                  <a:lnTo>
                    <a:pt x="31" y="178"/>
                  </a:lnTo>
                  <a:lnTo>
                    <a:pt x="32" y="184"/>
                  </a:lnTo>
                  <a:lnTo>
                    <a:pt x="31" y="190"/>
                  </a:lnTo>
                  <a:lnTo>
                    <a:pt x="25" y="193"/>
                  </a:lnTo>
                  <a:lnTo>
                    <a:pt x="18" y="196"/>
                  </a:lnTo>
                  <a:lnTo>
                    <a:pt x="17" y="201"/>
                  </a:lnTo>
                  <a:lnTo>
                    <a:pt x="25" y="208"/>
                  </a:lnTo>
                  <a:lnTo>
                    <a:pt x="31" y="207"/>
                  </a:lnTo>
                  <a:lnTo>
                    <a:pt x="32" y="207"/>
                  </a:lnTo>
                  <a:lnTo>
                    <a:pt x="40" y="216"/>
                  </a:lnTo>
                  <a:lnTo>
                    <a:pt x="37" y="219"/>
                  </a:lnTo>
                  <a:lnTo>
                    <a:pt x="31" y="219"/>
                  </a:lnTo>
                  <a:lnTo>
                    <a:pt x="32" y="213"/>
                  </a:lnTo>
                  <a:lnTo>
                    <a:pt x="28" y="213"/>
                  </a:lnTo>
                  <a:lnTo>
                    <a:pt x="26" y="214"/>
                  </a:lnTo>
                  <a:lnTo>
                    <a:pt x="20" y="210"/>
                  </a:lnTo>
                  <a:lnTo>
                    <a:pt x="12" y="211"/>
                  </a:lnTo>
                  <a:lnTo>
                    <a:pt x="0" y="219"/>
                  </a:lnTo>
                  <a:lnTo>
                    <a:pt x="29" y="239"/>
                  </a:lnTo>
                  <a:lnTo>
                    <a:pt x="49" y="239"/>
                  </a:lnTo>
                  <a:lnTo>
                    <a:pt x="49" y="239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983" name="Freeform 328"/>
            <p:cNvSpPr>
              <a:spLocks/>
            </p:cNvSpPr>
            <p:nvPr userDrawn="1"/>
          </p:nvSpPr>
          <p:spPr bwMode="auto">
            <a:xfrm>
              <a:off x="4467" y="2760"/>
              <a:ext cx="429" cy="262"/>
            </a:xfrm>
            <a:custGeom>
              <a:avLst/>
              <a:gdLst>
                <a:gd name="T0" fmla="*/ 349 w 429"/>
                <a:gd name="T1" fmla="*/ 12 h 262"/>
                <a:gd name="T2" fmla="*/ 323 w 429"/>
                <a:gd name="T3" fmla="*/ 15 h 262"/>
                <a:gd name="T4" fmla="*/ 301 w 429"/>
                <a:gd name="T5" fmla="*/ 0 h 262"/>
                <a:gd name="T6" fmla="*/ 293 w 429"/>
                <a:gd name="T7" fmla="*/ 14 h 262"/>
                <a:gd name="T8" fmla="*/ 275 w 429"/>
                <a:gd name="T9" fmla="*/ 20 h 262"/>
                <a:gd name="T10" fmla="*/ 264 w 429"/>
                <a:gd name="T11" fmla="*/ 48 h 262"/>
                <a:gd name="T12" fmla="*/ 236 w 429"/>
                <a:gd name="T13" fmla="*/ 41 h 262"/>
                <a:gd name="T14" fmla="*/ 210 w 429"/>
                <a:gd name="T15" fmla="*/ 39 h 262"/>
                <a:gd name="T16" fmla="*/ 181 w 429"/>
                <a:gd name="T17" fmla="*/ 62 h 262"/>
                <a:gd name="T18" fmla="*/ 166 w 429"/>
                <a:gd name="T19" fmla="*/ 65 h 262"/>
                <a:gd name="T20" fmla="*/ 166 w 429"/>
                <a:gd name="T21" fmla="*/ 75 h 262"/>
                <a:gd name="T22" fmla="*/ 157 w 429"/>
                <a:gd name="T23" fmla="*/ 83 h 262"/>
                <a:gd name="T24" fmla="*/ 109 w 429"/>
                <a:gd name="T25" fmla="*/ 81 h 262"/>
                <a:gd name="T26" fmla="*/ 101 w 429"/>
                <a:gd name="T27" fmla="*/ 72 h 262"/>
                <a:gd name="T28" fmla="*/ 74 w 429"/>
                <a:gd name="T29" fmla="*/ 56 h 262"/>
                <a:gd name="T30" fmla="*/ 64 w 429"/>
                <a:gd name="T31" fmla="*/ 53 h 262"/>
                <a:gd name="T32" fmla="*/ 67 w 429"/>
                <a:gd name="T33" fmla="*/ 69 h 262"/>
                <a:gd name="T34" fmla="*/ 55 w 429"/>
                <a:gd name="T35" fmla="*/ 68 h 262"/>
                <a:gd name="T36" fmla="*/ 38 w 429"/>
                <a:gd name="T37" fmla="*/ 77 h 262"/>
                <a:gd name="T38" fmla="*/ 31 w 429"/>
                <a:gd name="T39" fmla="*/ 125 h 262"/>
                <a:gd name="T40" fmla="*/ 2 w 429"/>
                <a:gd name="T41" fmla="*/ 158 h 262"/>
                <a:gd name="T42" fmla="*/ 0 w 429"/>
                <a:gd name="T43" fmla="*/ 180 h 262"/>
                <a:gd name="T44" fmla="*/ 8 w 429"/>
                <a:gd name="T45" fmla="*/ 172 h 262"/>
                <a:gd name="T46" fmla="*/ 18 w 429"/>
                <a:gd name="T47" fmla="*/ 181 h 262"/>
                <a:gd name="T48" fmla="*/ 32 w 429"/>
                <a:gd name="T49" fmla="*/ 198 h 262"/>
                <a:gd name="T50" fmla="*/ 46 w 429"/>
                <a:gd name="T51" fmla="*/ 204 h 262"/>
                <a:gd name="T52" fmla="*/ 64 w 429"/>
                <a:gd name="T53" fmla="*/ 210 h 262"/>
                <a:gd name="T54" fmla="*/ 79 w 429"/>
                <a:gd name="T55" fmla="*/ 226 h 262"/>
                <a:gd name="T56" fmla="*/ 117 w 429"/>
                <a:gd name="T57" fmla="*/ 262 h 262"/>
                <a:gd name="T58" fmla="*/ 153 w 429"/>
                <a:gd name="T59" fmla="*/ 258 h 262"/>
                <a:gd name="T60" fmla="*/ 183 w 429"/>
                <a:gd name="T61" fmla="*/ 255 h 262"/>
                <a:gd name="T62" fmla="*/ 201 w 429"/>
                <a:gd name="T63" fmla="*/ 244 h 262"/>
                <a:gd name="T64" fmla="*/ 222 w 429"/>
                <a:gd name="T65" fmla="*/ 225 h 262"/>
                <a:gd name="T66" fmla="*/ 239 w 429"/>
                <a:gd name="T67" fmla="*/ 225 h 262"/>
                <a:gd name="T68" fmla="*/ 255 w 429"/>
                <a:gd name="T69" fmla="*/ 229 h 262"/>
                <a:gd name="T70" fmla="*/ 272 w 429"/>
                <a:gd name="T71" fmla="*/ 234 h 262"/>
                <a:gd name="T72" fmla="*/ 299 w 429"/>
                <a:gd name="T73" fmla="*/ 220 h 262"/>
                <a:gd name="T74" fmla="*/ 320 w 429"/>
                <a:gd name="T75" fmla="*/ 217 h 262"/>
                <a:gd name="T76" fmla="*/ 335 w 429"/>
                <a:gd name="T77" fmla="*/ 199 h 262"/>
                <a:gd name="T78" fmla="*/ 352 w 429"/>
                <a:gd name="T79" fmla="*/ 155 h 262"/>
                <a:gd name="T80" fmla="*/ 383 w 429"/>
                <a:gd name="T81" fmla="*/ 115 h 262"/>
                <a:gd name="T82" fmla="*/ 414 w 429"/>
                <a:gd name="T83" fmla="*/ 84 h 262"/>
                <a:gd name="T84" fmla="*/ 424 w 429"/>
                <a:gd name="T85" fmla="*/ 84 h 262"/>
                <a:gd name="T86" fmla="*/ 429 w 429"/>
                <a:gd name="T87" fmla="*/ 71 h 262"/>
                <a:gd name="T88" fmla="*/ 420 w 429"/>
                <a:gd name="T89" fmla="*/ 66 h 262"/>
                <a:gd name="T90" fmla="*/ 415 w 429"/>
                <a:gd name="T91" fmla="*/ 51 h 262"/>
                <a:gd name="T92" fmla="*/ 405 w 429"/>
                <a:gd name="T93" fmla="*/ 48 h 262"/>
                <a:gd name="T94" fmla="*/ 400 w 429"/>
                <a:gd name="T95" fmla="*/ 29 h 262"/>
                <a:gd name="T96" fmla="*/ 390 w 429"/>
                <a:gd name="T97" fmla="*/ 18 h 262"/>
                <a:gd name="T98" fmla="*/ 373 w 429"/>
                <a:gd name="T99" fmla="*/ 24 h 262"/>
                <a:gd name="T100" fmla="*/ 349 w 429"/>
                <a:gd name="T101" fmla="*/ 12 h 262"/>
                <a:gd name="T102" fmla="*/ 349 w 429"/>
                <a:gd name="T103" fmla="*/ 12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429" h="262">
                  <a:moveTo>
                    <a:pt x="349" y="12"/>
                  </a:moveTo>
                  <a:lnTo>
                    <a:pt x="323" y="15"/>
                  </a:lnTo>
                  <a:lnTo>
                    <a:pt x="301" y="0"/>
                  </a:lnTo>
                  <a:lnTo>
                    <a:pt x="293" y="14"/>
                  </a:lnTo>
                  <a:lnTo>
                    <a:pt x="275" y="20"/>
                  </a:lnTo>
                  <a:lnTo>
                    <a:pt x="264" y="48"/>
                  </a:lnTo>
                  <a:lnTo>
                    <a:pt x="236" y="41"/>
                  </a:lnTo>
                  <a:lnTo>
                    <a:pt x="210" y="39"/>
                  </a:lnTo>
                  <a:lnTo>
                    <a:pt x="181" y="62"/>
                  </a:lnTo>
                  <a:lnTo>
                    <a:pt x="166" y="65"/>
                  </a:lnTo>
                  <a:lnTo>
                    <a:pt x="166" y="75"/>
                  </a:lnTo>
                  <a:lnTo>
                    <a:pt x="157" y="83"/>
                  </a:lnTo>
                  <a:lnTo>
                    <a:pt x="109" y="81"/>
                  </a:lnTo>
                  <a:lnTo>
                    <a:pt x="101" y="72"/>
                  </a:lnTo>
                  <a:lnTo>
                    <a:pt x="74" y="56"/>
                  </a:lnTo>
                  <a:lnTo>
                    <a:pt x="64" y="53"/>
                  </a:lnTo>
                  <a:lnTo>
                    <a:pt x="67" y="69"/>
                  </a:lnTo>
                  <a:lnTo>
                    <a:pt x="55" y="68"/>
                  </a:lnTo>
                  <a:lnTo>
                    <a:pt x="38" y="77"/>
                  </a:lnTo>
                  <a:lnTo>
                    <a:pt x="31" y="125"/>
                  </a:lnTo>
                  <a:lnTo>
                    <a:pt x="2" y="158"/>
                  </a:lnTo>
                  <a:lnTo>
                    <a:pt x="0" y="180"/>
                  </a:lnTo>
                  <a:lnTo>
                    <a:pt x="8" y="172"/>
                  </a:lnTo>
                  <a:lnTo>
                    <a:pt x="18" y="181"/>
                  </a:lnTo>
                  <a:lnTo>
                    <a:pt x="32" y="198"/>
                  </a:lnTo>
                  <a:lnTo>
                    <a:pt x="46" y="204"/>
                  </a:lnTo>
                  <a:lnTo>
                    <a:pt x="64" y="210"/>
                  </a:lnTo>
                  <a:lnTo>
                    <a:pt x="79" y="226"/>
                  </a:lnTo>
                  <a:lnTo>
                    <a:pt x="117" y="262"/>
                  </a:lnTo>
                  <a:lnTo>
                    <a:pt x="153" y="258"/>
                  </a:lnTo>
                  <a:lnTo>
                    <a:pt x="183" y="255"/>
                  </a:lnTo>
                  <a:lnTo>
                    <a:pt x="201" y="244"/>
                  </a:lnTo>
                  <a:lnTo>
                    <a:pt x="222" y="225"/>
                  </a:lnTo>
                  <a:lnTo>
                    <a:pt x="239" y="225"/>
                  </a:lnTo>
                  <a:lnTo>
                    <a:pt x="255" y="229"/>
                  </a:lnTo>
                  <a:lnTo>
                    <a:pt x="272" y="234"/>
                  </a:lnTo>
                  <a:lnTo>
                    <a:pt x="299" y="220"/>
                  </a:lnTo>
                  <a:lnTo>
                    <a:pt x="320" y="217"/>
                  </a:lnTo>
                  <a:lnTo>
                    <a:pt x="335" y="199"/>
                  </a:lnTo>
                  <a:lnTo>
                    <a:pt x="352" y="155"/>
                  </a:lnTo>
                  <a:lnTo>
                    <a:pt x="383" y="115"/>
                  </a:lnTo>
                  <a:lnTo>
                    <a:pt x="414" y="84"/>
                  </a:lnTo>
                  <a:lnTo>
                    <a:pt x="424" y="84"/>
                  </a:lnTo>
                  <a:lnTo>
                    <a:pt x="429" y="71"/>
                  </a:lnTo>
                  <a:lnTo>
                    <a:pt x="420" y="66"/>
                  </a:lnTo>
                  <a:lnTo>
                    <a:pt x="415" y="51"/>
                  </a:lnTo>
                  <a:lnTo>
                    <a:pt x="405" y="48"/>
                  </a:lnTo>
                  <a:lnTo>
                    <a:pt x="400" y="29"/>
                  </a:lnTo>
                  <a:lnTo>
                    <a:pt x="390" y="18"/>
                  </a:lnTo>
                  <a:lnTo>
                    <a:pt x="373" y="24"/>
                  </a:lnTo>
                  <a:lnTo>
                    <a:pt x="349" y="12"/>
                  </a:lnTo>
                  <a:lnTo>
                    <a:pt x="349" y="12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984" name="Freeform 329"/>
            <p:cNvSpPr>
              <a:spLocks/>
            </p:cNvSpPr>
            <p:nvPr userDrawn="1"/>
          </p:nvSpPr>
          <p:spPr bwMode="auto">
            <a:xfrm>
              <a:off x="3143" y="2532"/>
              <a:ext cx="830" cy="798"/>
            </a:xfrm>
            <a:custGeom>
              <a:avLst/>
              <a:gdLst>
                <a:gd name="T0" fmla="*/ 777 w 830"/>
                <a:gd name="T1" fmla="*/ 637 h 798"/>
                <a:gd name="T2" fmla="*/ 745 w 830"/>
                <a:gd name="T3" fmla="*/ 570 h 798"/>
                <a:gd name="T4" fmla="*/ 760 w 830"/>
                <a:gd name="T5" fmla="*/ 483 h 798"/>
                <a:gd name="T6" fmla="*/ 698 w 830"/>
                <a:gd name="T7" fmla="*/ 466 h 798"/>
                <a:gd name="T8" fmla="*/ 720 w 830"/>
                <a:gd name="T9" fmla="*/ 401 h 798"/>
                <a:gd name="T10" fmla="*/ 754 w 830"/>
                <a:gd name="T11" fmla="*/ 352 h 798"/>
                <a:gd name="T12" fmla="*/ 780 w 830"/>
                <a:gd name="T13" fmla="*/ 308 h 798"/>
                <a:gd name="T14" fmla="*/ 825 w 830"/>
                <a:gd name="T15" fmla="*/ 192 h 798"/>
                <a:gd name="T16" fmla="*/ 712 w 830"/>
                <a:gd name="T17" fmla="*/ 151 h 798"/>
                <a:gd name="T18" fmla="*/ 634 w 830"/>
                <a:gd name="T19" fmla="*/ 136 h 798"/>
                <a:gd name="T20" fmla="*/ 576 w 830"/>
                <a:gd name="T21" fmla="*/ 103 h 798"/>
                <a:gd name="T22" fmla="*/ 511 w 830"/>
                <a:gd name="T23" fmla="*/ 33 h 798"/>
                <a:gd name="T24" fmla="*/ 474 w 830"/>
                <a:gd name="T25" fmla="*/ 0 h 798"/>
                <a:gd name="T26" fmla="*/ 403 w 830"/>
                <a:gd name="T27" fmla="*/ 27 h 798"/>
                <a:gd name="T28" fmla="*/ 412 w 830"/>
                <a:gd name="T29" fmla="*/ 80 h 798"/>
                <a:gd name="T30" fmla="*/ 341 w 830"/>
                <a:gd name="T31" fmla="*/ 121 h 798"/>
                <a:gd name="T32" fmla="*/ 341 w 830"/>
                <a:gd name="T33" fmla="*/ 159 h 798"/>
                <a:gd name="T34" fmla="*/ 267 w 830"/>
                <a:gd name="T35" fmla="*/ 171 h 798"/>
                <a:gd name="T36" fmla="*/ 226 w 830"/>
                <a:gd name="T37" fmla="*/ 145 h 798"/>
                <a:gd name="T38" fmla="*/ 183 w 830"/>
                <a:gd name="T39" fmla="*/ 133 h 798"/>
                <a:gd name="T40" fmla="*/ 201 w 830"/>
                <a:gd name="T41" fmla="*/ 171 h 798"/>
                <a:gd name="T42" fmla="*/ 216 w 830"/>
                <a:gd name="T43" fmla="*/ 246 h 798"/>
                <a:gd name="T44" fmla="*/ 169 w 830"/>
                <a:gd name="T45" fmla="*/ 243 h 798"/>
                <a:gd name="T46" fmla="*/ 113 w 830"/>
                <a:gd name="T47" fmla="*/ 225 h 798"/>
                <a:gd name="T48" fmla="*/ 68 w 830"/>
                <a:gd name="T49" fmla="*/ 232 h 798"/>
                <a:gd name="T50" fmla="*/ 24 w 830"/>
                <a:gd name="T51" fmla="*/ 239 h 798"/>
                <a:gd name="T52" fmla="*/ 8 w 830"/>
                <a:gd name="T53" fmla="*/ 269 h 798"/>
                <a:gd name="T54" fmla="*/ 29 w 830"/>
                <a:gd name="T55" fmla="*/ 275 h 798"/>
                <a:gd name="T56" fmla="*/ 15 w 830"/>
                <a:gd name="T57" fmla="*/ 284 h 798"/>
                <a:gd name="T58" fmla="*/ 6 w 830"/>
                <a:gd name="T59" fmla="*/ 299 h 798"/>
                <a:gd name="T60" fmla="*/ 39 w 830"/>
                <a:gd name="T61" fmla="*/ 318 h 798"/>
                <a:gd name="T62" fmla="*/ 89 w 830"/>
                <a:gd name="T63" fmla="*/ 326 h 798"/>
                <a:gd name="T64" fmla="*/ 128 w 830"/>
                <a:gd name="T65" fmla="*/ 346 h 798"/>
                <a:gd name="T66" fmla="*/ 148 w 830"/>
                <a:gd name="T67" fmla="*/ 358 h 798"/>
                <a:gd name="T68" fmla="*/ 195 w 830"/>
                <a:gd name="T69" fmla="*/ 377 h 798"/>
                <a:gd name="T70" fmla="*/ 174 w 830"/>
                <a:gd name="T71" fmla="*/ 403 h 798"/>
                <a:gd name="T72" fmla="*/ 235 w 830"/>
                <a:gd name="T73" fmla="*/ 459 h 798"/>
                <a:gd name="T74" fmla="*/ 240 w 830"/>
                <a:gd name="T75" fmla="*/ 495 h 798"/>
                <a:gd name="T76" fmla="*/ 260 w 830"/>
                <a:gd name="T77" fmla="*/ 537 h 798"/>
                <a:gd name="T78" fmla="*/ 261 w 830"/>
                <a:gd name="T79" fmla="*/ 557 h 798"/>
                <a:gd name="T80" fmla="*/ 241 w 830"/>
                <a:gd name="T81" fmla="*/ 546 h 798"/>
                <a:gd name="T82" fmla="*/ 232 w 830"/>
                <a:gd name="T83" fmla="*/ 602 h 798"/>
                <a:gd name="T84" fmla="*/ 202 w 830"/>
                <a:gd name="T85" fmla="*/ 717 h 798"/>
                <a:gd name="T86" fmla="*/ 255 w 830"/>
                <a:gd name="T87" fmla="*/ 750 h 798"/>
                <a:gd name="T88" fmla="*/ 359 w 830"/>
                <a:gd name="T89" fmla="*/ 759 h 798"/>
                <a:gd name="T90" fmla="*/ 422 w 830"/>
                <a:gd name="T91" fmla="*/ 789 h 798"/>
                <a:gd name="T92" fmla="*/ 499 w 830"/>
                <a:gd name="T93" fmla="*/ 788 h 798"/>
                <a:gd name="T94" fmla="*/ 499 w 830"/>
                <a:gd name="T95" fmla="*/ 762 h 798"/>
                <a:gd name="T96" fmla="*/ 542 w 830"/>
                <a:gd name="T97" fmla="*/ 712 h 798"/>
                <a:gd name="T98" fmla="*/ 606 w 830"/>
                <a:gd name="T99" fmla="*/ 717 h 798"/>
                <a:gd name="T100" fmla="*/ 709 w 830"/>
                <a:gd name="T101" fmla="*/ 738 h 798"/>
                <a:gd name="T102" fmla="*/ 790 w 830"/>
                <a:gd name="T103" fmla="*/ 679 h 798"/>
                <a:gd name="T104" fmla="*/ 799 w 830"/>
                <a:gd name="T105" fmla="*/ 667 h 7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830" h="798">
                  <a:moveTo>
                    <a:pt x="806" y="661"/>
                  </a:moveTo>
                  <a:lnTo>
                    <a:pt x="806" y="655"/>
                  </a:lnTo>
                  <a:lnTo>
                    <a:pt x="798" y="653"/>
                  </a:lnTo>
                  <a:lnTo>
                    <a:pt x="793" y="638"/>
                  </a:lnTo>
                  <a:lnTo>
                    <a:pt x="777" y="637"/>
                  </a:lnTo>
                  <a:lnTo>
                    <a:pt x="756" y="628"/>
                  </a:lnTo>
                  <a:lnTo>
                    <a:pt x="760" y="607"/>
                  </a:lnTo>
                  <a:lnTo>
                    <a:pt x="762" y="592"/>
                  </a:lnTo>
                  <a:lnTo>
                    <a:pt x="757" y="584"/>
                  </a:lnTo>
                  <a:lnTo>
                    <a:pt x="745" y="570"/>
                  </a:lnTo>
                  <a:lnTo>
                    <a:pt x="751" y="555"/>
                  </a:lnTo>
                  <a:lnTo>
                    <a:pt x="768" y="536"/>
                  </a:lnTo>
                  <a:lnTo>
                    <a:pt x="760" y="512"/>
                  </a:lnTo>
                  <a:lnTo>
                    <a:pt x="756" y="498"/>
                  </a:lnTo>
                  <a:lnTo>
                    <a:pt x="760" y="483"/>
                  </a:lnTo>
                  <a:lnTo>
                    <a:pt x="745" y="448"/>
                  </a:lnTo>
                  <a:lnTo>
                    <a:pt x="738" y="444"/>
                  </a:lnTo>
                  <a:lnTo>
                    <a:pt x="718" y="439"/>
                  </a:lnTo>
                  <a:lnTo>
                    <a:pt x="707" y="450"/>
                  </a:lnTo>
                  <a:lnTo>
                    <a:pt x="698" y="466"/>
                  </a:lnTo>
                  <a:lnTo>
                    <a:pt x="694" y="466"/>
                  </a:lnTo>
                  <a:lnTo>
                    <a:pt x="694" y="444"/>
                  </a:lnTo>
                  <a:lnTo>
                    <a:pt x="703" y="432"/>
                  </a:lnTo>
                  <a:lnTo>
                    <a:pt x="704" y="420"/>
                  </a:lnTo>
                  <a:lnTo>
                    <a:pt x="720" y="401"/>
                  </a:lnTo>
                  <a:lnTo>
                    <a:pt x="721" y="391"/>
                  </a:lnTo>
                  <a:lnTo>
                    <a:pt x="733" y="383"/>
                  </a:lnTo>
                  <a:lnTo>
                    <a:pt x="736" y="373"/>
                  </a:lnTo>
                  <a:lnTo>
                    <a:pt x="759" y="359"/>
                  </a:lnTo>
                  <a:lnTo>
                    <a:pt x="754" y="352"/>
                  </a:lnTo>
                  <a:lnTo>
                    <a:pt x="756" y="338"/>
                  </a:lnTo>
                  <a:lnTo>
                    <a:pt x="765" y="338"/>
                  </a:lnTo>
                  <a:lnTo>
                    <a:pt x="772" y="343"/>
                  </a:lnTo>
                  <a:lnTo>
                    <a:pt x="783" y="332"/>
                  </a:lnTo>
                  <a:lnTo>
                    <a:pt x="780" y="308"/>
                  </a:lnTo>
                  <a:lnTo>
                    <a:pt x="793" y="267"/>
                  </a:lnTo>
                  <a:lnTo>
                    <a:pt x="799" y="231"/>
                  </a:lnTo>
                  <a:lnTo>
                    <a:pt x="816" y="208"/>
                  </a:lnTo>
                  <a:lnTo>
                    <a:pt x="830" y="198"/>
                  </a:lnTo>
                  <a:lnTo>
                    <a:pt x="825" y="192"/>
                  </a:lnTo>
                  <a:lnTo>
                    <a:pt x="796" y="183"/>
                  </a:lnTo>
                  <a:lnTo>
                    <a:pt x="784" y="184"/>
                  </a:lnTo>
                  <a:lnTo>
                    <a:pt x="766" y="177"/>
                  </a:lnTo>
                  <a:lnTo>
                    <a:pt x="736" y="175"/>
                  </a:lnTo>
                  <a:lnTo>
                    <a:pt x="712" y="151"/>
                  </a:lnTo>
                  <a:lnTo>
                    <a:pt x="694" y="157"/>
                  </a:lnTo>
                  <a:lnTo>
                    <a:pt x="685" y="156"/>
                  </a:lnTo>
                  <a:lnTo>
                    <a:pt x="677" y="147"/>
                  </a:lnTo>
                  <a:lnTo>
                    <a:pt x="656" y="150"/>
                  </a:lnTo>
                  <a:lnTo>
                    <a:pt x="634" y="136"/>
                  </a:lnTo>
                  <a:lnTo>
                    <a:pt x="622" y="115"/>
                  </a:lnTo>
                  <a:lnTo>
                    <a:pt x="618" y="95"/>
                  </a:lnTo>
                  <a:lnTo>
                    <a:pt x="612" y="91"/>
                  </a:lnTo>
                  <a:lnTo>
                    <a:pt x="599" y="109"/>
                  </a:lnTo>
                  <a:lnTo>
                    <a:pt x="576" y="103"/>
                  </a:lnTo>
                  <a:lnTo>
                    <a:pt x="564" y="82"/>
                  </a:lnTo>
                  <a:lnTo>
                    <a:pt x="554" y="57"/>
                  </a:lnTo>
                  <a:lnTo>
                    <a:pt x="528" y="57"/>
                  </a:lnTo>
                  <a:lnTo>
                    <a:pt x="517" y="51"/>
                  </a:lnTo>
                  <a:lnTo>
                    <a:pt x="511" y="33"/>
                  </a:lnTo>
                  <a:lnTo>
                    <a:pt x="501" y="30"/>
                  </a:lnTo>
                  <a:lnTo>
                    <a:pt x="481" y="36"/>
                  </a:lnTo>
                  <a:lnTo>
                    <a:pt x="478" y="24"/>
                  </a:lnTo>
                  <a:lnTo>
                    <a:pt x="472" y="14"/>
                  </a:lnTo>
                  <a:lnTo>
                    <a:pt x="474" y="0"/>
                  </a:lnTo>
                  <a:lnTo>
                    <a:pt x="460" y="3"/>
                  </a:lnTo>
                  <a:lnTo>
                    <a:pt x="437" y="8"/>
                  </a:lnTo>
                  <a:lnTo>
                    <a:pt x="425" y="9"/>
                  </a:lnTo>
                  <a:lnTo>
                    <a:pt x="415" y="14"/>
                  </a:lnTo>
                  <a:lnTo>
                    <a:pt x="403" y="27"/>
                  </a:lnTo>
                  <a:lnTo>
                    <a:pt x="406" y="32"/>
                  </a:lnTo>
                  <a:lnTo>
                    <a:pt x="407" y="59"/>
                  </a:lnTo>
                  <a:lnTo>
                    <a:pt x="403" y="65"/>
                  </a:lnTo>
                  <a:lnTo>
                    <a:pt x="404" y="74"/>
                  </a:lnTo>
                  <a:lnTo>
                    <a:pt x="412" y="80"/>
                  </a:lnTo>
                  <a:lnTo>
                    <a:pt x="406" y="83"/>
                  </a:lnTo>
                  <a:lnTo>
                    <a:pt x="394" y="97"/>
                  </a:lnTo>
                  <a:lnTo>
                    <a:pt x="374" y="112"/>
                  </a:lnTo>
                  <a:lnTo>
                    <a:pt x="359" y="116"/>
                  </a:lnTo>
                  <a:lnTo>
                    <a:pt x="341" y="121"/>
                  </a:lnTo>
                  <a:lnTo>
                    <a:pt x="318" y="134"/>
                  </a:lnTo>
                  <a:lnTo>
                    <a:pt x="314" y="145"/>
                  </a:lnTo>
                  <a:lnTo>
                    <a:pt x="312" y="153"/>
                  </a:lnTo>
                  <a:lnTo>
                    <a:pt x="323" y="153"/>
                  </a:lnTo>
                  <a:lnTo>
                    <a:pt x="341" y="159"/>
                  </a:lnTo>
                  <a:lnTo>
                    <a:pt x="321" y="157"/>
                  </a:lnTo>
                  <a:lnTo>
                    <a:pt x="312" y="163"/>
                  </a:lnTo>
                  <a:lnTo>
                    <a:pt x="300" y="171"/>
                  </a:lnTo>
                  <a:lnTo>
                    <a:pt x="278" y="172"/>
                  </a:lnTo>
                  <a:lnTo>
                    <a:pt x="267" y="171"/>
                  </a:lnTo>
                  <a:lnTo>
                    <a:pt x="253" y="165"/>
                  </a:lnTo>
                  <a:lnTo>
                    <a:pt x="240" y="169"/>
                  </a:lnTo>
                  <a:lnTo>
                    <a:pt x="231" y="165"/>
                  </a:lnTo>
                  <a:lnTo>
                    <a:pt x="222" y="153"/>
                  </a:lnTo>
                  <a:lnTo>
                    <a:pt x="226" y="145"/>
                  </a:lnTo>
                  <a:lnTo>
                    <a:pt x="225" y="137"/>
                  </a:lnTo>
                  <a:lnTo>
                    <a:pt x="211" y="139"/>
                  </a:lnTo>
                  <a:lnTo>
                    <a:pt x="204" y="142"/>
                  </a:lnTo>
                  <a:lnTo>
                    <a:pt x="192" y="134"/>
                  </a:lnTo>
                  <a:lnTo>
                    <a:pt x="183" y="133"/>
                  </a:lnTo>
                  <a:lnTo>
                    <a:pt x="180" y="131"/>
                  </a:lnTo>
                  <a:lnTo>
                    <a:pt x="180" y="136"/>
                  </a:lnTo>
                  <a:lnTo>
                    <a:pt x="189" y="150"/>
                  </a:lnTo>
                  <a:lnTo>
                    <a:pt x="193" y="165"/>
                  </a:lnTo>
                  <a:lnTo>
                    <a:pt x="201" y="171"/>
                  </a:lnTo>
                  <a:lnTo>
                    <a:pt x="202" y="181"/>
                  </a:lnTo>
                  <a:lnTo>
                    <a:pt x="207" y="225"/>
                  </a:lnTo>
                  <a:lnTo>
                    <a:pt x="213" y="237"/>
                  </a:lnTo>
                  <a:lnTo>
                    <a:pt x="217" y="240"/>
                  </a:lnTo>
                  <a:lnTo>
                    <a:pt x="216" y="246"/>
                  </a:lnTo>
                  <a:lnTo>
                    <a:pt x="208" y="245"/>
                  </a:lnTo>
                  <a:lnTo>
                    <a:pt x="198" y="243"/>
                  </a:lnTo>
                  <a:lnTo>
                    <a:pt x="192" y="234"/>
                  </a:lnTo>
                  <a:lnTo>
                    <a:pt x="181" y="236"/>
                  </a:lnTo>
                  <a:lnTo>
                    <a:pt x="169" y="243"/>
                  </a:lnTo>
                  <a:lnTo>
                    <a:pt x="158" y="237"/>
                  </a:lnTo>
                  <a:lnTo>
                    <a:pt x="148" y="242"/>
                  </a:lnTo>
                  <a:lnTo>
                    <a:pt x="134" y="249"/>
                  </a:lnTo>
                  <a:lnTo>
                    <a:pt x="119" y="232"/>
                  </a:lnTo>
                  <a:lnTo>
                    <a:pt x="113" y="225"/>
                  </a:lnTo>
                  <a:lnTo>
                    <a:pt x="92" y="225"/>
                  </a:lnTo>
                  <a:lnTo>
                    <a:pt x="82" y="220"/>
                  </a:lnTo>
                  <a:lnTo>
                    <a:pt x="80" y="225"/>
                  </a:lnTo>
                  <a:lnTo>
                    <a:pt x="77" y="234"/>
                  </a:lnTo>
                  <a:lnTo>
                    <a:pt x="68" y="232"/>
                  </a:lnTo>
                  <a:lnTo>
                    <a:pt x="60" y="236"/>
                  </a:lnTo>
                  <a:lnTo>
                    <a:pt x="60" y="240"/>
                  </a:lnTo>
                  <a:lnTo>
                    <a:pt x="50" y="236"/>
                  </a:lnTo>
                  <a:lnTo>
                    <a:pt x="39" y="239"/>
                  </a:lnTo>
                  <a:lnTo>
                    <a:pt x="24" y="239"/>
                  </a:lnTo>
                  <a:lnTo>
                    <a:pt x="11" y="251"/>
                  </a:lnTo>
                  <a:lnTo>
                    <a:pt x="5" y="255"/>
                  </a:lnTo>
                  <a:lnTo>
                    <a:pt x="0" y="260"/>
                  </a:lnTo>
                  <a:lnTo>
                    <a:pt x="2" y="266"/>
                  </a:lnTo>
                  <a:lnTo>
                    <a:pt x="8" y="269"/>
                  </a:lnTo>
                  <a:lnTo>
                    <a:pt x="14" y="263"/>
                  </a:lnTo>
                  <a:lnTo>
                    <a:pt x="18" y="267"/>
                  </a:lnTo>
                  <a:lnTo>
                    <a:pt x="26" y="266"/>
                  </a:lnTo>
                  <a:lnTo>
                    <a:pt x="35" y="275"/>
                  </a:lnTo>
                  <a:lnTo>
                    <a:pt x="29" y="275"/>
                  </a:lnTo>
                  <a:lnTo>
                    <a:pt x="18" y="272"/>
                  </a:lnTo>
                  <a:lnTo>
                    <a:pt x="14" y="270"/>
                  </a:lnTo>
                  <a:lnTo>
                    <a:pt x="11" y="273"/>
                  </a:lnTo>
                  <a:lnTo>
                    <a:pt x="12" y="290"/>
                  </a:lnTo>
                  <a:lnTo>
                    <a:pt x="15" y="284"/>
                  </a:lnTo>
                  <a:lnTo>
                    <a:pt x="23" y="281"/>
                  </a:lnTo>
                  <a:lnTo>
                    <a:pt x="33" y="288"/>
                  </a:lnTo>
                  <a:lnTo>
                    <a:pt x="29" y="293"/>
                  </a:lnTo>
                  <a:lnTo>
                    <a:pt x="17" y="293"/>
                  </a:lnTo>
                  <a:lnTo>
                    <a:pt x="6" y="299"/>
                  </a:lnTo>
                  <a:lnTo>
                    <a:pt x="8" y="302"/>
                  </a:lnTo>
                  <a:lnTo>
                    <a:pt x="21" y="305"/>
                  </a:lnTo>
                  <a:lnTo>
                    <a:pt x="26" y="308"/>
                  </a:lnTo>
                  <a:lnTo>
                    <a:pt x="29" y="320"/>
                  </a:lnTo>
                  <a:lnTo>
                    <a:pt x="39" y="318"/>
                  </a:lnTo>
                  <a:lnTo>
                    <a:pt x="53" y="309"/>
                  </a:lnTo>
                  <a:lnTo>
                    <a:pt x="60" y="312"/>
                  </a:lnTo>
                  <a:lnTo>
                    <a:pt x="66" y="320"/>
                  </a:lnTo>
                  <a:lnTo>
                    <a:pt x="79" y="322"/>
                  </a:lnTo>
                  <a:lnTo>
                    <a:pt x="89" y="326"/>
                  </a:lnTo>
                  <a:lnTo>
                    <a:pt x="97" y="326"/>
                  </a:lnTo>
                  <a:lnTo>
                    <a:pt x="112" y="344"/>
                  </a:lnTo>
                  <a:lnTo>
                    <a:pt x="119" y="343"/>
                  </a:lnTo>
                  <a:lnTo>
                    <a:pt x="125" y="337"/>
                  </a:lnTo>
                  <a:lnTo>
                    <a:pt x="128" y="346"/>
                  </a:lnTo>
                  <a:lnTo>
                    <a:pt x="131" y="344"/>
                  </a:lnTo>
                  <a:lnTo>
                    <a:pt x="136" y="338"/>
                  </a:lnTo>
                  <a:lnTo>
                    <a:pt x="148" y="346"/>
                  </a:lnTo>
                  <a:lnTo>
                    <a:pt x="158" y="350"/>
                  </a:lnTo>
                  <a:lnTo>
                    <a:pt x="148" y="358"/>
                  </a:lnTo>
                  <a:lnTo>
                    <a:pt x="151" y="367"/>
                  </a:lnTo>
                  <a:lnTo>
                    <a:pt x="166" y="368"/>
                  </a:lnTo>
                  <a:lnTo>
                    <a:pt x="180" y="364"/>
                  </a:lnTo>
                  <a:lnTo>
                    <a:pt x="190" y="370"/>
                  </a:lnTo>
                  <a:lnTo>
                    <a:pt x="195" y="377"/>
                  </a:lnTo>
                  <a:lnTo>
                    <a:pt x="189" y="376"/>
                  </a:lnTo>
                  <a:lnTo>
                    <a:pt x="180" y="373"/>
                  </a:lnTo>
                  <a:lnTo>
                    <a:pt x="172" y="382"/>
                  </a:lnTo>
                  <a:lnTo>
                    <a:pt x="183" y="386"/>
                  </a:lnTo>
                  <a:lnTo>
                    <a:pt x="174" y="403"/>
                  </a:lnTo>
                  <a:lnTo>
                    <a:pt x="183" y="411"/>
                  </a:lnTo>
                  <a:lnTo>
                    <a:pt x="195" y="430"/>
                  </a:lnTo>
                  <a:lnTo>
                    <a:pt x="196" y="436"/>
                  </a:lnTo>
                  <a:lnTo>
                    <a:pt x="225" y="457"/>
                  </a:lnTo>
                  <a:lnTo>
                    <a:pt x="235" y="459"/>
                  </a:lnTo>
                  <a:lnTo>
                    <a:pt x="231" y="465"/>
                  </a:lnTo>
                  <a:lnTo>
                    <a:pt x="238" y="469"/>
                  </a:lnTo>
                  <a:lnTo>
                    <a:pt x="250" y="484"/>
                  </a:lnTo>
                  <a:lnTo>
                    <a:pt x="243" y="487"/>
                  </a:lnTo>
                  <a:lnTo>
                    <a:pt x="240" y="495"/>
                  </a:lnTo>
                  <a:lnTo>
                    <a:pt x="234" y="501"/>
                  </a:lnTo>
                  <a:lnTo>
                    <a:pt x="234" y="509"/>
                  </a:lnTo>
                  <a:lnTo>
                    <a:pt x="249" y="518"/>
                  </a:lnTo>
                  <a:lnTo>
                    <a:pt x="252" y="527"/>
                  </a:lnTo>
                  <a:lnTo>
                    <a:pt x="260" y="537"/>
                  </a:lnTo>
                  <a:lnTo>
                    <a:pt x="264" y="555"/>
                  </a:lnTo>
                  <a:lnTo>
                    <a:pt x="267" y="567"/>
                  </a:lnTo>
                  <a:lnTo>
                    <a:pt x="272" y="573"/>
                  </a:lnTo>
                  <a:lnTo>
                    <a:pt x="266" y="569"/>
                  </a:lnTo>
                  <a:lnTo>
                    <a:pt x="261" y="557"/>
                  </a:lnTo>
                  <a:lnTo>
                    <a:pt x="246" y="539"/>
                  </a:lnTo>
                  <a:lnTo>
                    <a:pt x="244" y="528"/>
                  </a:lnTo>
                  <a:lnTo>
                    <a:pt x="241" y="528"/>
                  </a:lnTo>
                  <a:lnTo>
                    <a:pt x="240" y="533"/>
                  </a:lnTo>
                  <a:lnTo>
                    <a:pt x="241" y="546"/>
                  </a:lnTo>
                  <a:lnTo>
                    <a:pt x="234" y="599"/>
                  </a:lnTo>
                  <a:lnTo>
                    <a:pt x="238" y="601"/>
                  </a:lnTo>
                  <a:lnTo>
                    <a:pt x="241" y="608"/>
                  </a:lnTo>
                  <a:lnTo>
                    <a:pt x="237" y="613"/>
                  </a:lnTo>
                  <a:lnTo>
                    <a:pt x="232" y="602"/>
                  </a:lnTo>
                  <a:lnTo>
                    <a:pt x="228" y="635"/>
                  </a:lnTo>
                  <a:lnTo>
                    <a:pt x="219" y="684"/>
                  </a:lnTo>
                  <a:lnTo>
                    <a:pt x="208" y="706"/>
                  </a:lnTo>
                  <a:lnTo>
                    <a:pt x="202" y="712"/>
                  </a:lnTo>
                  <a:lnTo>
                    <a:pt x="202" y="717"/>
                  </a:lnTo>
                  <a:lnTo>
                    <a:pt x="210" y="717"/>
                  </a:lnTo>
                  <a:lnTo>
                    <a:pt x="217" y="726"/>
                  </a:lnTo>
                  <a:lnTo>
                    <a:pt x="217" y="733"/>
                  </a:lnTo>
                  <a:lnTo>
                    <a:pt x="243" y="739"/>
                  </a:lnTo>
                  <a:lnTo>
                    <a:pt x="255" y="750"/>
                  </a:lnTo>
                  <a:lnTo>
                    <a:pt x="287" y="755"/>
                  </a:lnTo>
                  <a:lnTo>
                    <a:pt x="312" y="768"/>
                  </a:lnTo>
                  <a:lnTo>
                    <a:pt x="338" y="770"/>
                  </a:lnTo>
                  <a:lnTo>
                    <a:pt x="350" y="770"/>
                  </a:lnTo>
                  <a:lnTo>
                    <a:pt x="359" y="759"/>
                  </a:lnTo>
                  <a:lnTo>
                    <a:pt x="379" y="761"/>
                  </a:lnTo>
                  <a:lnTo>
                    <a:pt x="400" y="776"/>
                  </a:lnTo>
                  <a:lnTo>
                    <a:pt x="413" y="771"/>
                  </a:lnTo>
                  <a:lnTo>
                    <a:pt x="422" y="779"/>
                  </a:lnTo>
                  <a:lnTo>
                    <a:pt x="422" y="789"/>
                  </a:lnTo>
                  <a:lnTo>
                    <a:pt x="437" y="791"/>
                  </a:lnTo>
                  <a:lnTo>
                    <a:pt x="451" y="797"/>
                  </a:lnTo>
                  <a:lnTo>
                    <a:pt x="465" y="798"/>
                  </a:lnTo>
                  <a:lnTo>
                    <a:pt x="481" y="789"/>
                  </a:lnTo>
                  <a:lnTo>
                    <a:pt x="499" y="788"/>
                  </a:lnTo>
                  <a:lnTo>
                    <a:pt x="502" y="783"/>
                  </a:lnTo>
                  <a:lnTo>
                    <a:pt x="499" y="774"/>
                  </a:lnTo>
                  <a:lnTo>
                    <a:pt x="502" y="764"/>
                  </a:lnTo>
                  <a:lnTo>
                    <a:pt x="499" y="755"/>
                  </a:lnTo>
                  <a:lnTo>
                    <a:pt x="499" y="762"/>
                  </a:lnTo>
                  <a:lnTo>
                    <a:pt x="493" y="758"/>
                  </a:lnTo>
                  <a:lnTo>
                    <a:pt x="499" y="750"/>
                  </a:lnTo>
                  <a:lnTo>
                    <a:pt x="504" y="727"/>
                  </a:lnTo>
                  <a:lnTo>
                    <a:pt x="529" y="720"/>
                  </a:lnTo>
                  <a:lnTo>
                    <a:pt x="542" y="712"/>
                  </a:lnTo>
                  <a:lnTo>
                    <a:pt x="552" y="700"/>
                  </a:lnTo>
                  <a:lnTo>
                    <a:pt x="564" y="697"/>
                  </a:lnTo>
                  <a:lnTo>
                    <a:pt x="581" y="705"/>
                  </a:lnTo>
                  <a:lnTo>
                    <a:pt x="596" y="708"/>
                  </a:lnTo>
                  <a:lnTo>
                    <a:pt x="606" y="717"/>
                  </a:lnTo>
                  <a:lnTo>
                    <a:pt x="622" y="708"/>
                  </a:lnTo>
                  <a:lnTo>
                    <a:pt x="646" y="717"/>
                  </a:lnTo>
                  <a:lnTo>
                    <a:pt x="650" y="726"/>
                  </a:lnTo>
                  <a:lnTo>
                    <a:pt x="680" y="738"/>
                  </a:lnTo>
                  <a:lnTo>
                    <a:pt x="709" y="738"/>
                  </a:lnTo>
                  <a:lnTo>
                    <a:pt x="729" y="729"/>
                  </a:lnTo>
                  <a:lnTo>
                    <a:pt x="744" y="706"/>
                  </a:lnTo>
                  <a:lnTo>
                    <a:pt x="760" y="697"/>
                  </a:lnTo>
                  <a:lnTo>
                    <a:pt x="781" y="682"/>
                  </a:lnTo>
                  <a:lnTo>
                    <a:pt x="790" y="679"/>
                  </a:lnTo>
                  <a:lnTo>
                    <a:pt x="792" y="675"/>
                  </a:lnTo>
                  <a:lnTo>
                    <a:pt x="798" y="673"/>
                  </a:lnTo>
                  <a:lnTo>
                    <a:pt x="801" y="676"/>
                  </a:lnTo>
                  <a:lnTo>
                    <a:pt x="804" y="676"/>
                  </a:lnTo>
                  <a:lnTo>
                    <a:pt x="799" y="667"/>
                  </a:lnTo>
                  <a:lnTo>
                    <a:pt x="806" y="661"/>
                  </a:lnTo>
                  <a:lnTo>
                    <a:pt x="806" y="661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985" name="Freeform 330"/>
            <p:cNvSpPr>
              <a:spLocks/>
            </p:cNvSpPr>
            <p:nvPr userDrawn="1"/>
          </p:nvSpPr>
          <p:spPr bwMode="auto">
            <a:xfrm>
              <a:off x="4301" y="2932"/>
              <a:ext cx="198" cy="127"/>
            </a:xfrm>
            <a:custGeom>
              <a:avLst/>
              <a:gdLst>
                <a:gd name="T0" fmla="*/ 40 w 198"/>
                <a:gd name="T1" fmla="*/ 127 h 127"/>
                <a:gd name="T2" fmla="*/ 71 w 198"/>
                <a:gd name="T3" fmla="*/ 125 h 127"/>
                <a:gd name="T4" fmla="*/ 79 w 198"/>
                <a:gd name="T5" fmla="*/ 113 h 127"/>
                <a:gd name="T6" fmla="*/ 92 w 198"/>
                <a:gd name="T7" fmla="*/ 122 h 127"/>
                <a:gd name="T8" fmla="*/ 114 w 198"/>
                <a:gd name="T9" fmla="*/ 124 h 127"/>
                <a:gd name="T10" fmla="*/ 124 w 198"/>
                <a:gd name="T11" fmla="*/ 127 h 127"/>
                <a:gd name="T12" fmla="*/ 129 w 198"/>
                <a:gd name="T13" fmla="*/ 122 h 127"/>
                <a:gd name="T14" fmla="*/ 126 w 198"/>
                <a:gd name="T15" fmla="*/ 115 h 127"/>
                <a:gd name="T16" fmla="*/ 126 w 198"/>
                <a:gd name="T17" fmla="*/ 100 h 127"/>
                <a:gd name="T18" fmla="*/ 138 w 198"/>
                <a:gd name="T19" fmla="*/ 97 h 127"/>
                <a:gd name="T20" fmla="*/ 148 w 198"/>
                <a:gd name="T21" fmla="*/ 81 h 127"/>
                <a:gd name="T22" fmla="*/ 141 w 198"/>
                <a:gd name="T23" fmla="*/ 57 h 127"/>
                <a:gd name="T24" fmla="*/ 160 w 198"/>
                <a:gd name="T25" fmla="*/ 54 h 127"/>
                <a:gd name="T26" fmla="*/ 166 w 198"/>
                <a:gd name="T27" fmla="*/ 39 h 127"/>
                <a:gd name="T28" fmla="*/ 180 w 198"/>
                <a:gd name="T29" fmla="*/ 42 h 127"/>
                <a:gd name="T30" fmla="*/ 184 w 198"/>
                <a:gd name="T31" fmla="*/ 27 h 127"/>
                <a:gd name="T32" fmla="*/ 198 w 198"/>
                <a:gd name="T33" fmla="*/ 26 h 127"/>
                <a:gd name="T34" fmla="*/ 184 w 198"/>
                <a:gd name="T35" fmla="*/ 9 h 127"/>
                <a:gd name="T36" fmla="*/ 174 w 198"/>
                <a:gd name="T37" fmla="*/ 0 h 127"/>
                <a:gd name="T38" fmla="*/ 166 w 198"/>
                <a:gd name="T39" fmla="*/ 8 h 127"/>
                <a:gd name="T40" fmla="*/ 159 w 198"/>
                <a:gd name="T41" fmla="*/ 17 h 127"/>
                <a:gd name="T42" fmla="*/ 141 w 198"/>
                <a:gd name="T43" fmla="*/ 8 h 127"/>
                <a:gd name="T44" fmla="*/ 124 w 198"/>
                <a:gd name="T45" fmla="*/ 14 h 127"/>
                <a:gd name="T46" fmla="*/ 103 w 198"/>
                <a:gd name="T47" fmla="*/ 14 h 127"/>
                <a:gd name="T48" fmla="*/ 71 w 198"/>
                <a:gd name="T49" fmla="*/ 39 h 127"/>
                <a:gd name="T50" fmla="*/ 14 w 198"/>
                <a:gd name="T51" fmla="*/ 29 h 127"/>
                <a:gd name="T52" fmla="*/ 0 w 198"/>
                <a:gd name="T53" fmla="*/ 54 h 127"/>
                <a:gd name="T54" fmla="*/ 13 w 198"/>
                <a:gd name="T55" fmla="*/ 68 h 127"/>
                <a:gd name="T56" fmla="*/ 14 w 198"/>
                <a:gd name="T57" fmla="*/ 74 h 127"/>
                <a:gd name="T58" fmla="*/ 6 w 198"/>
                <a:gd name="T59" fmla="*/ 84 h 127"/>
                <a:gd name="T60" fmla="*/ 23 w 198"/>
                <a:gd name="T61" fmla="*/ 94 h 127"/>
                <a:gd name="T62" fmla="*/ 28 w 198"/>
                <a:gd name="T63" fmla="*/ 101 h 127"/>
                <a:gd name="T64" fmla="*/ 25 w 198"/>
                <a:gd name="T65" fmla="*/ 109 h 127"/>
                <a:gd name="T66" fmla="*/ 19 w 198"/>
                <a:gd name="T67" fmla="*/ 107 h 127"/>
                <a:gd name="T68" fmla="*/ 20 w 198"/>
                <a:gd name="T69" fmla="*/ 112 h 127"/>
                <a:gd name="T70" fmla="*/ 17 w 198"/>
                <a:gd name="T71" fmla="*/ 121 h 127"/>
                <a:gd name="T72" fmla="*/ 29 w 198"/>
                <a:gd name="T73" fmla="*/ 122 h 127"/>
                <a:gd name="T74" fmla="*/ 40 w 198"/>
                <a:gd name="T75" fmla="*/ 127 h 127"/>
                <a:gd name="T76" fmla="*/ 40 w 198"/>
                <a:gd name="T77" fmla="*/ 127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98" h="127">
                  <a:moveTo>
                    <a:pt x="40" y="127"/>
                  </a:moveTo>
                  <a:lnTo>
                    <a:pt x="71" y="125"/>
                  </a:lnTo>
                  <a:lnTo>
                    <a:pt x="79" y="113"/>
                  </a:lnTo>
                  <a:lnTo>
                    <a:pt x="92" y="122"/>
                  </a:lnTo>
                  <a:lnTo>
                    <a:pt x="114" y="124"/>
                  </a:lnTo>
                  <a:lnTo>
                    <a:pt x="124" y="127"/>
                  </a:lnTo>
                  <a:lnTo>
                    <a:pt x="129" y="122"/>
                  </a:lnTo>
                  <a:lnTo>
                    <a:pt x="126" y="115"/>
                  </a:lnTo>
                  <a:lnTo>
                    <a:pt x="126" y="100"/>
                  </a:lnTo>
                  <a:lnTo>
                    <a:pt x="138" y="97"/>
                  </a:lnTo>
                  <a:lnTo>
                    <a:pt x="148" y="81"/>
                  </a:lnTo>
                  <a:lnTo>
                    <a:pt x="141" y="57"/>
                  </a:lnTo>
                  <a:lnTo>
                    <a:pt x="160" y="54"/>
                  </a:lnTo>
                  <a:lnTo>
                    <a:pt x="166" y="39"/>
                  </a:lnTo>
                  <a:lnTo>
                    <a:pt x="180" y="42"/>
                  </a:lnTo>
                  <a:lnTo>
                    <a:pt x="184" y="27"/>
                  </a:lnTo>
                  <a:lnTo>
                    <a:pt x="198" y="26"/>
                  </a:lnTo>
                  <a:lnTo>
                    <a:pt x="184" y="9"/>
                  </a:lnTo>
                  <a:lnTo>
                    <a:pt x="174" y="0"/>
                  </a:lnTo>
                  <a:lnTo>
                    <a:pt x="166" y="8"/>
                  </a:lnTo>
                  <a:lnTo>
                    <a:pt x="159" y="17"/>
                  </a:lnTo>
                  <a:lnTo>
                    <a:pt x="141" y="8"/>
                  </a:lnTo>
                  <a:lnTo>
                    <a:pt x="124" y="14"/>
                  </a:lnTo>
                  <a:lnTo>
                    <a:pt x="103" y="14"/>
                  </a:lnTo>
                  <a:lnTo>
                    <a:pt x="71" y="39"/>
                  </a:lnTo>
                  <a:lnTo>
                    <a:pt x="14" y="29"/>
                  </a:lnTo>
                  <a:lnTo>
                    <a:pt x="0" y="54"/>
                  </a:lnTo>
                  <a:lnTo>
                    <a:pt x="13" y="68"/>
                  </a:lnTo>
                  <a:lnTo>
                    <a:pt x="14" y="74"/>
                  </a:lnTo>
                  <a:lnTo>
                    <a:pt x="6" y="84"/>
                  </a:lnTo>
                  <a:lnTo>
                    <a:pt x="23" y="94"/>
                  </a:lnTo>
                  <a:lnTo>
                    <a:pt x="28" y="101"/>
                  </a:lnTo>
                  <a:lnTo>
                    <a:pt x="25" y="109"/>
                  </a:lnTo>
                  <a:lnTo>
                    <a:pt x="19" y="107"/>
                  </a:lnTo>
                  <a:lnTo>
                    <a:pt x="20" y="112"/>
                  </a:lnTo>
                  <a:lnTo>
                    <a:pt x="17" y="121"/>
                  </a:lnTo>
                  <a:lnTo>
                    <a:pt x="29" y="122"/>
                  </a:lnTo>
                  <a:lnTo>
                    <a:pt x="40" y="127"/>
                  </a:lnTo>
                  <a:lnTo>
                    <a:pt x="40" y="127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986" name="Freeform 331"/>
            <p:cNvSpPr>
              <a:spLocks noEditPoints="1"/>
            </p:cNvSpPr>
            <p:nvPr userDrawn="1"/>
          </p:nvSpPr>
          <p:spPr bwMode="auto">
            <a:xfrm>
              <a:off x="3888" y="2909"/>
              <a:ext cx="741" cy="795"/>
            </a:xfrm>
            <a:custGeom>
              <a:avLst/>
              <a:gdLst>
                <a:gd name="T0" fmla="*/ 427 w 741"/>
                <a:gd name="T1" fmla="*/ 97 h 795"/>
                <a:gd name="T2" fmla="*/ 403 w 741"/>
                <a:gd name="T3" fmla="*/ 40 h 795"/>
                <a:gd name="T4" fmla="*/ 281 w 741"/>
                <a:gd name="T5" fmla="*/ 11 h 795"/>
                <a:gd name="T6" fmla="*/ 234 w 741"/>
                <a:gd name="T7" fmla="*/ 35 h 795"/>
                <a:gd name="T8" fmla="*/ 201 w 741"/>
                <a:gd name="T9" fmla="*/ 77 h 795"/>
                <a:gd name="T10" fmla="*/ 142 w 741"/>
                <a:gd name="T11" fmla="*/ 70 h 795"/>
                <a:gd name="T12" fmla="*/ 134 w 741"/>
                <a:gd name="T13" fmla="*/ 106 h 795"/>
                <a:gd name="T14" fmla="*/ 127 w 741"/>
                <a:gd name="T15" fmla="*/ 101 h 795"/>
                <a:gd name="T16" fmla="*/ 95 w 741"/>
                <a:gd name="T17" fmla="*/ 67 h 795"/>
                <a:gd name="T18" fmla="*/ 39 w 741"/>
                <a:gd name="T19" fmla="*/ 94 h 795"/>
                <a:gd name="T20" fmla="*/ 23 w 741"/>
                <a:gd name="T21" fmla="*/ 159 h 795"/>
                <a:gd name="T22" fmla="*/ 17 w 741"/>
                <a:gd name="T23" fmla="*/ 215 h 795"/>
                <a:gd name="T24" fmla="*/ 48 w 741"/>
                <a:gd name="T25" fmla="*/ 261 h 795"/>
                <a:gd name="T26" fmla="*/ 54 w 741"/>
                <a:gd name="T27" fmla="*/ 290 h 795"/>
                <a:gd name="T28" fmla="*/ 97 w 741"/>
                <a:gd name="T29" fmla="*/ 261 h 795"/>
                <a:gd name="T30" fmla="*/ 154 w 741"/>
                <a:gd name="T31" fmla="*/ 255 h 795"/>
                <a:gd name="T32" fmla="*/ 214 w 741"/>
                <a:gd name="T33" fmla="*/ 302 h 795"/>
                <a:gd name="T34" fmla="*/ 229 w 741"/>
                <a:gd name="T35" fmla="*/ 382 h 795"/>
                <a:gd name="T36" fmla="*/ 248 w 741"/>
                <a:gd name="T37" fmla="*/ 400 h 795"/>
                <a:gd name="T38" fmla="*/ 267 w 741"/>
                <a:gd name="T39" fmla="*/ 429 h 795"/>
                <a:gd name="T40" fmla="*/ 315 w 741"/>
                <a:gd name="T41" fmla="*/ 454 h 795"/>
                <a:gd name="T42" fmla="*/ 401 w 741"/>
                <a:gd name="T43" fmla="*/ 519 h 795"/>
                <a:gd name="T44" fmla="*/ 469 w 741"/>
                <a:gd name="T45" fmla="*/ 557 h 795"/>
                <a:gd name="T46" fmla="*/ 499 w 741"/>
                <a:gd name="T47" fmla="*/ 569 h 795"/>
                <a:gd name="T48" fmla="*/ 534 w 741"/>
                <a:gd name="T49" fmla="*/ 620 h 795"/>
                <a:gd name="T50" fmla="*/ 584 w 741"/>
                <a:gd name="T51" fmla="*/ 687 h 795"/>
                <a:gd name="T52" fmla="*/ 582 w 741"/>
                <a:gd name="T53" fmla="*/ 725 h 795"/>
                <a:gd name="T54" fmla="*/ 569 w 741"/>
                <a:gd name="T55" fmla="*/ 755 h 795"/>
                <a:gd name="T56" fmla="*/ 572 w 741"/>
                <a:gd name="T57" fmla="*/ 795 h 795"/>
                <a:gd name="T58" fmla="*/ 622 w 741"/>
                <a:gd name="T59" fmla="*/ 725 h 795"/>
                <a:gd name="T60" fmla="*/ 655 w 741"/>
                <a:gd name="T61" fmla="*/ 685 h 795"/>
                <a:gd name="T62" fmla="*/ 613 w 741"/>
                <a:gd name="T63" fmla="*/ 631 h 795"/>
                <a:gd name="T64" fmla="*/ 662 w 741"/>
                <a:gd name="T65" fmla="*/ 574 h 795"/>
                <a:gd name="T66" fmla="*/ 702 w 741"/>
                <a:gd name="T67" fmla="*/ 595 h 795"/>
                <a:gd name="T68" fmla="*/ 741 w 741"/>
                <a:gd name="T69" fmla="*/ 601 h 795"/>
                <a:gd name="T70" fmla="*/ 683 w 741"/>
                <a:gd name="T71" fmla="*/ 556 h 795"/>
                <a:gd name="T72" fmla="*/ 581 w 741"/>
                <a:gd name="T73" fmla="*/ 501 h 795"/>
                <a:gd name="T74" fmla="*/ 588 w 741"/>
                <a:gd name="T75" fmla="*/ 462 h 795"/>
                <a:gd name="T76" fmla="*/ 560 w 741"/>
                <a:gd name="T77" fmla="*/ 457 h 795"/>
                <a:gd name="T78" fmla="*/ 518 w 741"/>
                <a:gd name="T79" fmla="*/ 448 h 795"/>
                <a:gd name="T80" fmla="*/ 432 w 741"/>
                <a:gd name="T81" fmla="*/ 319 h 795"/>
                <a:gd name="T82" fmla="*/ 346 w 741"/>
                <a:gd name="T83" fmla="*/ 230 h 795"/>
                <a:gd name="T84" fmla="*/ 343 w 741"/>
                <a:gd name="T85" fmla="*/ 174 h 795"/>
                <a:gd name="T86" fmla="*/ 376 w 741"/>
                <a:gd name="T87" fmla="*/ 141 h 795"/>
                <a:gd name="T88" fmla="*/ 432 w 741"/>
                <a:gd name="T89" fmla="*/ 130 h 795"/>
                <a:gd name="T90" fmla="*/ 359 w 741"/>
                <a:gd name="T91" fmla="*/ 287 h 795"/>
                <a:gd name="T92" fmla="*/ 361 w 741"/>
                <a:gd name="T93" fmla="*/ 293 h 795"/>
                <a:gd name="T94" fmla="*/ 332 w 741"/>
                <a:gd name="T95" fmla="*/ 432 h 795"/>
                <a:gd name="T96" fmla="*/ 332 w 741"/>
                <a:gd name="T97" fmla="*/ 423 h 7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41" h="795">
                  <a:moveTo>
                    <a:pt x="441" y="124"/>
                  </a:moveTo>
                  <a:lnTo>
                    <a:pt x="436" y="117"/>
                  </a:lnTo>
                  <a:lnTo>
                    <a:pt x="419" y="107"/>
                  </a:lnTo>
                  <a:lnTo>
                    <a:pt x="427" y="97"/>
                  </a:lnTo>
                  <a:lnTo>
                    <a:pt x="426" y="91"/>
                  </a:lnTo>
                  <a:lnTo>
                    <a:pt x="413" y="77"/>
                  </a:lnTo>
                  <a:lnTo>
                    <a:pt x="427" y="52"/>
                  </a:lnTo>
                  <a:lnTo>
                    <a:pt x="403" y="40"/>
                  </a:lnTo>
                  <a:lnTo>
                    <a:pt x="356" y="38"/>
                  </a:lnTo>
                  <a:lnTo>
                    <a:pt x="344" y="20"/>
                  </a:lnTo>
                  <a:lnTo>
                    <a:pt x="331" y="0"/>
                  </a:lnTo>
                  <a:lnTo>
                    <a:pt x="281" y="11"/>
                  </a:lnTo>
                  <a:lnTo>
                    <a:pt x="266" y="26"/>
                  </a:lnTo>
                  <a:lnTo>
                    <a:pt x="242" y="18"/>
                  </a:lnTo>
                  <a:lnTo>
                    <a:pt x="226" y="20"/>
                  </a:lnTo>
                  <a:lnTo>
                    <a:pt x="234" y="35"/>
                  </a:lnTo>
                  <a:lnTo>
                    <a:pt x="231" y="46"/>
                  </a:lnTo>
                  <a:lnTo>
                    <a:pt x="210" y="64"/>
                  </a:lnTo>
                  <a:lnTo>
                    <a:pt x="205" y="79"/>
                  </a:lnTo>
                  <a:lnTo>
                    <a:pt x="201" y="77"/>
                  </a:lnTo>
                  <a:lnTo>
                    <a:pt x="189" y="70"/>
                  </a:lnTo>
                  <a:lnTo>
                    <a:pt x="177" y="67"/>
                  </a:lnTo>
                  <a:lnTo>
                    <a:pt x="163" y="74"/>
                  </a:lnTo>
                  <a:lnTo>
                    <a:pt x="142" y="70"/>
                  </a:lnTo>
                  <a:lnTo>
                    <a:pt x="137" y="77"/>
                  </a:lnTo>
                  <a:lnTo>
                    <a:pt x="140" y="104"/>
                  </a:lnTo>
                  <a:lnTo>
                    <a:pt x="134" y="106"/>
                  </a:lnTo>
                  <a:lnTo>
                    <a:pt x="134" y="106"/>
                  </a:lnTo>
                  <a:lnTo>
                    <a:pt x="130" y="104"/>
                  </a:lnTo>
                  <a:lnTo>
                    <a:pt x="128" y="103"/>
                  </a:lnTo>
                  <a:lnTo>
                    <a:pt x="127" y="101"/>
                  </a:lnTo>
                  <a:lnTo>
                    <a:pt x="127" y="101"/>
                  </a:lnTo>
                  <a:lnTo>
                    <a:pt x="127" y="88"/>
                  </a:lnTo>
                  <a:lnTo>
                    <a:pt x="110" y="74"/>
                  </a:lnTo>
                  <a:lnTo>
                    <a:pt x="98" y="59"/>
                  </a:lnTo>
                  <a:lnTo>
                    <a:pt x="95" y="67"/>
                  </a:lnTo>
                  <a:lnTo>
                    <a:pt x="88" y="68"/>
                  </a:lnTo>
                  <a:lnTo>
                    <a:pt x="74" y="91"/>
                  </a:lnTo>
                  <a:lnTo>
                    <a:pt x="59" y="95"/>
                  </a:lnTo>
                  <a:lnTo>
                    <a:pt x="39" y="94"/>
                  </a:lnTo>
                  <a:lnTo>
                    <a:pt x="15" y="106"/>
                  </a:lnTo>
                  <a:lnTo>
                    <a:pt x="11" y="121"/>
                  </a:lnTo>
                  <a:lnTo>
                    <a:pt x="15" y="135"/>
                  </a:lnTo>
                  <a:lnTo>
                    <a:pt x="23" y="159"/>
                  </a:lnTo>
                  <a:lnTo>
                    <a:pt x="6" y="178"/>
                  </a:lnTo>
                  <a:lnTo>
                    <a:pt x="0" y="193"/>
                  </a:lnTo>
                  <a:lnTo>
                    <a:pt x="12" y="207"/>
                  </a:lnTo>
                  <a:lnTo>
                    <a:pt x="17" y="215"/>
                  </a:lnTo>
                  <a:lnTo>
                    <a:pt x="15" y="230"/>
                  </a:lnTo>
                  <a:lnTo>
                    <a:pt x="11" y="251"/>
                  </a:lnTo>
                  <a:lnTo>
                    <a:pt x="32" y="260"/>
                  </a:lnTo>
                  <a:lnTo>
                    <a:pt x="48" y="261"/>
                  </a:lnTo>
                  <a:lnTo>
                    <a:pt x="53" y="276"/>
                  </a:lnTo>
                  <a:lnTo>
                    <a:pt x="61" y="278"/>
                  </a:lnTo>
                  <a:lnTo>
                    <a:pt x="61" y="284"/>
                  </a:lnTo>
                  <a:lnTo>
                    <a:pt x="54" y="290"/>
                  </a:lnTo>
                  <a:lnTo>
                    <a:pt x="59" y="299"/>
                  </a:lnTo>
                  <a:lnTo>
                    <a:pt x="73" y="296"/>
                  </a:lnTo>
                  <a:lnTo>
                    <a:pt x="82" y="285"/>
                  </a:lnTo>
                  <a:lnTo>
                    <a:pt x="97" y="261"/>
                  </a:lnTo>
                  <a:lnTo>
                    <a:pt x="106" y="251"/>
                  </a:lnTo>
                  <a:lnTo>
                    <a:pt x="128" y="249"/>
                  </a:lnTo>
                  <a:lnTo>
                    <a:pt x="139" y="252"/>
                  </a:lnTo>
                  <a:lnTo>
                    <a:pt x="154" y="255"/>
                  </a:lnTo>
                  <a:lnTo>
                    <a:pt x="175" y="273"/>
                  </a:lnTo>
                  <a:lnTo>
                    <a:pt x="198" y="279"/>
                  </a:lnTo>
                  <a:lnTo>
                    <a:pt x="213" y="284"/>
                  </a:lnTo>
                  <a:lnTo>
                    <a:pt x="214" y="302"/>
                  </a:lnTo>
                  <a:lnTo>
                    <a:pt x="219" y="322"/>
                  </a:lnTo>
                  <a:lnTo>
                    <a:pt x="231" y="356"/>
                  </a:lnTo>
                  <a:lnTo>
                    <a:pt x="234" y="373"/>
                  </a:lnTo>
                  <a:lnTo>
                    <a:pt x="229" y="382"/>
                  </a:lnTo>
                  <a:lnTo>
                    <a:pt x="231" y="385"/>
                  </a:lnTo>
                  <a:lnTo>
                    <a:pt x="238" y="384"/>
                  </a:lnTo>
                  <a:lnTo>
                    <a:pt x="252" y="391"/>
                  </a:lnTo>
                  <a:lnTo>
                    <a:pt x="248" y="400"/>
                  </a:lnTo>
                  <a:lnTo>
                    <a:pt x="260" y="403"/>
                  </a:lnTo>
                  <a:lnTo>
                    <a:pt x="270" y="414"/>
                  </a:lnTo>
                  <a:lnTo>
                    <a:pt x="263" y="420"/>
                  </a:lnTo>
                  <a:lnTo>
                    <a:pt x="267" y="429"/>
                  </a:lnTo>
                  <a:lnTo>
                    <a:pt x="273" y="423"/>
                  </a:lnTo>
                  <a:lnTo>
                    <a:pt x="290" y="420"/>
                  </a:lnTo>
                  <a:lnTo>
                    <a:pt x="306" y="438"/>
                  </a:lnTo>
                  <a:lnTo>
                    <a:pt x="315" y="454"/>
                  </a:lnTo>
                  <a:lnTo>
                    <a:pt x="329" y="467"/>
                  </a:lnTo>
                  <a:lnTo>
                    <a:pt x="355" y="495"/>
                  </a:lnTo>
                  <a:lnTo>
                    <a:pt x="389" y="521"/>
                  </a:lnTo>
                  <a:lnTo>
                    <a:pt x="401" y="519"/>
                  </a:lnTo>
                  <a:lnTo>
                    <a:pt x="415" y="527"/>
                  </a:lnTo>
                  <a:lnTo>
                    <a:pt x="435" y="521"/>
                  </a:lnTo>
                  <a:lnTo>
                    <a:pt x="453" y="545"/>
                  </a:lnTo>
                  <a:lnTo>
                    <a:pt x="469" y="557"/>
                  </a:lnTo>
                  <a:lnTo>
                    <a:pt x="481" y="560"/>
                  </a:lnTo>
                  <a:lnTo>
                    <a:pt x="475" y="572"/>
                  </a:lnTo>
                  <a:lnTo>
                    <a:pt x="481" y="575"/>
                  </a:lnTo>
                  <a:lnTo>
                    <a:pt x="499" y="569"/>
                  </a:lnTo>
                  <a:lnTo>
                    <a:pt x="512" y="589"/>
                  </a:lnTo>
                  <a:lnTo>
                    <a:pt x="510" y="598"/>
                  </a:lnTo>
                  <a:lnTo>
                    <a:pt x="518" y="613"/>
                  </a:lnTo>
                  <a:lnTo>
                    <a:pt x="534" y="620"/>
                  </a:lnTo>
                  <a:lnTo>
                    <a:pt x="552" y="617"/>
                  </a:lnTo>
                  <a:lnTo>
                    <a:pt x="564" y="631"/>
                  </a:lnTo>
                  <a:lnTo>
                    <a:pt x="572" y="658"/>
                  </a:lnTo>
                  <a:lnTo>
                    <a:pt x="584" y="687"/>
                  </a:lnTo>
                  <a:lnTo>
                    <a:pt x="593" y="699"/>
                  </a:lnTo>
                  <a:lnTo>
                    <a:pt x="593" y="708"/>
                  </a:lnTo>
                  <a:lnTo>
                    <a:pt x="591" y="720"/>
                  </a:lnTo>
                  <a:lnTo>
                    <a:pt x="582" y="725"/>
                  </a:lnTo>
                  <a:lnTo>
                    <a:pt x="570" y="729"/>
                  </a:lnTo>
                  <a:lnTo>
                    <a:pt x="567" y="735"/>
                  </a:lnTo>
                  <a:lnTo>
                    <a:pt x="575" y="746"/>
                  </a:lnTo>
                  <a:lnTo>
                    <a:pt x="569" y="755"/>
                  </a:lnTo>
                  <a:lnTo>
                    <a:pt x="555" y="759"/>
                  </a:lnTo>
                  <a:lnTo>
                    <a:pt x="555" y="767"/>
                  </a:lnTo>
                  <a:lnTo>
                    <a:pt x="563" y="786"/>
                  </a:lnTo>
                  <a:lnTo>
                    <a:pt x="572" y="795"/>
                  </a:lnTo>
                  <a:lnTo>
                    <a:pt x="584" y="791"/>
                  </a:lnTo>
                  <a:lnTo>
                    <a:pt x="593" y="774"/>
                  </a:lnTo>
                  <a:lnTo>
                    <a:pt x="620" y="746"/>
                  </a:lnTo>
                  <a:lnTo>
                    <a:pt x="622" y="725"/>
                  </a:lnTo>
                  <a:lnTo>
                    <a:pt x="620" y="709"/>
                  </a:lnTo>
                  <a:lnTo>
                    <a:pt x="641" y="699"/>
                  </a:lnTo>
                  <a:lnTo>
                    <a:pt x="655" y="696"/>
                  </a:lnTo>
                  <a:lnTo>
                    <a:pt x="655" y="685"/>
                  </a:lnTo>
                  <a:lnTo>
                    <a:pt x="650" y="667"/>
                  </a:lnTo>
                  <a:lnTo>
                    <a:pt x="646" y="654"/>
                  </a:lnTo>
                  <a:lnTo>
                    <a:pt x="625" y="642"/>
                  </a:lnTo>
                  <a:lnTo>
                    <a:pt x="613" y="631"/>
                  </a:lnTo>
                  <a:lnTo>
                    <a:pt x="626" y="607"/>
                  </a:lnTo>
                  <a:lnTo>
                    <a:pt x="620" y="596"/>
                  </a:lnTo>
                  <a:lnTo>
                    <a:pt x="637" y="578"/>
                  </a:lnTo>
                  <a:lnTo>
                    <a:pt x="662" y="574"/>
                  </a:lnTo>
                  <a:lnTo>
                    <a:pt x="670" y="577"/>
                  </a:lnTo>
                  <a:lnTo>
                    <a:pt x="665" y="580"/>
                  </a:lnTo>
                  <a:lnTo>
                    <a:pt x="665" y="589"/>
                  </a:lnTo>
                  <a:lnTo>
                    <a:pt x="702" y="595"/>
                  </a:lnTo>
                  <a:lnTo>
                    <a:pt x="711" y="616"/>
                  </a:lnTo>
                  <a:lnTo>
                    <a:pt x="732" y="626"/>
                  </a:lnTo>
                  <a:lnTo>
                    <a:pt x="736" y="614"/>
                  </a:lnTo>
                  <a:lnTo>
                    <a:pt x="741" y="601"/>
                  </a:lnTo>
                  <a:lnTo>
                    <a:pt x="732" y="589"/>
                  </a:lnTo>
                  <a:lnTo>
                    <a:pt x="715" y="574"/>
                  </a:lnTo>
                  <a:lnTo>
                    <a:pt x="706" y="563"/>
                  </a:lnTo>
                  <a:lnTo>
                    <a:pt x="683" y="556"/>
                  </a:lnTo>
                  <a:lnTo>
                    <a:pt x="661" y="531"/>
                  </a:lnTo>
                  <a:lnTo>
                    <a:pt x="628" y="518"/>
                  </a:lnTo>
                  <a:lnTo>
                    <a:pt x="594" y="504"/>
                  </a:lnTo>
                  <a:lnTo>
                    <a:pt x="581" y="501"/>
                  </a:lnTo>
                  <a:lnTo>
                    <a:pt x="573" y="486"/>
                  </a:lnTo>
                  <a:lnTo>
                    <a:pt x="575" y="479"/>
                  </a:lnTo>
                  <a:lnTo>
                    <a:pt x="582" y="470"/>
                  </a:lnTo>
                  <a:lnTo>
                    <a:pt x="588" y="462"/>
                  </a:lnTo>
                  <a:lnTo>
                    <a:pt x="579" y="448"/>
                  </a:lnTo>
                  <a:lnTo>
                    <a:pt x="572" y="448"/>
                  </a:lnTo>
                  <a:lnTo>
                    <a:pt x="564" y="451"/>
                  </a:lnTo>
                  <a:lnTo>
                    <a:pt x="560" y="457"/>
                  </a:lnTo>
                  <a:lnTo>
                    <a:pt x="555" y="456"/>
                  </a:lnTo>
                  <a:lnTo>
                    <a:pt x="555" y="451"/>
                  </a:lnTo>
                  <a:lnTo>
                    <a:pt x="537" y="464"/>
                  </a:lnTo>
                  <a:lnTo>
                    <a:pt x="518" y="448"/>
                  </a:lnTo>
                  <a:lnTo>
                    <a:pt x="493" y="433"/>
                  </a:lnTo>
                  <a:lnTo>
                    <a:pt x="471" y="411"/>
                  </a:lnTo>
                  <a:lnTo>
                    <a:pt x="448" y="370"/>
                  </a:lnTo>
                  <a:lnTo>
                    <a:pt x="432" y="319"/>
                  </a:lnTo>
                  <a:lnTo>
                    <a:pt x="409" y="307"/>
                  </a:lnTo>
                  <a:lnTo>
                    <a:pt x="374" y="278"/>
                  </a:lnTo>
                  <a:lnTo>
                    <a:pt x="352" y="252"/>
                  </a:lnTo>
                  <a:lnTo>
                    <a:pt x="346" y="230"/>
                  </a:lnTo>
                  <a:lnTo>
                    <a:pt x="347" y="210"/>
                  </a:lnTo>
                  <a:lnTo>
                    <a:pt x="355" y="199"/>
                  </a:lnTo>
                  <a:lnTo>
                    <a:pt x="355" y="189"/>
                  </a:lnTo>
                  <a:lnTo>
                    <a:pt x="343" y="174"/>
                  </a:lnTo>
                  <a:lnTo>
                    <a:pt x="341" y="163"/>
                  </a:lnTo>
                  <a:lnTo>
                    <a:pt x="349" y="148"/>
                  </a:lnTo>
                  <a:lnTo>
                    <a:pt x="355" y="148"/>
                  </a:lnTo>
                  <a:lnTo>
                    <a:pt x="376" y="141"/>
                  </a:lnTo>
                  <a:lnTo>
                    <a:pt x="398" y="129"/>
                  </a:lnTo>
                  <a:lnTo>
                    <a:pt x="409" y="132"/>
                  </a:lnTo>
                  <a:lnTo>
                    <a:pt x="419" y="126"/>
                  </a:lnTo>
                  <a:lnTo>
                    <a:pt x="432" y="130"/>
                  </a:lnTo>
                  <a:lnTo>
                    <a:pt x="438" y="132"/>
                  </a:lnTo>
                  <a:lnTo>
                    <a:pt x="441" y="124"/>
                  </a:lnTo>
                  <a:lnTo>
                    <a:pt x="441" y="124"/>
                  </a:lnTo>
                  <a:close/>
                  <a:moveTo>
                    <a:pt x="359" y="287"/>
                  </a:moveTo>
                  <a:lnTo>
                    <a:pt x="364" y="284"/>
                  </a:lnTo>
                  <a:lnTo>
                    <a:pt x="367" y="285"/>
                  </a:lnTo>
                  <a:lnTo>
                    <a:pt x="365" y="292"/>
                  </a:lnTo>
                  <a:lnTo>
                    <a:pt x="361" y="293"/>
                  </a:lnTo>
                  <a:lnTo>
                    <a:pt x="358" y="292"/>
                  </a:lnTo>
                  <a:lnTo>
                    <a:pt x="359" y="287"/>
                  </a:lnTo>
                  <a:lnTo>
                    <a:pt x="359" y="287"/>
                  </a:lnTo>
                  <a:close/>
                  <a:moveTo>
                    <a:pt x="332" y="432"/>
                  </a:moveTo>
                  <a:lnTo>
                    <a:pt x="327" y="432"/>
                  </a:lnTo>
                  <a:lnTo>
                    <a:pt x="324" y="429"/>
                  </a:lnTo>
                  <a:lnTo>
                    <a:pt x="326" y="424"/>
                  </a:lnTo>
                  <a:lnTo>
                    <a:pt x="332" y="423"/>
                  </a:lnTo>
                  <a:lnTo>
                    <a:pt x="334" y="426"/>
                  </a:lnTo>
                  <a:lnTo>
                    <a:pt x="332" y="432"/>
                  </a:lnTo>
                  <a:lnTo>
                    <a:pt x="332" y="432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987" name="Freeform 332"/>
            <p:cNvSpPr>
              <a:spLocks/>
            </p:cNvSpPr>
            <p:nvPr userDrawn="1"/>
          </p:nvSpPr>
          <p:spPr bwMode="auto">
            <a:xfrm>
              <a:off x="4311" y="2958"/>
              <a:ext cx="369" cy="315"/>
            </a:xfrm>
            <a:custGeom>
              <a:avLst/>
              <a:gdLst>
                <a:gd name="T0" fmla="*/ 241 w 369"/>
                <a:gd name="T1" fmla="*/ 280 h 315"/>
                <a:gd name="T2" fmla="*/ 224 w 369"/>
                <a:gd name="T3" fmla="*/ 262 h 315"/>
                <a:gd name="T4" fmla="*/ 179 w 369"/>
                <a:gd name="T5" fmla="*/ 212 h 315"/>
                <a:gd name="T6" fmla="*/ 173 w 369"/>
                <a:gd name="T7" fmla="*/ 190 h 315"/>
                <a:gd name="T8" fmla="*/ 144 w 369"/>
                <a:gd name="T9" fmla="*/ 122 h 315"/>
                <a:gd name="T10" fmla="*/ 162 w 369"/>
                <a:gd name="T11" fmla="*/ 135 h 315"/>
                <a:gd name="T12" fmla="*/ 181 w 369"/>
                <a:gd name="T13" fmla="*/ 141 h 315"/>
                <a:gd name="T14" fmla="*/ 196 w 369"/>
                <a:gd name="T15" fmla="*/ 123 h 315"/>
                <a:gd name="T16" fmla="*/ 245 w 369"/>
                <a:gd name="T17" fmla="*/ 123 h 315"/>
                <a:gd name="T18" fmla="*/ 288 w 369"/>
                <a:gd name="T19" fmla="*/ 125 h 315"/>
                <a:gd name="T20" fmla="*/ 331 w 369"/>
                <a:gd name="T21" fmla="*/ 150 h 315"/>
                <a:gd name="T22" fmla="*/ 354 w 369"/>
                <a:gd name="T23" fmla="*/ 144 h 315"/>
                <a:gd name="T24" fmla="*/ 369 w 369"/>
                <a:gd name="T25" fmla="*/ 117 h 315"/>
                <a:gd name="T26" fmla="*/ 358 w 369"/>
                <a:gd name="T27" fmla="*/ 110 h 315"/>
                <a:gd name="T28" fmla="*/ 348 w 369"/>
                <a:gd name="T29" fmla="*/ 90 h 315"/>
                <a:gd name="T30" fmla="*/ 339 w 369"/>
                <a:gd name="T31" fmla="*/ 57 h 315"/>
                <a:gd name="T32" fmla="*/ 273 w 369"/>
                <a:gd name="T33" fmla="*/ 64 h 315"/>
                <a:gd name="T34" fmla="*/ 220 w 369"/>
                <a:gd name="T35" fmla="*/ 12 h 315"/>
                <a:gd name="T36" fmla="*/ 188 w 369"/>
                <a:gd name="T37" fmla="*/ 0 h 315"/>
                <a:gd name="T38" fmla="*/ 170 w 369"/>
                <a:gd name="T39" fmla="*/ 16 h 315"/>
                <a:gd name="T40" fmla="*/ 150 w 369"/>
                <a:gd name="T41" fmla="*/ 28 h 315"/>
                <a:gd name="T42" fmla="*/ 138 w 369"/>
                <a:gd name="T43" fmla="*/ 55 h 315"/>
                <a:gd name="T44" fmla="*/ 116 w 369"/>
                <a:gd name="T45" fmla="*/ 74 h 315"/>
                <a:gd name="T46" fmla="*/ 119 w 369"/>
                <a:gd name="T47" fmla="*/ 96 h 315"/>
                <a:gd name="T48" fmla="*/ 104 w 369"/>
                <a:gd name="T49" fmla="*/ 98 h 315"/>
                <a:gd name="T50" fmla="*/ 69 w 369"/>
                <a:gd name="T51" fmla="*/ 87 h 315"/>
                <a:gd name="T52" fmla="*/ 30 w 369"/>
                <a:gd name="T53" fmla="*/ 101 h 315"/>
                <a:gd name="T54" fmla="*/ 7 w 369"/>
                <a:gd name="T55" fmla="*/ 95 h 315"/>
                <a:gd name="T56" fmla="*/ 0 w 369"/>
                <a:gd name="T57" fmla="*/ 105 h 315"/>
                <a:gd name="T58" fmla="*/ 4 w 369"/>
                <a:gd name="T59" fmla="*/ 129 h 315"/>
                <a:gd name="T60" fmla="*/ 16 w 369"/>
                <a:gd name="T61" fmla="*/ 143 h 315"/>
                <a:gd name="T62" fmla="*/ 27 w 369"/>
                <a:gd name="T63" fmla="*/ 163 h 315"/>
                <a:gd name="T64" fmla="*/ 31 w 369"/>
                <a:gd name="T65" fmla="*/ 149 h 315"/>
                <a:gd name="T66" fmla="*/ 36 w 369"/>
                <a:gd name="T67" fmla="*/ 146 h 315"/>
                <a:gd name="T68" fmla="*/ 40 w 369"/>
                <a:gd name="T69" fmla="*/ 129 h 315"/>
                <a:gd name="T70" fmla="*/ 54 w 369"/>
                <a:gd name="T71" fmla="*/ 111 h 315"/>
                <a:gd name="T72" fmla="*/ 69 w 369"/>
                <a:gd name="T73" fmla="*/ 122 h 315"/>
                <a:gd name="T74" fmla="*/ 90 w 369"/>
                <a:gd name="T75" fmla="*/ 152 h 315"/>
                <a:gd name="T76" fmla="*/ 98 w 369"/>
                <a:gd name="T77" fmla="*/ 182 h 315"/>
                <a:gd name="T78" fmla="*/ 120 w 369"/>
                <a:gd name="T79" fmla="*/ 205 h 315"/>
                <a:gd name="T80" fmla="*/ 125 w 369"/>
                <a:gd name="T81" fmla="*/ 212 h 315"/>
                <a:gd name="T82" fmla="*/ 107 w 369"/>
                <a:gd name="T83" fmla="*/ 200 h 315"/>
                <a:gd name="T84" fmla="*/ 111 w 369"/>
                <a:gd name="T85" fmla="*/ 208 h 315"/>
                <a:gd name="T86" fmla="*/ 101 w 369"/>
                <a:gd name="T87" fmla="*/ 208 h 315"/>
                <a:gd name="T88" fmla="*/ 129 w 369"/>
                <a:gd name="T89" fmla="*/ 247 h 315"/>
                <a:gd name="T90" fmla="*/ 147 w 369"/>
                <a:gd name="T91" fmla="*/ 267 h 315"/>
                <a:gd name="T92" fmla="*/ 171 w 369"/>
                <a:gd name="T93" fmla="*/ 279 h 315"/>
                <a:gd name="T94" fmla="*/ 199 w 369"/>
                <a:gd name="T95" fmla="*/ 277 h 315"/>
                <a:gd name="T96" fmla="*/ 217 w 369"/>
                <a:gd name="T97" fmla="*/ 297 h 315"/>
                <a:gd name="T98" fmla="*/ 250 w 369"/>
                <a:gd name="T99" fmla="*/ 315 h 315"/>
                <a:gd name="T100" fmla="*/ 262 w 369"/>
                <a:gd name="T101" fmla="*/ 310 h 315"/>
                <a:gd name="T102" fmla="*/ 260 w 369"/>
                <a:gd name="T103" fmla="*/ 298 h 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69" h="315">
                  <a:moveTo>
                    <a:pt x="260" y="298"/>
                  </a:moveTo>
                  <a:lnTo>
                    <a:pt x="241" y="280"/>
                  </a:lnTo>
                  <a:lnTo>
                    <a:pt x="235" y="270"/>
                  </a:lnTo>
                  <a:lnTo>
                    <a:pt x="224" y="262"/>
                  </a:lnTo>
                  <a:lnTo>
                    <a:pt x="214" y="241"/>
                  </a:lnTo>
                  <a:lnTo>
                    <a:pt x="179" y="212"/>
                  </a:lnTo>
                  <a:lnTo>
                    <a:pt x="181" y="190"/>
                  </a:lnTo>
                  <a:lnTo>
                    <a:pt x="173" y="190"/>
                  </a:lnTo>
                  <a:lnTo>
                    <a:pt x="144" y="150"/>
                  </a:lnTo>
                  <a:lnTo>
                    <a:pt x="144" y="122"/>
                  </a:lnTo>
                  <a:lnTo>
                    <a:pt x="155" y="119"/>
                  </a:lnTo>
                  <a:lnTo>
                    <a:pt x="162" y="135"/>
                  </a:lnTo>
                  <a:lnTo>
                    <a:pt x="167" y="141"/>
                  </a:lnTo>
                  <a:lnTo>
                    <a:pt x="181" y="141"/>
                  </a:lnTo>
                  <a:lnTo>
                    <a:pt x="187" y="129"/>
                  </a:lnTo>
                  <a:lnTo>
                    <a:pt x="196" y="123"/>
                  </a:lnTo>
                  <a:lnTo>
                    <a:pt x="217" y="123"/>
                  </a:lnTo>
                  <a:lnTo>
                    <a:pt x="245" y="123"/>
                  </a:lnTo>
                  <a:lnTo>
                    <a:pt x="256" y="134"/>
                  </a:lnTo>
                  <a:lnTo>
                    <a:pt x="288" y="125"/>
                  </a:lnTo>
                  <a:lnTo>
                    <a:pt x="324" y="140"/>
                  </a:lnTo>
                  <a:lnTo>
                    <a:pt x="331" y="150"/>
                  </a:lnTo>
                  <a:lnTo>
                    <a:pt x="342" y="158"/>
                  </a:lnTo>
                  <a:lnTo>
                    <a:pt x="354" y="144"/>
                  </a:lnTo>
                  <a:lnTo>
                    <a:pt x="354" y="126"/>
                  </a:lnTo>
                  <a:lnTo>
                    <a:pt x="369" y="117"/>
                  </a:lnTo>
                  <a:lnTo>
                    <a:pt x="368" y="110"/>
                  </a:lnTo>
                  <a:lnTo>
                    <a:pt x="358" y="110"/>
                  </a:lnTo>
                  <a:lnTo>
                    <a:pt x="346" y="107"/>
                  </a:lnTo>
                  <a:lnTo>
                    <a:pt x="348" y="90"/>
                  </a:lnTo>
                  <a:lnTo>
                    <a:pt x="340" y="83"/>
                  </a:lnTo>
                  <a:lnTo>
                    <a:pt x="339" y="57"/>
                  </a:lnTo>
                  <a:lnTo>
                    <a:pt x="309" y="60"/>
                  </a:lnTo>
                  <a:lnTo>
                    <a:pt x="273" y="64"/>
                  </a:lnTo>
                  <a:lnTo>
                    <a:pt x="235" y="28"/>
                  </a:lnTo>
                  <a:lnTo>
                    <a:pt x="220" y="12"/>
                  </a:lnTo>
                  <a:lnTo>
                    <a:pt x="202" y="6"/>
                  </a:lnTo>
                  <a:lnTo>
                    <a:pt x="188" y="0"/>
                  </a:lnTo>
                  <a:lnTo>
                    <a:pt x="174" y="1"/>
                  </a:lnTo>
                  <a:lnTo>
                    <a:pt x="170" y="16"/>
                  </a:lnTo>
                  <a:lnTo>
                    <a:pt x="156" y="13"/>
                  </a:lnTo>
                  <a:lnTo>
                    <a:pt x="150" y="28"/>
                  </a:lnTo>
                  <a:lnTo>
                    <a:pt x="131" y="31"/>
                  </a:lnTo>
                  <a:lnTo>
                    <a:pt x="138" y="55"/>
                  </a:lnTo>
                  <a:lnTo>
                    <a:pt x="128" y="71"/>
                  </a:lnTo>
                  <a:lnTo>
                    <a:pt x="116" y="74"/>
                  </a:lnTo>
                  <a:lnTo>
                    <a:pt x="116" y="89"/>
                  </a:lnTo>
                  <a:lnTo>
                    <a:pt x="119" y="96"/>
                  </a:lnTo>
                  <a:lnTo>
                    <a:pt x="114" y="101"/>
                  </a:lnTo>
                  <a:lnTo>
                    <a:pt x="104" y="98"/>
                  </a:lnTo>
                  <a:lnTo>
                    <a:pt x="82" y="96"/>
                  </a:lnTo>
                  <a:lnTo>
                    <a:pt x="69" y="87"/>
                  </a:lnTo>
                  <a:lnTo>
                    <a:pt x="61" y="99"/>
                  </a:lnTo>
                  <a:lnTo>
                    <a:pt x="30" y="101"/>
                  </a:lnTo>
                  <a:lnTo>
                    <a:pt x="19" y="96"/>
                  </a:lnTo>
                  <a:lnTo>
                    <a:pt x="7" y="95"/>
                  </a:lnTo>
                  <a:lnTo>
                    <a:pt x="0" y="99"/>
                  </a:lnTo>
                  <a:lnTo>
                    <a:pt x="0" y="105"/>
                  </a:lnTo>
                  <a:lnTo>
                    <a:pt x="6" y="117"/>
                  </a:lnTo>
                  <a:lnTo>
                    <a:pt x="4" y="129"/>
                  </a:lnTo>
                  <a:lnTo>
                    <a:pt x="7" y="138"/>
                  </a:lnTo>
                  <a:lnTo>
                    <a:pt x="16" y="143"/>
                  </a:lnTo>
                  <a:lnTo>
                    <a:pt x="18" y="157"/>
                  </a:lnTo>
                  <a:lnTo>
                    <a:pt x="27" y="163"/>
                  </a:lnTo>
                  <a:lnTo>
                    <a:pt x="28" y="160"/>
                  </a:lnTo>
                  <a:lnTo>
                    <a:pt x="31" y="149"/>
                  </a:lnTo>
                  <a:lnTo>
                    <a:pt x="34" y="143"/>
                  </a:lnTo>
                  <a:lnTo>
                    <a:pt x="36" y="146"/>
                  </a:lnTo>
                  <a:lnTo>
                    <a:pt x="42" y="138"/>
                  </a:lnTo>
                  <a:lnTo>
                    <a:pt x="40" y="129"/>
                  </a:lnTo>
                  <a:lnTo>
                    <a:pt x="43" y="113"/>
                  </a:lnTo>
                  <a:lnTo>
                    <a:pt x="54" y="111"/>
                  </a:lnTo>
                  <a:lnTo>
                    <a:pt x="58" y="117"/>
                  </a:lnTo>
                  <a:lnTo>
                    <a:pt x="69" y="122"/>
                  </a:lnTo>
                  <a:lnTo>
                    <a:pt x="85" y="141"/>
                  </a:lnTo>
                  <a:lnTo>
                    <a:pt x="90" y="152"/>
                  </a:lnTo>
                  <a:lnTo>
                    <a:pt x="93" y="173"/>
                  </a:lnTo>
                  <a:lnTo>
                    <a:pt x="98" y="182"/>
                  </a:lnTo>
                  <a:lnTo>
                    <a:pt x="105" y="193"/>
                  </a:lnTo>
                  <a:lnTo>
                    <a:pt x="120" y="205"/>
                  </a:lnTo>
                  <a:lnTo>
                    <a:pt x="126" y="206"/>
                  </a:lnTo>
                  <a:lnTo>
                    <a:pt x="125" y="212"/>
                  </a:lnTo>
                  <a:lnTo>
                    <a:pt x="117" y="206"/>
                  </a:lnTo>
                  <a:lnTo>
                    <a:pt x="107" y="200"/>
                  </a:lnTo>
                  <a:lnTo>
                    <a:pt x="107" y="203"/>
                  </a:lnTo>
                  <a:lnTo>
                    <a:pt x="111" y="208"/>
                  </a:lnTo>
                  <a:lnTo>
                    <a:pt x="107" y="209"/>
                  </a:lnTo>
                  <a:lnTo>
                    <a:pt x="101" y="208"/>
                  </a:lnTo>
                  <a:lnTo>
                    <a:pt x="101" y="211"/>
                  </a:lnTo>
                  <a:lnTo>
                    <a:pt x="129" y="247"/>
                  </a:lnTo>
                  <a:lnTo>
                    <a:pt x="149" y="262"/>
                  </a:lnTo>
                  <a:lnTo>
                    <a:pt x="147" y="267"/>
                  </a:lnTo>
                  <a:lnTo>
                    <a:pt x="155" y="277"/>
                  </a:lnTo>
                  <a:lnTo>
                    <a:pt x="171" y="279"/>
                  </a:lnTo>
                  <a:lnTo>
                    <a:pt x="181" y="274"/>
                  </a:lnTo>
                  <a:lnTo>
                    <a:pt x="199" y="277"/>
                  </a:lnTo>
                  <a:lnTo>
                    <a:pt x="212" y="288"/>
                  </a:lnTo>
                  <a:lnTo>
                    <a:pt x="217" y="297"/>
                  </a:lnTo>
                  <a:lnTo>
                    <a:pt x="241" y="313"/>
                  </a:lnTo>
                  <a:lnTo>
                    <a:pt x="250" y="315"/>
                  </a:lnTo>
                  <a:lnTo>
                    <a:pt x="259" y="313"/>
                  </a:lnTo>
                  <a:lnTo>
                    <a:pt x="262" y="310"/>
                  </a:lnTo>
                  <a:lnTo>
                    <a:pt x="260" y="298"/>
                  </a:lnTo>
                  <a:lnTo>
                    <a:pt x="260" y="298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988" name="Freeform 333"/>
            <p:cNvSpPr>
              <a:spLocks/>
            </p:cNvSpPr>
            <p:nvPr userDrawn="1"/>
          </p:nvSpPr>
          <p:spPr bwMode="auto">
            <a:xfrm>
              <a:off x="2849" y="3354"/>
              <a:ext cx="207" cy="415"/>
            </a:xfrm>
            <a:custGeom>
              <a:avLst/>
              <a:gdLst>
                <a:gd name="T0" fmla="*/ 160 w 207"/>
                <a:gd name="T1" fmla="*/ 329 h 415"/>
                <a:gd name="T2" fmla="*/ 148 w 207"/>
                <a:gd name="T3" fmla="*/ 307 h 415"/>
                <a:gd name="T4" fmla="*/ 143 w 207"/>
                <a:gd name="T5" fmla="*/ 240 h 415"/>
                <a:gd name="T6" fmla="*/ 169 w 207"/>
                <a:gd name="T7" fmla="*/ 186 h 415"/>
                <a:gd name="T8" fmla="*/ 172 w 207"/>
                <a:gd name="T9" fmla="*/ 132 h 415"/>
                <a:gd name="T10" fmla="*/ 167 w 207"/>
                <a:gd name="T11" fmla="*/ 92 h 415"/>
                <a:gd name="T12" fmla="*/ 198 w 207"/>
                <a:gd name="T13" fmla="*/ 59 h 415"/>
                <a:gd name="T14" fmla="*/ 192 w 207"/>
                <a:gd name="T15" fmla="*/ 32 h 415"/>
                <a:gd name="T16" fmla="*/ 154 w 207"/>
                <a:gd name="T17" fmla="*/ 14 h 415"/>
                <a:gd name="T18" fmla="*/ 131 w 207"/>
                <a:gd name="T19" fmla="*/ 19 h 415"/>
                <a:gd name="T20" fmla="*/ 95 w 207"/>
                <a:gd name="T21" fmla="*/ 25 h 415"/>
                <a:gd name="T22" fmla="*/ 89 w 207"/>
                <a:gd name="T23" fmla="*/ 11 h 415"/>
                <a:gd name="T24" fmla="*/ 72 w 207"/>
                <a:gd name="T25" fmla="*/ 0 h 415"/>
                <a:gd name="T26" fmla="*/ 41 w 207"/>
                <a:gd name="T27" fmla="*/ 25 h 415"/>
                <a:gd name="T28" fmla="*/ 53 w 207"/>
                <a:gd name="T29" fmla="*/ 95 h 415"/>
                <a:gd name="T30" fmla="*/ 36 w 207"/>
                <a:gd name="T31" fmla="*/ 197 h 415"/>
                <a:gd name="T32" fmla="*/ 27 w 207"/>
                <a:gd name="T33" fmla="*/ 216 h 415"/>
                <a:gd name="T34" fmla="*/ 11 w 207"/>
                <a:gd name="T35" fmla="*/ 258 h 415"/>
                <a:gd name="T36" fmla="*/ 1 w 207"/>
                <a:gd name="T37" fmla="*/ 281 h 415"/>
                <a:gd name="T38" fmla="*/ 11 w 207"/>
                <a:gd name="T39" fmla="*/ 281 h 415"/>
                <a:gd name="T40" fmla="*/ 21 w 207"/>
                <a:gd name="T41" fmla="*/ 278 h 415"/>
                <a:gd name="T42" fmla="*/ 36 w 207"/>
                <a:gd name="T43" fmla="*/ 266 h 415"/>
                <a:gd name="T44" fmla="*/ 48 w 207"/>
                <a:gd name="T45" fmla="*/ 261 h 415"/>
                <a:gd name="T46" fmla="*/ 33 w 207"/>
                <a:gd name="T47" fmla="*/ 284 h 415"/>
                <a:gd name="T48" fmla="*/ 17 w 207"/>
                <a:gd name="T49" fmla="*/ 286 h 415"/>
                <a:gd name="T50" fmla="*/ 20 w 207"/>
                <a:gd name="T51" fmla="*/ 308 h 415"/>
                <a:gd name="T52" fmla="*/ 38 w 207"/>
                <a:gd name="T53" fmla="*/ 295 h 415"/>
                <a:gd name="T54" fmla="*/ 54 w 207"/>
                <a:gd name="T55" fmla="*/ 304 h 415"/>
                <a:gd name="T56" fmla="*/ 41 w 207"/>
                <a:gd name="T57" fmla="*/ 305 h 415"/>
                <a:gd name="T58" fmla="*/ 42 w 207"/>
                <a:gd name="T59" fmla="*/ 343 h 415"/>
                <a:gd name="T60" fmla="*/ 44 w 207"/>
                <a:gd name="T61" fmla="*/ 390 h 415"/>
                <a:gd name="T62" fmla="*/ 32 w 207"/>
                <a:gd name="T63" fmla="*/ 414 h 415"/>
                <a:gd name="T64" fmla="*/ 50 w 207"/>
                <a:gd name="T65" fmla="*/ 412 h 415"/>
                <a:gd name="T66" fmla="*/ 80 w 207"/>
                <a:gd name="T67" fmla="*/ 409 h 415"/>
                <a:gd name="T68" fmla="*/ 104 w 207"/>
                <a:gd name="T69" fmla="*/ 414 h 415"/>
                <a:gd name="T70" fmla="*/ 133 w 207"/>
                <a:gd name="T71" fmla="*/ 402 h 415"/>
                <a:gd name="T72" fmla="*/ 140 w 207"/>
                <a:gd name="T73" fmla="*/ 352 h 4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07" h="415">
                  <a:moveTo>
                    <a:pt x="140" y="352"/>
                  </a:moveTo>
                  <a:lnTo>
                    <a:pt x="160" y="329"/>
                  </a:lnTo>
                  <a:lnTo>
                    <a:pt x="161" y="325"/>
                  </a:lnTo>
                  <a:lnTo>
                    <a:pt x="148" y="307"/>
                  </a:lnTo>
                  <a:lnTo>
                    <a:pt x="157" y="261"/>
                  </a:lnTo>
                  <a:lnTo>
                    <a:pt x="143" y="240"/>
                  </a:lnTo>
                  <a:lnTo>
                    <a:pt x="137" y="216"/>
                  </a:lnTo>
                  <a:lnTo>
                    <a:pt x="169" y="186"/>
                  </a:lnTo>
                  <a:lnTo>
                    <a:pt x="164" y="159"/>
                  </a:lnTo>
                  <a:lnTo>
                    <a:pt x="172" y="132"/>
                  </a:lnTo>
                  <a:lnTo>
                    <a:pt x="166" y="111"/>
                  </a:lnTo>
                  <a:lnTo>
                    <a:pt x="167" y="92"/>
                  </a:lnTo>
                  <a:lnTo>
                    <a:pt x="179" y="74"/>
                  </a:lnTo>
                  <a:lnTo>
                    <a:pt x="198" y="59"/>
                  </a:lnTo>
                  <a:lnTo>
                    <a:pt x="207" y="41"/>
                  </a:lnTo>
                  <a:lnTo>
                    <a:pt x="192" y="32"/>
                  </a:lnTo>
                  <a:lnTo>
                    <a:pt x="188" y="20"/>
                  </a:lnTo>
                  <a:lnTo>
                    <a:pt x="154" y="14"/>
                  </a:lnTo>
                  <a:lnTo>
                    <a:pt x="139" y="26"/>
                  </a:lnTo>
                  <a:lnTo>
                    <a:pt x="131" y="19"/>
                  </a:lnTo>
                  <a:lnTo>
                    <a:pt x="110" y="19"/>
                  </a:lnTo>
                  <a:lnTo>
                    <a:pt x="95" y="25"/>
                  </a:lnTo>
                  <a:lnTo>
                    <a:pt x="87" y="22"/>
                  </a:lnTo>
                  <a:lnTo>
                    <a:pt x="89" y="11"/>
                  </a:lnTo>
                  <a:lnTo>
                    <a:pt x="83" y="0"/>
                  </a:lnTo>
                  <a:lnTo>
                    <a:pt x="72" y="0"/>
                  </a:lnTo>
                  <a:lnTo>
                    <a:pt x="59" y="9"/>
                  </a:lnTo>
                  <a:lnTo>
                    <a:pt x="41" y="25"/>
                  </a:lnTo>
                  <a:lnTo>
                    <a:pt x="41" y="41"/>
                  </a:lnTo>
                  <a:lnTo>
                    <a:pt x="53" y="95"/>
                  </a:lnTo>
                  <a:lnTo>
                    <a:pt x="48" y="132"/>
                  </a:lnTo>
                  <a:lnTo>
                    <a:pt x="36" y="197"/>
                  </a:lnTo>
                  <a:lnTo>
                    <a:pt x="29" y="206"/>
                  </a:lnTo>
                  <a:lnTo>
                    <a:pt x="27" y="216"/>
                  </a:lnTo>
                  <a:lnTo>
                    <a:pt x="11" y="234"/>
                  </a:lnTo>
                  <a:lnTo>
                    <a:pt x="11" y="258"/>
                  </a:lnTo>
                  <a:lnTo>
                    <a:pt x="0" y="278"/>
                  </a:lnTo>
                  <a:lnTo>
                    <a:pt x="1" y="281"/>
                  </a:lnTo>
                  <a:lnTo>
                    <a:pt x="7" y="283"/>
                  </a:lnTo>
                  <a:lnTo>
                    <a:pt x="11" y="281"/>
                  </a:lnTo>
                  <a:lnTo>
                    <a:pt x="23" y="283"/>
                  </a:lnTo>
                  <a:lnTo>
                    <a:pt x="21" y="278"/>
                  </a:lnTo>
                  <a:lnTo>
                    <a:pt x="27" y="270"/>
                  </a:lnTo>
                  <a:lnTo>
                    <a:pt x="36" y="266"/>
                  </a:lnTo>
                  <a:lnTo>
                    <a:pt x="48" y="257"/>
                  </a:lnTo>
                  <a:lnTo>
                    <a:pt x="48" y="261"/>
                  </a:lnTo>
                  <a:lnTo>
                    <a:pt x="41" y="269"/>
                  </a:lnTo>
                  <a:lnTo>
                    <a:pt x="33" y="284"/>
                  </a:lnTo>
                  <a:lnTo>
                    <a:pt x="23" y="286"/>
                  </a:lnTo>
                  <a:lnTo>
                    <a:pt x="17" y="286"/>
                  </a:lnTo>
                  <a:lnTo>
                    <a:pt x="21" y="292"/>
                  </a:lnTo>
                  <a:lnTo>
                    <a:pt x="20" y="308"/>
                  </a:lnTo>
                  <a:lnTo>
                    <a:pt x="27" y="304"/>
                  </a:lnTo>
                  <a:lnTo>
                    <a:pt x="38" y="295"/>
                  </a:lnTo>
                  <a:lnTo>
                    <a:pt x="50" y="295"/>
                  </a:lnTo>
                  <a:lnTo>
                    <a:pt x="54" y="304"/>
                  </a:lnTo>
                  <a:lnTo>
                    <a:pt x="48" y="299"/>
                  </a:lnTo>
                  <a:lnTo>
                    <a:pt x="41" y="305"/>
                  </a:lnTo>
                  <a:lnTo>
                    <a:pt x="47" y="317"/>
                  </a:lnTo>
                  <a:lnTo>
                    <a:pt x="42" y="343"/>
                  </a:lnTo>
                  <a:lnTo>
                    <a:pt x="47" y="375"/>
                  </a:lnTo>
                  <a:lnTo>
                    <a:pt x="44" y="390"/>
                  </a:lnTo>
                  <a:lnTo>
                    <a:pt x="38" y="408"/>
                  </a:lnTo>
                  <a:lnTo>
                    <a:pt x="32" y="414"/>
                  </a:lnTo>
                  <a:lnTo>
                    <a:pt x="38" y="415"/>
                  </a:lnTo>
                  <a:lnTo>
                    <a:pt x="50" y="412"/>
                  </a:lnTo>
                  <a:lnTo>
                    <a:pt x="66" y="405"/>
                  </a:lnTo>
                  <a:lnTo>
                    <a:pt x="80" y="409"/>
                  </a:lnTo>
                  <a:lnTo>
                    <a:pt x="95" y="409"/>
                  </a:lnTo>
                  <a:lnTo>
                    <a:pt x="104" y="414"/>
                  </a:lnTo>
                  <a:lnTo>
                    <a:pt x="119" y="412"/>
                  </a:lnTo>
                  <a:lnTo>
                    <a:pt x="133" y="402"/>
                  </a:lnTo>
                  <a:lnTo>
                    <a:pt x="131" y="378"/>
                  </a:lnTo>
                  <a:lnTo>
                    <a:pt x="140" y="352"/>
                  </a:lnTo>
                  <a:lnTo>
                    <a:pt x="140" y="352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989" name="Freeform 334"/>
            <p:cNvSpPr>
              <a:spLocks/>
            </p:cNvSpPr>
            <p:nvPr userDrawn="1"/>
          </p:nvSpPr>
          <p:spPr bwMode="auto">
            <a:xfrm>
              <a:off x="3543" y="3303"/>
              <a:ext cx="22" cy="20"/>
            </a:xfrm>
            <a:custGeom>
              <a:avLst/>
              <a:gdLst>
                <a:gd name="T0" fmla="*/ 18 w 22"/>
                <a:gd name="T1" fmla="*/ 20 h 20"/>
                <a:gd name="T2" fmla="*/ 22 w 22"/>
                <a:gd name="T3" fmla="*/ 18 h 20"/>
                <a:gd name="T4" fmla="*/ 22 w 22"/>
                <a:gd name="T5" fmla="*/ 8 h 20"/>
                <a:gd name="T6" fmla="*/ 13 w 22"/>
                <a:gd name="T7" fmla="*/ 0 h 20"/>
                <a:gd name="T8" fmla="*/ 0 w 22"/>
                <a:gd name="T9" fmla="*/ 5 h 20"/>
                <a:gd name="T10" fmla="*/ 4 w 22"/>
                <a:gd name="T11" fmla="*/ 17 h 20"/>
                <a:gd name="T12" fmla="*/ 18 w 22"/>
                <a:gd name="T13" fmla="*/ 20 h 20"/>
                <a:gd name="T14" fmla="*/ 18 w 22"/>
                <a:gd name="T15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0">
                  <a:moveTo>
                    <a:pt x="18" y="20"/>
                  </a:moveTo>
                  <a:lnTo>
                    <a:pt x="22" y="18"/>
                  </a:lnTo>
                  <a:lnTo>
                    <a:pt x="22" y="8"/>
                  </a:lnTo>
                  <a:lnTo>
                    <a:pt x="13" y="0"/>
                  </a:lnTo>
                  <a:lnTo>
                    <a:pt x="0" y="5"/>
                  </a:lnTo>
                  <a:lnTo>
                    <a:pt x="4" y="17"/>
                  </a:lnTo>
                  <a:lnTo>
                    <a:pt x="18" y="20"/>
                  </a:lnTo>
                  <a:lnTo>
                    <a:pt x="18" y="20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990" name="Freeform 335"/>
            <p:cNvSpPr>
              <a:spLocks/>
            </p:cNvSpPr>
            <p:nvPr userDrawn="1"/>
          </p:nvSpPr>
          <p:spPr bwMode="auto">
            <a:xfrm>
              <a:off x="4455" y="3077"/>
              <a:ext cx="246" cy="232"/>
            </a:xfrm>
            <a:custGeom>
              <a:avLst/>
              <a:gdLst>
                <a:gd name="T0" fmla="*/ 133 w 246"/>
                <a:gd name="T1" fmla="*/ 196 h 232"/>
                <a:gd name="T2" fmla="*/ 145 w 246"/>
                <a:gd name="T3" fmla="*/ 213 h 232"/>
                <a:gd name="T4" fmla="*/ 162 w 246"/>
                <a:gd name="T5" fmla="*/ 217 h 232"/>
                <a:gd name="T6" fmla="*/ 172 w 246"/>
                <a:gd name="T7" fmla="*/ 232 h 232"/>
                <a:gd name="T8" fmla="*/ 175 w 246"/>
                <a:gd name="T9" fmla="*/ 222 h 232"/>
                <a:gd name="T10" fmla="*/ 175 w 246"/>
                <a:gd name="T11" fmla="*/ 211 h 232"/>
                <a:gd name="T12" fmla="*/ 169 w 246"/>
                <a:gd name="T13" fmla="*/ 202 h 232"/>
                <a:gd name="T14" fmla="*/ 187 w 246"/>
                <a:gd name="T15" fmla="*/ 179 h 232"/>
                <a:gd name="T16" fmla="*/ 193 w 246"/>
                <a:gd name="T17" fmla="*/ 176 h 232"/>
                <a:gd name="T18" fmla="*/ 193 w 246"/>
                <a:gd name="T19" fmla="*/ 176 h 232"/>
                <a:gd name="T20" fmla="*/ 190 w 246"/>
                <a:gd name="T21" fmla="*/ 172 h 232"/>
                <a:gd name="T22" fmla="*/ 189 w 246"/>
                <a:gd name="T23" fmla="*/ 169 h 232"/>
                <a:gd name="T24" fmla="*/ 189 w 246"/>
                <a:gd name="T25" fmla="*/ 166 h 232"/>
                <a:gd name="T26" fmla="*/ 189 w 246"/>
                <a:gd name="T27" fmla="*/ 166 h 232"/>
                <a:gd name="T28" fmla="*/ 193 w 246"/>
                <a:gd name="T29" fmla="*/ 158 h 232"/>
                <a:gd name="T30" fmla="*/ 196 w 246"/>
                <a:gd name="T31" fmla="*/ 154 h 232"/>
                <a:gd name="T32" fmla="*/ 208 w 246"/>
                <a:gd name="T33" fmla="*/ 163 h 232"/>
                <a:gd name="T34" fmla="*/ 214 w 246"/>
                <a:gd name="T35" fmla="*/ 154 h 232"/>
                <a:gd name="T36" fmla="*/ 204 w 246"/>
                <a:gd name="T37" fmla="*/ 148 h 232"/>
                <a:gd name="T38" fmla="*/ 204 w 246"/>
                <a:gd name="T39" fmla="*/ 139 h 232"/>
                <a:gd name="T40" fmla="*/ 214 w 246"/>
                <a:gd name="T41" fmla="*/ 145 h 232"/>
                <a:gd name="T42" fmla="*/ 225 w 246"/>
                <a:gd name="T43" fmla="*/ 136 h 232"/>
                <a:gd name="T44" fmla="*/ 236 w 246"/>
                <a:gd name="T45" fmla="*/ 145 h 232"/>
                <a:gd name="T46" fmla="*/ 240 w 246"/>
                <a:gd name="T47" fmla="*/ 122 h 232"/>
                <a:gd name="T48" fmla="*/ 225 w 246"/>
                <a:gd name="T49" fmla="*/ 110 h 232"/>
                <a:gd name="T50" fmla="*/ 222 w 246"/>
                <a:gd name="T51" fmla="*/ 98 h 232"/>
                <a:gd name="T52" fmla="*/ 245 w 246"/>
                <a:gd name="T53" fmla="*/ 99 h 232"/>
                <a:gd name="T54" fmla="*/ 246 w 246"/>
                <a:gd name="T55" fmla="*/ 93 h 232"/>
                <a:gd name="T56" fmla="*/ 234 w 246"/>
                <a:gd name="T57" fmla="*/ 89 h 232"/>
                <a:gd name="T58" fmla="*/ 234 w 246"/>
                <a:gd name="T59" fmla="*/ 84 h 232"/>
                <a:gd name="T60" fmla="*/ 211 w 246"/>
                <a:gd name="T61" fmla="*/ 62 h 232"/>
                <a:gd name="T62" fmla="*/ 224 w 246"/>
                <a:gd name="T63" fmla="*/ 33 h 232"/>
                <a:gd name="T64" fmla="*/ 210 w 246"/>
                <a:gd name="T65" fmla="*/ 25 h 232"/>
                <a:gd name="T66" fmla="*/ 198 w 246"/>
                <a:gd name="T67" fmla="*/ 39 h 232"/>
                <a:gd name="T68" fmla="*/ 187 w 246"/>
                <a:gd name="T69" fmla="*/ 31 h 232"/>
                <a:gd name="T70" fmla="*/ 180 w 246"/>
                <a:gd name="T71" fmla="*/ 21 h 232"/>
                <a:gd name="T72" fmla="*/ 144 w 246"/>
                <a:gd name="T73" fmla="*/ 6 h 232"/>
                <a:gd name="T74" fmla="*/ 112 w 246"/>
                <a:gd name="T75" fmla="*/ 15 h 232"/>
                <a:gd name="T76" fmla="*/ 101 w 246"/>
                <a:gd name="T77" fmla="*/ 4 h 232"/>
                <a:gd name="T78" fmla="*/ 73 w 246"/>
                <a:gd name="T79" fmla="*/ 4 h 232"/>
                <a:gd name="T80" fmla="*/ 52 w 246"/>
                <a:gd name="T81" fmla="*/ 4 h 232"/>
                <a:gd name="T82" fmla="*/ 43 w 246"/>
                <a:gd name="T83" fmla="*/ 10 h 232"/>
                <a:gd name="T84" fmla="*/ 37 w 246"/>
                <a:gd name="T85" fmla="*/ 22 h 232"/>
                <a:gd name="T86" fmla="*/ 23 w 246"/>
                <a:gd name="T87" fmla="*/ 22 h 232"/>
                <a:gd name="T88" fmla="*/ 18 w 246"/>
                <a:gd name="T89" fmla="*/ 16 h 232"/>
                <a:gd name="T90" fmla="*/ 11 w 246"/>
                <a:gd name="T91" fmla="*/ 0 h 232"/>
                <a:gd name="T92" fmla="*/ 0 w 246"/>
                <a:gd name="T93" fmla="*/ 3 h 232"/>
                <a:gd name="T94" fmla="*/ 0 w 246"/>
                <a:gd name="T95" fmla="*/ 31 h 232"/>
                <a:gd name="T96" fmla="*/ 29 w 246"/>
                <a:gd name="T97" fmla="*/ 71 h 232"/>
                <a:gd name="T98" fmla="*/ 37 w 246"/>
                <a:gd name="T99" fmla="*/ 71 h 232"/>
                <a:gd name="T100" fmla="*/ 35 w 246"/>
                <a:gd name="T101" fmla="*/ 93 h 232"/>
                <a:gd name="T102" fmla="*/ 70 w 246"/>
                <a:gd name="T103" fmla="*/ 122 h 232"/>
                <a:gd name="T104" fmla="*/ 80 w 246"/>
                <a:gd name="T105" fmla="*/ 143 h 232"/>
                <a:gd name="T106" fmla="*/ 91 w 246"/>
                <a:gd name="T107" fmla="*/ 151 h 232"/>
                <a:gd name="T108" fmla="*/ 97 w 246"/>
                <a:gd name="T109" fmla="*/ 161 h 232"/>
                <a:gd name="T110" fmla="*/ 116 w 246"/>
                <a:gd name="T111" fmla="*/ 179 h 232"/>
                <a:gd name="T112" fmla="*/ 118 w 246"/>
                <a:gd name="T113" fmla="*/ 191 h 232"/>
                <a:gd name="T114" fmla="*/ 115 w 246"/>
                <a:gd name="T115" fmla="*/ 194 h 232"/>
                <a:gd name="T116" fmla="*/ 109 w 246"/>
                <a:gd name="T117" fmla="*/ 199 h 232"/>
                <a:gd name="T118" fmla="*/ 115 w 246"/>
                <a:gd name="T119" fmla="*/ 202 h 232"/>
                <a:gd name="T120" fmla="*/ 124 w 246"/>
                <a:gd name="T121" fmla="*/ 197 h 232"/>
                <a:gd name="T122" fmla="*/ 133 w 246"/>
                <a:gd name="T123" fmla="*/ 196 h 232"/>
                <a:gd name="T124" fmla="*/ 133 w 246"/>
                <a:gd name="T125" fmla="*/ 196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46" h="232">
                  <a:moveTo>
                    <a:pt x="133" y="196"/>
                  </a:moveTo>
                  <a:lnTo>
                    <a:pt x="145" y="213"/>
                  </a:lnTo>
                  <a:lnTo>
                    <a:pt x="162" y="217"/>
                  </a:lnTo>
                  <a:lnTo>
                    <a:pt x="172" y="232"/>
                  </a:lnTo>
                  <a:lnTo>
                    <a:pt x="175" y="222"/>
                  </a:lnTo>
                  <a:lnTo>
                    <a:pt x="175" y="211"/>
                  </a:lnTo>
                  <a:lnTo>
                    <a:pt x="169" y="202"/>
                  </a:lnTo>
                  <a:lnTo>
                    <a:pt x="187" y="179"/>
                  </a:lnTo>
                  <a:lnTo>
                    <a:pt x="193" y="176"/>
                  </a:lnTo>
                  <a:lnTo>
                    <a:pt x="193" y="176"/>
                  </a:lnTo>
                  <a:lnTo>
                    <a:pt x="190" y="172"/>
                  </a:lnTo>
                  <a:lnTo>
                    <a:pt x="189" y="169"/>
                  </a:lnTo>
                  <a:lnTo>
                    <a:pt x="189" y="166"/>
                  </a:lnTo>
                  <a:lnTo>
                    <a:pt x="189" y="166"/>
                  </a:lnTo>
                  <a:lnTo>
                    <a:pt x="193" y="158"/>
                  </a:lnTo>
                  <a:lnTo>
                    <a:pt x="196" y="154"/>
                  </a:lnTo>
                  <a:lnTo>
                    <a:pt x="208" y="163"/>
                  </a:lnTo>
                  <a:lnTo>
                    <a:pt x="214" y="154"/>
                  </a:lnTo>
                  <a:lnTo>
                    <a:pt x="204" y="148"/>
                  </a:lnTo>
                  <a:lnTo>
                    <a:pt x="204" y="139"/>
                  </a:lnTo>
                  <a:lnTo>
                    <a:pt x="214" y="145"/>
                  </a:lnTo>
                  <a:lnTo>
                    <a:pt x="225" y="136"/>
                  </a:lnTo>
                  <a:lnTo>
                    <a:pt x="236" y="145"/>
                  </a:lnTo>
                  <a:lnTo>
                    <a:pt x="240" y="122"/>
                  </a:lnTo>
                  <a:lnTo>
                    <a:pt x="225" y="110"/>
                  </a:lnTo>
                  <a:lnTo>
                    <a:pt x="222" y="98"/>
                  </a:lnTo>
                  <a:lnTo>
                    <a:pt x="245" y="99"/>
                  </a:lnTo>
                  <a:lnTo>
                    <a:pt x="246" y="93"/>
                  </a:lnTo>
                  <a:lnTo>
                    <a:pt x="234" y="89"/>
                  </a:lnTo>
                  <a:lnTo>
                    <a:pt x="234" y="84"/>
                  </a:lnTo>
                  <a:lnTo>
                    <a:pt x="211" y="62"/>
                  </a:lnTo>
                  <a:lnTo>
                    <a:pt x="224" y="33"/>
                  </a:lnTo>
                  <a:lnTo>
                    <a:pt x="210" y="25"/>
                  </a:lnTo>
                  <a:lnTo>
                    <a:pt x="198" y="39"/>
                  </a:lnTo>
                  <a:lnTo>
                    <a:pt x="187" y="31"/>
                  </a:lnTo>
                  <a:lnTo>
                    <a:pt x="180" y="21"/>
                  </a:lnTo>
                  <a:lnTo>
                    <a:pt x="144" y="6"/>
                  </a:lnTo>
                  <a:lnTo>
                    <a:pt x="112" y="15"/>
                  </a:lnTo>
                  <a:lnTo>
                    <a:pt x="101" y="4"/>
                  </a:lnTo>
                  <a:lnTo>
                    <a:pt x="73" y="4"/>
                  </a:lnTo>
                  <a:lnTo>
                    <a:pt x="52" y="4"/>
                  </a:lnTo>
                  <a:lnTo>
                    <a:pt x="43" y="10"/>
                  </a:lnTo>
                  <a:lnTo>
                    <a:pt x="37" y="22"/>
                  </a:lnTo>
                  <a:lnTo>
                    <a:pt x="23" y="22"/>
                  </a:lnTo>
                  <a:lnTo>
                    <a:pt x="18" y="16"/>
                  </a:lnTo>
                  <a:lnTo>
                    <a:pt x="11" y="0"/>
                  </a:lnTo>
                  <a:lnTo>
                    <a:pt x="0" y="3"/>
                  </a:lnTo>
                  <a:lnTo>
                    <a:pt x="0" y="31"/>
                  </a:lnTo>
                  <a:lnTo>
                    <a:pt x="29" y="71"/>
                  </a:lnTo>
                  <a:lnTo>
                    <a:pt x="37" y="71"/>
                  </a:lnTo>
                  <a:lnTo>
                    <a:pt x="35" y="93"/>
                  </a:lnTo>
                  <a:lnTo>
                    <a:pt x="70" y="122"/>
                  </a:lnTo>
                  <a:lnTo>
                    <a:pt x="80" y="143"/>
                  </a:lnTo>
                  <a:lnTo>
                    <a:pt x="91" y="151"/>
                  </a:lnTo>
                  <a:lnTo>
                    <a:pt x="97" y="161"/>
                  </a:lnTo>
                  <a:lnTo>
                    <a:pt x="116" y="179"/>
                  </a:lnTo>
                  <a:lnTo>
                    <a:pt x="118" y="191"/>
                  </a:lnTo>
                  <a:lnTo>
                    <a:pt x="115" y="194"/>
                  </a:lnTo>
                  <a:lnTo>
                    <a:pt x="109" y="199"/>
                  </a:lnTo>
                  <a:lnTo>
                    <a:pt x="115" y="202"/>
                  </a:lnTo>
                  <a:lnTo>
                    <a:pt x="124" y="197"/>
                  </a:lnTo>
                  <a:lnTo>
                    <a:pt x="133" y="196"/>
                  </a:lnTo>
                  <a:lnTo>
                    <a:pt x="133" y="196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991" name="Freeform 336"/>
            <p:cNvSpPr>
              <a:spLocks/>
            </p:cNvSpPr>
            <p:nvPr userDrawn="1"/>
          </p:nvSpPr>
          <p:spPr bwMode="auto">
            <a:xfrm>
              <a:off x="2860" y="3214"/>
              <a:ext cx="800" cy="635"/>
            </a:xfrm>
            <a:custGeom>
              <a:avLst/>
              <a:gdLst>
                <a:gd name="T0" fmla="*/ 734 w 800"/>
                <a:gd name="T1" fmla="*/ 115 h 635"/>
                <a:gd name="T2" fmla="*/ 701 w 800"/>
                <a:gd name="T3" fmla="*/ 109 h 635"/>
                <a:gd name="T4" fmla="*/ 662 w 800"/>
                <a:gd name="T5" fmla="*/ 79 h 635"/>
                <a:gd name="T6" fmla="*/ 621 w 800"/>
                <a:gd name="T7" fmla="*/ 88 h 635"/>
                <a:gd name="T8" fmla="*/ 538 w 800"/>
                <a:gd name="T9" fmla="*/ 68 h 635"/>
                <a:gd name="T10" fmla="*/ 500 w 800"/>
                <a:gd name="T11" fmla="*/ 44 h 635"/>
                <a:gd name="T12" fmla="*/ 485 w 800"/>
                <a:gd name="T13" fmla="*/ 30 h 635"/>
                <a:gd name="T14" fmla="*/ 481 w 800"/>
                <a:gd name="T15" fmla="*/ 32 h 635"/>
                <a:gd name="T16" fmla="*/ 476 w 800"/>
                <a:gd name="T17" fmla="*/ 35 h 635"/>
                <a:gd name="T18" fmla="*/ 469 w 800"/>
                <a:gd name="T19" fmla="*/ 33 h 635"/>
                <a:gd name="T20" fmla="*/ 437 w 800"/>
                <a:gd name="T21" fmla="*/ 38 h 635"/>
                <a:gd name="T22" fmla="*/ 401 w 800"/>
                <a:gd name="T23" fmla="*/ 32 h 635"/>
                <a:gd name="T24" fmla="*/ 371 w 800"/>
                <a:gd name="T25" fmla="*/ 30 h 635"/>
                <a:gd name="T26" fmla="*/ 349 w 800"/>
                <a:gd name="T27" fmla="*/ 27 h 635"/>
                <a:gd name="T28" fmla="*/ 289 w 800"/>
                <a:gd name="T29" fmla="*/ 27 h 635"/>
                <a:gd name="T30" fmla="*/ 227 w 800"/>
                <a:gd name="T31" fmla="*/ 14 h 635"/>
                <a:gd name="T32" fmla="*/ 208 w 800"/>
                <a:gd name="T33" fmla="*/ 17 h 635"/>
                <a:gd name="T34" fmla="*/ 111 w 800"/>
                <a:gd name="T35" fmla="*/ 2 h 635"/>
                <a:gd name="T36" fmla="*/ 96 w 800"/>
                <a:gd name="T37" fmla="*/ 2 h 635"/>
                <a:gd name="T38" fmla="*/ 63 w 800"/>
                <a:gd name="T39" fmla="*/ 21 h 635"/>
                <a:gd name="T40" fmla="*/ 67 w 800"/>
                <a:gd name="T41" fmla="*/ 30 h 635"/>
                <a:gd name="T42" fmla="*/ 61 w 800"/>
                <a:gd name="T43" fmla="*/ 32 h 635"/>
                <a:gd name="T44" fmla="*/ 28 w 800"/>
                <a:gd name="T45" fmla="*/ 38 h 635"/>
                <a:gd name="T46" fmla="*/ 12 w 800"/>
                <a:gd name="T47" fmla="*/ 50 h 635"/>
                <a:gd name="T48" fmla="*/ 4 w 800"/>
                <a:gd name="T49" fmla="*/ 73 h 635"/>
                <a:gd name="T50" fmla="*/ 19 w 800"/>
                <a:gd name="T51" fmla="*/ 85 h 635"/>
                <a:gd name="T52" fmla="*/ 25 w 800"/>
                <a:gd name="T53" fmla="*/ 110 h 635"/>
                <a:gd name="T54" fmla="*/ 31 w 800"/>
                <a:gd name="T55" fmla="*/ 128 h 635"/>
                <a:gd name="T56" fmla="*/ 48 w 800"/>
                <a:gd name="T57" fmla="*/ 149 h 635"/>
                <a:gd name="T58" fmla="*/ 78 w 800"/>
                <a:gd name="T59" fmla="*/ 151 h 635"/>
                <a:gd name="T60" fmla="*/ 99 w 800"/>
                <a:gd name="T61" fmla="*/ 159 h 635"/>
                <a:gd name="T62" fmla="*/ 143 w 800"/>
                <a:gd name="T63" fmla="*/ 154 h 635"/>
                <a:gd name="T64" fmla="*/ 196 w 800"/>
                <a:gd name="T65" fmla="*/ 181 h 635"/>
                <a:gd name="T66" fmla="*/ 156 w 800"/>
                <a:gd name="T67" fmla="*/ 232 h 635"/>
                <a:gd name="T68" fmla="*/ 153 w 800"/>
                <a:gd name="T69" fmla="*/ 299 h 635"/>
                <a:gd name="T70" fmla="*/ 132 w 800"/>
                <a:gd name="T71" fmla="*/ 380 h 635"/>
                <a:gd name="T72" fmla="*/ 150 w 800"/>
                <a:gd name="T73" fmla="*/ 465 h 635"/>
                <a:gd name="T74" fmla="*/ 120 w 800"/>
                <a:gd name="T75" fmla="*/ 518 h 635"/>
                <a:gd name="T76" fmla="*/ 137 w 800"/>
                <a:gd name="T77" fmla="*/ 543 h 635"/>
                <a:gd name="T78" fmla="*/ 165 w 800"/>
                <a:gd name="T79" fmla="*/ 545 h 635"/>
                <a:gd name="T80" fmla="*/ 196 w 800"/>
                <a:gd name="T81" fmla="*/ 592 h 635"/>
                <a:gd name="T82" fmla="*/ 214 w 800"/>
                <a:gd name="T83" fmla="*/ 622 h 635"/>
                <a:gd name="T84" fmla="*/ 238 w 800"/>
                <a:gd name="T85" fmla="*/ 631 h 635"/>
                <a:gd name="T86" fmla="*/ 271 w 800"/>
                <a:gd name="T87" fmla="*/ 598 h 635"/>
                <a:gd name="T88" fmla="*/ 318 w 800"/>
                <a:gd name="T89" fmla="*/ 578 h 635"/>
                <a:gd name="T90" fmla="*/ 405 w 800"/>
                <a:gd name="T91" fmla="*/ 578 h 635"/>
                <a:gd name="T92" fmla="*/ 461 w 800"/>
                <a:gd name="T93" fmla="*/ 578 h 635"/>
                <a:gd name="T94" fmla="*/ 481 w 800"/>
                <a:gd name="T95" fmla="*/ 546 h 635"/>
                <a:gd name="T96" fmla="*/ 500 w 800"/>
                <a:gd name="T97" fmla="*/ 512 h 635"/>
                <a:gd name="T98" fmla="*/ 544 w 800"/>
                <a:gd name="T99" fmla="*/ 512 h 635"/>
                <a:gd name="T100" fmla="*/ 552 w 800"/>
                <a:gd name="T101" fmla="*/ 477 h 635"/>
                <a:gd name="T102" fmla="*/ 568 w 800"/>
                <a:gd name="T103" fmla="*/ 442 h 635"/>
                <a:gd name="T104" fmla="*/ 606 w 800"/>
                <a:gd name="T105" fmla="*/ 417 h 635"/>
                <a:gd name="T106" fmla="*/ 586 w 800"/>
                <a:gd name="T107" fmla="*/ 403 h 635"/>
                <a:gd name="T108" fmla="*/ 573 w 800"/>
                <a:gd name="T109" fmla="*/ 365 h 635"/>
                <a:gd name="T110" fmla="*/ 639 w 800"/>
                <a:gd name="T111" fmla="*/ 257 h 635"/>
                <a:gd name="T112" fmla="*/ 647 w 800"/>
                <a:gd name="T113" fmla="*/ 255 h 635"/>
                <a:gd name="T114" fmla="*/ 692 w 800"/>
                <a:gd name="T115" fmla="*/ 217 h 635"/>
                <a:gd name="T116" fmla="*/ 761 w 800"/>
                <a:gd name="T117" fmla="*/ 174 h 635"/>
                <a:gd name="T118" fmla="*/ 793 w 800"/>
                <a:gd name="T119" fmla="*/ 145 h 635"/>
                <a:gd name="T120" fmla="*/ 791 w 800"/>
                <a:gd name="T121" fmla="*/ 124 h 635"/>
                <a:gd name="T122" fmla="*/ 790 w 800"/>
                <a:gd name="T123" fmla="*/ 116 h 635"/>
                <a:gd name="T124" fmla="*/ 782 w 800"/>
                <a:gd name="T125" fmla="*/ 106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800" h="635">
                  <a:moveTo>
                    <a:pt x="764" y="107"/>
                  </a:moveTo>
                  <a:lnTo>
                    <a:pt x="748" y="116"/>
                  </a:lnTo>
                  <a:lnTo>
                    <a:pt x="734" y="115"/>
                  </a:lnTo>
                  <a:lnTo>
                    <a:pt x="720" y="109"/>
                  </a:lnTo>
                  <a:lnTo>
                    <a:pt x="705" y="107"/>
                  </a:lnTo>
                  <a:lnTo>
                    <a:pt x="701" y="109"/>
                  </a:lnTo>
                  <a:lnTo>
                    <a:pt x="687" y="106"/>
                  </a:lnTo>
                  <a:lnTo>
                    <a:pt x="683" y="94"/>
                  </a:lnTo>
                  <a:lnTo>
                    <a:pt x="662" y="79"/>
                  </a:lnTo>
                  <a:lnTo>
                    <a:pt x="642" y="77"/>
                  </a:lnTo>
                  <a:lnTo>
                    <a:pt x="633" y="88"/>
                  </a:lnTo>
                  <a:lnTo>
                    <a:pt x="621" y="88"/>
                  </a:lnTo>
                  <a:lnTo>
                    <a:pt x="595" y="86"/>
                  </a:lnTo>
                  <a:lnTo>
                    <a:pt x="570" y="73"/>
                  </a:lnTo>
                  <a:lnTo>
                    <a:pt x="538" y="68"/>
                  </a:lnTo>
                  <a:lnTo>
                    <a:pt x="526" y="57"/>
                  </a:lnTo>
                  <a:lnTo>
                    <a:pt x="500" y="51"/>
                  </a:lnTo>
                  <a:lnTo>
                    <a:pt x="500" y="44"/>
                  </a:lnTo>
                  <a:lnTo>
                    <a:pt x="493" y="35"/>
                  </a:lnTo>
                  <a:lnTo>
                    <a:pt x="485" y="35"/>
                  </a:lnTo>
                  <a:lnTo>
                    <a:pt x="485" y="30"/>
                  </a:lnTo>
                  <a:lnTo>
                    <a:pt x="484" y="30"/>
                  </a:lnTo>
                  <a:lnTo>
                    <a:pt x="484" y="32"/>
                  </a:lnTo>
                  <a:lnTo>
                    <a:pt x="481" y="32"/>
                  </a:lnTo>
                  <a:lnTo>
                    <a:pt x="481" y="30"/>
                  </a:lnTo>
                  <a:lnTo>
                    <a:pt x="478" y="33"/>
                  </a:lnTo>
                  <a:lnTo>
                    <a:pt x="476" y="35"/>
                  </a:lnTo>
                  <a:lnTo>
                    <a:pt x="472" y="33"/>
                  </a:lnTo>
                  <a:lnTo>
                    <a:pt x="473" y="32"/>
                  </a:lnTo>
                  <a:lnTo>
                    <a:pt x="469" y="33"/>
                  </a:lnTo>
                  <a:lnTo>
                    <a:pt x="461" y="41"/>
                  </a:lnTo>
                  <a:lnTo>
                    <a:pt x="443" y="41"/>
                  </a:lnTo>
                  <a:lnTo>
                    <a:pt x="437" y="38"/>
                  </a:lnTo>
                  <a:lnTo>
                    <a:pt x="425" y="33"/>
                  </a:lnTo>
                  <a:lnTo>
                    <a:pt x="414" y="30"/>
                  </a:lnTo>
                  <a:lnTo>
                    <a:pt x="401" y="32"/>
                  </a:lnTo>
                  <a:lnTo>
                    <a:pt x="389" y="33"/>
                  </a:lnTo>
                  <a:lnTo>
                    <a:pt x="378" y="30"/>
                  </a:lnTo>
                  <a:lnTo>
                    <a:pt x="371" y="30"/>
                  </a:lnTo>
                  <a:lnTo>
                    <a:pt x="365" y="21"/>
                  </a:lnTo>
                  <a:lnTo>
                    <a:pt x="360" y="21"/>
                  </a:lnTo>
                  <a:lnTo>
                    <a:pt x="349" y="27"/>
                  </a:lnTo>
                  <a:lnTo>
                    <a:pt x="340" y="26"/>
                  </a:lnTo>
                  <a:lnTo>
                    <a:pt x="321" y="29"/>
                  </a:lnTo>
                  <a:lnTo>
                    <a:pt x="289" y="27"/>
                  </a:lnTo>
                  <a:lnTo>
                    <a:pt x="256" y="21"/>
                  </a:lnTo>
                  <a:lnTo>
                    <a:pt x="238" y="18"/>
                  </a:lnTo>
                  <a:lnTo>
                    <a:pt x="227" y="14"/>
                  </a:lnTo>
                  <a:lnTo>
                    <a:pt x="226" y="12"/>
                  </a:lnTo>
                  <a:lnTo>
                    <a:pt x="218" y="11"/>
                  </a:lnTo>
                  <a:lnTo>
                    <a:pt x="208" y="17"/>
                  </a:lnTo>
                  <a:lnTo>
                    <a:pt x="137" y="18"/>
                  </a:lnTo>
                  <a:lnTo>
                    <a:pt x="117" y="9"/>
                  </a:lnTo>
                  <a:lnTo>
                    <a:pt x="111" y="2"/>
                  </a:lnTo>
                  <a:lnTo>
                    <a:pt x="102" y="0"/>
                  </a:lnTo>
                  <a:lnTo>
                    <a:pt x="101" y="5"/>
                  </a:lnTo>
                  <a:lnTo>
                    <a:pt x="96" y="2"/>
                  </a:lnTo>
                  <a:lnTo>
                    <a:pt x="85" y="5"/>
                  </a:lnTo>
                  <a:lnTo>
                    <a:pt x="72" y="15"/>
                  </a:lnTo>
                  <a:lnTo>
                    <a:pt x="63" y="21"/>
                  </a:lnTo>
                  <a:lnTo>
                    <a:pt x="66" y="29"/>
                  </a:lnTo>
                  <a:lnTo>
                    <a:pt x="72" y="26"/>
                  </a:lnTo>
                  <a:lnTo>
                    <a:pt x="67" y="30"/>
                  </a:lnTo>
                  <a:lnTo>
                    <a:pt x="72" y="36"/>
                  </a:lnTo>
                  <a:lnTo>
                    <a:pt x="63" y="36"/>
                  </a:lnTo>
                  <a:lnTo>
                    <a:pt x="61" y="32"/>
                  </a:lnTo>
                  <a:lnTo>
                    <a:pt x="52" y="35"/>
                  </a:lnTo>
                  <a:lnTo>
                    <a:pt x="40" y="41"/>
                  </a:lnTo>
                  <a:lnTo>
                    <a:pt x="28" y="38"/>
                  </a:lnTo>
                  <a:lnTo>
                    <a:pt x="22" y="45"/>
                  </a:lnTo>
                  <a:lnTo>
                    <a:pt x="21" y="50"/>
                  </a:lnTo>
                  <a:lnTo>
                    <a:pt x="12" y="50"/>
                  </a:lnTo>
                  <a:lnTo>
                    <a:pt x="1" y="66"/>
                  </a:lnTo>
                  <a:lnTo>
                    <a:pt x="0" y="76"/>
                  </a:lnTo>
                  <a:lnTo>
                    <a:pt x="4" y="73"/>
                  </a:lnTo>
                  <a:lnTo>
                    <a:pt x="9" y="79"/>
                  </a:lnTo>
                  <a:lnTo>
                    <a:pt x="9" y="85"/>
                  </a:lnTo>
                  <a:lnTo>
                    <a:pt x="19" y="85"/>
                  </a:lnTo>
                  <a:lnTo>
                    <a:pt x="16" y="100"/>
                  </a:lnTo>
                  <a:lnTo>
                    <a:pt x="28" y="98"/>
                  </a:lnTo>
                  <a:lnTo>
                    <a:pt x="25" y="110"/>
                  </a:lnTo>
                  <a:lnTo>
                    <a:pt x="31" y="115"/>
                  </a:lnTo>
                  <a:lnTo>
                    <a:pt x="39" y="125"/>
                  </a:lnTo>
                  <a:lnTo>
                    <a:pt x="31" y="128"/>
                  </a:lnTo>
                  <a:lnTo>
                    <a:pt x="30" y="152"/>
                  </a:lnTo>
                  <a:lnTo>
                    <a:pt x="30" y="165"/>
                  </a:lnTo>
                  <a:lnTo>
                    <a:pt x="48" y="149"/>
                  </a:lnTo>
                  <a:lnTo>
                    <a:pt x="61" y="140"/>
                  </a:lnTo>
                  <a:lnTo>
                    <a:pt x="72" y="140"/>
                  </a:lnTo>
                  <a:lnTo>
                    <a:pt x="78" y="151"/>
                  </a:lnTo>
                  <a:lnTo>
                    <a:pt x="76" y="162"/>
                  </a:lnTo>
                  <a:lnTo>
                    <a:pt x="84" y="165"/>
                  </a:lnTo>
                  <a:lnTo>
                    <a:pt x="99" y="159"/>
                  </a:lnTo>
                  <a:lnTo>
                    <a:pt x="120" y="159"/>
                  </a:lnTo>
                  <a:lnTo>
                    <a:pt x="128" y="166"/>
                  </a:lnTo>
                  <a:lnTo>
                    <a:pt x="143" y="154"/>
                  </a:lnTo>
                  <a:lnTo>
                    <a:pt x="177" y="160"/>
                  </a:lnTo>
                  <a:lnTo>
                    <a:pt x="181" y="172"/>
                  </a:lnTo>
                  <a:lnTo>
                    <a:pt x="196" y="181"/>
                  </a:lnTo>
                  <a:lnTo>
                    <a:pt x="187" y="199"/>
                  </a:lnTo>
                  <a:lnTo>
                    <a:pt x="168" y="214"/>
                  </a:lnTo>
                  <a:lnTo>
                    <a:pt x="156" y="232"/>
                  </a:lnTo>
                  <a:lnTo>
                    <a:pt x="155" y="251"/>
                  </a:lnTo>
                  <a:lnTo>
                    <a:pt x="161" y="272"/>
                  </a:lnTo>
                  <a:lnTo>
                    <a:pt x="153" y="299"/>
                  </a:lnTo>
                  <a:lnTo>
                    <a:pt x="158" y="326"/>
                  </a:lnTo>
                  <a:lnTo>
                    <a:pt x="126" y="356"/>
                  </a:lnTo>
                  <a:lnTo>
                    <a:pt x="132" y="380"/>
                  </a:lnTo>
                  <a:lnTo>
                    <a:pt x="146" y="401"/>
                  </a:lnTo>
                  <a:lnTo>
                    <a:pt x="137" y="447"/>
                  </a:lnTo>
                  <a:lnTo>
                    <a:pt x="150" y="465"/>
                  </a:lnTo>
                  <a:lnTo>
                    <a:pt x="149" y="469"/>
                  </a:lnTo>
                  <a:lnTo>
                    <a:pt x="129" y="492"/>
                  </a:lnTo>
                  <a:lnTo>
                    <a:pt x="120" y="518"/>
                  </a:lnTo>
                  <a:lnTo>
                    <a:pt x="122" y="542"/>
                  </a:lnTo>
                  <a:lnTo>
                    <a:pt x="134" y="539"/>
                  </a:lnTo>
                  <a:lnTo>
                    <a:pt x="137" y="543"/>
                  </a:lnTo>
                  <a:lnTo>
                    <a:pt x="141" y="537"/>
                  </a:lnTo>
                  <a:lnTo>
                    <a:pt x="147" y="543"/>
                  </a:lnTo>
                  <a:lnTo>
                    <a:pt x="165" y="545"/>
                  </a:lnTo>
                  <a:lnTo>
                    <a:pt x="193" y="569"/>
                  </a:lnTo>
                  <a:lnTo>
                    <a:pt x="190" y="585"/>
                  </a:lnTo>
                  <a:lnTo>
                    <a:pt x="196" y="592"/>
                  </a:lnTo>
                  <a:lnTo>
                    <a:pt x="194" y="599"/>
                  </a:lnTo>
                  <a:lnTo>
                    <a:pt x="208" y="622"/>
                  </a:lnTo>
                  <a:lnTo>
                    <a:pt x="214" y="622"/>
                  </a:lnTo>
                  <a:lnTo>
                    <a:pt x="223" y="625"/>
                  </a:lnTo>
                  <a:lnTo>
                    <a:pt x="227" y="628"/>
                  </a:lnTo>
                  <a:lnTo>
                    <a:pt x="238" y="631"/>
                  </a:lnTo>
                  <a:lnTo>
                    <a:pt x="245" y="635"/>
                  </a:lnTo>
                  <a:lnTo>
                    <a:pt x="250" y="623"/>
                  </a:lnTo>
                  <a:lnTo>
                    <a:pt x="271" y="598"/>
                  </a:lnTo>
                  <a:lnTo>
                    <a:pt x="297" y="596"/>
                  </a:lnTo>
                  <a:lnTo>
                    <a:pt x="310" y="588"/>
                  </a:lnTo>
                  <a:lnTo>
                    <a:pt x="318" y="578"/>
                  </a:lnTo>
                  <a:lnTo>
                    <a:pt x="357" y="581"/>
                  </a:lnTo>
                  <a:lnTo>
                    <a:pt x="378" y="584"/>
                  </a:lnTo>
                  <a:lnTo>
                    <a:pt x="405" y="578"/>
                  </a:lnTo>
                  <a:lnTo>
                    <a:pt x="420" y="585"/>
                  </a:lnTo>
                  <a:lnTo>
                    <a:pt x="446" y="572"/>
                  </a:lnTo>
                  <a:lnTo>
                    <a:pt x="461" y="578"/>
                  </a:lnTo>
                  <a:lnTo>
                    <a:pt x="467" y="573"/>
                  </a:lnTo>
                  <a:lnTo>
                    <a:pt x="473" y="557"/>
                  </a:lnTo>
                  <a:lnTo>
                    <a:pt x="481" y="546"/>
                  </a:lnTo>
                  <a:lnTo>
                    <a:pt x="482" y="528"/>
                  </a:lnTo>
                  <a:lnTo>
                    <a:pt x="497" y="524"/>
                  </a:lnTo>
                  <a:lnTo>
                    <a:pt x="500" y="512"/>
                  </a:lnTo>
                  <a:lnTo>
                    <a:pt x="515" y="513"/>
                  </a:lnTo>
                  <a:lnTo>
                    <a:pt x="533" y="509"/>
                  </a:lnTo>
                  <a:lnTo>
                    <a:pt x="544" y="512"/>
                  </a:lnTo>
                  <a:lnTo>
                    <a:pt x="547" y="507"/>
                  </a:lnTo>
                  <a:lnTo>
                    <a:pt x="541" y="498"/>
                  </a:lnTo>
                  <a:lnTo>
                    <a:pt x="552" y="477"/>
                  </a:lnTo>
                  <a:lnTo>
                    <a:pt x="555" y="463"/>
                  </a:lnTo>
                  <a:lnTo>
                    <a:pt x="565" y="451"/>
                  </a:lnTo>
                  <a:lnTo>
                    <a:pt x="568" y="442"/>
                  </a:lnTo>
                  <a:lnTo>
                    <a:pt x="582" y="438"/>
                  </a:lnTo>
                  <a:lnTo>
                    <a:pt x="595" y="421"/>
                  </a:lnTo>
                  <a:lnTo>
                    <a:pt x="606" y="417"/>
                  </a:lnTo>
                  <a:lnTo>
                    <a:pt x="600" y="412"/>
                  </a:lnTo>
                  <a:lnTo>
                    <a:pt x="597" y="403"/>
                  </a:lnTo>
                  <a:lnTo>
                    <a:pt x="586" y="403"/>
                  </a:lnTo>
                  <a:lnTo>
                    <a:pt x="574" y="374"/>
                  </a:lnTo>
                  <a:lnTo>
                    <a:pt x="567" y="368"/>
                  </a:lnTo>
                  <a:lnTo>
                    <a:pt x="573" y="365"/>
                  </a:lnTo>
                  <a:lnTo>
                    <a:pt x="573" y="344"/>
                  </a:lnTo>
                  <a:lnTo>
                    <a:pt x="628" y="266"/>
                  </a:lnTo>
                  <a:lnTo>
                    <a:pt x="639" y="257"/>
                  </a:lnTo>
                  <a:lnTo>
                    <a:pt x="638" y="261"/>
                  </a:lnTo>
                  <a:lnTo>
                    <a:pt x="641" y="264"/>
                  </a:lnTo>
                  <a:lnTo>
                    <a:pt x="647" y="255"/>
                  </a:lnTo>
                  <a:lnTo>
                    <a:pt x="636" y="248"/>
                  </a:lnTo>
                  <a:lnTo>
                    <a:pt x="647" y="232"/>
                  </a:lnTo>
                  <a:lnTo>
                    <a:pt x="692" y="217"/>
                  </a:lnTo>
                  <a:lnTo>
                    <a:pt x="722" y="208"/>
                  </a:lnTo>
                  <a:lnTo>
                    <a:pt x="742" y="184"/>
                  </a:lnTo>
                  <a:lnTo>
                    <a:pt x="761" y="174"/>
                  </a:lnTo>
                  <a:lnTo>
                    <a:pt x="787" y="162"/>
                  </a:lnTo>
                  <a:lnTo>
                    <a:pt x="791" y="152"/>
                  </a:lnTo>
                  <a:lnTo>
                    <a:pt x="793" y="145"/>
                  </a:lnTo>
                  <a:lnTo>
                    <a:pt x="785" y="136"/>
                  </a:lnTo>
                  <a:lnTo>
                    <a:pt x="787" y="128"/>
                  </a:lnTo>
                  <a:lnTo>
                    <a:pt x="791" y="124"/>
                  </a:lnTo>
                  <a:lnTo>
                    <a:pt x="797" y="125"/>
                  </a:lnTo>
                  <a:lnTo>
                    <a:pt x="800" y="119"/>
                  </a:lnTo>
                  <a:lnTo>
                    <a:pt x="790" y="116"/>
                  </a:lnTo>
                  <a:lnTo>
                    <a:pt x="793" y="106"/>
                  </a:lnTo>
                  <a:lnTo>
                    <a:pt x="785" y="101"/>
                  </a:lnTo>
                  <a:lnTo>
                    <a:pt x="782" y="106"/>
                  </a:lnTo>
                  <a:lnTo>
                    <a:pt x="764" y="107"/>
                  </a:lnTo>
                  <a:lnTo>
                    <a:pt x="764" y="107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992" name="Freeform 337"/>
            <p:cNvSpPr>
              <a:spLocks/>
            </p:cNvSpPr>
            <p:nvPr userDrawn="1"/>
          </p:nvSpPr>
          <p:spPr bwMode="auto">
            <a:xfrm>
              <a:off x="3933" y="3205"/>
              <a:ext cx="11" cy="6"/>
            </a:xfrm>
            <a:custGeom>
              <a:avLst/>
              <a:gdLst>
                <a:gd name="T0" fmla="*/ 2 w 11"/>
                <a:gd name="T1" fmla="*/ 2 h 6"/>
                <a:gd name="T2" fmla="*/ 0 w 11"/>
                <a:gd name="T3" fmla="*/ 6 h 6"/>
                <a:gd name="T4" fmla="*/ 11 w 11"/>
                <a:gd name="T5" fmla="*/ 3 h 6"/>
                <a:gd name="T6" fmla="*/ 8 w 11"/>
                <a:gd name="T7" fmla="*/ 0 h 6"/>
                <a:gd name="T8" fmla="*/ 2 w 11"/>
                <a:gd name="T9" fmla="*/ 2 h 6"/>
                <a:gd name="T10" fmla="*/ 2 w 11"/>
                <a:gd name="T11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" h="6">
                  <a:moveTo>
                    <a:pt x="2" y="2"/>
                  </a:moveTo>
                  <a:lnTo>
                    <a:pt x="0" y="6"/>
                  </a:lnTo>
                  <a:lnTo>
                    <a:pt x="11" y="3"/>
                  </a:lnTo>
                  <a:lnTo>
                    <a:pt x="8" y="0"/>
                  </a:lnTo>
                  <a:lnTo>
                    <a:pt x="2" y="2"/>
                  </a:lnTo>
                  <a:lnTo>
                    <a:pt x="2" y="2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993" name="Freeform 338"/>
            <p:cNvSpPr>
              <a:spLocks/>
            </p:cNvSpPr>
            <p:nvPr userDrawn="1"/>
          </p:nvSpPr>
          <p:spPr bwMode="auto">
            <a:xfrm>
              <a:off x="4676" y="3300"/>
              <a:ext cx="107" cy="249"/>
            </a:xfrm>
            <a:custGeom>
              <a:avLst/>
              <a:gdLst>
                <a:gd name="T0" fmla="*/ 73 w 107"/>
                <a:gd name="T1" fmla="*/ 238 h 249"/>
                <a:gd name="T2" fmla="*/ 76 w 107"/>
                <a:gd name="T3" fmla="*/ 225 h 249"/>
                <a:gd name="T4" fmla="*/ 92 w 107"/>
                <a:gd name="T5" fmla="*/ 201 h 249"/>
                <a:gd name="T6" fmla="*/ 104 w 107"/>
                <a:gd name="T7" fmla="*/ 189 h 249"/>
                <a:gd name="T8" fmla="*/ 107 w 107"/>
                <a:gd name="T9" fmla="*/ 175 h 249"/>
                <a:gd name="T10" fmla="*/ 104 w 107"/>
                <a:gd name="T11" fmla="*/ 154 h 249"/>
                <a:gd name="T12" fmla="*/ 87 w 107"/>
                <a:gd name="T13" fmla="*/ 133 h 249"/>
                <a:gd name="T14" fmla="*/ 79 w 107"/>
                <a:gd name="T15" fmla="*/ 106 h 249"/>
                <a:gd name="T16" fmla="*/ 87 w 107"/>
                <a:gd name="T17" fmla="*/ 69 h 249"/>
                <a:gd name="T18" fmla="*/ 82 w 107"/>
                <a:gd name="T19" fmla="*/ 47 h 249"/>
                <a:gd name="T20" fmla="*/ 84 w 107"/>
                <a:gd name="T21" fmla="*/ 38 h 249"/>
                <a:gd name="T22" fmla="*/ 63 w 107"/>
                <a:gd name="T23" fmla="*/ 24 h 249"/>
                <a:gd name="T24" fmla="*/ 52 w 107"/>
                <a:gd name="T25" fmla="*/ 9 h 249"/>
                <a:gd name="T26" fmla="*/ 48 w 107"/>
                <a:gd name="T27" fmla="*/ 14 h 249"/>
                <a:gd name="T28" fmla="*/ 30 w 107"/>
                <a:gd name="T29" fmla="*/ 11 h 249"/>
                <a:gd name="T30" fmla="*/ 28 w 107"/>
                <a:gd name="T31" fmla="*/ 3 h 249"/>
                <a:gd name="T32" fmla="*/ 24 w 107"/>
                <a:gd name="T33" fmla="*/ 0 h 249"/>
                <a:gd name="T34" fmla="*/ 16 w 107"/>
                <a:gd name="T35" fmla="*/ 11 h 249"/>
                <a:gd name="T36" fmla="*/ 13 w 107"/>
                <a:gd name="T37" fmla="*/ 27 h 249"/>
                <a:gd name="T38" fmla="*/ 3 w 107"/>
                <a:gd name="T39" fmla="*/ 56 h 249"/>
                <a:gd name="T40" fmla="*/ 9 w 107"/>
                <a:gd name="T41" fmla="*/ 85 h 249"/>
                <a:gd name="T42" fmla="*/ 15 w 107"/>
                <a:gd name="T43" fmla="*/ 88 h 249"/>
                <a:gd name="T44" fmla="*/ 18 w 107"/>
                <a:gd name="T45" fmla="*/ 92 h 249"/>
                <a:gd name="T46" fmla="*/ 9 w 107"/>
                <a:gd name="T47" fmla="*/ 103 h 249"/>
                <a:gd name="T48" fmla="*/ 7 w 107"/>
                <a:gd name="T49" fmla="*/ 107 h 249"/>
                <a:gd name="T50" fmla="*/ 10 w 107"/>
                <a:gd name="T51" fmla="*/ 116 h 249"/>
                <a:gd name="T52" fmla="*/ 6 w 107"/>
                <a:gd name="T53" fmla="*/ 119 h 249"/>
                <a:gd name="T54" fmla="*/ 7 w 107"/>
                <a:gd name="T55" fmla="*/ 124 h 249"/>
                <a:gd name="T56" fmla="*/ 12 w 107"/>
                <a:gd name="T57" fmla="*/ 131 h 249"/>
                <a:gd name="T58" fmla="*/ 7 w 107"/>
                <a:gd name="T59" fmla="*/ 137 h 249"/>
                <a:gd name="T60" fmla="*/ 12 w 107"/>
                <a:gd name="T61" fmla="*/ 143 h 249"/>
                <a:gd name="T62" fmla="*/ 10 w 107"/>
                <a:gd name="T63" fmla="*/ 149 h 249"/>
                <a:gd name="T64" fmla="*/ 9 w 107"/>
                <a:gd name="T65" fmla="*/ 159 h 249"/>
                <a:gd name="T66" fmla="*/ 6 w 107"/>
                <a:gd name="T67" fmla="*/ 163 h 249"/>
                <a:gd name="T68" fmla="*/ 0 w 107"/>
                <a:gd name="T69" fmla="*/ 171 h 249"/>
                <a:gd name="T70" fmla="*/ 0 w 107"/>
                <a:gd name="T71" fmla="*/ 178 h 249"/>
                <a:gd name="T72" fmla="*/ 4 w 107"/>
                <a:gd name="T73" fmla="*/ 184 h 249"/>
                <a:gd name="T74" fmla="*/ 9 w 107"/>
                <a:gd name="T75" fmla="*/ 186 h 249"/>
                <a:gd name="T76" fmla="*/ 9 w 107"/>
                <a:gd name="T77" fmla="*/ 189 h 249"/>
                <a:gd name="T78" fmla="*/ 9 w 107"/>
                <a:gd name="T79" fmla="*/ 195 h 249"/>
                <a:gd name="T80" fmla="*/ 3 w 107"/>
                <a:gd name="T81" fmla="*/ 190 h 249"/>
                <a:gd name="T82" fmla="*/ 1 w 107"/>
                <a:gd name="T83" fmla="*/ 193 h 249"/>
                <a:gd name="T84" fmla="*/ 7 w 107"/>
                <a:gd name="T85" fmla="*/ 204 h 249"/>
                <a:gd name="T86" fmla="*/ 9 w 107"/>
                <a:gd name="T87" fmla="*/ 208 h 249"/>
                <a:gd name="T88" fmla="*/ 15 w 107"/>
                <a:gd name="T89" fmla="*/ 220 h 249"/>
                <a:gd name="T90" fmla="*/ 28 w 107"/>
                <a:gd name="T91" fmla="*/ 226 h 249"/>
                <a:gd name="T92" fmla="*/ 39 w 107"/>
                <a:gd name="T93" fmla="*/ 234 h 249"/>
                <a:gd name="T94" fmla="*/ 42 w 107"/>
                <a:gd name="T95" fmla="*/ 243 h 249"/>
                <a:gd name="T96" fmla="*/ 40 w 107"/>
                <a:gd name="T97" fmla="*/ 248 h 249"/>
                <a:gd name="T98" fmla="*/ 43 w 107"/>
                <a:gd name="T99" fmla="*/ 249 h 249"/>
                <a:gd name="T100" fmla="*/ 57 w 107"/>
                <a:gd name="T101" fmla="*/ 248 h 249"/>
                <a:gd name="T102" fmla="*/ 73 w 107"/>
                <a:gd name="T103" fmla="*/ 238 h 249"/>
                <a:gd name="T104" fmla="*/ 73 w 107"/>
                <a:gd name="T105" fmla="*/ 238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07" h="249">
                  <a:moveTo>
                    <a:pt x="73" y="238"/>
                  </a:moveTo>
                  <a:lnTo>
                    <a:pt x="76" y="225"/>
                  </a:lnTo>
                  <a:lnTo>
                    <a:pt x="92" y="201"/>
                  </a:lnTo>
                  <a:lnTo>
                    <a:pt x="104" y="189"/>
                  </a:lnTo>
                  <a:lnTo>
                    <a:pt x="107" y="175"/>
                  </a:lnTo>
                  <a:lnTo>
                    <a:pt x="104" y="154"/>
                  </a:lnTo>
                  <a:lnTo>
                    <a:pt x="87" y="133"/>
                  </a:lnTo>
                  <a:lnTo>
                    <a:pt x="79" y="106"/>
                  </a:lnTo>
                  <a:lnTo>
                    <a:pt x="87" y="69"/>
                  </a:lnTo>
                  <a:lnTo>
                    <a:pt x="82" y="47"/>
                  </a:lnTo>
                  <a:lnTo>
                    <a:pt x="84" y="38"/>
                  </a:lnTo>
                  <a:lnTo>
                    <a:pt x="63" y="24"/>
                  </a:lnTo>
                  <a:lnTo>
                    <a:pt x="52" y="9"/>
                  </a:lnTo>
                  <a:lnTo>
                    <a:pt x="48" y="14"/>
                  </a:lnTo>
                  <a:lnTo>
                    <a:pt x="30" y="11"/>
                  </a:lnTo>
                  <a:lnTo>
                    <a:pt x="28" y="3"/>
                  </a:lnTo>
                  <a:lnTo>
                    <a:pt x="24" y="0"/>
                  </a:lnTo>
                  <a:lnTo>
                    <a:pt x="16" y="11"/>
                  </a:lnTo>
                  <a:lnTo>
                    <a:pt x="13" y="27"/>
                  </a:lnTo>
                  <a:lnTo>
                    <a:pt x="3" y="56"/>
                  </a:lnTo>
                  <a:lnTo>
                    <a:pt x="9" y="85"/>
                  </a:lnTo>
                  <a:lnTo>
                    <a:pt x="15" y="88"/>
                  </a:lnTo>
                  <a:lnTo>
                    <a:pt x="18" y="92"/>
                  </a:lnTo>
                  <a:lnTo>
                    <a:pt x="9" y="103"/>
                  </a:lnTo>
                  <a:lnTo>
                    <a:pt x="7" y="107"/>
                  </a:lnTo>
                  <a:lnTo>
                    <a:pt x="10" y="116"/>
                  </a:lnTo>
                  <a:lnTo>
                    <a:pt x="6" y="119"/>
                  </a:lnTo>
                  <a:lnTo>
                    <a:pt x="7" y="124"/>
                  </a:lnTo>
                  <a:lnTo>
                    <a:pt x="12" y="131"/>
                  </a:lnTo>
                  <a:lnTo>
                    <a:pt x="7" y="137"/>
                  </a:lnTo>
                  <a:lnTo>
                    <a:pt x="12" y="143"/>
                  </a:lnTo>
                  <a:lnTo>
                    <a:pt x="10" y="149"/>
                  </a:lnTo>
                  <a:lnTo>
                    <a:pt x="9" y="159"/>
                  </a:lnTo>
                  <a:lnTo>
                    <a:pt x="6" y="163"/>
                  </a:lnTo>
                  <a:lnTo>
                    <a:pt x="0" y="171"/>
                  </a:lnTo>
                  <a:lnTo>
                    <a:pt x="0" y="178"/>
                  </a:lnTo>
                  <a:lnTo>
                    <a:pt x="4" y="184"/>
                  </a:lnTo>
                  <a:lnTo>
                    <a:pt x="9" y="186"/>
                  </a:lnTo>
                  <a:lnTo>
                    <a:pt x="9" y="189"/>
                  </a:lnTo>
                  <a:lnTo>
                    <a:pt x="9" y="195"/>
                  </a:lnTo>
                  <a:lnTo>
                    <a:pt x="3" y="190"/>
                  </a:lnTo>
                  <a:lnTo>
                    <a:pt x="1" y="193"/>
                  </a:lnTo>
                  <a:lnTo>
                    <a:pt x="7" y="204"/>
                  </a:lnTo>
                  <a:lnTo>
                    <a:pt x="9" y="208"/>
                  </a:lnTo>
                  <a:lnTo>
                    <a:pt x="15" y="220"/>
                  </a:lnTo>
                  <a:lnTo>
                    <a:pt x="28" y="226"/>
                  </a:lnTo>
                  <a:lnTo>
                    <a:pt x="39" y="234"/>
                  </a:lnTo>
                  <a:lnTo>
                    <a:pt x="42" y="243"/>
                  </a:lnTo>
                  <a:lnTo>
                    <a:pt x="40" y="248"/>
                  </a:lnTo>
                  <a:lnTo>
                    <a:pt x="43" y="249"/>
                  </a:lnTo>
                  <a:lnTo>
                    <a:pt x="57" y="248"/>
                  </a:lnTo>
                  <a:lnTo>
                    <a:pt x="73" y="238"/>
                  </a:lnTo>
                  <a:lnTo>
                    <a:pt x="73" y="238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994" name="Freeform 339"/>
            <p:cNvSpPr>
              <a:spLocks/>
            </p:cNvSpPr>
            <p:nvPr userDrawn="1"/>
          </p:nvSpPr>
          <p:spPr bwMode="auto">
            <a:xfrm>
              <a:off x="4719" y="3371"/>
              <a:ext cx="426" cy="347"/>
            </a:xfrm>
            <a:custGeom>
              <a:avLst/>
              <a:gdLst>
                <a:gd name="T0" fmla="*/ 397 w 426"/>
                <a:gd name="T1" fmla="*/ 14 h 347"/>
                <a:gd name="T2" fmla="*/ 305 w 426"/>
                <a:gd name="T3" fmla="*/ 24 h 347"/>
                <a:gd name="T4" fmla="*/ 187 w 426"/>
                <a:gd name="T5" fmla="*/ 50 h 347"/>
                <a:gd name="T6" fmla="*/ 89 w 426"/>
                <a:gd name="T7" fmla="*/ 78 h 347"/>
                <a:gd name="T8" fmla="*/ 61 w 426"/>
                <a:gd name="T9" fmla="*/ 118 h 347"/>
                <a:gd name="T10" fmla="*/ 14 w 426"/>
                <a:gd name="T11" fmla="*/ 177 h 347"/>
                <a:gd name="T12" fmla="*/ 6 w 426"/>
                <a:gd name="T13" fmla="*/ 189 h 347"/>
                <a:gd name="T14" fmla="*/ 15 w 426"/>
                <a:gd name="T15" fmla="*/ 211 h 347"/>
                <a:gd name="T16" fmla="*/ 42 w 426"/>
                <a:gd name="T17" fmla="*/ 240 h 347"/>
                <a:gd name="T18" fmla="*/ 55 w 426"/>
                <a:gd name="T19" fmla="*/ 235 h 347"/>
                <a:gd name="T20" fmla="*/ 65 w 426"/>
                <a:gd name="T21" fmla="*/ 246 h 347"/>
                <a:gd name="T22" fmla="*/ 47 w 426"/>
                <a:gd name="T23" fmla="*/ 258 h 347"/>
                <a:gd name="T24" fmla="*/ 65 w 426"/>
                <a:gd name="T25" fmla="*/ 276 h 347"/>
                <a:gd name="T26" fmla="*/ 79 w 426"/>
                <a:gd name="T27" fmla="*/ 290 h 347"/>
                <a:gd name="T28" fmla="*/ 101 w 426"/>
                <a:gd name="T29" fmla="*/ 297 h 347"/>
                <a:gd name="T30" fmla="*/ 122 w 426"/>
                <a:gd name="T31" fmla="*/ 293 h 347"/>
                <a:gd name="T32" fmla="*/ 163 w 426"/>
                <a:gd name="T33" fmla="*/ 296 h 347"/>
                <a:gd name="T34" fmla="*/ 177 w 426"/>
                <a:gd name="T35" fmla="*/ 294 h 347"/>
                <a:gd name="T36" fmla="*/ 207 w 426"/>
                <a:gd name="T37" fmla="*/ 311 h 347"/>
                <a:gd name="T38" fmla="*/ 187 w 426"/>
                <a:gd name="T39" fmla="*/ 320 h 347"/>
                <a:gd name="T40" fmla="*/ 211 w 426"/>
                <a:gd name="T41" fmla="*/ 323 h 347"/>
                <a:gd name="T42" fmla="*/ 236 w 426"/>
                <a:gd name="T43" fmla="*/ 330 h 347"/>
                <a:gd name="T44" fmla="*/ 267 w 426"/>
                <a:gd name="T45" fmla="*/ 344 h 347"/>
                <a:gd name="T46" fmla="*/ 255 w 426"/>
                <a:gd name="T47" fmla="*/ 318 h 347"/>
                <a:gd name="T48" fmla="*/ 231 w 426"/>
                <a:gd name="T49" fmla="*/ 285 h 347"/>
                <a:gd name="T50" fmla="*/ 196 w 426"/>
                <a:gd name="T51" fmla="*/ 261 h 347"/>
                <a:gd name="T52" fmla="*/ 177 w 426"/>
                <a:gd name="T53" fmla="*/ 253 h 347"/>
                <a:gd name="T54" fmla="*/ 184 w 426"/>
                <a:gd name="T55" fmla="*/ 249 h 347"/>
                <a:gd name="T56" fmla="*/ 186 w 426"/>
                <a:gd name="T57" fmla="*/ 228 h 347"/>
                <a:gd name="T58" fmla="*/ 204 w 426"/>
                <a:gd name="T59" fmla="*/ 222 h 347"/>
                <a:gd name="T60" fmla="*/ 214 w 426"/>
                <a:gd name="T61" fmla="*/ 237 h 347"/>
                <a:gd name="T62" fmla="*/ 186 w 426"/>
                <a:gd name="T63" fmla="*/ 177 h 347"/>
                <a:gd name="T64" fmla="*/ 166 w 426"/>
                <a:gd name="T65" fmla="*/ 124 h 347"/>
                <a:gd name="T66" fmla="*/ 190 w 426"/>
                <a:gd name="T67" fmla="*/ 106 h 347"/>
                <a:gd name="T68" fmla="*/ 189 w 426"/>
                <a:gd name="T69" fmla="*/ 131 h 347"/>
                <a:gd name="T70" fmla="*/ 216 w 426"/>
                <a:gd name="T71" fmla="*/ 149 h 347"/>
                <a:gd name="T72" fmla="*/ 231 w 426"/>
                <a:gd name="T73" fmla="*/ 169 h 347"/>
                <a:gd name="T74" fmla="*/ 228 w 426"/>
                <a:gd name="T75" fmla="*/ 137 h 347"/>
                <a:gd name="T76" fmla="*/ 255 w 426"/>
                <a:gd name="T77" fmla="*/ 158 h 347"/>
                <a:gd name="T78" fmla="*/ 251 w 426"/>
                <a:gd name="T79" fmla="*/ 125 h 347"/>
                <a:gd name="T80" fmla="*/ 281 w 426"/>
                <a:gd name="T81" fmla="*/ 137 h 347"/>
                <a:gd name="T82" fmla="*/ 257 w 426"/>
                <a:gd name="T83" fmla="*/ 121 h 347"/>
                <a:gd name="T84" fmla="*/ 242 w 426"/>
                <a:gd name="T85" fmla="*/ 106 h 347"/>
                <a:gd name="T86" fmla="*/ 263 w 426"/>
                <a:gd name="T87" fmla="*/ 95 h 347"/>
                <a:gd name="T88" fmla="*/ 299 w 426"/>
                <a:gd name="T89" fmla="*/ 80 h 347"/>
                <a:gd name="T90" fmla="*/ 320 w 426"/>
                <a:gd name="T91" fmla="*/ 75 h 347"/>
                <a:gd name="T92" fmla="*/ 328 w 426"/>
                <a:gd name="T93" fmla="*/ 81 h 347"/>
                <a:gd name="T94" fmla="*/ 371 w 426"/>
                <a:gd name="T95" fmla="*/ 92 h 347"/>
                <a:gd name="T96" fmla="*/ 426 w 426"/>
                <a:gd name="T97" fmla="*/ 15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26" h="347">
                  <a:moveTo>
                    <a:pt x="426" y="15"/>
                  </a:moveTo>
                  <a:lnTo>
                    <a:pt x="412" y="0"/>
                  </a:lnTo>
                  <a:lnTo>
                    <a:pt x="392" y="5"/>
                  </a:lnTo>
                  <a:lnTo>
                    <a:pt x="397" y="14"/>
                  </a:lnTo>
                  <a:lnTo>
                    <a:pt x="397" y="26"/>
                  </a:lnTo>
                  <a:lnTo>
                    <a:pt x="388" y="33"/>
                  </a:lnTo>
                  <a:lnTo>
                    <a:pt x="346" y="41"/>
                  </a:lnTo>
                  <a:lnTo>
                    <a:pt x="305" y="24"/>
                  </a:lnTo>
                  <a:lnTo>
                    <a:pt x="276" y="17"/>
                  </a:lnTo>
                  <a:lnTo>
                    <a:pt x="243" y="35"/>
                  </a:lnTo>
                  <a:lnTo>
                    <a:pt x="211" y="32"/>
                  </a:lnTo>
                  <a:lnTo>
                    <a:pt x="187" y="50"/>
                  </a:lnTo>
                  <a:lnTo>
                    <a:pt x="163" y="60"/>
                  </a:lnTo>
                  <a:lnTo>
                    <a:pt x="130" y="60"/>
                  </a:lnTo>
                  <a:lnTo>
                    <a:pt x="112" y="78"/>
                  </a:lnTo>
                  <a:lnTo>
                    <a:pt x="89" y="78"/>
                  </a:lnTo>
                  <a:lnTo>
                    <a:pt x="76" y="72"/>
                  </a:lnTo>
                  <a:lnTo>
                    <a:pt x="61" y="83"/>
                  </a:lnTo>
                  <a:lnTo>
                    <a:pt x="64" y="104"/>
                  </a:lnTo>
                  <a:lnTo>
                    <a:pt x="61" y="118"/>
                  </a:lnTo>
                  <a:lnTo>
                    <a:pt x="49" y="130"/>
                  </a:lnTo>
                  <a:lnTo>
                    <a:pt x="33" y="154"/>
                  </a:lnTo>
                  <a:lnTo>
                    <a:pt x="30" y="167"/>
                  </a:lnTo>
                  <a:lnTo>
                    <a:pt x="14" y="177"/>
                  </a:lnTo>
                  <a:lnTo>
                    <a:pt x="0" y="178"/>
                  </a:lnTo>
                  <a:lnTo>
                    <a:pt x="2" y="184"/>
                  </a:lnTo>
                  <a:lnTo>
                    <a:pt x="8" y="184"/>
                  </a:lnTo>
                  <a:lnTo>
                    <a:pt x="6" y="189"/>
                  </a:lnTo>
                  <a:lnTo>
                    <a:pt x="11" y="195"/>
                  </a:lnTo>
                  <a:lnTo>
                    <a:pt x="12" y="205"/>
                  </a:lnTo>
                  <a:lnTo>
                    <a:pt x="18" y="207"/>
                  </a:lnTo>
                  <a:lnTo>
                    <a:pt x="15" y="211"/>
                  </a:lnTo>
                  <a:lnTo>
                    <a:pt x="24" y="223"/>
                  </a:lnTo>
                  <a:lnTo>
                    <a:pt x="35" y="223"/>
                  </a:lnTo>
                  <a:lnTo>
                    <a:pt x="41" y="232"/>
                  </a:lnTo>
                  <a:lnTo>
                    <a:pt x="42" y="240"/>
                  </a:lnTo>
                  <a:lnTo>
                    <a:pt x="46" y="243"/>
                  </a:lnTo>
                  <a:lnTo>
                    <a:pt x="47" y="237"/>
                  </a:lnTo>
                  <a:lnTo>
                    <a:pt x="50" y="231"/>
                  </a:lnTo>
                  <a:lnTo>
                    <a:pt x="55" y="235"/>
                  </a:lnTo>
                  <a:lnTo>
                    <a:pt x="65" y="235"/>
                  </a:lnTo>
                  <a:lnTo>
                    <a:pt x="68" y="240"/>
                  </a:lnTo>
                  <a:lnTo>
                    <a:pt x="70" y="249"/>
                  </a:lnTo>
                  <a:lnTo>
                    <a:pt x="65" y="246"/>
                  </a:lnTo>
                  <a:lnTo>
                    <a:pt x="59" y="241"/>
                  </a:lnTo>
                  <a:lnTo>
                    <a:pt x="49" y="244"/>
                  </a:lnTo>
                  <a:lnTo>
                    <a:pt x="46" y="250"/>
                  </a:lnTo>
                  <a:lnTo>
                    <a:pt x="47" y="258"/>
                  </a:lnTo>
                  <a:lnTo>
                    <a:pt x="58" y="260"/>
                  </a:lnTo>
                  <a:lnTo>
                    <a:pt x="59" y="272"/>
                  </a:lnTo>
                  <a:lnTo>
                    <a:pt x="65" y="270"/>
                  </a:lnTo>
                  <a:lnTo>
                    <a:pt x="65" y="276"/>
                  </a:lnTo>
                  <a:lnTo>
                    <a:pt x="71" y="284"/>
                  </a:lnTo>
                  <a:lnTo>
                    <a:pt x="73" y="293"/>
                  </a:lnTo>
                  <a:lnTo>
                    <a:pt x="77" y="294"/>
                  </a:lnTo>
                  <a:lnTo>
                    <a:pt x="79" y="290"/>
                  </a:lnTo>
                  <a:lnTo>
                    <a:pt x="83" y="284"/>
                  </a:lnTo>
                  <a:lnTo>
                    <a:pt x="91" y="294"/>
                  </a:lnTo>
                  <a:lnTo>
                    <a:pt x="101" y="297"/>
                  </a:lnTo>
                  <a:lnTo>
                    <a:pt x="101" y="297"/>
                  </a:lnTo>
                  <a:lnTo>
                    <a:pt x="104" y="294"/>
                  </a:lnTo>
                  <a:lnTo>
                    <a:pt x="109" y="291"/>
                  </a:lnTo>
                  <a:lnTo>
                    <a:pt x="109" y="291"/>
                  </a:lnTo>
                  <a:lnTo>
                    <a:pt x="122" y="293"/>
                  </a:lnTo>
                  <a:lnTo>
                    <a:pt x="139" y="290"/>
                  </a:lnTo>
                  <a:lnTo>
                    <a:pt x="147" y="296"/>
                  </a:lnTo>
                  <a:lnTo>
                    <a:pt x="156" y="291"/>
                  </a:lnTo>
                  <a:lnTo>
                    <a:pt x="163" y="296"/>
                  </a:lnTo>
                  <a:lnTo>
                    <a:pt x="166" y="293"/>
                  </a:lnTo>
                  <a:lnTo>
                    <a:pt x="168" y="302"/>
                  </a:lnTo>
                  <a:lnTo>
                    <a:pt x="178" y="303"/>
                  </a:lnTo>
                  <a:lnTo>
                    <a:pt x="177" y="294"/>
                  </a:lnTo>
                  <a:lnTo>
                    <a:pt x="187" y="306"/>
                  </a:lnTo>
                  <a:lnTo>
                    <a:pt x="192" y="308"/>
                  </a:lnTo>
                  <a:lnTo>
                    <a:pt x="198" y="306"/>
                  </a:lnTo>
                  <a:lnTo>
                    <a:pt x="207" y="311"/>
                  </a:lnTo>
                  <a:lnTo>
                    <a:pt x="210" y="317"/>
                  </a:lnTo>
                  <a:lnTo>
                    <a:pt x="202" y="317"/>
                  </a:lnTo>
                  <a:lnTo>
                    <a:pt x="195" y="315"/>
                  </a:lnTo>
                  <a:lnTo>
                    <a:pt x="187" y="320"/>
                  </a:lnTo>
                  <a:lnTo>
                    <a:pt x="193" y="323"/>
                  </a:lnTo>
                  <a:lnTo>
                    <a:pt x="198" y="327"/>
                  </a:lnTo>
                  <a:lnTo>
                    <a:pt x="214" y="326"/>
                  </a:lnTo>
                  <a:lnTo>
                    <a:pt x="211" y="323"/>
                  </a:lnTo>
                  <a:lnTo>
                    <a:pt x="222" y="318"/>
                  </a:lnTo>
                  <a:lnTo>
                    <a:pt x="231" y="320"/>
                  </a:lnTo>
                  <a:lnTo>
                    <a:pt x="230" y="326"/>
                  </a:lnTo>
                  <a:lnTo>
                    <a:pt x="236" y="330"/>
                  </a:lnTo>
                  <a:lnTo>
                    <a:pt x="243" y="339"/>
                  </a:lnTo>
                  <a:lnTo>
                    <a:pt x="249" y="339"/>
                  </a:lnTo>
                  <a:lnTo>
                    <a:pt x="255" y="347"/>
                  </a:lnTo>
                  <a:lnTo>
                    <a:pt x="267" y="344"/>
                  </a:lnTo>
                  <a:lnTo>
                    <a:pt x="261" y="335"/>
                  </a:lnTo>
                  <a:lnTo>
                    <a:pt x="255" y="326"/>
                  </a:lnTo>
                  <a:lnTo>
                    <a:pt x="257" y="321"/>
                  </a:lnTo>
                  <a:lnTo>
                    <a:pt x="255" y="318"/>
                  </a:lnTo>
                  <a:lnTo>
                    <a:pt x="258" y="308"/>
                  </a:lnTo>
                  <a:lnTo>
                    <a:pt x="252" y="300"/>
                  </a:lnTo>
                  <a:lnTo>
                    <a:pt x="237" y="293"/>
                  </a:lnTo>
                  <a:lnTo>
                    <a:pt x="231" y="285"/>
                  </a:lnTo>
                  <a:lnTo>
                    <a:pt x="220" y="284"/>
                  </a:lnTo>
                  <a:lnTo>
                    <a:pt x="216" y="281"/>
                  </a:lnTo>
                  <a:lnTo>
                    <a:pt x="211" y="270"/>
                  </a:lnTo>
                  <a:lnTo>
                    <a:pt x="196" y="261"/>
                  </a:lnTo>
                  <a:lnTo>
                    <a:pt x="196" y="266"/>
                  </a:lnTo>
                  <a:lnTo>
                    <a:pt x="187" y="264"/>
                  </a:lnTo>
                  <a:lnTo>
                    <a:pt x="187" y="258"/>
                  </a:lnTo>
                  <a:lnTo>
                    <a:pt x="177" y="253"/>
                  </a:lnTo>
                  <a:lnTo>
                    <a:pt x="163" y="252"/>
                  </a:lnTo>
                  <a:lnTo>
                    <a:pt x="165" y="244"/>
                  </a:lnTo>
                  <a:lnTo>
                    <a:pt x="175" y="247"/>
                  </a:lnTo>
                  <a:lnTo>
                    <a:pt x="184" y="249"/>
                  </a:lnTo>
                  <a:lnTo>
                    <a:pt x="192" y="246"/>
                  </a:lnTo>
                  <a:lnTo>
                    <a:pt x="199" y="234"/>
                  </a:lnTo>
                  <a:lnTo>
                    <a:pt x="190" y="231"/>
                  </a:lnTo>
                  <a:lnTo>
                    <a:pt x="186" y="228"/>
                  </a:lnTo>
                  <a:lnTo>
                    <a:pt x="189" y="223"/>
                  </a:lnTo>
                  <a:lnTo>
                    <a:pt x="186" y="217"/>
                  </a:lnTo>
                  <a:lnTo>
                    <a:pt x="193" y="210"/>
                  </a:lnTo>
                  <a:lnTo>
                    <a:pt x="204" y="222"/>
                  </a:lnTo>
                  <a:lnTo>
                    <a:pt x="210" y="228"/>
                  </a:lnTo>
                  <a:lnTo>
                    <a:pt x="201" y="229"/>
                  </a:lnTo>
                  <a:lnTo>
                    <a:pt x="201" y="235"/>
                  </a:lnTo>
                  <a:lnTo>
                    <a:pt x="214" y="237"/>
                  </a:lnTo>
                  <a:lnTo>
                    <a:pt x="216" y="217"/>
                  </a:lnTo>
                  <a:lnTo>
                    <a:pt x="196" y="198"/>
                  </a:lnTo>
                  <a:lnTo>
                    <a:pt x="187" y="195"/>
                  </a:lnTo>
                  <a:lnTo>
                    <a:pt x="186" y="177"/>
                  </a:lnTo>
                  <a:lnTo>
                    <a:pt x="171" y="161"/>
                  </a:lnTo>
                  <a:lnTo>
                    <a:pt x="166" y="146"/>
                  </a:lnTo>
                  <a:lnTo>
                    <a:pt x="169" y="136"/>
                  </a:lnTo>
                  <a:lnTo>
                    <a:pt x="166" y="124"/>
                  </a:lnTo>
                  <a:lnTo>
                    <a:pt x="172" y="115"/>
                  </a:lnTo>
                  <a:lnTo>
                    <a:pt x="178" y="110"/>
                  </a:lnTo>
                  <a:lnTo>
                    <a:pt x="180" y="103"/>
                  </a:lnTo>
                  <a:lnTo>
                    <a:pt x="190" y="106"/>
                  </a:lnTo>
                  <a:lnTo>
                    <a:pt x="189" y="113"/>
                  </a:lnTo>
                  <a:lnTo>
                    <a:pt x="186" y="119"/>
                  </a:lnTo>
                  <a:lnTo>
                    <a:pt x="187" y="125"/>
                  </a:lnTo>
                  <a:lnTo>
                    <a:pt x="189" y="131"/>
                  </a:lnTo>
                  <a:lnTo>
                    <a:pt x="198" y="130"/>
                  </a:lnTo>
                  <a:lnTo>
                    <a:pt x="201" y="139"/>
                  </a:lnTo>
                  <a:lnTo>
                    <a:pt x="213" y="142"/>
                  </a:lnTo>
                  <a:lnTo>
                    <a:pt x="216" y="149"/>
                  </a:lnTo>
                  <a:lnTo>
                    <a:pt x="213" y="160"/>
                  </a:lnTo>
                  <a:lnTo>
                    <a:pt x="219" y="166"/>
                  </a:lnTo>
                  <a:lnTo>
                    <a:pt x="222" y="161"/>
                  </a:lnTo>
                  <a:lnTo>
                    <a:pt x="231" y="169"/>
                  </a:lnTo>
                  <a:lnTo>
                    <a:pt x="240" y="164"/>
                  </a:lnTo>
                  <a:lnTo>
                    <a:pt x="219" y="148"/>
                  </a:lnTo>
                  <a:lnTo>
                    <a:pt x="220" y="140"/>
                  </a:lnTo>
                  <a:lnTo>
                    <a:pt x="228" y="137"/>
                  </a:lnTo>
                  <a:lnTo>
                    <a:pt x="234" y="142"/>
                  </a:lnTo>
                  <a:lnTo>
                    <a:pt x="236" y="151"/>
                  </a:lnTo>
                  <a:lnTo>
                    <a:pt x="245" y="160"/>
                  </a:lnTo>
                  <a:lnTo>
                    <a:pt x="255" y="158"/>
                  </a:lnTo>
                  <a:lnTo>
                    <a:pt x="255" y="149"/>
                  </a:lnTo>
                  <a:lnTo>
                    <a:pt x="237" y="139"/>
                  </a:lnTo>
                  <a:lnTo>
                    <a:pt x="237" y="130"/>
                  </a:lnTo>
                  <a:lnTo>
                    <a:pt x="251" y="125"/>
                  </a:lnTo>
                  <a:lnTo>
                    <a:pt x="257" y="131"/>
                  </a:lnTo>
                  <a:lnTo>
                    <a:pt x="261" y="130"/>
                  </a:lnTo>
                  <a:lnTo>
                    <a:pt x="273" y="143"/>
                  </a:lnTo>
                  <a:lnTo>
                    <a:pt x="281" y="137"/>
                  </a:lnTo>
                  <a:lnTo>
                    <a:pt x="275" y="131"/>
                  </a:lnTo>
                  <a:lnTo>
                    <a:pt x="264" y="125"/>
                  </a:lnTo>
                  <a:lnTo>
                    <a:pt x="257" y="115"/>
                  </a:lnTo>
                  <a:lnTo>
                    <a:pt x="257" y="121"/>
                  </a:lnTo>
                  <a:lnTo>
                    <a:pt x="248" y="119"/>
                  </a:lnTo>
                  <a:lnTo>
                    <a:pt x="245" y="113"/>
                  </a:lnTo>
                  <a:lnTo>
                    <a:pt x="249" y="109"/>
                  </a:lnTo>
                  <a:lnTo>
                    <a:pt x="242" y="106"/>
                  </a:lnTo>
                  <a:lnTo>
                    <a:pt x="240" y="98"/>
                  </a:lnTo>
                  <a:lnTo>
                    <a:pt x="248" y="89"/>
                  </a:lnTo>
                  <a:lnTo>
                    <a:pt x="260" y="95"/>
                  </a:lnTo>
                  <a:lnTo>
                    <a:pt x="263" y="95"/>
                  </a:lnTo>
                  <a:lnTo>
                    <a:pt x="273" y="92"/>
                  </a:lnTo>
                  <a:lnTo>
                    <a:pt x="279" y="86"/>
                  </a:lnTo>
                  <a:lnTo>
                    <a:pt x="279" y="80"/>
                  </a:lnTo>
                  <a:lnTo>
                    <a:pt x="299" y="80"/>
                  </a:lnTo>
                  <a:lnTo>
                    <a:pt x="302" y="83"/>
                  </a:lnTo>
                  <a:lnTo>
                    <a:pt x="309" y="83"/>
                  </a:lnTo>
                  <a:lnTo>
                    <a:pt x="317" y="80"/>
                  </a:lnTo>
                  <a:lnTo>
                    <a:pt x="320" y="75"/>
                  </a:lnTo>
                  <a:lnTo>
                    <a:pt x="320" y="69"/>
                  </a:lnTo>
                  <a:lnTo>
                    <a:pt x="329" y="68"/>
                  </a:lnTo>
                  <a:lnTo>
                    <a:pt x="325" y="74"/>
                  </a:lnTo>
                  <a:lnTo>
                    <a:pt x="328" y="81"/>
                  </a:lnTo>
                  <a:lnTo>
                    <a:pt x="334" y="78"/>
                  </a:lnTo>
                  <a:lnTo>
                    <a:pt x="346" y="80"/>
                  </a:lnTo>
                  <a:lnTo>
                    <a:pt x="362" y="88"/>
                  </a:lnTo>
                  <a:lnTo>
                    <a:pt x="371" y="92"/>
                  </a:lnTo>
                  <a:lnTo>
                    <a:pt x="380" y="94"/>
                  </a:lnTo>
                  <a:lnTo>
                    <a:pt x="388" y="94"/>
                  </a:lnTo>
                  <a:lnTo>
                    <a:pt x="418" y="54"/>
                  </a:lnTo>
                  <a:lnTo>
                    <a:pt x="426" y="15"/>
                  </a:lnTo>
                  <a:lnTo>
                    <a:pt x="426" y="15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995" name="Freeform 340"/>
            <p:cNvSpPr>
              <a:spLocks/>
            </p:cNvSpPr>
            <p:nvPr userDrawn="1"/>
          </p:nvSpPr>
          <p:spPr bwMode="auto">
            <a:xfrm>
              <a:off x="5107" y="3350"/>
              <a:ext cx="193" cy="173"/>
            </a:xfrm>
            <a:custGeom>
              <a:avLst/>
              <a:gdLst>
                <a:gd name="T0" fmla="*/ 99 w 193"/>
                <a:gd name="T1" fmla="*/ 13 h 173"/>
                <a:gd name="T2" fmla="*/ 86 w 193"/>
                <a:gd name="T3" fmla="*/ 13 h 173"/>
                <a:gd name="T4" fmla="*/ 84 w 193"/>
                <a:gd name="T5" fmla="*/ 7 h 173"/>
                <a:gd name="T6" fmla="*/ 65 w 193"/>
                <a:gd name="T7" fmla="*/ 0 h 173"/>
                <a:gd name="T8" fmla="*/ 60 w 193"/>
                <a:gd name="T9" fmla="*/ 4 h 173"/>
                <a:gd name="T10" fmla="*/ 44 w 193"/>
                <a:gd name="T11" fmla="*/ 7 h 173"/>
                <a:gd name="T12" fmla="*/ 38 w 193"/>
                <a:gd name="T13" fmla="*/ 19 h 173"/>
                <a:gd name="T14" fmla="*/ 24 w 193"/>
                <a:gd name="T15" fmla="*/ 21 h 173"/>
                <a:gd name="T16" fmla="*/ 38 w 193"/>
                <a:gd name="T17" fmla="*/ 36 h 173"/>
                <a:gd name="T18" fmla="*/ 30 w 193"/>
                <a:gd name="T19" fmla="*/ 75 h 173"/>
                <a:gd name="T20" fmla="*/ 0 w 193"/>
                <a:gd name="T21" fmla="*/ 115 h 173"/>
                <a:gd name="T22" fmla="*/ 1 w 193"/>
                <a:gd name="T23" fmla="*/ 121 h 173"/>
                <a:gd name="T24" fmla="*/ 4 w 193"/>
                <a:gd name="T25" fmla="*/ 131 h 173"/>
                <a:gd name="T26" fmla="*/ 15 w 193"/>
                <a:gd name="T27" fmla="*/ 134 h 173"/>
                <a:gd name="T28" fmla="*/ 27 w 193"/>
                <a:gd name="T29" fmla="*/ 128 h 173"/>
                <a:gd name="T30" fmla="*/ 42 w 193"/>
                <a:gd name="T31" fmla="*/ 124 h 173"/>
                <a:gd name="T32" fmla="*/ 48 w 193"/>
                <a:gd name="T33" fmla="*/ 122 h 173"/>
                <a:gd name="T34" fmla="*/ 48 w 193"/>
                <a:gd name="T35" fmla="*/ 128 h 173"/>
                <a:gd name="T36" fmla="*/ 44 w 193"/>
                <a:gd name="T37" fmla="*/ 130 h 173"/>
                <a:gd name="T38" fmla="*/ 29 w 193"/>
                <a:gd name="T39" fmla="*/ 140 h 173"/>
                <a:gd name="T40" fmla="*/ 16 w 193"/>
                <a:gd name="T41" fmla="*/ 148 h 173"/>
                <a:gd name="T42" fmla="*/ 9 w 193"/>
                <a:gd name="T43" fmla="*/ 152 h 173"/>
                <a:gd name="T44" fmla="*/ 4 w 193"/>
                <a:gd name="T45" fmla="*/ 157 h 173"/>
                <a:gd name="T46" fmla="*/ 9 w 193"/>
                <a:gd name="T47" fmla="*/ 163 h 173"/>
                <a:gd name="T48" fmla="*/ 7 w 193"/>
                <a:gd name="T49" fmla="*/ 169 h 173"/>
                <a:gd name="T50" fmla="*/ 4 w 193"/>
                <a:gd name="T51" fmla="*/ 173 h 173"/>
                <a:gd name="T52" fmla="*/ 7 w 193"/>
                <a:gd name="T53" fmla="*/ 173 h 173"/>
                <a:gd name="T54" fmla="*/ 20 w 193"/>
                <a:gd name="T55" fmla="*/ 167 h 173"/>
                <a:gd name="T56" fmla="*/ 20 w 193"/>
                <a:gd name="T57" fmla="*/ 161 h 173"/>
                <a:gd name="T58" fmla="*/ 32 w 193"/>
                <a:gd name="T59" fmla="*/ 151 h 173"/>
                <a:gd name="T60" fmla="*/ 42 w 193"/>
                <a:gd name="T61" fmla="*/ 139 h 173"/>
                <a:gd name="T62" fmla="*/ 60 w 193"/>
                <a:gd name="T63" fmla="*/ 130 h 173"/>
                <a:gd name="T64" fmla="*/ 78 w 193"/>
                <a:gd name="T65" fmla="*/ 121 h 173"/>
                <a:gd name="T66" fmla="*/ 84 w 193"/>
                <a:gd name="T67" fmla="*/ 113 h 173"/>
                <a:gd name="T68" fmla="*/ 90 w 193"/>
                <a:gd name="T69" fmla="*/ 98 h 173"/>
                <a:gd name="T70" fmla="*/ 99 w 193"/>
                <a:gd name="T71" fmla="*/ 95 h 173"/>
                <a:gd name="T72" fmla="*/ 116 w 193"/>
                <a:gd name="T73" fmla="*/ 99 h 173"/>
                <a:gd name="T74" fmla="*/ 133 w 193"/>
                <a:gd name="T75" fmla="*/ 93 h 173"/>
                <a:gd name="T76" fmla="*/ 142 w 193"/>
                <a:gd name="T77" fmla="*/ 93 h 173"/>
                <a:gd name="T78" fmla="*/ 158 w 193"/>
                <a:gd name="T79" fmla="*/ 96 h 173"/>
                <a:gd name="T80" fmla="*/ 169 w 193"/>
                <a:gd name="T81" fmla="*/ 96 h 173"/>
                <a:gd name="T82" fmla="*/ 176 w 193"/>
                <a:gd name="T83" fmla="*/ 98 h 173"/>
                <a:gd name="T84" fmla="*/ 187 w 193"/>
                <a:gd name="T85" fmla="*/ 99 h 173"/>
                <a:gd name="T86" fmla="*/ 188 w 193"/>
                <a:gd name="T87" fmla="*/ 95 h 173"/>
                <a:gd name="T88" fmla="*/ 191 w 193"/>
                <a:gd name="T89" fmla="*/ 87 h 173"/>
                <a:gd name="T90" fmla="*/ 190 w 193"/>
                <a:gd name="T91" fmla="*/ 86 h 173"/>
                <a:gd name="T92" fmla="*/ 191 w 193"/>
                <a:gd name="T93" fmla="*/ 84 h 173"/>
                <a:gd name="T94" fmla="*/ 193 w 193"/>
                <a:gd name="T95" fmla="*/ 80 h 173"/>
                <a:gd name="T96" fmla="*/ 190 w 193"/>
                <a:gd name="T97" fmla="*/ 74 h 173"/>
                <a:gd name="T98" fmla="*/ 185 w 193"/>
                <a:gd name="T99" fmla="*/ 75 h 173"/>
                <a:gd name="T100" fmla="*/ 176 w 193"/>
                <a:gd name="T101" fmla="*/ 74 h 173"/>
                <a:gd name="T102" fmla="*/ 154 w 193"/>
                <a:gd name="T103" fmla="*/ 63 h 173"/>
                <a:gd name="T104" fmla="*/ 137 w 193"/>
                <a:gd name="T105" fmla="*/ 50 h 173"/>
                <a:gd name="T106" fmla="*/ 128 w 193"/>
                <a:gd name="T107" fmla="*/ 30 h 173"/>
                <a:gd name="T108" fmla="*/ 124 w 193"/>
                <a:gd name="T109" fmla="*/ 6 h 173"/>
                <a:gd name="T110" fmla="*/ 110 w 193"/>
                <a:gd name="T111" fmla="*/ 7 h 173"/>
                <a:gd name="T112" fmla="*/ 99 w 193"/>
                <a:gd name="T113" fmla="*/ 13 h 173"/>
                <a:gd name="T114" fmla="*/ 99 w 193"/>
                <a:gd name="T115" fmla="*/ 13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93" h="173">
                  <a:moveTo>
                    <a:pt x="99" y="13"/>
                  </a:moveTo>
                  <a:lnTo>
                    <a:pt x="86" y="13"/>
                  </a:lnTo>
                  <a:lnTo>
                    <a:pt x="84" y="7"/>
                  </a:lnTo>
                  <a:lnTo>
                    <a:pt x="65" y="0"/>
                  </a:lnTo>
                  <a:lnTo>
                    <a:pt x="60" y="4"/>
                  </a:lnTo>
                  <a:lnTo>
                    <a:pt x="44" y="7"/>
                  </a:lnTo>
                  <a:lnTo>
                    <a:pt x="38" y="19"/>
                  </a:lnTo>
                  <a:lnTo>
                    <a:pt x="24" y="21"/>
                  </a:lnTo>
                  <a:lnTo>
                    <a:pt x="38" y="36"/>
                  </a:lnTo>
                  <a:lnTo>
                    <a:pt x="30" y="75"/>
                  </a:lnTo>
                  <a:lnTo>
                    <a:pt x="0" y="115"/>
                  </a:lnTo>
                  <a:lnTo>
                    <a:pt x="1" y="121"/>
                  </a:lnTo>
                  <a:lnTo>
                    <a:pt x="4" y="131"/>
                  </a:lnTo>
                  <a:lnTo>
                    <a:pt x="15" y="134"/>
                  </a:lnTo>
                  <a:lnTo>
                    <a:pt x="27" y="128"/>
                  </a:lnTo>
                  <a:lnTo>
                    <a:pt x="42" y="124"/>
                  </a:lnTo>
                  <a:lnTo>
                    <a:pt x="48" y="122"/>
                  </a:lnTo>
                  <a:lnTo>
                    <a:pt x="48" y="128"/>
                  </a:lnTo>
                  <a:lnTo>
                    <a:pt x="44" y="130"/>
                  </a:lnTo>
                  <a:lnTo>
                    <a:pt x="29" y="140"/>
                  </a:lnTo>
                  <a:lnTo>
                    <a:pt x="16" y="148"/>
                  </a:lnTo>
                  <a:lnTo>
                    <a:pt x="9" y="152"/>
                  </a:lnTo>
                  <a:lnTo>
                    <a:pt x="4" y="157"/>
                  </a:lnTo>
                  <a:lnTo>
                    <a:pt x="9" y="163"/>
                  </a:lnTo>
                  <a:lnTo>
                    <a:pt x="7" y="169"/>
                  </a:lnTo>
                  <a:lnTo>
                    <a:pt x="4" y="173"/>
                  </a:lnTo>
                  <a:lnTo>
                    <a:pt x="7" y="173"/>
                  </a:lnTo>
                  <a:lnTo>
                    <a:pt x="20" y="167"/>
                  </a:lnTo>
                  <a:lnTo>
                    <a:pt x="20" y="161"/>
                  </a:lnTo>
                  <a:lnTo>
                    <a:pt x="32" y="151"/>
                  </a:lnTo>
                  <a:lnTo>
                    <a:pt x="42" y="139"/>
                  </a:lnTo>
                  <a:lnTo>
                    <a:pt x="60" y="130"/>
                  </a:lnTo>
                  <a:lnTo>
                    <a:pt x="78" y="121"/>
                  </a:lnTo>
                  <a:lnTo>
                    <a:pt x="84" y="113"/>
                  </a:lnTo>
                  <a:lnTo>
                    <a:pt x="90" y="98"/>
                  </a:lnTo>
                  <a:lnTo>
                    <a:pt x="99" y="95"/>
                  </a:lnTo>
                  <a:lnTo>
                    <a:pt x="116" y="99"/>
                  </a:lnTo>
                  <a:lnTo>
                    <a:pt x="133" y="93"/>
                  </a:lnTo>
                  <a:lnTo>
                    <a:pt x="142" y="93"/>
                  </a:lnTo>
                  <a:lnTo>
                    <a:pt x="158" y="96"/>
                  </a:lnTo>
                  <a:lnTo>
                    <a:pt x="169" y="96"/>
                  </a:lnTo>
                  <a:lnTo>
                    <a:pt x="176" y="98"/>
                  </a:lnTo>
                  <a:lnTo>
                    <a:pt x="187" y="99"/>
                  </a:lnTo>
                  <a:lnTo>
                    <a:pt x="188" y="95"/>
                  </a:lnTo>
                  <a:lnTo>
                    <a:pt x="191" y="87"/>
                  </a:lnTo>
                  <a:lnTo>
                    <a:pt x="190" y="86"/>
                  </a:lnTo>
                  <a:lnTo>
                    <a:pt x="191" y="84"/>
                  </a:lnTo>
                  <a:lnTo>
                    <a:pt x="193" y="80"/>
                  </a:lnTo>
                  <a:lnTo>
                    <a:pt x="190" y="74"/>
                  </a:lnTo>
                  <a:lnTo>
                    <a:pt x="185" y="75"/>
                  </a:lnTo>
                  <a:lnTo>
                    <a:pt x="176" y="74"/>
                  </a:lnTo>
                  <a:lnTo>
                    <a:pt x="154" y="63"/>
                  </a:lnTo>
                  <a:lnTo>
                    <a:pt x="137" y="50"/>
                  </a:lnTo>
                  <a:lnTo>
                    <a:pt x="128" y="30"/>
                  </a:lnTo>
                  <a:lnTo>
                    <a:pt x="124" y="6"/>
                  </a:lnTo>
                  <a:lnTo>
                    <a:pt x="110" y="7"/>
                  </a:lnTo>
                  <a:lnTo>
                    <a:pt x="99" y="13"/>
                  </a:lnTo>
                  <a:lnTo>
                    <a:pt x="99" y="13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996" name="Freeform 341"/>
            <p:cNvSpPr>
              <a:spLocks/>
            </p:cNvSpPr>
            <p:nvPr userDrawn="1"/>
          </p:nvSpPr>
          <p:spPr bwMode="auto">
            <a:xfrm>
              <a:off x="4881" y="3164"/>
              <a:ext cx="395" cy="257"/>
            </a:xfrm>
            <a:custGeom>
              <a:avLst/>
              <a:gdLst>
                <a:gd name="T0" fmla="*/ 336 w 395"/>
                <a:gd name="T1" fmla="*/ 11 h 257"/>
                <a:gd name="T2" fmla="*/ 286 w 395"/>
                <a:gd name="T3" fmla="*/ 5 h 257"/>
                <a:gd name="T4" fmla="*/ 191 w 395"/>
                <a:gd name="T5" fmla="*/ 52 h 257"/>
                <a:gd name="T6" fmla="*/ 116 w 395"/>
                <a:gd name="T7" fmla="*/ 43 h 257"/>
                <a:gd name="T8" fmla="*/ 55 w 395"/>
                <a:gd name="T9" fmla="*/ 35 h 257"/>
                <a:gd name="T10" fmla="*/ 19 w 395"/>
                <a:gd name="T11" fmla="*/ 21 h 257"/>
                <a:gd name="T12" fmla="*/ 34 w 395"/>
                <a:gd name="T13" fmla="*/ 2 h 257"/>
                <a:gd name="T14" fmla="*/ 0 w 395"/>
                <a:gd name="T15" fmla="*/ 21 h 257"/>
                <a:gd name="T16" fmla="*/ 13 w 395"/>
                <a:gd name="T17" fmla="*/ 73 h 257"/>
                <a:gd name="T18" fmla="*/ 27 w 395"/>
                <a:gd name="T19" fmla="*/ 101 h 257"/>
                <a:gd name="T20" fmla="*/ 1 w 395"/>
                <a:gd name="T21" fmla="*/ 163 h 257"/>
                <a:gd name="T22" fmla="*/ 34 w 395"/>
                <a:gd name="T23" fmla="*/ 199 h 257"/>
                <a:gd name="T24" fmla="*/ 28 w 395"/>
                <a:gd name="T25" fmla="*/ 237 h 257"/>
                <a:gd name="T26" fmla="*/ 49 w 395"/>
                <a:gd name="T27" fmla="*/ 239 h 257"/>
                <a:gd name="T28" fmla="*/ 114 w 395"/>
                <a:gd name="T29" fmla="*/ 224 h 257"/>
                <a:gd name="T30" fmla="*/ 184 w 395"/>
                <a:gd name="T31" fmla="*/ 248 h 257"/>
                <a:gd name="T32" fmla="*/ 235 w 395"/>
                <a:gd name="T33" fmla="*/ 233 h 257"/>
                <a:gd name="T34" fmla="*/ 230 w 395"/>
                <a:gd name="T35" fmla="*/ 212 h 257"/>
                <a:gd name="T36" fmla="*/ 264 w 395"/>
                <a:gd name="T37" fmla="*/ 205 h 257"/>
                <a:gd name="T38" fmla="*/ 286 w 395"/>
                <a:gd name="T39" fmla="*/ 190 h 257"/>
                <a:gd name="T40" fmla="*/ 310 w 395"/>
                <a:gd name="T41" fmla="*/ 193 h 257"/>
                <a:gd name="T42" fmla="*/ 325 w 395"/>
                <a:gd name="T43" fmla="*/ 199 h 257"/>
                <a:gd name="T44" fmla="*/ 350 w 395"/>
                <a:gd name="T45" fmla="*/ 192 h 257"/>
                <a:gd name="T46" fmla="*/ 339 w 395"/>
                <a:gd name="T47" fmla="*/ 177 h 257"/>
                <a:gd name="T48" fmla="*/ 336 w 395"/>
                <a:gd name="T49" fmla="*/ 166 h 257"/>
                <a:gd name="T50" fmla="*/ 328 w 395"/>
                <a:gd name="T51" fmla="*/ 160 h 257"/>
                <a:gd name="T52" fmla="*/ 315 w 395"/>
                <a:gd name="T53" fmla="*/ 162 h 257"/>
                <a:gd name="T54" fmla="*/ 315 w 395"/>
                <a:gd name="T55" fmla="*/ 157 h 257"/>
                <a:gd name="T56" fmla="*/ 322 w 395"/>
                <a:gd name="T57" fmla="*/ 151 h 257"/>
                <a:gd name="T58" fmla="*/ 327 w 395"/>
                <a:gd name="T59" fmla="*/ 147 h 257"/>
                <a:gd name="T60" fmla="*/ 338 w 395"/>
                <a:gd name="T61" fmla="*/ 139 h 257"/>
                <a:gd name="T62" fmla="*/ 348 w 395"/>
                <a:gd name="T63" fmla="*/ 104 h 257"/>
                <a:gd name="T64" fmla="*/ 368 w 395"/>
                <a:gd name="T65" fmla="*/ 80 h 257"/>
                <a:gd name="T66" fmla="*/ 384 w 395"/>
                <a:gd name="T67" fmla="*/ 77 h 257"/>
                <a:gd name="T68" fmla="*/ 395 w 395"/>
                <a:gd name="T69" fmla="*/ 52 h 257"/>
                <a:gd name="T70" fmla="*/ 350 w 395"/>
                <a:gd name="T71" fmla="*/ 27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95" h="257">
                  <a:moveTo>
                    <a:pt x="350" y="27"/>
                  </a:moveTo>
                  <a:lnTo>
                    <a:pt x="336" y="11"/>
                  </a:lnTo>
                  <a:lnTo>
                    <a:pt x="315" y="15"/>
                  </a:lnTo>
                  <a:lnTo>
                    <a:pt x="286" y="5"/>
                  </a:lnTo>
                  <a:lnTo>
                    <a:pt x="221" y="23"/>
                  </a:lnTo>
                  <a:lnTo>
                    <a:pt x="191" y="52"/>
                  </a:lnTo>
                  <a:lnTo>
                    <a:pt x="158" y="53"/>
                  </a:lnTo>
                  <a:lnTo>
                    <a:pt x="116" y="43"/>
                  </a:lnTo>
                  <a:lnTo>
                    <a:pt x="102" y="50"/>
                  </a:lnTo>
                  <a:lnTo>
                    <a:pt x="55" y="35"/>
                  </a:lnTo>
                  <a:lnTo>
                    <a:pt x="28" y="38"/>
                  </a:lnTo>
                  <a:lnTo>
                    <a:pt x="19" y="21"/>
                  </a:lnTo>
                  <a:lnTo>
                    <a:pt x="34" y="12"/>
                  </a:lnTo>
                  <a:lnTo>
                    <a:pt x="34" y="2"/>
                  </a:lnTo>
                  <a:lnTo>
                    <a:pt x="16" y="0"/>
                  </a:lnTo>
                  <a:lnTo>
                    <a:pt x="0" y="21"/>
                  </a:lnTo>
                  <a:lnTo>
                    <a:pt x="0" y="41"/>
                  </a:lnTo>
                  <a:lnTo>
                    <a:pt x="13" y="73"/>
                  </a:lnTo>
                  <a:lnTo>
                    <a:pt x="27" y="89"/>
                  </a:lnTo>
                  <a:lnTo>
                    <a:pt x="27" y="101"/>
                  </a:lnTo>
                  <a:lnTo>
                    <a:pt x="4" y="119"/>
                  </a:lnTo>
                  <a:lnTo>
                    <a:pt x="1" y="163"/>
                  </a:lnTo>
                  <a:lnTo>
                    <a:pt x="7" y="175"/>
                  </a:lnTo>
                  <a:lnTo>
                    <a:pt x="34" y="199"/>
                  </a:lnTo>
                  <a:lnTo>
                    <a:pt x="36" y="224"/>
                  </a:lnTo>
                  <a:lnTo>
                    <a:pt x="28" y="237"/>
                  </a:lnTo>
                  <a:lnTo>
                    <a:pt x="25" y="257"/>
                  </a:lnTo>
                  <a:lnTo>
                    <a:pt x="49" y="239"/>
                  </a:lnTo>
                  <a:lnTo>
                    <a:pt x="81" y="242"/>
                  </a:lnTo>
                  <a:lnTo>
                    <a:pt x="114" y="224"/>
                  </a:lnTo>
                  <a:lnTo>
                    <a:pt x="143" y="231"/>
                  </a:lnTo>
                  <a:lnTo>
                    <a:pt x="184" y="248"/>
                  </a:lnTo>
                  <a:lnTo>
                    <a:pt x="226" y="240"/>
                  </a:lnTo>
                  <a:lnTo>
                    <a:pt x="235" y="233"/>
                  </a:lnTo>
                  <a:lnTo>
                    <a:pt x="235" y="221"/>
                  </a:lnTo>
                  <a:lnTo>
                    <a:pt x="230" y="212"/>
                  </a:lnTo>
                  <a:lnTo>
                    <a:pt x="250" y="207"/>
                  </a:lnTo>
                  <a:lnTo>
                    <a:pt x="264" y="205"/>
                  </a:lnTo>
                  <a:lnTo>
                    <a:pt x="270" y="193"/>
                  </a:lnTo>
                  <a:lnTo>
                    <a:pt x="286" y="190"/>
                  </a:lnTo>
                  <a:lnTo>
                    <a:pt x="291" y="186"/>
                  </a:lnTo>
                  <a:lnTo>
                    <a:pt x="310" y="193"/>
                  </a:lnTo>
                  <a:lnTo>
                    <a:pt x="312" y="199"/>
                  </a:lnTo>
                  <a:lnTo>
                    <a:pt x="325" y="199"/>
                  </a:lnTo>
                  <a:lnTo>
                    <a:pt x="336" y="193"/>
                  </a:lnTo>
                  <a:lnTo>
                    <a:pt x="350" y="192"/>
                  </a:lnTo>
                  <a:lnTo>
                    <a:pt x="347" y="184"/>
                  </a:lnTo>
                  <a:lnTo>
                    <a:pt x="339" y="177"/>
                  </a:lnTo>
                  <a:lnTo>
                    <a:pt x="338" y="172"/>
                  </a:lnTo>
                  <a:lnTo>
                    <a:pt x="336" y="166"/>
                  </a:lnTo>
                  <a:lnTo>
                    <a:pt x="335" y="162"/>
                  </a:lnTo>
                  <a:lnTo>
                    <a:pt x="328" y="160"/>
                  </a:lnTo>
                  <a:lnTo>
                    <a:pt x="321" y="159"/>
                  </a:lnTo>
                  <a:lnTo>
                    <a:pt x="315" y="162"/>
                  </a:lnTo>
                  <a:lnTo>
                    <a:pt x="312" y="160"/>
                  </a:lnTo>
                  <a:lnTo>
                    <a:pt x="315" y="157"/>
                  </a:lnTo>
                  <a:lnTo>
                    <a:pt x="316" y="151"/>
                  </a:lnTo>
                  <a:lnTo>
                    <a:pt x="322" y="151"/>
                  </a:lnTo>
                  <a:lnTo>
                    <a:pt x="327" y="153"/>
                  </a:lnTo>
                  <a:lnTo>
                    <a:pt x="327" y="147"/>
                  </a:lnTo>
                  <a:lnTo>
                    <a:pt x="333" y="141"/>
                  </a:lnTo>
                  <a:lnTo>
                    <a:pt x="338" y="139"/>
                  </a:lnTo>
                  <a:lnTo>
                    <a:pt x="339" y="132"/>
                  </a:lnTo>
                  <a:lnTo>
                    <a:pt x="348" y="104"/>
                  </a:lnTo>
                  <a:lnTo>
                    <a:pt x="362" y="85"/>
                  </a:lnTo>
                  <a:lnTo>
                    <a:pt x="368" y="80"/>
                  </a:lnTo>
                  <a:lnTo>
                    <a:pt x="383" y="82"/>
                  </a:lnTo>
                  <a:lnTo>
                    <a:pt x="384" y="77"/>
                  </a:lnTo>
                  <a:lnTo>
                    <a:pt x="393" y="64"/>
                  </a:lnTo>
                  <a:lnTo>
                    <a:pt x="395" y="52"/>
                  </a:lnTo>
                  <a:lnTo>
                    <a:pt x="366" y="27"/>
                  </a:lnTo>
                  <a:lnTo>
                    <a:pt x="350" y="27"/>
                  </a:lnTo>
                  <a:lnTo>
                    <a:pt x="350" y="27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997" name="Freeform 342"/>
            <p:cNvSpPr>
              <a:spLocks/>
            </p:cNvSpPr>
            <p:nvPr userDrawn="1"/>
          </p:nvSpPr>
          <p:spPr bwMode="auto">
            <a:xfrm>
              <a:off x="4624" y="2985"/>
              <a:ext cx="284" cy="400"/>
            </a:xfrm>
            <a:custGeom>
              <a:avLst/>
              <a:gdLst>
                <a:gd name="T0" fmla="*/ 68 w 284"/>
                <a:gd name="T1" fmla="*/ 326 h 400"/>
                <a:gd name="T2" fmla="*/ 80 w 284"/>
                <a:gd name="T3" fmla="*/ 318 h 400"/>
                <a:gd name="T4" fmla="*/ 100 w 284"/>
                <a:gd name="T5" fmla="*/ 329 h 400"/>
                <a:gd name="T6" fmla="*/ 115 w 284"/>
                <a:gd name="T7" fmla="*/ 339 h 400"/>
                <a:gd name="T8" fmla="*/ 134 w 284"/>
                <a:gd name="T9" fmla="*/ 362 h 400"/>
                <a:gd name="T10" fmla="*/ 147 w 284"/>
                <a:gd name="T11" fmla="*/ 381 h 400"/>
                <a:gd name="T12" fmla="*/ 171 w 284"/>
                <a:gd name="T13" fmla="*/ 357 h 400"/>
                <a:gd name="T14" fmla="*/ 192 w 284"/>
                <a:gd name="T15" fmla="*/ 360 h 400"/>
                <a:gd name="T16" fmla="*/ 213 w 284"/>
                <a:gd name="T17" fmla="*/ 350 h 400"/>
                <a:gd name="T18" fmla="*/ 230 w 284"/>
                <a:gd name="T19" fmla="*/ 342 h 400"/>
                <a:gd name="T20" fmla="*/ 245 w 284"/>
                <a:gd name="T21" fmla="*/ 341 h 400"/>
                <a:gd name="T22" fmla="*/ 261 w 284"/>
                <a:gd name="T23" fmla="*/ 298 h 400"/>
                <a:gd name="T24" fmla="*/ 284 w 284"/>
                <a:gd name="T25" fmla="*/ 268 h 400"/>
                <a:gd name="T26" fmla="*/ 257 w 284"/>
                <a:gd name="T27" fmla="*/ 220 h 400"/>
                <a:gd name="T28" fmla="*/ 273 w 284"/>
                <a:gd name="T29" fmla="*/ 179 h 400"/>
                <a:gd name="T30" fmla="*/ 264 w 284"/>
                <a:gd name="T31" fmla="*/ 146 h 400"/>
                <a:gd name="T32" fmla="*/ 240 w 284"/>
                <a:gd name="T33" fmla="*/ 146 h 400"/>
                <a:gd name="T34" fmla="*/ 210 w 284"/>
                <a:gd name="T35" fmla="*/ 125 h 400"/>
                <a:gd name="T36" fmla="*/ 184 w 284"/>
                <a:gd name="T37" fmla="*/ 128 h 400"/>
                <a:gd name="T38" fmla="*/ 184 w 284"/>
                <a:gd name="T39" fmla="*/ 90 h 400"/>
                <a:gd name="T40" fmla="*/ 156 w 284"/>
                <a:gd name="T41" fmla="*/ 81 h 400"/>
                <a:gd name="T42" fmla="*/ 115 w 284"/>
                <a:gd name="T43" fmla="*/ 9 h 400"/>
                <a:gd name="T44" fmla="*/ 82 w 284"/>
                <a:gd name="T45" fmla="*/ 0 h 400"/>
                <a:gd name="T46" fmla="*/ 44 w 284"/>
                <a:gd name="T47" fmla="*/ 19 h 400"/>
                <a:gd name="T48" fmla="*/ 27 w 284"/>
                <a:gd name="T49" fmla="*/ 56 h 400"/>
                <a:gd name="T50" fmla="*/ 33 w 284"/>
                <a:gd name="T51" fmla="*/ 80 h 400"/>
                <a:gd name="T52" fmla="*/ 55 w 284"/>
                <a:gd name="T53" fmla="*/ 83 h 400"/>
                <a:gd name="T54" fmla="*/ 41 w 284"/>
                <a:gd name="T55" fmla="*/ 99 h 400"/>
                <a:gd name="T56" fmla="*/ 55 w 284"/>
                <a:gd name="T57" fmla="*/ 125 h 400"/>
                <a:gd name="T58" fmla="*/ 65 w 284"/>
                <a:gd name="T59" fmla="*/ 176 h 400"/>
                <a:gd name="T60" fmla="*/ 77 w 284"/>
                <a:gd name="T61" fmla="*/ 185 h 400"/>
                <a:gd name="T62" fmla="*/ 53 w 284"/>
                <a:gd name="T63" fmla="*/ 190 h 400"/>
                <a:gd name="T64" fmla="*/ 71 w 284"/>
                <a:gd name="T65" fmla="*/ 214 h 400"/>
                <a:gd name="T66" fmla="*/ 56 w 284"/>
                <a:gd name="T67" fmla="*/ 228 h 400"/>
                <a:gd name="T68" fmla="*/ 35 w 284"/>
                <a:gd name="T69" fmla="*/ 231 h 400"/>
                <a:gd name="T70" fmla="*/ 45 w 284"/>
                <a:gd name="T71" fmla="*/ 246 h 400"/>
                <a:gd name="T72" fmla="*/ 27 w 284"/>
                <a:gd name="T73" fmla="*/ 246 h 400"/>
                <a:gd name="T74" fmla="*/ 24 w 284"/>
                <a:gd name="T75" fmla="*/ 250 h 400"/>
                <a:gd name="T76" fmla="*/ 20 w 284"/>
                <a:gd name="T77" fmla="*/ 258 h 400"/>
                <a:gd name="T78" fmla="*/ 21 w 284"/>
                <a:gd name="T79" fmla="*/ 264 h 400"/>
                <a:gd name="T80" fmla="*/ 18 w 284"/>
                <a:gd name="T81" fmla="*/ 271 h 400"/>
                <a:gd name="T82" fmla="*/ 6 w 284"/>
                <a:gd name="T83" fmla="*/ 303 h 400"/>
                <a:gd name="T84" fmla="*/ 3 w 284"/>
                <a:gd name="T85" fmla="*/ 324 h 400"/>
                <a:gd name="T86" fmla="*/ 12 w 284"/>
                <a:gd name="T87" fmla="*/ 344 h 400"/>
                <a:gd name="T88" fmla="*/ 9 w 284"/>
                <a:gd name="T89" fmla="*/ 351 h 400"/>
                <a:gd name="T90" fmla="*/ 6 w 284"/>
                <a:gd name="T91" fmla="*/ 356 h 400"/>
                <a:gd name="T92" fmla="*/ 23 w 284"/>
                <a:gd name="T93" fmla="*/ 365 h 400"/>
                <a:gd name="T94" fmla="*/ 50 w 284"/>
                <a:gd name="T95" fmla="*/ 388 h 400"/>
                <a:gd name="T96" fmla="*/ 53 w 284"/>
                <a:gd name="T97" fmla="*/ 400 h 400"/>
                <a:gd name="T98" fmla="*/ 55 w 284"/>
                <a:gd name="T99" fmla="*/ 371 h 400"/>
                <a:gd name="T100" fmla="*/ 65 w 284"/>
                <a:gd name="T101" fmla="*/ 342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84" h="400">
                  <a:moveTo>
                    <a:pt x="65" y="342"/>
                  </a:moveTo>
                  <a:lnTo>
                    <a:pt x="68" y="326"/>
                  </a:lnTo>
                  <a:lnTo>
                    <a:pt x="76" y="315"/>
                  </a:lnTo>
                  <a:lnTo>
                    <a:pt x="80" y="318"/>
                  </a:lnTo>
                  <a:lnTo>
                    <a:pt x="82" y="326"/>
                  </a:lnTo>
                  <a:lnTo>
                    <a:pt x="100" y="329"/>
                  </a:lnTo>
                  <a:lnTo>
                    <a:pt x="104" y="324"/>
                  </a:lnTo>
                  <a:lnTo>
                    <a:pt x="115" y="339"/>
                  </a:lnTo>
                  <a:lnTo>
                    <a:pt x="136" y="353"/>
                  </a:lnTo>
                  <a:lnTo>
                    <a:pt x="134" y="362"/>
                  </a:lnTo>
                  <a:lnTo>
                    <a:pt x="139" y="384"/>
                  </a:lnTo>
                  <a:lnTo>
                    <a:pt x="147" y="381"/>
                  </a:lnTo>
                  <a:lnTo>
                    <a:pt x="153" y="365"/>
                  </a:lnTo>
                  <a:lnTo>
                    <a:pt x="171" y="357"/>
                  </a:lnTo>
                  <a:lnTo>
                    <a:pt x="181" y="362"/>
                  </a:lnTo>
                  <a:lnTo>
                    <a:pt x="192" y="360"/>
                  </a:lnTo>
                  <a:lnTo>
                    <a:pt x="196" y="351"/>
                  </a:lnTo>
                  <a:lnTo>
                    <a:pt x="213" y="350"/>
                  </a:lnTo>
                  <a:lnTo>
                    <a:pt x="219" y="342"/>
                  </a:lnTo>
                  <a:lnTo>
                    <a:pt x="230" y="342"/>
                  </a:lnTo>
                  <a:lnTo>
                    <a:pt x="233" y="347"/>
                  </a:lnTo>
                  <a:lnTo>
                    <a:pt x="245" y="341"/>
                  </a:lnTo>
                  <a:lnTo>
                    <a:pt x="258" y="342"/>
                  </a:lnTo>
                  <a:lnTo>
                    <a:pt x="261" y="298"/>
                  </a:lnTo>
                  <a:lnTo>
                    <a:pt x="284" y="280"/>
                  </a:lnTo>
                  <a:lnTo>
                    <a:pt x="284" y="268"/>
                  </a:lnTo>
                  <a:lnTo>
                    <a:pt x="270" y="252"/>
                  </a:lnTo>
                  <a:lnTo>
                    <a:pt x="257" y="220"/>
                  </a:lnTo>
                  <a:lnTo>
                    <a:pt x="257" y="200"/>
                  </a:lnTo>
                  <a:lnTo>
                    <a:pt x="273" y="179"/>
                  </a:lnTo>
                  <a:lnTo>
                    <a:pt x="260" y="167"/>
                  </a:lnTo>
                  <a:lnTo>
                    <a:pt x="264" y="146"/>
                  </a:lnTo>
                  <a:lnTo>
                    <a:pt x="255" y="139"/>
                  </a:lnTo>
                  <a:lnTo>
                    <a:pt x="240" y="146"/>
                  </a:lnTo>
                  <a:lnTo>
                    <a:pt x="231" y="146"/>
                  </a:lnTo>
                  <a:lnTo>
                    <a:pt x="210" y="125"/>
                  </a:lnTo>
                  <a:lnTo>
                    <a:pt x="192" y="130"/>
                  </a:lnTo>
                  <a:lnTo>
                    <a:pt x="184" y="128"/>
                  </a:lnTo>
                  <a:lnTo>
                    <a:pt x="192" y="105"/>
                  </a:lnTo>
                  <a:lnTo>
                    <a:pt x="184" y="90"/>
                  </a:lnTo>
                  <a:lnTo>
                    <a:pt x="168" y="86"/>
                  </a:lnTo>
                  <a:lnTo>
                    <a:pt x="156" y="81"/>
                  </a:lnTo>
                  <a:lnTo>
                    <a:pt x="151" y="62"/>
                  </a:lnTo>
                  <a:lnTo>
                    <a:pt x="115" y="9"/>
                  </a:lnTo>
                  <a:lnTo>
                    <a:pt x="98" y="4"/>
                  </a:lnTo>
                  <a:lnTo>
                    <a:pt x="82" y="0"/>
                  </a:lnTo>
                  <a:lnTo>
                    <a:pt x="65" y="0"/>
                  </a:lnTo>
                  <a:lnTo>
                    <a:pt x="44" y="19"/>
                  </a:lnTo>
                  <a:lnTo>
                    <a:pt x="26" y="30"/>
                  </a:lnTo>
                  <a:lnTo>
                    <a:pt x="27" y="56"/>
                  </a:lnTo>
                  <a:lnTo>
                    <a:pt x="35" y="63"/>
                  </a:lnTo>
                  <a:lnTo>
                    <a:pt x="33" y="80"/>
                  </a:lnTo>
                  <a:lnTo>
                    <a:pt x="45" y="83"/>
                  </a:lnTo>
                  <a:lnTo>
                    <a:pt x="55" y="83"/>
                  </a:lnTo>
                  <a:lnTo>
                    <a:pt x="56" y="90"/>
                  </a:lnTo>
                  <a:lnTo>
                    <a:pt x="41" y="99"/>
                  </a:lnTo>
                  <a:lnTo>
                    <a:pt x="41" y="117"/>
                  </a:lnTo>
                  <a:lnTo>
                    <a:pt x="55" y="125"/>
                  </a:lnTo>
                  <a:lnTo>
                    <a:pt x="42" y="154"/>
                  </a:lnTo>
                  <a:lnTo>
                    <a:pt x="65" y="176"/>
                  </a:lnTo>
                  <a:lnTo>
                    <a:pt x="65" y="181"/>
                  </a:lnTo>
                  <a:lnTo>
                    <a:pt x="77" y="185"/>
                  </a:lnTo>
                  <a:lnTo>
                    <a:pt x="76" y="191"/>
                  </a:lnTo>
                  <a:lnTo>
                    <a:pt x="53" y="190"/>
                  </a:lnTo>
                  <a:lnTo>
                    <a:pt x="56" y="202"/>
                  </a:lnTo>
                  <a:lnTo>
                    <a:pt x="71" y="214"/>
                  </a:lnTo>
                  <a:lnTo>
                    <a:pt x="67" y="237"/>
                  </a:lnTo>
                  <a:lnTo>
                    <a:pt x="56" y="228"/>
                  </a:lnTo>
                  <a:lnTo>
                    <a:pt x="45" y="237"/>
                  </a:lnTo>
                  <a:lnTo>
                    <a:pt x="35" y="231"/>
                  </a:lnTo>
                  <a:lnTo>
                    <a:pt x="35" y="240"/>
                  </a:lnTo>
                  <a:lnTo>
                    <a:pt x="45" y="246"/>
                  </a:lnTo>
                  <a:lnTo>
                    <a:pt x="39" y="255"/>
                  </a:lnTo>
                  <a:lnTo>
                    <a:pt x="27" y="246"/>
                  </a:lnTo>
                  <a:lnTo>
                    <a:pt x="27" y="246"/>
                  </a:lnTo>
                  <a:lnTo>
                    <a:pt x="24" y="250"/>
                  </a:lnTo>
                  <a:lnTo>
                    <a:pt x="20" y="258"/>
                  </a:lnTo>
                  <a:lnTo>
                    <a:pt x="20" y="258"/>
                  </a:lnTo>
                  <a:lnTo>
                    <a:pt x="20" y="261"/>
                  </a:lnTo>
                  <a:lnTo>
                    <a:pt x="21" y="264"/>
                  </a:lnTo>
                  <a:lnTo>
                    <a:pt x="24" y="268"/>
                  </a:lnTo>
                  <a:lnTo>
                    <a:pt x="18" y="271"/>
                  </a:lnTo>
                  <a:lnTo>
                    <a:pt x="0" y="294"/>
                  </a:lnTo>
                  <a:lnTo>
                    <a:pt x="6" y="303"/>
                  </a:lnTo>
                  <a:lnTo>
                    <a:pt x="6" y="314"/>
                  </a:lnTo>
                  <a:lnTo>
                    <a:pt x="3" y="324"/>
                  </a:lnTo>
                  <a:lnTo>
                    <a:pt x="6" y="341"/>
                  </a:lnTo>
                  <a:lnTo>
                    <a:pt x="12" y="344"/>
                  </a:lnTo>
                  <a:lnTo>
                    <a:pt x="12" y="350"/>
                  </a:lnTo>
                  <a:lnTo>
                    <a:pt x="9" y="351"/>
                  </a:lnTo>
                  <a:lnTo>
                    <a:pt x="5" y="350"/>
                  </a:lnTo>
                  <a:lnTo>
                    <a:pt x="6" y="356"/>
                  </a:lnTo>
                  <a:lnTo>
                    <a:pt x="17" y="357"/>
                  </a:lnTo>
                  <a:lnTo>
                    <a:pt x="23" y="365"/>
                  </a:lnTo>
                  <a:lnTo>
                    <a:pt x="38" y="372"/>
                  </a:lnTo>
                  <a:lnTo>
                    <a:pt x="50" y="388"/>
                  </a:lnTo>
                  <a:lnTo>
                    <a:pt x="52" y="395"/>
                  </a:lnTo>
                  <a:lnTo>
                    <a:pt x="53" y="400"/>
                  </a:lnTo>
                  <a:lnTo>
                    <a:pt x="61" y="400"/>
                  </a:lnTo>
                  <a:lnTo>
                    <a:pt x="55" y="371"/>
                  </a:lnTo>
                  <a:lnTo>
                    <a:pt x="65" y="342"/>
                  </a:lnTo>
                  <a:lnTo>
                    <a:pt x="65" y="342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998" name="Freeform 343"/>
            <p:cNvSpPr>
              <a:spLocks/>
            </p:cNvSpPr>
            <p:nvPr userDrawn="1"/>
          </p:nvSpPr>
          <p:spPr bwMode="auto">
            <a:xfrm>
              <a:off x="3837" y="2846"/>
              <a:ext cx="285" cy="169"/>
            </a:xfrm>
            <a:custGeom>
              <a:avLst/>
              <a:gdLst>
                <a:gd name="T0" fmla="*/ 253 w 285"/>
                <a:gd name="T1" fmla="*/ 90 h 169"/>
                <a:gd name="T2" fmla="*/ 243 w 285"/>
                <a:gd name="T3" fmla="*/ 65 h 169"/>
                <a:gd name="T4" fmla="*/ 222 w 285"/>
                <a:gd name="T5" fmla="*/ 57 h 169"/>
                <a:gd name="T6" fmla="*/ 232 w 285"/>
                <a:gd name="T7" fmla="*/ 21 h 169"/>
                <a:gd name="T8" fmla="*/ 199 w 285"/>
                <a:gd name="T9" fmla="*/ 17 h 169"/>
                <a:gd name="T10" fmla="*/ 172 w 285"/>
                <a:gd name="T11" fmla="*/ 11 h 169"/>
                <a:gd name="T12" fmla="*/ 154 w 285"/>
                <a:gd name="T13" fmla="*/ 17 h 169"/>
                <a:gd name="T14" fmla="*/ 124 w 285"/>
                <a:gd name="T15" fmla="*/ 21 h 169"/>
                <a:gd name="T16" fmla="*/ 89 w 285"/>
                <a:gd name="T17" fmla="*/ 18 h 169"/>
                <a:gd name="T18" fmla="*/ 71 w 285"/>
                <a:gd name="T19" fmla="*/ 24 h 169"/>
                <a:gd name="T20" fmla="*/ 60 w 285"/>
                <a:gd name="T21" fmla="*/ 38 h 169"/>
                <a:gd name="T22" fmla="*/ 42 w 285"/>
                <a:gd name="T23" fmla="*/ 59 h 169"/>
                <a:gd name="T24" fmla="*/ 27 w 285"/>
                <a:gd name="T25" fmla="*/ 77 h 169"/>
                <a:gd name="T26" fmla="*/ 10 w 285"/>
                <a:gd name="T27" fmla="*/ 106 h 169"/>
                <a:gd name="T28" fmla="*/ 0 w 285"/>
                <a:gd name="T29" fmla="*/ 130 h 169"/>
                <a:gd name="T30" fmla="*/ 4 w 285"/>
                <a:gd name="T31" fmla="*/ 152 h 169"/>
                <a:gd name="T32" fmla="*/ 24 w 285"/>
                <a:gd name="T33" fmla="*/ 125 h 169"/>
                <a:gd name="T34" fmla="*/ 51 w 285"/>
                <a:gd name="T35" fmla="*/ 134 h 169"/>
                <a:gd name="T36" fmla="*/ 90 w 285"/>
                <a:gd name="T37" fmla="*/ 157 h 169"/>
                <a:gd name="T38" fmla="*/ 125 w 285"/>
                <a:gd name="T39" fmla="*/ 154 h 169"/>
                <a:gd name="T40" fmla="*/ 146 w 285"/>
                <a:gd name="T41" fmla="*/ 130 h 169"/>
                <a:gd name="T42" fmla="*/ 161 w 285"/>
                <a:gd name="T43" fmla="*/ 137 h 169"/>
                <a:gd name="T44" fmla="*/ 178 w 285"/>
                <a:gd name="T45" fmla="*/ 151 h 169"/>
                <a:gd name="T46" fmla="*/ 178 w 285"/>
                <a:gd name="T47" fmla="*/ 164 h 169"/>
                <a:gd name="T48" fmla="*/ 181 w 285"/>
                <a:gd name="T49" fmla="*/ 167 h 169"/>
                <a:gd name="T50" fmla="*/ 191 w 285"/>
                <a:gd name="T51" fmla="*/ 167 h 169"/>
                <a:gd name="T52" fmla="*/ 193 w 285"/>
                <a:gd name="T53" fmla="*/ 133 h 169"/>
                <a:gd name="T54" fmla="*/ 228 w 285"/>
                <a:gd name="T55" fmla="*/ 130 h 169"/>
                <a:gd name="T56" fmla="*/ 252 w 285"/>
                <a:gd name="T57" fmla="*/ 140 h 169"/>
                <a:gd name="T58" fmla="*/ 261 w 285"/>
                <a:gd name="T59" fmla="*/ 127 h 169"/>
                <a:gd name="T60" fmla="*/ 285 w 285"/>
                <a:gd name="T61" fmla="*/ 98 h 169"/>
                <a:gd name="T62" fmla="*/ 270 w 285"/>
                <a:gd name="T63" fmla="*/ 72 h 169"/>
                <a:gd name="T64" fmla="*/ 264 w 285"/>
                <a:gd name="T65" fmla="*/ 80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85" h="169">
                  <a:moveTo>
                    <a:pt x="264" y="80"/>
                  </a:moveTo>
                  <a:lnTo>
                    <a:pt x="253" y="90"/>
                  </a:lnTo>
                  <a:lnTo>
                    <a:pt x="247" y="83"/>
                  </a:lnTo>
                  <a:lnTo>
                    <a:pt x="243" y="65"/>
                  </a:lnTo>
                  <a:lnTo>
                    <a:pt x="226" y="66"/>
                  </a:lnTo>
                  <a:lnTo>
                    <a:pt x="222" y="57"/>
                  </a:lnTo>
                  <a:lnTo>
                    <a:pt x="228" y="50"/>
                  </a:lnTo>
                  <a:lnTo>
                    <a:pt x="232" y="21"/>
                  </a:lnTo>
                  <a:lnTo>
                    <a:pt x="214" y="21"/>
                  </a:lnTo>
                  <a:lnTo>
                    <a:pt x="199" y="17"/>
                  </a:lnTo>
                  <a:lnTo>
                    <a:pt x="187" y="0"/>
                  </a:lnTo>
                  <a:lnTo>
                    <a:pt x="172" y="11"/>
                  </a:lnTo>
                  <a:lnTo>
                    <a:pt x="164" y="4"/>
                  </a:lnTo>
                  <a:lnTo>
                    <a:pt x="154" y="17"/>
                  </a:lnTo>
                  <a:lnTo>
                    <a:pt x="137" y="14"/>
                  </a:lnTo>
                  <a:lnTo>
                    <a:pt x="124" y="21"/>
                  </a:lnTo>
                  <a:lnTo>
                    <a:pt x="104" y="17"/>
                  </a:lnTo>
                  <a:lnTo>
                    <a:pt x="89" y="18"/>
                  </a:lnTo>
                  <a:lnTo>
                    <a:pt x="78" y="29"/>
                  </a:lnTo>
                  <a:lnTo>
                    <a:pt x="71" y="24"/>
                  </a:lnTo>
                  <a:lnTo>
                    <a:pt x="62" y="24"/>
                  </a:lnTo>
                  <a:lnTo>
                    <a:pt x="60" y="38"/>
                  </a:lnTo>
                  <a:lnTo>
                    <a:pt x="65" y="45"/>
                  </a:lnTo>
                  <a:lnTo>
                    <a:pt x="42" y="59"/>
                  </a:lnTo>
                  <a:lnTo>
                    <a:pt x="39" y="69"/>
                  </a:lnTo>
                  <a:lnTo>
                    <a:pt x="27" y="77"/>
                  </a:lnTo>
                  <a:lnTo>
                    <a:pt x="26" y="87"/>
                  </a:lnTo>
                  <a:lnTo>
                    <a:pt x="10" y="106"/>
                  </a:lnTo>
                  <a:lnTo>
                    <a:pt x="9" y="118"/>
                  </a:lnTo>
                  <a:lnTo>
                    <a:pt x="0" y="130"/>
                  </a:lnTo>
                  <a:lnTo>
                    <a:pt x="0" y="152"/>
                  </a:lnTo>
                  <a:lnTo>
                    <a:pt x="4" y="152"/>
                  </a:lnTo>
                  <a:lnTo>
                    <a:pt x="13" y="136"/>
                  </a:lnTo>
                  <a:lnTo>
                    <a:pt x="24" y="125"/>
                  </a:lnTo>
                  <a:lnTo>
                    <a:pt x="44" y="130"/>
                  </a:lnTo>
                  <a:lnTo>
                    <a:pt x="51" y="134"/>
                  </a:lnTo>
                  <a:lnTo>
                    <a:pt x="66" y="169"/>
                  </a:lnTo>
                  <a:lnTo>
                    <a:pt x="90" y="157"/>
                  </a:lnTo>
                  <a:lnTo>
                    <a:pt x="110" y="158"/>
                  </a:lnTo>
                  <a:lnTo>
                    <a:pt x="125" y="154"/>
                  </a:lnTo>
                  <a:lnTo>
                    <a:pt x="139" y="131"/>
                  </a:lnTo>
                  <a:lnTo>
                    <a:pt x="146" y="130"/>
                  </a:lnTo>
                  <a:lnTo>
                    <a:pt x="149" y="122"/>
                  </a:lnTo>
                  <a:lnTo>
                    <a:pt x="161" y="137"/>
                  </a:lnTo>
                  <a:lnTo>
                    <a:pt x="178" y="151"/>
                  </a:lnTo>
                  <a:lnTo>
                    <a:pt x="178" y="151"/>
                  </a:lnTo>
                  <a:lnTo>
                    <a:pt x="178" y="164"/>
                  </a:lnTo>
                  <a:lnTo>
                    <a:pt x="178" y="164"/>
                  </a:lnTo>
                  <a:lnTo>
                    <a:pt x="179" y="166"/>
                  </a:lnTo>
                  <a:lnTo>
                    <a:pt x="181" y="167"/>
                  </a:lnTo>
                  <a:lnTo>
                    <a:pt x="185" y="169"/>
                  </a:lnTo>
                  <a:lnTo>
                    <a:pt x="191" y="167"/>
                  </a:lnTo>
                  <a:lnTo>
                    <a:pt x="188" y="140"/>
                  </a:lnTo>
                  <a:lnTo>
                    <a:pt x="193" y="133"/>
                  </a:lnTo>
                  <a:lnTo>
                    <a:pt x="214" y="137"/>
                  </a:lnTo>
                  <a:lnTo>
                    <a:pt x="228" y="130"/>
                  </a:lnTo>
                  <a:lnTo>
                    <a:pt x="240" y="133"/>
                  </a:lnTo>
                  <a:lnTo>
                    <a:pt x="252" y="140"/>
                  </a:lnTo>
                  <a:lnTo>
                    <a:pt x="256" y="142"/>
                  </a:lnTo>
                  <a:lnTo>
                    <a:pt x="261" y="127"/>
                  </a:lnTo>
                  <a:lnTo>
                    <a:pt x="282" y="109"/>
                  </a:lnTo>
                  <a:lnTo>
                    <a:pt x="285" y="98"/>
                  </a:lnTo>
                  <a:lnTo>
                    <a:pt x="277" y="83"/>
                  </a:lnTo>
                  <a:lnTo>
                    <a:pt x="270" y="72"/>
                  </a:lnTo>
                  <a:lnTo>
                    <a:pt x="264" y="80"/>
                  </a:lnTo>
                  <a:lnTo>
                    <a:pt x="264" y="80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999" name="Freeform 344"/>
            <p:cNvSpPr>
              <a:spLocks/>
            </p:cNvSpPr>
            <p:nvPr userDrawn="1"/>
          </p:nvSpPr>
          <p:spPr bwMode="auto">
            <a:xfrm>
              <a:off x="4852" y="2392"/>
              <a:ext cx="1155" cy="766"/>
            </a:xfrm>
            <a:custGeom>
              <a:avLst/>
              <a:gdLst>
                <a:gd name="T0" fmla="*/ 1148 w 1155"/>
                <a:gd name="T1" fmla="*/ 347 h 766"/>
                <a:gd name="T2" fmla="*/ 1155 w 1155"/>
                <a:gd name="T3" fmla="*/ 282 h 766"/>
                <a:gd name="T4" fmla="*/ 1033 w 1155"/>
                <a:gd name="T5" fmla="*/ 225 h 766"/>
                <a:gd name="T6" fmla="*/ 896 w 1155"/>
                <a:gd name="T7" fmla="*/ 184 h 766"/>
                <a:gd name="T8" fmla="*/ 830 w 1155"/>
                <a:gd name="T9" fmla="*/ 104 h 766"/>
                <a:gd name="T10" fmla="*/ 685 w 1155"/>
                <a:gd name="T11" fmla="*/ 9 h 766"/>
                <a:gd name="T12" fmla="*/ 566 w 1155"/>
                <a:gd name="T13" fmla="*/ 24 h 766"/>
                <a:gd name="T14" fmla="*/ 498 w 1155"/>
                <a:gd name="T15" fmla="*/ 89 h 766"/>
                <a:gd name="T16" fmla="*/ 422 w 1155"/>
                <a:gd name="T17" fmla="*/ 83 h 766"/>
                <a:gd name="T18" fmla="*/ 256 w 1155"/>
                <a:gd name="T19" fmla="*/ 56 h 766"/>
                <a:gd name="T20" fmla="*/ 112 w 1155"/>
                <a:gd name="T21" fmla="*/ 87 h 766"/>
                <a:gd name="T22" fmla="*/ 106 w 1155"/>
                <a:gd name="T23" fmla="*/ 213 h 766"/>
                <a:gd name="T24" fmla="*/ 20 w 1155"/>
                <a:gd name="T25" fmla="*/ 416 h 766"/>
                <a:gd name="T26" fmla="*/ 143 w 1155"/>
                <a:gd name="T27" fmla="*/ 442 h 766"/>
                <a:gd name="T28" fmla="*/ 303 w 1155"/>
                <a:gd name="T29" fmla="*/ 398 h 766"/>
                <a:gd name="T30" fmla="*/ 474 w 1155"/>
                <a:gd name="T31" fmla="*/ 501 h 766"/>
                <a:gd name="T32" fmla="*/ 481 w 1155"/>
                <a:gd name="T33" fmla="*/ 572 h 766"/>
                <a:gd name="T34" fmla="*/ 383 w 1155"/>
                <a:gd name="T35" fmla="*/ 652 h 766"/>
                <a:gd name="T36" fmla="*/ 484 w 1155"/>
                <a:gd name="T37" fmla="*/ 668 h 766"/>
                <a:gd name="T38" fmla="*/ 483 w 1155"/>
                <a:gd name="T39" fmla="*/ 641 h 766"/>
                <a:gd name="T40" fmla="*/ 517 w 1155"/>
                <a:gd name="T41" fmla="*/ 635 h 766"/>
                <a:gd name="T42" fmla="*/ 516 w 1155"/>
                <a:gd name="T43" fmla="*/ 596 h 766"/>
                <a:gd name="T44" fmla="*/ 541 w 1155"/>
                <a:gd name="T45" fmla="*/ 603 h 766"/>
                <a:gd name="T46" fmla="*/ 557 w 1155"/>
                <a:gd name="T47" fmla="*/ 570 h 766"/>
                <a:gd name="T48" fmla="*/ 602 w 1155"/>
                <a:gd name="T49" fmla="*/ 549 h 766"/>
                <a:gd name="T50" fmla="*/ 627 w 1155"/>
                <a:gd name="T51" fmla="*/ 557 h 766"/>
                <a:gd name="T52" fmla="*/ 633 w 1155"/>
                <a:gd name="T53" fmla="*/ 538 h 766"/>
                <a:gd name="T54" fmla="*/ 685 w 1155"/>
                <a:gd name="T55" fmla="*/ 548 h 766"/>
                <a:gd name="T56" fmla="*/ 606 w 1155"/>
                <a:gd name="T57" fmla="*/ 569 h 766"/>
                <a:gd name="T58" fmla="*/ 621 w 1155"/>
                <a:gd name="T59" fmla="*/ 600 h 766"/>
                <a:gd name="T60" fmla="*/ 612 w 1155"/>
                <a:gd name="T61" fmla="*/ 596 h 766"/>
                <a:gd name="T62" fmla="*/ 676 w 1155"/>
                <a:gd name="T63" fmla="*/ 609 h 766"/>
                <a:gd name="T64" fmla="*/ 710 w 1155"/>
                <a:gd name="T65" fmla="*/ 608 h 766"/>
                <a:gd name="T66" fmla="*/ 735 w 1155"/>
                <a:gd name="T67" fmla="*/ 596 h 766"/>
                <a:gd name="T68" fmla="*/ 742 w 1155"/>
                <a:gd name="T69" fmla="*/ 629 h 766"/>
                <a:gd name="T70" fmla="*/ 667 w 1155"/>
                <a:gd name="T71" fmla="*/ 670 h 766"/>
                <a:gd name="T72" fmla="*/ 715 w 1155"/>
                <a:gd name="T73" fmla="*/ 694 h 766"/>
                <a:gd name="T74" fmla="*/ 719 w 1155"/>
                <a:gd name="T75" fmla="*/ 754 h 766"/>
                <a:gd name="T76" fmla="*/ 821 w 1155"/>
                <a:gd name="T77" fmla="*/ 723 h 766"/>
                <a:gd name="T78" fmla="*/ 890 w 1155"/>
                <a:gd name="T79" fmla="*/ 704 h 766"/>
                <a:gd name="T80" fmla="*/ 929 w 1155"/>
                <a:gd name="T81" fmla="*/ 674 h 766"/>
                <a:gd name="T82" fmla="*/ 884 w 1155"/>
                <a:gd name="T83" fmla="*/ 662 h 766"/>
                <a:gd name="T84" fmla="*/ 814 w 1155"/>
                <a:gd name="T85" fmla="*/ 603 h 766"/>
                <a:gd name="T86" fmla="*/ 833 w 1155"/>
                <a:gd name="T87" fmla="*/ 644 h 766"/>
                <a:gd name="T88" fmla="*/ 819 w 1155"/>
                <a:gd name="T89" fmla="*/ 646 h 766"/>
                <a:gd name="T90" fmla="*/ 796 w 1155"/>
                <a:gd name="T91" fmla="*/ 626 h 766"/>
                <a:gd name="T92" fmla="*/ 765 w 1155"/>
                <a:gd name="T93" fmla="*/ 615 h 766"/>
                <a:gd name="T94" fmla="*/ 757 w 1155"/>
                <a:gd name="T95" fmla="*/ 599 h 766"/>
                <a:gd name="T96" fmla="*/ 795 w 1155"/>
                <a:gd name="T97" fmla="*/ 605 h 766"/>
                <a:gd name="T98" fmla="*/ 811 w 1155"/>
                <a:gd name="T99" fmla="*/ 600 h 766"/>
                <a:gd name="T100" fmla="*/ 839 w 1155"/>
                <a:gd name="T101" fmla="*/ 582 h 766"/>
                <a:gd name="T102" fmla="*/ 849 w 1155"/>
                <a:gd name="T103" fmla="*/ 578 h 766"/>
                <a:gd name="T104" fmla="*/ 911 w 1155"/>
                <a:gd name="T105" fmla="*/ 552 h 766"/>
                <a:gd name="T106" fmla="*/ 971 w 1155"/>
                <a:gd name="T107" fmla="*/ 526 h 766"/>
                <a:gd name="T108" fmla="*/ 1023 w 1155"/>
                <a:gd name="T109" fmla="*/ 516 h 7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155" h="766">
                  <a:moveTo>
                    <a:pt x="1068" y="443"/>
                  </a:moveTo>
                  <a:lnTo>
                    <a:pt x="1119" y="437"/>
                  </a:lnTo>
                  <a:lnTo>
                    <a:pt x="1128" y="418"/>
                  </a:lnTo>
                  <a:lnTo>
                    <a:pt x="1145" y="406"/>
                  </a:lnTo>
                  <a:lnTo>
                    <a:pt x="1143" y="376"/>
                  </a:lnTo>
                  <a:lnTo>
                    <a:pt x="1133" y="359"/>
                  </a:lnTo>
                  <a:lnTo>
                    <a:pt x="1148" y="347"/>
                  </a:lnTo>
                  <a:lnTo>
                    <a:pt x="1149" y="338"/>
                  </a:lnTo>
                  <a:lnTo>
                    <a:pt x="1131" y="342"/>
                  </a:lnTo>
                  <a:lnTo>
                    <a:pt x="1122" y="330"/>
                  </a:lnTo>
                  <a:lnTo>
                    <a:pt x="1128" y="329"/>
                  </a:lnTo>
                  <a:lnTo>
                    <a:pt x="1152" y="308"/>
                  </a:lnTo>
                  <a:lnTo>
                    <a:pt x="1146" y="293"/>
                  </a:lnTo>
                  <a:lnTo>
                    <a:pt x="1155" y="282"/>
                  </a:lnTo>
                  <a:lnTo>
                    <a:pt x="1143" y="276"/>
                  </a:lnTo>
                  <a:lnTo>
                    <a:pt x="1122" y="283"/>
                  </a:lnTo>
                  <a:lnTo>
                    <a:pt x="1098" y="262"/>
                  </a:lnTo>
                  <a:lnTo>
                    <a:pt x="1091" y="250"/>
                  </a:lnTo>
                  <a:lnTo>
                    <a:pt x="1063" y="253"/>
                  </a:lnTo>
                  <a:lnTo>
                    <a:pt x="1054" y="238"/>
                  </a:lnTo>
                  <a:lnTo>
                    <a:pt x="1033" y="225"/>
                  </a:lnTo>
                  <a:lnTo>
                    <a:pt x="1014" y="235"/>
                  </a:lnTo>
                  <a:lnTo>
                    <a:pt x="1000" y="223"/>
                  </a:lnTo>
                  <a:lnTo>
                    <a:pt x="995" y="210"/>
                  </a:lnTo>
                  <a:lnTo>
                    <a:pt x="974" y="190"/>
                  </a:lnTo>
                  <a:lnTo>
                    <a:pt x="961" y="204"/>
                  </a:lnTo>
                  <a:lnTo>
                    <a:pt x="934" y="205"/>
                  </a:lnTo>
                  <a:lnTo>
                    <a:pt x="896" y="184"/>
                  </a:lnTo>
                  <a:lnTo>
                    <a:pt x="872" y="204"/>
                  </a:lnTo>
                  <a:lnTo>
                    <a:pt x="855" y="194"/>
                  </a:lnTo>
                  <a:lnTo>
                    <a:pt x="860" y="184"/>
                  </a:lnTo>
                  <a:lnTo>
                    <a:pt x="857" y="167"/>
                  </a:lnTo>
                  <a:lnTo>
                    <a:pt x="851" y="161"/>
                  </a:lnTo>
                  <a:lnTo>
                    <a:pt x="834" y="125"/>
                  </a:lnTo>
                  <a:lnTo>
                    <a:pt x="830" y="104"/>
                  </a:lnTo>
                  <a:lnTo>
                    <a:pt x="777" y="96"/>
                  </a:lnTo>
                  <a:lnTo>
                    <a:pt x="775" y="68"/>
                  </a:lnTo>
                  <a:lnTo>
                    <a:pt x="766" y="54"/>
                  </a:lnTo>
                  <a:lnTo>
                    <a:pt x="780" y="42"/>
                  </a:lnTo>
                  <a:lnTo>
                    <a:pt x="748" y="3"/>
                  </a:lnTo>
                  <a:lnTo>
                    <a:pt x="727" y="0"/>
                  </a:lnTo>
                  <a:lnTo>
                    <a:pt x="685" y="9"/>
                  </a:lnTo>
                  <a:lnTo>
                    <a:pt x="668" y="1"/>
                  </a:lnTo>
                  <a:lnTo>
                    <a:pt x="659" y="6"/>
                  </a:lnTo>
                  <a:lnTo>
                    <a:pt x="653" y="6"/>
                  </a:lnTo>
                  <a:lnTo>
                    <a:pt x="652" y="12"/>
                  </a:lnTo>
                  <a:lnTo>
                    <a:pt x="641" y="22"/>
                  </a:lnTo>
                  <a:lnTo>
                    <a:pt x="620" y="16"/>
                  </a:lnTo>
                  <a:lnTo>
                    <a:pt x="566" y="24"/>
                  </a:lnTo>
                  <a:lnTo>
                    <a:pt x="535" y="65"/>
                  </a:lnTo>
                  <a:lnTo>
                    <a:pt x="531" y="96"/>
                  </a:lnTo>
                  <a:lnTo>
                    <a:pt x="537" y="102"/>
                  </a:lnTo>
                  <a:lnTo>
                    <a:pt x="529" y="115"/>
                  </a:lnTo>
                  <a:lnTo>
                    <a:pt x="525" y="111"/>
                  </a:lnTo>
                  <a:lnTo>
                    <a:pt x="510" y="110"/>
                  </a:lnTo>
                  <a:lnTo>
                    <a:pt x="498" y="89"/>
                  </a:lnTo>
                  <a:lnTo>
                    <a:pt x="474" y="95"/>
                  </a:lnTo>
                  <a:lnTo>
                    <a:pt x="469" y="87"/>
                  </a:lnTo>
                  <a:lnTo>
                    <a:pt x="454" y="90"/>
                  </a:lnTo>
                  <a:lnTo>
                    <a:pt x="456" y="81"/>
                  </a:lnTo>
                  <a:lnTo>
                    <a:pt x="442" y="75"/>
                  </a:lnTo>
                  <a:lnTo>
                    <a:pt x="430" y="90"/>
                  </a:lnTo>
                  <a:lnTo>
                    <a:pt x="422" y="83"/>
                  </a:lnTo>
                  <a:lnTo>
                    <a:pt x="398" y="87"/>
                  </a:lnTo>
                  <a:lnTo>
                    <a:pt x="388" y="80"/>
                  </a:lnTo>
                  <a:lnTo>
                    <a:pt x="344" y="81"/>
                  </a:lnTo>
                  <a:lnTo>
                    <a:pt x="327" y="65"/>
                  </a:lnTo>
                  <a:lnTo>
                    <a:pt x="309" y="69"/>
                  </a:lnTo>
                  <a:lnTo>
                    <a:pt x="293" y="72"/>
                  </a:lnTo>
                  <a:lnTo>
                    <a:pt x="256" y="56"/>
                  </a:lnTo>
                  <a:lnTo>
                    <a:pt x="226" y="56"/>
                  </a:lnTo>
                  <a:lnTo>
                    <a:pt x="148" y="48"/>
                  </a:lnTo>
                  <a:lnTo>
                    <a:pt x="140" y="56"/>
                  </a:lnTo>
                  <a:lnTo>
                    <a:pt x="142" y="65"/>
                  </a:lnTo>
                  <a:lnTo>
                    <a:pt x="125" y="87"/>
                  </a:lnTo>
                  <a:lnTo>
                    <a:pt x="115" y="81"/>
                  </a:lnTo>
                  <a:lnTo>
                    <a:pt x="112" y="87"/>
                  </a:lnTo>
                  <a:lnTo>
                    <a:pt x="112" y="92"/>
                  </a:lnTo>
                  <a:lnTo>
                    <a:pt x="98" y="93"/>
                  </a:lnTo>
                  <a:lnTo>
                    <a:pt x="104" y="113"/>
                  </a:lnTo>
                  <a:lnTo>
                    <a:pt x="131" y="155"/>
                  </a:lnTo>
                  <a:lnTo>
                    <a:pt x="128" y="202"/>
                  </a:lnTo>
                  <a:lnTo>
                    <a:pt x="119" y="211"/>
                  </a:lnTo>
                  <a:lnTo>
                    <a:pt x="106" y="213"/>
                  </a:lnTo>
                  <a:lnTo>
                    <a:pt x="27" y="294"/>
                  </a:lnTo>
                  <a:lnTo>
                    <a:pt x="29" y="305"/>
                  </a:lnTo>
                  <a:lnTo>
                    <a:pt x="15" y="317"/>
                  </a:lnTo>
                  <a:lnTo>
                    <a:pt x="0" y="359"/>
                  </a:lnTo>
                  <a:lnTo>
                    <a:pt x="5" y="386"/>
                  </a:lnTo>
                  <a:lnTo>
                    <a:pt x="15" y="397"/>
                  </a:lnTo>
                  <a:lnTo>
                    <a:pt x="20" y="416"/>
                  </a:lnTo>
                  <a:lnTo>
                    <a:pt x="30" y="419"/>
                  </a:lnTo>
                  <a:lnTo>
                    <a:pt x="35" y="434"/>
                  </a:lnTo>
                  <a:lnTo>
                    <a:pt x="44" y="439"/>
                  </a:lnTo>
                  <a:lnTo>
                    <a:pt x="66" y="422"/>
                  </a:lnTo>
                  <a:lnTo>
                    <a:pt x="119" y="437"/>
                  </a:lnTo>
                  <a:lnTo>
                    <a:pt x="131" y="433"/>
                  </a:lnTo>
                  <a:lnTo>
                    <a:pt x="143" y="442"/>
                  </a:lnTo>
                  <a:lnTo>
                    <a:pt x="154" y="439"/>
                  </a:lnTo>
                  <a:lnTo>
                    <a:pt x="172" y="448"/>
                  </a:lnTo>
                  <a:lnTo>
                    <a:pt x="196" y="434"/>
                  </a:lnTo>
                  <a:lnTo>
                    <a:pt x="225" y="433"/>
                  </a:lnTo>
                  <a:lnTo>
                    <a:pt x="235" y="437"/>
                  </a:lnTo>
                  <a:lnTo>
                    <a:pt x="262" y="403"/>
                  </a:lnTo>
                  <a:lnTo>
                    <a:pt x="303" y="398"/>
                  </a:lnTo>
                  <a:lnTo>
                    <a:pt x="305" y="389"/>
                  </a:lnTo>
                  <a:lnTo>
                    <a:pt x="338" y="376"/>
                  </a:lnTo>
                  <a:lnTo>
                    <a:pt x="416" y="406"/>
                  </a:lnTo>
                  <a:lnTo>
                    <a:pt x="440" y="409"/>
                  </a:lnTo>
                  <a:lnTo>
                    <a:pt x="465" y="454"/>
                  </a:lnTo>
                  <a:lnTo>
                    <a:pt x="462" y="477"/>
                  </a:lnTo>
                  <a:lnTo>
                    <a:pt x="474" y="501"/>
                  </a:lnTo>
                  <a:lnTo>
                    <a:pt x="484" y="502"/>
                  </a:lnTo>
                  <a:lnTo>
                    <a:pt x="501" y="541"/>
                  </a:lnTo>
                  <a:lnTo>
                    <a:pt x="499" y="557"/>
                  </a:lnTo>
                  <a:lnTo>
                    <a:pt x="511" y="572"/>
                  </a:lnTo>
                  <a:lnTo>
                    <a:pt x="502" y="576"/>
                  </a:lnTo>
                  <a:lnTo>
                    <a:pt x="492" y="569"/>
                  </a:lnTo>
                  <a:lnTo>
                    <a:pt x="481" y="572"/>
                  </a:lnTo>
                  <a:lnTo>
                    <a:pt x="454" y="573"/>
                  </a:lnTo>
                  <a:lnTo>
                    <a:pt x="445" y="567"/>
                  </a:lnTo>
                  <a:lnTo>
                    <a:pt x="436" y="578"/>
                  </a:lnTo>
                  <a:lnTo>
                    <a:pt x="430" y="606"/>
                  </a:lnTo>
                  <a:lnTo>
                    <a:pt x="410" y="621"/>
                  </a:lnTo>
                  <a:lnTo>
                    <a:pt x="391" y="627"/>
                  </a:lnTo>
                  <a:lnTo>
                    <a:pt x="383" y="652"/>
                  </a:lnTo>
                  <a:lnTo>
                    <a:pt x="409" y="676"/>
                  </a:lnTo>
                  <a:lnTo>
                    <a:pt x="430" y="673"/>
                  </a:lnTo>
                  <a:lnTo>
                    <a:pt x="443" y="662"/>
                  </a:lnTo>
                  <a:lnTo>
                    <a:pt x="462" y="661"/>
                  </a:lnTo>
                  <a:lnTo>
                    <a:pt x="480" y="677"/>
                  </a:lnTo>
                  <a:lnTo>
                    <a:pt x="478" y="671"/>
                  </a:lnTo>
                  <a:lnTo>
                    <a:pt x="484" y="668"/>
                  </a:lnTo>
                  <a:lnTo>
                    <a:pt x="483" y="659"/>
                  </a:lnTo>
                  <a:lnTo>
                    <a:pt x="475" y="655"/>
                  </a:lnTo>
                  <a:lnTo>
                    <a:pt x="475" y="643"/>
                  </a:lnTo>
                  <a:lnTo>
                    <a:pt x="481" y="627"/>
                  </a:lnTo>
                  <a:lnTo>
                    <a:pt x="486" y="630"/>
                  </a:lnTo>
                  <a:lnTo>
                    <a:pt x="486" y="638"/>
                  </a:lnTo>
                  <a:lnTo>
                    <a:pt x="483" y="641"/>
                  </a:lnTo>
                  <a:lnTo>
                    <a:pt x="484" y="649"/>
                  </a:lnTo>
                  <a:lnTo>
                    <a:pt x="489" y="653"/>
                  </a:lnTo>
                  <a:lnTo>
                    <a:pt x="501" y="646"/>
                  </a:lnTo>
                  <a:lnTo>
                    <a:pt x="495" y="640"/>
                  </a:lnTo>
                  <a:lnTo>
                    <a:pt x="505" y="637"/>
                  </a:lnTo>
                  <a:lnTo>
                    <a:pt x="514" y="637"/>
                  </a:lnTo>
                  <a:lnTo>
                    <a:pt x="517" y="635"/>
                  </a:lnTo>
                  <a:lnTo>
                    <a:pt x="523" y="630"/>
                  </a:lnTo>
                  <a:lnTo>
                    <a:pt x="531" y="627"/>
                  </a:lnTo>
                  <a:lnTo>
                    <a:pt x="534" y="620"/>
                  </a:lnTo>
                  <a:lnTo>
                    <a:pt x="532" y="611"/>
                  </a:lnTo>
                  <a:lnTo>
                    <a:pt x="529" y="608"/>
                  </a:lnTo>
                  <a:lnTo>
                    <a:pt x="523" y="605"/>
                  </a:lnTo>
                  <a:lnTo>
                    <a:pt x="516" y="596"/>
                  </a:lnTo>
                  <a:lnTo>
                    <a:pt x="517" y="587"/>
                  </a:lnTo>
                  <a:lnTo>
                    <a:pt x="523" y="590"/>
                  </a:lnTo>
                  <a:lnTo>
                    <a:pt x="525" y="596"/>
                  </a:lnTo>
                  <a:lnTo>
                    <a:pt x="528" y="590"/>
                  </a:lnTo>
                  <a:lnTo>
                    <a:pt x="529" y="597"/>
                  </a:lnTo>
                  <a:lnTo>
                    <a:pt x="535" y="602"/>
                  </a:lnTo>
                  <a:lnTo>
                    <a:pt x="541" y="603"/>
                  </a:lnTo>
                  <a:lnTo>
                    <a:pt x="538" y="609"/>
                  </a:lnTo>
                  <a:lnTo>
                    <a:pt x="538" y="612"/>
                  </a:lnTo>
                  <a:lnTo>
                    <a:pt x="544" y="603"/>
                  </a:lnTo>
                  <a:lnTo>
                    <a:pt x="552" y="596"/>
                  </a:lnTo>
                  <a:lnTo>
                    <a:pt x="554" y="585"/>
                  </a:lnTo>
                  <a:lnTo>
                    <a:pt x="558" y="578"/>
                  </a:lnTo>
                  <a:lnTo>
                    <a:pt x="557" y="570"/>
                  </a:lnTo>
                  <a:lnTo>
                    <a:pt x="560" y="567"/>
                  </a:lnTo>
                  <a:lnTo>
                    <a:pt x="579" y="566"/>
                  </a:lnTo>
                  <a:lnTo>
                    <a:pt x="587" y="563"/>
                  </a:lnTo>
                  <a:lnTo>
                    <a:pt x="597" y="561"/>
                  </a:lnTo>
                  <a:lnTo>
                    <a:pt x="600" y="557"/>
                  </a:lnTo>
                  <a:lnTo>
                    <a:pt x="599" y="544"/>
                  </a:lnTo>
                  <a:lnTo>
                    <a:pt x="602" y="549"/>
                  </a:lnTo>
                  <a:lnTo>
                    <a:pt x="609" y="549"/>
                  </a:lnTo>
                  <a:lnTo>
                    <a:pt x="602" y="563"/>
                  </a:lnTo>
                  <a:lnTo>
                    <a:pt x="609" y="563"/>
                  </a:lnTo>
                  <a:lnTo>
                    <a:pt x="614" y="560"/>
                  </a:lnTo>
                  <a:lnTo>
                    <a:pt x="618" y="564"/>
                  </a:lnTo>
                  <a:lnTo>
                    <a:pt x="626" y="561"/>
                  </a:lnTo>
                  <a:lnTo>
                    <a:pt x="627" y="557"/>
                  </a:lnTo>
                  <a:lnTo>
                    <a:pt x="624" y="551"/>
                  </a:lnTo>
                  <a:lnTo>
                    <a:pt x="623" y="543"/>
                  </a:lnTo>
                  <a:lnTo>
                    <a:pt x="629" y="537"/>
                  </a:lnTo>
                  <a:lnTo>
                    <a:pt x="626" y="534"/>
                  </a:lnTo>
                  <a:lnTo>
                    <a:pt x="629" y="523"/>
                  </a:lnTo>
                  <a:lnTo>
                    <a:pt x="630" y="531"/>
                  </a:lnTo>
                  <a:lnTo>
                    <a:pt x="633" y="538"/>
                  </a:lnTo>
                  <a:lnTo>
                    <a:pt x="627" y="543"/>
                  </a:lnTo>
                  <a:lnTo>
                    <a:pt x="629" y="552"/>
                  </a:lnTo>
                  <a:lnTo>
                    <a:pt x="630" y="557"/>
                  </a:lnTo>
                  <a:lnTo>
                    <a:pt x="637" y="563"/>
                  </a:lnTo>
                  <a:lnTo>
                    <a:pt x="643" y="570"/>
                  </a:lnTo>
                  <a:lnTo>
                    <a:pt x="658" y="567"/>
                  </a:lnTo>
                  <a:lnTo>
                    <a:pt x="685" y="548"/>
                  </a:lnTo>
                  <a:lnTo>
                    <a:pt x="655" y="578"/>
                  </a:lnTo>
                  <a:lnTo>
                    <a:pt x="644" y="573"/>
                  </a:lnTo>
                  <a:lnTo>
                    <a:pt x="632" y="570"/>
                  </a:lnTo>
                  <a:lnTo>
                    <a:pt x="620" y="567"/>
                  </a:lnTo>
                  <a:lnTo>
                    <a:pt x="615" y="570"/>
                  </a:lnTo>
                  <a:lnTo>
                    <a:pt x="605" y="566"/>
                  </a:lnTo>
                  <a:lnTo>
                    <a:pt x="606" y="569"/>
                  </a:lnTo>
                  <a:lnTo>
                    <a:pt x="617" y="578"/>
                  </a:lnTo>
                  <a:lnTo>
                    <a:pt x="624" y="575"/>
                  </a:lnTo>
                  <a:lnTo>
                    <a:pt x="638" y="578"/>
                  </a:lnTo>
                  <a:lnTo>
                    <a:pt x="644" y="588"/>
                  </a:lnTo>
                  <a:lnTo>
                    <a:pt x="640" y="588"/>
                  </a:lnTo>
                  <a:lnTo>
                    <a:pt x="621" y="593"/>
                  </a:lnTo>
                  <a:lnTo>
                    <a:pt x="621" y="600"/>
                  </a:lnTo>
                  <a:lnTo>
                    <a:pt x="630" y="603"/>
                  </a:lnTo>
                  <a:lnTo>
                    <a:pt x="632" y="597"/>
                  </a:lnTo>
                  <a:lnTo>
                    <a:pt x="644" y="597"/>
                  </a:lnTo>
                  <a:lnTo>
                    <a:pt x="664" y="614"/>
                  </a:lnTo>
                  <a:lnTo>
                    <a:pt x="656" y="612"/>
                  </a:lnTo>
                  <a:lnTo>
                    <a:pt x="615" y="603"/>
                  </a:lnTo>
                  <a:lnTo>
                    <a:pt x="612" y="596"/>
                  </a:lnTo>
                  <a:lnTo>
                    <a:pt x="614" y="603"/>
                  </a:lnTo>
                  <a:lnTo>
                    <a:pt x="662" y="617"/>
                  </a:lnTo>
                  <a:lnTo>
                    <a:pt x="670" y="615"/>
                  </a:lnTo>
                  <a:lnTo>
                    <a:pt x="685" y="618"/>
                  </a:lnTo>
                  <a:lnTo>
                    <a:pt x="689" y="617"/>
                  </a:lnTo>
                  <a:lnTo>
                    <a:pt x="676" y="614"/>
                  </a:lnTo>
                  <a:lnTo>
                    <a:pt x="676" y="609"/>
                  </a:lnTo>
                  <a:lnTo>
                    <a:pt x="685" y="605"/>
                  </a:lnTo>
                  <a:lnTo>
                    <a:pt x="694" y="603"/>
                  </a:lnTo>
                  <a:lnTo>
                    <a:pt x="697" y="603"/>
                  </a:lnTo>
                  <a:lnTo>
                    <a:pt x="698" y="599"/>
                  </a:lnTo>
                  <a:lnTo>
                    <a:pt x="706" y="603"/>
                  </a:lnTo>
                  <a:lnTo>
                    <a:pt x="710" y="600"/>
                  </a:lnTo>
                  <a:lnTo>
                    <a:pt x="710" y="608"/>
                  </a:lnTo>
                  <a:lnTo>
                    <a:pt x="716" y="611"/>
                  </a:lnTo>
                  <a:lnTo>
                    <a:pt x="721" y="609"/>
                  </a:lnTo>
                  <a:lnTo>
                    <a:pt x="727" y="614"/>
                  </a:lnTo>
                  <a:lnTo>
                    <a:pt x="730" y="615"/>
                  </a:lnTo>
                  <a:lnTo>
                    <a:pt x="725" y="606"/>
                  </a:lnTo>
                  <a:lnTo>
                    <a:pt x="730" y="605"/>
                  </a:lnTo>
                  <a:lnTo>
                    <a:pt x="735" y="596"/>
                  </a:lnTo>
                  <a:lnTo>
                    <a:pt x="736" y="609"/>
                  </a:lnTo>
                  <a:lnTo>
                    <a:pt x="739" y="614"/>
                  </a:lnTo>
                  <a:lnTo>
                    <a:pt x="741" y="621"/>
                  </a:lnTo>
                  <a:lnTo>
                    <a:pt x="753" y="617"/>
                  </a:lnTo>
                  <a:lnTo>
                    <a:pt x="745" y="624"/>
                  </a:lnTo>
                  <a:lnTo>
                    <a:pt x="750" y="630"/>
                  </a:lnTo>
                  <a:lnTo>
                    <a:pt x="742" y="629"/>
                  </a:lnTo>
                  <a:lnTo>
                    <a:pt x="724" y="634"/>
                  </a:lnTo>
                  <a:lnTo>
                    <a:pt x="709" y="640"/>
                  </a:lnTo>
                  <a:lnTo>
                    <a:pt x="706" y="635"/>
                  </a:lnTo>
                  <a:lnTo>
                    <a:pt x="703" y="641"/>
                  </a:lnTo>
                  <a:lnTo>
                    <a:pt x="685" y="656"/>
                  </a:lnTo>
                  <a:lnTo>
                    <a:pt x="671" y="667"/>
                  </a:lnTo>
                  <a:lnTo>
                    <a:pt x="667" y="670"/>
                  </a:lnTo>
                  <a:lnTo>
                    <a:pt x="668" y="676"/>
                  </a:lnTo>
                  <a:lnTo>
                    <a:pt x="677" y="680"/>
                  </a:lnTo>
                  <a:lnTo>
                    <a:pt x="686" y="683"/>
                  </a:lnTo>
                  <a:lnTo>
                    <a:pt x="691" y="677"/>
                  </a:lnTo>
                  <a:lnTo>
                    <a:pt x="700" y="677"/>
                  </a:lnTo>
                  <a:lnTo>
                    <a:pt x="713" y="688"/>
                  </a:lnTo>
                  <a:lnTo>
                    <a:pt x="715" y="694"/>
                  </a:lnTo>
                  <a:lnTo>
                    <a:pt x="725" y="691"/>
                  </a:lnTo>
                  <a:lnTo>
                    <a:pt x="736" y="706"/>
                  </a:lnTo>
                  <a:lnTo>
                    <a:pt x="733" y="726"/>
                  </a:lnTo>
                  <a:lnTo>
                    <a:pt x="729" y="727"/>
                  </a:lnTo>
                  <a:lnTo>
                    <a:pt x="730" y="739"/>
                  </a:lnTo>
                  <a:lnTo>
                    <a:pt x="718" y="748"/>
                  </a:lnTo>
                  <a:lnTo>
                    <a:pt x="719" y="754"/>
                  </a:lnTo>
                  <a:lnTo>
                    <a:pt x="738" y="756"/>
                  </a:lnTo>
                  <a:lnTo>
                    <a:pt x="756" y="766"/>
                  </a:lnTo>
                  <a:lnTo>
                    <a:pt x="774" y="753"/>
                  </a:lnTo>
                  <a:lnTo>
                    <a:pt x="793" y="736"/>
                  </a:lnTo>
                  <a:lnTo>
                    <a:pt x="808" y="721"/>
                  </a:lnTo>
                  <a:lnTo>
                    <a:pt x="814" y="718"/>
                  </a:lnTo>
                  <a:lnTo>
                    <a:pt x="821" y="723"/>
                  </a:lnTo>
                  <a:lnTo>
                    <a:pt x="830" y="723"/>
                  </a:lnTo>
                  <a:lnTo>
                    <a:pt x="834" y="715"/>
                  </a:lnTo>
                  <a:lnTo>
                    <a:pt x="849" y="710"/>
                  </a:lnTo>
                  <a:lnTo>
                    <a:pt x="854" y="701"/>
                  </a:lnTo>
                  <a:lnTo>
                    <a:pt x="860" y="694"/>
                  </a:lnTo>
                  <a:lnTo>
                    <a:pt x="875" y="692"/>
                  </a:lnTo>
                  <a:lnTo>
                    <a:pt x="890" y="704"/>
                  </a:lnTo>
                  <a:lnTo>
                    <a:pt x="900" y="698"/>
                  </a:lnTo>
                  <a:lnTo>
                    <a:pt x="908" y="697"/>
                  </a:lnTo>
                  <a:lnTo>
                    <a:pt x="913" y="695"/>
                  </a:lnTo>
                  <a:lnTo>
                    <a:pt x="916" y="688"/>
                  </a:lnTo>
                  <a:lnTo>
                    <a:pt x="917" y="674"/>
                  </a:lnTo>
                  <a:lnTo>
                    <a:pt x="919" y="673"/>
                  </a:lnTo>
                  <a:lnTo>
                    <a:pt x="929" y="674"/>
                  </a:lnTo>
                  <a:lnTo>
                    <a:pt x="932" y="670"/>
                  </a:lnTo>
                  <a:lnTo>
                    <a:pt x="920" y="662"/>
                  </a:lnTo>
                  <a:lnTo>
                    <a:pt x="911" y="661"/>
                  </a:lnTo>
                  <a:lnTo>
                    <a:pt x="899" y="664"/>
                  </a:lnTo>
                  <a:lnTo>
                    <a:pt x="896" y="667"/>
                  </a:lnTo>
                  <a:lnTo>
                    <a:pt x="890" y="671"/>
                  </a:lnTo>
                  <a:lnTo>
                    <a:pt x="884" y="662"/>
                  </a:lnTo>
                  <a:lnTo>
                    <a:pt x="878" y="668"/>
                  </a:lnTo>
                  <a:lnTo>
                    <a:pt x="875" y="673"/>
                  </a:lnTo>
                  <a:lnTo>
                    <a:pt x="869" y="671"/>
                  </a:lnTo>
                  <a:lnTo>
                    <a:pt x="864" y="670"/>
                  </a:lnTo>
                  <a:lnTo>
                    <a:pt x="851" y="664"/>
                  </a:lnTo>
                  <a:lnTo>
                    <a:pt x="837" y="644"/>
                  </a:lnTo>
                  <a:lnTo>
                    <a:pt x="814" y="603"/>
                  </a:lnTo>
                  <a:lnTo>
                    <a:pt x="813" y="605"/>
                  </a:lnTo>
                  <a:lnTo>
                    <a:pt x="814" y="608"/>
                  </a:lnTo>
                  <a:lnTo>
                    <a:pt x="808" y="611"/>
                  </a:lnTo>
                  <a:lnTo>
                    <a:pt x="811" y="620"/>
                  </a:lnTo>
                  <a:lnTo>
                    <a:pt x="816" y="626"/>
                  </a:lnTo>
                  <a:lnTo>
                    <a:pt x="821" y="620"/>
                  </a:lnTo>
                  <a:lnTo>
                    <a:pt x="833" y="644"/>
                  </a:lnTo>
                  <a:lnTo>
                    <a:pt x="848" y="665"/>
                  </a:lnTo>
                  <a:lnTo>
                    <a:pt x="866" y="676"/>
                  </a:lnTo>
                  <a:lnTo>
                    <a:pt x="863" y="680"/>
                  </a:lnTo>
                  <a:lnTo>
                    <a:pt x="836" y="671"/>
                  </a:lnTo>
                  <a:lnTo>
                    <a:pt x="824" y="671"/>
                  </a:lnTo>
                  <a:lnTo>
                    <a:pt x="827" y="653"/>
                  </a:lnTo>
                  <a:lnTo>
                    <a:pt x="819" y="646"/>
                  </a:lnTo>
                  <a:lnTo>
                    <a:pt x="811" y="641"/>
                  </a:lnTo>
                  <a:lnTo>
                    <a:pt x="801" y="641"/>
                  </a:lnTo>
                  <a:lnTo>
                    <a:pt x="805" y="637"/>
                  </a:lnTo>
                  <a:lnTo>
                    <a:pt x="801" y="635"/>
                  </a:lnTo>
                  <a:lnTo>
                    <a:pt x="787" y="637"/>
                  </a:lnTo>
                  <a:lnTo>
                    <a:pt x="789" y="634"/>
                  </a:lnTo>
                  <a:lnTo>
                    <a:pt x="796" y="626"/>
                  </a:lnTo>
                  <a:lnTo>
                    <a:pt x="792" y="621"/>
                  </a:lnTo>
                  <a:lnTo>
                    <a:pt x="786" y="620"/>
                  </a:lnTo>
                  <a:lnTo>
                    <a:pt x="772" y="611"/>
                  </a:lnTo>
                  <a:lnTo>
                    <a:pt x="771" y="615"/>
                  </a:lnTo>
                  <a:lnTo>
                    <a:pt x="772" y="626"/>
                  </a:lnTo>
                  <a:lnTo>
                    <a:pt x="768" y="624"/>
                  </a:lnTo>
                  <a:lnTo>
                    <a:pt x="765" y="615"/>
                  </a:lnTo>
                  <a:lnTo>
                    <a:pt x="757" y="611"/>
                  </a:lnTo>
                  <a:lnTo>
                    <a:pt x="751" y="611"/>
                  </a:lnTo>
                  <a:lnTo>
                    <a:pt x="747" y="606"/>
                  </a:lnTo>
                  <a:lnTo>
                    <a:pt x="741" y="600"/>
                  </a:lnTo>
                  <a:lnTo>
                    <a:pt x="744" y="587"/>
                  </a:lnTo>
                  <a:lnTo>
                    <a:pt x="753" y="593"/>
                  </a:lnTo>
                  <a:lnTo>
                    <a:pt x="757" y="599"/>
                  </a:lnTo>
                  <a:lnTo>
                    <a:pt x="762" y="608"/>
                  </a:lnTo>
                  <a:lnTo>
                    <a:pt x="766" y="600"/>
                  </a:lnTo>
                  <a:lnTo>
                    <a:pt x="772" y="605"/>
                  </a:lnTo>
                  <a:lnTo>
                    <a:pt x="774" y="599"/>
                  </a:lnTo>
                  <a:lnTo>
                    <a:pt x="781" y="599"/>
                  </a:lnTo>
                  <a:lnTo>
                    <a:pt x="789" y="608"/>
                  </a:lnTo>
                  <a:lnTo>
                    <a:pt x="795" y="605"/>
                  </a:lnTo>
                  <a:lnTo>
                    <a:pt x="795" y="608"/>
                  </a:lnTo>
                  <a:lnTo>
                    <a:pt x="789" y="609"/>
                  </a:lnTo>
                  <a:lnTo>
                    <a:pt x="792" y="615"/>
                  </a:lnTo>
                  <a:lnTo>
                    <a:pt x="795" y="618"/>
                  </a:lnTo>
                  <a:lnTo>
                    <a:pt x="801" y="614"/>
                  </a:lnTo>
                  <a:lnTo>
                    <a:pt x="804" y="602"/>
                  </a:lnTo>
                  <a:lnTo>
                    <a:pt x="811" y="600"/>
                  </a:lnTo>
                  <a:lnTo>
                    <a:pt x="814" y="597"/>
                  </a:lnTo>
                  <a:lnTo>
                    <a:pt x="825" y="593"/>
                  </a:lnTo>
                  <a:lnTo>
                    <a:pt x="834" y="584"/>
                  </a:lnTo>
                  <a:lnTo>
                    <a:pt x="831" y="582"/>
                  </a:lnTo>
                  <a:lnTo>
                    <a:pt x="834" y="570"/>
                  </a:lnTo>
                  <a:lnTo>
                    <a:pt x="839" y="575"/>
                  </a:lnTo>
                  <a:lnTo>
                    <a:pt x="839" y="582"/>
                  </a:lnTo>
                  <a:lnTo>
                    <a:pt x="840" y="585"/>
                  </a:lnTo>
                  <a:lnTo>
                    <a:pt x="846" y="581"/>
                  </a:lnTo>
                  <a:lnTo>
                    <a:pt x="842" y="581"/>
                  </a:lnTo>
                  <a:lnTo>
                    <a:pt x="840" y="563"/>
                  </a:lnTo>
                  <a:lnTo>
                    <a:pt x="843" y="555"/>
                  </a:lnTo>
                  <a:lnTo>
                    <a:pt x="846" y="573"/>
                  </a:lnTo>
                  <a:lnTo>
                    <a:pt x="849" y="578"/>
                  </a:lnTo>
                  <a:lnTo>
                    <a:pt x="866" y="572"/>
                  </a:lnTo>
                  <a:lnTo>
                    <a:pt x="879" y="566"/>
                  </a:lnTo>
                  <a:lnTo>
                    <a:pt x="890" y="554"/>
                  </a:lnTo>
                  <a:lnTo>
                    <a:pt x="900" y="558"/>
                  </a:lnTo>
                  <a:lnTo>
                    <a:pt x="900" y="563"/>
                  </a:lnTo>
                  <a:lnTo>
                    <a:pt x="908" y="561"/>
                  </a:lnTo>
                  <a:lnTo>
                    <a:pt x="911" y="552"/>
                  </a:lnTo>
                  <a:lnTo>
                    <a:pt x="913" y="544"/>
                  </a:lnTo>
                  <a:lnTo>
                    <a:pt x="922" y="543"/>
                  </a:lnTo>
                  <a:lnTo>
                    <a:pt x="931" y="544"/>
                  </a:lnTo>
                  <a:lnTo>
                    <a:pt x="935" y="552"/>
                  </a:lnTo>
                  <a:lnTo>
                    <a:pt x="943" y="549"/>
                  </a:lnTo>
                  <a:lnTo>
                    <a:pt x="950" y="534"/>
                  </a:lnTo>
                  <a:lnTo>
                    <a:pt x="971" y="526"/>
                  </a:lnTo>
                  <a:lnTo>
                    <a:pt x="973" y="528"/>
                  </a:lnTo>
                  <a:lnTo>
                    <a:pt x="979" y="525"/>
                  </a:lnTo>
                  <a:lnTo>
                    <a:pt x="983" y="516"/>
                  </a:lnTo>
                  <a:lnTo>
                    <a:pt x="1002" y="507"/>
                  </a:lnTo>
                  <a:lnTo>
                    <a:pt x="1021" y="510"/>
                  </a:lnTo>
                  <a:lnTo>
                    <a:pt x="1018" y="516"/>
                  </a:lnTo>
                  <a:lnTo>
                    <a:pt x="1023" y="516"/>
                  </a:lnTo>
                  <a:lnTo>
                    <a:pt x="1032" y="505"/>
                  </a:lnTo>
                  <a:lnTo>
                    <a:pt x="1038" y="478"/>
                  </a:lnTo>
                  <a:lnTo>
                    <a:pt x="1068" y="443"/>
                  </a:lnTo>
                  <a:lnTo>
                    <a:pt x="1068" y="443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000" name="Freeform 345"/>
            <p:cNvSpPr>
              <a:spLocks/>
            </p:cNvSpPr>
            <p:nvPr userDrawn="1"/>
          </p:nvSpPr>
          <p:spPr bwMode="auto">
            <a:xfrm>
              <a:off x="4739" y="2790"/>
              <a:ext cx="597" cy="427"/>
            </a:xfrm>
            <a:custGeom>
              <a:avLst/>
              <a:gdLst>
                <a:gd name="T0" fmla="*/ 543 w 597"/>
                <a:gd name="T1" fmla="*/ 275 h 427"/>
                <a:gd name="T2" fmla="*/ 496 w 597"/>
                <a:gd name="T3" fmla="*/ 254 h 427"/>
                <a:gd name="T4" fmla="*/ 499 w 597"/>
                <a:gd name="T5" fmla="*/ 202 h 427"/>
                <a:gd name="T6" fmla="*/ 492 w 597"/>
                <a:gd name="T7" fmla="*/ 112 h 427"/>
                <a:gd name="T8" fmla="*/ 434 w 597"/>
                <a:gd name="T9" fmla="*/ 20 h 427"/>
                <a:gd name="T10" fmla="*/ 375 w 597"/>
                <a:gd name="T11" fmla="*/ 5 h 427"/>
                <a:gd name="T12" fmla="*/ 338 w 597"/>
                <a:gd name="T13" fmla="*/ 35 h 427"/>
                <a:gd name="T14" fmla="*/ 285 w 597"/>
                <a:gd name="T15" fmla="*/ 50 h 427"/>
                <a:gd name="T16" fmla="*/ 256 w 597"/>
                <a:gd name="T17" fmla="*/ 44 h 427"/>
                <a:gd name="T18" fmla="*/ 232 w 597"/>
                <a:gd name="T19" fmla="*/ 39 h 427"/>
                <a:gd name="T20" fmla="*/ 157 w 597"/>
                <a:gd name="T21" fmla="*/ 41 h 427"/>
                <a:gd name="T22" fmla="*/ 142 w 597"/>
                <a:gd name="T23" fmla="*/ 54 h 427"/>
                <a:gd name="T24" fmla="*/ 80 w 597"/>
                <a:gd name="T25" fmla="*/ 125 h 427"/>
                <a:gd name="T26" fmla="*/ 48 w 597"/>
                <a:gd name="T27" fmla="*/ 187 h 427"/>
                <a:gd name="T28" fmla="*/ 0 w 597"/>
                <a:gd name="T29" fmla="*/ 204 h 427"/>
                <a:gd name="T30" fmla="*/ 41 w 597"/>
                <a:gd name="T31" fmla="*/ 276 h 427"/>
                <a:gd name="T32" fmla="*/ 69 w 597"/>
                <a:gd name="T33" fmla="*/ 285 h 427"/>
                <a:gd name="T34" fmla="*/ 69 w 597"/>
                <a:gd name="T35" fmla="*/ 323 h 427"/>
                <a:gd name="T36" fmla="*/ 95 w 597"/>
                <a:gd name="T37" fmla="*/ 320 h 427"/>
                <a:gd name="T38" fmla="*/ 125 w 597"/>
                <a:gd name="T39" fmla="*/ 341 h 427"/>
                <a:gd name="T40" fmla="*/ 149 w 597"/>
                <a:gd name="T41" fmla="*/ 341 h 427"/>
                <a:gd name="T42" fmla="*/ 158 w 597"/>
                <a:gd name="T43" fmla="*/ 374 h 427"/>
                <a:gd name="T44" fmla="*/ 176 w 597"/>
                <a:gd name="T45" fmla="*/ 386 h 427"/>
                <a:gd name="T46" fmla="*/ 170 w 597"/>
                <a:gd name="T47" fmla="*/ 412 h 427"/>
                <a:gd name="T48" fmla="*/ 244 w 597"/>
                <a:gd name="T49" fmla="*/ 424 h 427"/>
                <a:gd name="T50" fmla="*/ 300 w 597"/>
                <a:gd name="T51" fmla="*/ 427 h 427"/>
                <a:gd name="T52" fmla="*/ 363 w 597"/>
                <a:gd name="T53" fmla="*/ 397 h 427"/>
                <a:gd name="T54" fmla="*/ 457 w 597"/>
                <a:gd name="T55" fmla="*/ 389 h 427"/>
                <a:gd name="T56" fmla="*/ 492 w 597"/>
                <a:gd name="T57" fmla="*/ 401 h 427"/>
                <a:gd name="T58" fmla="*/ 537 w 597"/>
                <a:gd name="T59" fmla="*/ 426 h 427"/>
                <a:gd name="T60" fmla="*/ 532 w 597"/>
                <a:gd name="T61" fmla="*/ 388 h 427"/>
                <a:gd name="T62" fmla="*/ 531 w 597"/>
                <a:gd name="T63" fmla="*/ 373 h 427"/>
                <a:gd name="T64" fmla="*/ 546 w 597"/>
                <a:gd name="T65" fmla="*/ 355 h 427"/>
                <a:gd name="T66" fmla="*/ 534 w 597"/>
                <a:gd name="T67" fmla="*/ 364 h 427"/>
                <a:gd name="T68" fmla="*/ 540 w 597"/>
                <a:gd name="T69" fmla="*/ 352 h 427"/>
                <a:gd name="T70" fmla="*/ 535 w 597"/>
                <a:gd name="T71" fmla="*/ 341 h 427"/>
                <a:gd name="T72" fmla="*/ 540 w 597"/>
                <a:gd name="T73" fmla="*/ 341 h 427"/>
                <a:gd name="T74" fmla="*/ 544 w 597"/>
                <a:gd name="T75" fmla="*/ 337 h 427"/>
                <a:gd name="T76" fmla="*/ 549 w 597"/>
                <a:gd name="T77" fmla="*/ 323 h 427"/>
                <a:gd name="T78" fmla="*/ 534 w 597"/>
                <a:gd name="T79" fmla="*/ 320 h 427"/>
                <a:gd name="T80" fmla="*/ 543 w 597"/>
                <a:gd name="T81" fmla="*/ 317 h 427"/>
                <a:gd name="T82" fmla="*/ 552 w 597"/>
                <a:gd name="T83" fmla="*/ 309 h 427"/>
                <a:gd name="T84" fmla="*/ 561 w 597"/>
                <a:gd name="T85" fmla="*/ 320 h 427"/>
                <a:gd name="T86" fmla="*/ 569 w 597"/>
                <a:gd name="T87" fmla="*/ 325 h 427"/>
                <a:gd name="T88" fmla="*/ 562 w 597"/>
                <a:gd name="T89" fmla="*/ 334 h 427"/>
                <a:gd name="T90" fmla="*/ 555 w 597"/>
                <a:gd name="T91" fmla="*/ 344 h 427"/>
                <a:gd name="T92" fmla="*/ 546 w 597"/>
                <a:gd name="T93" fmla="*/ 358 h 427"/>
                <a:gd name="T94" fmla="*/ 567 w 597"/>
                <a:gd name="T95" fmla="*/ 337 h 427"/>
                <a:gd name="T96" fmla="*/ 584 w 597"/>
                <a:gd name="T97" fmla="*/ 331 h 427"/>
                <a:gd name="T98" fmla="*/ 596 w 597"/>
                <a:gd name="T99" fmla="*/ 317 h 427"/>
                <a:gd name="T100" fmla="*/ 596 w 597"/>
                <a:gd name="T101" fmla="*/ 311 h 427"/>
                <a:gd name="T102" fmla="*/ 593 w 597"/>
                <a:gd name="T103" fmla="*/ 279 h 427"/>
                <a:gd name="T104" fmla="*/ 556 w 597"/>
                <a:gd name="T105" fmla="*/ 264 h 4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97" h="427">
                  <a:moveTo>
                    <a:pt x="556" y="264"/>
                  </a:moveTo>
                  <a:lnTo>
                    <a:pt x="543" y="275"/>
                  </a:lnTo>
                  <a:lnTo>
                    <a:pt x="522" y="278"/>
                  </a:lnTo>
                  <a:lnTo>
                    <a:pt x="496" y="254"/>
                  </a:lnTo>
                  <a:lnTo>
                    <a:pt x="504" y="229"/>
                  </a:lnTo>
                  <a:lnTo>
                    <a:pt x="499" y="202"/>
                  </a:lnTo>
                  <a:lnTo>
                    <a:pt x="502" y="143"/>
                  </a:lnTo>
                  <a:lnTo>
                    <a:pt x="492" y="112"/>
                  </a:lnTo>
                  <a:lnTo>
                    <a:pt x="451" y="59"/>
                  </a:lnTo>
                  <a:lnTo>
                    <a:pt x="434" y="20"/>
                  </a:lnTo>
                  <a:lnTo>
                    <a:pt x="416" y="0"/>
                  </a:lnTo>
                  <a:lnTo>
                    <a:pt x="375" y="5"/>
                  </a:lnTo>
                  <a:lnTo>
                    <a:pt x="348" y="39"/>
                  </a:lnTo>
                  <a:lnTo>
                    <a:pt x="338" y="35"/>
                  </a:lnTo>
                  <a:lnTo>
                    <a:pt x="309" y="36"/>
                  </a:lnTo>
                  <a:lnTo>
                    <a:pt x="285" y="50"/>
                  </a:lnTo>
                  <a:lnTo>
                    <a:pt x="267" y="41"/>
                  </a:lnTo>
                  <a:lnTo>
                    <a:pt x="256" y="44"/>
                  </a:lnTo>
                  <a:lnTo>
                    <a:pt x="244" y="35"/>
                  </a:lnTo>
                  <a:lnTo>
                    <a:pt x="232" y="39"/>
                  </a:lnTo>
                  <a:lnTo>
                    <a:pt x="179" y="24"/>
                  </a:lnTo>
                  <a:lnTo>
                    <a:pt x="157" y="41"/>
                  </a:lnTo>
                  <a:lnTo>
                    <a:pt x="152" y="54"/>
                  </a:lnTo>
                  <a:lnTo>
                    <a:pt x="142" y="54"/>
                  </a:lnTo>
                  <a:lnTo>
                    <a:pt x="111" y="85"/>
                  </a:lnTo>
                  <a:lnTo>
                    <a:pt x="80" y="125"/>
                  </a:lnTo>
                  <a:lnTo>
                    <a:pt x="63" y="169"/>
                  </a:lnTo>
                  <a:lnTo>
                    <a:pt x="48" y="187"/>
                  </a:lnTo>
                  <a:lnTo>
                    <a:pt x="27" y="190"/>
                  </a:lnTo>
                  <a:lnTo>
                    <a:pt x="0" y="204"/>
                  </a:lnTo>
                  <a:lnTo>
                    <a:pt x="36" y="257"/>
                  </a:lnTo>
                  <a:lnTo>
                    <a:pt x="41" y="276"/>
                  </a:lnTo>
                  <a:lnTo>
                    <a:pt x="53" y="281"/>
                  </a:lnTo>
                  <a:lnTo>
                    <a:pt x="69" y="285"/>
                  </a:lnTo>
                  <a:lnTo>
                    <a:pt x="77" y="300"/>
                  </a:lnTo>
                  <a:lnTo>
                    <a:pt x="69" y="323"/>
                  </a:lnTo>
                  <a:lnTo>
                    <a:pt x="77" y="325"/>
                  </a:lnTo>
                  <a:lnTo>
                    <a:pt x="95" y="320"/>
                  </a:lnTo>
                  <a:lnTo>
                    <a:pt x="116" y="341"/>
                  </a:lnTo>
                  <a:lnTo>
                    <a:pt x="125" y="341"/>
                  </a:lnTo>
                  <a:lnTo>
                    <a:pt x="140" y="334"/>
                  </a:lnTo>
                  <a:lnTo>
                    <a:pt x="149" y="341"/>
                  </a:lnTo>
                  <a:lnTo>
                    <a:pt x="145" y="362"/>
                  </a:lnTo>
                  <a:lnTo>
                    <a:pt x="158" y="374"/>
                  </a:lnTo>
                  <a:lnTo>
                    <a:pt x="176" y="376"/>
                  </a:lnTo>
                  <a:lnTo>
                    <a:pt x="176" y="386"/>
                  </a:lnTo>
                  <a:lnTo>
                    <a:pt x="161" y="395"/>
                  </a:lnTo>
                  <a:lnTo>
                    <a:pt x="170" y="412"/>
                  </a:lnTo>
                  <a:lnTo>
                    <a:pt x="197" y="409"/>
                  </a:lnTo>
                  <a:lnTo>
                    <a:pt x="244" y="424"/>
                  </a:lnTo>
                  <a:lnTo>
                    <a:pt x="258" y="417"/>
                  </a:lnTo>
                  <a:lnTo>
                    <a:pt x="300" y="427"/>
                  </a:lnTo>
                  <a:lnTo>
                    <a:pt x="333" y="426"/>
                  </a:lnTo>
                  <a:lnTo>
                    <a:pt x="363" y="397"/>
                  </a:lnTo>
                  <a:lnTo>
                    <a:pt x="428" y="379"/>
                  </a:lnTo>
                  <a:lnTo>
                    <a:pt x="457" y="389"/>
                  </a:lnTo>
                  <a:lnTo>
                    <a:pt x="478" y="385"/>
                  </a:lnTo>
                  <a:lnTo>
                    <a:pt x="492" y="401"/>
                  </a:lnTo>
                  <a:lnTo>
                    <a:pt x="508" y="401"/>
                  </a:lnTo>
                  <a:lnTo>
                    <a:pt x="537" y="426"/>
                  </a:lnTo>
                  <a:lnTo>
                    <a:pt x="532" y="411"/>
                  </a:lnTo>
                  <a:lnTo>
                    <a:pt x="532" y="388"/>
                  </a:lnTo>
                  <a:lnTo>
                    <a:pt x="532" y="377"/>
                  </a:lnTo>
                  <a:lnTo>
                    <a:pt x="531" y="373"/>
                  </a:lnTo>
                  <a:lnTo>
                    <a:pt x="546" y="358"/>
                  </a:lnTo>
                  <a:lnTo>
                    <a:pt x="546" y="355"/>
                  </a:lnTo>
                  <a:lnTo>
                    <a:pt x="537" y="356"/>
                  </a:lnTo>
                  <a:lnTo>
                    <a:pt x="534" y="364"/>
                  </a:lnTo>
                  <a:lnTo>
                    <a:pt x="532" y="356"/>
                  </a:lnTo>
                  <a:lnTo>
                    <a:pt x="540" y="352"/>
                  </a:lnTo>
                  <a:lnTo>
                    <a:pt x="540" y="347"/>
                  </a:lnTo>
                  <a:lnTo>
                    <a:pt x="535" y="341"/>
                  </a:lnTo>
                  <a:lnTo>
                    <a:pt x="537" y="338"/>
                  </a:lnTo>
                  <a:lnTo>
                    <a:pt x="540" y="341"/>
                  </a:lnTo>
                  <a:lnTo>
                    <a:pt x="543" y="340"/>
                  </a:lnTo>
                  <a:lnTo>
                    <a:pt x="544" y="337"/>
                  </a:lnTo>
                  <a:lnTo>
                    <a:pt x="552" y="328"/>
                  </a:lnTo>
                  <a:lnTo>
                    <a:pt x="549" y="323"/>
                  </a:lnTo>
                  <a:lnTo>
                    <a:pt x="547" y="322"/>
                  </a:lnTo>
                  <a:lnTo>
                    <a:pt x="534" y="320"/>
                  </a:lnTo>
                  <a:lnTo>
                    <a:pt x="534" y="315"/>
                  </a:lnTo>
                  <a:lnTo>
                    <a:pt x="543" y="317"/>
                  </a:lnTo>
                  <a:lnTo>
                    <a:pt x="544" y="312"/>
                  </a:lnTo>
                  <a:lnTo>
                    <a:pt x="552" y="309"/>
                  </a:lnTo>
                  <a:lnTo>
                    <a:pt x="558" y="314"/>
                  </a:lnTo>
                  <a:lnTo>
                    <a:pt x="561" y="320"/>
                  </a:lnTo>
                  <a:lnTo>
                    <a:pt x="558" y="326"/>
                  </a:lnTo>
                  <a:lnTo>
                    <a:pt x="569" y="325"/>
                  </a:lnTo>
                  <a:lnTo>
                    <a:pt x="569" y="328"/>
                  </a:lnTo>
                  <a:lnTo>
                    <a:pt x="562" y="334"/>
                  </a:lnTo>
                  <a:lnTo>
                    <a:pt x="555" y="338"/>
                  </a:lnTo>
                  <a:lnTo>
                    <a:pt x="555" y="344"/>
                  </a:lnTo>
                  <a:lnTo>
                    <a:pt x="549" y="353"/>
                  </a:lnTo>
                  <a:lnTo>
                    <a:pt x="546" y="358"/>
                  </a:lnTo>
                  <a:lnTo>
                    <a:pt x="558" y="347"/>
                  </a:lnTo>
                  <a:lnTo>
                    <a:pt x="567" y="337"/>
                  </a:lnTo>
                  <a:lnTo>
                    <a:pt x="576" y="334"/>
                  </a:lnTo>
                  <a:lnTo>
                    <a:pt x="584" y="331"/>
                  </a:lnTo>
                  <a:lnTo>
                    <a:pt x="596" y="325"/>
                  </a:lnTo>
                  <a:lnTo>
                    <a:pt x="596" y="317"/>
                  </a:lnTo>
                  <a:lnTo>
                    <a:pt x="593" y="309"/>
                  </a:lnTo>
                  <a:lnTo>
                    <a:pt x="596" y="311"/>
                  </a:lnTo>
                  <a:lnTo>
                    <a:pt x="597" y="296"/>
                  </a:lnTo>
                  <a:lnTo>
                    <a:pt x="593" y="279"/>
                  </a:lnTo>
                  <a:lnTo>
                    <a:pt x="575" y="263"/>
                  </a:lnTo>
                  <a:lnTo>
                    <a:pt x="556" y="264"/>
                  </a:lnTo>
                  <a:lnTo>
                    <a:pt x="556" y="264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001" name="Freeform 346"/>
            <p:cNvSpPr>
              <a:spLocks/>
            </p:cNvSpPr>
            <p:nvPr userDrawn="1"/>
          </p:nvSpPr>
          <p:spPr bwMode="auto">
            <a:xfrm>
              <a:off x="4220" y="2529"/>
              <a:ext cx="419" cy="243"/>
            </a:xfrm>
            <a:custGeom>
              <a:avLst/>
              <a:gdLst>
                <a:gd name="T0" fmla="*/ 139 w 419"/>
                <a:gd name="T1" fmla="*/ 237 h 243"/>
                <a:gd name="T2" fmla="*/ 146 w 419"/>
                <a:gd name="T3" fmla="*/ 243 h 243"/>
                <a:gd name="T4" fmla="*/ 160 w 419"/>
                <a:gd name="T5" fmla="*/ 239 h 243"/>
                <a:gd name="T6" fmla="*/ 160 w 419"/>
                <a:gd name="T7" fmla="*/ 226 h 243"/>
                <a:gd name="T8" fmla="*/ 186 w 419"/>
                <a:gd name="T9" fmla="*/ 220 h 243"/>
                <a:gd name="T10" fmla="*/ 180 w 419"/>
                <a:gd name="T11" fmla="*/ 198 h 243"/>
                <a:gd name="T12" fmla="*/ 193 w 419"/>
                <a:gd name="T13" fmla="*/ 196 h 243"/>
                <a:gd name="T14" fmla="*/ 205 w 419"/>
                <a:gd name="T15" fmla="*/ 208 h 243"/>
                <a:gd name="T16" fmla="*/ 229 w 419"/>
                <a:gd name="T17" fmla="*/ 204 h 243"/>
                <a:gd name="T18" fmla="*/ 259 w 419"/>
                <a:gd name="T19" fmla="*/ 216 h 243"/>
                <a:gd name="T20" fmla="*/ 278 w 419"/>
                <a:gd name="T21" fmla="*/ 214 h 243"/>
                <a:gd name="T22" fmla="*/ 300 w 419"/>
                <a:gd name="T23" fmla="*/ 216 h 243"/>
                <a:gd name="T24" fmla="*/ 311 w 419"/>
                <a:gd name="T25" fmla="*/ 196 h 243"/>
                <a:gd name="T26" fmla="*/ 339 w 419"/>
                <a:gd name="T27" fmla="*/ 198 h 243"/>
                <a:gd name="T28" fmla="*/ 351 w 419"/>
                <a:gd name="T29" fmla="*/ 190 h 243"/>
                <a:gd name="T30" fmla="*/ 376 w 419"/>
                <a:gd name="T31" fmla="*/ 174 h 243"/>
                <a:gd name="T32" fmla="*/ 388 w 419"/>
                <a:gd name="T33" fmla="*/ 154 h 243"/>
                <a:gd name="T34" fmla="*/ 415 w 419"/>
                <a:gd name="T35" fmla="*/ 148 h 243"/>
                <a:gd name="T36" fmla="*/ 419 w 419"/>
                <a:gd name="T37" fmla="*/ 142 h 243"/>
                <a:gd name="T38" fmla="*/ 418 w 419"/>
                <a:gd name="T39" fmla="*/ 139 h 243"/>
                <a:gd name="T40" fmla="*/ 404 w 419"/>
                <a:gd name="T41" fmla="*/ 131 h 243"/>
                <a:gd name="T42" fmla="*/ 404 w 419"/>
                <a:gd name="T43" fmla="*/ 112 h 243"/>
                <a:gd name="T44" fmla="*/ 376 w 419"/>
                <a:gd name="T45" fmla="*/ 94 h 243"/>
                <a:gd name="T46" fmla="*/ 364 w 419"/>
                <a:gd name="T47" fmla="*/ 98 h 243"/>
                <a:gd name="T48" fmla="*/ 356 w 419"/>
                <a:gd name="T49" fmla="*/ 65 h 243"/>
                <a:gd name="T50" fmla="*/ 348 w 419"/>
                <a:gd name="T51" fmla="*/ 67 h 243"/>
                <a:gd name="T52" fmla="*/ 318 w 419"/>
                <a:gd name="T53" fmla="*/ 68 h 243"/>
                <a:gd name="T54" fmla="*/ 300 w 419"/>
                <a:gd name="T55" fmla="*/ 53 h 243"/>
                <a:gd name="T56" fmla="*/ 291 w 419"/>
                <a:gd name="T57" fmla="*/ 64 h 243"/>
                <a:gd name="T58" fmla="*/ 300 w 419"/>
                <a:gd name="T59" fmla="*/ 80 h 243"/>
                <a:gd name="T60" fmla="*/ 285 w 419"/>
                <a:gd name="T61" fmla="*/ 85 h 243"/>
                <a:gd name="T62" fmla="*/ 264 w 419"/>
                <a:gd name="T63" fmla="*/ 64 h 243"/>
                <a:gd name="T64" fmla="*/ 270 w 419"/>
                <a:gd name="T65" fmla="*/ 42 h 243"/>
                <a:gd name="T66" fmla="*/ 243 w 419"/>
                <a:gd name="T67" fmla="*/ 47 h 243"/>
                <a:gd name="T68" fmla="*/ 228 w 419"/>
                <a:gd name="T69" fmla="*/ 30 h 243"/>
                <a:gd name="T70" fmla="*/ 213 w 419"/>
                <a:gd name="T71" fmla="*/ 38 h 243"/>
                <a:gd name="T72" fmla="*/ 204 w 419"/>
                <a:gd name="T73" fmla="*/ 36 h 243"/>
                <a:gd name="T74" fmla="*/ 198 w 419"/>
                <a:gd name="T75" fmla="*/ 2 h 243"/>
                <a:gd name="T76" fmla="*/ 183 w 419"/>
                <a:gd name="T77" fmla="*/ 0 h 243"/>
                <a:gd name="T78" fmla="*/ 176 w 419"/>
                <a:gd name="T79" fmla="*/ 14 h 243"/>
                <a:gd name="T80" fmla="*/ 167 w 419"/>
                <a:gd name="T81" fmla="*/ 20 h 243"/>
                <a:gd name="T82" fmla="*/ 140 w 419"/>
                <a:gd name="T83" fmla="*/ 0 h 243"/>
                <a:gd name="T84" fmla="*/ 125 w 419"/>
                <a:gd name="T85" fmla="*/ 3 h 243"/>
                <a:gd name="T86" fmla="*/ 130 w 419"/>
                <a:gd name="T87" fmla="*/ 18 h 243"/>
                <a:gd name="T88" fmla="*/ 109 w 419"/>
                <a:gd name="T89" fmla="*/ 24 h 243"/>
                <a:gd name="T90" fmla="*/ 75 w 419"/>
                <a:gd name="T91" fmla="*/ 50 h 243"/>
                <a:gd name="T92" fmla="*/ 60 w 419"/>
                <a:gd name="T93" fmla="*/ 51 h 243"/>
                <a:gd name="T94" fmla="*/ 26 w 419"/>
                <a:gd name="T95" fmla="*/ 68 h 243"/>
                <a:gd name="T96" fmla="*/ 17 w 419"/>
                <a:gd name="T97" fmla="*/ 76 h 243"/>
                <a:gd name="T98" fmla="*/ 8 w 419"/>
                <a:gd name="T99" fmla="*/ 60 h 243"/>
                <a:gd name="T100" fmla="*/ 0 w 419"/>
                <a:gd name="T101" fmla="*/ 70 h 243"/>
                <a:gd name="T102" fmla="*/ 3 w 419"/>
                <a:gd name="T103" fmla="*/ 88 h 243"/>
                <a:gd name="T104" fmla="*/ 24 w 419"/>
                <a:gd name="T105" fmla="*/ 115 h 243"/>
                <a:gd name="T106" fmla="*/ 27 w 419"/>
                <a:gd name="T107" fmla="*/ 145 h 243"/>
                <a:gd name="T108" fmla="*/ 53 w 419"/>
                <a:gd name="T109" fmla="*/ 172 h 243"/>
                <a:gd name="T110" fmla="*/ 75 w 419"/>
                <a:gd name="T111" fmla="*/ 184 h 243"/>
                <a:gd name="T112" fmla="*/ 80 w 419"/>
                <a:gd name="T113" fmla="*/ 204 h 243"/>
                <a:gd name="T114" fmla="*/ 103 w 419"/>
                <a:gd name="T115" fmla="*/ 220 h 243"/>
                <a:gd name="T116" fmla="*/ 107 w 419"/>
                <a:gd name="T117" fmla="*/ 229 h 243"/>
                <a:gd name="T118" fmla="*/ 121 w 419"/>
                <a:gd name="T119" fmla="*/ 235 h 243"/>
                <a:gd name="T120" fmla="*/ 139 w 419"/>
                <a:gd name="T121" fmla="*/ 237 h 243"/>
                <a:gd name="T122" fmla="*/ 139 w 419"/>
                <a:gd name="T123" fmla="*/ 237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19" h="243">
                  <a:moveTo>
                    <a:pt x="139" y="237"/>
                  </a:moveTo>
                  <a:lnTo>
                    <a:pt x="146" y="243"/>
                  </a:lnTo>
                  <a:lnTo>
                    <a:pt x="160" y="239"/>
                  </a:lnTo>
                  <a:lnTo>
                    <a:pt x="160" y="226"/>
                  </a:lnTo>
                  <a:lnTo>
                    <a:pt x="186" y="220"/>
                  </a:lnTo>
                  <a:lnTo>
                    <a:pt x="180" y="198"/>
                  </a:lnTo>
                  <a:lnTo>
                    <a:pt x="193" y="196"/>
                  </a:lnTo>
                  <a:lnTo>
                    <a:pt x="205" y="208"/>
                  </a:lnTo>
                  <a:lnTo>
                    <a:pt x="229" y="204"/>
                  </a:lnTo>
                  <a:lnTo>
                    <a:pt x="259" y="216"/>
                  </a:lnTo>
                  <a:lnTo>
                    <a:pt x="278" y="214"/>
                  </a:lnTo>
                  <a:lnTo>
                    <a:pt x="300" y="216"/>
                  </a:lnTo>
                  <a:lnTo>
                    <a:pt x="311" y="196"/>
                  </a:lnTo>
                  <a:lnTo>
                    <a:pt x="339" y="198"/>
                  </a:lnTo>
                  <a:lnTo>
                    <a:pt x="351" y="190"/>
                  </a:lnTo>
                  <a:lnTo>
                    <a:pt x="376" y="174"/>
                  </a:lnTo>
                  <a:lnTo>
                    <a:pt x="388" y="154"/>
                  </a:lnTo>
                  <a:lnTo>
                    <a:pt x="415" y="148"/>
                  </a:lnTo>
                  <a:lnTo>
                    <a:pt x="419" y="142"/>
                  </a:lnTo>
                  <a:lnTo>
                    <a:pt x="418" y="139"/>
                  </a:lnTo>
                  <a:lnTo>
                    <a:pt x="404" y="131"/>
                  </a:lnTo>
                  <a:lnTo>
                    <a:pt x="404" y="112"/>
                  </a:lnTo>
                  <a:lnTo>
                    <a:pt x="376" y="94"/>
                  </a:lnTo>
                  <a:lnTo>
                    <a:pt x="364" y="98"/>
                  </a:lnTo>
                  <a:lnTo>
                    <a:pt x="356" y="65"/>
                  </a:lnTo>
                  <a:lnTo>
                    <a:pt x="348" y="67"/>
                  </a:lnTo>
                  <a:lnTo>
                    <a:pt x="318" y="68"/>
                  </a:lnTo>
                  <a:lnTo>
                    <a:pt x="300" y="53"/>
                  </a:lnTo>
                  <a:lnTo>
                    <a:pt x="291" y="64"/>
                  </a:lnTo>
                  <a:lnTo>
                    <a:pt x="300" y="80"/>
                  </a:lnTo>
                  <a:lnTo>
                    <a:pt x="285" y="85"/>
                  </a:lnTo>
                  <a:lnTo>
                    <a:pt x="264" y="64"/>
                  </a:lnTo>
                  <a:lnTo>
                    <a:pt x="270" y="42"/>
                  </a:lnTo>
                  <a:lnTo>
                    <a:pt x="243" y="47"/>
                  </a:lnTo>
                  <a:lnTo>
                    <a:pt x="228" y="30"/>
                  </a:lnTo>
                  <a:lnTo>
                    <a:pt x="213" y="38"/>
                  </a:lnTo>
                  <a:lnTo>
                    <a:pt x="204" y="36"/>
                  </a:lnTo>
                  <a:lnTo>
                    <a:pt x="198" y="2"/>
                  </a:lnTo>
                  <a:lnTo>
                    <a:pt x="183" y="0"/>
                  </a:lnTo>
                  <a:lnTo>
                    <a:pt x="176" y="14"/>
                  </a:lnTo>
                  <a:lnTo>
                    <a:pt x="167" y="20"/>
                  </a:lnTo>
                  <a:lnTo>
                    <a:pt x="140" y="0"/>
                  </a:lnTo>
                  <a:lnTo>
                    <a:pt x="125" y="3"/>
                  </a:lnTo>
                  <a:lnTo>
                    <a:pt x="130" y="18"/>
                  </a:lnTo>
                  <a:lnTo>
                    <a:pt x="109" y="24"/>
                  </a:lnTo>
                  <a:lnTo>
                    <a:pt x="75" y="50"/>
                  </a:lnTo>
                  <a:lnTo>
                    <a:pt x="60" y="51"/>
                  </a:lnTo>
                  <a:lnTo>
                    <a:pt x="26" y="68"/>
                  </a:lnTo>
                  <a:lnTo>
                    <a:pt x="17" y="76"/>
                  </a:lnTo>
                  <a:lnTo>
                    <a:pt x="8" y="60"/>
                  </a:lnTo>
                  <a:lnTo>
                    <a:pt x="0" y="70"/>
                  </a:lnTo>
                  <a:lnTo>
                    <a:pt x="3" y="88"/>
                  </a:lnTo>
                  <a:lnTo>
                    <a:pt x="24" y="115"/>
                  </a:lnTo>
                  <a:lnTo>
                    <a:pt x="27" y="145"/>
                  </a:lnTo>
                  <a:lnTo>
                    <a:pt x="53" y="172"/>
                  </a:lnTo>
                  <a:lnTo>
                    <a:pt x="75" y="184"/>
                  </a:lnTo>
                  <a:lnTo>
                    <a:pt x="80" y="204"/>
                  </a:lnTo>
                  <a:lnTo>
                    <a:pt x="103" y="220"/>
                  </a:lnTo>
                  <a:lnTo>
                    <a:pt x="107" y="229"/>
                  </a:lnTo>
                  <a:lnTo>
                    <a:pt x="121" y="235"/>
                  </a:lnTo>
                  <a:lnTo>
                    <a:pt x="139" y="237"/>
                  </a:lnTo>
                  <a:lnTo>
                    <a:pt x="139" y="237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002" name="Freeform 347"/>
            <p:cNvSpPr>
              <a:spLocks/>
            </p:cNvSpPr>
            <p:nvPr userDrawn="1"/>
          </p:nvSpPr>
          <p:spPr bwMode="auto">
            <a:xfrm>
              <a:off x="4529" y="3273"/>
              <a:ext cx="103" cy="59"/>
            </a:xfrm>
            <a:custGeom>
              <a:avLst/>
              <a:gdLst>
                <a:gd name="T0" fmla="*/ 88 w 103"/>
                <a:gd name="T1" fmla="*/ 21 h 59"/>
                <a:gd name="T2" fmla="*/ 71 w 103"/>
                <a:gd name="T3" fmla="*/ 17 h 59"/>
                <a:gd name="T4" fmla="*/ 59 w 103"/>
                <a:gd name="T5" fmla="*/ 0 h 59"/>
                <a:gd name="T6" fmla="*/ 50 w 103"/>
                <a:gd name="T7" fmla="*/ 1 h 59"/>
                <a:gd name="T8" fmla="*/ 41 w 103"/>
                <a:gd name="T9" fmla="*/ 6 h 59"/>
                <a:gd name="T10" fmla="*/ 42 w 103"/>
                <a:gd name="T11" fmla="*/ 14 h 59"/>
                <a:gd name="T12" fmla="*/ 39 w 103"/>
                <a:gd name="T13" fmla="*/ 10 h 59"/>
                <a:gd name="T14" fmla="*/ 27 w 103"/>
                <a:gd name="T15" fmla="*/ 7 h 59"/>
                <a:gd name="T16" fmla="*/ 18 w 103"/>
                <a:gd name="T17" fmla="*/ 4 h 59"/>
                <a:gd name="T18" fmla="*/ 0 w 103"/>
                <a:gd name="T19" fmla="*/ 3 h 59"/>
                <a:gd name="T20" fmla="*/ 6 w 103"/>
                <a:gd name="T21" fmla="*/ 10 h 59"/>
                <a:gd name="T22" fmla="*/ 18 w 103"/>
                <a:gd name="T23" fmla="*/ 14 h 59"/>
                <a:gd name="T24" fmla="*/ 26 w 103"/>
                <a:gd name="T25" fmla="*/ 15 h 59"/>
                <a:gd name="T26" fmla="*/ 42 w 103"/>
                <a:gd name="T27" fmla="*/ 21 h 59"/>
                <a:gd name="T28" fmla="*/ 51 w 103"/>
                <a:gd name="T29" fmla="*/ 29 h 59"/>
                <a:gd name="T30" fmla="*/ 48 w 103"/>
                <a:gd name="T31" fmla="*/ 20 h 59"/>
                <a:gd name="T32" fmla="*/ 58 w 103"/>
                <a:gd name="T33" fmla="*/ 24 h 59"/>
                <a:gd name="T34" fmla="*/ 67 w 103"/>
                <a:gd name="T35" fmla="*/ 36 h 59"/>
                <a:gd name="T36" fmla="*/ 85 w 103"/>
                <a:gd name="T37" fmla="*/ 47 h 59"/>
                <a:gd name="T38" fmla="*/ 85 w 103"/>
                <a:gd name="T39" fmla="*/ 47 h 59"/>
                <a:gd name="T40" fmla="*/ 89 w 103"/>
                <a:gd name="T41" fmla="*/ 51 h 59"/>
                <a:gd name="T42" fmla="*/ 89 w 103"/>
                <a:gd name="T43" fmla="*/ 51 h 59"/>
                <a:gd name="T44" fmla="*/ 95 w 103"/>
                <a:gd name="T45" fmla="*/ 56 h 59"/>
                <a:gd name="T46" fmla="*/ 98 w 103"/>
                <a:gd name="T47" fmla="*/ 59 h 59"/>
                <a:gd name="T48" fmla="*/ 103 w 103"/>
                <a:gd name="T49" fmla="*/ 59 h 59"/>
                <a:gd name="T50" fmla="*/ 101 w 103"/>
                <a:gd name="T51" fmla="*/ 53 h 59"/>
                <a:gd name="T52" fmla="*/ 98 w 103"/>
                <a:gd name="T53" fmla="*/ 36 h 59"/>
                <a:gd name="T54" fmla="*/ 88 w 103"/>
                <a:gd name="T55" fmla="*/ 21 h 59"/>
                <a:gd name="T56" fmla="*/ 88 w 103"/>
                <a:gd name="T57" fmla="*/ 21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3" h="59">
                  <a:moveTo>
                    <a:pt x="88" y="21"/>
                  </a:moveTo>
                  <a:lnTo>
                    <a:pt x="71" y="17"/>
                  </a:lnTo>
                  <a:lnTo>
                    <a:pt x="59" y="0"/>
                  </a:lnTo>
                  <a:lnTo>
                    <a:pt x="50" y="1"/>
                  </a:lnTo>
                  <a:lnTo>
                    <a:pt x="41" y="6"/>
                  </a:lnTo>
                  <a:lnTo>
                    <a:pt x="42" y="14"/>
                  </a:lnTo>
                  <a:lnTo>
                    <a:pt x="39" y="10"/>
                  </a:lnTo>
                  <a:lnTo>
                    <a:pt x="27" y="7"/>
                  </a:lnTo>
                  <a:lnTo>
                    <a:pt x="18" y="4"/>
                  </a:lnTo>
                  <a:lnTo>
                    <a:pt x="0" y="3"/>
                  </a:lnTo>
                  <a:lnTo>
                    <a:pt x="6" y="10"/>
                  </a:lnTo>
                  <a:lnTo>
                    <a:pt x="18" y="14"/>
                  </a:lnTo>
                  <a:lnTo>
                    <a:pt x="26" y="15"/>
                  </a:lnTo>
                  <a:lnTo>
                    <a:pt x="42" y="21"/>
                  </a:lnTo>
                  <a:lnTo>
                    <a:pt x="51" y="29"/>
                  </a:lnTo>
                  <a:lnTo>
                    <a:pt x="48" y="20"/>
                  </a:lnTo>
                  <a:lnTo>
                    <a:pt x="58" y="24"/>
                  </a:lnTo>
                  <a:lnTo>
                    <a:pt x="67" y="36"/>
                  </a:lnTo>
                  <a:lnTo>
                    <a:pt x="85" y="47"/>
                  </a:lnTo>
                  <a:lnTo>
                    <a:pt x="85" y="47"/>
                  </a:lnTo>
                  <a:lnTo>
                    <a:pt x="89" y="51"/>
                  </a:lnTo>
                  <a:lnTo>
                    <a:pt x="89" y="51"/>
                  </a:lnTo>
                  <a:lnTo>
                    <a:pt x="95" y="56"/>
                  </a:lnTo>
                  <a:lnTo>
                    <a:pt x="98" y="59"/>
                  </a:lnTo>
                  <a:lnTo>
                    <a:pt x="103" y="59"/>
                  </a:lnTo>
                  <a:lnTo>
                    <a:pt x="101" y="53"/>
                  </a:lnTo>
                  <a:lnTo>
                    <a:pt x="98" y="36"/>
                  </a:lnTo>
                  <a:lnTo>
                    <a:pt x="88" y="21"/>
                  </a:lnTo>
                  <a:lnTo>
                    <a:pt x="88" y="21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003" name="Freeform 348"/>
            <p:cNvSpPr>
              <a:spLocks/>
            </p:cNvSpPr>
            <p:nvPr userDrawn="1"/>
          </p:nvSpPr>
          <p:spPr bwMode="auto">
            <a:xfrm>
              <a:off x="4755" y="3326"/>
              <a:ext cx="162" cy="128"/>
            </a:xfrm>
            <a:custGeom>
              <a:avLst/>
              <a:gdLst>
                <a:gd name="T0" fmla="*/ 102 w 162"/>
                <a:gd name="T1" fmla="*/ 6 h 128"/>
                <a:gd name="T2" fmla="*/ 99 w 162"/>
                <a:gd name="T3" fmla="*/ 1 h 128"/>
                <a:gd name="T4" fmla="*/ 88 w 162"/>
                <a:gd name="T5" fmla="*/ 1 h 128"/>
                <a:gd name="T6" fmla="*/ 82 w 162"/>
                <a:gd name="T7" fmla="*/ 9 h 128"/>
                <a:gd name="T8" fmla="*/ 65 w 162"/>
                <a:gd name="T9" fmla="*/ 10 h 128"/>
                <a:gd name="T10" fmla="*/ 61 w 162"/>
                <a:gd name="T11" fmla="*/ 19 h 128"/>
                <a:gd name="T12" fmla="*/ 50 w 162"/>
                <a:gd name="T13" fmla="*/ 21 h 128"/>
                <a:gd name="T14" fmla="*/ 40 w 162"/>
                <a:gd name="T15" fmla="*/ 16 h 128"/>
                <a:gd name="T16" fmla="*/ 22 w 162"/>
                <a:gd name="T17" fmla="*/ 24 h 128"/>
                <a:gd name="T18" fmla="*/ 16 w 162"/>
                <a:gd name="T19" fmla="*/ 40 h 128"/>
                <a:gd name="T20" fmla="*/ 8 w 162"/>
                <a:gd name="T21" fmla="*/ 43 h 128"/>
                <a:gd name="T22" fmla="*/ 0 w 162"/>
                <a:gd name="T23" fmla="*/ 80 h 128"/>
                <a:gd name="T24" fmla="*/ 8 w 162"/>
                <a:gd name="T25" fmla="*/ 107 h 128"/>
                <a:gd name="T26" fmla="*/ 25 w 162"/>
                <a:gd name="T27" fmla="*/ 128 h 128"/>
                <a:gd name="T28" fmla="*/ 40 w 162"/>
                <a:gd name="T29" fmla="*/ 117 h 128"/>
                <a:gd name="T30" fmla="*/ 53 w 162"/>
                <a:gd name="T31" fmla="*/ 123 h 128"/>
                <a:gd name="T32" fmla="*/ 76 w 162"/>
                <a:gd name="T33" fmla="*/ 123 h 128"/>
                <a:gd name="T34" fmla="*/ 94 w 162"/>
                <a:gd name="T35" fmla="*/ 105 h 128"/>
                <a:gd name="T36" fmla="*/ 127 w 162"/>
                <a:gd name="T37" fmla="*/ 105 h 128"/>
                <a:gd name="T38" fmla="*/ 151 w 162"/>
                <a:gd name="T39" fmla="*/ 95 h 128"/>
                <a:gd name="T40" fmla="*/ 154 w 162"/>
                <a:gd name="T41" fmla="*/ 75 h 128"/>
                <a:gd name="T42" fmla="*/ 162 w 162"/>
                <a:gd name="T43" fmla="*/ 62 h 128"/>
                <a:gd name="T44" fmla="*/ 160 w 162"/>
                <a:gd name="T45" fmla="*/ 37 h 128"/>
                <a:gd name="T46" fmla="*/ 133 w 162"/>
                <a:gd name="T47" fmla="*/ 13 h 128"/>
                <a:gd name="T48" fmla="*/ 127 w 162"/>
                <a:gd name="T49" fmla="*/ 1 h 128"/>
                <a:gd name="T50" fmla="*/ 114 w 162"/>
                <a:gd name="T51" fmla="*/ 0 h 128"/>
                <a:gd name="T52" fmla="*/ 102 w 162"/>
                <a:gd name="T53" fmla="*/ 6 h 128"/>
                <a:gd name="T54" fmla="*/ 102 w 162"/>
                <a:gd name="T55" fmla="*/ 6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62" h="128">
                  <a:moveTo>
                    <a:pt x="102" y="6"/>
                  </a:moveTo>
                  <a:lnTo>
                    <a:pt x="99" y="1"/>
                  </a:lnTo>
                  <a:lnTo>
                    <a:pt x="88" y="1"/>
                  </a:lnTo>
                  <a:lnTo>
                    <a:pt x="82" y="9"/>
                  </a:lnTo>
                  <a:lnTo>
                    <a:pt x="65" y="10"/>
                  </a:lnTo>
                  <a:lnTo>
                    <a:pt x="61" y="19"/>
                  </a:lnTo>
                  <a:lnTo>
                    <a:pt x="50" y="21"/>
                  </a:lnTo>
                  <a:lnTo>
                    <a:pt x="40" y="16"/>
                  </a:lnTo>
                  <a:lnTo>
                    <a:pt x="22" y="24"/>
                  </a:lnTo>
                  <a:lnTo>
                    <a:pt x="16" y="40"/>
                  </a:lnTo>
                  <a:lnTo>
                    <a:pt x="8" y="43"/>
                  </a:lnTo>
                  <a:lnTo>
                    <a:pt x="0" y="80"/>
                  </a:lnTo>
                  <a:lnTo>
                    <a:pt x="8" y="107"/>
                  </a:lnTo>
                  <a:lnTo>
                    <a:pt x="25" y="128"/>
                  </a:lnTo>
                  <a:lnTo>
                    <a:pt x="40" y="117"/>
                  </a:lnTo>
                  <a:lnTo>
                    <a:pt x="53" y="123"/>
                  </a:lnTo>
                  <a:lnTo>
                    <a:pt x="76" y="123"/>
                  </a:lnTo>
                  <a:lnTo>
                    <a:pt x="94" y="105"/>
                  </a:lnTo>
                  <a:lnTo>
                    <a:pt x="127" y="105"/>
                  </a:lnTo>
                  <a:lnTo>
                    <a:pt x="151" y="95"/>
                  </a:lnTo>
                  <a:lnTo>
                    <a:pt x="154" y="75"/>
                  </a:lnTo>
                  <a:lnTo>
                    <a:pt x="162" y="62"/>
                  </a:lnTo>
                  <a:lnTo>
                    <a:pt x="160" y="37"/>
                  </a:lnTo>
                  <a:lnTo>
                    <a:pt x="133" y="13"/>
                  </a:lnTo>
                  <a:lnTo>
                    <a:pt x="127" y="1"/>
                  </a:lnTo>
                  <a:lnTo>
                    <a:pt x="114" y="0"/>
                  </a:lnTo>
                  <a:lnTo>
                    <a:pt x="102" y="6"/>
                  </a:lnTo>
                  <a:lnTo>
                    <a:pt x="102" y="6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004" name="Freeform 349"/>
            <p:cNvSpPr>
              <a:spLocks/>
            </p:cNvSpPr>
            <p:nvPr userDrawn="1"/>
          </p:nvSpPr>
          <p:spPr bwMode="auto">
            <a:xfrm>
              <a:off x="4059" y="2896"/>
              <a:ext cx="21" cy="16"/>
            </a:xfrm>
            <a:custGeom>
              <a:avLst/>
              <a:gdLst>
                <a:gd name="T0" fmla="*/ 4 w 21"/>
                <a:gd name="T1" fmla="*/ 16 h 16"/>
                <a:gd name="T2" fmla="*/ 21 w 21"/>
                <a:gd name="T3" fmla="*/ 15 h 16"/>
                <a:gd name="T4" fmla="*/ 6 w 21"/>
                <a:gd name="T5" fmla="*/ 0 h 16"/>
                <a:gd name="T6" fmla="*/ 0 w 21"/>
                <a:gd name="T7" fmla="*/ 7 h 16"/>
                <a:gd name="T8" fmla="*/ 4 w 21"/>
                <a:gd name="T9" fmla="*/ 16 h 16"/>
                <a:gd name="T10" fmla="*/ 4 w 21"/>
                <a:gd name="T11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" h="16">
                  <a:moveTo>
                    <a:pt x="4" y="16"/>
                  </a:moveTo>
                  <a:lnTo>
                    <a:pt x="21" y="15"/>
                  </a:lnTo>
                  <a:lnTo>
                    <a:pt x="6" y="0"/>
                  </a:lnTo>
                  <a:lnTo>
                    <a:pt x="0" y="7"/>
                  </a:lnTo>
                  <a:lnTo>
                    <a:pt x="4" y="16"/>
                  </a:lnTo>
                  <a:lnTo>
                    <a:pt x="4" y="16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005" name="Freeform 350"/>
            <p:cNvSpPr>
              <a:spLocks/>
            </p:cNvSpPr>
            <p:nvPr userDrawn="1"/>
          </p:nvSpPr>
          <p:spPr bwMode="auto">
            <a:xfrm>
              <a:off x="3820" y="2617"/>
              <a:ext cx="38" cy="72"/>
            </a:xfrm>
            <a:custGeom>
              <a:avLst/>
              <a:gdLst>
                <a:gd name="T0" fmla="*/ 27 w 38"/>
                <a:gd name="T1" fmla="*/ 18 h 72"/>
                <a:gd name="T2" fmla="*/ 24 w 38"/>
                <a:gd name="T3" fmla="*/ 0 h 72"/>
                <a:gd name="T4" fmla="*/ 8 w 38"/>
                <a:gd name="T5" fmla="*/ 18 h 72"/>
                <a:gd name="T6" fmla="*/ 0 w 38"/>
                <a:gd name="T7" fmla="*/ 42 h 72"/>
                <a:gd name="T8" fmla="*/ 0 w 38"/>
                <a:gd name="T9" fmla="*/ 62 h 72"/>
                <a:gd name="T10" fmla="*/ 8 w 38"/>
                <a:gd name="T11" fmla="*/ 71 h 72"/>
                <a:gd name="T12" fmla="*/ 17 w 38"/>
                <a:gd name="T13" fmla="*/ 72 h 72"/>
                <a:gd name="T14" fmla="*/ 35 w 38"/>
                <a:gd name="T15" fmla="*/ 66 h 72"/>
                <a:gd name="T16" fmla="*/ 38 w 38"/>
                <a:gd name="T17" fmla="*/ 42 h 72"/>
                <a:gd name="T18" fmla="*/ 27 w 38"/>
                <a:gd name="T19" fmla="*/ 18 h 72"/>
                <a:gd name="T20" fmla="*/ 27 w 38"/>
                <a:gd name="T21" fmla="*/ 18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8" h="72">
                  <a:moveTo>
                    <a:pt x="27" y="18"/>
                  </a:moveTo>
                  <a:lnTo>
                    <a:pt x="24" y="0"/>
                  </a:lnTo>
                  <a:lnTo>
                    <a:pt x="8" y="18"/>
                  </a:lnTo>
                  <a:lnTo>
                    <a:pt x="0" y="42"/>
                  </a:lnTo>
                  <a:lnTo>
                    <a:pt x="0" y="62"/>
                  </a:lnTo>
                  <a:lnTo>
                    <a:pt x="8" y="71"/>
                  </a:lnTo>
                  <a:lnTo>
                    <a:pt x="17" y="72"/>
                  </a:lnTo>
                  <a:lnTo>
                    <a:pt x="35" y="66"/>
                  </a:lnTo>
                  <a:lnTo>
                    <a:pt x="38" y="42"/>
                  </a:lnTo>
                  <a:lnTo>
                    <a:pt x="27" y="18"/>
                  </a:lnTo>
                  <a:lnTo>
                    <a:pt x="27" y="18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006" name="Freeform 351"/>
            <p:cNvSpPr>
              <a:spLocks/>
            </p:cNvSpPr>
            <p:nvPr userDrawn="1"/>
          </p:nvSpPr>
          <p:spPr bwMode="auto">
            <a:xfrm>
              <a:off x="5155" y="2768"/>
              <a:ext cx="208" cy="251"/>
            </a:xfrm>
            <a:custGeom>
              <a:avLst/>
              <a:gdLst>
                <a:gd name="T0" fmla="*/ 35 w 208"/>
                <a:gd name="T1" fmla="*/ 81 h 251"/>
                <a:gd name="T2" fmla="*/ 76 w 208"/>
                <a:gd name="T3" fmla="*/ 134 h 251"/>
                <a:gd name="T4" fmla="*/ 86 w 208"/>
                <a:gd name="T5" fmla="*/ 165 h 251"/>
                <a:gd name="T6" fmla="*/ 83 w 208"/>
                <a:gd name="T7" fmla="*/ 224 h 251"/>
                <a:gd name="T8" fmla="*/ 88 w 208"/>
                <a:gd name="T9" fmla="*/ 251 h 251"/>
                <a:gd name="T10" fmla="*/ 107 w 208"/>
                <a:gd name="T11" fmla="*/ 245 h 251"/>
                <a:gd name="T12" fmla="*/ 127 w 208"/>
                <a:gd name="T13" fmla="*/ 230 h 251"/>
                <a:gd name="T14" fmla="*/ 133 w 208"/>
                <a:gd name="T15" fmla="*/ 202 h 251"/>
                <a:gd name="T16" fmla="*/ 142 w 208"/>
                <a:gd name="T17" fmla="*/ 191 h 251"/>
                <a:gd name="T18" fmla="*/ 151 w 208"/>
                <a:gd name="T19" fmla="*/ 197 h 251"/>
                <a:gd name="T20" fmla="*/ 178 w 208"/>
                <a:gd name="T21" fmla="*/ 196 h 251"/>
                <a:gd name="T22" fmla="*/ 189 w 208"/>
                <a:gd name="T23" fmla="*/ 193 h 251"/>
                <a:gd name="T24" fmla="*/ 199 w 208"/>
                <a:gd name="T25" fmla="*/ 200 h 251"/>
                <a:gd name="T26" fmla="*/ 208 w 208"/>
                <a:gd name="T27" fmla="*/ 196 h 251"/>
                <a:gd name="T28" fmla="*/ 196 w 208"/>
                <a:gd name="T29" fmla="*/ 181 h 251"/>
                <a:gd name="T30" fmla="*/ 198 w 208"/>
                <a:gd name="T31" fmla="*/ 165 h 251"/>
                <a:gd name="T32" fmla="*/ 181 w 208"/>
                <a:gd name="T33" fmla="*/ 126 h 251"/>
                <a:gd name="T34" fmla="*/ 171 w 208"/>
                <a:gd name="T35" fmla="*/ 125 h 251"/>
                <a:gd name="T36" fmla="*/ 159 w 208"/>
                <a:gd name="T37" fmla="*/ 101 h 251"/>
                <a:gd name="T38" fmla="*/ 162 w 208"/>
                <a:gd name="T39" fmla="*/ 78 h 251"/>
                <a:gd name="T40" fmla="*/ 137 w 208"/>
                <a:gd name="T41" fmla="*/ 33 h 251"/>
                <a:gd name="T42" fmla="*/ 113 w 208"/>
                <a:gd name="T43" fmla="*/ 30 h 251"/>
                <a:gd name="T44" fmla="*/ 35 w 208"/>
                <a:gd name="T45" fmla="*/ 0 h 251"/>
                <a:gd name="T46" fmla="*/ 2 w 208"/>
                <a:gd name="T47" fmla="*/ 13 h 251"/>
                <a:gd name="T48" fmla="*/ 0 w 208"/>
                <a:gd name="T49" fmla="*/ 22 h 251"/>
                <a:gd name="T50" fmla="*/ 18 w 208"/>
                <a:gd name="T51" fmla="*/ 42 h 251"/>
                <a:gd name="T52" fmla="*/ 35 w 208"/>
                <a:gd name="T53" fmla="*/ 81 h 251"/>
                <a:gd name="T54" fmla="*/ 35 w 208"/>
                <a:gd name="T55" fmla="*/ 81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08" h="251">
                  <a:moveTo>
                    <a:pt x="35" y="81"/>
                  </a:moveTo>
                  <a:lnTo>
                    <a:pt x="76" y="134"/>
                  </a:lnTo>
                  <a:lnTo>
                    <a:pt x="86" y="165"/>
                  </a:lnTo>
                  <a:lnTo>
                    <a:pt x="83" y="224"/>
                  </a:lnTo>
                  <a:lnTo>
                    <a:pt x="88" y="251"/>
                  </a:lnTo>
                  <a:lnTo>
                    <a:pt x="107" y="245"/>
                  </a:lnTo>
                  <a:lnTo>
                    <a:pt x="127" y="230"/>
                  </a:lnTo>
                  <a:lnTo>
                    <a:pt x="133" y="202"/>
                  </a:lnTo>
                  <a:lnTo>
                    <a:pt x="142" y="191"/>
                  </a:lnTo>
                  <a:lnTo>
                    <a:pt x="151" y="197"/>
                  </a:lnTo>
                  <a:lnTo>
                    <a:pt x="178" y="196"/>
                  </a:lnTo>
                  <a:lnTo>
                    <a:pt x="189" y="193"/>
                  </a:lnTo>
                  <a:lnTo>
                    <a:pt x="199" y="200"/>
                  </a:lnTo>
                  <a:lnTo>
                    <a:pt x="208" y="196"/>
                  </a:lnTo>
                  <a:lnTo>
                    <a:pt x="196" y="181"/>
                  </a:lnTo>
                  <a:lnTo>
                    <a:pt x="198" y="165"/>
                  </a:lnTo>
                  <a:lnTo>
                    <a:pt x="181" y="126"/>
                  </a:lnTo>
                  <a:lnTo>
                    <a:pt x="171" y="125"/>
                  </a:lnTo>
                  <a:lnTo>
                    <a:pt x="159" y="101"/>
                  </a:lnTo>
                  <a:lnTo>
                    <a:pt x="162" y="78"/>
                  </a:lnTo>
                  <a:lnTo>
                    <a:pt x="137" y="33"/>
                  </a:lnTo>
                  <a:lnTo>
                    <a:pt x="113" y="30"/>
                  </a:lnTo>
                  <a:lnTo>
                    <a:pt x="35" y="0"/>
                  </a:lnTo>
                  <a:lnTo>
                    <a:pt x="2" y="13"/>
                  </a:lnTo>
                  <a:lnTo>
                    <a:pt x="0" y="22"/>
                  </a:lnTo>
                  <a:lnTo>
                    <a:pt x="18" y="42"/>
                  </a:lnTo>
                  <a:lnTo>
                    <a:pt x="35" y="81"/>
                  </a:lnTo>
                  <a:lnTo>
                    <a:pt x="35" y="81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007" name="Freeform 352"/>
            <p:cNvSpPr>
              <a:spLocks/>
            </p:cNvSpPr>
            <p:nvPr userDrawn="1"/>
          </p:nvSpPr>
          <p:spPr bwMode="auto">
            <a:xfrm>
              <a:off x="4206" y="753"/>
              <a:ext cx="35" cy="29"/>
            </a:xfrm>
            <a:custGeom>
              <a:avLst/>
              <a:gdLst>
                <a:gd name="T0" fmla="*/ 35 w 35"/>
                <a:gd name="T1" fmla="*/ 29 h 29"/>
                <a:gd name="T2" fmla="*/ 35 w 35"/>
                <a:gd name="T3" fmla="*/ 29 h 29"/>
                <a:gd name="T4" fmla="*/ 22 w 35"/>
                <a:gd name="T5" fmla="*/ 20 h 29"/>
                <a:gd name="T6" fmla="*/ 17 w 35"/>
                <a:gd name="T7" fmla="*/ 15 h 29"/>
                <a:gd name="T8" fmla="*/ 17 w 35"/>
                <a:gd name="T9" fmla="*/ 3 h 29"/>
                <a:gd name="T10" fmla="*/ 13 w 35"/>
                <a:gd name="T11" fmla="*/ 0 h 29"/>
                <a:gd name="T12" fmla="*/ 9 w 35"/>
                <a:gd name="T13" fmla="*/ 11 h 29"/>
                <a:gd name="T14" fmla="*/ 14 w 35"/>
                <a:gd name="T15" fmla="*/ 18 h 29"/>
                <a:gd name="T16" fmla="*/ 5 w 35"/>
                <a:gd name="T17" fmla="*/ 21 h 29"/>
                <a:gd name="T18" fmla="*/ 5 w 35"/>
                <a:gd name="T19" fmla="*/ 21 h 29"/>
                <a:gd name="T20" fmla="*/ 0 w 35"/>
                <a:gd name="T21" fmla="*/ 29 h 29"/>
                <a:gd name="T22" fmla="*/ 13 w 35"/>
                <a:gd name="T23" fmla="*/ 29 h 29"/>
                <a:gd name="T24" fmla="*/ 13 w 35"/>
                <a:gd name="T25" fmla="*/ 29 h 29"/>
                <a:gd name="T26" fmla="*/ 14 w 35"/>
                <a:gd name="T27" fmla="*/ 28 h 29"/>
                <a:gd name="T28" fmla="*/ 14 w 35"/>
                <a:gd name="T29" fmla="*/ 28 h 29"/>
                <a:gd name="T30" fmla="*/ 14 w 35"/>
                <a:gd name="T31" fmla="*/ 29 h 29"/>
                <a:gd name="T32" fmla="*/ 35 w 35"/>
                <a:gd name="T33" fmla="*/ 29 h 29"/>
                <a:gd name="T34" fmla="*/ 35 w 35"/>
                <a:gd name="T35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5" h="29">
                  <a:moveTo>
                    <a:pt x="35" y="29"/>
                  </a:moveTo>
                  <a:lnTo>
                    <a:pt x="35" y="29"/>
                  </a:lnTo>
                  <a:lnTo>
                    <a:pt x="22" y="20"/>
                  </a:lnTo>
                  <a:lnTo>
                    <a:pt x="17" y="15"/>
                  </a:lnTo>
                  <a:lnTo>
                    <a:pt x="17" y="3"/>
                  </a:lnTo>
                  <a:lnTo>
                    <a:pt x="13" y="0"/>
                  </a:lnTo>
                  <a:lnTo>
                    <a:pt x="9" y="11"/>
                  </a:lnTo>
                  <a:lnTo>
                    <a:pt x="14" y="18"/>
                  </a:lnTo>
                  <a:lnTo>
                    <a:pt x="5" y="21"/>
                  </a:lnTo>
                  <a:lnTo>
                    <a:pt x="5" y="21"/>
                  </a:lnTo>
                  <a:lnTo>
                    <a:pt x="0" y="29"/>
                  </a:lnTo>
                  <a:lnTo>
                    <a:pt x="13" y="29"/>
                  </a:lnTo>
                  <a:lnTo>
                    <a:pt x="13" y="29"/>
                  </a:lnTo>
                  <a:lnTo>
                    <a:pt x="14" y="28"/>
                  </a:lnTo>
                  <a:lnTo>
                    <a:pt x="14" y="28"/>
                  </a:lnTo>
                  <a:lnTo>
                    <a:pt x="14" y="29"/>
                  </a:lnTo>
                  <a:lnTo>
                    <a:pt x="35" y="29"/>
                  </a:lnTo>
                  <a:lnTo>
                    <a:pt x="35" y="29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008" name="Freeform 353"/>
            <p:cNvSpPr>
              <a:spLocks/>
            </p:cNvSpPr>
            <p:nvPr userDrawn="1"/>
          </p:nvSpPr>
          <p:spPr bwMode="auto">
            <a:xfrm>
              <a:off x="4220" y="-205"/>
              <a:ext cx="1183" cy="987"/>
            </a:xfrm>
            <a:custGeom>
              <a:avLst/>
              <a:gdLst>
                <a:gd name="T0" fmla="*/ 189 w 1183"/>
                <a:gd name="T1" fmla="*/ 866 h 987"/>
                <a:gd name="T2" fmla="*/ 296 w 1183"/>
                <a:gd name="T3" fmla="*/ 577 h 987"/>
                <a:gd name="T4" fmla="*/ 410 w 1183"/>
                <a:gd name="T5" fmla="*/ 480 h 987"/>
                <a:gd name="T6" fmla="*/ 502 w 1183"/>
                <a:gd name="T7" fmla="*/ 400 h 987"/>
                <a:gd name="T8" fmla="*/ 572 w 1183"/>
                <a:gd name="T9" fmla="*/ 349 h 987"/>
                <a:gd name="T10" fmla="*/ 742 w 1183"/>
                <a:gd name="T11" fmla="*/ 438 h 987"/>
                <a:gd name="T12" fmla="*/ 848 w 1183"/>
                <a:gd name="T13" fmla="*/ 350 h 987"/>
                <a:gd name="T14" fmla="*/ 925 w 1183"/>
                <a:gd name="T15" fmla="*/ 225 h 987"/>
                <a:gd name="T16" fmla="*/ 1062 w 1183"/>
                <a:gd name="T17" fmla="*/ 296 h 987"/>
                <a:gd name="T18" fmla="*/ 1077 w 1183"/>
                <a:gd name="T19" fmla="*/ 344 h 987"/>
                <a:gd name="T20" fmla="*/ 1149 w 1183"/>
                <a:gd name="T21" fmla="*/ 254 h 987"/>
                <a:gd name="T22" fmla="*/ 1116 w 1183"/>
                <a:gd name="T23" fmla="*/ 316 h 987"/>
                <a:gd name="T24" fmla="*/ 1119 w 1183"/>
                <a:gd name="T25" fmla="*/ 266 h 987"/>
                <a:gd name="T26" fmla="*/ 1029 w 1183"/>
                <a:gd name="T27" fmla="*/ 193 h 987"/>
                <a:gd name="T28" fmla="*/ 1161 w 1183"/>
                <a:gd name="T29" fmla="*/ 157 h 987"/>
                <a:gd name="T30" fmla="*/ 1139 w 1183"/>
                <a:gd name="T31" fmla="*/ 101 h 987"/>
                <a:gd name="T32" fmla="*/ 1080 w 1183"/>
                <a:gd name="T33" fmla="*/ 86 h 987"/>
                <a:gd name="T34" fmla="*/ 1017 w 1183"/>
                <a:gd name="T35" fmla="*/ 107 h 987"/>
                <a:gd name="T36" fmla="*/ 991 w 1183"/>
                <a:gd name="T37" fmla="*/ 192 h 987"/>
                <a:gd name="T38" fmla="*/ 1000 w 1183"/>
                <a:gd name="T39" fmla="*/ 82 h 987"/>
                <a:gd name="T40" fmla="*/ 1021 w 1183"/>
                <a:gd name="T41" fmla="*/ 21 h 987"/>
                <a:gd name="T42" fmla="*/ 970 w 1183"/>
                <a:gd name="T43" fmla="*/ 24 h 987"/>
                <a:gd name="T44" fmla="*/ 946 w 1183"/>
                <a:gd name="T45" fmla="*/ 97 h 987"/>
                <a:gd name="T46" fmla="*/ 899 w 1183"/>
                <a:gd name="T47" fmla="*/ 79 h 987"/>
                <a:gd name="T48" fmla="*/ 863 w 1183"/>
                <a:gd name="T49" fmla="*/ 104 h 987"/>
                <a:gd name="T50" fmla="*/ 807 w 1183"/>
                <a:gd name="T51" fmla="*/ 160 h 987"/>
                <a:gd name="T52" fmla="*/ 802 w 1183"/>
                <a:gd name="T53" fmla="*/ 29 h 987"/>
                <a:gd name="T54" fmla="*/ 757 w 1183"/>
                <a:gd name="T55" fmla="*/ 55 h 987"/>
                <a:gd name="T56" fmla="*/ 763 w 1183"/>
                <a:gd name="T57" fmla="*/ 127 h 987"/>
                <a:gd name="T58" fmla="*/ 691 w 1183"/>
                <a:gd name="T59" fmla="*/ 171 h 987"/>
                <a:gd name="T60" fmla="*/ 665 w 1183"/>
                <a:gd name="T61" fmla="*/ 198 h 987"/>
                <a:gd name="T62" fmla="*/ 609 w 1183"/>
                <a:gd name="T63" fmla="*/ 159 h 987"/>
                <a:gd name="T64" fmla="*/ 560 w 1183"/>
                <a:gd name="T65" fmla="*/ 171 h 987"/>
                <a:gd name="T66" fmla="*/ 617 w 1183"/>
                <a:gd name="T67" fmla="*/ 221 h 987"/>
                <a:gd name="T68" fmla="*/ 560 w 1183"/>
                <a:gd name="T69" fmla="*/ 222 h 987"/>
                <a:gd name="T70" fmla="*/ 531 w 1183"/>
                <a:gd name="T71" fmla="*/ 254 h 987"/>
                <a:gd name="T72" fmla="*/ 490 w 1183"/>
                <a:gd name="T73" fmla="*/ 338 h 987"/>
                <a:gd name="T74" fmla="*/ 487 w 1183"/>
                <a:gd name="T75" fmla="*/ 239 h 987"/>
                <a:gd name="T76" fmla="*/ 449 w 1183"/>
                <a:gd name="T77" fmla="*/ 257 h 987"/>
                <a:gd name="T78" fmla="*/ 459 w 1183"/>
                <a:gd name="T79" fmla="*/ 350 h 987"/>
                <a:gd name="T80" fmla="*/ 395 w 1183"/>
                <a:gd name="T81" fmla="*/ 323 h 987"/>
                <a:gd name="T82" fmla="*/ 368 w 1183"/>
                <a:gd name="T83" fmla="*/ 335 h 987"/>
                <a:gd name="T84" fmla="*/ 302 w 1183"/>
                <a:gd name="T85" fmla="*/ 411 h 987"/>
                <a:gd name="T86" fmla="*/ 290 w 1183"/>
                <a:gd name="T87" fmla="*/ 474 h 987"/>
                <a:gd name="T88" fmla="*/ 311 w 1183"/>
                <a:gd name="T89" fmla="*/ 506 h 987"/>
                <a:gd name="T90" fmla="*/ 253 w 1183"/>
                <a:gd name="T91" fmla="*/ 525 h 987"/>
                <a:gd name="T92" fmla="*/ 264 w 1183"/>
                <a:gd name="T93" fmla="*/ 568 h 987"/>
                <a:gd name="T94" fmla="*/ 226 w 1183"/>
                <a:gd name="T95" fmla="*/ 539 h 987"/>
                <a:gd name="T96" fmla="*/ 205 w 1183"/>
                <a:gd name="T97" fmla="*/ 614 h 987"/>
                <a:gd name="T98" fmla="*/ 198 w 1183"/>
                <a:gd name="T99" fmla="*/ 658 h 987"/>
                <a:gd name="T100" fmla="*/ 149 w 1183"/>
                <a:gd name="T101" fmla="*/ 675 h 987"/>
                <a:gd name="T102" fmla="*/ 155 w 1183"/>
                <a:gd name="T103" fmla="*/ 702 h 987"/>
                <a:gd name="T104" fmla="*/ 91 w 1183"/>
                <a:gd name="T105" fmla="*/ 743 h 987"/>
                <a:gd name="T106" fmla="*/ 77 w 1183"/>
                <a:gd name="T107" fmla="*/ 783 h 987"/>
                <a:gd name="T108" fmla="*/ 62 w 1183"/>
                <a:gd name="T109" fmla="*/ 814 h 987"/>
                <a:gd name="T110" fmla="*/ 78 w 1183"/>
                <a:gd name="T111" fmla="*/ 871 h 987"/>
                <a:gd name="T112" fmla="*/ 0 w 1183"/>
                <a:gd name="T113" fmla="*/ 884 h 987"/>
                <a:gd name="T114" fmla="*/ 51 w 1183"/>
                <a:gd name="T115" fmla="*/ 904 h 987"/>
                <a:gd name="T116" fmla="*/ 24 w 1183"/>
                <a:gd name="T117" fmla="*/ 949 h 987"/>
                <a:gd name="T118" fmla="*/ 23 w 1183"/>
                <a:gd name="T119" fmla="*/ 987 h 9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183" h="987">
                  <a:moveTo>
                    <a:pt x="124" y="987"/>
                  </a:moveTo>
                  <a:lnTo>
                    <a:pt x="124" y="987"/>
                  </a:lnTo>
                  <a:lnTo>
                    <a:pt x="131" y="940"/>
                  </a:lnTo>
                  <a:lnTo>
                    <a:pt x="143" y="916"/>
                  </a:lnTo>
                  <a:lnTo>
                    <a:pt x="130" y="884"/>
                  </a:lnTo>
                  <a:lnTo>
                    <a:pt x="134" y="868"/>
                  </a:lnTo>
                  <a:lnTo>
                    <a:pt x="170" y="872"/>
                  </a:lnTo>
                  <a:lnTo>
                    <a:pt x="189" y="866"/>
                  </a:lnTo>
                  <a:lnTo>
                    <a:pt x="190" y="820"/>
                  </a:lnTo>
                  <a:lnTo>
                    <a:pt x="246" y="732"/>
                  </a:lnTo>
                  <a:lnTo>
                    <a:pt x="247" y="702"/>
                  </a:lnTo>
                  <a:lnTo>
                    <a:pt x="228" y="688"/>
                  </a:lnTo>
                  <a:lnTo>
                    <a:pt x="231" y="667"/>
                  </a:lnTo>
                  <a:lnTo>
                    <a:pt x="261" y="651"/>
                  </a:lnTo>
                  <a:lnTo>
                    <a:pt x="276" y="586"/>
                  </a:lnTo>
                  <a:lnTo>
                    <a:pt x="296" y="577"/>
                  </a:lnTo>
                  <a:lnTo>
                    <a:pt x="302" y="566"/>
                  </a:lnTo>
                  <a:lnTo>
                    <a:pt x="315" y="556"/>
                  </a:lnTo>
                  <a:lnTo>
                    <a:pt x="336" y="562"/>
                  </a:lnTo>
                  <a:lnTo>
                    <a:pt x="344" y="568"/>
                  </a:lnTo>
                  <a:lnTo>
                    <a:pt x="356" y="559"/>
                  </a:lnTo>
                  <a:lnTo>
                    <a:pt x="370" y="476"/>
                  </a:lnTo>
                  <a:lnTo>
                    <a:pt x="394" y="465"/>
                  </a:lnTo>
                  <a:lnTo>
                    <a:pt x="410" y="480"/>
                  </a:lnTo>
                  <a:lnTo>
                    <a:pt x="440" y="482"/>
                  </a:lnTo>
                  <a:lnTo>
                    <a:pt x="471" y="501"/>
                  </a:lnTo>
                  <a:lnTo>
                    <a:pt x="486" y="495"/>
                  </a:lnTo>
                  <a:lnTo>
                    <a:pt x="487" y="488"/>
                  </a:lnTo>
                  <a:lnTo>
                    <a:pt x="468" y="479"/>
                  </a:lnTo>
                  <a:lnTo>
                    <a:pt x="501" y="435"/>
                  </a:lnTo>
                  <a:lnTo>
                    <a:pt x="481" y="400"/>
                  </a:lnTo>
                  <a:lnTo>
                    <a:pt x="502" y="400"/>
                  </a:lnTo>
                  <a:lnTo>
                    <a:pt x="522" y="387"/>
                  </a:lnTo>
                  <a:lnTo>
                    <a:pt x="540" y="399"/>
                  </a:lnTo>
                  <a:lnTo>
                    <a:pt x="541" y="394"/>
                  </a:lnTo>
                  <a:lnTo>
                    <a:pt x="548" y="397"/>
                  </a:lnTo>
                  <a:lnTo>
                    <a:pt x="557" y="388"/>
                  </a:lnTo>
                  <a:lnTo>
                    <a:pt x="548" y="370"/>
                  </a:lnTo>
                  <a:lnTo>
                    <a:pt x="549" y="355"/>
                  </a:lnTo>
                  <a:lnTo>
                    <a:pt x="572" y="349"/>
                  </a:lnTo>
                  <a:lnTo>
                    <a:pt x="591" y="368"/>
                  </a:lnTo>
                  <a:lnTo>
                    <a:pt x="599" y="390"/>
                  </a:lnTo>
                  <a:lnTo>
                    <a:pt x="621" y="421"/>
                  </a:lnTo>
                  <a:lnTo>
                    <a:pt x="627" y="447"/>
                  </a:lnTo>
                  <a:lnTo>
                    <a:pt x="685" y="470"/>
                  </a:lnTo>
                  <a:lnTo>
                    <a:pt x="716" y="468"/>
                  </a:lnTo>
                  <a:lnTo>
                    <a:pt x="727" y="444"/>
                  </a:lnTo>
                  <a:lnTo>
                    <a:pt x="742" y="438"/>
                  </a:lnTo>
                  <a:lnTo>
                    <a:pt x="747" y="456"/>
                  </a:lnTo>
                  <a:lnTo>
                    <a:pt x="765" y="454"/>
                  </a:lnTo>
                  <a:lnTo>
                    <a:pt x="784" y="477"/>
                  </a:lnTo>
                  <a:lnTo>
                    <a:pt x="804" y="476"/>
                  </a:lnTo>
                  <a:lnTo>
                    <a:pt x="813" y="439"/>
                  </a:lnTo>
                  <a:lnTo>
                    <a:pt x="831" y="430"/>
                  </a:lnTo>
                  <a:lnTo>
                    <a:pt x="852" y="388"/>
                  </a:lnTo>
                  <a:lnTo>
                    <a:pt x="848" y="350"/>
                  </a:lnTo>
                  <a:lnTo>
                    <a:pt x="867" y="328"/>
                  </a:lnTo>
                  <a:lnTo>
                    <a:pt x="858" y="299"/>
                  </a:lnTo>
                  <a:lnTo>
                    <a:pt x="867" y="266"/>
                  </a:lnTo>
                  <a:lnTo>
                    <a:pt x="890" y="248"/>
                  </a:lnTo>
                  <a:lnTo>
                    <a:pt x="894" y="224"/>
                  </a:lnTo>
                  <a:lnTo>
                    <a:pt x="905" y="221"/>
                  </a:lnTo>
                  <a:lnTo>
                    <a:pt x="919" y="231"/>
                  </a:lnTo>
                  <a:lnTo>
                    <a:pt x="925" y="225"/>
                  </a:lnTo>
                  <a:lnTo>
                    <a:pt x="932" y="230"/>
                  </a:lnTo>
                  <a:lnTo>
                    <a:pt x="940" y="212"/>
                  </a:lnTo>
                  <a:lnTo>
                    <a:pt x="953" y="215"/>
                  </a:lnTo>
                  <a:lnTo>
                    <a:pt x="962" y="207"/>
                  </a:lnTo>
                  <a:lnTo>
                    <a:pt x="986" y="222"/>
                  </a:lnTo>
                  <a:lnTo>
                    <a:pt x="1018" y="249"/>
                  </a:lnTo>
                  <a:lnTo>
                    <a:pt x="1053" y="258"/>
                  </a:lnTo>
                  <a:lnTo>
                    <a:pt x="1062" y="296"/>
                  </a:lnTo>
                  <a:lnTo>
                    <a:pt x="1035" y="343"/>
                  </a:lnTo>
                  <a:lnTo>
                    <a:pt x="1032" y="375"/>
                  </a:lnTo>
                  <a:lnTo>
                    <a:pt x="1017" y="396"/>
                  </a:lnTo>
                  <a:lnTo>
                    <a:pt x="1020" y="409"/>
                  </a:lnTo>
                  <a:lnTo>
                    <a:pt x="1029" y="405"/>
                  </a:lnTo>
                  <a:lnTo>
                    <a:pt x="1051" y="384"/>
                  </a:lnTo>
                  <a:lnTo>
                    <a:pt x="1069" y="370"/>
                  </a:lnTo>
                  <a:lnTo>
                    <a:pt x="1077" y="344"/>
                  </a:lnTo>
                  <a:lnTo>
                    <a:pt x="1077" y="337"/>
                  </a:lnTo>
                  <a:lnTo>
                    <a:pt x="1115" y="322"/>
                  </a:lnTo>
                  <a:lnTo>
                    <a:pt x="1131" y="295"/>
                  </a:lnTo>
                  <a:lnTo>
                    <a:pt x="1161" y="310"/>
                  </a:lnTo>
                  <a:lnTo>
                    <a:pt x="1169" y="301"/>
                  </a:lnTo>
                  <a:lnTo>
                    <a:pt x="1169" y="260"/>
                  </a:lnTo>
                  <a:lnTo>
                    <a:pt x="1163" y="252"/>
                  </a:lnTo>
                  <a:lnTo>
                    <a:pt x="1149" y="254"/>
                  </a:lnTo>
                  <a:lnTo>
                    <a:pt x="1134" y="239"/>
                  </a:lnTo>
                  <a:lnTo>
                    <a:pt x="1134" y="255"/>
                  </a:lnTo>
                  <a:lnTo>
                    <a:pt x="1140" y="254"/>
                  </a:lnTo>
                  <a:lnTo>
                    <a:pt x="1146" y="261"/>
                  </a:lnTo>
                  <a:lnTo>
                    <a:pt x="1145" y="276"/>
                  </a:lnTo>
                  <a:lnTo>
                    <a:pt x="1131" y="269"/>
                  </a:lnTo>
                  <a:lnTo>
                    <a:pt x="1128" y="293"/>
                  </a:lnTo>
                  <a:lnTo>
                    <a:pt x="1116" y="316"/>
                  </a:lnTo>
                  <a:lnTo>
                    <a:pt x="1075" y="335"/>
                  </a:lnTo>
                  <a:lnTo>
                    <a:pt x="1069" y="343"/>
                  </a:lnTo>
                  <a:lnTo>
                    <a:pt x="1072" y="335"/>
                  </a:lnTo>
                  <a:lnTo>
                    <a:pt x="1066" y="323"/>
                  </a:lnTo>
                  <a:lnTo>
                    <a:pt x="1075" y="331"/>
                  </a:lnTo>
                  <a:lnTo>
                    <a:pt x="1113" y="308"/>
                  </a:lnTo>
                  <a:lnTo>
                    <a:pt x="1121" y="284"/>
                  </a:lnTo>
                  <a:lnTo>
                    <a:pt x="1119" y="266"/>
                  </a:lnTo>
                  <a:lnTo>
                    <a:pt x="1106" y="255"/>
                  </a:lnTo>
                  <a:lnTo>
                    <a:pt x="1118" y="245"/>
                  </a:lnTo>
                  <a:lnTo>
                    <a:pt x="1112" y="228"/>
                  </a:lnTo>
                  <a:lnTo>
                    <a:pt x="1084" y="227"/>
                  </a:lnTo>
                  <a:lnTo>
                    <a:pt x="1089" y="216"/>
                  </a:lnTo>
                  <a:lnTo>
                    <a:pt x="1069" y="201"/>
                  </a:lnTo>
                  <a:lnTo>
                    <a:pt x="1047" y="193"/>
                  </a:lnTo>
                  <a:lnTo>
                    <a:pt x="1029" y="193"/>
                  </a:lnTo>
                  <a:lnTo>
                    <a:pt x="1035" y="186"/>
                  </a:lnTo>
                  <a:lnTo>
                    <a:pt x="1030" y="175"/>
                  </a:lnTo>
                  <a:lnTo>
                    <a:pt x="1054" y="183"/>
                  </a:lnTo>
                  <a:lnTo>
                    <a:pt x="1080" y="186"/>
                  </a:lnTo>
                  <a:lnTo>
                    <a:pt x="1109" y="193"/>
                  </a:lnTo>
                  <a:lnTo>
                    <a:pt x="1124" y="184"/>
                  </a:lnTo>
                  <a:lnTo>
                    <a:pt x="1136" y="183"/>
                  </a:lnTo>
                  <a:lnTo>
                    <a:pt x="1161" y="157"/>
                  </a:lnTo>
                  <a:lnTo>
                    <a:pt x="1183" y="153"/>
                  </a:lnTo>
                  <a:lnTo>
                    <a:pt x="1178" y="124"/>
                  </a:lnTo>
                  <a:lnTo>
                    <a:pt x="1167" y="126"/>
                  </a:lnTo>
                  <a:lnTo>
                    <a:pt x="1164" y="110"/>
                  </a:lnTo>
                  <a:lnTo>
                    <a:pt x="1146" y="109"/>
                  </a:lnTo>
                  <a:lnTo>
                    <a:pt x="1131" y="117"/>
                  </a:lnTo>
                  <a:lnTo>
                    <a:pt x="1121" y="109"/>
                  </a:lnTo>
                  <a:lnTo>
                    <a:pt x="1139" y="101"/>
                  </a:lnTo>
                  <a:lnTo>
                    <a:pt x="1139" y="95"/>
                  </a:lnTo>
                  <a:lnTo>
                    <a:pt x="1127" y="92"/>
                  </a:lnTo>
                  <a:lnTo>
                    <a:pt x="1116" y="76"/>
                  </a:lnTo>
                  <a:lnTo>
                    <a:pt x="1116" y="88"/>
                  </a:lnTo>
                  <a:lnTo>
                    <a:pt x="1104" y="97"/>
                  </a:lnTo>
                  <a:lnTo>
                    <a:pt x="1100" y="76"/>
                  </a:lnTo>
                  <a:lnTo>
                    <a:pt x="1084" y="82"/>
                  </a:lnTo>
                  <a:lnTo>
                    <a:pt x="1080" y="86"/>
                  </a:lnTo>
                  <a:lnTo>
                    <a:pt x="1071" y="80"/>
                  </a:lnTo>
                  <a:lnTo>
                    <a:pt x="1078" y="68"/>
                  </a:lnTo>
                  <a:lnTo>
                    <a:pt x="1069" y="55"/>
                  </a:lnTo>
                  <a:lnTo>
                    <a:pt x="1059" y="56"/>
                  </a:lnTo>
                  <a:lnTo>
                    <a:pt x="1042" y="44"/>
                  </a:lnTo>
                  <a:lnTo>
                    <a:pt x="1041" y="64"/>
                  </a:lnTo>
                  <a:lnTo>
                    <a:pt x="1032" y="68"/>
                  </a:lnTo>
                  <a:lnTo>
                    <a:pt x="1017" y="107"/>
                  </a:lnTo>
                  <a:lnTo>
                    <a:pt x="1030" y="126"/>
                  </a:lnTo>
                  <a:lnTo>
                    <a:pt x="1018" y="124"/>
                  </a:lnTo>
                  <a:lnTo>
                    <a:pt x="1002" y="169"/>
                  </a:lnTo>
                  <a:lnTo>
                    <a:pt x="996" y="193"/>
                  </a:lnTo>
                  <a:lnTo>
                    <a:pt x="982" y="198"/>
                  </a:lnTo>
                  <a:lnTo>
                    <a:pt x="965" y="204"/>
                  </a:lnTo>
                  <a:lnTo>
                    <a:pt x="965" y="201"/>
                  </a:lnTo>
                  <a:lnTo>
                    <a:pt x="991" y="192"/>
                  </a:lnTo>
                  <a:lnTo>
                    <a:pt x="1003" y="148"/>
                  </a:lnTo>
                  <a:lnTo>
                    <a:pt x="1005" y="124"/>
                  </a:lnTo>
                  <a:lnTo>
                    <a:pt x="1000" y="123"/>
                  </a:lnTo>
                  <a:lnTo>
                    <a:pt x="989" y="130"/>
                  </a:lnTo>
                  <a:lnTo>
                    <a:pt x="986" y="124"/>
                  </a:lnTo>
                  <a:lnTo>
                    <a:pt x="1002" y="110"/>
                  </a:lnTo>
                  <a:lnTo>
                    <a:pt x="1009" y="80"/>
                  </a:lnTo>
                  <a:lnTo>
                    <a:pt x="1000" y="82"/>
                  </a:lnTo>
                  <a:lnTo>
                    <a:pt x="971" y="97"/>
                  </a:lnTo>
                  <a:lnTo>
                    <a:pt x="976" y="88"/>
                  </a:lnTo>
                  <a:lnTo>
                    <a:pt x="991" y="77"/>
                  </a:lnTo>
                  <a:lnTo>
                    <a:pt x="994" y="71"/>
                  </a:lnTo>
                  <a:lnTo>
                    <a:pt x="982" y="58"/>
                  </a:lnTo>
                  <a:lnTo>
                    <a:pt x="1000" y="62"/>
                  </a:lnTo>
                  <a:lnTo>
                    <a:pt x="1023" y="38"/>
                  </a:lnTo>
                  <a:lnTo>
                    <a:pt x="1021" y="21"/>
                  </a:lnTo>
                  <a:lnTo>
                    <a:pt x="1000" y="29"/>
                  </a:lnTo>
                  <a:lnTo>
                    <a:pt x="1009" y="15"/>
                  </a:lnTo>
                  <a:lnTo>
                    <a:pt x="992" y="0"/>
                  </a:lnTo>
                  <a:lnTo>
                    <a:pt x="986" y="14"/>
                  </a:lnTo>
                  <a:lnTo>
                    <a:pt x="983" y="20"/>
                  </a:lnTo>
                  <a:lnTo>
                    <a:pt x="970" y="0"/>
                  </a:lnTo>
                  <a:lnTo>
                    <a:pt x="964" y="15"/>
                  </a:lnTo>
                  <a:lnTo>
                    <a:pt x="970" y="24"/>
                  </a:lnTo>
                  <a:lnTo>
                    <a:pt x="962" y="29"/>
                  </a:lnTo>
                  <a:lnTo>
                    <a:pt x="958" y="44"/>
                  </a:lnTo>
                  <a:lnTo>
                    <a:pt x="964" y="52"/>
                  </a:lnTo>
                  <a:lnTo>
                    <a:pt x="955" y="64"/>
                  </a:lnTo>
                  <a:lnTo>
                    <a:pt x="952" y="70"/>
                  </a:lnTo>
                  <a:lnTo>
                    <a:pt x="940" y="73"/>
                  </a:lnTo>
                  <a:lnTo>
                    <a:pt x="937" y="86"/>
                  </a:lnTo>
                  <a:lnTo>
                    <a:pt x="946" y="97"/>
                  </a:lnTo>
                  <a:lnTo>
                    <a:pt x="943" y="106"/>
                  </a:lnTo>
                  <a:lnTo>
                    <a:pt x="938" y="97"/>
                  </a:lnTo>
                  <a:lnTo>
                    <a:pt x="928" y="127"/>
                  </a:lnTo>
                  <a:lnTo>
                    <a:pt x="913" y="136"/>
                  </a:lnTo>
                  <a:lnTo>
                    <a:pt x="903" y="135"/>
                  </a:lnTo>
                  <a:lnTo>
                    <a:pt x="911" y="89"/>
                  </a:lnTo>
                  <a:lnTo>
                    <a:pt x="893" y="95"/>
                  </a:lnTo>
                  <a:lnTo>
                    <a:pt x="899" y="79"/>
                  </a:lnTo>
                  <a:lnTo>
                    <a:pt x="910" y="73"/>
                  </a:lnTo>
                  <a:lnTo>
                    <a:pt x="911" y="64"/>
                  </a:lnTo>
                  <a:lnTo>
                    <a:pt x="903" y="53"/>
                  </a:lnTo>
                  <a:lnTo>
                    <a:pt x="905" y="37"/>
                  </a:lnTo>
                  <a:lnTo>
                    <a:pt x="893" y="47"/>
                  </a:lnTo>
                  <a:lnTo>
                    <a:pt x="890" y="62"/>
                  </a:lnTo>
                  <a:lnTo>
                    <a:pt x="873" y="77"/>
                  </a:lnTo>
                  <a:lnTo>
                    <a:pt x="863" y="104"/>
                  </a:lnTo>
                  <a:lnTo>
                    <a:pt x="822" y="156"/>
                  </a:lnTo>
                  <a:lnTo>
                    <a:pt x="822" y="166"/>
                  </a:lnTo>
                  <a:lnTo>
                    <a:pt x="834" y="165"/>
                  </a:lnTo>
                  <a:lnTo>
                    <a:pt x="818" y="186"/>
                  </a:lnTo>
                  <a:lnTo>
                    <a:pt x="810" y="196"/>
                  </a:lnTo>
                  <a:lnTo>
                    <a:pt x="802" y="195"/>
                  </a:lnTo>
                  <a:lnTo>
                    <a:pt x="798" y="177"/>
                  </a:lnTo>
                  <a:lnTo>
                    <a:pt x="807" y="160"/>
                  </a:lnTo>
                  <a:lnTo>
                    <a:pt x="819" y="106"/>
                  </a:lnTo>
                  <a:lnTo>
                    <a:pt x="852" y="59"/>
                  </a:lnTo>
                  <a:lnTo>
                    <a:pt x="849" y="47"/>
                  </a:lnTo>
                  <a:lnTo>
                    <a:pt x="833" y="55"/>
                  </a:lnTo>
                  <a:lnTo>
                    <a:pt x="822" y="65"/>
                  </a:lnTo>
                  <a:lnTo>
                    <a:pt x="816" y="49"/>
                  </a:lnTo>
                  <a:lnTo>
                    <a:pt x="807" y="47"/>
                  </a:lnTo>
                  <a:lnTo>
                    <a:pt x="802" y="29"/>
                  </a:lnTo>
                  <a:lnTo>
                    <a:pt x="798" y="31"/>
                  </a:lnTo>
                  <a:lnTo>
                    <a:pt x="793" y="50"/>
                  </a:lnTo>
                  <a:lnTo>
                    <a:pt x="786" y="35"/>
                  </a:lnTo>
                  <a:lnTo>
                    <a:pt x="781" y="32"/>
                  </a:lnTo>
                  <a:lnTo>
                    <a:pt x="778" y="55"/>
                  </a:lnTo>
                  <a:lnTo>
                    <a:pt x="783" y="67"/>
                  </a:lnTo>
                  <a:lnTo>
                    <a:pt x="777" y="70"/>
                  </a:lnTo>
                  <a:lnTo>
                    <a:pt x="757" y="55"/>
                  </a:lnTo>
                  <a:lnTo>
                    <a:pt x="753" y="58"/>
                  </a:lnTo>
                  <a:lnTo>
                    <a:pt x="753" y="73"/>
                  </a:lnTo>
                  <a:lnTo>
                    <a:pt x="771" y="76"/>
                  </a:lnTo>
                  <a:lnTo>
                    <a:pt x="780" y="88"/>
                  </a:lnTo>
                  <a:lnTo>
                    <a:pt x="775" y="98"/>
                  </a:lnTo>
                  <a:lnTo>
                    <a:pt x="762" y="89"/>
                  </a:lnTo>
                  <a:lnTo>
                    <a:pt x="753" y="117"/>
                  </a:lnTo>
                  <a:lnTo>
                    <a:pt x="763" y="127"/>
                  </a:lnTo>
                  <a:lnTo>
                    <a:pt x="757" y="135"/>
                  </a:lnTo>
                  <a:lnTo>
                    <a:pt x="742" y="126"/>
                  </a:lnTo>
                  <a:lnTo>
                    <a:pt x="733" y="127"/>
                  </a:lnTo>
                  <a:lnTo>
                    <a:pt x="716" y="150"/>
                  </a:lnTo>
                  <a:lnTo>
                    <a:pt x="709" y="151"/>
                  </a:lnTo>
                  <a:lnTo>
                    <a:pt x="707" y="160"/>
                  </a:lnTo>
                  <a:lnTo>
                    <a:pt x="703" y="172"/>
                  </a:lnTo>
                  <a:lnTo>
                    <a:pt x="691" y="171"/>
                  </a:lnTo>
                  <a:lnTo>
                    <a:pt x="688" y="187"/>
                  </a:lnTo>
                  <a:lnTo>
                    <a:pt x="700" y="190"/>
                  </a:lnTo>
                  <a:lnTo>
                    <a:pt x="689" y="203"/>
                  </a:lnTo>
                  <a:lnTo>
                    <a:pt x="694" y="225"/>
                  </a:lnTo>
                  <a:lnTo>
                    <a:pt x="683" y="230"/>
                  </a:lnTo>
                  <a:lnTo>
                    <a:pt x="673" y="212"/>
                  </a:lnTo>
                  <a:lnTo>
                    <a:pt x="683" y="198"/>
                  </a:lnTo>
                  <a:lnTo>
                    <a:pt x="665" y="198"/>
                  </a:lnTo>
                  <a:lnTo>
                    <a:pt x="674" y="184"/>
                  </a:lnTo>
                  <a:lnTo>
                    <a:pt x="646" y="178"/>
                  </a:lnTo>
                  <a:lnTo>
                    <a:pt x="640" y="175"/>
                  </a:lnTo>
                  <a:lnTo>
                    <a:pt x="635" y="181"/>
                  </a:lnTo>
                  <a:lnTo>
                    <a:pt x="643" y="195"/>
                  </a:lnTo>
                  <a:lnTo>
                    <a:pt x="626" y="192"/>
                  </a:lnTo>
                  <a:lnTo>
                    <a:pt x="627" y="163"/>
                  </a:lnTo>
                  <a:lnTo>
                    <a:pt x="609" y="159"/>
                  </a:lnTo>
                  <a:lnTo>
                    <a:pt x="600" y="178"/>
                  </a:lnTo>
                  <a:lnTo>
                    <a:pt x="603" y="184"/>
                  </a:lnTo>
                  <a:lnTo>
                    <a:pt x="593" y="181"/>
                  </a:lnTo>
                  <a:lnTo>
                    <a:pt x="591" y="171"/>
                  </a:lnTo>
                  <a:lnTo>
                    <a:pt x="581" y="159"/>
                  </a:lnTo>
                  <a:lnTo>
                    <a:pt x="579" y="174"/>
                  </a:lnTo>
                  <a:lnTo>
                    <a:pt x="572" y="168"/>
                  </a:lnTo>
                  <a:lnTo>
                    <a:pt x="560" y="171"/>
                  </a:lnTo>
                  <a:lnTo>
                    <a:pt x="566" y="181"/>
                  </a:lnTo>
                  <a:lnTo>
                    <a:pt x="582" y="177"/>
                  </a:lnTo>
                  <a:lnTo>
                    <a:pt x="581" y="192"/>
                  </a:lnTo>
                  <a:lnTo>
                    <a:pt x="594" y="206"/>
                  </a:lnTo>
                  <a:lnTo>
                    <a:pt x="602" y="192"/>
                  </a:lnTo>
                  <a:lnTo>
                    <a:pt x="615" y="201"/>
                  </a:lnTo>
                  <a:lnTo>
                    <a:pt x="608" y="209"/>
                  </a:lnTo>
                  <a:lnTo>
                    <a:pt x="617" y="221"/>
                  </a:lnTo>
                  <a:lnTo>
                    <a:pt x="608" y="233"/>
                  </a:lnTo>
                  <a:lnTo>
                    <a:pt x="611" y="266"/>
                  </a:lnTo>
                  <a:lnTo>
                    <a:pt x="599" y="254"/>
                  </a:lnTo>
                  <a:lnTo>
                    <a:pt x="593" y="239"/>
                  </a:lnTo>
                  <a:lnTo>
                    <a:pt x="582" y="237"/>
                  </a:lnTo>
                  <a:lnTo>
                    <a:pt x="575" y="219"/>
                  </a:lnTo>
                  <a:lnTo>
                    <a:pt x="564" y="213"/>
                  </a:lnTo>
                  <a:lnTo>
                    <a:pt x="560" y="222"/>
                  </a:lnTo>
                  <a:lnTo>
                    <a:pt x="573" y="236"/>
                  </a:lnTo>
                  <a:lnTo>
                    <a:pt x="560" y="234"/>
                  </a:lnTo>
                  <a:lnTo>
                    <a:pt x="555" y="254"/>
                  </a:lnTo>
                  <a:lnTo>
                    <a:pt x="541" y="246"/>
                  </a:lnTo>
                  <a:lnTo>
                    <a:pt x="549" y="230"/>
                  </a:lnTo>
                  <a:lnTo>
                    <a:pt x="541" y="227"/>
                  </a:lnTo>
                  <a:lnTo>
                    <a:pt x="532" y="236"/>
                  </a:lnTo>
                  <a:lnTo>
                    <a:pt x="531" y="254"/>
                  </a:lnTo>
                  <a:lnTo>
                    <a:pt x="517" y="264"/>
                  </a:lnTo>
                  <a:lnTo>
                    <a:pt x="520" y="287"/>
                  </a:lnTo>
                  <a:lnTo>
                    <a:pt x="531" y="298"/>
                  </a:lnTo>
                  <a:lnTo>
                    <a:pt x="526" y="307"/>
                  </a:lnTo>
                  <a:lnTo>
                    <a:pt x="517" y="295"/>
                  </a:lnTo>
                  <a:lnTo>
                    <a:pt x="511" y="298"/>
                  </a:lnTo>
                  <a:lnTo>
                    <a:pt x="507" y="320"/>
                  </a:lnTo>
                  <a:lnTo>
                    <a:pt x="490" y="338"/>
                  </a:lnTo>
                  <a:lnTo>
                    <a:pt x="490" y="331"/>
                  </a:lnTo>
                  <a:lnTo>
                    <a:pt x="504" y="305"/>
                  </a:lnTo>
                  <a:lnTo>
                    <a:pt x="504" y="289"/>
                  </a:lnTo>
                  <a:lnTo>
                    <a:pt x="495" y="272"/>
                  </a:lnTo>
                  <a:lnTo>
                    <a:pt x="502" y="254"/>
                  </a:lnTo>
                  <a:lnTo>
                    <a:pt x="504" y="227"/>
                  </a:lnTo>
                  <a:lnTo>
                    <a:pt x="498" y="233"/>
                  </a:lnTo>
                  <a:lnTo>
                    <a:pt x="487" y="239"/>
                  </a:lnTo>
                  <a:lnTo>
                    <a:pt x="487" y="251"/>
                  </a:lnTo>
                  <a:lnTo>
                    <a:pt x="477" y="258"/>
                  </a:lnTo>
                  <a:lnTo>
                    <a:pt x="474" y="296"/>
                  </a:lnTo>
                  <a:lnTo>
                    <a:pt x="462" y="319"/>
                  </a:lnTo>
                  <a:lnTo>
                    <a:pt x="462" y="279"/>
                  </a:lnTo>
                  <a:lnTo>
                    <a:pt x="456" y="269"/>
                  </a:lnTo>
                  <a:lnTo>
                    <a:pt x="460" y="257"/>
                  </a:lnTo>
                  <a:lnTo>
                    <a:pt x="449" y="257"/>
                  </a:lnTo>
                  <a:lnTo>
                    <a:pt x="446" y="263"/>
                  </a:lnTo>
                  <a:lnTo>
                    <a:pt x="433" y="263"/>
                  </a:lnTo>
                  <a:lnTo>
                    <a:pt x="418" y="289"/>
                  </a:lnTo>
                  <a:lnTo>
                    <a:pt x="427" y="298"/>
                  </a:lnTo>
                  <a:lnTo>
                    <a:pt x="424" y="313"/>
                  </a:lnTo>
                  <a:lnTo>
                    <a:pt x="431" y="323"/>
                  </a:lnTo>
                  <a:lnTo>
                    <a:pt x="439" y="323"/>
                  </a:lnTo>
                  <a:lnTo>
                    <a:pt x="459" y="350"/>
                  </a:lnTo>
                  <a:lnTo>
                    <a:pt x="457" y="361"/>
                  </a:lnTo>
                  <a:lnTo>
                    <a:pt x="440" y="353"/>
                  </a:lnTo>
                  <a:lnTo>
                    <a:pt x="439" y="340"/>
                  </a:lnTo>
                  <a:lnTo>
                    <a:pt x="421" y="334"/>
                  </a:lnTo>
                  <a:lnTo>
                    <a:pt x="409" y="302"/>
                  </a:lnTo>
                  <a:lnTo>
                    <a:pt x="392" y="302"/>
                  </a:lnTo>
                  <a:lnTo>
                    <a:pt x="395" y="311"/>
                  </a:lnTo>
                  <a:lnTo>
                    <a:pt x="395" y="323"/>
                  </a:lnTo>
                  <a:lnTo>
                    <a:pt x="413" y="334"/>
                  </a:lnTo>
                  <a:lnTo>
                    <a:pt x="406" y="343"/>
                  </a:lnTo>
                  <a:lnTo>
                    <a:pt x="394" y="335"/>
                  </a:lnTo>
                  <a:lnTo>
                    <a:pt x="391" y="347"/>
                  </a:lnTo>
                  <a:lnTo>
                    <a:pt x="386" y="334"/>
                  </a:lnTo>
                  <a:lnTo>
                    <a:pt x="377" y="332"/>
                  </a:lnTo>
                  <a:lnTo>
                    <a:pt x="376" y="340"/>
                  </a:lnTo>
                  <a:lnTo>
                    <a:pt x="368" y="335"/>
                  </a:lnTo>
                  <a:lnTo>
                    <a:pt x="379" y="319"/>
                  </a:lnTo>
                  <a:lnTo>
                    <a:pt x="370" y="308"/>
                  </a:lnTo>
                  <a:lnTo>
                    <a:pt x="357" y="341"/>
                  </a:lnTo>
                  <a:lnTo>
                    <a:pt x="359" y="361"/>
                  </a:lnTo>
                  <a:lnTo>
                    <a:pt x="364" y="368"/>
                  </a:lnTo>
                  <a:lnTo>
                    <a:pt x="329" y="387"/>
                  </a:lnTo>
                  <a:lnTo>
                    <a:pt x="323" y="400"/>
                  </a:lnTo>
                  <a:lnTo>
                    <a:pt x="302" y="411"/>
                  </a:lnTo>
                  <a:lnTo>
                    <a:pt x="303" y="420"/>
                  </a:lnTo>
                  <a:lnTo>
                    <a:pt x="288" y="424"/>
                  </a:lnTo>
                  <a:lnTo>
                    <a:pt x="282" y="445"/>
                  </a:lnTo>
                  <a:lnTo>
                    <a:pt x="259" y="473"/>
                  </a:lnTo>
                  <a:lnTo>
                    <a:pt x="261" y="482"/>
                  </a:lnTo>
                  <a:lnTo>
                    <a:pt x="278" y="486"/>
                  </a:lnTo>
                  <a:lnTo>
                    <a:pt x="279" y="474"/>
                  </a:lnTo>
                  <a:lnTo>
                    <a:pt x="290" y="474"/>
                  </a:lnTo>
                  <a:lnTo>
                    <a:pt x="293" y="486"/>
                  </a:lnTo>
                  <a:lnTo>
                    <a:pt x="302" y="489"/>
                  </a:lnTo>
                  <a:lnTo>
                    <a:pt x="320" y="470"/>
                  </a:lnTo>
                  <a:lnTo>
                    <a:pt x="327" y="471"/>
                  </a:lnTo>
                  <a:lnTo>
                    <a:pt x="323" y="483"/>
                  </a:lnTo>
                  <a:lnTo>
                    <a:pt x="332" y="488"/>
                  </a:lnTo>
                  <a:lnTo>
                    <a:pt x="324" y="497"/>
                  </a:lnTo>
                  <a:lnTo>
                    <a:pt x="311" y="506"/>
                  </a:lnTo>
                  <a:lnTo>
                    <a:pt x="317" y="518"/>
                  </a:lnTo>
                  <a:lnTo>
                    <a:pt x="306" y="518"/>
                  </a:lnTo>
                  <a:lnTo>
                    <a:pt x="296" y="498"/>
                  </a:lnTo>
                  <a:lnTo>
                    <a:pt x="285" y="506"/>
                  </a:lnTo>
                  <a:lnTo>
                    <a:pt x="272" y="498"/>
                  </a:lnTo>
                  <a:lnTo>
                    <a:pt x="250" y="507"/>
                  </a:lnTo>
                  <a:lnTo>
                    <a:pt x="241" y="519"/>
                  </a:lnTo>
                  <a:lnTo>
                    <a:pt x="253" y="525"/>
                  </a:lnTo>
                  <a:lnTo>
                    <a:pt x="259" y="536"/>
                  </a:lnTo>
                  <a:lnTo>
                    <a:pt x="250" y="540"/>
                  </a:lnTo>
                  <a:lnTo>
                    <a:pt x="258" y="553"/>
                  </a:lnTo>
                  <a:lnTo>
                    <a:pt x="253" y="557"/>
                  </a:lnTo>
                  <a:lnTo>
                    <a:pt x="244" y="557"/>
                  </a:lnTo>
                  <a:lnTo>
                    <a:pt x="241" y="566"/>
                  </a:lnTo>
                  <a:lnTo>
                    <a:pt x="259" y="562"/>
                  </a:lnTo>
                  <a:lnTo>
                    <a:pt x="264" y="568"/>
                  </a:lnTo>
                  <a:lnTo>
                    <a:pt x="259" y="574"/>
                  </a:lnTo>
                  <a:lnTo>
                    <a:pt x="247" y="569"/>
                  </a:lnTo>
                  <a:lnTo>
                    <a:pt x="241" y="580"/>
                  </a:lnTo>
                  <a:lnTo>
                    <a:pt x="240" y="571"/>
                  </a:lnTo>
                  <a:lnTo>
                    <a:pt x="234" y="560"/>
                  </a:lnTo>
                  <a:lnTo>
                    <a:pt x="231" y="545"/>
                  </a:lnTo>
                  <a:lnTo>
                    <a:pt x="234" y="537"/>
                  </a:lnTo>
                  <a:lnTo>
                    <a:pt x="226" y="539"/>
                  </a:lnTo>
                  <a:lnTo>
                    <a:pt x="219" y="560"/>
                  </a:lnTo>
                  <a:lnTo>
                    <a:pt x="208" y="565"/>
                  </a:lnTo>
                  <a:lnTo>
                    <a:pt x="201" y="578"/>
                  </a:lnTo>
                  <a:lnTo>
                    <a:pt x="192" y="592"/>
                  </a:lnTo>
                  <a:lnTo>
                    <a:pt x="198" y="598"/>
                  </a:lnTo>
                  <a:lnTo>
                    <a:pt x="205" y="602"/>
                  </a:lnTo>
                  <a:lnTo>
                    <a:pt x="198" y="610"/>
                  </a:lnTo>
                  <a:lnTo>
                    <a:pt x="205" y="614"/>
                  </a:lnTo>
                  <a:lnTo>
                    <a:pt x="195" y="628"/>
                  </a:lnTo>
                  <a:lnTo>
                    <a:pt x="181" y="636"/>
                  </a:lnTo>
                  <a:lnTo>
                    <a:pt x="186" y="642"/>
                  </a:lnTo>
                  <a:lnTo>
                    <a:pt x="199" y="640"/>
                  </a:lnTo>
                  <a:lnTo>
                    <a:pt x="214" y="632"/>
                  </a:lnTo>
                  <a:lnTo>
                    <a:pt x="204" y="646"/>
                  </a:lnTo>
                  <a:lnTo>
                    <a:pt x="208" y="654"/>
                  </a:lnTo>
                  <a:lnTo>
                    <a:pt x="198" y="658"/>
                  </a:lnTo>
                  <a:lnTo>
                    <a:pt x="187" y="651"/>
                  </a:lnTo>
                  <a:lnTo>
                    <a:pt x="180" y="654"/>
                  </a:lnTo>
                  <a:lnTo>
                    <a:pt x="176" y="649"/>
                  </a:lnTo>
                  <a:lnTo>
                    <a:pt x="167" y="646"/>
                  </a:lnTo>
                  <a:lnTo>
                    <a:pt x="163" y="632"/>
                  </a:lnTo>
                  <a:lnTo>
                    <a:pt x="146" y="649"/>
                  </a:lnTo>
                  <a:lnTo>
                    <a:pt x="143" y="670"/>
                  </a:lnTo>
                  <a:lnTo>
                    <a:pt x="149" y="675"/>
                  </a:lnTo>
                  <a:lnTo>
                    <a:pt x="152" y="687"/>
                  </a:lnTo>
                  <a:lnTo>
                    <a:pt x="164" y="679"/>
                  </a:lnTo>
                  <a:lnTo>
                    <a:pt x="170" y="687"/>
                  </a:lnTo>
                  <a:lnTo>
                    <a:pt x="183" y="687"/>
                  </a:lnTo>
                  <a:lnTo>
                    <a:pt x="195" y="697"/>
                  </a:lnTo>
                  <a:lnTo>
                    <a:pt x="184" y="711"/>
                  </a:lnTo>
                  <a:lnTo>
                    <a:pt x="169" y="697"/>
                  </a:lnTo>
                  <a:lnTo>
                    <a:pt x="155" y="702"/>
                  </a:lnTo>
                  <a:lnTo>
                    <a:pt x="137" y="703"/>
                  </a:lnTo>
                  <a:lnTo>
                    <a:pt x="133" y="708"/>
                  </a:lnTo>
                  <a:lnTo>
                    <a:pt x="124" y="711"/>
                  </a:lnTo>
                  <a:lnTo>
                    <a:pt x="121" y="731"/>
                  </a:lnTo>
                  <a:lnTo>
                    <a:pt x="112" y="729"/>
                  </a:lnTo>
                  <a:lnTo>
                    <a:pt x="104" y="738"/>
                  </a:lnTo>
                  <a:lnTo>
                    <a:pt x="94" y="734"/>
                  </a:lnTo>
                  <a:lnTo>
                    <a:pt x="91" y="743"/>
                  </a:lnTo>
                  <a:lnTo>
                    <a:pt x="78" y="740"/>
                  </a:lnTo>
                  <a:lnTo>
                    <a:pt x="75" y="746"/>
                  </a:lnTo>
                  <a:lnTo>
                    <a:pt x="83" y="755"/>
                  </a:lnTo>
                  <a:lnTo>
                    <a:pt x="94" y="761"/>
                  </a:lnTo>
                  <a:lnTo>
                    <a:pt x="77" y="762"/>
                  </a:lnTo>
                  <a:lnTo>
                    <a:pt x="75" y="770"/>
                  </a:lnTo>
                  <a:lnTo>
                    <a:pt x="80" y="776"/>
                  </a:lnTo>
                  <a:lnTo>
                    <a:pt x="77" y="783"/>
                  </a:lnTo>
                  <a:lnTo>
                    <a:pt x="65" y="777"/>
                  </a:lnTo>
                  <a:lnTo>
                    <a:pt x="60" y="783"/>
                  </a:lnTo>
                  <a:lnTo>
                    <a:pt x="74" y="789"/>
                  </a:lnTo>
                  <a:lnTo>
                    <a:pt x="53" y="789"/>
                  </a:lnTo>
                  <a:lnTo>
                    <a:pt x="53" y="798"/>
                  </a:lnTo>
                  <a:lnTo>
                    <a:pt x="75" y="801"/>
                  </a:lnTo>
                  <a:lnTo>
                    <a:pt x="71" y="815"/>
                  </a:lnTo>
                  <a:lnTo>
                    <a:pt x="62" y="814"/>
                  </a:lnTo>
                  <a:lnTo>
                    <a:pt x="60" y="826"/>
                  </a:lnTo>
                  <a:lnTo>
                    <a:pt x="65" y="829"/>
                  </a:lnTo>
                  <a:lnTo>
                    <a:pt x="78" y="851"/>
                  </a:lnTo>
                  <a:lnTo>
                    <a:pt x="84" y="845"/>
                  </a:lnTo>
                  <a:lnTo>
                    <a:pt x="104" y="842"/>
                  </a:lnTo>
                  <a:lnTo>
                    <a:pt x="98" y="853"/>
                  </a:lnTo>
                  <a:lnTo>
                    <a:pt x="83" y="860"/>
                  </a:lnTo>
                  <a:lnTo>
                    <a:pt x="78" y="871"/>
                  </a:lnTo>
                  <a:lnTo>
                    <a:pt x="72" y="857"/>
                  </a:lnTo>
                  <a:lnTo>
                    <a:pt x="65" y="848"/>
                  </a:lnTo>
                  <a:lnTo>
                    <a:pt x="47" y="853"/>
                  </a:lnTo>
                  <a:lnTo>
                    <a:pt x="41" y="853"/>
                  </a:lnTo>
                  <a:lnTo>
                    <a:pt x="39" y="872"/>
                  </a:lnTo>
                  <a:lnTo>
                    <a:pt x="15" y="881"/>
                  </a:lnTo>
                  <a:lnTo>
                    <a:pt x="5" y="872"/>
                  </a:lnTo>
                  <a:lnTo>
                    <a:pt x="0" y="884"/>
                  </a:lnTo>
                  <a:lnTo>
                    <a:pt x="15" y="887"/>
                  </a:lnTo>
                  <a:lnTo>
                    <a:pt x="18" y="897"/>
                  </a:lnTo>
                  <a:lnTo>
                    <a:pt x="5" y="904"/>
                  </a:lnTo>
                  <a:lnTo>
                    <a:pt x="11" y="912"/>
                  </a:lnTo>
                  <a:lnTo>
                    <a:pt x="24" y="892"/>
                  </a:lnTo>
                  <a:lnTo>
                    <a:pt x="39" y="881"/>
                  </a:lnTo>
                  <a:lnTo>
                    <a:pt x="39" y="892"/>
                  </a:lnTo>
                  <a:lnTo>
                    <a:pt x="51" y="904"/>
                  </a:lnTo>
                  <a:lnTo>
                    <a:pt x="47" y="907"/>
                  </a:lnTo>
                  <a:lnTo>
                    <a:pt x="30" y="898"/>
                  </a:lnTo>
                  <a:lnTo>
                    <a:pt x="24" y="907"/>
                  </a:lnTo>
                  <a:lnTo>
                    <a:pt x="30" y="918"/>
                  </a:lnTo>
                  <a:lnTo>
                    <a:pt x="18" y="919"/>
                  </a:lnTo>
                  <a:lnTo>
                    <a:pt x="14" y="928"/>
                  </a:lnTo>
                  <a:lnTo>
                    <a:pt x="27" y="936"/>
                  </a:lnTo>
                  <a:lnTo>
                    <a:pt x="24" y="949"/>
                  </a:lnTo>
                  <a:lnTo>
                    <a:pt x="17" y="951"/>
                  </a:lnTo>
                  <a:lnTo>
                    <a:pt x="12" y="937"/>
                  </a:lnTo>
                  <a:lnTo>
                    <a:pt x="3" y="940"/>
                  </a:lnTo>
                  <a:lnTo>
                    <a:pt x="6" y="954"/>
                  </a:lnTo>
                  <a:lnTo>
                    <a:pt x="18" y="961"/>
                  </a:lnTo>
                  <a:lnTo>
                    <a:pt x="21" y="983"/>
                  </a:lnTo>
                  <a:lnTo>
                    <a:pt x="21" y="983"/>
                  </a:lnTo>
                  <a:lnTo>
                    <a:pt x="23" y="987"/>
                  </a:lnTo>
                  <a:lnTo>
                    <a:pt x="124" y="987"/>
                  </a:lnTo>
                  <a:lnTo>
                    <a:pt x="124" y="987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009" name="Freeform 354"/>
            <p:cNvSpPr>
              <a:spLocks/>
            </p:cNvSpPr>
            <p:nvPr userDrawn="1"/>
          </p:nvSpPr>
          <p:spPr bwMode="auto">
            <a:xfrm>
              <a:off x="4197" y="782"/>
              <a:ext cx="22" cy="18"/>
            </a:xfrm>
            <a:custGeom>
              <a:avLst/>
              <a:gdLst>
                <a:gd name="T0" fmla="*/ 9 w 22"/>
                <a:gd name="T1" fmla="*/ 0 h 18"/>
                <a:gd name="T2" fmla="*/ 9 w 22"/>
                <a:gd name="T3" fmla="*/ 0 h 18"/>
                <a:gd name="T4" fmla="*/ 5 w 22"/>
                <a:gd name="T5" fmla="*/ 5 h 18"/>
                <a:gd name="T6" fmla="*/ 0 w 22"/>
                <a:gd name="T7" fmla="*/ 15 h 18"/>
                <a:gd name="T8" fmla="*/ 8 w 22"/>
                <a:gd name="T9" fmla="*/ 18 h 18"/>
                <a:gd name="T10" fmla="*/ 17 w 22"/>
                <a:gd name="T11" fmla="*/ 3 h 18"/>
                <a:gd name="T12" fmla="*/ 17 w 22"/>
                <a:gd name="T13" fmla="*/ 3 h 18"/>
                <a:gd name="T14" fmla="*/ 22 w 22"/>
                <a:gd name="T15" fmla="*/ 0 h 18"/>
                <a:gd name="T16" fmla="*/ 9 w 22"/>
                <a:gd name="T17" fmla="*/ 0 h 18"/>
                <a:gd name="T18" fmla="*/ 9 w 22"/>
                <a:gd name="T1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" h="18">
                  <a:moveTo>
                    <a:pt x="9" y="0"/>
                  </a:moveTo>
                  <a:lnTo>
                    <a:pt x="9" y="0"/>
                  </a:lnTo>
                  <a:lnTo>
                    <a:pt x="5" y="5"/>
                  </a:lnTo>
                  <a:lnTo>
                    <a:pt x="0" y="15"/>
                  </a:lnTo>
                  <a:lnTo>
                    <a:pt x="8" y="18"/>
                  </a:lnTo>
                  <a:lnTo>
                    <a:pt x="17" y="3"/>
                  </a:lnTo>
                  <a:lnTo>
                    <a:pt x="17" y="3"/>
                  </a:lnTo>
                  <a:lnTo>
                    <a:pt x="22" y="0"/>
                  </a:lnTo>
                  <a:lnTo>
                    <a:pt x="9" y="0"/>
                  </a:lnTo>
                  <a:lnTo>
                    <a:pt x="9" y="0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010" name="Freeform 355"/>
            <p:cNvSpPr>
              <a:spLocks/>
            </p:cNvSpPr>
            <p:nvPr userDrawn="1"/>
          </p:nvSpPr>
          <p:spPr bwMode="auto">
            <a:xfrm>
              <a:off x="3758" y="782"/>
              <a:ext cx="586" cy="987"/>
            </a:xfrm>
            <a:custGeom>
              <a:avLst/>
              <a:gdLst>
                <a:gd name="T0" fmla="*/ 480 w 586"/>
                <a:gd name="T1" fmla="*/ 17 h 987"/>
                <a:gd name="T2" fmla="*/ 442 w 586"/>
                <a:gd name="T3" fmla="*/ 32 h 987"/>
                <a:gd name="T4" fmla="*/ 399 w 586"/>
                <a:gd name="T5" fmla="*/ 86 h 987"/>
                <a:gd name="T6" fmla="*/ 409 w 586"/>
                <a:gd name="T7" fmla="*/ 116 h 987"/>
                <a:gd name="T8" fmla="*/ 373 w 586"/>
                <a:gd name="T9" fmla="*/ 115 h 987"/>
                <a:gd name="T10" fmla="*/ 328 w 586"/>
                <a:gd name="T11" fmla="*/ 186 h 987"/>
                <a:gd name="T12" fmla="*/ 302 w 586"/>
                <a:gd name="T13" fmla="*/ 243 h 987"/>
                <a:gd name="T14" fmla="*/ 394 w 586"/>
                <a:gd name="T15" fmla="*/ 223 h 987"/>
                <a:gd name="T16" fmla="*/ 411 w 586"/>
                <a:gd name="T17" fmla="*/ 204 h 987"/>
                <a:gd name="T18" fmla="*/ 396 w 586"/>
                <a:gd name="T19" fmla="*/ 241 h 987"/>
                <a:gd name="T20" fmla="*/ 323 w 586"/>
                <a:gd name="T21" fmla="*/ 285 h 987"/>
                <a:gd name="T22" fmla="*/ 272 w 586"/>
                <a:gd name="T23" fmla="*/ 281 h 987"/>
                <a:gd name="T24" fmla="*/ 207 w 586"/>
                <a:gd name="T25" fmla="*/ 323 h 987"/>
                <a:gd name="T26" fmla="*/ 157 w 586"/>
                <a:gd name="T27" fmla="*/ 349 h 987"/>
                <a:gd name="T28" fmla="*/ 153 w 586"/>
                <a:gd name="T29" fmla="*/ 362 h 987"/>
                <a:gd name="T30" fmla="*/ 151 w 586"/>
                <a:gd name="T31" fmla="*/ 388 h 987"/>
                <a:gd name="T32" fmla="*/ 145 w 586"/>
                <a:gd name="T33" fmla="*/ 410 h 987"/>
                <a:gd name="T34" fmla="*/ 102 w 586"/>
                <a:gd name="T35" fmla="*/ 429 h 987"/>
                <a:gd name="T36" fmla="*/ 123 w 586"/>
                <a:gd name="T37" fmla="*/ 475 h 987"/>
                <a:gd name="T38" fmla="*/ 97 w 586"/>
                <a:gd name="T39" fmla="*/ 468 h 987"/>
                <a:gd name="T40" fmla="*/ 80 w 586"/>
                <a:gd name="T41" fmla="*/ 493 h 987"/>
                <a:gd name="T42" fmla="*/ 79 w 586"/>
                <a:gd name="T43" fmla="*/ 518 h 987"/>
                <a:gd name="T44" fmla="*/ 14 w 586"/>
                <a:gd name="T45" fmla="*/ 516 h 987"/>
                <a:gd name="T46" fmla="*/ 23 w 586"/>
                <a:gd name="T47" fmla="*/ 572 h 987"/>
                <a:gd name="T48" fmla="*/ 52 w 586"/>
                <a:gd name="T49" fmla="*/ 596 h 987"/>
                <a:gd name="T50" fmla="*/ 120 w 586"/>
                <a:gd name="T51" fmla="*/ 594 h 987"/>
                <a:gd name="T52" fmla="*/ 151 w 586"/>
                <a:gd name="T53" fmla="*/ 582 h 987"/>
                <a:gd name="T54" fmla="*/ 138 w 586"/>
                <a:gd name="T55" fmla="*/ 638 h 987"/>
                <a:gd name="T56" fmla="*/ 34 w 586"/>
                <a:gd name="T57" fmla="*/ 617 h 987"/>
                <a:gd name="T58" fmla="*/ 26 w 586"/>
                <a:gd name="T59" fmla="*/ 637 h 987"/>
                <a:gd name="T60" fmla="*/ 31 w 586"/>
                <a:gd name="T61" fmla="*/ 682 h 987"/>
                <a:gd name="T62" fmla="*/ 11 w 586"/>
                <a:gd name="T63" fmla="*/ 708 h 987"/>
                <a:gd name="T64" fmla="*/ 95 w 586"/>
                <a:gd name="T65" fmla="*/ 680 h 987"/>
                <a:gd name="T66" fmla="*/ 102 w 586"/>
                <a:gd name="T67" fmla="*/ 718 h 987"/>
                <a:gd name="T68" fmla="*/ 83 w 586"/>
                <a:gd name="T69" fmla="*/ 733 h 987"/>
                <a:gd name="T70" fmla="*/ 83 w 586"/>
                <a:gd name="T71" fmla="*/ 762 h 987"/>
                <a:gd name="T72" fmla="*/ 71 w 586"/>
                <a:gd name="T73" fmla="*/ 773 h 987"/>
                <a:gd name="T74" fmla="*/ 41 w 586"/>
                <a:gd name="T75" fmla="*/ 819 h 987"/>
                <a:gd name="T76" fmla="*/ 85 w 586"/>
                <a:gd name="T77" fmla="*/ 816 h 987"/>
                <a:gd name="T78" fmla="*/ 68 w 586"/>
                <a:gd name="T79" fmla="*/ 874 h 987"/>
                <a:gd name="T80" fmla="*/ 43 w 586"/>
                <a:gd name="T81" fmla="*/ 881 h 987"/>
                <a:gd name="T82" fmla="*/ 109 w 586"/>
                <a:gd name="T83" fmla="*/ 961 h 987"/>
                <a:gd name="T84" fmla="*/ 212 w 586"/>
                <a:gd name="T85" fmla="*/ 961 h 987"/>
                <a:gd name="T86" fmla="*/ 246 w 586"/>
                <a:gd name="T87" fmla="*/ 923 h 987"/>
                <a:gd name="T88" fmla="*/ 276 w 586"/>
                <a:gd name="T89" fmla="*/ 890 h 987"/>
                <a:gd name="T90" fmla="*/ 334 w 586"/>
                <a:gd name="T91" fmla="*/ 843 h 987"/>
                <a:gd name="T92" fmla="*/ 338 w 586"/>
                <a:gd name="T93" fmla="*/ 788 h 987"/>
                <a:gd name="T94" fmla="*/ 361 w 586"/>
                <a:gd name="T95" fmla="*/ 756 h 987"/>
                <a:gd name="T96" fmla="*/ 364 w 586"/>
                <a:gd name="T97" fmla="*/ 840 h 987"/>
                <a:gd name="T98" fmla="*/ 418 w 586"/>
                <a:gd name="T99" fmla="*/ 869 h 987"/>
                <a:gd name="T100" fmla="*/ 461 w 586"/>
                <a:gd name="T101" fmla="*/ 754 h 987"/>
                <a:gd name="T102" fmla="*/ 477 w 586"/>
                <a:gd name="T103" fmla="*/ 543 h 987"/>
                <a:gd name="T104" fmla="*/ 441 w 586"/>
                <a:gd name="T105" fmla="*/ 300 h 987"/>
                <a:gd name="T106" fmla="*/ 543 w 586"/>
                <a:gd name="T107" fmla="*/ 134 h 987"/>
                <a:gd name="T108" fmla="*/ 485 w 586"/>
                <a:gd name="T109" fmla="*/ 2 h 9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586" h="987">
                  <a:moveTo>
                    <a:pt x="462" y="0"/>
                  </a:moveTo>
                  <a:lnTo>
                    <a:pt x="462" y="0"/>
                  </a:lnTo>
                  <a:lnTo>
                    <a:pt x="465" y="21"/>
                  </a:lnTo>
                  <a:lnTo>
                    <a:pt x="474" y="15"/>
                  </a:lnTo>
                  <a:lnTo>
                    <a:pt x="483" y="3"/>
                  </a:lnTo>
                  <a:lnTo>
                    <a:pt x="486" y="9"/>
                  </a:lnTo>
                  <a:lnTo>
                    <a:pt x="480" y="17"/>
                  </a:lnTo>
                  <a:lnTo>
                    <a:pt x="468" y="23"/>
                  </a:lnTo>
                  <a:lnTo>
                    <a:pt x="471" y="26"/>
                  </a:lnTo>
                  <a:lnTo>
                    <a:pt x="464" y="41"/>
                  </a:lnTo>
                  <a:lnTo>
                    <a:pt x="456" y="35"/>
                  </a:lnTo>
                  <a:lnTo>
                    <a:pt x="451" y="18"/>
                  </a:lnTo>
                  <a:lnTo>
                    <a:pt x="447" y="24"/>
                  </a:lnTo>
                  <a:lnTo>
                    <a:pt x="442" y="32"/>
                  </a:lnTo>
                  <a:lnTo>
                    <a:pt x="429" y="35"/>
                  </a:lnTo>
                  <a:lnTo>
                    <a:pt x="420" y="45"/>
                  </a:lnTo>
                  <a:lnTo>
                    <a:pt x="423" y="60"/>
                  </a:lnTo>
                  <a:lnTo>
                    <a:pt x="411" y="66"/>
                  </a:lnTo>
                  <a:lnTo>
                    <a:pt x="405" y="65"/>
                  </a:lnTo>
                  <a:lnTo>
                    <a:pt x="397" y="82"/>
                  </a:lnTo>
                  <a:lnTo>
                    <a:pt x="399" y="86"/>
                  </a:lnTo>
                  <a:lnTo>
                    <a:pt x="405" y="85"/>
                  </a:lnTo>
                  <a:lnTo>
                    <a:pt x="418" y="74"/>
                  </a:lnTo>
                  <a:lnTo>
                    <a:pt x="424" y="80"/>
                  </a:lnTo>
                  <a:lnTo>
                    <a:pt x="411" y="92"/>
                  </a:lnTo>
                  <a:lnTo>
                    <a:pt x="405" y="95"/>
                  </a:lnTo>
                  <a:lnTo>
                    <a:pt x="406" y="107"/>
                  </a:lnTo>
                  <a:lnTo>
                    <a:pt x="409" y="116"/>
                  </a:lnTo>
                  <a:lnTo>
                    <a:pt x="408" y="119"/>
                  </a:lnTo>
                  <a:lnTo>
                    <a:pt x="391" y="113"/>
                  </a:lnTo>
                  <a:lnTo>
                    <a:pt x="390" y="119"/>
                  </a:lnTo>
                  <a:lnTo>
                    <a:pt x="400" y="130"/>
                  </a:lnTo>
                  <a:lnTo>
                    <a:pt x="391" y="130"/>
                  </a:lnTo>
                  <a:lnTo>
                    <a:pt x="379" y="118"/>
                  </a:lnTo>
                  <a:lnTo>
                    <a:pt x="373" y="115"/>
                  </a:lnTo>
                  <a:lnTo>
                    <a:pt x="361" y="127"/>
                  </a:lnTo>
                  <a:lnTo>
                    <a:pt x="358" y="137"/>
                  </a:lnTo>
                  <a:lnTo>
                    <a:pt x="347" y="136"/>
                  </a:lnTo>
                  <a:lnTo>
                    <a:pt x="340" y="163"/>
                  </a:lnTo>
                  <a:lnTo>
                    <a:pt x="328" y="169"/>
                  </a:lnTo>
                  <a:lnTo>
                    <a:pt x="323" y="181"/>
                  </a:lnTo>
                  <a:lnTo>
                    <a:pt x="328" y="186"/>
                  </a:lnTo>
                  <a:lnTo>
                    <a:pt x="308" y="192"/>
                  </a:lnTo>
                  <a:lnTo>
                    <a:pt x="310" y="199"/>
                  </a:lnTo>
                  <a:lnTo>
                    <a:pt x="325" y="202"/>
                  </a:lnTo>
                  <a:lnTo>
                    <a:pt x="310" y="217"/>
                  </a:lnTo>
                  <a:lnTo>
                    <a:pt x="295" y="220"/>
                  </a:lnTo>
                  <a:lnTo>
                    <a:pt x="296" y="241"/>
                  </a:lnTo>
                  <a:lnTo>
                    <a:pt x="302" y="243"/>
                  </a:lnTo>
                  <a:lnTo>
                    <a:pt x="316" y="234"/>
                  </a:lnTo>
                  <a:lnTo>
                    <a:pt x="308" y="250"/>
                  </a:lnTo>
                  <a:lnTo>
                    <a:pt x="320" y="270"/>
                  </a:lnTo>
                  <a:lnTo>
                    <a:pt x="343" y="260"/>
                  </a:lnTo>
                  <a:lnTo>
                    <a:pt x="359" y="237"/>
                  </a:lnTo>
                  <a:lnTo>
                    <a:pt x="394" y="223"/>
                  </a:lnTo>
                  <a:lnTo>
                    <a:pt x="394" y="223"/>
                  </a:lnTo>
                  <a:lnTo>
                    <a:pt x="393" y="217"/>
                  </a:lnTo>
                  <a:lnTo>
                    <a:pt x="344" y="226"/>
                  </a:lnTo>
                  <a:lnTo>
                    <a:pt x="347" y="225"/>
                  </a:lnTo>
                  <a:lnTo>
                    <a:pt x="393" y="213"/>
                  </a:lnTo>
                  <a:lnTo>
                    <a:pt x="399" y="204"/>
                  </a:lnTo>
                  <a:lnTo>
                    <a:pt x="409" y="201"/>
                  </a:lnTo>
                  <a:lnTo>
                    <a:pt x="411" y="204"/>
                  </a:lnTo>
                  <a:lnTo>
                    <a:pt x="400" y="207"/>
                  </a:lnTo>
                  <a:lnTo>
                    <a:pt x="406" y="210"/>
                  </a:lnTo>
                  <a:lnTo>
                    <a:pt x="406" y="216"/>
                  </a:lnTo>
                  <a:lnTo>
                    <a:pt x="399" y="223"/>
                  </a:lnTo>
                  <a:lnTo>
                    <a:pt x="415" y="223"/>
                  </a:lnTo>
                  <a:lnTo>
                    <a:pt x="414" y="234"/>
                  </a:lnTo>
                  <a:lnTo>
                    <a:pt x="396" y="241"/>
                  </a:lnTo>
                  <a:lnTo>
                    <a:pt x="403" y="229"/>
                  </a:lnTo>
                  <a:lnTo>
                    <a:pt x="367" y="246"/>
                  </a:lnTo>
                  <a:lnTo>
                    <a:pt x="353" y="260"/>
                  </a:lnTo>
                  <a:lnTo>
                    <a:pt x="362" y="272"/>
                  </a:lnTo>
                  <a:lnTo>
                    <a:pt x="353" y="279"/>
                  </a:lnTo>
                  <a:lnTo>
                    <a:pt x="328" y="279"/>
                  </a:lnTo>
                  <a:lnTo>
                    <a:pt x="323" y="285"/>
                  </a:lnTo>
                  <a:lnTo>
                    <a:pt x="331" y="294"/>
                  </a:lnTo>
                  <a:lnTo>
                    <a:pt x="316" y="296"/>
                  </a:lnTo>
                  <a:lnTo>
                    <a:pt x="313" y="288"/>
                  </a:lnTo>
                  <a:lnTo>
                    <a:pt x="316" y="273"/>
                  </a:lnTo>
                  <a:lnTo>
                    <a:pt x="301" y="255"/>
                  </a:lnTo>
                  <a:lnTo>
                    <a:pt x="269" y="270"/>
                  </a:lnTo>
                  <a:lnTo>
                    <a:pt x="272" y="281"/>
                  </a:lnTo>
                  <a:lnTo>
                    <a:pt x="280" y="291"/>
                  </a:lnTo>
                  <a:lnTo>
                    <a:pt x="263" y="299"/>
                  </a:lnTo>
                  <a:lnTo>
                    <a:pt x="257" y="284"/>
                  </a:lnTo>
                  <a:lnTo>
                    <a:pt x="245" y="288"/>
                  </a:lnTo>
                  <a:lnTo>
                    <a:pt x="231" y="288"/>
                  </a:lnTo>
                  <a:lnTo>
                    <a:pt x="218" y="308"/>
                  </a:lnTo>
                  <a:lnTo>
                    <a:pt x="207" y="323"/>
                  </a:lnTo>
                  <a:lnTo>
                    <a:pt x="203" y="317"/>
                  </a:lnTo>
                  <a:lnTo>
                    <a:pt x="194" y="315"/>
                  </a:lnTo>
                  <a:lnTo>
                    <a:pt x="194" y="324"/>
                  </a:lnTo>
                  <a:lnTo>
                    <a:pt x="183" y="323"/>
                  </a:lnTo>
                  <a:lnTo>
                    <a:pt x="174" y="330"/>
                  </a:lnTo>
                  <a:lnTo>
                    <a:pt x="159" y="335"/>
                  </a:lnTo>
                  <a:lnTo>
                    <a:pt x="157" y="349"/>
                  </a:lnTo>
                  <a:lnTo>
                    <a:pt x="166" y="353"/>
                  </a:lnTo>
                  <a:lnTo>
                    <a:pt x="178" y="344"/>
                  </a:lnTo>
                  <a:lnTo>
                    <a:pt x="192" y="356"/>
                  </a:lnTo>
                  <a:lnTo>
                    <a:pt x="174" y="364"/>
                  </a:lnTo>
                  <a:lnTo>
                    <a:pt x="171" y="359"/>
                  </a:lnTo>
                  <a:lnTo>
                    <a:pt x="162" y="368"/>
                  </a:lnTo>
                  <a:lnTo>
                    <a:pt x="153" y="362"/>
                  </a:lnTo>
                  <a:lnTo>
                    <a:pt x="142" y="353"/>
                  </a:lnTo>
                  <a:lnTo>
                    <a:pt x="123" y="365"/>
                  </a:lnTo>
                  <a:lnTo>
                    <a:pt x="124" y="376"/>
                  </a:lnTo>
                  <a:lnTo>
                    <a:pt x="136" y="379"/>
                  </a:lnTo>
                  <a:lnTo>
                    <a:pt x="124" y="391"/>
                  </a:lnTo>
                  <a:lnTo>
                    <a:pt x="141" y="391"/>
                  </a:lnTo>
                  <a:lnTo>
                    <a:pt x="151" y="388"/>
                  </a:lnTo>
                  <a:lnTo>
                    <a:pt x="172" y="394"/>
                  </a:lnTo>
                  <a:lnTo>
                    <a:pt x="153" y="403"/>
                  </a:lnTo>
                  <a:lnTo>
                    <a:pt x="153" y="410"/>
                  </a:lnTo>
                  <a:lnTo>
                    <a:pt x="171" y="412"/>
                  </a:lnTo>
                  <a:lnTo>
                    <a:pt x="169" y="421"/>
                  </a:lnTo>
                  <a:lnTo>
                    <a:pt x="159" y="424"/>
                  </a:lnTo>
                  <a:lnTo>
                    <a:pt x="145" y="410"/>
                  </a:lnTo>
                  <a:lnTo>
                    <a:pt x="141" y="413"/>
                  </a:lnTo>
                  <a:lnTo>
                    <a:pt x="129" y="407"/>
                  </a:lnTo>
                  <a:lnTo>
                    <a:pt x="118" y="412"/>
                  </a:lnTo>
                  <a:lnTo>
                    <a:pt x="109" y="412"/>
                  </a:lnTo>
                  <a:lnTo>
                    <a:pt x="100" y="418"/>
                  </a:lnTo>
                  <a:lnTo>
                    <a:pt x="95" y="424"/>
                  </a:lnTo>
                  <a:lnTo>
                    <a:pt x="102" y="429"/>
                  </a:lnTo>
                  <a:lnTo>
                    <a:pt x="109" y="421"/>
                  </a:lnTo>
                  <a:lnTo>
                    <a:pt x="124" y="429"/>
                  </a:lnTo>
                  <a:lnTo>
                    <a:pt x="126" y="441"/>
                  </a:lnTo>
                  <a:lnTo>
                    <a:pt x="151" y="442"/>
                  </a:lnTo>
                  <a:lnTo>
                    <a:pt x="148" y="451"/>
                  </a:lnTo>
                  <a:lnTo>
                    <a:pt x="130" y="451"/>
                  </a:lnTo>
                  <a:lnTo>
                    <a:pt x="123" y="475"/>
                  </a:lnTo>
                  <a:lnTo>
                    <a:pt x="115" y="475"/>
                  </a:lnTo>
                  <a:lnTo>
                    <a:pt x="120" y="445"/>
                  </a:lnTo>
                  <a:lnTo>
                    <a:pt x="111" y="436"/>
                  </a:lnTo>
                  <a:lnTo>
                    <a:pt x="99" y="438"/>
                  </a:lnTo>
                  <a:lnTo>
                    <a:pt x="97" y="456"/>
                  </a:lnTo>
                  <a:lnTo>
                    <a:pt x="102" y="465"/>
                  </a:lnTo>
                  <a:lnTo>
                    <a:pt x="97" y="468"/>
                  </a:lnTo>
                  <a:lnTo>
                    <a:pt x="85" y="445"/>
                  </a:lnTo>
                  <a:lnTo>
                    <a:pt x="70" y="456"/>
                  </a:lnTo>
                  <a:lnTo>
                    <a:pt x="64" y="471"/>
                  </a:lnTo>
                  <a:lnTo>
                    <a:pt x="74" y="475"/>
                  </a:lnTo>
                  <a:lnTo>
                    <a:pt x="77" y="480"/>
                  </a:lnTo>
                  <a:lnTo>
                    <a:pt x="68" y="486"/>
                  </a:lnTo>
                  <a:lnTo>
                    <a:pt x="80" y="493"/>
                  </a:lnTo>
                  <a:lnTo>
                    <a:pt x="67" y="496"/>
                  </a:lnTo>
                  <a:lnTo>
                    <a:pt x="47" y="499"/>
                  </a:lnTo>
                  <a:lnTo>
                    <a:pt x="43" y="504"/>
                  </a:lnTo>
                  <a:lnTo>
                    <a:pt x="53" y="507"/>
                  </a:lnTo>
                  <a:lnTo>
                    <a:pt x="88" y="502"/>
                  </a:lnTo>
                  <a:lnTo>
                    <a:pt x="88" y="508"/>
                  </a:lnTo>
                  <a:lnTo>
                    <a:pt x="79" y="518"/>
                  </a:lnTo>
                  <a:lnTo>
                    <a:pt x="62" y="508"/>
                  </a:lnTo>
                  <a:lnTo>
                    <a:pt x="46" y="515"/>
                  </a:lnTo>
                  <a:lnTo>
                    <a:pt x="44" y="522"/>
                  </a:lnTo>
                  <a:lnTo>
                    <a:pt x="35" y="518"/>
                  </a:lnTo>
                  <a:lnTo>
                    <a:pt x="26" y="507"/>
                  </a:lnTo>
                  <a:lnTo>
                    <a:pt x="19" y="516"/>
                  </a:lnTo>
                  <a:lnTo>
                    <a:pt x="14" y="516"/>
                  </a:lnTo>
                  <a:lnTo>
                    <a:pt x="16" y="527"/>
                  </a:lnTo>
                  <a:lnTo>
                    <a:pt x="0" y="528"/>
                  </a:lnTo>
                  <a:lnTo>
                    <a:pt x="22" y="542"/>
                  </a:lnTo>
                  <a:lnTo>
                    <a:pt x="16" y="548"/>
                  </a:lnTo>
                  <a:lnTo>
                    <a:pt x="37" y="560"/>
                  </a:lnTo>
                  <a:lnTo>
                    <a:pt x="26" y="563"/>
                  </a:lnTo>
                  <a:lnTo>
                    <a:pt x="23" y="572"/>
                  </a:lnTo>
                  <a:lnTo>
                    <a:pt x="29" y="573"/>
                  </a:lnTo>
                  <a:lnTo>
                    <a:pt x="2" y="587"/>
                  </a:lnTo>
                  <a:lnTo>
                    <a:pt x="19" y="593"/>
                  </a:lnTo>
                  <a:lnTo>
                    <a:pt x="8" y="597"/>
                  </a:lnTo>
                  <a:lnTo>
                    <a:pt x="13" y="607"/>
                  </a:lnTo>
                  <a:lnTo>
                    <a:pt x="28" y="611"/>
                  </a:lnTo>
                  <a:lnTo>
                    <a:pt x="52" y="596"/>
                  </a:lnTo>
                  <a:lnTo>
                    <a:pt x="74" y="597"/>
                  </a:lnTo>
                  <a:lnTo>
                    <a:pt x="86" y="596"/>
                  </a:lnTo>
                  <a:lnTo>
                    <a:pt x="86" y="584"/>
                  </a:lnTo>
                  <a:lnTo>
                    <a:pt x="102" y="572"/>
                  </a:lnTo>
                  <a:lnTo>
                    <a:pt x="92" y="587"/>
                  </a:lnTo>
                  <a:lnTo>
                    <a:pt x="92" y="594"/>
                  </a:lnTo>
                  <a:lnTo>
                    <a:pt x="120" y="594"/>
                  </a:lnTo>
                  <a:lnTo>
                    <a:pt x="124" y="590"/>
                  </a:lnTo>
                  <a:lnTo>
                    <a:pt x="130" y="597"/>
                  </a:lnTo>
                  <a:lnTo>
                    <a:pt x="141" y="591"/>
                  </a:lnTo>
                  <a:lnTo>
                    <a:pt x="141" y="566"/>
                  </a:lnTo>
                  <a:lnTo>
                    <a:pt x="166" y="545"/>
                  </a:lnTo>
                  <a:lnTo>
                    <a:pt x="151" y="566"/>
                  </a:lnTo>
                  <a:lnTo>
                    <a:pt x="151" y="582"/>
                  </a:lnTo>
                  <a:lnTo>
                    <a:pt x="147" y="591"/>
                  </a:lnTo>
                  <a:lnTo>
                    <a:pt x="166" y="584"/>
                  </a:lnTo>
                  <a:lnTo>
                    <a:pt x="168" y="596"/>
                  </a:lnTo>
                  <a:lnTo>
                    <a:pt x="129" y="611"/>
                  </a:lnTo>
                  <a:lnTo>
                    <a:pt x="130" y="620"/>
                  </a:lnTo>
                  <a:lnTo>
                    <a:pt x="142" y="629"/>
                  </a:lnTo>
                  <a:lnTo>
                    <a:pt x="138" y="638"/>
                  </a:lnTo>
                  <a:lnTo>
                    <a:pt x="130" y="629"/>
                  </a:lnTo>
                  <a:lnTo>
                    <a:pt x="120" y="637"/>
                  </a:lnTo>
                  <a:lnTo>
                    <a:pt x="123" y="623"/>
                  </a:lnTo>
                  <a:lnTo>
                    <a:pt x="94" y="605"/>
                  </a:lnTo>
                  <a:lnTo>
                    <a:pt x="79" y="613"/>
                  </a:lnTo>
                  <a:lnTo>
                    <a:pt x="50" y="607"/>
                  </a:lnTo>
                  <a:lnTo>
                    <a:pt x="34" y="617"/>
                  </a:lnTo>
                  <a:lnTo>
                    <a:pt x="17" y="613"/>
                  </a:lnTo>
                  <a:lnTo>
                    <a:pt x="7" y="614"/>
                  </a:lnTo>
                  <a:lnTo>
                    <a:pt x="3" y="626"/>
                  </a:lnTo>
                  <a:lnTo>
                    <a:pt x="11" y="626"/>
                  </a:lnTo>
                  <a:lnTo>
                    <a:pt x="5" y="634"/>
                  </a:lnTo>
                  <a:lnTo>
                    <a:pt x="17" y="641"/>
                  </a:lnTo>
                  <a:lnTo>
                    <a:pt x="26" y="637"/>
                  </a:lnTo>
                  <a:lnTo>
                    <a:pt x="31" y="637"/>
                  </a:lnTo>
                  <a:lnTo>
                    <a:pt x="23" y="647"/>
                  </a:lnTo>
                  <a:lnTo>
                    <a:pt x="32" y="655"/>
                  </a:lnTo>
                  <a:lnTo>
                    <a:pt x="31" y="664"/>
                  </a:lnTo>
                  <a:lnTo>
                    <a:pt x="46" y="662"/>
                  </a:lnTo>
                  <a:lnTo>
                    <a:pt x="29" y="671"/>
                  </a:lnTo>
                  <a:lnTo>
                    <a:pt x="31" y="682"/>
                  </a:lnTo>
                  <a:lnTo>
                    <a:pt x="35" y="685"/>
                  </a:lnTo>
                  <a:lnTo>
                    <a:pt x="55" y="683"/>
                  </a:lnTo>
                  <a:lnTo>
                    <a:pt x="34" y="699"/>
                  </a:lnTo>
                  <a:lnTo>
                    <a:pt x="23" y="688"/>
                  </a:lnTo>
                  <a:lnTo>
                    <a:pt x="22" y="703"/>
                  </a:lnTo>
                  <a:lnTo>
                    <a:pt x="11" y="702"/>
                  </a:lnTo>
                  <a:lnTo>
                    <a:pt x="11" y="708"/>
                  </a:lnTo>
                  <a:lnTo>
                    <a:pt x="23" y="727"/>
                  </a:lnTo>
                  <a:lnTo>
                    <a:pt x="34" y="720"/>
                  </a:lnTo>
                  <a:lnTo>
                    <a:pt x="49" y="729"/>
                  </a:lnTo>
                  <a:lnTo>
                    <a:pt x="53" y="721"/>
                  </a:lnTo>
                  <a:lnTo>
                    <a:pt x="71" y="709"/>
                  </a:lnTo>
                  <a:lnTo>
                    <a:pt x="77" y="690"/>
                  </a:lnTo>
                  <a:lnTo>
                    <a:pt x="95" y="680"/>
                  </a:lnTo>
                  <a:lnTo>
                    <a:pt x="106" y="670"/>
                  </a:lnTo>
                  <a:lnTo>
                    <a:pt x="105" y="680"/>
                  </a:lnTo>
                  <a:lnTo>
                    <a:pt x="121" y="674"/>
                  </a:lnTo>
                  <a:lnTo>
                    <a:pt x="129" y="677"/>
                  </a:lnTo>
                  <a:lnTo>
                    <a:pt x="109" y="687"/>
                  </a:lnTo>
                  <a:lnTo>
                    <a:pt x="106" y="724"/>
                  </a:lnTo>
                  <a:lnTo>
                    <a:pt x="102" y="718"/>
                  </a:lnTo>
                  <a:lnTo>
                    <a:pt x="103" y="690"/>
                  </a:lnTo>
                  <a:lnTo>
                    <a:pt x="95" y="693"/>
                  </a:lnTo>
                  <a:lnTo>
                    <a:pt x="94" y="694"/>
                  </a:lnTo>
                  <a:lnTo>
                    <a:pt x="86" y="711"/>
                  </a:lnTo>
                  <a:lnTo>
                    <a:pt x="74" y="724"/>
                  </a:lnTo>
                  <a:lnTo>
                    <a:pt x="86" y="724"/>
                  </a:lnTo>
                  <a:lnTo>
                    <a:pt x="83" y="733"/>
                  </a:lnTo>
                  <a:lnTo>
                    <a:pt x="68" y="739"/>
                  </a:lnTo>
                  <a:lnTo>
                    <a:pt x="61" y="754"/>
                  </a:lnTo>
                  <a:lnTo>
                    <a:pt x="52" y="766"/>
                  </a:lnTo>
                  <a:lnTo>
                    <a:pt x="55" y="774"/>
                  </a:lnTo>
                  <a:lnTo>
                    <a:pt x="65" y="766"/>
                  </a:lnTo>
                  <a:lnTo>
                    <a:pt x="73" y="771"/>
                  </a:lnTo>
                  <a:lnTo>
                    <a:pt x="83" y="762"/>
                  </a:lnTo>
                  <a:lnTo>
                    <a:pt x="86" y="766"/>
                  </a:lnTo>
                  <a:lnTo>
                    <a:pt x="82" y="779"/>
                  </a:lnTo>
                  <a:lnTo>
                    <a:pt x="82" y="779"/>
                  </a:lnTo>
                  <a:lnTo>
                    <a:pt x="76" y="776"/>
                  </a:lnTo>
                  <a:lnTo>
                    <a:pt x="73" y="773"/>
                  </a:lnTo>
                  <a:lnTo>
                    <a:pt x="71" y="773"/>
                  </a:lnTo>
                  <a:lnTo>
                    <a:pt x="71" y="773"/>
                  </a:lnTo>
                  <a:lnTo>
                    <a:pt x="70" y="776"/>
                  </a:lnTo>
                  <a:lnTo>
                    <a:pt x="67" y="780"/>
                  </a:lnTo>
                  <a:lnTo>
                    <a:pt x="61" y="785"/>
                  </a:lnTo>
                  <a:lnTo>
                    <a:pt x="59" y="801"/>
                  </a:lnTo>
                  <a:lnTo>
                    <a:pt x="47" y="795"/>
                  </a:lnTo>
                  <a:lnTo>
                    <a:pt x="38" y="813"/>
                  </a:lnTo>
                  <a:lnTo>
                    <a:pt x="41" y="819"/>
                  </a:lnTo>
                  <a:lnTo>
                    <a:pt x="43" y="828"/>
                  </a:lnTo>
                  <a:lnTo>
                    <a:pt x="52" y="833"/>
                  </a:lnTo>
                  <a:lnTo>
                    <a:pt x="53" y="816"/>
                  </a:lnTo>
                  <a:lnTo>
                    <a:pt x="65" y="824"/>
                  </a:lnTo>
                  <a:lnTo>
                    <a:pt x="74" y="807"/>
                  </a:lnTo>
                  <a:lnTo>
                    <a:pt x="85" y="813"/>
                  </a:lnTo>
                  <a:lnTo>
                    <a:pt x="85" y="816"/>
                  </a:lnTo>
                  <a:lnTo>
                    <a:pt x="74" y="825"/>
                  </a:lnTo>
                  <a:lnTo>
                    <a:pt x="73" y="831"/>
                  </a:lnTo>
                  <a:lnTo>
                    <a:pt x="83" y="836"/>
                  </a:lnTo>
                  <a:lnTo>
                    <a:pt x="77" y="843"/>
                  </a:lnTo>
                  <a:lnTo>
                    <a:pt x="67" y="846"/>
                  </a:lnTo>
                  <a:lnTo>
                    <a:pt x="61" y="860"/>
                  </a:lnTo>
                  <a:lnTo>
                    <a:pt x="68" y="874"/>
                  </a:lnTo>
                  <a:lnTo>
                    <a:pt x="100" y="866"/>
                  </a:lnTo>
                  <a:lnTo>
                    <a:pt x="73" y="877"/>
                  </a:lnTo>
                  <a:lnTo>
                    <a:pt x="73" y="886"/>
                  </a:lnTo>
                  <a:lnTo>
                    <a:pt x="80" y="893"/>
                  </a:lnTo>
                  <a:lnTo>
                    <a:pt x="61" y="884"/>
                  </a:lnTo>
                  <a:lnTo>
                    <a:pt x="55" y="890"/>
                  </a:lnTo>
                  <a:lnTo>
                    <a:pt x="43" y="881"/>
                  </a:lnTo>
                  <a:lnTo>
                    <a:pt x="37" y="901"/>
                  </a:lnTo>
                  <a:lnTo>
                    <a:pt x="31" y="913"/>
                  </a:lnTo>
                  <a:lnTo>
                    <a:pt x="38" y="919"/>
                  </a:lnTo>
                  <a:lnTo>
                    <a:pt x="43" y="932"/>
                  </a:lnTo>
                  <a:lnTo>
                    <a:pt x="62" y="935"/>
                  </a:lnTo>
                  <a:lnTo>
                    <a:pt x="89" y="964"/>
                  </a:lnTo>
                  <a:lnTo>
                    <a:pt x="109" y="961"/>
                  </a:lnTo>
                  <a:lnTo>
                    <a:pt x="105" y="978"/>
                  </a:lnTo>
                  <a:lnTo>
                    <a:pt x="127" y="981"/>
                  </a:lnTo>
                  <a:lnTo>
                    <a:pt x="150" y="987"/>
                  </a:lnTo>
                  <a:lnTo>
                    <a:pt x="181" y="985"/>
                  </a:lnTo>
                  <a:lnTo>
                    <a:pt x="186" y="973"/>
                  </a:lnTo>
                  <a:lnTo>
                    <a:pt x="200" y="972"/>
                  </a:lnTo>
                  <a:lnTo>
                    <a:pt x="212" y="961"/>
                  </a:lnTo>
                  <a:lnTo>
                    <a:pt x="230" y="957"/>
                  </a:lnTo>
                  <a:lnTo>
                    <a:pt x="243" y="935"/>
                  </a:lnTo>
                  <a:lnTo>
                    <a:pt x="243" y="935"/>
                  </a:lnTo>
                  <a:lnTo>
                    <a:pt x="243" y="929"/>
                  </a:lnTo>
                  <a:lnTo>
                    <a:pt x="245" y="925"/>
                  </a:lnTo>
                  <a:lnTo>
                    <a:pt x="246" y="923"/>
                  </a:lnTo>
                  <a:lnTo>
                    <a:pt x="246" y="923"/>
                  </a:lnTo>
                  <a:lnTo>
                    <a:pt x="255" y="920"/>
                  </a:lnTo>
                  <a:lnTo>
                    <a:pt x="263" y="919"/>
                  </a:lnTo>
                  <a:lnTo>
                    <a:pt x="267" y="913"/>
                  </a:lnTo>
                  <a:lnTo>
                    <a:pt x="260" y="907"/>
                  </a:lnTo>
                  <a:lnTo>
                    <a:pt x="263" y="902"/>
                  </a:lnTo>
                  <a:lnTo>
                    <a:pt x="273" y="904"/>
                  </a:lnTo>
                  <a:lnTo>
                    <a:pt x="276" y="890"/>
                  </a:lnTo>
                  <a:lnTo>
                    <a:pt x="295" y="878"/>
                  </a:lnTo>
                  <a:lnTo>
                    <a:pt x="292" y="860"/>
                  </a:lnTo>
                  <a:lnTo>
                    <a:pt x="301" y="871"/>
                  </a:lnTo>
                  <a:lnTo>
                    <a:pt x="310" y="866"/>
                  </a:lnTo>
                  <a:lnTo>
                    <a:pt x="326" y="868"/>
                  </a:lnTo>
                  <a:lnTo>
                    <a:pt x="332" y="860"/>
                  </a:lnTo>
                  <a:lnTo>
                    <a:pt x="334" y="843"/>
                  </a:lnTo>
                  <a:lnTo>
                    <a:pt x="341" y="842"/>
                  </a:lnTo>
                  <a:lnTo>
                    <a:pt x="344" y="824"/>
                  </a:lnTo>
                  <a:lnTo>
                    <a:pt x="332" y="815"/>
                  </a:lnTo>
                  <a:lnTo>
                    <a:pt x="335" y="797"/>
                  </a:lnTo>
                  <a:lnTo>
                    <a:pt x="331" y="783"/>
                  </a:lnTo>
                  <a:lnTo>
                    <a:pt x="340" y="783"/>
                  </a:lnTo>
                  <a:lnTo>
                    <a:pt x="338" y="788"/>
                  </a:lnTo>
                  <a:lnTo>
                    <a:pt x="341" y="794"/>
                  </a:lnTo>
                  <a:lnTo>
                    <a:pt x="343" y="806"/>
                  </a:lnTo>
                  <a:lnTo>
                    <a:pt x="349" y="803"/>
                  </a:lnTo>
                  <a:lnTo>
                    <a:pt x="350" y="794"/>
                  </a:lnTo>
                  <a:lnTo>
                    <a:pt x="341" y="768"/>
                  </a:lnTo>
                  <a:lnTo>
                    <a:pt x="347" y="759"/>
                  </a:lnTo>
                  <a:lnTo>
                    <a:pt x="361" y="756"/>
                  </a:lnTo>
                  <a:lnTo>
                    <a:pt x="362" y="771"/>
                  </a:lnTo>
                  <a:lnTo>
                    <a:pt x="361" y="786"/>
                  </a:lnTo>
                  <a:lnTo>
                    <a:pt x="356" y="776"/>
                  </a:lnTo>
                  <a:lnTo>
                    <a:pt x="355" y="795"/>
                  </a:lnTo>
                  <a:lnTo>
                    <a:pt x="362" y="809"/>
                  </a:lnTo>
                  <a:lnTo>
                    <a:pt x="355" y="834"/>
                  </a:lnTo>
                  <a:lnTo>
                    <a:pt x="364" y="840"/>
                  </a:lnTo>
                  <a:lnTo>
                    <a:pt x="364" y="845"/>
                  </a:lnTo>
                  <a:lnTo>
                    <a:pt x="381" y="848"/>
                  </a:lnTo>
                  <a:lnTo>
                    <a:pt x="390" y="857"/>
                  </a:lnTo>
                  <a:lnTo>
                    <a:pt x="399" y="860"/>
                  </a:lnTo>
                  <a:lnTo>
                    <a:pt x="411" y="881"/>
                  </a:lnTo>
                  <a:lnTo>
                    <a:pt x="418" y="875"/>
                  </a:lnTo>
                  <a:lnTo>
                    <a:pt x="418" y="869"/>
                  </a:lnTo>
                  <a:lnTo>
                    <a:pt x="424" y="863"/>
                  </a:lnTo>
                  <a:lnTo>
                    <a:pt x="421" y="839"/>
                  </a:lnTo>
                  <a:lnTo>
                    <a:pt x="420" y="812"/>
                  </a:lnTo>
                  <a:lnTo>
                    <a:pt x="436" y="786"/>
                  </a:lnTo>
                  <a:lnTo>
                    <a:pt x="439" y="768"/>
                  </a:lnTo>
                  <a:lnTo>
                    <a:pt x="447" y="763"/>
                  </a:lnTo>
                  <a:lnTo>
                    <a:pt x="461" y="754"/>
                  </a:lnTo>
                  <a:lnTo>
                    <a:pt x="473" y="738"/>
                  </a:lnTo>
                  <a:lnTo>
                    <a:pt x="483" y="687"/>
                  </a:lnTo>
                  <a:lnTo>
                    <a:pt x="471" y="608"/>
                  </a:lnTo>
                  <a:lnTo>
                    <a:pt x="491" y="597"/>
                  </a:lnTo>
                  <a:lnTo>
                    <a:pt x="497" y="572"/>
                  </a:lnTo>
                  <a:lnTo>
                    <a:pt x="489" y="551"/>
                  </a:lnTo>
                  <a:lnTo>
                    <a:pt x="477" y="543"/>
                  </a:lnTo>
                  <a:lnTo>
                    <a:pt x="450" y="508"/>
                  </a:lnTo>
                  <a:lnTo>
                    <a:pt x="451" y="481"/>
                  </a:lnTo>
                  <a:lnTo>
                    <a:pt x="462" y="450"/>
                  </a:lnTo>
                  <a:lnTo>
                    <a:pt x="445" y="377"/>
                  </a:lnTo>
                  <a:lnTo>
                    <a:pt x="448" y="358"/>
                  </a:lnTo>
                  <a:lnTo>
                    <a:pt x="433" y="338"/>
                  </a:lnTo>
                  <a:lnTo>
                    <a:pt x="441" y="300"/>
                  </a:lnTo>
                  <a:lnTo>
                    <a:pt x="474" y="204"/>
                  </a:lnTo>
                  <a:lnTo>
                    <a:pt x="500" y="192"/>
                  </a:lnTo>
                  <a:lnTo>
                    <a:pt x="556" y="204"/>
                  </a:lnTo>
                  <a:lnTo>
                    <a:pt x="568" y="198"/>
                  </a:lnTo>
                  <a:lnTo>
                    <a:pt x="572" y="163"/>
                  </a:lnTo>
                  <a:lnTo>
                    <a:pt x="560" y="148"/>
                  </a:lnTo>
                  <a:lnTo>
                    <a:pt x="543" y="134"/>
                  </a:lnTo>
                  <a:lnTo>
                    <a:pt x="586" y="6"/>
                  </a:lnTo>
                  <a:lnTo>
                    <a:pt x="586" y="6"/>
                  </a:lnTo>
                  <a:lnTo>
                    <a:pt x="586" y="0"/>
                  </a:lnTo>
                  <a:lnTo>
                    <a:pt x="485" y="0"/>
                  </a:lnTo>
                  <a:lnTo>
                    <a:pt x="485" y="0"/>
                  </a:lnTo>
                  <a:lnTo>
                    <a:pt x="485" y="2"/>
                  </a:lnTo>
                  <a:lnTo>
                    <a:pt x="485" y="2"/>
                  </a:lnTo>
                  <a:lnTo>
                    <a:pt x="483" y="0"/>
                  </a:lnTo>
                  <a:lnTo>
                    <a:pt x="462" y="0"/>
                  </a:lnTo>
                  <a:lnTo>
                    <a:pt x="462" y="0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011" name="Freeform 356"/>
            <p:cNvSpPr>
              <a:spLocks/>
            </p:cNvSpPr>
            <p:nvPr userDrawn="1"/>
          </p:nvSpPr>
          <p:spPr bwMode="auto">
            <a:xfrm>
              <a:off x="4148" y="182"/>
              <a:ext cx="825" cy="1898"/>
            </a:xfrm>
            <a:custGeom>
              <a:avLst/>
              <a:gdLst>
                <a:gd name="T0" fmla="*/ 790 w 825"/>
                <a:gd name="T1" fmla="*/ 277 h 1898"/>
                <a:gd name="T2" fmla="*/ 781 w 825"/>
                <a:gd name="T3" fmla="*/ 169 h 1898"/>
                <a:gd name="T4" fmla="*/ 712 w 825"/>
                <a:gd name="T5" fmla="*/ 99 h 1898"/>
                <a:gd name="T6" fmla="*/ 630 w 825"/>
                <a:gd name="T7" fmla="*/ 34 h 1898"/>
                <a:gd name="T8" fmla="*/ 573 w 825"/>
                <a:gd name="T9" fmla="*/ 48 h 1898"/>
                <a:gd name="T10" fmla="*/ 482 w 825"/>
                <a:gd name="T11" fmla="*/ 93 h 1898"/>
                <a:gd name="T12" fmla="*/ 387 w 825"/>
                <a:gd name="T13" fmla="*/ 169 h 1898"/>
                <a:gd name="T14" fmla="*/ 300 w 825"/>
                <a:gd name="T15" fmla="*/ 301 h 1898"/>
                <a:gd name="T16" fmla="*/ 206 w 825"/>
                <a:gd name="T17" fmla="*/ 481 h 1898"/>
                <a:gd name="T18" fmla="*/ 170 w 825"/>
                <a:gd name="T19" fmla="*/ 748 h 1898"/>
                <a:gd name="T20" fmla="*/ 51 w 825"/>
                <a:gd name="T21" fmla="*/ 900 h 1898"/>
                <a:gd name="T22" fmla="*/ 60 w 825"/>
                <a:gd name="T23" fmla="*/ 1108 h 1898"/>
                <a:gd name="T24" fmla="*/ 93 w 825"/>
                <a:gd name="T25" fmla="*/ 1287 h 1898"/>
                <a:gd name="T26" fmla="*/ 30 w 825"/>
                <a:gd name="T27" fmla="*/ 1412 h 1898"/>
                <a:gd name="T28" fmla="*/ 9 w 825"/>
                <a:gd name="T29" fmla="*/ 1460 h 1898"/>
                <a:gd name="T30" fmla="*/ 18 w 825"/>
                <a:gd name="T31" fmla="*/ 1554 h 1898"/>
                <a:gd name="T32" fmla="*/ 22 w 825"/>
                <a:gd name="T33" fmla="*/ 1546 h 1898"/>
                <a:gd name="T34" fmla="*/ 33 w 825"/>
                <a:gd name="T35" fmla="*/ 1579 h 1898"/>
                <a:gd name="T36" fmla="*/ 46 w 825"/>
                <a:gd name="T37" fmla="*/ 1623 h 1898"/>
                <a:gd name="T38" fmla="*/ 116 w 825"/>
                <a:gd name="T39" fmla="*/ 1759 h 1898"/>
                <a:gd name="T40" fmla="*/ 99 w 825"/>
                <a:gd name="T41" fmla="*/ 1804 h 1898"/>
                <a:gd name="T42" fmla="*/ 110 w 825"/>
                <a:gd name="T43" fmla="*/ 1882 h 1898"/>
                <a:gd name="T44" fmla="*/ 202 w 825"/>
                <a:gd name="T45" fmla="*/ 1887 h 1898"/>
                <a:gd name="T46" fmla="*/ 230 w 825"/>
                <a:gd name="T47" fmla="*/ 1801 h 1898"/>
                <a:gd name="T48" fmla="*/ 331 w 825"/>
                <a:gd name="T49" fmla="*/ 1730 h 1898"/>
                <a:gd name="T50" fmla="*/ 348 w 825"/>
                <a:gd name="T51" fmla="*/ 1643 h 1898"/>
                <a:gd name="T52" fmla="*/ 347 w 825"/>
                <a:gd name="T53" fmla="*/ 1602 h 1898"/>
                <a:gd name="T54" fmla="*/ 356 w 825"/>
                <a:gd name="T55" fmla="*/ 1551 h 1898"/>
                <a:gd name="T56" fmla="*/ 322 w 825"/>
                <a:gd name="T57" fmla="*/ 1522 h 1898"/>
                <a:gd name="T58" fmla="*/ 392 w 825"/>
                <a:gd name="T59" fmla="*/ 1493 h 1898"/>
                <a:gd name="T60" fmla="*/ 432 w 825"/>
                <a:gd name="T61" fmla="*/ 1462 h 1898"/>
                <a:gd name="T62" fmla="*/ 455 w 825"/>
                <a:gd name="T63" fmla="*/ 1469 h 1898"/>
                <a:gd name="T64" fmla="*/ 439 w 825"/>
                <a:gd name="T65" fmla="*/ 1427 h 1898"/>
                <a:gd name="T66" fmla="*/ 381 w 825"/>
                <a:gd name="T67" fmla="*/ 1425 h 1898"/>
                <a:gd name="T68" fmla="*/ 318 w 825"/>
                <a:gd name="T69" fmla="*/ 1415 h 1898"/>
                <a:gd name="T70" fmla="*/ 368 w 825"/>
                <a:gd name="T71" fmla="*/ 1394 h 1898"/>
                <a:gd name="T72" fmla="*/ 414 w 825"/>
                <a:gd name="T73" fmla="*/ 1410 h 1898"/>
                <a:gd name="T74" fmla="*/ 420 w 825"/>
                <a:gd name="T75" fmla="*/ 1415 h 1898"/>
                <a:gd name="T76" fmla="*/ 475 w 825"/>
                <a:gd name="T77" fmla="*/ 1386 h 1898"/>
                <a:gd name="T78" fmla="*/ 460 w 825"/>
                <a:gd name="T79" fmla="*/ 1320 h 1898"/>
                <a:gd name="T80" fmla="*/ 442 w 825"/>
                <a:gd name="T81" fmla="*/ 1291 h 1898"/>
                <a:gd name="T82" fmla="*/ 390 w 825"/>
                <a:gd name="T83" fmla="*/ 1279 h 1898"/>
                <a:gd name="T84" fmla="*/ 390 w 825"/>
                <a:gd name="T85" fmla="*/ 1244 h 1898"/>
                <a:gd name="T86" fmla="*/ 374 w 825"/>
                <a:gd name="T87" fmla="*/ 1122 h 1898"/>
                <a:gd name="T88" fmla="*/ 384 w 825"/>
                <a:gd name="T89" fmla="*/ 1095 h 1898"/>
                <a:gd name="T90" fmla="*/ 386 w 825"/>
                <a:gd name="T91" fmla="*/ 1021 h 1898"/>
                <a:gd name="T92" fmla="*/ 419 w 825"/>
                <a:gd name="T93" fmla="*/ 974 h 1898"/>
                <a:gd name="T94" fmla="*/ 440 w 825"/>
                <a:gd name="T95" fmla="*/ 964 h 1898"/>
                <a:gd name="T96" fmla="*/ 478 w 825"/>
                <a:gd name="T97" fmla="*/ 905 h 1898"/>
                <a:gd name="T98" fmla="*/ 526 w 825"/>
                <a:gd name="T99" fmla="*/ 866 h 1898"/>
                <a:gd name="T100" fmla="*/ 620 w 825"/>
                <a:gd name="T101" fmla="*/ 799 h 1898"/>
                <a:gd name="T102" fmla="*/ 659 w 825"/>
                <a:gd name="T103" fmla="*/ 739 h 1898"/>
                <a:gd name="T104" fmla="*/ 624 w 825"/>
                <a:gd name="T105" fmla="*/ 698 h 1898"/>
                <a:gd name="T106" fmla="*/ 648 w 825"/>
                <a:gd name="T107" fmla="*/ 654 h 1898"/>
                <a:gd name="T108" fmla="*/ 672 w 825"/>
                <a:gd name="T109" fmla="*/ 589 h 1898"/>
                <a:gd name="T110" fmla="*/ 693 w 825"/>
                <a:gd name="T111" fmla="*/ 556 h 1898"/>
                <a:gd name="T112" fmla="*/ 731 w 825"/>
                <a:gd name="T113" fmla="*/ 517 h 1898"/>
                <a:gd name="T114" fmla="*/ 794 w 825"/>
                <a:gd name="T115" fmla="*/ 520 h 1898"/>
                <a:gd name="T116" fmla="*/ 787 w 825"/>
                <a:gd name="T117" fmla="*/ 440 h 18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825" h="1898">
                  <a:moveTo>
                    <a:pt x="787" y="440"/>
                  </a:moveTo>
                  <a:lnTo>
                    <a:pt x="811" y="395"/>
                  </a:lnTo>
                  <a:lnTo>
                    <a:pt x="791" y="381"/>
                  </a:lnTo>
                  <a:lnTo>
                    <a:pt x="778" y="307"/>
                  </a:lnTo>
                  <a:lnTo>
                    <a:pt x="791" y="298"/>
                  </a:lnTo>
                  <a:lnTo>
                    <a:pt x="790" y="277"/>
                  </a:lnTo>
                  <a:lnTo>
                    <a:pt x="779" y="265"/>
                  </a:lnTo>
                  <a:lnTo>
                    <a:pt x="785" y="244"/>
                  </a:lnTo>
                  <a:lnTo>
                    <a:pt x="782" y="206"/>
                  </a:lnTo>
                  <a:lnTo>
                    <a:pt x="793" y="197"/>
                  </a:lnTo>
                  <a:lnTo>
                    <a:pt x="793" y="181"/>
                  </a:lnTo>
                  <a:lnTo>
                    <a:pt x="781" y="169"/>
                  </a:lnTo>
                  <a:lnTo>
                    <a:pt x="776" y="149"/>
                  </a:lnTo>
                  <a:lnTo>
                    <a:pt x="766" y="155"/>
                  </a:lnTo>
                  <a:lnTo>
                    <a:pt x="760" y="153"/>
                  </a:lnTo>
                  <a:lnTo>
                    <a:pt x="745" y="114"/>
                  </a:lnTo>
                  <a:lnTo>
                    <a:pt x="719" y="105"/>
                  </a:lnTo>
                  <a:lnTo>
                    <a:pt x="712" y="99"/>
                  </a:lnTo>
                  <a:lnTo>
                    <a:pt x="692" y="101"/>
                  </a:lnTo>
                  <a:lnTo>
                    <a:pt x="675" y="73"/>
                  </a:lnTo>
                  <a:lnTo>
                    <a:pt x="660" y="70"/>
                  </a:lnTo>
                  <a:lnTo>
                    <a:pt x="647" y="49"/>
                  </a:lnTo>
                  <a:lnTo>
                    <a:pt x="638" y="46"/>
                  </a:lnTo>
                  <a:lnTo>
                    <a:pt x="630" y="34"/>
                  </a:lnTo>
                  <a:lnTo>
                    <a:pt x="618" y="24"/>
                  </a:lnTo>
                  <a:lnTo>
                    <a:pt x="612" y="12"/>
                  </a:lnTo>
                  <a:lnTo>
                    <a:pt x="594" y="0"/>
                  </a:lnTo>
                  <a:lnTo>
                    <a:pt x="574" y="13"/>
                  </a:lnTo>
                  <a:lnTo>
                    <a:pt x="553" y="13"/>
                  </a:lnTo>
                  <a:lnTo>
                    <a:pt x="573" y="48"/>
                  </a:lnTo>
                  <a:lnTo>
                    <a:pt x="540" y="92"/>
                  </a:lnTo>
                  <a:lnTo>
                    <a:pt x="559" y="101"/>
                  </a:lnTo>
                  <a:lnTo>
                    <a:pt x="558" y="108"/>
                  </a:lnTo>
                  <a:lnTo>
                    <a:pt x="543" y="114"/>
                  </a:lnTo>
                  <a:lnTo>
                    <a:pt x="512" y="95"/>
                  </a:lnTo>
                  <a:lnTo>
                    <a:pt x="482" y="93"/>
                  </a:lnTo>
                  <a:lnTo>
                    <a:pt x="466" y="78"/>
                  </a:lnTo>
                  <a:lnTo>
                    <a:pt x="442" y="89"/>
                  </a:lnTo>
                  <a:lnTo>
                    <a:pt x="428" y="172"/>
                  </a:lnTo>
                  <a:lnTo>
                    <a:pt x="416" y="181"/>
                  </a:lnTo>
                  <a:lnTo>
                    <a:pt x="408" y="175"/>
                  </a:lnTo>
                  <a:lnTo>
                    <a:pt x="387" y="169"/>
                  </a:lnTo>
                  <a:lnTo>
                    <a:pt x="374" y="179"/>
                  </a:lnTo>
                  <a:lnTo>
                    <a:pt x="368" y="190"/>
                  </a:lnTo>
                  <a:lnTo>
                    <a:pt x="348" y="199"/>
                  </a:lnTo>
                  <a:lnTo>
                    <a:pt x="333" y="264"/>
                  </a:lnTo>
                  <a:lnTo>
                    <a:pt x="303" y="280"/>
                  </a:lnTo>
                  <a:lnTo>
                    <a:pt x="300" y="301"/>
                  </a:lnTo>
                  <a:lnTo>
                    <a:pt x="319" y="315"/>
                  </a:lnTo>
                  <a:lnTo>
                    <a:pt x="318" y="345"/>
                  </a:lnTo>
                  <a:lnTo>
                    <a:pt x="262" y="433"/>
                  </a:lnTo>
                  <a:lnTo>
                    <a:pt x="261" y="479"/>
                  </a:lnTo>
                  <a:lnTo>
                    <a:pt x="242" y="485"/>
                  </a:lnTo>
                  <a:lnTo>
                    <a:pt x="206" y="481"/>
                  </a:lnTo>
                  <a:lnTo>
                    <a:pt x="202" y="497"/>
                  </a:lnTo>
                  <a:lnTo>
                    <a:pt x="215" y="529"/>
                  </a:lnTo>
                  <a:lnTo>
                    <a:pt x="203" y="553"/>
                  </a:lnTo>
                  <a:lnTo>
                    <a:pt x="196" y="606"/>
                  </a:lnTo>
                  <a:lnTo>
                    <a:pt x="153" y="734"/>
                  </a:lnTo>
                  <a:lnTo>
                    <a:pt x="170" y="748"/>
                  </a:lnTo>
                  <a:lnTo>
                    <a:pt x="182" y="763"/>
                  </a:lnTo>
                  <a:lnTo>
                    <a:pt x="178" y="798"/>
                  </a:lnTo>
                  <a:lnTo>
                    <a:pt x="166" y="804"/>
                  </a:lnTo>
                  <a:lnTo>
                    <a:pt x="110" y="792"/>
                  </a:lnTo>
                  <a:lnTo>
                    <a:pt x="84" y="804"/>
                  </a:lnTo>
                  <a:lnTo>
                    <a:pt x="51" y="900"/>
                  </a:lnTo>
                  <a:lnTo>
                    <a:pt x="43" y="938"/>
                  </a:lnTo>
                  <a:lnTo>
                    <a:pt x="58" y="958"/>
                  </a:lnTo>
                  <a:lnTo>
                    <a:pt x="55" y="977"/>
                  </a:lnTo>
                  <a:lnTo>
                    <a:pt x="72" y="1050"/>
                  </a:lnTo>
                  <a:lnTo>
                    <a:pt x="61" y="1081"/>
                  </a:lnTo>
                  <a:lnTo>
                    <a:pt x="60" y="1108"/>
                  </a:lnTo>
                  <a:lnTo>
                    <a:pt x="87" y="1143"/>
                  </a:lnTo>
                  <a:lnTo>
                    <a:pt x="99" y="1151"/>
                  </a:lnTo>
                  <a:lnTo>
                    <a:pt x="107" y="1172"/>
                  </a:lnTo>
                  <a:lnTo>
                    <a:pt x="101" y="1197"/>
                  </a:lnTo>
                  <a:lnTo>
                    <a:pt x="81" y="1208"/>
                  </a:lnTo>
                  <a:lnTo>
                    <a:pt x="93" y="1287"/>
                  </a:lnTo>
                  <a:lnTo>
                    <a:pt x="83" y="1338"/>
                  </a:lnTo>
                  <a:lnTo>
                    <a:pt x="71" y="1354"/>
                  </a:lnTo>
                  <a:lnTo>
                    <a:pt x="57" y="1363"/>
                  </a:lnTo>
                  <a:lnTo>
                    <a:pt x="49" y="1368"/>
                  </a:lnTo>
                  <a:lnTo>
                    <a:pt x="46" y="1386"/>
                  </a:lnTo>
                  <a:lnTo>
                    <a:pt x="30" y="1412"/>
                  </a:lnTo>
                  <a:lnTo>
                    <a:pt x="31" y="1439"/>
                  </a:lnTo>
                  <a:lnTo>
                    <a:pt x="34" y="1463"/>
                  </a:lnTo>
                  <a:lnTo>
                    <a:pt x="28" y="1469"/>
                  </a:lnTo>
                  <a:lnTo>
                    <a:pt x="28" y="1475"/>
                  </a:lnTo>
                  <a:lnTo>
                    <a:pt x="21" y="1481"/>
                  </a:lnTo>
                  <a:lnTo>
                    <a:pt x="9" y="1460"/>
                  </a:lnTo>
                  <a:lnTo>
                    <a:pt x="0" y="1457"/>
                  </a:lnTo>
                  <a:lnTo>
                    <a:pt x="1" y="1496"/>
                  </a:lnTo>
                  <a:lnTo>
                    <a:pt x="7" y="1525"/>
                  </a:lnTo>
                  <a:lnTo>
                    <a:pt x="10" y="1535"/>
                  </a:lnTo>
                  <a:lnTo>
                    <a:pt x="18" y="1543"/>
                  </a:lnTo>
                  <a:lnTo>
                    <a:pt x="18" y="1554"/>
                  </a:lnTo>
                  <a:lnTo>
                    <a:pt x="21" y="1557"/>
                  </a:lnTo>
                  <a:lnTo>
                    <a:pt x="21" y="1557"/>
                  </a:lnTo>
                  <a:lnTo>
                    <a:pt x="21" y="1552"/>
                  </a:lnTo>
                  <a:lnTo>
                    <a:pt x="21" y="1549"/>
                  </a:lnTo>
                  <a:lnTo>
                    <a:pt x="22" y="1546"/>
                  </a:lnTo>
                  <a:lnTo>
                    <a:pt x="22" y="1546"/>
                  </a:lnTo>
                  <a:lnTo>
                    <a:pt x="30" y="1546"/>
                  </a:lnTo>
                  <a:lnTo>
                    <a:pt x="40" y="1557"/>
                  </a:lnTo>
                  <a:lnTo>
                    <a:pt x="15" y="1572"/>
                  </a:lnTo>
                  <a:lnTo>
                    <a:pt x="13" y="1579"/>
                  </a:lnTo>
                  <a:lnTo>
                    <a:pt x="25" y="1582"/>
                  </a:lnTo>
                  <a:lnTo>
                    <a:pt x="33" y="1579"/>
                  </a:lnTo>
                  <a:lnTo>
                    <a:pt x="40" y="1581"/>
                  </a:lnTo>
                  <a:lnTo>
                    <a:pt x="40" y="1590"/>
                  </a:lnTo>
                  <a:lnTo>
                    <a:pt x="37" y="1597"/>
                  </a:lnTo>
                  <a:lnTo>
                    <a:pt x="40" y="1608"/>
                  </a:lnTo>
                  <a:lnTo>
                    <a:pt x="49" y="1617"/>
                  </a:lnTo>
                  <a:lnTo>
                    <a:pt x="46" y="1623"/>
                  </a:lnTo>
                  <a:lnTo>
                    <a:pt x="36" y="1626"/>
                  </a:lnTo>
                  <a:lnTo>
                    <a:pt x="45" y="1638"/>
                  </a:lnTo>
                  <a:lnTo>
                    <a:pt x="51" y="1664"/>
                  </a:lnTo>
                  <a:lnTo>
                    <a:pt x="61" y="1670"/>
                  </a:lnTo>
                  <a:lnTo>
                    <a:pt x="67" y="1709"/>
                  </a:lnTo>
                  <a:lnTo>
                    <a:pt x="116" y="1759"/>
                  </a:lnTo>
                  <a:lnTo>
                    <a:pt x="114" y="1772"/>
                  </a:lnTo>
                  <a:lnTo>
                    <a:pt x="98" y="1771"/>
                  </a:lnTo>
                  <a:lnTo>
                    <a:pt x="98" y="1778"/>
                  </a:lnTo>
                  <a:lnTo>
                    <a:pt x="108" y="1795"/>
                  </a:lnTo>
                  <a:lnTo>
                    <a:pt x="104" y="1802"/>
                  </a:lnTo>
                  <a:lnTo>
                    <a:pt x="99" y="1804"/>
                  </a:lnTo>
                  <a:lnTo>
                    <a:pt x="92" y="1798"/>
                  </a:lnTo>
                  <a:lnTo>
                    <a:pt x="89" y="1806"/>
                  </a:lnTo>
                  <a:lnTo>
                    <a:pt x="122" y="1855"/>
                  </a:lnTo>
                  <a:lnTo>
                    <a:pt x="116" y="1872"/>
                  </a:lnTo>
                  <a:lnTo>
                    <a:pt x="120" y="1879"/>
                  </a:lnTo>
                  <a:lnTo>
                    <a:pt x="110" y="1882"/>
                  </a:lnTo>
                  <a:lnTo>
                    <a:pt x="108" y="1895"/>
                  </a:lnTo>
                  <a:lnTo>
                    <a:pt x="132" y="1893"/>
                  </a:lnTo>
                  <a:lnTo>
                    <a:pt x="140" y="1898"/>
                  </a:lnTo>
                  <a:lnTo>
                    <a:pt x="172" y="1884"/>
                  </a:lnTo>
                  <a:lnTo>
                    <a:pt x="193" y="1888"/>
                  </a:lnTo>
                  <a:lnTo>
                    <a:pt x="202" y="1887"/>
                  </a:lnTo>
                  <a:lnTo>
                    <a:pt x="203" y="1870"/>
                  </a:lnTo>
                  <a:lnTo>
                    <a:pt x="193" y="1849"/>
                  </a:lnTo>
                  <a:lnTo>
                    <a:pt x="208" y="1831"/>
                  </a:lnTo>
                  <a:lnTo>
                    <a:pt x="211" y="1815"/>
                  </a:lnTo>
                  <a:lnTo>
                    <a:pt x="223" y="1818"/>
                  </a:lnTo>
                  <a:lnTo>
                    <a:pt x="230" y="1801"/>
                  </a:lnTo>
                  <a:lnTo>
                    <a:pt x="256" y="1796"/>
                  </a:lnTo>
                  <a:lnTo>
                    <a:pt x="262" y="1804"/>
                  </a:lnTo>
                  <a:lnTo>
                    <a:pt x="285" y="1801"/>
                  </a:lnTo>
                  <a:lnTo>
                    <a:pt x="301" y="1809"/>
                  </a:lnTo>
                  <a:lnTo>
                    <a:pt x="322" y="1765"/>
                  </a:lnTo>
                  <a:lnTo>
                    <a:pt x="331" y="1730"/>
                  </a:lnTo>
                  <a:lnTo>
                    <a:pt x="331" y="1710"/>
                  </a:lnTo>
                  <a:lnTo>
                    <a:pt x="339" y="1694"/>
                  </a:lnTo>
                  <a:lnTo>
                    <a:pt x="334" y="1679"/>
                  </a:lnTo>
                  <a:lnTo>
                    <a:pt x="334" y="1668"/>
                  </a:lnTo>
                  <a:lnTo>
                    <a:pt x="348" y="1656"/>
                  </a:lnTo>
                  <a:lnTo>
                    <a:pt x="348" y="1643"/>
                  </a:lnTo>
                  <a:lnTo>
                    <a:pt x="340" y="1637"/>
                  </a:lnTo>
                  <a:lnTo>
                    <a:pt x="350" y="1626"/>
                  </a:lnTo>
                  <a:lnTo>
                    <a:pt x="348" y="1617"/>
                  </a:lnTo>
                  <a:lnTo>
                    <a:pt x="333" y="1608"/>
                  </a:lnTo>
                  <a:lnTo>
                    <a:pt x="337" y="1594"/>
                  </a:lnTo>
                  <a:lnTo>
                    <a:pt x="347" y="1602"/>
                  </a:lnTo>
                  <a:lnTo>
                    <a:pt x="354" y="1594"/>
                  </a:lnTo>
                  <a:lnTo>
                    <a:pt x="345" y="1585"/>
                  </a:lnTo>
                  <a:lnTo>
                    <a:pt x="354" y="1576"/>
                  </a:lnTo>
                  <a:lnTo>
                    <a:pt x="348" y="1566"/>
                  </a:lnTo>
                  <a:lnTo>
                    <a:pt x="357" y="1564"/>
                  </a:lnTo>
                  <a:lnTo>
                    <a:pt x="356" y="1551"/>
                  </a:lnTo>
                  <a:lnTo>
                    <a:pt x="334" y="1537"/>
                  </a:lnTo>
                  <a:lnTo>
                    <a:pt x="334" y="1532"/>
                  </a:lnTo>
                  <a:lnTo>
                    <a:pt x="351" y="1538"/>
                  </a:lnTo>
                  <a:lnTo>
                    <a:pt x="359" y="1534"/>
                  </a:lnTo>
                  <a:lnTo>
                    <a:pt x="353" y="1520"/>
                  </a:lnTo>
                  <a:lnTo>
                    <a:pt x="322" y="1522"/>
                  </a:lnTo>
                  <a:lnTo>
                    <a:pt x="315" y="1513"/>
                  </a:lnTo>
                  <a:lnTo>
                    <a:pt x="324" y="1507"/>
                  </a:lnTo>
                  <a:lnTo>
                    <a:pt x="362" y="1513"/>
                  </a:lnTo>
                  <a:lnTo>
                    <a:pt x="372" y="1508"/>
                  </a:lnTo>
                  <a:lnTo>
                    <a:pt x="374" y="1496"/>
                  </a:lnTo>
                  <a:lnTo>
                    <a:pt x="392" y="1493"/>
                  </a:lnTo>
                  <a:lnTo>
                    <a:pt x="405" y="1480"/>
                  </a:lnTo>
                  <a:lnTo>
                    <a:pt x="411" y="1463"/>
                  </a:lnTo>
                  <a:lnTo>
                    <a:pt x="416" y="1468"/>
                  </a:lnTo>
                  <a:lnTo>
                    <a:pt x="417" y="1478"/>
                  </a:lnTo>
                  <a:lnTo>
                    <a:pt x="428" y="1478"/>
                  </a:lnTo>
                  <a:lnTo>
                    <a:pt x="432" y="1462"/>
                  </a:lnTo>
                  <a:lnTo>
                    <a:pt x="440" y="1460"/>
                  </a:lnTo>
                  <a:lnTo>
                    <a:pt x="442" y="1446"/>
                  </a:lnTo>
                  <a:lnTo>
                    <a:pt x="446" y="1454"/>
                  </a:lnTo>
                  <a:lnTo>
                    <a:pt x="443" y="1460"/>
                  </a:lnTo>
                  <a:lnTo>
                    <a:pt x="451" y="1466"/>
                  </a:lnTo>
                  <a:lnTo>
                    <a:pt x="455" y="1469"/>
                  </a:lnTo>
                  <a:lnTo>
                    <a:pt x="460" y="1462"/>
                  </a:lnTo>
                  <a:lnTo>
                    <a:pt x="460" y="1455"/>
                  </a:lnTo>
                  <a:lnTo>
                    <a:pt x="452" y="1446"/>
                  </a:lnTo>
                  <a:lnTo>
                    <a:pt x="446" y="1440"/>
                  </a:lnTo>
                  <a:lnTo>
                    <a:pt x="448" y="1433"/>
                  </a:lnTo>
                  <a:lnTo>
                    <a:pt x="439" y="1427"/>
                  </a:lnTo>
                  <a:lnTo>
                    <a:pt x="426" y="1433"/>
                  </a:lnTo>
                  <a:lnTo>
                    <a:pt x="411" y="1436"/>
                  </a:lnTo>
                  <a:lnTo>
                    <a:pt x="392" y="1433"/>
                  </a:lnTo>
                  <a:lnTo>
                    <a:pt x="384" y="1440"/>
                  </a:lnTo>
                  <a:lnTo>
                    <a:pt x="378" y="1434"/>
                  </a:lnTo>
                  <a:lnTo>
                    <a:pt x="381" y="1425"/>
                  </a:lnTo>
                  <a:lnTo>
                    <a:pt x="375" y="1415"/>
                  </a:lnTo>
                  <a:lnTo>
                    <a:pt x="374" y="1422"/>
                  </a:lnTo>
                  <a:lnTo>
                    <a:pt x="357" y="1416"/>
                  </a:lnTo>
                  <a:lnTo>
                    <a:pt x="351" y="1409"/>
                  </a:lnTo>
                  <a:lnTo>
                    <a:pt x="344" y="1412"/>
                  </a:lnTo>
                  <a:lnTo>
                    <a:pt x="318" y="1415"/>
                  </a:lnTo>
                  <a:lnTo>
                    <a:pt x="306" y="1406"/>
                  </a:lnTo>
                  <a:lnTo>
                    <a:pt x="316" y="1401"/>
                  </a:lnTo>
                  <a:lnTo>
                    <a:pt x="339" y="1406"/>
                  </a:lnTo>
                  <a:lnTo>
                    <a:pt x="340" y="1397"/>
                  </a:lnTo>
                  <a:lnTo>
                    <a:pt x="354" y="1401"/>
                  </a:lnTo>
                  <a:lnTo>
                    <a:pt x="368" y="1394"/>
                  </a:lnTo>
                  <a:lnTo>
                    <a:pt x="386" y="1410"/>
                  </a:lnTo>
                  <a:lnTo>
                    <a:pt x="393" y="1409"/>
                  </a:lnTo>
                  <a:lnTo>
                    <a:pt x="389" y="1392"/>
                  </a:lnTo>
                  <a:lnTo>
                    <a:pt x="405" y="1413"/>
                  </a:lnTo>
                  <a:lnTo>
                    <a:pt x="408" y="1416"/>
                  </a:lnTo>
                  <a:lnTo>
                    <a:pt x="414" y="1410"/>
                  </a:lnTo>
                  <a:lnTo>
                    <a:pt x="411" y="1395"/>
                  </a:lnTo>
                  <a:lnTo>
                    <a:pt x="393" y="1377"/>
                  </a:lnTo>
                  <a:lnTo>
                    <a:pt x="398" y="1368"/>
                  </a:lnTo>
                  <a:lnTo>
                    <a:pt x="410" y="1383"/>
                  </a:lnTo>
                  <a:lnTo>
                    <a:pt x="420" y="1383"/>
                  </a:lnTo>
                  <a:lnTo>
                    <a:pt x="420" y="1415"/>
                  </a:lnTo>
                  <a:lnTo>
                    <a:pt x="426" y="1419"/>
                  </a:lnTo>
                  <a:lnTo>
                    <a:pt x="434" y="1410"/>
                  </a:lnTo>
                  <a:lnTo>
                    <a:pt x="440" y="1410"/>
                  </a:lnTo>
                  <a:lnTo>
                    <a:pt x="457" y="1406"/>
                  </a:lnTo>
                  <a:lnTo>
                    <a:pt x="472" y="1395"/>
                  </a:lnTo>
                  <a:lnTo>
                    <a:pt x="475" y="1386"/>
                  </a:lnTo>
                  <a:lnTo>
                    <a:pt x="482" y="1377"/>
                  </a:lnTo>
                  <a:lnTo>
                    <a:pt x="479" y="1371"/>
                  </a:lnTo>
                  <a:lnTo>
                    <a:pt x="484" y="1365"/>
                  </a:lnTo>
                  <a:lnTo>
                    <a:pt x="481" y="1341"/>
                  </a:lnTo>
                  <a:lnTo>
                    <a:pt x="475" y="1327"/>
                  </a:lnTo>
                  <a:lnTo>
                    <a:pt x="460" y="1320"/>
                  </a:lnTo>
                  <a:lnTo>
                    <a:pt x="455" y="1315"/>
                  </a:lnTo>
                  <a:lnTo>
                    <a:pt x="463" y="1309"/>
                  </a:lnTo>
                  <a:lnTo>
                    <a:pt x="458" y="1302"/>
                  </a:lnTo>
                  <a:lnTo>
                    <a:pt x="454" y="1299"/>
                  </a:lnTo>
                  <a:lnTo>
                    <a:pt x="446" y="1300"/>
                  </a:lnTo>
                  <a:lnTo>
                    <a:pt x="442" y="1291"/>
                  </a:lnTo>
                  <a:lnTo>
                    <a:pt x="429" y="1280"/>
                  </a:lnTo>
                  <a:lnTo>
                    <a:pt x="423" y="1271"/>
                  </a:lnTo>
                  <a:lnTo>
                    <a:pt x="413" y="1274"/>
                  </a:lnTo>
                  <a:lnTo>
                    <a:pt x="405" y="1264"/>
                  </a:lnTo>
                  <a:lnTo>
                    <a:pt x="398" y="1267"/>
                  </a:lnTo>
                  <a:lnTo>
                    <a:pt x="390" y="1279"/>
                  </a:lnTo>
                  <a:lnTo>
                    <a:pt x="386" y="1273"/>
                  </a:lnTo>
                  <a:lnTo>
                    <a:pt x="390" y="1261"/>
                  </a:lnTo>
                  <a:lnTo>
                    <a:pt x="377" y="1258"/>
                  </a:lnTo>
                  <a:lnTo>
                    <a:pt x="380" y="1250"/>
                  </a:lnTo>
                  <a:lnTo>
                    <a:pt x="390" y="1250"/>
                  </a:lnTo>
                  <a:lnTo>
                    <a:pt x="390" y="1244"/>
                  </a:lnTo>
                  <a:lnTo>
                    <a:pt x="377" y="1220"/>
                  </a:lnTo>
                  <a:lnTo>
                    <a:pt x="381" y="1208"/>
                  </a:lnTo>
                  <a:lnTo>
                    <a:pt x="374" y="1179"/>
                  </a:lnTo>
                  <a:lnTo>
                    <a:pt x="380" y="1172"/>
                  </a:lnTo>
                  <a:lnTo>
                    <a:pt x="374" y="1160"/>
                  </a:lnTo>
                  <a:lnTo>
                    <a:pt x="374" y="1122"/>
                  </a:lnTo>
                  <a:lnTo>
                    <a:pt x="389" y="1122"/>
                  </a:lnTo>
                  <a:lnTo>
                    <a:pt x="393" y="1133"/>
                  </a:lnTo>
                  <a:lnTo>
                    <a:pt x="396" y="1125"/>
                  </a:lnTo>
                  <a:lnTo>
                    <a:pt x="389" y="1119"/>
                  </a:lnTo>
                  <a:lnTo>
                    <a:pt x="389" y="1105"/>
                  </a:lnTo>
                  <a:lnTo>
                    <a:pt x="384" y="1095"/>
                  </a:lnTo>
                  <a:lnTo>
                    <a:pt x="389" y="1087"/>
                  </a:lnTo>
                  <a:lnTo>
                    <a:pt x="395" y="1068"/>
                  </a:lnTo>
                  <a:lnTo>
                    <a:pt x="404" y="1057"/>
                  </a:lnTo>
                  <a:lnTo>
                    <a:pt x="404" y="1047"/>
                  </a:lnTo>
                  <a:lnTo>
                    <a:pt x="387" y="1036"/>
                  </a:lnTo>
                  <a:lnTo>
                    <a:pt x="386" y="1021"/>
                  </a:lnTo>
                  <a:lnTo>
                    <a:pt x="392" y="1013"/>
                  </a:lnTo>
                  <a:lnTo>
                    <a:pt x="404" y="1024"/>
                  </a:lnTo>
                  <a:lnTo>
                    <a:pt x="408" y="1015"/>
                  </a:lnTo>
                  <a:lnTo>
                    <a:pt x="420" y="1009"/>
                  </a:lnTo>
                  <a:lnTo>
                    <a:pt x="425" y="988"/>
                  </a:lnTo>
                  <a:lnTo>
                    <a:pt x="419" y="974"/>
                  </a:lnTo>
                  <a:lnTo>
                    <a:pt x="417" y="959"/>
                  </a:lnTo>
                  <a:lnTo>
                    <a:pt x="425" y="968"/>
                  </a:lnTo>
                  <a:lnTo>
                    <a:pt x="431" y="970"/>
                  </a:lnTo>
                  <a:lnTo>
                    <a:pt x="432" y="977"/>
                  </a:lnTo>
                  <a:lnTo>
                    <a:pt x="439" y="976"/>
                  </a:lnTo>
                  <a:lnTo>
                    <a:pt x="440" y="964"/>
                  </a:lnTo>
                  <a:lnTo>
                    <a:pt x="452" y="967"/>
                  </a:lnTo>
                  <a:lnTo>
                    <a:pt x="458" y="959"/>
                  </a:lnTo>
                  <a:lnTo>
                    <a:pt x="454" y="946"/>
                  </a:lnTo>
                  <a:lnTo>
                    <a:pt x="464" y="932"/>
                  </a:lnTo>
                  <a:lnTo>
                    <a:pt x="472" y="927"/>
                  </a:lnTo>
                  <a:lnTo>
                    <a:pt x="478" y="905"/>
                  </a:lnTo>
                  <a:lnTo>
                    <a:pt x="497" y="905"/>
                  </a:lnTo>
                  <a:lnTo>
                    <a:pt x="508" y="897"/>
                  </a:lnTo>
                  <a:lnTo>
                    <a:pt x="511" y="878"/>
                  </a:lnTo>
                  <a:lnTo>
                    <a:pt x="518" y="873"/>
                  </a:lnTo>
                  <a:lnTo>
                    <a:pt x="521" y="876"/>
                  </a:lnTo>
                  <a:lnTo>
                    <a:pt x="526" y="866"/>
                  </a:lnTo>
                  <a:lnTo>
                    <a:pt x="540" y="881"/>
                  </a:lnTo>
                  <a:lnTo>
                    <a:pt x="549" y="872"/>
                  </a:lnTo>
                  <a:lnTo>
                    <a:pt x="550" y="858"/>
                  </a:lnTo>
                  <a:lnTo>
                    <a:pt x="564" y="843"/>
                  </a:lnTo>
                  <a:lnTo>
                    <a:pt x="570" y="854"/>
                  </a:lnTo>
                  <a:lnTo>
                    <a:pt x="620" y="799"/>
                  </a:lnTo>
                  <a:lnTo>
                    <a:pt x="633" y="766"/>
                  </a:lnTo>
                  <a:lnTo>
                    <a:pt x="641" y="751"/>
                  </a:lnTo>
                  <a:lnTo>
                    <a:pt x="648" y="749"/>
                  </a:lnTo>
                  <a:lnTo>
                    <a:pt x="654" y="748"/>
                  </a:lnTo>
                  <a:lnTo>
                    <a:pt x="662" y="742"/>
                  </a:lnTo>
                  <a:lnTo>
                    <a:pt x="659" y="739"/>
                  </a:lnTo>
                  <a:lnTo>
                    <a:pt x="648" y="743"/>
                  </a:lnTo>
                  <a:lnTo>
                    <a:pt x="648" y="736"/>
                  </a:lnTo>
                  <a:lnTo>
                    <a:pt x="653" y="730"/>
                  </a:lnTo>
                  <a:lnTo>
                    <a:pt x="651" y="721"/>
                  </a:lnTo>
                  <a:lnTo>
                    <a:pt x="638" y="718"/>
                  </a:lnTo>
                  <a:lnTo>
                    <a:pt x="624" y="698"/>
                  </a:lnTo>
                  <a:lnTo>
                    <a:pt x="633" y="703"/>
                  </a:lnTo>
                  <a:lnTo>
                    <a:pt x="636" y="695"/>
                  </a:lnTo>
                  <a:lnTo>
                    <a:pt x="624" y="683"/>
                  </a:lnTo>
                  <a:lnTo>
                    <a:pt x="633" y="663"/>
                  </a:lnTo>
                  <a:lnTo>
                    <a:pt x="642" y="663"/>
                  </a:lnTo>
                  <a:lnTo>
                    <a:pt x="648" y="654"/>
                  </a:lnTo>
                  <a:lnTo>
                    <a:pt x="656" y="650"/>
                  </a:lnTo>
                  <a:lnTo>
                    <a:pt x="657" y="626"/>
                  </a:lnTo>
                  <a:lnTo>
                    <a:pt x="641" y="603"/>
                  </a:lnTo>
                  <a:lnTo>
                    <a:pt x="657" y="596"/>
                  </a:lnTo>
                  <a:lnTo>
                    <a:pt x="662" y="580"/>
                  </a:lnTo>
                  <a:lnTo>
                    <a:pt x="672" y="589"/>
                  </a:lnTo>
                  <a:lnTo>
                    <a:pt x="683" y="588"/>
                  </a:lnTo>
                  <a:lnTo>
                    <a:pt x="675" y="571"/>
                  </a:lnTo>
                  <a:lnTo>
                    <a:pt x="687" y="570"/>
                  </a:lnTo>
                  <a:lnTo>
                    <a:pt x="692" y="564"/>
                  </a:lnTo>
                  <a:lnTo>
                    <a:pt x="669" y="547"/>
                  </a:lnTo>
                  <a:lnTo>
                    <a:pt x="693" y="556"/>
                  </a:lnTo>
                  <a:lnTo>
                    <a:pt x="701" y="544"/>
                  </a:lnTo>
                  <a:lnTo>
                    <a:pt x="707" y="537"/>
                  </a:lnTo>
                  <a:lnTo>
                    <a:pt x="706" y="523"/>
                  </a:lnTo>
                  <a:lnTo>
                    <a:pt x="712" y="517"/>
                  </a:lnTo>
                  <a:lnTo>
                    <a:pt x="722" y="534"/>
                  </a:lnTo>
                  <a:lnTo>
                    <a:pt x="731" y="517"/>
                  </a:lnTo>
                  <a:lnTo>
                    <a:pt x="737" y="520"/>
                  </a:lnTo>
                  <a:lnTo>
                    <a:pt x="737" y="531"/>
                  </a:lnTo>
                  <a:lnTo>
                    <a:pt x="755" y="538"/>
                  </a:lnTo>
                  <a:lnTo>
                    <a:pt x="764" y="522"/>
                  </a:lnTo>
                  <a:lnTo>
                    <a:pt x="772" y="525"/>
                  </a:lnTo>
                  <a:lnTo>
                    <a:pt x="794" y="520"/>
                  </a:lnTo>
                  <a:lnTo>
                    <a:pt x="813" y="531"/>
                  </a:lnTo>
                  <a:lnTo>
                    <a:pt x="819" y="522"/>
                  </a:lnTo>
                  <a:lnTo>
                    <a:pt x="825" y="520"/>
                  </a:lnTo>
                  <a:lnTo>
                    <a:pt x="791" y="469"/>
                  </a:lnTo>
                  <a:lnTo>
                    <a:pt x="787" y="440"/>
                  </a:lnTo>
                  <a:lnTo>
                    <a:pt x="787" y="440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012" name="Freeform 357"/>
            <p:cNvSpPr>
              <a:spLocks/>
            </p:cNvSpPr>
            <p:nvPr userDrawn="1"/>
          </p:nvSpPr>
          <p:spPr bwMode="auto">
            <a:xfrm>
              <a:off x="4760" y="2"/>
              <a:ext cx="674" cy="1540"/>
            </a:xfrm>
            <a:custGeom>
              <a:avLst/>
              <a:gdLst>
                <a:gd name="T0" fmla="*/ 652 w 674"/>
                <a:gd name="T1" fmla="*/ 1193 h 1540"/>
                <a:gd name="T2" fmla="*/ 652 w 674"/>
                <a:gd name="T3" fmla="*/ 1080 h 1540"/>
                <a:gd name="T4" fmla="*/ 608 w 674"/>
                <a:gd name="T5" fmla="*/ 944 h 1540"/>
                <a:gd name="T6" fmla="*/ 584 w 674"/>
                <a:gd name="T7" fmla="*/ 887 h 1540"/>
                <a:gd name="T8" fmla="*/ 567 w 674"/>
                <a:gd name="T9" fmla="*/ 822 h 1540"/>
                <a:gd name="T10" fmla="*/ 561 w 674"/>
                <a:gd name="T11" fmla="*/ 733 h 1540"/>
                <a:gd name="T12" fmla="*/ 569 w 674"/>
                <a:gd name="T13" fmla="*/ 674 h 1540"/>
                <a:gd name="T14" fmla="*/ 555 w 674"/>
                <a:gd name="T15" fmla="*/ 392 h 1540"/>
                <a:gd name="T16" fmla="*/ 496 w 674"/>
                <a:gd name="T17" fmla="*/ 315 h 1540"/>
                <a:gd name="T18" fmla="*/ 480 w 674"/>
                <a:gd name="T19" fmla="*/ 202 h 1540"/>
                <a:gd name="T20" fmla="*/ 522 w 674"/>
                <a:gd name="T21" fmla="*/ 89 h 1540"/>
                <a:gd name="T22" fmla="*/ 422 w 674"/>
                <a:gd name="T23" fmla="*/ 0 h 1540"/>
                <a:gd name="T24" fmla="*/ 385 w 674"/>
                <a:gd name="T25" fmla="*/ 18 h 1540"/>
                <a:gd name="T26" fmla="*/ 350 w 674"/>
                <a:gd name="T27" fmla="*/ 41 h 1540"/>
                <a:gd name="T28" fmla="*/ 308 w 674"/>
                <a:gd name="T29" fmla="*/ 143 h 1540"/>
                <a:gd name="T30" fmla="*/ 264 w 674"/>
                <a:gd name="T31" fmla="*/ 269 h 1540"/>
                <a:gd name="T32" fmla="*/ 202 w 674"/>
                <a:gd name="T33" fmla="*/ 231 h 1540"/>
                <a:gd name="T34" fmla="*/ 87 w 674"/>
                <a:gd name="T35" fmla="*/ 240 h 1540"/>
                <a:gd name="T36" fmla="*/ 32 w 674"/>
                <a:gd name="T37" fmla="*/ 142 h 1540"/>
                <a:gd name="T38" fmla="*/ 8 w 674"/>
                <a:gd name="T39" fmla="*/ 190 h 1540"/>
                <a:gd name="T40" fmla="*/ 18 w 674"/>
                <a:gd name="T41" fmla="*/ 214 h 1540"/>
                <a:gd name="T42" fmla="*/ 63 w 674"/>
                <a:gd name="T43" fmla="*/ 253 h 1540"/>
                <a:gd name="T44" fmla="*/ 133 w 674"/>
                <a:gd name="T45" fmla="*/ 294 h 1540"/>
                <a:gd name="T46" fmla="*/ 169 w 674"/>
                <a:gd name="T47" fmla="*/ 349 h 1540"/>
                <a:gd name="T48" fmla="*/ 173 w 674"/>
                <a:gd name="T49" fmla="*/ 424 h 1540"/>
                <a:gd name="T50" fmla="*/ 166 w 674"/>
                <a:gd name="T51" fmla="*/ 487 h 1540"/>
                <a:gd name="T52" fmla="*/ 179 w 674"/>
                <a:gd name="T53" fmla="*/ 649 h 1540"/>
                <a:gd name="T54" fmla="*/ 234 w 674"/>
                <a:gd name="T55" fmla="*/ 706 h 1540"/>
                <a:gd name="T56" fmla="*/ 270 w 674"/>
                <a:gd name="T57" fmla="*/ 741 h 1540"/>
                <a:gd name="T58" fmla="*/ 287 w 674"/>
                <a:gd name="T59" fmla="*/ 795 h 1540"/>
                <a:gd name="T60" fmla="*/ 287 w 674"/>
                <a:gd name="T61" fmla="*/ 836 h 1540"/>
                <a:gd name="T62" fmla="*/ 287 w 674"/>
                <a:gd name="T63" fmla="*/ 846 h 1540"/>
                <a:gd name="T64" fmla="*/ 278 w 674"/>
                <a:gd name="T65" fmla="*/ 852 h 1540"/>
                <a:gd name="T66" fmla="*/ 240 w 674"/>
                <a:gd name="T67" fmla="*/ 862 h 1540"/>
                <a:gd name="T68" fmla="*/ 205 w 674"/>
                <a:gd name="T69" fmla="*/ 940 h 1540"/>
                <a:gd name="T70" fmla="*/ 173 w 674"/>
                <a:gd name="T71" fmla="*/ 978 h 1540"/>
                <a:gd name="T72" fmla="*/ 146 w 674"/>
                <a:gd name="T73" fmla="*/ 1006 h 1540"/>
                <a:gd name="T74" fmla="*/ 122 w 674"/>
                <a:gd name="T75" fmla="*/ 1030 h 1540"/>
                <a:gd name="T76" fmla="*/ 95 w 674"/>
                <a:gd name="T77" fmla="*/ 1064 h 1540"/>
                <a:gd name="T78" fmla="*/ 72 w 674"/>
                <a:gd name="T79" fmla="*/ 1103 h 1540"/>
                <a:gd name="T80" fmla="*/ 56 w 674"/>
                <a:gd name="T81" fmla="*/ 1094 h 1540"/>
                <a:gd name="T82" fmla="*/ 41 w 674"/>
                <a:gd name="T83" fmla="*/ 1126 h 1540"/>
                <a:gd name="T84" fmla="*/ 20 w 674"/>
                <a:gd name="T85" fmla="*/ 1189 h 1540"/>
                <a:gd name="T86" fmla="*/ 32 w 674"/>
                <a:gd name="T87" fmla="*/ 1228 h 1540"/>
                <a:gd name="T88" fmla="*/ 41 w 674"/>
                <a:gd name="T89" fmla="*/ 1301 h 1540"/>
                <a:gd name="T90" fmla="*/ 36 w 674"/>
                <a:gd name="T91" fmla="*/ 1328 h 1540"/>
                <a:gd name="T92" fmla="*/ 36 w 674"/>
                <a:gd name="T93" fmla="*/ 1400 h 1540"/>
                <a:gd name="T94" fmla="*/ 38 w 674"/>
                <a:gd name="T95" fmla="*/ 1442 h 1540"/>
                <a:gd name="T96" fmla="*/ 109 w 674"/>
                <a:gd name="T97" fmla="*/ 1480 h 1540"/>
                <a:gd name="T98" fmla="*/ 143 w 674"/>
                <a:gd name="T99" fmla="*/ 1479 h 1540"/>
                <a:gd name="T100" fmla="*/ 116 w 674"/>
                <a:gd name="T101" fmla="*/ 1512 h 1540"/>
                <a:gd name="T102" fmla="*/ 145 w 674"/>
                <a:gd name="T103" fmla="*/ 1519 h 1540"/>
                <a:gd name="T104" fmla="*/ 136 w 674"/>
                <a:gd name="T105" fmla="*/ 1540 h 1540"/>
                <a:gd name="T106" fmla="*/ 178 w 674"/>
                <a:gd name="T107" fmla="*/ 1518 h 1540"/>
                <a:gd name="T108" fmla="*/ 181 w 674"/>
                <a:gd name="T109" fmla="*/ 1521 h 1540"/>
                <a:gd name="T110" fmla="*/ 237 w 674"/>
                <a:gd name="T111" fmla="*/ 1516 h 1540"/>
                <a:gd name="T112" fmla="*/ 287 w 674"/>
                <a:gd name="T113" fmla="*/ 1485 h 1540"/>
                <a:gd name="T114" fmla="*/ 321 w 674"/>
                <a:gd name="T115" fmla="*/ 1470 h 1540"/>
                <a:gd name="T116" fmla="*/ 332 w 674"/>
                <a:gd name="T117" fmla="*/ 1471 h 1540"/>
                <a:gd name="T118" fmla="*/ 383 w 674"/>
                <a:gd name="T119" fmla="*/ 1454 h 1540"/>
                <a:gd name="T120" fmla="*/ 437 w 674"/>
                <a:gd name="T121" fmla="*/ 1445 h 15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674" h="1540">
                  <a:moveTo>
                    <a:pt x="534" y="1340"/>
                  </a:moveTo>
                  <a:lnTo>
                    <a:pt x="541" y="1304"/>
                  </a:lnTo>
                  <a:lnTo>
                    <a:pt x="599" y="1255"/>
                  </a:lnTo>
                  <a:lnTo>
                    <a:pt x="652" y="1193"/>
                  </a:lnTo>
                  <a:lnTo>
                    <a:pt x="673" y="1145"/>
                  </a:lnTo>
                  <a:lnTo>
                    <a:pt x="674" y="1116"/>
                  </a:lnTo>
                  <a:lnTo>
                    <a:pt x="659" y="1101"/>
                  </a:lnTo>
                  <a:lnTo>
                    <a:pt x="652" y="1080"/>
                  </a:lnTo>
                  <a:lnTo>
                    <a:pt x="615" y="1067"/>
                  </a:lnTo>
                  <a:lnTo>
                    <a:pt x="576" y="1027"/>
                  </a:lnTo>
                  <a:lnTo>
                    <a:pt x="605" y="997"/>
                  </a:lnTo>
                  <a:lnTo>
                    <a:pt x="608" y="944"/>
                  </a:lnTo>
                  <a:lnTo>
                    <a:pt x="599" y="944"/>
                  </a:lnTo>
                  <a:lnTo>
                    <a:pt x="579" y="929"/>
                  </a:lnTo>
                  <a:lnTo>
                    <a:pt x="578" y="893"/>
                  </a:lnTo>
                  <a:lnTo>
                    <a:pt x="584" y="887"/>
                  </a:lnTo>
                  <a:lnTo>
                    <a:pt x="582" y="872"/>
                  </a:lnTo>
                  <a:lnTo>
                    <a:pt x="563" y="874"/>
                  </a:lnTo>
                  <a:lnTo>
                    <a:pt x="551" y="854"/>
                  </a:lnTo>
                  <a:lnTo>
                    <a:pt x="567" y="822"/>
                  </a:lnTo>
                  <a:lnTo>
                    <a:pt x="555" y="789"/>
                  </a:lnTo>
                  <a:lnTo>
                    <a:pt x="566" y="765"/>
                  </a:lnTo>
                  <a:lnTo>
                    <a:pt x="560" y="744"/>
                  </a:lnTo>
                  <a:lnTo>
                    <a:pt x="561" y="733"/>
                  </a:lnTo>
                  <a:lnTo>
                    <a:pt x="584" y="729"/>
                  </a:lnTo>
                  <a:lnTo>
                    <a:pt x="585" y="720"/>
                  </a:lnTo>
                  <a:lnTo>
                    <a:pt x="570" y="697"/>
                  </a:lnTo>
                  <a:lnTo>
                    <a:pt x="569" y="674"/>
                  </a:lnTo>
                  <a:lnTo>
                    <a:pt x="517" y="569"/>
                  </a:lnTo>
                  <a:lnTo>
                    <a:pt x="513" y="531"/>
                  </a:lnTo>
                  <a:lnTo>
                    <a:pt x="582" y="406"/>
                  </a:lnTo>
                  <a:lnTo>
                    <a:pt x="555" y="392"/>
                  </a:lnTo>
                  <a:lnTo>
                    <a:pt x="540" y="367"/>
                  </a:lnTo>
                  <a:lnTo>
                    <a:pt x="534" y="350"/>
                  </a:lnTo>
                  <a:lnTo>
                    <a:pt x="520" y="332"/>
                  </a:lnTo>
                  <a:lnTo>
                    <a:pt x="496" y="315"/>
                  </a:lnTo>
                  <a:lnTo>
                    <a:pt x="459" y="266"/>
                  </a:lnTo>
                  <a:lnTo>
                    <a:pt x="474" y="225"/>
                  </a:lnTo>
                  <a:lnTo>
                    <a:pt x="457" y="214"/>
                  </a:lnTo>
                  <a:lnTo>
                    <a:pt x="480" y="202"/>
                  </a:lnTo>
                  <a:lnTo>
                    <a:pt x="477" y="189"/>
                  </a:lnTo>
                  <a:lnTo>
                    <a:pt x="492" y="168"/>
                  </a:lnTo>
                  <a:lnTo>
                    <a:pt x="495" y="136"/>
                  </a:lnTo>
                  <a:lnTo>
                    <a:pt x="522" y="89"/>
                  </a:lnTo>
                  <a:lnTo>
                    <a:pt x="513" y="51"/>
                  </a:lnTo>
                  <a:lnTo>
                    <a:pt x="478" y="42"/>
                  </a:lnTo>
                  <a:lnTo>
                    <a:pt x="446" y="15"/>
                  </a:lnTo>
                  <a:lnTo>
                    <a:pt x="422" y="0"/>
                  </a:lnTo>
                  <a:lnTo>
                    <a:pt x="413" y="8"/>
                  </a:lnTo>
                  <a:lnTo>
                    <a:pt x="400" y="5"/>
                  </a:lnTo>
                  <a:lnTo>
                    <a:pt x="392" y="23"/>
                  </a:lnTo>
                  <a:lnTo>
                    <a:pt x="385" y="18"/>
                  </a:lnTo>
                  <a:lnTo>
                    <a:pt x="379" y="24"/>
                  </a:lnTo>
                  <a:lnTo>
                    <a:pt x="365" y="14"/>
                  </a:lnTo>
                  <a:lnTo>
                    <a:pt x="354" y="17"/>
                  </a:lnTo>
                  <a:lnTo>
                    <a:pt x="350" y="41"/>
                  </a:lnTo>
                  <a:lnTo>
                    <a:pt x="327" y="59"/>
                  </a:lnTo>
                  <a:lnTo>
                    <a:pt x="318" y="92"/>
                  </a:lnTo>
                  <a:lnTo>
                    <a:pt x="327" y="121"/>
                  </a:lnTo>
                  <a:lnTo>
                    <a:pt x="308" y="143"/>
                  </a:lnTo>
                  <a:lnTo>
                    <a:pt x="312" y="181"/>
                  </a:lnTo>
                  <a:lnTo>
                    <a:pt x="291" y="223"/>
                  </a:lnTo>
                  <a:lnTo>
                    <a:pt x="273" y="232"/>
                  </a:lnTo>
                  <a:lnTo>
                    <a:pt x="264" y="269"/>
                  </a:lnTo>
                  <a:lnTo>
                    <a:pt x="244" y="270"/>
                  </a:lnTo>
                  <a:lnTo>
                    <a:pt x="225" y="247"/>
                  </a:lnTo>
                  <a:lnTo>
                    <a:pt x="207" y="249"/>
                  </a:lnTo>
                  <a:lnTo>
                    <a:pt x="202" y="231"/>
                  </a:lnTo>
                  <a:lnTo>
                    <a:pt x="187" y="237"/>
                  </a:lnTo>
                  <a:lnTo>
                    <a:pt x="176" y="261"/>
                  </a:lnTo>
                  <a:lnTo>
                    <a:pt x="145" y="263"/>
                  </a:lnTo>
                  <a:lnTo>
                    <a:pt x="87" y="240"/>
                  </a:lnTo>
                  <a:lnTo>
                    <a:pt x="81" y="214"/>
                  </a:lnTo>
                  <a:lnTo>
                    <a:pt x="59" y="183"/>
                  </a:lnTo>
                  <a:lnTo>
                    <a:pt x="51" y="161"/>
                  </a:lnTo>
                  <a:lnTo>
                    <a:pt x="32" y="142"/>
                  </a:lnTo>
                  <a:lnTo>
                    <a:pt x="9" y="148"/>
                  </a:lnTo>
                  <a:lnTo>
                    <a:pt x="8" y="163"/>
                  </a:lnTo>
                  <a:lnTo>
                    <a:pt x="17" y="181"/>
                  </a:lnTo>
                  <a:lnTo>
                    <a:pt x="8" y="190"/>
                  </a:lnTo>
                  <a:lnTo>
                    <a:pt x="1" y="187"/>
                  </a:lnTo>
                  <a:lnTo>
                    <a:pt x="0" y="192"/>
                  </a:lnTo>
                  <a:lnTo>
                    <a:pt x="6" y="204"/>
                  </a:lnTo>
                  <a:lnTo>
                    <a:pt x="18" y="214"/>
                  </a:lnTo>
                  <a:lnTo>
                    <a:pt x="26" y="226"/>
                  </a:lnTo>
                  <a:lnTo>
                    <a:pt x="35" y="229"/>
                  </a:lnTo>
                  <a:lnTo>
                    <a:pt x="48" y="250"/>
                  </a:lnTo>
                  <a:lnTo>
                    <a:pt x="63" y="253"/>
                  </a:lnTo>
                  <a:lnTo>
                    <a:pt x="80" y="281"/>
                  </a:lnTo>
                  <a:lnTo>
                    <a:pt x="100" y="279"/>
                  </a:lnTo>
                  <a:lnTo>
                    <a:pt x="107" y="285"/>
                  </a:lnTo>
                  <a:lnTo>
                    <a:pt x="133" y="294"/>
                  </a:lnTo>
                  <a:lnTo>
                    <a:pt x="148" y="333"/>
                  </a:lnTo>
                  <a:lnTo>
                    <a:pt x="154" y="335"/>
                  </a:lnTo>
                  <a:lnTo>
                    <a:pt x="164" y="329"/>
                  </a:lnTo>
                  <a:lnTo>
                    <a:pt x="169" y="349"/>
                  </a:lnTo>
                  <a:lnTo>
                    <a:pt x="181" y="361"/>
                  </a:lnTo>
                  <a:lnTo>
                    <a:pt x="181" y="377"/>
                  </a:lnTo>
                  <a:lnTo>
                    <a:pt x="170" y="386"/>
                  </a:lnTo>
                  <a:lnTo>
                    <a:pt x="173" y="424"/>
                  </a:lnTo>
                  <a:lnTo>
                    <a:pt x="167" y="445"/>
                  </a:lnTo>
                  <a:lnTo>
                    <a:pt x="178" y="457"/>
                  </a:lnTo>
                  <a:lnTo>
                    <a:pt x="179" y="478"/>
                  </a:lnTo>
                  <a:lnTo>
                    <a:pt x="166" y="487"/>
                  </a:lnTo>
                  <a:lnTo>
                    <a:pt x="179" y="561"/>
                  </a:lnTo>
                  <a:lnTo>
                    <a:pt x="199" y="575"/>
                  </a:lnTo>
                  <a:lnTo>
                    <a:pt x="175" y="620"/>
                  </a:lnTo>
                  <a:lnTo>
                    <a:pt x="179" y="649"/>
                  </a:lnTo>
                  <a:lnTo>
                    <a:pt x="213" y="700"/>
                  </a:lnTo>
                  <a:lnTo>
                    <a:pt x="214" y="706"/>
                  </a:lnTo>
                  <a:lnTo>
                    <a:pt x="226" y="712"/>
                  </a:lnTo>
                  <a:lnTo>
                    <a:pt x="234" y="706"/>
                  </a:lnTo>
                  <a:lnTo>
                    <a:pt x="241" y="702"/>
                  </a:lnTo>
                  <a:lnTo>
                    <a:pt x="247" y="727"/>
                  </a:lnTo>
                  <a:lnTo>
                    <a:pt x="259" y="738"/>
                  </a:lnTo>
                  <a:lnTo>
                    <a:pt x="270" y="741"/>
                  </a:lnTo>
                  <a:lnTo>
                    <a:pt x="271" y="760"/>
                  </a:lnTo>
                  <a:lnTo>
                    <a:pt x="290" y="772"/>
                  </a:lnTo>
                  <a:lnTo>
                    <a:pt x="294" y="786"/>
                  </a:lnTo>
                  <a:lnTo>
                    <a:pt x="287" y="795"/>
                  </a:lnTo>
                  <a:lnTo>
                    <a:pt x="287" y="813"/>
                  </a:lnTo>
                  <a:lnTo>
                    <a:pt x="297" y="828"/>
                  </a:lnTo>
                  <a:lnTo>
                    <a:pt x="294" y="836"/>
                  </a:lnTo>
                  <a:lnTo>
                    <a:pt x="287" y="836"/>
                  </a:lnTo>
                  <a:lnTo>
                    <a:pt x="279" y="827"/>
                  </a:lnTo>
                  <a:lnTo>
                    <a:pt x="276" y="827"/>
                  </a:lnTo>
                  <a:lnTo>
                    <a:pt x="278" y="834"/>
                  </a:lnTo>
                  <a:lnTo>
                    <a:pt x="287" y="846"/>
                  </a:lnTo>
                  <a:lnTo>
                    <a:pt x="287" y="860"/>
                  </a:lnTo>
                  <a:lnTo>
                    <a:pt x="288" y="866"/>
                  </a:lnTo>
                  <a:lnTo>
                    <a:pt x="284" y="866"/>
                  </a:lnTo>
                  <a:lnTo>
                    <a:pt x="278" y="852"/>
                  </a:lnTo>
                  <a:lnTo>
                    <a:pt x="273" y="851"/>
                  </a:lnTo>
                  <a:lnTo>
                    <a:pt x="259" y="852"/>
                  </a:lnTo>
                  <a:lnTo>
                    <a:pt x="250" y="863"/>
                  </a:lnTo>
                  <a:lnTo>
                    <a:pt x="240" y="862"/>
                  </a:lnTo>
                  <a:lnTo>
                    <a:pt x="235" y="883"/>
                  </a:lnTo>
                  <a:lnTo>
                    <a:pt x="216" y="916"/>
                  </a:lnTo>
                  <a:lnTo>
                    <a:pt x="202" y="931"/>
                  </a:lnTo>
                  <a:lnTo>
                    <a:pt x="205" y="940"/>
                  </a:lnTo>
                  <a:lnTo>
                    <a:pt x="196" y="944"/>
                  </a:lnTo>
                  <a:lnTo>
                    <a:pt x="193" y="957"/>
                  </a:lnTo>
                  <a:lnTo>
                    <a:pt x="179" y="964"/>
                  </a:lnTo>
                  <a:lnTo>
                    <a:pt x="173" y="978"/>
                  </a:lnTo>
                  <a:lnTo>
                    <a:pt x="166" y="975"/>
                  </a:lnTo>
                  <a:lnTo>
                    <a:pt x="163" y="993"/>
                  </a:lnTo>
                  <a:lnTo>
                    <a:pt x="154" y="1006"/>
                  </a:lnTo>
                  <a:lnTo>
                    <a:pt x="146" y="1006"/>
                  </a:lnTo>
                  <a:lnTo>
                    <a:pt x="142" y="1015"/>
                  </a:lnTo>
                  <a:lnTo>
                    <a:pt x="136" y="1017"/>
                  </a:lnTo>
                  <a:lnTo>
                    <a:pt x="130" y="1030"/>
                  </a:lnTo>
                  <a:lnTo>
                    <a:pt x="122" y="1030"/>
                  </a:lnTo>
                  <a:lnTo>
                    <a:pt x="107" y="1047"/>
                  </a:lnTo>
                  <a:lnTo>
                    <a:pt x="107" y="1061"/>
                  </a:lnTo>
                  <a:lnTo>
                    <a:pt x="95" y="1052"/>
                  </a:lnTo>
                  <a:lnTo>
                    <a:pt x="95" y="1064"/>
                  </a:lnTo>
                  <a:lnTo>
                    <a:pt x="101" y="1082"/>
                  </a:lnTo>
                  <a:lnTo>
                    <a:pt x="92" y="1085"/>
                  </a:lnTo>
                  <a:lnTo>
                    <a:pt x="84" y="1094"/>
                  </a:lnTo>
                  <a:lnTo>
                    <a:pt x="72" y="1103"/>
                  </a:lnTo>
                  <a:lnTo>
                    <a:pt x="74" y="1097"/>
                  </a:lnTo>
                  <a:lnTo>
                    <a:pt x="60" y="1091"/>
                  </a:lnTo>
                  <a:lnTo>
                    <a:pt x="66" y="1103"/>
                  </a:lnTo>
                  <a:lnTo>
                    <a:pt x="56" y="1094"/>
                  </a:lnTo>
                  <a:lnTo>
                    <a:pt x="47" y="1100"/>
                  </a:lnTo>
                  <a:lnTo>
                    <a:pt x="42" y="1110"/>
                  </a:lnTo>
                  <a:lnTo>
                    <a:pt x="51" y="1121"/>
                  </a:lnTo>
                  <a:lnTo>
                    <a:pt x="41" y="1126"/>
                  </a:lnTo>
                  <a:lnTo>
                    <a:pt x="32" y="1141"/>
                  </a:lnTo>
                  <a:lnTo>
                    <a:pt x="20" y="1144"/>
                  </a:lnTo>
                  <a:lnTo>
                    <a:pt x="14" y="1171"/>
                  </a:lnTo>
                  <a:lnTo>
                    <a:pt x="20" y="1189"/>
                  </a:lnTo>
                  <a:lnTo>
                    <a:pt x="17" y="1212"/>
                  </a:lnTo>
                  <a:lnTo>
                    <a:pt x="24" y="1215"/>
                  </a:lnTo>
                  <a:lnTo>
                    <a:pt x="27" y="1210"/>
                  </a:lnTo>
                  <a:lnTo>
                    <a:pt x="32" y="1228"/>
                  </a:lnTo>
                  <a:lnTo>
                    <a:pt x="23" y="1248"/>
                  </a:lnTo>
                  <a:lnTo>
                    <a:pt x="23" y="1260"/>
                  </a:lnTo>
                  <a:lnTo>
                    <a:pt x="42" y="1276"/>
                  </a:lnTo>
                  <a:lnTo>
                    <a:pt x="41" y="1301"/>
                  </a:lnTo>
                  <a:lnTo>
                    <a:pt x="56" y="1323"/>
                  </a:lnTo>
                  <a:lnTo>
                    <a:pt x="53" y="1325"/>
                  </a:lnTo>
                  <a:lnTo>
                    <a:pt x="45" y="1314"/>
                  </a:lnTo>
                  <a:lnTo>
                    <a:pt x="36" y="1328"/>
                  </a:lnTo>
                  <a:lnTo>
                    <a:pt x="41" y="1347"/>
                  </a:lnTo>
                  <a:lnTo>
                    <a:pt x="39" y="1374"/>
                  </a:lnTo>
                  <a:lnTo>
                    <a:pt x="29" y="1385"/>
                  </a:lnTo>
                  <a:lnTo>
                    <a:pt x="36" y="1400"/>
                  </a:lnTo>
                  <a:lnTo>
                    <a:pt x="33" y="1415"/>
                  </a:lnTo>
                  <a:lnTo>
                    <a:pt x="39" y="1424"/>
                  </a:lnTo>
                  <a:lnTo>
                    <a:pt x="32" y="1433"/>
                  </a:lnTo>
                  <a:lnTo>
                    <a:pt x="38" y="1442"/>
                  </a:lnTo>
                  <a:lnTo>
                    <a:pt x="60" y="1441"/>
                  </a:lnTo>
                  <a:lnTo>
                    <a:pt x="80" y="1459"/>
                  </a:lnTo>
                  <a:lnTo>
                    <a:pt x="110" y="1471"/>
                  </a:lnTo>
                  <a:lnTo>
                    <a:pt x="109" y="1480"/>
                  </a:lnTo>
                  <a:lnTo>
                    <a:pt x="118" y="1483"/>
                  </a:lnTo>
                  <a:lnTo>
                    <a:pt x="133" y="1477"/>
                  </a:lnTo>
                  <a:lnTo>
                    <a:pt x="145" y="1470"/>
                  </a:lnTo>
                  <a:lnTo>
                    <a:pt x="143" y="1479"/>
                  </a:lnTo>
                  <a:lnTo>
                    <a:pt x="136" y="1488"/>
                  </a:lnTo>
                  <a:lnTo>
                    <a:pt x="130" y="1497"/>
                  </a:lnTo>
                  <a:lnTo>
                    <a:pt x="122" y="1501"/>
                  </a:lnTo>
                  <a:lnTo>
                    <a:pt x="116" y="1512"/>
                  </a:lnTo>
                  <a:lnTo>
                    <a:pt x="119" y="1519"/>
                  </a:lnTo>
                  <a:lnTo>
                    <a:pt x="127" y="1524"/>
                  </a:lnTo>
                  <a:lnTo>
                    <a:pt x="137" y="1524"/>
                  </a:lnTo>
                  <a:lnTo>
                    <a:pt x="145" y="1519"/>
                  </a:lnTo>
                  <a:lnTo>
                    <a:pt x="151" y="1525"/>
                  </a:lnTo>
                  <a:lnTo>
                    <a:pt x="151" y="1531"/>
                  </a:lnTo>
                  <a:lnTo>
                    <a:pt x="142" y="1533"/>
                  </a:lnTo>
                  <a:lnTo>
                    <a:pt x="136" y="1540"/>
                  </a:lnTo>
                  <a:lnTo>
                    <a:pt x="151" y="1540"/>
                  </a:lnTo>
                  <a:lnTo>
                    <a:pt x="154" y="1533"/>
                  </a:lnTo>
                  <a:lnTo>
                    <a:pt x="170" y="1512"/>
                  </a:lnTo>
                  <a:lnTo>
                    <a:pt x="178" y="1518"/>
                  </a:lnTo>
                  <a:lnTo>
                    <a:pt x="175" y="1525"/>
                  </a:lnTo>
                  <a:lnTo>
                    <a:pt x="169" y="1528"/>
                  </a:lnTo>
                  <a:lnTo>
                    <a:pt x="178" y="1533"/>
                  </a:lnTo>
                  <a:lnTo>
                    <a:pt x="181" y="1521"/>
                  </a:lnTo>
                  <a:lnTo>
                    <a:pt x="187" y="1516"/>
                  </a:lnTo>
                  <a:lnTo>
                    <a:pt x="199" y="1524"/>
                  </a:lnTo>
                  <a:lnTo>
                    <a:pt x="219" y="1512"/>
                  </a:lnTo>
                  <a:lnTo>
                    <a:pt x="237" y="1516"/>
                  </a:lnTo>
                  <a:lnTo>
                    <a:pt x="243" y="1501"/>
                  </a:lnTo>
                  <a:lnTo>
                    <a:pt x="261" y="1495"/>
                  </a:lnTo>
                  <a:lnTo>
                    <a:pt x="278" y="1495"/>
                  </a:lnTo>
                  <a:lnTo>
                    <a:pt x="287" y="1485"/>
                  </a:lnTo>
                  <a:lnTo>
                    <a:pt x="300" y="1480"/>
                  </a:lnTo>
                  <a:lnTo>
                    <a:pt x="306" y="1471"/>
                  </a:lnTo>
                  <a:lnTo>
                    <a:pt x="312" y="1479"/>
                  </a:lnTo>
                  <a:lnTo>
                    <a:pt x="321" y="1470"/>
                  </a:lnTo>
                  <a:lnTo>
                    <a:pt x="329" y="1473"/>
                  </a:lnTo>
                  <a:lnTo>
                    <a:pt x="326" y="1459"/>
                  </a:lnTo>
                  <a:lnTo>
                    <a:pt x="330" y="1454"/>
                  </a:lnTo>
                  <a:lnTo>
                    <a:pt x="332" y="1471"/>
                  </a:lnTo>
                  <a:lnTo>
                    <a:pt x="351" y="1468"/>
                  </a:lnTo>
                  <a:lnTo>
                    <a:pt x="356" y="1459"/>
                  </a:lnTo>
                  <a:lnTo>
                    <a:pt x="371" y="1462"/>
                  </a:lnTo>
                  <a:lnTo>
                    <a:pt x="383" y="1454"/>
                  </a:lnTo>
                  <a:lnTo>
                    <a:pt x="404" y="1451"/>
                  </a:lnTo>
                  <a:lnTo>
                    <a:pt x="413" y="1454"/>
                  </a:lnTo>
                  <a:lnTo>
                    <a:pt x="430" y="1453"/>
                  </a:lnTo>
                  <a:lnTo>
                    <a:pt x="437" y="1445"/>
                  </a:lnTo>
                  <a:lnTo>
                    <a:pt x="456" y="1402"/>
                  </a:lnTo>
                  <a:lnTo>
                    <a:pt x="534" y="1340"/>
                  </a:lnTo>
                  <a:lnTo>
                    <a:pt x="534" y="1340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013" name="Freeform 359"/>
            <p:cNvSpPr>
              <a:spLocks/>
            </p:cNvSpPr>
            <p:nvPr userDrawn="1"/>
          </p:nvSpPr>
          <p:spPr bwMode="auto">
            <a:xfrm>
              <a:off x="4246" y="3193"/>
              <a:ext cx="9" cy="9"/>
            </a:xfrm>
            <a:custGeom>
              <a:avLst/>
              <a:gdLst>
                <a:gd name="T0" fmla="*/ 7 w 9"/>
                <a:gd name="T1" fmla="*/ 8 h 9"/>
                <a:gd name="T2" fmla="*/ 9 w 9"/>
                <a:gd name="T3" fmla="*/ 1 h 9"/>
                <a:gd name="T4" fmla="*/ 6 w 9"/>
                <a:gd name="T5" fmla="*/ 0 h 9"/>
                <a:gd name="T6" fmla="*/ 1 w 9"/>
                <a:gd name="T7" fmla="*/ 3 h 9"/>
                <a:gd name="T8" fmla="*/ 0 w 9"/>
                <a:gd name="T9" fmla="*/ 8 h 9"/>
                <a:gd name="T10" fmla="*/ 3 w 9"/>
                <a:gd name="T11" fmla="*/ 9 h 9"/>
                <a:gd name="T12" fmla="*/ 7 w 9"/>
                <a:gd name="T13" fmla="*/ 8 h 9"/>
                <a:gd name="T14" fmla="*/ 7 w 9"/>
                <a:gd name="T15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9">
                  <a:moveTo>
                    <a:pt x="7" y="8"/>
                  </a:moveTo>
                  <a:lnTo>
                    <a:pt x="9" y="1"/>
                  </a:lnTo>
                  <a:lnTo>
                    <a:pt x="6" y="0"/>
                  </a:lnTo>
                  <a:lnTo>
                    <a:pt x="1" y="3"/>
                  </a:lnTo>
                  <a:lnTo>
                    <a:pt x="0" y="8"/>
                  </a:lnTo>
                  <a:lnTo>
                    <a:pt x="3" y="9"/>
                  </a:lnTo>
                  <a:lnTo>
                    <a:pt x="7" y="8"/>
                  </a:lnTo>
                  <a:lnTo>
                    <a:pt x="7" y="8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014" name="Freeform 360"/>
            <p:cNvSpPr>
              <a:spLocks/>
            </p:cNvSpPr>
            <p:nvPr userDrawn="1"/>
          </p:nvSpPr>
          <p:spPr bwMode="auto">
            <a:xfrm>
              <a:off x="4212" y="3332"/>
              <a:ext cx="10" cy="9"/>
            </a:xfrm>
            <a:custGeom>
              <a:avLst/>
              <a:gdLst>
                <a:gd name="T0" fmla="*/ 2 w 10"/>
                <a:gd name="T1" fmla="*/ 1 h 9"/>
                <a:gd name="T2" fmla="*/ 0 w 10"/>
                <a:gd name="T3" fmla="*/ 6 h 9"/>
                <a:gd name="T4" fmla="*/ 3 w 10"/>
                <a:gd name="T5" fmla="*/ 9 h 9"/>
                <a:gd name="T6" fmla="*/ 8 w 10"/>
                <a:gd name="T7" fmla="*/ 9 h 9"/>
                <a:gd name="T8" fmla="*/ 10 w 10"/>
                <a:gd name="T9" fmla="*/ 3 h 9"/>
                <a:gd name="T10" fmla="*/ 8 w 10"/>
                <a:gd name="T11" fmla="*/ 0 h 9"/>
                <a:gd name="T12" fmla="*/ 2 w 10"/>
                <a:gd name="T13" fmla="*/ 1 h 9"/>
                <a:gd name="T14" fmla="*/ 2 w 10"/>
                <a:gd name="T15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" h="9">
                  <a:moveTo>
                    <a:pt x="2" y="1"/>
                  </a:moveTo>
                  <a:lnTo>
                    <a:pt x="0" y="6"/>
                  </a:lnTo>
                  <a:lnTo>
                    <a:pt x="3" y="9"/>
                  </a:lnTo>
                  <a:lnTo>
                    <a:pt x="8" y="9"/>
                  </a:lnTo>
                  <a:lnTo>
                    <a:pt x="10" y="3"/>
                  </a:lnTo>
                  <a:lnTo>
                    <a:pt x="8" y="0"/>
                  </a:lnTo>
                  <a:lnTo>
                    <a:pt x="2" y="1"/>
                  </a:lnTo>
                  <a:lnTo>
                    <a:pt x="2" y="1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015" name="Freeform 361"/>
            <p:cNvSpPr>
              <a:spLocks/>
            </p:cNvSpPr>
            <p:nvPr userDrawn="1"/>
          </p:nvSpPr>
          <p:spPr bwMode="auto">
            <a:xfrm>
              <a:off x="7329" y="4297"/>
              <a:ext cx="72" cy="20"/>
            </a:xfrm>
            <a:custGeom>
              <a:avLst/>
              <a:gdLst>
                <a:gd name="T0" fmla="*/ 0 w 72"/>
                <a:gd name="T1" fmla="*/ 0 h 20"/>
                <a:gd name="T2" fmla="*/ 13 w 72"/>
                <a:gd name="T3" fmla="*/ 20 h 20"/>
                <a:gd name="T4" fmla="*/ 72 w 72"/>
                <a:gd name="T5" fmla="*/ 20 h 20"/>
                <a:gd name="T6" fmla="*/ 34 w 72"/>
                <a:gd name="T7" fmla="*/ 8 h 20"/>
                <a:gd name="T8" fmla="*/ 0 w 72"/>
                <a:gd name="T9" fmla="*/ 0 h 20"/>
                <a:gd name="T10" fmla="*/ 0 w 72"/>
                <a:gd name="T11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2" h="20">
                  <a:moveTo>
                    <a:pt x="0" y="0"/>
                  </a:moveTo>
                  <a:lnTo>
                    <a:pt x="13" y="20"/>
                  </a:lnTo>
                  <a:lnTo>
                    <a:pt x="72" y="20"/>
                  </a:lnTo>
                  <a:lnTo>
                    <a:pt x="34" y="8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016" name="Freeform 362"/>
            <p:cNvSpPr>
              <a:spLocks/>
            </p:cNvSpPr>
            <p:nvPr userDrawn="1"/>
          </p:nvSpPr>
          <p:spPr bwMode="auto">
            <a:xfrm>
              <a:off x="7534" y="4285"/>
              <a:ext cx="146" cy="32"/>
            </a:xfrm>
            <a:custGeom>
              <a:avLst/>
              <a:gdLst>
                <a:gd name="T0" fmla="*/ 4 w 146"/>
                <a:gd name="T1" fmla="*/ 30 h 32"/>
                <a:gd name="T2" fmla="*/ 0 w 146"/>
                <a:gd name="T3" fmla="*/ 32 h 32"/>
                <a:gd name="T4" fmla="*/ 146 w 146"/>
                <a:gd name="T5" fmla="*/ 32 h 32"/>
                <a:gd name="T6" fmla="*/ 146 w 146"/>
                <a:gd name="T7" fmla="*/ 0 h 32"/>
                <a:gd name="T8" fmla="*/ 48 w 146"/>
                <a:gd name="T9" fmla="*/ 26 h 32"/>
                <a:gd name="T10" fmla="*/ 4 w 146"/>
                <a:gd name="T11" fmla="*/ 30 h 32"/>
                <a:gd name="T12" fmla="*/ 4 w 146"/>
                <a:gd name="T13" fmla="*/ 3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6" h="32">
                  <a:moveTo>
                    <a:pt x="4" y="30"/>
                  </a:moveTo>
                  <a:lnTo>
                    <a:pt x="0" y="32"/>
                  </a:lnTo>
                  <a:lnTo>
                    <a:pt x="146" y="32"/>
                  </a:lnTo>
                  <a:lnTo>
                    <a:pt x="146" y="0"/>
                  </a:lnTo>
                  <a:lnTo>
                    <a:pt x="48" y="26"/>
                  </a:lnTo>
                  <a:lnTo>
                    <a:pt x="4" y="30"/>
                  </a:lnTo>
                  <a:lnTo>
                    <a:pt x="4" y="30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017" name="Freeform 363"/>
            <p:cNvSpPr>
              <a:spLocks/>
            </p:cNvSpPr>
            <p:nvPr userDrawn="1"/>
          </p:nvSpPr>
          <p:spPr bwMode="auto">
            <a:xfrm>
              <a:off x="7440" y="4314"/>
              <a:ext cx="61" cy="3"/>
            </a:xfrm>
            <a:custGeom>
              <a:avLst/>
              <a:gdLst>
                <a:gd name="T0" fmla="*/ 0 w 61"/>
                <a:gd name="T1" fmla="*/ 3 h 3"/>
                <a:gd name="T2" fmla="*/ 61 w 61"/>
                <a:gd name="T3" fmla="*/ 3 h 3"/>
                <a:gd name="T4" fmla="*/ 53 w 61"/>
                <a:gd name="T5" fmla="*/ 0 h 3"/>
                <a:gd name="T6" fmla="*/ 0 w 61"/>
                <a:gd name="T7" fmla="*/ 3 h 3"/>
                <a:gd name="T8" fmla="*/ 0 w 61"/>
                <a:gd name="T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" h="3">
                  <a:moveTo>
                    <a:pt x="0" y="3"/>
                  </a:moveTo>
                  <a:lnTo>
                    <a:pt x="61" y="3"/>
                  </a:lnTo>
                  <a:lnTo>
                    <a:pt x="53" y="0"/>
                  </a:lnTo>
                  <a:lnTo>
                    <a:pt x="0" y="3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018" name="Freeform 364"/>
            <p:cNvSpPr>
              <a:spLocks/>
            </p:cNvSpPr>
            <p:nvPr userDrawn="1"/>
          </p:nvSpPr>
          <p:spPr bwMode="auto">
            <a:xfrm>
              <a:off x="2808" y="3741"/>
              <a:ext cx="2685" cy="577"/>
            </a:xfrm>
            <a:custGeom>
              <a:avLst/>
              <a:gdLst>
                <a:gd name="T0" fmla="*/ 8 w 2685"/>
                <a:gd name="T1" fmla="*/ 522 h 577"/>
                <a:gd name="T2" fmla="*/ 6 w 2685"/>
                <a:gd name="T3" fmla="*/ 454 h 577"/>
                <a:gd name="T4" fmla="*/ 41 w 2685"/>
                <a:gd name="T5" fmla="*/ 389 h 577"/>
                <a:gd name="T6" fmla="*/ 83 w 2685"/>
                <a:gd name="T7" fmla="*/ 319 h 577"/>
                <a:gd name="T8" fmla="*/ 193 w 2685"/>
                <a:gd name="T9" fmla="*/ 258 h 577"/>
                <a:gd name="T10" fmla="*/ 266 w 2685"/>
                <a:gd name="T11" fmla="*/ 122 h 577"/>
                <a:gd name="T12" fmla="*/ 294 w 2685"/>
                <a:gd name="T13" fmla="*/ 134 h 577"/>
                <a:gd name="T14" fmla="*/ 361 w 2685"/>
                <a:gd name="T15" fmla="*/ 164 h 577"/>
                <a:gd name="T16" fmla="*/ 432 w 2685"/>
                <a:gd name="T17" fmla="*/ 155 h 577"/>
                <a:gd name="T18" fmla="*/ 484 w 2685"/>
                <a:gd name="T19" fmla="*/ 175 h 577"/>
                <a:gd name="T20" fmla="*/ 531 w 2685"/>
                <a:gd name="T21" fmla="*/ 163 h 577"/>
                <a:gd name="T22" fmla="*/ 596 w 2685"/>
                <a:gd name="T23" fmla="*/ 107 h 577"/>
                <a:gd name="T24" fmla="*/ 643 w 2685"/>
                <a:gd name="T25" fmla="*/ 96 h 577"/>
                <a:gd name="T26" fmla="*/ 748 w 2685"/>
                <a:gd name="T27" fmla="*/ 61 h 577"/>
                <a:gd name="T28" fmla="*/ 830 w 2685"/>
                <a:gd name="T29" fmla="*/ 39 h 577"/>
                <a:gd name="T30" fmla="*/ 908 w 2685"/>
                <a:gd name="T31" fmla="*/ 27 h 577"/>
                <a:gd name="T32" fmla="*/ 988 w 2685"/>
                <a:gd name="T33" fmla="*/ 34 h 577"/>
                <a:gd name="T34" fmla="*/ 1047 w 2685"/>
                <a:gd name="T35" fmla="*/ 34 h 577"/>
                <a:gd name="T36" fmla="*/ 1104 w 2685"/>
                <a:gd name="T37" fmla="*/ 30 h 577"/>
                <a:gd name="T38" fmla="*/ 1180 w 2685"/>
                <a:gd name="T39" fmla="*/ 28 h 577"/>
                <a:gd name="T40" fmla="*/ 1266 w 2685"/>
                <a:gd name="T41" fmla="*/ 13 h 577"/>
                <a:gd name="T42" fmla="*/ 1275 w 2685"/>
                <a:gd name="T43" fmla="*/ 51 h 577"/>
                <a:gd name="T44" fmla="*/ 1311 w 2685"/>
                <a:gd name="T45" fmla="*/ 24 h 577"/>
                <a:gd name="T46" fmla="*/ 1308 w 2685"/>
                <a:gd name="T47" fmla="*/ 63 h 577"/>
                <a:gd name="T48" fmla="*/ 1309 w 2685"/>
                <a:gd name="T49" fmla="*/ 132 h 577"/>
                <a:gd name="T50" fmla="*/ 1318 w 2685"/>
                <a:gd name="T51" fmla="*/ 176 h 577"/>
                <a:gd name="T52" fmla="*/ 1255 w 2685"/>
                <a:gd name="T53" fmla="*/ 256 h 577"/>
                <a:gd name="T54" fmla="*/ 1297 w 2685"/>
                <a:gd name="T55" fmla="*/ 289 h 577"/>
                <a:gd name="T56" fmla="*/ 1326 w 2685"/>
                <a:gd name="T57" fmla="*/ 304 h 577"/>
                <a:gd name="T58" fmla="*/ 1368 w 2685"/>
                <a:gd name="T59" fmla="*/ 338 h 577"/>
                <a:gd name="T60" fmla="*/ 1468 w 2685"/>
                <a:gd name="T61" fmla="*/ 348 h 577"/>
                <a:gd name="T62" fmla="*/ 1604 w 2685"/>
                <a:gd name="T63" fmla="*/ 405 h 577"/>
                <a:gd name="T64" fmla="*/ 1691 w 2685"/>
                <a:gd name="T65" fmla="*/ 476 h 577"/>
                <a:gd name="T66" fmla="*/ 1836 w 2685"/>
                <a:gd name="T67" fmla="*/ 541 h 577"/>
                <a:gd name="T68" fmla="*/ 1884 w 2685"/>
                <a:gd name="T69" fmla="*/ 436 h 577"/>
                <a:gd name="T70" fmla="*/ 1961 w 2685"/>
                <a:gd name="T71" fmla="*/ 353 h 577"/>
                <a:gd name="T72" fmla="*/ 2089 w 2685"/>
                <a:gd name="T73" fmla="*/ 365 h 577"/>
                <a:gd name="T74" fmla="*/ 2080 w 2685"/>
                <a:gd name="T75" fmla="*/ 386 h 577"/>
                <a:gd name="T76" fmla="*/ 2186 w 2685"/>
                <a:gd name="T77" fmla="*/ 413 h 577"/>
                <a:gd name="T78" fmla="*/ 2270 w 2685"/>
                <a:gd name="T79" fmla="*/ 433 h 577"/>
                <a:gd name="T80" fmla="*/ 2406 w 2685"/>
                <a:gd name="T81" fmla="*/ 479 h 577"/>
                <a:gd name="T82" fmla="*/ 2512 w 2685"/>
                <a:gd name="T83" fmla="*/ 479 h 577"/>
                <a:gd name="T84" fmla="*/ 2585 w 2685"/>
                <a:gd name="T85" fmla="*/ 442 h 577"/>
                <a:gd name="T86" fmla="*/ 2576 w 2685"/>
                <a:gd name="T87" fmla="*/ 460 h 577"/>
                <a:gd name="T88" fmla="*/ 2599 w 2685"/>
                <a:gd name="T89" fmla="*/ 436 h 577"/>
                <a:gd name="T90" fmla="*/ 2667 w 2685"/>
                <a:gd name="T91" fmla="*/ 457 h 577"/>
                <a:gd name="T92" fmla="*/ 2658 w 2685"/>
                <a:gd name="T93" fmla="*/ 464 h 577"/>
                <a:gd name="T94" fmla="*/ 2671 w 2685"/>
                <a:gd name="T95" fmla="*/ 516 h 577"/>
                <a:gd name="T96" fmla="*/ 2679 w 2685"/>
                <a:gd name="T97" fmla="*/ 577 h 5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685" h="577">
                  <a:moveTo>
                    <a:pt x="2" y="576"/>
                  </a:moveTo>
                  <a:lnTo>
                    <a:pt x="15" y="555"/>
                  </a:lnTo>
                  <a:lnTo>
                    <a:pt x="15" y="526"/>
                  </a:lnTo>
                  <a:lnTo>
                    <a:pt x="8" y="522"/>
                  </a:lnTo>
                  <a:lnTo>
                    <a:pt x="0" y="510"/>
                  </a:lnTo>
                  <a:lnTo>
                    <a:pt x="9" y="499"/>
                  </a:lnTo>
                  <a:lnTo>
                    <a:pt x="0" y="463"/>
                  </a:lnTo>
                  <a:lnTo>
                    <a:pt x="6" y="454"/>
                  </a:lnTo>
                  <a:lnTo>
                    <a:pt x="8" y="443"/>
                  </a:lnTo>
                  <a:lnTo>
                    <a:pt x="14" y="439"/>
                  </a:lnTo>
                  <a:lnTo>
                    <a:pt x="36" y="407"/>
                  </a:lnTo>
                  <a:lnTo>
                    <a:pt x="41" y="389"/>
                  </a:lnTo>
                  <a:lnTo>
                    <a:pt x="33" y="375"/>
                  </a:lnTo>
                  <a:lnTo>
                    <a:pt x="41" y="368"/>
                  </a:lnTo>
                  <a:lnTo>
                    <a:pt x="70" y="348"/>
                  </a:lnTo>
                  <a:lnTo>
                    <a:pt x="83" y="319"/>
                  </a:lnTo>
                  <a:lnTo>
                    <a:pt x="100" y="303"/>
                  </a:lnTo>
                  <a:lnTo>
                    <a:pt x="115" y="304"/>
                  </a:lnTo>
                  <a:lnTo>
                    <a:pt x="128" y="295"/>
                  </a:lnTo>
                  <a:lnTo>
                    <a:pt x="193" y="258"/>
                  </a:lnTo>
                  <a:lnTo>
                    <a:pt x="220" y="215"/>
                  </a:lnTo>
                  <a:lnTo>
                    <a:pt x="237" y="169"/>
                  </a:lnTo>
                  <a:lnTo>
                    <a:pt x="249" y="119"/>
                  </a:lnTo>
                  <a:lnTo>
                    <a:pt x="266" y="122"/>
                  </a:lnTo>
                  <a:lnTo>
                    <a:pt x="281" y="111"/>
                  </a:lnTo>
                  <a:lnTo>
                    <a:pt x="290" y="111"/>
                  </a:lnTo>
                  <a:lnTo>
                    <a:pt x="285" y="125"/>
                  </a:lnTo>
                  <a:lnTo>
                    <a:pt x="294" y="134"/>
                  </a:lnTo>
                  <a:lnTo>
                    <a:pt x="302" y="146"/>
                  </a:lnTo>
                  <a:lnTo>
                    <a:pt x="315" y="152"/>
                  </a:lnTo>
                  <a:lnTo>
                    <a:pt x="346" y="172"/>
                  </a:lnTo>
                  <a:lnTo>
                    <a:pt x="361" y="164"/>
                  </a:lnTo>
                  <a:lnTo>
                    <a:pt x="391" y="160"/>
                  </a:lnTo>
                  <a:lnTo>
                    <a:pt x="403" y="166"/>
                  </a:lnTo>
                  <a:lnTo>
                    <a:pt x="424" y="166"/>
                  </a:lnTo>
                  <a:lnTo>
                    <a:pt x="432" y="155"/>
                  </a:lnTo>
                  <a:lnTo>
                    <a:pt x="441" y="155"/>
                  </a:lnTo>
                  <a:lnTo>
                    <a:pt x="450" y="175"/>
                  </a:lnTo>
                  <a:lnTo>
                    <a:pt x="468" y="172"/>
                  </a:lnTo>
                  <a:lnTo>
                    <a:pt x="484" y="175"/>
                  </a:lnTo>
                  <a:lnTo>
                    <a:pt x="492" y="176"/>
                  </a:lnTo>
                  <a:lnTo>
                    <a:pt x="506" y="175"/>
                  </a:lnTo>
                  <a:lnTo>
                    <a:pt x="528" y="170"/>
                  </a:lnTo>
                  <a:lnTo>
                    <a:pt x="531" y="163"/>
                  </a:lnTo>
                  <a:lnTo>
                    <a:pt x="548" y="149"/>
                  </a:lnTo>
                  <a:lnTo>
                    <a:pt x="563" y="123"/>
                  </a:lnTo>
                  <a:lnTo>
                    <a:pt x="591" y="120"/>
                  </a:lnTo>
                  <a:lnTo>
                    <a:pt x="596" y="107"/>
                  </a:lnTo>
                  <a:lnTo>
                    <a:pt x="608" y="117"/>
                  </a:lnTo>
                  <a:lnTo>
                    <a:pt x="625" y="117"/>
                  </a:lnTo>
                  <a:lnTo>
                    <a:pt x="634" y="98"/>
                  </a:lnTo>
                  <a:lnTo>
                    <a:pt x="643" y="96"/>
                  </a:lnTo>
                  <a:lnTo>
                    <a:pt x="650" y="86"/>
                  </a:lnTo>
                  <a:lnTo>
                    <a:pt x="667" y="81"/>
                  </a:lnTo>
                  <a:lnTo>
                    <a:pt x="702" y="60"/>
                  </a:lnTo>
                  <a:lnTo>
                    <a:pt x="748" y="61"/>
                  </a:lnTo>
                  <a:lnTo>
                    <a:pt x="769" y="49"/>
                  </a:lnTo>
                  <a:lnTo>
                    <a:pt x="806" y="48"/>
                  </a:lnTo>
                  <a:lnTo>
                    <a:pt x="812" y="34"/>
                  </a:lnTo>
                  <a:lnTo>
                    <a:pt x="830" y="39"/>
                  </a:lnTo>
                  <a:lnTo>
                    <a:pt x="831" y="36"/>
                  </a:lnTo>
                  <a:lnTo>
                    <a:pt x="846" y="37"/>
                  </a:lnTo>
                  <a:lnTo>
                    <a:pt x="864" y="25"/>
                  </a:lnTo>
                  <a:lnTo>
                    <a:pt x="908" y="27"/>
                  </a:lnTo>
                  <a:lnTo>
                    <a:pt x="934" y="33"/>
                  </a:lnTo>
                  <a:lnTo>
                    <a:pt x="947" y="48"/>
                  </a:lnTo>
                  <a:lnTo>
                    <a:pt x="966" y="55"/>
                  </a:lnTo>
                  <a:lnTo>
                    <a:pt x="988" y="34"/>
                  </a:lnTo>
                  <a:lnTo>
                    <a:pt x="1012" y="36"/>
                  </a:lnTo>
                  <a:lnTo>
                    <a:pt x="1023" y="24"/>
                  </a:lnTo>
                  <a:lnTo>
                    <a:pt x="1032" y="21"/>
                  </a:lnTo>
                  <a:lnTo>
                    <a:pt x="1047" y="34"/>
                  </a:lnTo>
                  <a:lnTo>
                    <a:pt x="1076" y="34"/>
                  </a:lnTo>
                  <a:lnTo>
                    <a:pt x="1079" y="27"/>
                  </a:lnTo>
                  <a:lnTo>
                    <a:pt x="1086" y="21"/>
                  </a:lnTo>
                  <a:lnTo>
                    <a:pt x="1104" y="30"/>
                  </a:lnTo>
                  <a:lnTo>
                    <a:pt x="1116" y="37"/>
                  </a:lnTo>
                  <a:lnTo>
                    <a:pt x="1133" y="30"/>
                  </a:lnTo>
                  <a:lnTo>
                    <a:pt x="1162" y="34"/>
                  </a:lnTo>
                  <a:lnTo>
                    <a:pt x="1180" y="28"/>
                  </a:lnTo>
                  <a:lnTo>
                    <a:pt x="1202" y="7"/>
                  </a:lnTo>
                  <a:lnTo>
                    <a:pt x="1216" y="6"/>
                  </a:lnTo>
                  <a:lnTo>
                    <a:pt x="1231" y="0"/>
                  </a:lnTo>
                  <a:lnTo>
                    <a:pt x="1266" y="13"/>
                  </a:lnTo>
                  <a:lnTo>
                    <a:pt x="1263" y="19"/>
                  </a:lnTo>
                  <a:lnTo>
                    <a:pt x="1266" y="25"/>
                  </a:lnTo>
                  <a:lnTo>
                    <a:pt x="1263" y="39"/>
                  </a:lnTo>
                  <a:lnTo>
                    <a:pt x="1275" y="51"/>
                  </a:lnTo>
                  <a:lnTo>
                    <a:pt x="1287" y="49"/>
                  </a:lnTo>
                  <a:lnTo>
                    <a:pt x="1287" y="40"/>
                  </a:lnTo>
                  <a:lnTo>
                    <a:pt x="1302" y="37"/>
                  </a:lnTo>
                  <a:lnTo>
                    <a:pt x="1311" y="24"/>
                  </a:lnTo>
                  <a:lnTo>
                    <a:pt x="1320" y="30"/>
                  </a:lnTo>
                  <a:lnTo>
                    <a:pt x="1320" y="45"/>
                  </a:lnTo>
                  <a:lnTo>
                    <a:pt x="1309" y="55"/>
                  </a:lnTo>
                  <a:lnTo>
                    <a:pt x="1308" y="63"/>
                  </a:lnTo>
                  <a:lnTo>
                    <a:pt x="1285" y="83"/>
                  </a:lnTo>
                  <a:lnTo>
                    <a:pt x="1284" y="101"/>
                  </a:lnTo>
                  <a:lnTo>
                    <a:pt x="1288" y="122"/>
                  </a:lnTo>
                  <a:lnTo>
                    <a:pt x="1309" y="132"/>
                  </a:lnTo>
                  <a:lnTo>
                    <a:pt x="1311" y="137"/>
                  </a:lnTo>
                  <a:lnTo>
                    <a:pt x="1320" y="146"/>
                  </a:lnTo>
                  <a:lnTo>
                    <a:pt x="1326" y="172"/>
                  </a:lnTo>
                  <a:lnTo>
                    <a:pt x="1318" y="176"/>
                  </a:lnTo>
                  <a:lnTo>
                    <a:pt x="1314" y="196"/>
                  </a:lnTo>
                  <a:lnTo>
                    <a:pt x="1291" y="221"/>
                  </a:lnTo>
                  <a:lnTo>
                    <a:pt x="1260" y="237"/>
                  </a:lnTo>
                  <a:lnTo>
                    <a:pt x="1255" y="256"/>
                  </a:lnTo>
                  <a:lnTo>
                    <a:pt x="1263" y="277"/>
                  </a:lnTo>
                  <a:lnTo>
                    <a:pt x="1285" y="294"/>
                  </a:lnTo>
                  <a:lnTo>
                    <a:pt x="1290" y="289"/>
                  </a:lnTo>
                  <a:lnTo>
                    <a:pt x="1297" y="289"/>
                  </a:lnTo>
                  <a:lnTo>
                    <a:pt x="1299" y="300"/>
                  </a:lnTo>
                  <a:lnTo>
                    <a:pt x="1303" y="304"/>
                  </a:lnTo>
                  <a:lnTo>
                    <a:pt x="1318" y="294"/>
                  </a:lnTo>
                  <a:lnTo>
                    <a:pt x="1326" y="304"/>
                  </a:lnTo>
                  <a:lnTo>
                    <a:pt x="1329" y="324"/>
                  </a:lnTo>
                  <a:lnTo>
                    <a:pt x="1334" y="329"/>
                  </a:lnTo>
                  <a:lnTo>
                    <a:pt x="1347" y="324"/>
                  </a:lnTo>
                  <a:lnTo>
                    <a:pt x="1368" y="338"/>
                  </a:lnTo>
                  <a:lnTo>
                    <a:pt x="1388" y="338"/>
                  </a:lnTo>
                  <a:lnTo>
                    <a:pt x="1409" y="350"/>
                  </a:lnTo>
                  <a:lnTo>
                    <a:pt x="1429" y="356"/>
                  </a:lnTo>
                  <a:lnTo>
                    <a:pt x="1468" y="348"/>
                  </a:lnTo>
                  <a:lnTo>
                    <a:pt x="1506" y="353"/>
                  </a:lnTo>
                  <a:lnTo>
                    <a:pt x="1551" y="384"/>
                  </a:lnTo>
                  <a:lnTo>
                    <a:pt x="1585" y="389"/>
                  </a:lnTo>
                  <a:lnTo>
                    <a:pt x="1604" y="405"/>
                  </a:lnTo>
                  <a:lnTo>
                    <a:pt x="1605" y="436"/>
                  </a:lnTo>
                  <a:lnTo>
                    <a:pt x="1616" y="461"/>
                  </a:lnTo>
                  <a:lnTo>
                    <a:pt x="1634" y="472"/>
                  </a:lnTo>
                  <a:lnTo>
                    <a:pt x="1691" y="476"/>
                  </a:lnTo>
                  <a:lnTo>
                    <a:pt x="1744" y="491"/>
                  </a:lnTo>
                  <a:lnTo>
                    <a:pt x="1777" y="504"/>
                  </a:lnTo>
                  <a:lnTo>
                    <a:pt x="1810" y="534"/>
                  </a:lnTo>
                  <a:lnTo>
                    <a:pt x="1836" y="541"/>
                  </a:lnTo>
                  <a:lnTo>
                    <a:pt x="1869" y="535"/>
                  </a:lnTo>
                  <a:lnTo>
                    <a:pt x="1899" y="501"/>
                  </a:lnTo>
                  <a:lnTo>
                    <a:pt x="1901" y="472"/>
                  </a:lnTo>
                  <a:lnTo>
                    <a:pt x="1884" y="436"/>
                  </a:lnTo>
                  <a:lnTo>
                    <a:pt x="1887" y="415"/>
                  </a:lnTo>
                  <a:lnTo>
                    <a:pt x="1905" y="387"/>
                  </a:lnTo>
                  <a:lnTo>
                    <a:pt x="1919" y="372"/>
                  </a:lnTo>
                  <a:lnTo>
                    <a:pt x="1961" y="353"/>
                  </a:lnTo>
                  <a:lnTo>
                    <a:pt x="2017" y="339"/>
                  </a:lnTo>
                  <a:lnTo>
                    <a:pt x="2056" y="348"/>
                  </a:lnTo>
                  <a:lnTo>
                    <a:pt x="2080" y="362"/>
                  </a:lnTo>
                  <a:lnTo>
                    <a:pt x="2089" y="365"/>
                  </a:lnTo>
                  <a:lnTo>
                    <a:pt x="2092" y="369"/>
                  </a:lnTo>
                  <a:lnTo>
                    <a:pt x="2092" y="378"/>
                  </a:lnTo>
                  <a:lnTo>
                    <a:pt x="2082" y="378"/>
                  </a:lnTo>
                  <a:lnTo>
                    <a:pt x="2080" y="386"/>
                  </a:lnTo>
                  <a:lnTo>
                    <a:pt x="2098" y="396"/>
                  </a:lnTo>
                  <a:lnTo>
                    <a:pt x="2122" y="396"/>
                  </a:lnTo>
                  <a:lnTo>
                    <a:pt x="2147" y="410"/>
                  </a:lnTo>
                  <a:lnTo>
                    <a:pt x="2186" y="413"/>
                  </a:lnTo>
                  <a:lnTo>
                    <a:pt x="2210" y="419"/>
                  </a:lnTo>
                  <a:lnTo>
                    <a:pt x="2213" y="436"/>
                  </a:lnTo>
                  <a:lnTo>
                    <a:pt x="2233" y="445"/>
                  </a:lnTo>
                  <a:lnTo>
                    <a:pt x="2270" y="433"/>
                  </a:lnTo>
                  <a:lnTo>
                    <a:pt x="2347" y="458"/>
                  </a:lnTo>
                  <a:lnTo>
                    <a:pt x="2377" y="470"/>
                  </a:lnTo>
                  <a:lnTo>
                    <a:pt x="2389" y="466"/>
                  </a:lnTo>
                  <a:lnTo>
                    <a:pt x="2406" y="479"/>
                  </a:lnTo>
                  <a:lnTo>
                    <a:pt x="2429" y="476"/>
                  </a:lnTo>
                  <a:lnTo>
                    <a:pt x="2466" y="496"/>
                  </a:lnTo>
                  <a:lnTo>
                    <a:pt x="2481" y="494"/>
                  </a:lnTo>
                  <a:lnTo>
                    <a:pt x="2512" y="479"/>
                  </a:lnTo>
                  <a:lnTo>
                    <a:pt x="2533" y="463"/>
                  </a:lnTo>
                  <a:lnTo>
                    <a:pt x="2546" y="449"/>
                  </a:lnTo>
                  <a:lnTo>
                    <a:pt x="2578" y="440"/>
                  </a:lnTo>
                  <a:lnTo>
                    <a:pt x="2585" y="442"/>
                  </a:lnTo>
                  <a:lnTo>
                    <a:pt x="2576" y="446"/>
                  </a:lnTo>
                  <a:lnTo>
                    <a:pt x="2560" y="452"/>
                  </a:lnTo>
                  <a:lnTo>
                    <a:pt x="2567" y="464"/>
                  </a:lnTo>
                  <a:lnTo>
                    <a:pt x="2576" y="460"/>
                  </a:lnTo>
                  <a:lnTo>
                    <a:pt x="2593" y="448"/>
                  </a:lnTo>
                  <a:lnTo>
                    <a:pt x="2596" y="442"/>
                  </a:lnTo>
                  <a:lnTo>
                    <a:pt x="2588" y="440"/>
                  </a:lnTo>
                  <a:lnTo>
                    <a:pt x="2599" y="436"/>
                  </a:lnTo>
                  <a:lnTo>
                    <a:pt x="2607" y="436"/>
                  </a:lnTo>
                  <a:lnTo>
                    <a:pt x="2628" y="449"/>
                  </a:lnTo>
                  <a:lnTo>
                    <a:pt x="2646" y="445"/>
                  </a:lnTo>
                  <a:lnTo>
                    <a:pt x="2667" y="457"/>
                  </a:lnTo>
                  <a:lnTo>
                    <a:pt x="2677" y="463"/>
                  </a:lnTo>
                  <a:lnTo>
                    <a:pt x="2677" y="466"/>
                  </a:lnTo>
                  <a:lnTo>
                    <a:pt x="2659" y="461"/>
                  </a:lnTo>
                  <a:lnTo>
                    <a:pt x="2658" y="464"/>
                  </a:lnTo>
                  <a:lnTo>
                    <a:pt x="2659" y="473"/>
                  </a:lnTo>
                  <a:lnTo>
                    <a:pt x="2676" y="475"/>
                  </a:lnTo>
                  <a:lnTo>
                    <a:pt x="2679" y="487"/>
                  </a:lnTo>
                  <a:lnTo>
                    <a:pt x="2671" y="516"/>
                  </a:lnTo>
                  <a:lnTo>
                    <a:pt x="2673" y="532"/>
                  </a:lnTo>
                  <a:lnTo>
                    <a:pt x="2685" y="547"/>
                  </a:lnTo>
                  <a:lnTo>
                    <a:pt x="2682" y="559"/>
                  </a:lnTo>
                  <a:lnTo>
                    <a:pt x="2679" y="577"/>
                  </a:lnTo>
                  <a:lnTo>
                    <a:pt x="2" y="576"/>
                  </a:lnTo>
                  <a:lnTo>
                    <a:pt x="2" y="57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019" name="Freeform 365"/>
            <p:cNvSpPr>
              <a:spLocks/>
            </p:cNvSpPr>
            <p:nvPr userDrawn="1"/>
          </p:nvSpPr>
          <p:spPr bwMode="auto">
            <a:xfrm>
              <a:off x="4111" y="4012"/>
              <a:ext cx="20" cy="20"/>
            </a:xfrm>
            <a:custGeom>
              <a:avLst/>
              <a:gdLst>
                <a:gd name="T0" fmla="*/ 12 w 20"/>
                <a:gd name="T1" fmla="*/ 0 h 20"/>
                <a:gd name="T2" fmla="*/ 0 w 20"/>
                <a:gd name="T3" fmla="*/ 11 h 20"/>
                <a:gd name="T4" fmla="*/ 3 w 20"/>
                <a:gd name="T5" fmla="*/ 20 h 20"/>
                <a:gd name="T6" fmla="*/ 11 w 20"/>
                <a:gd name="T7" fmla="*/ 20 h 20"/>
                <a:gd name="T8" fmla="*/ 20 w 20"/>
                <a:gd name="T9" fmla="*/ 11 h 20"/>
                <a:gd name="T10" fmla="*/ 12 w 20"/>
                <a:gd name="T11" fmla="*/ 0 h 20"/>
                <a:gd name="T12" fmla="*/ 12 w 20"/>
                <a:gd name="T13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20">
                  <a:moveTo>
                    <a:pt x="12" y="0"/>
                  </a:moveTo>
                  <a:lnTo>
                    <a:pt x="0" y="11"/>
                  </a:lnTo>
                  <a:lnTo>
                    <a:pt x="3" y="20"/>
                  </a:lnTo>
                  <a:lnTo>
                    <a:pt x="11" y="20"/>
                  </a:lnTo>
                  <a:lnTo>
                    <a:pt x="20" y="11"/>
                  </a:lnTo>
                  <a:lnTo>
                    <a:pt x="12" y="0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020" name="Freeform 366"/>
            <p:cNvSpPr>
              <a:spLocks/>
            </p:cNvSpPr>
            <p:nvPr userDrawn="1"/>
          </p:nvSpPr>
          <p:spPr bwMode="auto">
            <a:xfrm>
              <a:off x="4126" y="3959"/>
              <a:ext cx="10" cy="6"/>
            </a:xfrm>
            <a:custGeom>
              <a:avLst/>
              <a:gdLst>
                <a:gd name="T0" fmla="*/ 10 w 10"/>
                <a:gd name="T1" fmla="*/ 0 h 6"/>
                <a:gd name="T2" fmla="*/ 2 w 10"/>
                <a:gd name="T3" fmla="*/ 0 h 6"/>
                <a:gd name="T4" fmla="*/ 0 w 10"/>
                <a:gd name="T5" fmla="*/ 5 h 6"/>
                <a:gd name="T6" fmla="*/ 5 w 10"/>
                <a:gd name="T7" fmla="*/ 6 h 6"/>
                <a:gd name="T8" fmla="*/ 10 w 10"/>
                <a:gd name="T9" fmla="*/ 0 h 6"/>
                <a:gd name="T10" fmla="*/ 10 w 10"/>
                <a:gd name="T11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" h="6">
                  <a:moveTo>
                    <a:pt x="10" y="0"/>
                  </a:moveTo>
                  <a:lnTo>
                    <a:pt x="2" y="0"/>
                  </a:lnTo>
                  <a:lnTo>
                    <a:pt x="0" y="5"/>
                  </a:lnTo>
                  <a:lnTo>
                    <a:pt x="5" y="6"/>
                  </a:lnTo>
                  <a:lnTo>
                    <a:pt x="10" y="0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021" name="Freeform 367"/>
            <p:cNvSpPr>
              <a:spLocks/>
            </p:cNvSpPr>
            <p:nvPr userDrawn="1"/>
          </p:nvSpPr>
          <p:spPr bwMode="auto">
            <a:xfrm>
              <a:off x="4143" y="3947"/>
              <a:ext cx="6" cy="11"/>
            </a:xfrm>
            <a:custGeom>
              <a:avLst/>
              <a:gdLst>
                <a:gd name="T0" fmla="*/ 6 w 6"/>
                <a:gd name="T1" fmla="*/ 0 h 11"/>
                <a:gd name="T2" fmla="*/ 0 w 6"/>
                <a:gd name="T3" fmla="*/ 2 h 11"/>
                <a:gd name="T4" fmla="*/ 0 w 6"/>
                <a:gd name="T5" fmla="*/ 8 h 11"/>
                <a:gd name="T6" fmla="*/ 5 w 6"/>
                <a:gd name="T7" fmla="*/ 11 h 11"/>
                <a:gd name="T8" fmla="*/ 6 w 6"/>
                <a:gd name="T9" fmla="*/ 0 h 11"/>
                <a:gd name="T10" fmla="*/ 6 w 6"/>
                <a:gd name="T11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11">
                  <a:moveTo>
                    <a:pt x="6" y="0"/>
                  </a:moveTo>
                  <a:lnTo>
                    <a:pt x="0" y="2"/>
                  </a:lnTo>
                  <a:lnTo>
                    <a:pt x="0" y="8"/>
                  </a:lnTo>
                  <a:lnTo>
                    <a:pt x="5" y="11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022" name="Freeform 368"/>
            <p:cNvSpPr>
              <a:spLocks/>
            </p:cNvSpPr>
            <p:nvPr userDrawn="1"/>
          </p:nvSpPr>
          <p:spPr bwMode="auto">
            <a:xfrm>
              <a:off x="2341" y="4097"/>
              <a:ext cx="24" cy="16"/>
            </a:xfrm>
            <a:custGeom>
              <a:avLst/>
              <a:gdLst>
                <a:gd name="T0" fmla="*/ 24 w 24"/>
                <a:gd name="T1" fmla="*/ 1 h 16"/>
                <a:gd name="T2" fmla="*/ 12 w 24"/>
                <a:gd name="T3" fmla="*/ 4 h 16"/>
                <a:gd name="T4" fmla="*/ 1 w 24"/>
                <a:gd name="T5" fmla="*/ 0 h 16"/>
                <a:gd name="T6" fmla="*/ 0 w 24"/>
                <a:gd name="T7" fmla="*/ 4 h 16"/>
                <a:gd name="T8" fmla="*/ 4 w 24"/>
                <a:gd name="T9" fmla="*/ 13 h 16"/>
                <a:gd name="T10" fmla="*/ 22 w 24"/>
                <a:gd name="T11" fmla="*/ 16 h 16"/>
                <a:gd name="T12" fmla="*/ 24 w 24"/>
                <a:gd name="T13" fmla="*/ 1 h 16"/>
                <a:gd name="T14" fmla="*/ 24 w 24"/>
                <a:gd name="T15" fmla="*/ 1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16">
                  <a:moveTo>
                    <a:pt x="24" y="1"/>
                  </a:moveTo>
                  <a:lnTo>
                    <a:pt x="12" y="4"/>
                  </a:lnTo>
                  <a:lnTo>
                    <a:pt x="1" y="0"/>
                  </a:lnTo>
                  <a:lnTo>
                    <a:pt x="0" y="4"/>
                  </a:lnTo>
                  <a:lnTo>
                    <a:pt x="4" y="13"/>
                  </a:lnTo>
                  <a:lnTo>
                    <a:pt x="22" y="16"/>
                  </a:lnTo>
                  <a:lnTo>
                    <a:pt x="24" y="1"/>
                  </a:lnTo>
                  <a:lnTo>
                    <a:pt x="24" y="1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023" name="Freeform 369"/>
            <p:cNvSpPr>
              <a:spLocks/>
            </p:cNvSpPr>
            <p:nvPr userDrawn="1"/>
          </p:nvSpPr>
          <p:spPr bwMode="auto">
            <a:xfrm>
              <a:off x="2386" y="4124"/>
              <a:ext cx="6" cy="7"/>
            </a:xfrm>
            <a:custGeom>
              <a:avLst/>
              <a:gdLst>
                <a:gd name="T0" fmla="*/ 3 w 6"/>
                <a:gd name="T1" fmla="*/ 0 h 7"/>
                <a:gd name="T2" fmla="*/ 0 w 6"/>
                <a:gd name="T3" fmla="*/ 1 h 7"/>
                <a:gd name="T4" fmla="*/ 0 w 6"/>
                <a:gd name="T5" fmla="*/ 7 h 7"/>
                <a:gd name="T6" fmla="*/ 6 w 6"/>
                <a:gd name="T7" fmla="*/ 7 h 7"/>
                <a:gd name="T8" fmla="*/ 3 w 6"/>
                <a:gd name="T9" fmla="*/ 0 h 7"/>
                <a:gd name="T10" fmla="*/ 3 w 6"/>
                <a:gd name="T11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7">
                  <a:moveTo>
                    <a:pt x="3" y="0"/>
                  </a:moveTo>
                  <a:lnTo>
                    <a:pt x="0" y="1"/>
                  </a:lnTo>
                  <a:lnTo>
                    <a:pt x="0" y="7"/>
                  </a:lnTo>
                  <a:lnTo>
                    <a:pt x="6" y="7"/>
                  </a:lnTo>
                  <a:lnTo>
                    <a:pt x="3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024" name="Freeform 370"/>
            <p:cNvSpPr>
              <a:spLocks/>
            </p:cNvSpPr>
            <p:nvPr userDrawn="1"/>
          </p:nvSpPr>
          <p:spPr bwMode="auto">
            <a:xfrm>
              <a:off x="2380" y="4082"/>
              <a:ext cx="6" cy="3"/>
            </a:xfrm>
            <a:custGeom>
              <a:avLst/>
              <a:gdLst>
                <a:gd name="T0" fmla="*/ 0 w 6"/>
                <a:gd name="T1" fmla="*/ 0 h 3"/>
                <a:gd name="T2" fmla="*/ 4 w 6"/>
                <a:gd name="T3" fmla="*/ 3 h 3"/>
                <a:gd name="T4" fmla="*/ 6 w 6"/>
                <a:gd name="T5" fmla="*/ 0 h 3"/>
                <a:gd name="T6" fmla="*/ 0 w 6"/>
                <a:gd name="T7" fmla="*/ 0 h 3"/>
                <a:gd name="T8" fmla="*/ 0 w 6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3">
                  <a:moveTo>
                    <a:pt x="0" y="0"/>
                  </a:moveTo>
                  <a:lnTo>
                    <a:pt x="4" y="3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025" name="Freeform 371"/>
            <p:cNvSpPr>
              <a:spLocks/>
            </p:cNvSpPr>
            <p:nvPr userDrawn="1"/>
          </p:nvSpPr>
          <p:spPr bwMode="auto">
            <a:xfrm>
              <a:off x="1795" y="3709"/>
              <a:ext cx="40" cy="11"/>
            </a:xfrm>
            <a:custGeom>
              <a:avLst/>
              <a:gdLst>
                <a:gd name="T0" fmla="*/ 1 w 40"/>
                <a:gd name="T1" fmla="*/ 0 h 11"/>
                <a:gd name="T2" fmla="*/ 0 w 40"/>
                <a:gd name="T3" fmla="*/ 4 h 11"/>
                <a:gd name="T4" fmla="*/ 18 w 40"/>
                <a:gd name="T5" fmla="*/ 11 h 11"/>
                <a:gd name="T6" fmla="*/ 34 w 40"/>
                <a:gd name="T7" fmla="*/ 9 h 11"/>
                <a:gd name="T8" fmla="*/ 40 w 40"/>
                <a:gd name="T9" fmla="*/ 6 h 11"/>
                <a:gd name="T10" fmla="*/ 36 w 40"/>
                <a:gd name="T11" fmla="*/ 0 h 11"/>
                <a:gd name="T12" fmla="*/ 16 w 40"/>
                <a:gd name="T13" fmla="*/ 4 h 11"/>
                <a:gd name="T14" fmla="*/ 1 w 40"/>
                <a:gd name="T15" fmla="*/ 0 h 11"/>
                <a:gd name="T16" fmla="*/ 1 w 40"/>
                <a:gd name="T17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0" h="11">
                  <a:moveTo>
                    <a:pt x="1" y="0"/>
                  </a:moveTo>
                  <a:lnTo>
                    <a:pt x="0" y="4"/>
                  </a:lnTo>
                  <a:lnTo>
                    <a:pt x="18" y="11"/>
                  </a:lnTo>
                  <a:lnTo>
                    <a:pt x="34" y="9"/>
                  </a:lnTo>
                  <a:lnTo>
                    <a:pt x="40" y="6"/>
                  </a:lnTo>
                  <a:lnTo>
                    <a:pt x="36" y="0"/>
                  </a:lnTo>
                  <a:lnTo>
                    <a:pt x="16" y="4"/>
                  </a:lnTo>
                  <a:lnTo>
                    <a:pt x="1" y="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026" name="Freeform 372"/>
            <p:cNvSpPr>
              <a:spLocks/>
            </p:cNvSpPr>
            <p:nvPr userDrawn="1"/>
          </p:nvSpPr>
          <p:spPr bwMode="auto">
            <a:xfrm>
              <a:off x="1835" y="3775"/>
              <a:ext cx="9" cy="8"/>
            </a:xfrm>
            <a:custGeom>
              <a:avLst/>
              <a:gdLst>
                <a:gd name="T0" fmla="*/ 9 w 9"/>
                <a:gd name="T1" fmla="*/ 0 h 8"/>
                <a:gd name="T2" fmla="*/ 2 w 9"/>
                <a:gd name="T3" fmla="*/ 0 h 8"/>
                <a:gd name="T4" fmla="*/ 0 w 9"/>
                <a:gd name="T5" fmla="*/ 6 h 8"/>
                <a:gd name="T6" fmla="*/ 8 w 9"/>
                <a:gd name="T7" fmla="*/ 8 h 8"/>
                <a:gd name="T8" fmla="*/ 9 w 9"/>
                <a:gd name="T9" fmla="*/ 0 h 8"/>
                <a:gd name="T10" fmla="*/ 9 w 9"/>
                <a:gd name="T11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8">
                  <a:moveTo>
                    <a:pt x="9" y="0"/>
                  </a:moveTo>
                  <a:lnTo>
                    <a:pt x="2" y="0"/>
                  </a:lnTo>
                  <a:lnTo>
                    <a:pt x="0" y="6"/>
                  </a:lnTo>
                  <a:lnTo>
                    <a:pt x="8" y="8"/>
                  </a:lnTo>
                  <a:lnTo>
                    <a:pt x="9" y="0"/>
                  </a:lnTo>
                  <a:lnTo>
                    <a:pt x="9" y="0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027" name="Freeform 373"/>
            <p:cNvSpPr>
              <a:spLocks/>
            </p:cNvSpPr>
            <p:nvPr userDrawn="1"/>
          </p:nvSpPr>
          <p:spPr bwMode="auto">
            <a:xfrm>
              <a:off x="1695" y="3632"/>
              <a:ext cx="21" cy="15"/>
            </a:xfrm>
            <a:custGeom>
              <a:avLst/>
              <a:gdLst>
                <a:gd name="T0" fmla="*/ 20 w 21"/>
                <a:gd name="T1" fmla="*/ 15 h 15"/>
                <a:gd name="T2" fmla="*/ 9 w 21"/>
                <a:gd name="T3" fmla="*/ 14 h 15"/>
                <a:gd name="T4" fmla="*/ 0 w 21"/>
                <a:gd name="T5" fmla="*/ 6 h 15"/>
                <a:gd name="T6" fmla="*/ 11 w 21"/>
                <a:gd name="T7" fmla="*/ 0 h 15"/>
                <a:gd name="T8" fmla="*/ 21 w 21"/>
                <a:gd name="T9" fmla="*/ 3 h 15"/>
                <a:gd name="T10" fmla="*/ 20 w 21"/>
                <a:gd name="T11" fmla="*/ 15 h 15"/>
                <a:gd name="T12" fmla="*/ 20 w 21"/>
                <a:gd name="T13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15">
                  <a:moveTo>
                    <a:pt x="20" y="15"/>
                  </a:moveTo>
                  <a:lnTo>
                    <a:pt x="9" y="14"/>
                  </a:lnTo>
                  <a:lnTo>
                    <a:pt x="0" y="6"/>
                  </a:lnTo>
                  <a:lnTo>
                    <a:pt x="11" y="0"/>
                  </a:lnTo>
                  <a:lnTo>
                    <a:pt x="21" y="3"/>
                  </a:lnTo>
                  <a:lnTo>
                    <a:pt x="20" y="15"/>
                  </a:lnTo>
                  <a:lnTo>
                    <a:pt x="20" y="15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028" name="Freeform 374"/>
            <p:cNvSpPr>
              <a:spLocks/>
            </p:cNvSpPr>
            <p:nvPr userDrawn="1"/>
          </p:nvSpPr>
          <p:spPr bwMode="auto">
            <a:xfrm>
              <a:off x="1644" y="3643"/>
              <a:ext cx="25" cy="12"/>
            </a:xfrm>
            <a:custGeom>
              <a:avLst/>
              <a:gdLst>
                <a:gd name="T0" fmla="*/ 25 w 25"/>
                <a:gd name="T1" fmla="*/ 7 h 12"/>
                <a:gd name="T2" fmla="*/ 18 w 25"/>
                <a:gd name="T3" fmla="*/ 1 h 12"/>
                <a:gd name="T4" fmla="*/ 7 w 25"/>
                <a:gd name="T5" fmla="*/ 0 h 12"/>
                <a:gd name="T6" fmla="*/ 0 w 25"/>
                <a:gd name="T7" fmla="*/ 3 h 12"/>
                <a:gd name="T8" fmla="*/ 12 w 25"/>
                <a:gd name="T9" fmla="*/ 12 h 12"/>
                <a:gd name="T10" fmla="*/ 24 w 25"/>
                <a:gd name="T11" fmla="*/ 12 h 12"/>
                <a:gd name="T12" fmla="*/ 25 w 25"/>
                <a:gd name="T13" fmla="*/ 7 h 12"/>
                <a:gd name="T14" fmla="*/ 25 w 25"/>
                <a:gd name="T15" fmla="*/ 7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" h="12">
                  <a:moveTo>
                    <a:pt x="25" y="7"/>
                  </a:moveTo>
                  <a:lnTo>
                    <a:pt x="18" y="1"/>
                  </a:lnTo>
                  <a:lnTo>
                    <a:pt x="7" y="0"/>
                  </a:lnTo>
                  <a:lnTo>
                    <a:pt x="0" y="3"/>
                  </a:lnTo>
                  <a:lnTo>
                    <a:pt x="12" y="12"/>
                  </a:lnTo>
                  <a:lnTo>
                    <a:pt x="24" y="12"/>
                  </a:lnTo>
                  <a:lnTo>
                    <a:pt x="25" y="7"/>
                  </a:lnTo>
                  <a:lnTo>
                    <a:pt x="25" y="7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029" name="Freeform 375"/>
            <p:cNvSpPr>
              <a:spLocks/>
            </p:cNvSpPr>
            <p:nvPr userDrawn="1"/>
          </p:nvSpPr>
          <p:spPr bwMode="auto">
            <a:xfrm>
              <a:off x="1612" y="3649"/>
              <a:ext cx="15" cy="10"/>
            </a:xfrm>
            <a:custGeom>
              <a:avLst/>
              <a:gdLst>
                <a:gd name="T0" fmla="*/ 15 w 15"/>
                <a:gd name="T1" fmla="*/ 7 h 10"/>
                <a:gd name="T2" fmla="*/ 8 w 15"/>
                <a:gd name="T3" fmla="*/ 0 h 10"/>
                <a:gd name="T4" fmla="*/ 0 w 15"/>
                <a:gd name="T5" fmla="*/ 3 h 10"/>
                <a:gd name="T6" fmla="*/ 2 w 15"/>
                <a:gd name="T7" fmla="*/ 10 h 10"/>
                <a:gd name="T8" fmla="*/ 14 w 15"/>
                <a:gd name="T9" fmla="*/ 10 h 10"/>
                <a:gd name="T10" fmla="*/ 15 w 15"/>
                <a:gd name="T11" fmla="*/ 7 h 10"/>
                <a:gd name="T12" fmla="*/ 15 w 15"/>
                <a:gd name="T13" fmla="*/ 7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10">
                  <a:moveTo>
                    <a:pt x="15" y="7"/>
                  </a:moveTo>
                  <a:lnTo>
                    <a:pt x="8" y="0"/>
                  </a:lnTo>
                  <a:lnTo>
                    <a:pt x="0" y="3"/>
                  </a:lnTo>
                  <a:lnTo>
                    <a:pt x="2" y="10"/>
                  </a:lnTo>
                  <a:lnTo>
                    <a:pt x="14" y="10"/>
                  </a:lnTo>
                  <a:lnTo>
                    <a:pt x="15" y="7"/>
                  </a:lnTo>
                  <a:lnTo>
                    <a:pt x="15" y="7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030" name="Freeform 376"/>
            <p:cNvSpPr>
              <a:spLocks/>
            </p:cNvSpPr>
            <p:nvPr userDrawn="1"/>
          </p:nvSpPr>
          <p:spPr bwMode="auto">
            <a:xfrm>
              <a:off x="1629" y="3659"/>
              <a:ext cx="18" cy="9"/>
            </a:xfrm>
            <a:custGeom>
              <a:avLst/>
              <a:gdLst>
                <a:gd name="T0" fmla="*/ 18 w 18"/>
                <a:gd name="T1" fmla="*/ 3 h 9"/>
                <a:gd name="T2" fmla="*/ 6 w 18"/>
                <a:gd name="T3" fmla="*/ 0 h 9"/>
                <a:gd name="T4" fmla="*/ 0 w 18"/>
                <a:gd name="T5" fmla="*/ 2 h 9"/>
                <a:gd name="T6" fmla="*/ 3 w 18"/>
                <a:gd name="T7" fmla="*/ 5 h 9"/>
                <a:gd name="T8" fmla="*/ 12 w 18"/>
                <a:gd name="T9" fmla="*/ 9 h 9"/>
                <a:gd name="T10" fmla="*/ 18 w 18"/>
                <a:gd name="T11" fmla="*/ 3 h 9"/>
                <a:gd name="T12" fmla="*/ 18 w 18"/>
                <a:gd name="T13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" h="9">
                  <a:moveTo>
                    <a:pt x="18" y="3"/>
                  </a:moveTo>
                  <a:lnTo>
                    <a:pt x="6" y="0"/>
                  </a:lnTo>
                  <a:lnTo>
                    <a:pt x="0" y="2"/>
                  </a:lnTo>
                  <a:lnTo>
                    <a:pt x="3" y="5"/>
                  </a:lnTo>
                  <a:lnTo>
                    <a:pt x="12" y="9"/>
                  </a:lnTo>
                  <a:lnTo>
                    <a:pt x="18" y="3"/>
                  </a:lnTo>
                  <a:lnTo>
                    <a:pt x="18" y="3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031" name="Freeform 383"/>
            <p:cNvSpPr>
              <a:spLocks/>
            </p:cNvSpPr>
            <p:nvPr userDrawn="1"/>
          </p:nvSpPr>
          <p:spPr bwMode="auto">
            <a:xfrm>
              <a:off x="1917" y="65"/>
              <a:ext cx="18" cy="22"/>
            </a:xfrm>
            <a:custGeom>
              <a:avLst/>
              <a:gdLst>
                <a:gd name="T0" fmla="*/ 12 w 18"/>
                <a:gd name="T1" fmla="*/ 0 h 22"/>
                <a:gd name="T2" fmla="*/ 0 w 18"/>
                <a:gd name="T3" fmla="*/ 8 h 22"/>
                <a:gd name="T4" fmla="*/ 4 w 18"/>
                <a:gd name="T5" fmla="*/ 22 h 22"/>
                <a:gd name="T6" fmla="*/ 16 w 18"/>
                <a:gd name="T7" fmla="*/ 17 h 22"/>
                <a:gd name="T8" fmla="*/ 18 w 18"/>
                <a:gd name="T9" fmla="*/ 8 h 22"/>
                <a:gd name="T10" fmla="*/ 12 w 18"/>
                <a:gd name="T11" fmla="*/ 0 h 22"/>
                <a:gd name="T12" fmla="*/ 12 w 18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" h="22">
                  <a:moveTo>
                    <a:pt x="12" y="0"/>
                  </a:moveTo>
                  <a:lnTo>
                    <a:pt x="0" y="8"/>
                  </a:lnTo>
                  <a:lnTo>
                    <a:pt x="4" y="22"/>
                  </a:lnTo>
                  <a:lnTo>
                    <a:pt x="16" y="17"/>
                  </a:lnTo>
                  <a:lnTo>
                    <a:pt x="18" y="8"/>
                  </a:lnTo>
                  <a:lnTo>
                    <a:pt x="12" y="0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032" name="Freeform 387"/>
            <p:cNvSpPr>
              <a:spLocks/>
            </p:cNvSpPr>
            <p:nvPr userDrawn="1"/>
          </p:nvSpPr>
          <p:spPr bwMode="auto">
            <a:xfrm>
              <a:off x="1893" y="603"/>
              <a:ext cx="706" cy="475"/>
            </a:xfrm>
            <a:custGeom>
              <a:avLst/>
              <a:gdLst>
                <a:gd name="T0" fmla="*/ 132 w 706"/>
                <a:gd name="T1" fmla="*/ 24 h 475"/>
                <a:gd name="T2" fmla="*/ 93 w 706"/>
                <a:gd name="T3" fmla="*/ 37 h 475"/>
                <a:gd name="T4" fmla="*/ 123 w 706"/>
                <a:gd name="T5" fmla="*/ 43 h 475"/>
                <a:gd name="T6" fmla="*/ 128 w 706"/>
                <a:gd name="T7" fmla="*/ 78 h 475"/>
                <a:gd name="T8" fmla="*/ 126 w 706"/>
                <a:gd name="T9" fmla="*/ 110 h 475"/>
                <a:gd name="T10" fmla="*/ 107 w 706"/>
                <a:gd name="T11" fmla="*/ 98 h 475"/>
                <a:gd name="T12" fmla="*/ 78 w 706"/>
                <a:gd name="T13" fmla="*/ 82 h 475"/>
                <a:gd name="T14" fmla="*/ 63 w 706"/>
                <a:gd name="T15" fmla="*/ 95 h 475"/>
                <a:gd name="T16" fmla="*/ 49 w 706"/>
                <a:gd name="T17" fmla="*/ 111 h 475"/>
                <a:gd name="T18" fmla="*/ 62 w 706"/>
                <a:gd name="T19" fmla="*/ 150 h 475"/>
                <a:gd name="T20" fmla="*/ 48 w 706"/>
                <a:gd name="T21" fmla="*/ 150 h 475"/>
                <a:gd name="T22" fmla="*/ 12 w 706"/>
                <a:gd name="T23" fmla="*/ 165 h 475"/>
                <a:gd name="T24" fmla="*/ 87 w 706"/>
                <a:gd name="T25" fmla="*/ 170 h 475"/>
                <a:gd name="T26" fmla="*/ 146 w 706"/>
                <a:gd name="T27" fmla="*/ 173 h 475"/>
                <a:gd name="T28" fmla="*/ 137 w 706"/>
                <a:gd name="T29" fmla="*/ 224 h 475"/>
                <a:gd name="T30" fmla="*/ 169 w 706"/>
                <a:gd name="T31" fmla="*/ 244 h 475"/>
                <a:gd name="T32" fmla="*/ 116 w 706"/>
                <a:gd name="T33" fmla="*/ 238 h 475"/>
                <a:gd name="T34" fmla="*/ 40 w 706"/>
                <a:gd name="T35" fmla="*/ 277 h 475"/>
                <a:gd name="T36" fmla="*/ 89 w 706"/>
                <a:gd name="T37" fmla="*/ 268 h 475"/>
                <a:gd name="T38" fmla="*/ 141 w 706"/>
                <a:gd name="T39" fmla="*/ 313 h 475"/>
                <a:gd name="T40" fmla="*/ 167 w 706"/>
                <a:gd name="T41" fmla="*/ 324 h 475"/>
                <a:gd name="T42" fmla="*/ 196 w 706"/>
                <a:gd name="T43" fmla="*/ 337 h 475"/>
                <a:gd name="T44" fmla="*/ 119 w 706"/>
                <a:gd name="T45" fmla="*/ 386 h 475"/>
                <a:gd name="T46" fmla="*/ 143 w 706"/>
                <a:gd name="T47" fmla="*/ 414 h 475"/>
                <a:gd name="T48" fmla="*/ 217 w 706"/>
                <a:gd name="T49" fmla="*/ 399 h 475"/>
                <a:gd name="T50" fmla="*/ 270 w 706"/>
                <a:gd name="T51" fmla="*/ 446 h 475"/>
                <a:gd name="T52" fmla="*/ 439 w 706"/>
                <a:gd name="T53" fmla="*/ 439 h 475"/>
                <a:gd name="T54" fmla="*/ 520 w 706"/>
                <a:gd name="T55" fmla="*/ 402 h 475"/>
                <a:gd name="T56" fmla="*/ 582 w 706"/>
                <a:gd name="T57" fmla="*/ 331 h 475"/>
                <a:gd name="T58" fmla="*/ 598 w 706"/>
                <a:gd name="T59" fmla="*/ 351 h 475"/>
                <a:gd name="T60" fmla="*/ 632 w 706"/>
                <a:gd name="T61" fmla="*/ 331 h 475"/>
                <a:gd name="T62" fmla="*/ 636 w 706"/>
                <a:gd name="T63" fmla="*/ 289 h 475"/>
                <a:gd name="T64" fmla="*/ 654 w 706"/>
                <a:gd name="T65" fmla="*/ 273 h 475"/>
                <a:gd name="T66" fmla="*/ 678 w 706"/>
                <a:gd name="T67" fmla="*/ 264 h 475"/>
                <a:gd name="T68" fmla="*/ 701 w 706"/>
                <a:gd name="T69" fmla="*/ 221 h 475"/>
                <a:gd name="T70" fmla="*/ 690 w 706"/>
                <a:gd name="T71" fmla="*/ 217 h 475"/>
                <a:gd name="T72" fmla="*/ 683 w 706"/>
                <a:gd name="T73" fmla="*/ 162 h 475"/>
                <a:gd name="T74" fmla="*/ 665 w 706"/>
                <a:gd name="T75" fmla="*/ 143 h 475"/>
                <a:gd name="T76" fmla="*/ 648 w 706"/>
                <a:gd name="T77" fmla="*/ 137 h 475"/>
                <a:gd name="T78" fmla="*/ 615 w 706"/>
                <a:gd name="T79" fmla="*/ 129 h 475"/>
                <a:gd name="T80" fmla="*/ 609 w 706"/>
                <a:gd name="T81" fmla="*/ 84 h 475"/>
                <a:gd name="T82" fmla="*/ 611 w 706"/>
                <a:gd name="T83" fmla="*/ 46 h 475"/>
                <a:gd name="T84" fmla="*/ 597 w 706"/>
                <a:gd name="T85" fmla="*/ 52 h 475"/>
                <a:gd name="T86" fmla="*/ 570 w 706"/>
                <a:gd name="T87" fmla="*/ 52 h 475"/>
                <a:gd name="T88" fmla="*/ 546 w 706"/>
                <a:gd name="T89" fmla="*/ 18 h 475"/>
                <a:gd name="T90" fmla="*/ 511 w 706"/>
                <a:gd name="T91" fmla="*/ 12 h 475"/>
                <a:gd name="T92" fmla="*/ 497 w 706"/>
                <a:gd name="T93" fmla="*/ 75 h 475"/>
                <a:gd name="T94" fmla="*/ 454 w 706"/>
                <a:gd name="T95" fmla="*/ 82 h 475"/>
                <a:gd name="T96" fmla="*/ 398 w 706"/>
                <a:gd name="T97" fmla="*/ 66 h 475"/>
                <a:gd name="T98" fmla="*/ 407 w 706"/>
                <a:gd name="T99" fmla="*/ 146 h 475"/>
                <a:gd name="T100" fmla="*/ 375 w 706"/>
                <a:gd name="T101" fmla="*/ 78 h 475"/>
                <a:gd name="T102" fmla="*/ 350 w 706"/>
                <a:gd name="T103" fmla="*/ 73 h 475"/>
                <a:gd name="T104" fmla="*/ 325 w 706"/>
                <a:gd name="T105" fmla="*/ 105 h 475"/>
                <a:gd name="T106" fmla="*/ 312 w 706"/>
                <a:gd name="T107" fmla="*/ 108 h 475"/>
                <a:gd name="T108" fmla="*/ 270 w 706"/>
                <a:gd name="T109" fmla="*/ 158 h 475"/>
                <a:gd name="T110" fmla="*/ 232 w 706"/>
                <a:gd name="T111" fmla="*/ 167 h 475"/>
                <a:gd name="T112" fmla="*/ 212 w 706"/>
                <a:gd name="T113" fmla="*/ 182 h 475"/>
                <a:gd name="T114" fmla="*/ 199 w 706"/>
                <a:gd name="T115" fmla="*/ 147 h 475"/>
                <a:gd name="T116" fmla="*/ 208 w 706"/>
                <a:gd name="T117" fmla="*/ 111 h 475"/>
                <a:gd name="T118" fmla="*/ 196 w 706"/>
                <a:gd name="T119" fmla="*/ 95 h 475"/>
                <a:gd name="T120" fmla="*/ 179 w 706"/>
                <a:gd name="T121" fmla="*/ 73 h 4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706" h="475">
                  <a:moveTo>
                    <a:pt x="179" y="73"/>
                  </a:moveTo>
                  <a:lnTo>
                    <a:pt x="175" y="60"/>
                  </a:lnTo>
                  <a:lnTo>
                    <a:pt x="147" y="49"/>
                  </a:lnTo>
                  <a:lnTo>
                    <a:pt x="144" y="34"/>
                  </a:lnTo>
                  <a:lnTo>
                    <a:pt x="132" y="24"/>
                  </a:lnTo>
                  <a:lnTo>
                    <a:pt x="120" y="27"/>
                  </a:lnTo>
                  <a:lnTo>
                    <a:pt x="113" y="21"/>
                  </a:lnTo>
                  <a:lnTo>
                    <a:pt x="92" y="28"/>
                  </a:lnTo>
                  <a:lnTo>
                    <a:pt x="87" y="37"/>
                  </a:lnTo>
                  <a:lnTo>
                    <a:pt x="93" y="37"/>
                  </a:lnTo>
                  <a:lnTo>
                    <a:pt x="90" y="40"/>
                  </a:lnTo>
                  <a:lnTo>
                    <a:pt x="96" y="48"/>
                  </a:lnTo>
                  <a:lnTo>
                    <a:pt x="101" y="40"/>
                  </a:lnTo>
                  <a:lnTo>
                    <a:pt x="125" y="39"/>
                  </a:lnTo>
                  <a:lnTo>
                    <a:pt x="123" y="43"/>
                  </a:lnTo>
                  <a:lnTo>
                    <a:pt x="134" y="54"/>
                  </a:lnTo>
                  <a:lnTo>
                    <a:pt x="128" y="55"/>
                  </a:lnTo>
                  <a:lnTo>
                    <a:pt x="113" y="54"/>
                  </a:lnTo>
                  <a:lnTo>
                    <a:pt x="104" y="58"/>
                  </a:lnTo>
                  <a:lnTo>
                    <a:pt x="128" y="78"/>
                  </a:lnTo>
                  <a:lnTo>
                    <a:pt x="140" y="79"/>
                  </a:lnTo>
                  <a:lnTo>
                    <a:pt x="134" y="92"/>
                  </a:lnTo>
                  <a:lnTo>
                    <a:pt x="138" y="111"/>
                  </a:lnTo>
                  <a:lnTo>
                    <a:pt x="131" y="120"/>
                  </a:lnTo>
                  <a:lnTo>
                    <a:pt x="126" y="110"/>
                  </a:lnTo>
                  <a:lnTo>
                    <a:pt x="119" y="119"/>
                  </a:lnTo>
                  <a:lnTo>
                    <a:pt x="117" y="110"/>
                  </a:lnTo>
                  <a:lnTo>
                    <a:pt x="119" y="93"/>
                  </a:lnTo>
                  <a:lnTo>
                    <a:pt x="113" y="92"/>
                  </a:lnTo>
                  <a:lnTo>
                    <a:pt x="107" y="98"/>
                  </a:lnTo>
                  <a:lnTo>
                    <a:pt x="95" y="92"/>
                  </a:lnTo>
                  <a:lnTo>
                    <a:pt x="95" y="79"/>
                  </a:lnTo>
                  <a:lnTo>
                    <a:pt x="68" y="61"/>
                  </a:lnTo>
                  <a:lnTo>
                    <a:pt x="62" y="72"/>
                  </a:lnTo>
                  <a:lnTo>
                    <a:pt x="78" y="82"/>
                  </a:lnTo>
                  <a:lnTo>
                    <a:pt x="71" y="89"/>
                  </a:lnTo>
                  <a:lnTo>
                    <a:pt x="62" y="78"/>
                  </a:lnTo>
                  <a:lnTo>
                    <a:pt x="55" y="81"/>
                  </a:lnTo>
                  <a:lnTo>
                    <a:pt x="72" y="92"/>
                  </a:lnTo>
                  <a:lnTo>
                    <a:pt x="63" y="95"/>
                  </a:lnTo>
                  <a:lnTo>
                    <a:pt x="43" y="84"/>
                  </a:lnTo>
                  <a:lnTo>
                    <a:pt x="69" y="111"/>
                  </a:lnTo>
                  <a:lnTo>
                    <a:pt x="68" y="116"/>
                  </a:lnTo>
                  <a:lnTo>
                    <a:pt x="51" y="107"/>
                  </a:lnTo>
                  <a:lnTo>
                    <a:pt x="49" y="111"/>
                  </a:lnTo>
                  <a:lnTo>
                    <a:pt x="65" y="131"/>
                  </a:lnTo>
                  <a:lnTo>
                    <a:pt x="84" y="126"/>
                  </a:lnTo>
                  <a:lnTo>
                    <a:pt x="74" y="137"/>
                  </a:lnTo>
                  <a:lnTo>
                    <a:pt x="87" y="141"/>
                  </a:lnTo>
                  <a:lnTo>
                    <a:pt x="62" y="150"/>
                  </a:lnTo>
                  <a:lnTo>
                    <a:pt x="60" y="137"/>
                  </a:lnTo>
                  <a:lnTo>
                    <a:pt x="27" y="125"/>
                  </a:lnTo>
                  <a:lnTo>
                    <a:pt x="27" y="132"/>
                  </a:lnTo>
                  <a:lnTo>
                    <a:pt x="34" y="143"/>
                  </a:lnTo>
                  <a:lnTo>
                    <a:pt x="48" y="150"/>
                  </a:lnTo>
                  <a:lnTo>
                    <a:pt x="40" y="156"/>
                  </a:lnTo>
                  <a:lnTo>
                    <a:pt x="51" y="165"/>
                  </a:lnTo>
                  <a:lnTo>
                    <a:pt x="45" y="167"/>
                  </a:lnTo>
                  <a:lnTo>
                    <a:pt x="15" y="147"/>
                  </a:lnTo>
                  <a:lnTo>
                    <a:pt x="12" y="165"/>
                  </a:lnTo>
                  <a:lnTo>
                    <a:pt x="0" y="175"/>
                  </a:lnTo>
                  <a:lnTo>
                    <a:pt x="6" y="178"/>
                  </a:lnTo>
                  <a:lnTo>
                    <a:pt x="25" y="173"/>
                  </a:lnTo>
                  <a:lnTo>
                    <a:pt x="45" y="179"/>
                  </a:lnTo>
                  <a:lnTo>
                    <a:pt x="87" y="170"/>
                  </a:lnTo>
                  <a:lnTo>
                    <a:pt x="105" y="150"/>
                  </a:lnTo>
                  <a:lnTo>
                    <a:pt x="120" y="155"/>
                  </a:lnTo>
                  <a:lnTo>
                    <a:pt x="128" y="162"/>
                  </a:lnTo>
                  <a:lnTo>
                    <a:pt x="144" y="158"/>
                  </a:lnTo>
                  <a:lnTo>
                    <a:pt x="146" y="173"/>
                  </a:lnTo>
                  <a:lnTo>
                    <a:pt x="154" y="178"/>
                  </a:lnTo>
                  <a:lnTo>
                    <a:pt x="161" y="170"/>
                  </a:lnTo>
                  <a:lnTo>
                    <a:pt x="176" y="173"/>
                  </a:lnTo>
                  <a:lnTo>
                    <a:pt x="132" y="217"/>
                  </a:lnTo>
                  <a:lnTo>
                    <a:pt x="137" y="224"/>
                  </a:lnTo>
                  <a:lnTo>
                    <a:pt x="147" y="224"/>
                  </a:lnTo>
                  <a:lnTo>
                    <a:pt x="164" y="226"/>
                  </a:lnTo>
                  <a:lnTo>
                    <a:pt x="175" y="214"/>
                  </a:lnTo>
                  <a:lnTo>
                    <a:pt x="182" y="214"/>
                  </a:lnTo>
                  <a:lnTo>
                    <a:pt x="169" y="244"/>
                  </a:lnTo>
                  <a:lnTo>
                    <a:pt x="140" y="244"/>
                  </a:lnTo>
                  <a:lnTo>
                    <a:pt x="134" y="235"/>
                  </a:lnTo>
                  <a:lnTo>
                    <a:pt x="125" y="238"/>
                  </a:lnTo>
                  <a:lnTo>
                    <a:pt x="119" y="245"/>
                  </a:lnTo>
                  <a:lnTo>
                    <a:pt x="116" y="238"/>
                  </a:lnTo>
                  <a:lnTo>
                    <a:pt x="111" y="239"/>
                  </a:lnTo>
                  <a:lnTo>
                    <a:pt x="108" y="248"/>
                  </a:lnTo>
                  <a:lnTo>
                    <a:pt x="78" y="256"/>
                  </a:lnTo>
                  <a:lnTo>
                    <a:pt x="51" y="265"/>
                  </a:lnTo>
                  <a:lnTo>
                    <a:pt x="40" y="277"/>
                  </a:lnTo>
                  <a:lnTo>
                    <a:pt x="46" y="285"/>
                  </a:lnTo>
                  <a:lnTo>
                    <a:pt x="60" y="283"/>
                  </a:lnTo>
                  <a:lnTo>
                    <a:pt x="66" y="274"/>
                  </a:lnTo>
                  <a:lnTo>
                    <a:pt x="71" y="277"/>
                  </a:lnTo>
                  <a:lnTo>
                    <a:pt x="89" y="268"/>
                  </a:lnTo>
                  <a:lnTo>
                    <a:pt x="110" y="277"/>
                  </a:lnTo>
                  <a:lnTo>
                    <a:pt x="122" y="273"/>
                  </a:lnTo>
                  <a:lnTo>
                    <a:pt x="134" y="274"/>
                  </a:lnTo>
                  <a:lnTo>
                    <a:pt x="141" y="295"/>
                  </a:lnTo>
                  <a:lnTo>
                    <a:pt x="141" y="313"/>
                  </a:lnTo>
                  <a:lnTo>
                    <a:pt x="151" y="310"/>
                  </a:lnTo>
                  <a:lnTo>
                    <a:pt x="155" y="315"/>
                  </a:lnTo>
                  <a:lnTo>
                    <a:pt x="164" y="309"/>
                  </a:lnTo>
                  <a:lnTo>
                    <a:pt x="176" y="309"/>
                  </a:lnTo>
                  <a:lnTo>
                    <a:pt x="167" y="324"/>
                  </a:lnTo>
                  <a:lnTo>
                    <a:pt x="166" y="331"/>
                  </a:lnTo>
                  <a:lnTo>
                    <a:pt x="158" y="337"/>
                  </a:lnTo>
                  <a:lnTo>
                    <a:pt x="161" y="343"/>
                  </a:lnTo>
                  <a:lnTo>
                    <a:pt x="185" y="339"/>
                  </a:lnTo>
                  <a:lnTo>
                    <a:pt x="196" y="337"/>
                  </a:lnTo>
                  <a:lnTo>
                    <a:pt x="182" y="354"/>
                  </a:lnTo>
                  <a:lnTo>
                    <a:pt x="176" y="365"/>
                  </a:lnTo>
                  <a:lnTo>
                    <a:pt x="157" y="390"/>
                  </a:lnTo>
                  <a:lnTo>
                    <a:pt x="135" y="393"/>
                  </a:lnTo>
                  <a:lnTo>
                    <a:pt x="119" y="386"/>
                  </a:lnTo>
                  <a:lnTo>
                    <a:pt x="117" y="390"/>
                  </a:lnTo>
                  <a:lnTo>
                    <a:pt x="129" y="399"/>
                  </a:lnTo>
                  <a:lnTo>
                    <a:pt x="120" y="407"/>
                  </a:lnTo>
                  <a:lnTo>
                    <a:pt x="129" y="420"/>
                  </a:lnTo>
                  <a:lnTo>
                    <a:pt x="143" y="414"/>
                  </a:lnTo>
                  <a:lnTo>
                    <a:pt x="157" y="420"/>
                  </a:lnTo>
                  <a:lnTo>
                    <a:pt x="172" y="414"/>
                  </a:lnTo>
                  <a:lnTo>
                    <a:pt x="190" y="414"/>
                  </a:lnTo>
                  <a:lnTo>
                    <a:pt x="199" y="419"/>
                  </a:lnTo>
                  <a:lnTo>
                    <a:pt x="217" y="399"/>
                  </a:lnTo>
                  <a:lnTo>
                    <a:pt x="220" y="413"/>
                  </a:lnTo>
                  <a:lnTo>
                    <a:pt x="214" y="417"/>
                  </a:lnTo>
                  <a:lnTo>
                    <a:pt x="227" y="423"/>
                  </a:lnTo>
                  <a:lnTo>
                    <a:pt x="244" y="425"/>
                  </a:lnTo>
                  <a:lnTo>
                    <a:pt x="270" y="446"/>
                  </a:lnTo>
                  <a:lnTo>
                    <a:pt x="288" y="458"/>
                  </a:lnTo>
                  <a:lnTo>
                    <a:pt x="333" y="466"/>
                  </a:lnTo>
                  <a:lnTo>
                    <a:pt x="350" y="475"/>
                  </a:lnTo>
                  <a:lnTo>
                    <a:pt x="414" y="473"/>
                  </a:lnTo>
                  <a:lnTo>
                    <a:pt x="439" y="439"/>
                  </a:lnTo>
                  <a:lnTo>
                    <a:pt x="473" y="425"/>
                  </a:lnTo>
                  <a:lnTo>
                    <a:pt x="470" y="408"/>
                  </a:lnTo>
                  <a:lnTo>
                    <a:pt x="488" y="413"/>
                  </a:lnTo>
                  <a:lnTo>
                    <a:pt x="503" y="402"/>
                  </a:lnTo>
                  <a:lnTo>
                    <a:pt x="520" y="402"/>
                  </a:lnTo>
                  <a:lnTo>
                    <a:pt x="555" y="366"/>
                  </a:lnTo>
                  <a:lnTo>
                    <a:pt x="562" y="350"/>
                  </a:lnTo>
                  <a:lnTo>
                    <a:pt x="579" y="345"/>
                  </a:lnTo>
                  <a:lnTo>
                    <a:pt x="583" y="339"/>
                  </a:lnTo>
                  <a:lnTo>
                    <a:pt x="582" y="331"/>
                  </a:lnTo>
                  <a:lnTo>
                    <a:pt x="585" y="325"/>
                  </a:lnTo>
                  <a:lnTo>
                    <a:pt x="594" y="327"/>
                  </a:lnTo>
                  <a:lnTo>
                    <a:pt x="595" y="339"/>
                  </a:lnTo>
                  <a:lnTo>
                    <a:pt x="600" y="345"/>
                  </a:lnTo>
                  <a:lnTo>
                    <a:pt x="598" y="351"/>
                  </a:lnTo>
                  <a:lnTo>
                    <a:pt x="591" y="354"/>
                  </a:lnTo>
                  <a:lnTo>
                    <a:pt x="592" y="357"/>
                  </a:lnTo>
                  <a:lnTo>
                    <a:pt x="608" y="354"/>
                  </a:lnTo>
                  <a:lnTo>
                    <a:pt x="617" y="333"/>
                  </a:lnTo>
                  <a:lnTo>
                    <a:pt x="632" y="331"/>
                  </a:lnTo>
                  <a:lnTo>
                    <a:pt x="642" y="309"/>
                  </a:lnTo>
                  <a:lnTo>
                    <a:pt x="657" y="295"/>
                  </a:lnTo>
                  <a:lnTo>
                    <a:pt x="654" y="292"/>
                  </a:lnTo>
                  <a:lnTo>
                    <a:pt x="636" y="303"/>
                  </a:lnTo>
                  <a:lnTo>
                    <a:pt x="636" y="289"/>
                  </a:lnTo>
                  <a:lnTo>
                    <a:pt x="647" y="283"/>
                  </a:lnTo>
                  <a:lnTo>
                    <a:pt x="645" y="277"/>
                  </a:lnTo>
                  <a:lnTo>
                    <a:pt x="641" y="270"/>
                  </a:lnTo>
                  <a:lnTo>
                    <a:pt x="644" y="261"/>
                  </a:lnTo>
                  <a:lnTo>
                    <a:pt x="654" y="273"/>
                  </a:lnTo>
                  <a:lnTo>
                    <a:pt x="657" y="285"/>
                  </a:lnTo>
                  <a:lnTo>
                    <a:pt x="663" y="282"/>
                  </a:lnTo>
                  <a:lnTo>
                    <a:pt x="669" y="274"/>
                  </a:lnTo>
                  <a:lnTo>
                    <a:pt x="677" y="273"/>
                  </a:lnTo>
                  <a:lnTo>
                    <a:pt x="678" y="264"/>
                  </a:lnTo>
                  <a:lnTo>
                    <a:pt x="686" y="254"/>
                  </a:lnTo>
                  <a:lnTo>
                    <a:pt x="680" y="245"/>
                  </a:lnTo>
                  <a:lnTo>
                    <a:pt x="689" y="236"/>
                  </a:lnTo>
                  <a:lnTo>
                    <a:pt x="701" y="235"/>
                  </a:lnTo>
                  <a:lnTo>
                    <a:pt x="701" y="221"/>
                  </a:lnTo>
                  <a:lnTo>
                    <a:pt x="694" y="223"/>
                  </a:lnTo>
                  <a:lnTo>
                    <a:pt x="706" y="217"/>
                  </a:lnTo>
                  <a:lnTo>
                    <a:pt x="703" y="208"/>
                  </a:lnTo>
                  <a:lnTo>
                    <a:pt x="694" y="209"/>
                  </a:lnTo>
                  <a:lnTo>
                    <a:pt x="690" y="217"/>
                  </a:lnTo>
                  <a:lnTo>
                    <a:pt x="689" y="202"/>
                  </a:lnTo>
                  <a:lnTo>
                    <a:pt x="678" y="200"/>
                  </a:lnTo>
                  <a:lnTo>
                    <a:pt x="689" y="190"/>
                  </a:lnTo>
                  <a:lnTo>
                    <a:pt x="692" y="170"/>
                  </a:lnTo>
                  <a:lnTo>
                    <a:pt x="683" y="162"/>
                  </a:lnTo>
                  <a:lnTo>
                    <a:pt x="690" y="153"/>
                  </a:lnTo>
                  <a:lnTo>
                    <a:pt x="678" y="156"/>
                  </a:lnTo>
                  <a:lnTo>
                    <a:pt x="678" y="147"/>
                  </a:lnTo>
                  <a:lnTo>
                    <a:pt x="669" y="134"/>
                  </a:lnTo>
                  <a:lnTo>
                    <a:pt x="665" y="143"/>
                  </a:lnTo>
                  <a:lnTo>
                    <a:pt x="663" y="158"/>
                  </a:lnTo>
                  <a:lnTo>
                    <a:pt x="656" y="158"/>
                  </a:lnTo>
                  <a:lnTo>
                    <a:pt x="657" y="147"/>
                  </a:lnTo>
                  <a:lnTo>
                    <a:pt x="651" y="146"/>
                  </a:lnTo>
                  <a:lnTo>
                    <a:pt x="648" y="137"/>
                  </a:lnTo>
                  <a:lnTo>
                    <a:pt x="653" y="126"/>
                  </a:lnTo>
                  <a:lnTo>
                    <a:pt x="648" y="125"/>
                  </a:lnTo>
                  <a:lnTo>
                    <a:pt x="627" y="131"/>
                  </a:lnTo>
                  <a:lnTo>
                    <a:pt x="620" y="137"/>
                  </a:lnTo>
                  <a:lnTo>
                    <a:pt x="615" y="129"/>
                  </a:lnTo>
                  <a:lnTo>
                    <a:pt x="632" y="119"/>
                  </a:lnTo>
                  <a:lnTo>
                    <a:pt x="630" y="86"/>
                  </a:lnTo>
                  <a:lnTo>
                    <a:pt x="627" y="84"/>
                  </a:lnTo>
                  <a:lnTo>
                    <a:pt x="614" y="95"/>
                  </a:lnTo>
                  <a:lnTo>
                    <a:pt x="609" y="84"/>
                  </a:lnTo>
                  <a:lnTo>
                    <a:pt x="603" y="86"/>
                  </a:lnTo>
                  <a:lnTo>
                    <a:pt x="603" y="79"/>
                  </a:lnTo>
                  <a:lnTo>
                    <a:pt x="594" y="70"/>
                  </a:lnTo>
                  <a:lnTo>
                    <a:pt x="614" y="60"/>
                  </a:lnTo>
                  <a:lnTo>
                    <a:pt x="611" y="46"/>
                  </a:lnTo>
                  <a:lnTo>
                    <a:pt x="621" y="42"/>
                  </a:lnTo>
                  <a:lnTo>
                    <a:pt x="635" y="37"/>
                  </a:lnTo>
                  <a:lnTo>
                    <a:pt x="632" y="30"/>
                  </a:lnTo>
                  <a:lnTo>
                    <a:pt x="614" y="28"/>
                  </a:lnTo>
                  <a:lnTo>
                    <a:pt x="597" y="52"/>
                  </a:lnTo>
                  <a:lnTo>
                    <a:pt x="588" y="48"/>
                  </a:lnTo>
                  <a:lnTo>
                    <a:pt x="583" y="54"/>
                  </a:lnTo>
                  <a:lnTo>
                    <a:pt x="585" y="66"/>
                  </a:lnTo>
                  <a:lnTo>
                    <a:pt x="573" y="61"/>
                  </a:lnTo>
                  <a:lnTo>
                    <a:pt x="570" y="52"/>
                  </a:lnTo>
                  <a:lnTo>
                    <a:pt x="561" y="52"/>
                  </a:lnTo>
                  <a:lnTo>
                    <a:pt x="550" y="45"/>
                  </a:lnTo>
                  <a:lnTo>
                    <a:pt x="556" y="33"/>
                  </a:lnTo>
                  <a:lnTo>
                    <a:pt x="547" y="30"/>
                  </a:lnTo>
                  <a:lnTo>
                    <a:pt x="546" y="18"/>
                  </a:lnTo>
                  <a:lnTo>
                    <a:pt x="532" y="0"/>
                  </a:lnTo>
                  <a:lnTo>
                    <a:pt x="526" y="4"/>
                  </a:lnTo>
                  <a:lnTo>
                    <a:pt x="528" y="12"/>
                  </a:lnTo>
                  <a:lnTo>
                    <a:pt x="516" y="18"/>
                  </a:lnTo>
                  <a:lnTo>
                    <a:pt x="511" y="12"/>
                  </a:lnTo>
                  <a:lnTo>
                    <a:pt x="506" y="15"/>
                  </a:lnTo>
                  <a:lnTo>
                    <a:pt x="517" y="60"/>
                  </a:lnTo>
                  <a:lnTo>
                    <a:pt x="514" y="67"/>
                  </a:lnTo>
                  <a:lnTo>
                    <a:pt x="502" y="69"/>
                  </a:lnTo>
                  <a:lnTo>
                    <a:pt x="497" y="75"/>
                  </a:lnTo>
                  <a:lnTo>
                    <a:pt x="482" y="75"/>
                  </a:lnTo>
                  <a:lnTo>
                    <a:pt x="478" y="60"/>
                  </a:lnTo>
                  <a:lnTo>
                    <a:pt x="467" y="60"/>
                  </a:lnTo>
                  <a:lnTo>
                    <a:pt x="463" y="75"/>
                  </a:lnTo>
                  <a:lnTo>
                    <a:pt x="454" y="82"/>
                  </a:lnTo>
                  <a:lnTo>
                    <a:pt x="451" y="90"/>
                  </a:lnTo>
                  <a:lnTo>
                    <a:pt x="443" y="89"/>
                  </a:lnTo>
                  <a:lnTo>
                    <a:pt x="421" y="69"/>
                  </a:lnTo>
                  <a:lnTo>
                    <a:pt x="407" y="73"/>
                  </a:lnTo>
                  <a:lnTo>
                    <a:pt x="398" y="66"/>
                  </a:lnTo>
                  <a:lnTo>
                    <a:pt x="399" y="87"/>
                  </a:lnTo>
                  <a:lnTo>
                    <a:pt x="413" y="110"/>
                  </a:lnTo>
                  <a:lnTo>
                    <a:pt x="407" y="120"/>
                  </a:lnTo>
                  <a:lnTo>
                    <a:pt x="419" y="143"/>
                  </a:lnTo>
                  <a:lnTo>
                    <a:pt x="407" y="146"/>
                  </a:lnTo>
                  <a:lnTo>
                    <a:pt x="404" y="126"/>
                  </a:lnTo>
                  <a:lnTo>
                    <a:pt x="398" y="105"/>
                  </a:lnTo>
                  <a:lnTo>
                    <a:pt x="384" y="92"/>
                  </a:lnTo>
                  <a:lnTo>
                    <a:pt x="383" y="78"/>
                  </a:lnTo>
                  <a:lnTo>
                    <a:pt x="375" y="78"/>
                  </a:lnTo>
                  <a:lnTo>
                    <a:pt x="368" y="64"/>
                  </a:lnTo>
                  <a:lnTo>
                    <a:pt x="360" y="66"/>
                  </a:lnTo>
                  <a:lnTo>
                    <a:pt x="360" y="70"/>
                  </a:lnTo>
                  <a:lnTo>
                    <a:pt x="353" y="64"/>
                  </a:lnTo>
                  <a:lnTo>
                    <a:pt x="350" y="73"/>
                  </a:lnTo>
                  <a:lnTo>
                    <a:pt x="353" y="86"/>
                  </a:lnTo>
                  <a:lnTo>
                    <a:pt x="342" y="81"/>
                  </a:lnTo>
                  <a:lnTo>
                    <a:pt x="325" y="86"/>
                  </a:lnTo>
                  <a:lnTo>
                    <a:pt x="330" y="98"/>
                  </a:lnTo>
                  <a:lnTo>
                    <a:pt x="325" y="105"/>
                  </a:lnTo>
                  <a:lnTo>
                    <a:pt x="335" y="116"/>
                  </a:lnTo>
                  <a:lnTo>
                    <a:pt x="327" y="153"/>
                  </a:lnTo>
                  <a:lnTo>
                    <a:pt x="312" y="132"/>
                  </a:lnTo>
                  <a:lnTo>
                    <a:pt x="307" y="116"/>
                  </a:lnTo>
                  <a:lnTo>
                    <a:pt x="312" y="108"/>
                  </a:lnTo>
                  <a:lnTo>
                    <a:pt x="283" y="73"/>
                  </a:lnTo>
                  <a:lnTo>
                    <a:pt x="267" y="81"/>
                  </a:lnTo>
                  <a:lnTo>
                    <a:pt x="268" y="105"/>
                  </a:lnTo>
                  <a:lnTo>
                    <a:pt x="279" y="132"/>
                  </a:lnTo>
                  <a:lnTo>
                    <a:pt x="270" y="158"/>
                  </a:lnTo>
                  <a:lnTo>
                    <a:pt x="265" y="167"/>
                  </a:lnTo>
                  <a:lnTo>
                    <a:pt x="259" y="159"/>
                  </a:lnTo>
                  <a:lnTo>
                    <a:pt x="252" y="150"/>
                  </a:lnTo>
                  <a:lnTo>
                    <a:pt x="252" y="138"/>
                  </a:lnTo>
                  <a:lnTo>
                    <a:pt x="232" y="167"/>
                  </a:lnTo>
                  <a:lnTo>
                    <a:pt x="233" y="193"/>
                  </a:lnTo>
                  <a:lnTo>
                    <a:pt x="224" y="182"/>
                  </a:lnTo>
                  <a:lnTo>
                    <a:pt x="221" y="185"/>
                  </a:lnTo>
                  <a:lnTo>
                    <a:pt x="218" y="202"/>
                  </a:lnTo>
                  <a:lnTo>
                    <a:pt x="212" y="182"/>
                  </a:lnTo>
                  <a:lnTo>
                    <a:pt x="206" y="178"/>
                  </a:lnTo>
                  <a:lnTo>
                    <a:pt x="206" y="155"/>
                  </a:lnTo>
                  <a:lnTo>
                    <a:pt x="194" y="153"/>
                  </a:lnTo>
                  <a:lnTo>
                    <a:pt x="181" y="137"/>
                  </a:lnTo>
                  <a:lnTo>
                    <a:pt x="199" y="147"/>
                  </a:lnTo>
                  <a:lnTo>
                    <a:pt x="203" y="138"/>
                  </a:lnTo>
                  <a:lnTo>
                    <a:pt x="199" y="126"/>
                  </a:lnTo>
                  <a:lnTo>
                    <a:pt x="206" y="125"/>
                  </a:lnTo>
                  <a:lnTo>
                    <a:pt x="203" y="114"/>
                  </a:lnTo>
                  <a:lnTo>
                    <a:pt x="208" y="111"/>
                  </a:lnTo>
                  <a:lnTo>
                    <a:pt x="200" y="101"/>
                  </a:lnTo>
                  <a:lnTo>
                    <a:pt x="202" y="96"/>
                  </a:lnTo>
                  <a:lnTo>
                    <a:pt x="208" y="92"/>
                  </a:lnTo>
                  <a:lnTo>
                    <a:pt x="199" y="89"/>
                  </a:lnTo>
                  <a:lnTo>
                    <a:pt x="196" y="95"/>
                  </a:lnTo>
                  <a:lnTo>
                    <a:pt x="194" y="78"/>
                  </a:lnTo>
                  <a:lnTo>
                    <a:pt x="184" y="81"/>
                  </a:lnTo>
                  <a:lnTo>
                    <a:pt x="181" y="76"/>
                  </a:lnTo>
                  <a:lnTo>
                    <a:pt x="179" y="73"/>
                  </a:lnTo>
                  <a:lnTo>
                    <a:pt x="179" y="7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033" name="Freeform 388"/>
            <p:cNvSpPr>
              <a:spLocks/>
            </p:cNvSpPr>
            <p:nvPr userDrawn="1"/>
          </p:nvSpPr>
          <p:spPr bwMode="auto">
            <a:xfrm>
              <a:off x="7670" y="-185"/>
              <a:ext cx="9" cy="62"/>
            </a:xfrm>
            <a:custGeom>
              <a:avLst/>
              <a:gdLst>
                <a:gd name="T0" fmla="*/ 9 w 9"/>
                <a:gd name="T1" fmla="*/ 51 h 62"/>
                <a:gd name="T2" fmla="*/ 6 w 9"/>
                <a:gd name="T3" fmla="*/ 47 h 62"/>
                <a:gd name="T4" fmla="*/ 3 w 9"/>
                <a:gd name="T5" fmla="*/ 1 h 62"/>
                <a:gd name="T6" fmla="*/ 0 w 9"/>
                <a:gd name="T7" fmla="*/ 0 h 62"/>
                <a:gd name="T8" fmla="*/ 1 w 9"/>
                <a:gd name="T9" fmla="*/ 51 h 62"/>
                <a:gd name="T10" fmla="*/ 9 w 9"/>
                <a:gd name="T11" fmla="*/ 62 h 62"/>
                <a:gd name="T12" fmla="*/ 9 w 9"/>
                <a:gd name="T13" fmla="*/ 51 h 62"/>
                <a:gd name="T14" fmla="*/ 9 w 9"/>
                <a:gd name="T15" fmla="*/ 51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62">
                  <a:moveTo>
                    <a:pt x="9" y="51"/>
                  </a:moveTo>
                  <a:lnTo>
                    <a:pt x="6" y="47"/>
                  </a:lnTo>
                  <a:lnTo>
                    <a:pt x="3" y="1"/>
                  </a:lnTo>
                  <a:lnTo>
                    <a:pt x="0" y="0"/>
                  </a:lnTo>
                  <a:lnTo>
                    <a:pt x="1" y="51"/>
                  </a:lnTo>
                  <a:lnTo>
                    <a:pt x="9" y="62"/>
                  </a:lnTo>
                  <a:lnTo>
                    <a:pt x="9" y="51"/>
                  </a:lnTo>
                  <a:lnTo>
                    <a:pt x="9" y="51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034" name="Freeform 389"/>
            <p:cNvSpPr>
              <a:spLocks/>
            </p:cNvSpPr>
            <p:nvPr userDrawn="1"/>
          </p:nvSpPr>
          <p:spPr bwMode="auto">
            <a:xfrm>
              <a:off x="7647" y="138"/>
              <a:ext cx="32" cy="36"/>
            </a:xfrm>
            <a:custGeom>
              <a:avLst/>
              <a:gdLst>
                <a:gd name="T0" fmla="*/ 32 w 32"/>
                <a:gd name="T1" fmla="*/ 22 h 36"/>
                <a:gd name="T2" fmla="*/ 23 w 32"/>
                <a:gd name="T3" fmla="*/ 15 h 36"/>
                <a:gd name="T4" fmla="*/ 10 w 32"/>
                <a:gd name="T5" fmla="*/ 9 h 36"/>
                <a:gd name="T6" fmla="*/ 0 w 32"/>
                <a:gd name="T7" fmla="*/ 0 h 36"/>
                <a:gd name="T8" fmla="*/ 4 w 32"/>
                <a:gd name="T9" fmla="*/ 13 h 36"/>
                <a:gd name="T10" fmla="*/ 32 w 32"/>
                <a:gd name="T11" fmla="*/ 36 h 36"/>
                <a:gd name="T12" fmla="*/ 32 w 32"/>
                <a:gd name="T13" fmla="*/ 22 h 36"/>
                <a:gd name="T14" fmla="*/ 32 w 32"/>
                <a:gd name="T15" fmla="*/ 22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2" h="36">
                  <a:moveTo>
                    <a:pt x="32" y="22"/>
                  </a:moveTo>
                  <a:lnTo>
                    <a:pt x="23" y="15"/>
                  </a:lnTo>
                  <a:lnTo>
                    <a:pt x="10" y="9"/>
                  </a:lnTo>
                  <a:lnTo>
                    <a:pt x="0" y="0"/>
                  </a:lnTo>
                  <a:lnTo>
                    <a:pt x="4" y="13"/>
                  </a:lnTo>
                  <a:lnTo>
                    <a:pt x="32" y="36"/>
                  </a:lnTo>
                  <a:lnTo>
                    <a:pt x="32" y="22"/>
                  </a:lnTo>
                  <a:lnTo>
                    <a:pt x="32" y="22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035" name="Freeform 390"/>
            <p:cNvSpPr>
              <a:spLocks/>
            </p:cNvSpPr>
            <p:nvPr userDrawn="1"/>
          </p:nvSpPr>
          <p:spPr bwMode="auto">
            <a:xfrm>
              <a:off x="7148" y="-88"/>
              <a:ext cx="134" cy="140"/>
            </a:xfrm>
            <a:custGeom>
              <a:avLst/>
              <a:gdLst>
                <a:gd name="T0" fmla="*/ 34 w 134"/>
                <a:gd name="T1" fmla="*/ 0 h 140"/>
                <a:gd name="T2" fmla="*/ 63 w 134"/>
                <a:gd name="T3" fmla="*/ 33 h 140"/>
                <a:gd name="T4" fmla="*/ 66 w 134"/>
                <a:gd name="T5" fmla="*/ 46 h 140"/>
                <a:gd name="T6" fmla="*/ 77 w 134"/>
                <a:gd name="T7" fmla="*/ 46 h 140"/>
                <a:gd name="T8" fmla="*/ 81 w 134"/>
                <a:gd name="T9" fmla="*/ 60 h 140"/>
                <a:gd name="T10" fmla="*/ 105 w 134"/>
                <a:gd name="T11" fmla="*/ 70 h 140"/>
                <a:gd name="T12" fmla="*/ 113 w 134"/>
                <a:gd name="T13" fmla="*/ 84 h 140"/>
                <a:gd name="T14" fmla="*/ 122 w 134"/>
                <a:gd name="T15" fmla="*/ 87 h 140"/>
                <a:gd name="T16" fmla="*/ 134 w 134"/>
                <a:gd name="T17" fmla="*/ 119 h 140"/>
                <a:gd name="T18" fmla="*/ 113 w 134"/>
                <a:gd name="T19" fmla="*/ 135 h 140"/>
                <a:gd name="T20" fmla="*/ 108 w 134"/>
                <a:gd name="T21" fmla="*/ 128 h 140"/>
                <a:gd name="T22" fmla="*/ 95 w 134"/>
                <a:gd name="T23" fmla="*/ 140 h 140"/>
                <a:gd name="T24" fmla="*/ 72 w 134"/>
                <a:gd name="T25" fmla="*/ 137 h 140"/>
                <a:gd name="T26" fmla="*/ 74 w 134"/>
                <a:gd name="T27" fmla="*/ 116 h 140"/>
                <a:gd name="T28" fmla="*/ 61 w 134"/>
                <a:gd name="T29" fmla="*/ 102 h 140"/>
                <a:gd name="T30" fmla="*/ 48 w 134"/>
                <a:gd name="T31" fmla="*/ 101 h 140"/>
                <a:gd name="T32" fmla="*/ 43 w 134"/>
                <a:gd name="T33" fmla="*/ 86 h 140"/>
                <a:gd name="T34" fmla="*/ 34 w 134"/>
                <a:gd name="T35" fmla="*/ 82 h 140"/>
                <a:gd name="T36" fmla="*/ 33 w 134"/>
                <a:gd name="T37" fmla="*/ 93 h 140"/>
                <a:gd name="T38" fmla="*/ 48 w 134"/>
                <a:gd name="T39" fmla="*/ 110 h 140"/>
                <a:gd name="T40" fmla="*/ 45 w 134"/>
                <a:gd name="T41" fmla="*/ 120 h 140"/>
                <a:gd name="T42" fmla="*/ 30 w 134"/>
                <a:gd name="T43" fmla="*/ 108 h 140"/>
                <a:gd name="T44" fmla="*/ 19 w 134"/>
                <a:gd name="T45" fmla="*/ 90 h 140"/>
                <a:gd name="T46" fmla="*/ 10 w 134"/>
                <a:gd name="T47" fmla="*/ 52 h 140"/>
                <a:gd name="T48" fmla="*/ 0 w 134"/>
                <a:gd name="T49" fmla="*/ 49 h 140"/>
                <a:gd name="T50" fmla="*/ 1 w 134"/>
                <a:gd name="T51" fmla="*/ 36 h 140"/>
                <a:gd name="T52" fmla="*/ 24 w 134"/>
                <a:gd name="T53" fmla="*/ 43 h 140"/>
                <a:gd name="T54" fmla="*/ 24 w 134"/>
                <a:gd name="T55" fmla="*/ 36 h 140"/>
                <a:gd name="T56" fmla="*/ 7 w 134"/>
                <a:gd name="T57" fmla="*/ 21 h 140"/>
                <a:gd name="T58" fmla="*/ 16 w 134"/>
                <a:gd name="T59" fmla="*/ 15 h 140"/>
                <a:gd name="T60" fmla="*/ 22 w 134"/>
                <a:gd name="T61" fmla="*/ 3 h 140"/>
                <a:gd name="T62" fmla="*/ 34 w 134"/>
                <a:gd name="T63" fmla="*/ 0 h 140"/>
                <a:gd name="T64" fmla="*/ 34 w 134"/>
                <a:gd name="T65" fmla="*/ 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34" h="140">
                  <a:moveTo>
                    <a:pt x="34" y="0"/>
                  </a:moveTo>
                  <a:lnTo>
                    <a:pt x="63" y="33"/>
                  </a:lnTo>
                  <a:lnTo>
                    <a:pt x="66" y="46"/>
                  </a:lnTo>
                  <a:lnTo>
                    <a:pt x="77" y="46"/>
                  </a:lnTo>
                  <a:lnTo>
                    <a:pt x="81" y="60"/>
                  </a:lnTo>
                  <a:lnTo>
                    <a:pt x="105" y="70"/>
                  </a:lnTo>
                  <a:lnTo>
                    <a:pt x="113" y="84"/>
                  </a:lnTo>
                  <a:lnTo>
                    <a:pt x="122" y="87"/>
                  </a:lnTo>
                  <a:lnTo>
                    <a:pt x="134" y="119"/>
                  </a:lnTo>
                  <a:lnTo>
                    <a:pt x="113" y="135"/>
                  </a:lnTo>
                  <a:lnTo>
                    <a:pt x="108" y="128"/>
                  </a:lnTo>
                  <a:lnTo>
                    <a:pt x="95" y="140"/>
                  </a:lnTo>
                  <a:lnTo>
                    <a:pt x="72" y="137"/>
                  </a:lnTo>
                  <a:lnTo>
                    <a:pt x="74" y="116"/>
                  </a:lnTo>
                  <a:lnTo>
                    <a:pt x="61" y="102"/>
                  </a:lnTo>
                  <a:lnTo>
                    <a:pt x="48" y="101"/>
                  </a:lnTo>
                  <a:lnTo>
                    <a:pt x="43" y="86"/>
                  </a:lnTo>
                  <a:lnTo>
                    <a:pt x="34" y="82"/>
                  </a:lnTo>
                  <a:lnTo>
                    <a:pt x="33" y="93"/>
                  </a:lnTo>
                  <a:lnTo>
                    <a:pt x="48" y="110"/>
                  </a:lnTo>
                  <a:lnTo>
                    <a:pt x="45" y="120"/>
                  </a:lnTo>
                  <a:lnTo>
                    <a:pt x="30" y="108"/>
                  </a:lnTo>
                  <a:lnTo>
                    <a:pt x="19" y="90"/>
                  </a:lnTo>
                  <a:lnTo>
                    <a:pt x="10" y="52"/>
                  </a:lnTo>
                  <a:lnTo>
                    <a:pt x="0" y="49"/>
                  </a:lnTo>
                  <a:lnTo>
                    <a:pt x="1" y="36"/>
                  </a:lnTo>
                  <a:lnTo>
                    <a:pt x="24" y="43"/>
                  </a:lnTo>
                  <a:lnTo>
                    <a:pt x="24" y="36"/>
                  </a:lnTo>
                  <a:lnTo>
                    <a:pt x="7" y="21"/>
                  </a:lnTo>
                  <a:lnTo>
                    <a:pt x="16" y="15"/>
                  </a:lnTo>
                  <a:lnTo>
                    <a:pt x="22" y="3"/>
                  </a:lnTo>
                  <a:lnTo>
                    <a:pt x="34" y="0"/>
                  </a:lnTo>
                  <a:lnTo>
                    <a:pt x="3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036" name="Freeform 391"/>
            <p:cNvSpPr>
              <a:spLocks/>
            </p:cNvSpPr>
            <p:nvPr userDrawn="1"/>
          </p:nvSpPr>
          <p:spPr bwMode="auto">
            <a:xfrm>
              <a:off x="6933" y="194"/>
              <a:ext cx="32" cy="18"/>
            </a:xfrm>
            <a:custGeom>
              <a:avLst/>
              <a:gdLst>
                <a:gd name="T0" fmla="*/ 32 w 32"/>
                <a:gd name="T1" fmla="*/ 18 h 18"/>
                <a:gd name="T2" fmla="*/ 16 w 32"/>
                <a:gd name="T3" fmla="*/ 6 h 18"/>
                <a:gd name="T4" fmla="*/ 0 w 32"/>
                <a:gd name="T5" fmla="*/ 0 h 18"/>
                <a:gd name="T6" fmla="*/ 20 w 32"/>
                <a:gd name="T7" fmla="*/ 0 h 18"/>
                <a:gd name="T8" fmla="*/ 32 w 32"/>
                <a:gd name="T9" fmla="*/ 12 h 18"/>
                <a:gd name="T10" fmla="*/ 32 w 32"/>
                <a:gd name="T11" fmla="*/ 18 h 18"/>
                <a:gd name="T12" fmla="*/ 32 w 32"/>
                <a:gd name="T13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18">
                  <a:moveTo>
                    <a:pt x="32" y="18"/>
                  </a:moveTo>
                  <a:lnTo>
                    <a:pt x="16" y="6"/>
                  </a:lnTo>
                  <a:lnTo>
                    <a:pt x="0" y="0"/>
                  </a:lnTo>
                  <a:lnTo>
                    <a:pt x="20" y="0"/>
                  </a:lnTo>
                  <a:lnTo>
                    <a:pt x="32" y="12"/>
                  </a:lnTo>
                  <a:lnTo>
                    <a:pt x="32" y="18"/>
                  </a:lnTo>
                  <a:lnTo>
                    <a:pt x="32" y="18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037" name="Freeform 392"/>
            <p:cNvSpPr>
              <a:spLocks/>
            </p:cNvSpPr>
            <p:nvPr userDrawn="1"/>
          </p:nvSpPr>
          <p:spPr bwMode="auto">
            <a:xfrm>
              <a:off x="6789" y="360"/>
              <a:ext cx="36" cy="18"/>
            </a:xfrm>
            <a:custGeom>
              <a:avLst/>
              <a:gdLst>
                <a:gd name="T0" fmla="*/ 0 w 36"/>
                <a:gd name="T1" fmla="*/ 12 h 18"/>
                <a:gd name="T2" fmla="*/ 10 w 36"/>
                <a:gd name="T3" fmla="*/ 16 h 18"/>
                <a:gd name="T4" fmla="*/ 25 w 36"/>
                <a:gd name="T5" fmla="*/ 18 h 18"/>
                <a:gd name="T6" fmla="*/ 36 w 36"/>
                <a:gd name="T7" fmla="*/ 4 h 18"/>
                <a:gd name="T8" fmla="*/ 22 w 36"/>
                <a:gd name="T9" fmla="*/ 1 h 18"/>
                <a:gd name="T10" fmla="*/ 10 w 36"/>
                <a:gd name="T11" fmla="*/ 0 h 18"/>
                <a:gd name="T12" fmla="*/ 0 w 36"/>
                <a:gd name="T13" fmla="*/ 12 h 18"/>
                <a:gd name="T14" fmla="*/ 0 w 36"/>
                <a:gd name="T15" fmla="*/ 1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" h="18">
                  <a:moveTo>
                    <a:pt x="0" y="12"/>
                  </a:moveTo>
                  <a:lnTo>
                    <a:pt x="10" y="16"/>
                  </a:lnTo>
                  <a:lnTo>
                    <a:pt x="25" y="18"/>
                  </a:lnTo>
                  <a:lnTo>
                    <a:pt x="36" y="4"/>
                  </a:lnTo>
                  <a:lnTo>
                    <a:pt x="22" y="1"/>
                  </a:lnTo>
                  <a:lnTo>
                    <a:pt x="10" y="0"/>
                  </a:lnTo>
                  <a:lnTo>
                    <a:pt x="0" y="12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038" name="Freeform 393"/>
            <p:cNvSpPr>
              <a:spLocks/>
            </p:cNvSpPr>
            <p:nvPr userDrawn="1"/>
          </p:nvSpPr>
          <p:spPr bwMode="auto">
            <a:xfrm>
              <a:off x="6826" y="329"/>
              <a:ext cx="15" cy="35"/>
            </a:xfrm>
            <a:custGeom>
              <a:avLst/>
              <a:gdLst>
                <a:gd name="T0" fmla="*/ 0 w 15"/>
                <a:gd name="T1" fmla="*/ 32 h 35"/>
                <a:gd name="T2" fmla="*/ 6 w 15"/>
                <a:gd name="T3" fmla="*/ 35 h 35"/>
                <a:gd name="T4" fmla="*/ 12 w 15"/>
                <a:gd name="T5" fmla="*/ 28 h 35"/>
                <a:gd name="T6" fmla="*/ 15 w 15"/>
                <a:gd name="T7" fmla="*/ 9 h 35"/>
                <a:gd name="T8" fmla="*/ 9 w 15"/>
                <a:gd name="T9" fmla="*/ 0 h 35"/>
                <a:gd name="T10" fmla="*/ 3 w 15"/>
                <a:gd name="T11" fmla="*/ 17 h 35"/>
                <a:gd name="T12" fmla="*/ 0 w 15"/>
                <a:gd name="T13" fmla="*/ 32 h 35"/>
                <a:gd name="T14" fmla="*/ 0 w 15"/>
                <a:gd name="T15" fmla="*/ 32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35">
                  <a:moveTo>
                    <a:pt x="0" y="32"/>
                  </a:moveTo>
                  <a:lnTo>
                    <a:pt x="6" y="35"/>
                  </a:lnTo>
                  <a:lnTo>
                    <a:pt x="12" y="28"/>
                  </a:lnTo>
                  <a:lnTo>
                    <a:pt x="15" y="9"/>
                  </a:lnTo>
                  <a:lnTo>
                    <a:pt x="9" y="0"/>
                  </a:lnTo>
                  <a:lnTo>
                    <a:pt x="3" y="17"/>
                  </a:lnTo>
                  <a:lnTo>
                    <a:pt x="0" y="32"/>
                  </a:lnTo>
                  <a:lnTo>
                    <a:pt x="0" y="32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039" name="Freeform 394"/>
            <p:cNvSpPr>
              <a:spLocks/>
            </p:cNvSpPr>
            <p:nvPr userDrawn="1"/>
          </p:nvSpPr>
          <p:spPr bwMode="auto">
            <a:xfrm>
              <a:off x="6837" y="302"/>
              <a:ext cx="20" cy="23"/>
            </a:xfrm>
            <a:custGeom>
              <a:avLst/>
              <a:gdLst>
                <a:gd name="T0" fmla="*/ 0 w 20"/>
                <a:gd name="T1" fmla="*/ 15 h 23"/>
                <a:gd name="T2" fmla="*/ 4 w 20"/>
                <a:gd name="T3" fmla="*/ 23 h 23"/>
                <a:gd name="T4" fmla="*/ 20 w 20"/>
                <a:gd name="T5" fmla="*/ 9 h 23"/>
                <a:gd name="T6" fmla="*/ 20 w 20"/>
                <a:gd name="T7" fmla="*/ 0 h 23"/>
                <a:gd name="T8" fmla="*/ 0 w 20"/>
                <a:gd name="T9" fmla="*/ 15 h 23"/>
                <a:gd name="T10" fmla="*/ 0 w 20"/>
                <a:gd name="T11" fmla="*/ 15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23">
                  <a:moveTo>
                    <a:pt x="0" y="15"/>
                  </a:moveTo>
                  <a:lnTo>
                    <a:pt x="4" y="23"/>
                  </a:lnTo>
                  <a:lnTo>
                    <a:pt x="20" y="9"/>
                  </a:lnTo>
                  <a:lnTo>
                    <a:pt x="20" y="0"/>
                  </a:lnTo>
                  <a:lnTo>
                    <a:pt x="0" y="15"/>
                  </a:lnTo>
                  <a:lnTo>
                    <a:pt x="0" y="15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040" name="Freeform 395"/>
            <p:cNvSpPr>
              <a:spLocks/>
            </p:cNvSpPr>
            <p:nvPr userDrawn="1"/>
          </p:nvSpPr>
          <p:spPr bwMode="auto">
            <a:xfrm>
              <a:off x="6813" y="320"/>
              <a:ext cx="10" cy="26"/>
            </a:xfrm>
            <a:custGeom>
              <a:avLst/>
              <a:gdLst>
                <a:gd name="T0" fmla="*/ 10 w 10"/>
                <a:gd name="T1" fmla="*/ 0 h 26"/>
                <a:gd name="T2" fmla="*/ 0 w 10"/>
                <a:gd name="T3" fmla="*/ 6 h 26"/>
                <a:gd name="T4" fmla="*/ 0 w 10"/>
                <a:gd name="T5" fmla="*/ 17 h 26"/>
                <a:gd name="T6" fmla="*/ 4 w 10"/>
                <a:gd name="T7" fmla="*/ 26 h 26"/>
                <a:gd name="T8" fmla="*/ 10 w 10"/>
                <a:gd name="T9" fmla="*/ 0 h 26"/>
                <a:gd name="T10" fmla="*/ 10 w 10"/>
                <a:gd name="T11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" h="26">
                  <a:moveTo>
                    <a:pt x="10" y="0"/>
                  </a:moveTo>
                  <a:lnTo>
                    <a:pt x="0" y="6"/>
                  </a:lnTo>
                  <a:lnTo>
                    <a:pt x="0" y="17"/>
                  </a:lnTo>
                  <a:lnTo>
                    <a:pt x="4" y="26"/>
                  </a:lnTo>
                  <a:lnTo>
                    <a:pt x="10" y="0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041" name="Freeform 396"/>
            <p:cNvSpPr>
              <a:spLocks/>
            </p:cNvSpPr>
            <p:nvPr userDrawn="1"/>
          </p:nvSpPr>
          <p:spPr bwMode="auto">
            <a:xfrm>
              <a:off x="6671" y="265"/>
              <a:ext cx="33" cy="15"/>
            </a:xfrm>
            <a:custGeom>
              <a:avLst/>
              <a:gdLst>
                <a:gd name="T0" fmla="*/ 33 w 33"/>
                <a:gd name="T1" fmla="*/ 0 h 15"/>
                <a:gd name="T2" fmla="*/ 26 w 33"/>
                <a:gd name="T3" fmla="*/ 4 h 15"/>
                <a:gd name="T4" fmla="*/ 0 w 33"/>
                <a:gd name="T5" fmla="*/ 15 h 15"/>
                <a:gd name="T6" fmla="*/ 0 w 33"/>
                <a:gd name="T7" fmla="*/ 10 h 15"/>
                <a:gd name="T8" fmla="*/ 12 w 33"/>
                <a:gd name="T9" fmla="*/ 1 h 15"/>
                <a:gd name="T10" fmla="*/ 33 w 33"/>
                <a:gd name="T11" fmla="*/ 0 h 15"/>
                <a:gd name="T12" fmla="*/ 33 w 33"/>
                <a:gd name="T13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" h="15">
                  <a:moveTo>
                    <a:pt x="33" y="0"/>
                  </a:moveTo>
                  <a:lnTo>
                    <a:pt x="26" y="4"/>
                  </a:lnTo>
                  <a:lnTo>
                    <a:pt x="0" y="15"/>
                  </a:lnTo>
                  <a:lnTo>
                    <a:pt x="0" y="10"/>
                  </a:lnTo>
                  <a:lnTo>
                    <a:pt x="12" y="1"/>
                  </a:lnTo>
                  <a:lnTo>
                    <a:pt x="33" y="0"/>
                  </a:lnTo>
                  <a:lnTo>
                    <a:pt x="33" y="0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042" name="Freeform 397"/>
            <p:cNvSpPr>
              <a:spLocks/>
            </p:cNvSpPr>
            <p:nvPr userDrawn="1"/>
          </p:nvSpPr>
          <p:spPr bwMode="auto">
            <a:xfrm>
              <a:off x="6487" y="84"/>
              <a:ext cx="148" cy="149"/>
            </a:xfrm>
            <a:custGeom>
              <a:avLst/>
              <a:gdLst>
                <a:gd name="T0" fmla="*/ 137 w 148"/>
                <a:gd name="T1" fmla="*/ 69 h 149"/>
                <a:gd name="T2" fmla="*/ 130 w 148"/>
                <a:gd name="T3" fmla="*/ 70 h 149"/>
                <a:gd name="T4" fmla="*/ 127 w 148"/>
                <a:gd name="T5" fmla="*/ 79 h 149"/>
                <a:gd name="T6" fmla="*/ 115 w 148"/>
                <a:gd name="T7" fmla="*/ 81 h 149"/>
                <a:gd name="T8" fmla="*/ 113 w 148"/>
                <a:gd name="T9" fmla="*/ 98 h 149"/>
                <a:gd name="T10" fmla="*/ 77 w 148"/>
                <a:gd name="T11" fmla="*/ 132 h 149"/>
                <a:gd name="T12" fmla="*/ 68 w 148"/>
                <a:gd name="T13" fmla="*/ 129 h 149"/>
                <a:gd name="T14" fmla="*/ 63 w 148"/>
                <a:gd name="T15" fmla="*/ 140 h 149"/>
                <a:gd name="T16" fmla="*/ 48 w 148"/>
                <a:gd name="T17" fmla="*/ 149 h 149"/>
                <a:gd name="T18" fmla="*/ 39 w 148"/>
                <a:gd name="T19" fmla="*/ 140 h 149"/>
                <a:gd name="T20" fmla="*/ 35 w 148"/>
                <a:gd name="T21" fmla="*/ 143 h 149"/>
                <a:gd name="T22" fmla="*/ 26 w 148"/>
                <a:gd name="T23" fmla="*/ 129 h 149"/>
                <a:gd name="T24" fmla="*/ 14 w 148"/>
                <a:gd name="T25" fmla="*/ 125 h 149"/>
                <a:gd name="T26" fmla="*/ 15 w 148"/>
                <a:gd name="T27" fmla="*/ 141 h 149"/>
                <a:gd name="T28" fmla="*/ 9 w 148"/>
                <a:gd name="T29" fmla="*/ 146 h 149"/>
                <a:gd name="T30" fmla="*/ 9 w 148"/>
                <a:gd name="T31" fmla="*/ 146 h 149"/>
                <a:gd name="T32" fmla="*/ 5 w 148"/>
                <a:gd name="T33" fmla="*/ 137 h 149"/>
                <a:gd name="T34" fmla="*/ 2 w 148"/>
                <a:gd name="T35" fmla="*/ 131 h 149"/>
                <a:gd name="T36" fmla="*/ 0 w 148"/>
                <a:gd name="T37" fmla="*/ 126 h 149"/>
                <a:gd name="T38" fmla="*/ 0 w 148"/>
                <a:gd name="T39" fmla="*/ 126 h 149"/>
                <a:gd name="T40" fmla="*/ 6 w 148"/>
                <a:gd name="T41" fmla="*/ 119 h 149"/>
                <a:gd name="T42" fmla="*/ 11 w 148"/>
                <a:gd name="T43" fmla="*/ 114 h 149"/>
                <a:gd name="T44" fmla="*/ 11 w 148"/>
                <a:gd name="T45" fmla="*/ 114 h 149"/>
                <a:gd name="T46" fmla="*/ 12 w 148"/>
                <a:gd name="T47" fmla="*/ 63 h 149"/>
                <a:gd name="T48" fmla="*/ 12 w 148"/>
                <a:gd name="T49" fmla="*/ 63 h 149"/>
                <a:gd name="T50" fmla="*/ 21 w 148"/>
                <a:gd name="T51" fmla="*/ 31 h 149"/>
                <a:gd name="T52" fmla="*/ 47 w 148"/>
                <a:gd name="T53" fmla="*/ 7 h 149"/>
                <a:gd name="T54" fmla="*/ 59 w 148"/>
                <a:gd name="T55" fmla="*/ 15 h 149"/>
                <a:gd name="T56" fmla="*/ 62 w 148"/>
                <a:gd name="T57" fmla="*/ 1 h 149"/>
                <a:gd name="T58" fmla="*/ 72 w 148"/>
                <a:gd name="T59" fmla="*/ 0 h 149"/>
                <a:gd name="T60" fmla="*/ 86 w 148"/>
                <a:gd name="T61" fmla="*/ 18 h 149"/>
                <a:gd name="T62" fmla="*/ 95 w 148"/>
                <a:gd name="T63" fmla="*/ 15 h 149"/>
                <a:gd name="T64" fmla="*/ 122 w 148"/>
                <a:gd name="T65" fmla="*/ 39 h 149"/>
                <a:gd name="T66" fmla="*/ 121 w 148"/>
                <a:gd name="T67" fmla="*/ 45 h 149"/>
                <a:gd name="T68" fmla="*/ 125 w 148"/>
                <a:gd name="T69" fmla="*/ 54 h 149"/>
                <a:gd name="T70" fmla="*/ 127 w 148"/>
                <a:gd name="T71" fmla="*/ 42 h 149"/>
                <a:gd name="T72" fmla="*/ 130 w 148"/>
                <a:gd name="T73" fmla="*/ 40 h 149"/>
                <a:gd name="T74" fmla="*/ 134 w 148"/>
                <a:gd name="T75" fmla="*/ 55 h 149"/>
                <a:gd name="T76" fmla="*/ 148 w 148"/>
                <a:gd name="T77" fmla="*/ 69 h 149"/>
                <a:gd name="T78" fmla="*/ 140 w 148"/>
                <a:gd name="T79" fmla="*/ 89 h 149"/>
                <a:gd name="T80" fmla="*/ 134 w 148"/>
                <a:gd name="T81" fmla="*/ 81 h 149"/>
                <a:gd name="T82" fmla="*/ 137 w 148"/>
                <a:gd name="T83" fmla="*/ 69 h 149"/>
                <a:gd name="T84" fmla="*/ 137 w 148"/>
                <a:gd name="T85" fmla="*/ 69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48" h="149">
                  <a:moveTo>
                    <a:pt x="137" y="69"/>
                  </a:moveTo>
                  <a:lnTo>
                    <a:pt x="130" y="70"/>
                  </a:lnTo>
                  <a:lnTo>
                    <a:pt x="127" y="79"/>
                  </a:lnTo>
                  <a:lnTo>
                    <a:pt x="115" y="81"/>
                  </a:lnTo>
                  <a:lnTo>
                    <a:pt x="113" y="98"/>
                  </a:lnTo>
                  <a:lnTo>
                    <a:pt x="77" y="132"/>
                  </a:lnTo>
                  <a:lnTo>
                    <a:pt x="68" y="129"/>
                  </a:lnTo>
                  <a:lnTo>
                    <a:pt x="63" y="140"/>
                  </a:lnTo>
                  <a:lnTo>
                    <a:pt x="48" y="149"/>
                  </a:lnTo>
                  <a:lnTo>
                    <a:pt x="39" y="140"/>
                  </a:lnTo>
                  <a:lnTo>
                    <a:pt x="35" y="143"/>
                  </a:lnTo>
                  <a:lnTo>
                    <a:pt x="26" y="129"/>
                  </a:lnTo>
                  <a:lnTo>
                    <a:pt x="14" y="125"/>
                  </a:lnTo>
                  <a:lnTo>
                    <a:pt x="15" y="141"/>
                  </a:lnTo>
                  <a:lnTo>
                    <a:pt x="9" y="146"/>
                  </a:lnTo>
                  <a:lnTo>
                    <a:pt x="9" y="146"/>
                  </a:lnTo>
                  <a:lnTo>
                    <a:pt x="5" y="137"/>
                  </a:lnTo>
                  <a:lnTo>
                    <a:pt x="2" y="131"/>
                  </a:lnTo>
                  <a:lnTo>
                    <a:pt x="0" y="126"/>
                  </a:lnTo>
                  <a:lnTo>
                    <a:pt x="0" y="126"/>
                  </a:lnTo>
                  <a:lnTo>
                    <a:pt x="6" y="119"/>
                  </a:lnTo>
                  <a:lnTo>
                    <a:pt x="11" y="114"/>
                  </a:lnTo>
                  <a:lnTo>
                    <a:pt x="11" y="114"/>
                  </a:lnTo>
                  <a:lnTo>
                    <a:pt x="12" y="63"/>
                  </a:lnTo>
                  <a:lnTo>
                    <a:pt x="12" y="63"/>
                  </a:lnTo>
                  <a:lnTo>
                    <a:pt x="21" y="31"/>
                  </a:lnTo>
                  <a:lnTo>
                    <a:pt x="47" y="7"/>
                  </a:lnTo>
                  <a:lnTo>
                    <a:pt x="59" y="15"/>
                  </a:lnTo>
                  <a:lnTo>
                    <a:pt x="62" y="1"/>
                  </a:lnTo>
                  <a:lnTo>
                    <a:pt x="72" y="0"/>
                  </a:lnTo>
                  <a:lnTo>
                    <a:pt x="86" y="18"/>
                  </a:lnTo>
                  <a:lnTo>
                    <a:pt x="95" y="15"/>
                  </a:lnTo>
                  <a:lnTo>
                    <a:pt x="122" y="39"/>
                  </a:lnTo>
                  <a:lnTo>
                    <a:pt x="121" y="45"/>
                  </a:lnTo>
                  <a:lnTo>
                    <a:pt x="125" y="54"/>
                  </a:lnTo>
                  <a:lnTo>
                    <a:pt x="127" y="42"/>
                  </a:lnTo>
                  <a:lnTo>
                    <a:pt x="130" y="40"/>
                  </a:lnTo>
                  <a:lnTo>
                    <a:pt x="134" y="55"/>
                  </a:lnTo>
                  <a:lnTo>
                    <a:pt x="148" y="69"/>
                  </a:lnTo>
                  <a:lnTo>
                    <a:pt x="140" y="89"/>
                  </a:lnTo>
                  <a:lnTo>
                    <a:pt x="134" y="81"/>
                  </a:lnTo>
                  <a:lnTo>
                    <a:pt x="137" y="69"/>
                  </a:lnTo>
                  <a:lnTo>
                    <a:pt x="137" y="6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043" name="Freeform 398"/>
            <p:cNvSpPr>
              <a:spLocks/>
            </p:cNvSpPr>
            <p:nvPr userDrawn="1"/>
          </p:nvSpPr>
          <p:spPr bwMode="auto">
            <a:xfrm>
              <a:off x="6083" y="930"/>
              <a:ext cx="16" cy="26"/>
            </a:xfrm>
            <a:custGeom>
              <a:avLst/>
              <a:gdLst>
                <a:gd name="T0" fmla="*/ 0 w 16"/>
                <a:gd name="T1" fmla="*/ 4 h 26"/>
                <a:gd name="T2" fmla="*/ 6 w 16"/>
                <a:gd name="T3" fmla="*/ 0 h 26"/>
                <a:gd name="T4" fmla="*/ 16 w 16"/>
                <a:gd name="T5" fmla="*/ 4 h 26"/>
                <a:gd name="T6" fmla="*/ 13 w 16"/>
                <a:gd name="T7" fmla="*/ 16 h 26"/>
                <a:gd name="T8" fmla="*/ 6 w 16"/>
                <a:gd name="T9" fmla="*/ 26 h 26"/>
                <a:gd name="T10" fmla="*/ 0 w 16"/>
                <a:gd name="T11" fmla="*/ 13 h 26"/>
                <a:gd name="T12" fmla="*/ 0 w 16"/>
                <a:gd name="T13" fmla="*/ 4 h 26"/>
                <a:gd name="T14" fmla="*/ 0 w 16"/>
                <a:gd name="T15" fmla="*/ 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" h="26">
                  <a:moveTo>
                    <a:pt x="0" y="4"/>
                  </a:moveTo>
                  <a:lnTo>
                    <a:pt x="6" y="0"/>
                  </a:lnTo>
                  <a:lnTo>
                    <a:pt x="16" y="4"/>
                  </a:lnTo>
                  <a:lnTo>
                    <a:pt x="13" y="16"/>
                  </a:lnTo>
                  <a:lnTo>
                    <a:pt x="6" y="26"/>
                  </a:lnTo>
                  <a:lnTo>
                    <a:pt x="0" y="13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044" name="Freeform 399"/>
            <p:cNvSpPr>
              <a:spLocks/>
            </p:cNvSpPr>
            <p:nvPr userDrawn="1"/>
          </p:nvSpPr>
          <p:spPr bwMode="auto">
            <a:xfrm>
              <a:off x="7167" y="100"/>
              <a:ext cx="30" cy="54"/>
            </a:xfrm>
            <a:custGeom>
              <a:avLst/>
              <a:gdLst>
                <a:gd name="T0" fmla="*/ 0 w 30"/>
                <a:gd name="T1" fmla="*/ 0 h 54"/>
                <a:gd name="T2" fmla="*/ 29 w 30"/>
                <a:gd name="T3" fmla="*/ 35 h 54"/>
                <a:gd name="T4" fmla="*/ 30 w 30"/>
                <a:gd name="T5" fmla="*/ 53 h 54"/>
                <a:gd name="T6" fmla="*/ 30 w 30"/>
                <a:gd name="T7" fmla="*/ 53 h 54"/>
                <a:gd name="T8" fmla="*/ 29 w 30"/>
                <a:gd name="T9" fmla="*/ 54 h 54"/>
                <a:gd name="T10" fmla="*/ 26 w 30"/>
                <a:gd name="T11" fmla="*/ 53 h 54"/>
                <a:gd name="T12" fmla="*/ 26 w 30"/>
                <a:gd name="T13" fmla="*/ 53 h 54"/>
                <a:gd name="T14" fmla="*/ 20 w 30"/>
                <a:gd name="T15" fmla="*/ 36 h 54"/>
                <a:gd name="T16" fmla="*/ 3 w 30"/>
                <a:gd name="T17" fmla="*/ 15 h 54"/>
                <a:gd name="T18" fmla="*/ 0 w 30"/>
                <a:gd name="T19" fmla="*/ 0 h 54"/>
                <a:gd name="T20" fmla="*/ 0 w 30"/>
                <a:gd name="T21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54">
                  <a:moveTo>
                    <a:pt x="0" y="0"/>
                  </a:moveTo>
                  <a:lnTo>
                    <a:pt x="29" y="35"/>
                  </a:lnTo>
                  <a:lnTo>
                    <a:pt x="30" y="53"/>
                  </a:lnTo>
                  <a:lnTo>
                    <a:pt x="30" y="53"/>
                  </a:lnTo>
                  <a:lnTo>
                    <a:pt x="29" y="54"/>
                  </a:lnTo>
                  <a:lnTo>
                    <a:pt x="26" y="53"/>
                  </a:lnTo>
                  <a:lnTo>
                    <a:pt x="26" y="53"/>
                  </a:lnTo>
                  <a:lnTo>
                    <a:pt x="20" y="36"/>
                  </a:lnTo>
                  <a:lnTo>
                    <a:pt x="3" y="15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045" name="Freeform 400"/>
            <p:cNvSpPr>
              <a:spLocks/>
            </p:cNvSpPr>
            <p:nvPr userDrawn="1"/>
          </p:nvSpPr>
          <p:spPr bwMode="auto">
            <a:xfrm>
              <a:off x="5692" y="808"/>
              <a:ext cx="21" cy="30"/>
            </a:xfrm>
            <a:custGeom>
              <a:avLst/>
              <a:gdLst>
                <a:gd name="T0" fmla="*/ 20 w 21"/>
                <a:gd name="T1" fmla="*/ 4 h 30"/>
                <a:gd name="T2" fmla="*/ 14 w 21"/>
                <a:gd name="T3" fmla="*/ 0 h 30"/>
                <a:gd name="T4" fmla="*/ 9 w 21"/>
                <a:gd name="T5" fmla="*/ 7 h 30"/>
                <a:gd name="T6" fmla="*/ 5 w 21"/>
                <a:gd name="T7" fmla="*/ 3 h 30"/>
                <a:gd name="T8" fmla="*/ 0 w 21"/>
                <a:gd name="T9" fmla="*/ 12 h 30"/>
                <a:gd name="T10" fmla="*/ 14 w 21"/>
                <a:gd name="T11" fmla="*/ 19 h 30"/>
                <a:gd name="T12" fmla="*/ 17 w 21"/>
                <a:gd name="T13" fmla="*/ 30 h 30"/>
                <a:gd name="T14" fmla="*/ 21 w 21"/>
                <a:gd name="T15" fmla="*/ 18 h 30"/>
                <a:gd name="T16" fmla="*/ 17 w 21"/>
                <a:gd name="T17" fmla="*/ 12 h 30"/>
                <a:gd name="T18" fmla="*/ 20 w 21"/>
                <a:gd name="T19" fmla="*/ 4 h 30"/>
                <a:gd name="T20" fmla="*/ 20 w 21"/>
                <a:gd name="T21" fmla="*/ 4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" h="30">
                  <a:moveTo>
                    <a:pt x="20" y="4"/>
                  </a:moveTo>
                  <a:lnTo>
                    <a:pt x="14" y="0"/>
                  </a:lnTo>
                  <a:lnTo>
                    <a:pt x="9" y="7"/>
                  </a:lnTo>
                  <a:lnTo>
                    <a:pt x="5" y="3"/>
                  </a:lnTo>
                  <a:lnTo>
                    <a:pt x="0" y="12"/>
                  </a:lnTo>
                  <a:lnTo>
                    <a:pt x="14" y="19"/>
                  </a:lnTo>
                  <a:lnTo>
                    <a:pt x="17" y="30"/>
                  </a:lnTo>
                  <a:lnTo>
                    <a:pt x="21" y="18"/>
                  </a:lnTo>
                  <a:lnTo>
                    <a:pt x="17" y="12"/>
                  </a:lnTo>
                  <a:lnTo>
                    <a:pt x="20" y="4"/>
                  </a:lnTo>
                  <a:lnTo>
                    <a:pt x="20" y="4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046" name="Freeform 401"/>
            <p:cNvSpPr>
              <a:spLocks/>
            </p:cNvSpPr>
            <p:nvPr userDrawn="1"/>
          </p:nvSpPr>
          <p:spPr bwMode="auto">
            <a:xfrm>
              <a:off x="5044" y="-203"/>
              <a:ext cx="55" cy="38"/>
            </a:xfrm>
            <a:custGeom>
              <a:avLst/>
              <a:gdLst>
                <a:gd name="T0" fmla="*/ 49 w 55"/>
                <a:gd name="T1" fmla="*/ 25 h 38"/>
                <a:gd name="T2" fmla="*/ 55 w 55"/>
                <a:gd name="T3" fmla="*/ 13 h 38"/>
                <a:gd name="T4" fmla="*/ 43 w 55"/>
                <a:gd name="T5" fmla="*/ 19 h 38"/>
                <a:gd name="T6" fmla="*/ 25 w 55"/>
                <a:gd name="T7" fmla="*/ 0 h 38"/>
                <a:gd name="T8" fmla="*/ 21 w 55"/>
                <a:gd name="T9" fmla="*/ 7 h 38"/>
                <a:gd name="T10" fmla="*/ 3 w 55"/>
                <a:gd name="T11" fmla="*/ 7 h 38"/>
                <a:gd name="T12" fmla="*/ 1 w 55"/>
                <a:gd name="T13" fmla="*/ 18 h 38"/>
                <a:gd name="T14" fmla="*/ 13 w 55"/>
                <a:gd name="T15" fmla="*/ 19 h 38"/>
                <a:gd name="T16" fmla="*/ 13 w 55"/>
                <a:gd name="T17" fmla="*/ 25 h 38"/>
                <a:gd name="T18" fmla="*/ 0 w 55"/>
                <a:gd name="T19" fmla="*/ 27 h 38"/>
                <a:gd name="T20" fmla="*/ 3 w 55"/>
                <a:gd name="T21" fmla="*/ 38 h 38"/>
                <a:gd name="T22" fmla="*/ 16 w 55"/>
                <a:gd name="T23" fmla="*/ 30 h 38"/>
                <a:gd name="T24" fmla="*/ 34 w 55"/>
                <a:gd name="T25" fmla="*/ 29 h 38"/>
                <a:gd name="T26" fmla="*/ 49 w 55"/>
                <a:gd name="T27" fmla="*/ 25 h 38"/>
                <a:gd name="T28" fmla="*/ 49 w 55"/>
                <a:gd name="T29" fmla="*/ 25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5" h="38">
                  <a:moveTo>
                    <a:pt x="49" y="25"/>
                  </a:moveTo>
                  <a:lnTo>
                    <a:pt x="55" y="13"/>
                  </a:lnTo>
                  <a:lnTo>
                    <a:pt x="43" y="19"/>
                  </a:lnTo>
                  <a:lnTo>
                    <a:pt x="25" y="0"/>
                  </a:lnTo>
                  <a:lnTo>
                    <a:pt x="21" y="7"/>
                  </a:lnTo>
                  <a:lnTo>
                    <a:pt x="3" y="7"/>
                  </a:lnTo>
                  <a:lnTo>
                    <a:pt x="1" y="18"/>
                  </a:lnTo>
                  <a:lnTo>
                    <a:pt x="13" y="19"/>
                  </a:lnTo>
                  <a:lnTo>
                    <a:pt x="13" y="25"/>
                  </a:lnTo>
                  <a:lnTo>
                    <a:pt x="0" y="27"/>
                  </a:lnTo>
                  <a:lnTo>
                    <a:pt x="3" y="38"/>
                  </a:lnTo>
                  <a:lnTo>
                    <a:pt x="16" y="30"/>
                  </a:lnTo>
                  <a:lnTo>
                    <a:pt x="34" y="29"/>
                  </a:lnTo>
                  <a:lnTo>
                    <a:pt x="49" y="25"/>
                  </a:lnTo>
                  <a:lnTo>
                    <a:pt x="49" y="25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047" name="Freeform 402"/>
            <p:cNvSpPr>
              <a:spLocks/>
            </p:cNvSpPr>
            <p:nvPr userDrawn="1"/>
          </p:nvSpPr>
          <p:spPr bwMode="auto">
            <a:xfrm>
              <a:off x="5160" y="-174"/>
              <a:ext cx="9" cy="13"/>
            </a:xfrm>
            <a:custGeom>
              <a:avLst/>
              <a:gdLst>
                <a:gd name="T0" fmla="*/ 0 w 9"/>
                <a:gd name="T1" fmla="*/ 0 h 13"/>
                <a:gd name="T2" fmla="*/ 7 w 9"/>
                <a:gd name="T3" fmla="*/ 0 h 13"/>
                <a:gd name="T4" fmla="*/ 9 w 9"/>
                <a:gd name="T5" fmla="*/ 13 h 13"/>
                <a:gd name="T6" fmla="*/ 0 w 9"/>
                <a:gd name="T7" fmla="*/ 0 h 13"/>
                <a:gd name="T8" fmla="*/ 0 w 9"/>
                <a:gd name="T9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3">
                  <a:moveTo>
                    <a:pt x="0" y="0"/>
                  </a:moveTo>
                  <a:lnTo>
                    <a:pt x="7" y="0"/>
                  </a:lnTo>
                  <a:lnTo>
                    <a:pt x="9" y="13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048" name="Freeform 403"/>
            <p:cNvSpPr>
              <a:spLocks/>
            </p:cNvSpPr>
            <p:nvPr userDrawn="1"/>
          </p:nvSpPr>
          <p:spPr bwMode="auto">
            <a:xfrm>
              <a:off x="4939" y="-125"/>
              <a:ext cx="20" cy="35"/>
            </a:xfrm>
            <a:custGeom>
              <a:avLst/>
              <a:gdLst>
                <a:gd name="T0" fmla="*/ 16 w 20"/>
                <a:gd name="T1" fmla="*/ 30 h 35"/>
                <a:gd name="T2" fmla="*/ 5 w 20"/>
                <a:gd name="T3" fmla="*/ 35 h 35"/>
                <a:gd name="T4" fmla="*/ 2 w 20"/>
                <a:gd name="T5" fmla="*/ 17 h 35"/>
                <a:gd name="T6" fmla="*/ 0 w 20"/>
                <a:gd name="T7" fmla="*/ 0 h 35"/>
                <a:gd name="T8" fmla="*/ 11 w 20"/>
                <a:gd name="T9" fmla="*/ 3 h 35"/>
                <a:gd name="T10" fmla="*/ 20 w 20"/>
                <a:gd name="T11" fmla="*/ 21 h 35"/>
                <a:gd name="T12" fmla="*/ 16 w 20"/>
                <a:gd name="T13" fmla="*/ 30 h 35"/>
                <a:gd name="T14" fmla="*/ 16 w 20"/>
                <a:gd name="T15" fmla="*/ 3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" h="35">
                  <a:moveTo>
                    <a:pt x="16" y="30"/>
                  </a:moveTo>
                  <a:lnTo>
                    <a:pt x="5" y="35"/>
                  </a:lnTo>
                  <a:lnTo>
                    <a:pt x="2" y="17"/>
                  </a:lnTo>
                  <a:lnTo>
                    <a:pt x="0" y="0"/>
                  </a:lnTo>
                  <a:lnTo>
                    <a:pt x="11" y="3"/>
                  </a:lnTo>
                  <a:lnTo>
                    <a:pt x="20" y="21"/>
                  </a:lnTo>
                  <a:lnTo>
                    <a:pt x="16" y="30"/>
                  </a:lnTo>
                  <a:lnTo>
                    <a:pt x="16" y="30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049" name="Freeform 404"/>
            <p:cNvSpPr>
              <a:spLocks/>
            </p:cNvSpPr>
            <p:nvPr userDrawn="1"/>
          </p:nvSpPr>
          <p:spPr bwMode="auto">
            <a:xfrm>
              <a:off x="4890" y="-101"/>
              <a:ext cx="43" cy="58"/>
            </a:xfrm>
            <a:custGeom>
              <a:avLst/>
              <a:gdLst>
                <a:gd name="T0" fmla="*/ 37 w 43"/>
                <a:gd name="T1" fmla="*/ 28 h 58"/>
                <a:gd name="T2" fmla="*/ 43 w 43"/>
                <a:gd name="T3" fmla="*/ 20 h 58"/>
                <a:gd name="T4" fmla="*/ 37 w 43"/>
                <a:gd name="T5" fmla="*/ 13 h 58"/>
                <a:gd name="T6" fmla="*/ 37 w 43"/>
                <a:gd name="T7" fmla="*/ 0 h 58"/>
                <a:gd name="T8" fmla="*/ 31 w 43"/>
                <a:gd name="T9" fmla="*/ 3 h 58"/>
                <a:gd name="T10" fmla="*/ 18 w 43"/>
                <a:gd name="T11" fmla="*/ 13 h 58"/>
                <a:gd name="T12" fmla="*/ 15 w 43"/>
                <a:gd name="T13" fmla="*/ 22 h 58"/>
                <a:gd name="T14" fmla="*/ 6 w 43"/>
                <a:gd name="T15" fmla="*/ 16 h 58"/>
                <a:gd name="T16" fmla="*/ 0 w 43"/>
                <a:gd name="T17" fmla="*/ 29 h 58"/>
                <a:gd name="T18" fmla="*/ 7 w 43"/>
                <a:gd name="T19" fmla="*/ 38 h 58"/>
                <a:gd name="T20" fmla="*/ 7 w 43"/>
                <a:gd name="T21" fmla="*/ 55 h 58"/>
                <a:gd name="T22" fmla="*/ 15 w 43"/>
                <a:gd name="T23" fmla="*/ 58 h 58"/>
                <a:gd name="T24" fmla="*/ 30 w 43"/>
                <a:gd name="T25" fmla="*/ 38 h 58"/>
                <a:gd name="T26" fmla="*/ 37 w 43"/>
                <a:gd name="T27" fmla="*/ 28 h 58"/>
                <a:gd name="T28" fmla="*/ 37 w 43"/>
                <a:gd name="T29" fmla="*/ 2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3" h="58">
                  <a:moveTo>
                    <a:pt x="37" y="28"/>
                  </a:moveTo>
                  <a:lnTo>
                    <a:pt x="43" y="20"/>
                  </a:lnTo>
                  <a:lnTo>
                    <a:pt x="37" y="13"/>
                  </a:lnTo>
                  <a:lnTo>
                    <a:pt x="37" y="0"/>
                  </a:lnTo>
                  <a:lnTo>
                    <a:pt x="31" y="3"/>
                  </a:lnTo>
                  <a:lnTo>
                    <a:pt x="18" y="13"/>
                  </a:lnTo>
                  <a:lnTo>
                    <a:pt x="15" y="22"/>
                  </a:lnTo>
                  <a:lnTo>
                    <a:pt x="6" y="16"/>
                  </a:lnTo>
                  <a:lnTo>
                    <a:pt x="0" y="29"/>
                  </a:lnTo>
                  <a:lnTo>
                    <a:pt x="7" y="38"/>
                  </a:lnTo>
                  <a:lnTo>
                    <a:pt x="7" y="55"/>
                  </a:lnTo>
                  <a:lnTo>
                    <a:pt x="15" y="58"/>
                  </a:lnTo>
                  <a:lnTo>
                    <a:pt x="30" y="38"/>
                  </a:lnTo>
                  <a:lnTo>
                    <a:pt x="37" y="28"/>
                  </a:lnTo>
                  <a:lnTo>
                    <a:pt x="37" y="28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050" name="Freeform 405"/>
            <p:cNvSpPr>
              <a:spLocks/>
            </p:cNvSpPr>
            <p:nvPr userDrawn="1"/>
          </p:nvSpPr>
          <p:spPr bwMode="auto">
            <a:xfrm>
              <a:off x="4855" y="-61"/>
              <a:ext cx="42" cy="27"/>
            </a:xfrm>
            <a:custGeom>
              <a:avLst/>
              <a:gdLst>
                <a:gd name="T0" fmla="*/ 39 w 42"/>
                <a:gd name="T1" fmla="*/ 27 h 27"/>
                <a:gd name="T2" fmla="*/ 23 w 42"/>
                <a:gd name="T3" fmla="*/ 25 h 27"/>
                <a:gd name="T4" fmla="*/ 0 w 42"/>
                <a:gd name="T5" fmla="*/ 12 h 27"/>
                <a:gd name="T6" fmla="*/ 15 w 42"/>
                <a:gd name="T7" fmla="*/ 0 h 27"/>
                <a:gd name="T8" fmla="*/ 35 w 42"/>
                <a:gd name="T9" fmla="*/ 9 h 27"/>
                <a:gd name="T10" fmla="*/ 42 w 42"/>
                <a:gd name="T11" fmla="*/ 21 h 27"/>
                <a:gd name="T12" fmla="*/ 39 w 42"/>
                <a:gd name="T13" fmla="*/ 27 h 27"/>
                <a:gd name="T14" fmla="*/ 39 w 42"/>
                <a:gd name="T15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2" h="27">
                  <a:moveTo>
                    <a:pt x="39" y="27"/>
                  </a:moveTo>
                  <a:lnTo>
                    <a:pt x="23" y="25"/>
                  </a:lnTo>
                  <a:lnTo>
                    <a:pt x="0" y="12"/>
                  </a:lnTo>
                  <a:lnTo>
                    <a:pt x="15" y="0"/>
                  </a:lnTo>
                  <a:lnTo>
                    <a:pt x="35" y="9"/>
                  </a:lnTo>
                  <a:lnTo>
                    <a:pt x="42" y="21"/>
                  </a:lnTo>
                  <a:lnTo>
                    <a:pt x="39" y="27"/>
                  </a:lnTo>
                  <a:lnTo>
                    <a:pt x="39" y="27"/>
                  </a:lnTo>
                  <a:close/>
                </a:path>
              </a:pathLst>
            </a:custGeom>
            <a:solidFill>
              <a:srgbClr val="E3D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</p:grpSp>
      <p:grpSp>
        <p:nvGrpSpPr>
          <p:cNvPr id="2051" name="Group 607"/>
          <p:cNvGrpSpPr>
            <a:grpSpLocks/>
          </p:cNvGrpSpPr>
          <p:nvPr userDrawn="1"/>
        </p:nvGrpSpPr>
        <p:grpSpPr bwMode="auto">
          <a:xfrm>
            <a:off x="4418014" y="-274639"/>
            <a:ext cx="5341937" cy="6403976"/>
            <a:chOff x="2783" y="-173"/>
            <a:chExt cx="3365" cy="4034"/>
          </a:xfrm>
          <a:solidFill>
            <a:schemeClr val="bg1"/>
          </a:solidFill>
        </p:grpSpPr>
        <p:sp>
          <p:nvSpPr>
            <p:cNvPr id="2052" name="Freeform 407"/>
            <p:cNvSpPr>
              <a:spLocks/>
            </p:cNvSpPr>
            <p:nvPr userDrawn="1"/>
          </p:nvSpPr>
          <p:spPr bwMode="auto">
            <a:xfrm>
              <a:off x="4840" y="-147"/>
              <a:ext cx="86" cy="66"/>
            </a:xfrm>
            <a:custGeom>
              <a:avLst/>
              <a:gdLst>
                <a:gd name="T0" fmla="*/ 86 w 86"/>
                <a:gd name="T1" fmla="*/ 12 h 66"/>
                <a:gd name="T2" fmla="*/ 81 w 86"/>
                <a:gd name="T3" fmla="*/ 0 h 66"/>
                <a:gd name="T4" fmla="*/ 75 w 86"/>
                <a:gd name="T5" fmla="*/ 4 h 66"/>
                <a:gd name="T6" fmla="*/ 71 w 86"/>
                <a:gd name="T7" fmla="*/ 15 h 66"/>
                <a:gd name="T8" fmla="*/ 65 w 86"/>
                <a:gd name="T9" fmla="*/ 12 h 66"/>
                <a:gd name="T10" fmla="*/ 42 w 86"/>
                <a:gd name="T11" fmla="*/ 24 h 66"/>
                <a:gd name="T12" fmla="*/ 44 w 86"/>
                <a:gd name="T13" fmla="*/ 34 h 66"/>
                <a:gd name="T14" fmla="*/ 30 w 86"/>
                <a:gd name="T15" fmla="*/ 39 h 66"/>
                <a:gd name="T16" fmla="*/ 32 w 86"/>
                <a:gd name="T17" fmla="*/ 30 h 66"/>
                <a:gd name="T18" fmla="*/ 23 w 86"/>
                <a:gd name="T19" fmla="*/ 25 h 66"/>
                <a:gd name="T20" fmla="*/ 17 w 86"/>
                <a:gd name="T21" fmla="*/ 36 h 66"/>
                <a:gd name="T22" fmla="*/ 0 w 86"/>
                <a:gd name="T23" fmla="*/ 40 h 66"/>
                <a:gd name="T24" fmla="*/ 3 w 86"/>
                <a:gd name="T25" fmla="*/ 54 h 66"/>
                <a:gd name="T26" fmla="*/ 1 w 86"/>
                <a:gd name="T27" fmla="*/ 63 h 66"/>
                <a:gd name="T28" fmla="*/ 15 w 86"/>
                <a:gd name="T29" fmla="*/ 60 h 66"/>
                <a:gd name="T30" fmla="*/ 21 w 86"/>
                <a:gd name="T31" fmla="*/ 52 h 66"/>
                <a:gd name="T32" fmla="*/ 27 w 86"/>
                <a:gd name="T33" fmla="*/ 66 h 66"/>
                <a:gd name="T34" fmla="*/ 35 w 86"/>
                <a:gd name="T35" fmla="*/ 55 h 66"/>
                <a:gd name="T36" fmla="*/ 54 w 86"/>
                <a:gd name="T37" fmla="*/ 42 h 66"/>
                <a:gd name="T38" fmla="*/ 60 w 86"/>
                <a:gd name="T39" fmla="*/ 27 h 66"/>
                <a:gd name="T40" fmla="*/ 74 w 86"/>
                <a:gd name="T41" fmla="*/ 18 h 66"/>
                <a:gd name="T42" fmla="*/ 86 w 86"/>
                <a:gd name="T43" fmla="*/ 12 h 66"/>
                <a:gd name="T44" fmla="*/ 86 w 86"/>
                <a:gd name="T45" fmla="*/ 12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6" h="66">
                  <a:moveTo>
                    <a:pt x="86" y="12"/>
                  </a:moveTo>
                  <a:lnTo>
                    <a:pt x="81" y="0"/>
                  </a:lnTo>
                  <a:lnTo>
                    <a:pt x="75" y="4"/>
                  </a:lnTo>
                  <a:lnTo>
                    <a:pt x="71" y="15"/>
                  </a:lnTo>
                  <a:lnTo>
                    <a:pt x="65" y="12"/>
                  </a:lnTo>
                  <a:lnTo>
                    <a:pt x="42" y="24"/>
                  </a:lnTo>
                  <a:lnTo>
                    <a:pt x="44" y="34"/>
                  </a:lnTo>
                  <a:lnTo>
                    <a:pt x="30" y="39"/>
                  </a:lnTo>
                  <a:lnTo>
                    <a:pt x="32" y="30"/>
                  </a:lnTo>
                  <a:lnTo>
                    <a:pt x="23" y="25"/>
                  </a:lnTo>
                  <a:lnTo>
                    <a:pt x="17" y="36"/>
                  </a:lnTo>
                  <a:lnTo>
                    <a:pt x="0" y="40"/>
                  </a:lnTo>
                  <a:lnTo>
                    <a:pt x="3" y="54"/>
                  </a:lnTo>
                  <a:lnTo>
                    <a:pt x="1" y="63"/>
                  </a:lnTo>
                  <a:lnTo>
                    <a:pt x="15" y="60"/>
                  </a:lnTo>
                  <a:lnTo>
                    <a:pt x="21" y="52"/>
                  </a:lnTo>
                  <a:lnTo>
                    <a:pt x="27" y="66"/>
                  </a:lnTo>
                  <a:lnTo>
                    <a:pt x="35" y="55"/>
                  </a:lnTo>
                  <a:lnTo>
                    <a:pt x="54" y="42"/>
                  </a:lnTo>
                  <a:lnTo>
                    <a:pt x="60" y="27"/>
                  </a:lnTo>
                  <a:lnTo>
                    <a:pt x="74" y="18"/>
                  </a:lnTo>
                  <a:lnTo>
                    <a:pt x="86" y="12"/>
                  </a:lnTo>
                  <a:lnTo>
                    <a:pt x="86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053" name="Freeform 408"/>
            <p:cNvSpPr>
              <a:spLocks/>
            </p:cNvSpPr>
            <p:nvPr userDrawn="1"/>
          </p:nvSpPr>
          <p:spPr bwMode="auto">
            <a:xfrm>
              <a:off x="4964" y="-173"/>
              <a:ext cx="12" cy="21"/>
            </a:xfrm>
            <a:custGeom>
              <a:avLst/>
              <a:gdLst>
                <a:gd name="T0" fmla="*/ 12 w 12"/>
                <a:gd name="T1" fmla="*/ 20 h 21"/>
                <a:gd name="T2" fmla="*/ 4 w 12"/>
                <a:gd name="T3" fmla="*/ 21 h 21"/>
                <a:gd name="T4" fmla="*/ 6 w 12"/>
                <a:gd name="T5" fmla="*/ 15 h 21"/>
                <a:gd name="T6" fmla="*/ 0 w 12"/>
                <a:gd name="T7" fmla="*/ 14 h 21"/>
                <a:gd name="T8" fmla="*/ 4 w 12"/>
                <a:gd name="T9" fmla="*/ 0 h 21"/>
                <a:gd name="T10" fmla="*/ 12 w 12"/>
                <a:gd name="T11" fmla="*/ 6 h 21"/>
                <a:gd name="T12" fmla="*/ 12 w 12"/>
                <a:gd name="T13" fmla="*/ 20 h 21"/>
                <a:gd name="T14" fmla="*/ 12 w 12"/>
                <a:gd name="T15" fmla="*/ 2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21">
                  <a:moveTo>
                    <a:pt x="12" y="20"/>
                  </a:moveTo>
                  <a:lnTo>
                    <a:pt x="4" y="21"/>
                  </a:lnTo>
                  <a:lnTo>
                    <a:pt x="6" y="15"/>
                  </a:lnTo>
                  <a:lnTo>
                    <a:pt x="0" y="14"/>
                  </a:lnTo>
                  <a:lnTo>
                    <a:pt x="4" y="0"/>
                  </a:lnTo>
                  <a:lnTo>
                    <a:pt x="12" y="6"/>
                  </a:lnTo>
                  <a:lnTo>
                    <a:pt x="12" y="20"/>
                  </a:lnTo>
                  <a:lnTo>
                    <a:pt x="12" y="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054" name="Freeform 409"/>
            <p:cNvSpPr>
              <a:spLocks/>
            </p:cNvSpPr>
            <p:nvPr userDrawn="1"/>
          </p:nvSpPr>
          <p:spPr bwMode="auto">
            <a:xfrm>
              <a:off x="4804" y="-66"/>
              <a:ext cx="18" cy="18"/>
            </a:xfrm>
            <a:custGeom>
              <a:avLst/>
              <a:gdLst>
                <a:gd name="T0" fmla="*/ 10 w 18"/>
                <a:gd name="T1" fmla="*/ 18 h 18"/>
                <a:gd name="T2" fmla="*/ 0 w 18"/>
                <a:gd name="T3" fmla="*/ 2 h 18"/>
                <a:gd name="T4" fmla="*/ 6 w 18"/>
                <a:gd name="T5" fmla="*/ 0 h 18"/>
                <a:gd name="T6" fmla="*/ 18 w 18"/>
                <a:gd name="T7" fmla="*/ 8 h 18"/>
                <a:gd name="T8" fmla="*/ 10 w 18"/>
                <a:gd name="T9" fmla="*/ 18 h 18"/>
                <a:gd name="T10" fmla="*/ 10 w 18"/>
                <a:gd name="T11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18">
                  <a:moveTo>
                    <a:pt x="10" y="18"/>
                  </a:moveTo>
                  <a:lnTo>
                    <a:pt x="0" y="2"/>
                  </a:lnTo>
                  <a:lnTo>
                    <a:pt x="6" y="0"/>
                  </a:lnTo>
                  <a:lnTo>
                    <a:pt x="18" y="8"/>
                  </a:lnTo>
                  <a:lnTo>
                    <a:pt x="10" y="18"/>
                  </a:lnTo>
                  <a:lnTo>
                    <a:pt x="10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055" name="Freeform 410"/>
            <p:cNvSpPr>
              <a:spLocks/>
            </p:cNvSpPr>
            <p:nvPr userDrawn="1"/>
          </p:nvSpPr>
          <p:spPr bwMode="auto">
            <a:xfrm>
              <a:off x="4730" y="-36"/>
              <a:ext cx="25" cy="41"/>
            </a:xfrm>
            <a:custGeom>
              <a:avLst/>
              <a:gdLst>
                <a:gd name="T0" fmla="*/ 21 w 25"/>
                <a:gd name="T1" fmla="*/ 35 h 41"/>
                <a:gd name="T2" fmla="*/ 13 w 25"/>
                <a:gd name="T3" fmla="*/ 41 h 41"/>
                <a:gd name="T4" fmla="*/ 4 w 25"/>
                <a:gd name="T5" fmla="*/ 35 h 41"/>
                <a:gd name="T6" fmla="*/ 4 w 25"/>
                <a:gd name="T7" fmla="*/ 27 h 41"/>
                <a:gd name="T8" fmla="*/ 0 w 25"/>
                <a:gd name="T9" fmla="*/ 15 h 41"/>
                <a:gd name="T10" fmla="*/ 6 w 25"/>
                <a:gd name="T11" fmla="*/ 12 h 41"/>
                <a:gd name="T12" fmla="*/ 10 w 25"/>
                <a:gd name="T13" fmla="*/ 5 h 41"/>
                <a:gd name="T14" fmla="*/ 16 w 25"/>
                <a:gd name="T15" fmla="*/ 0 h 41"/>
                <a:gd name="T16" fmla="*/ 25 w 25"/>
                <a:gd name="T17" fmla="*/ 5 h 41"/>
                <a:gd name="T18" fmla="*/ 15 w 25"/>
                <a:gd name="T19" fmla="*/ 20 h 41"/>
                <a:gd name="T20" fmla="*/ 21 w 25"/>
                <a:gd name="T21" fmla="*/ 35 h 41"/>
                <a:gd name="T22" fmla="*/ 21 w 25"/>
                <a:gd name="T23" fmla="*/ 35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" h="41">
                  <a:moveTo>
                    <a:pt x="21" y="35"/>
                  </a:moveTo>
                  <a:lnTo>
                    <a:pt x="13" y="41"/>
                  </a:lnTo>
                  <a:lnTo>
                    <a:pt x="4" y="35"/>
                  </a:lnTo>
                  <a:lnTo>
                    <a:pt x="4" y="27"/>
                  </a:lnTo>
                  <a:lnTo>
                    <a:pt x="0" y="15"/>
                  </a:lnTo>
                  <a:lnTo>
                    <a:pt x="6" y="12"/>
                  </a:lnTo>
                  <a:lnTo>
                    <a:pt x="10" y="5"/>
                  </a:lnTo>
                  <a:lnTo>
                    <a:pt x="16" y="0"/>
                  </a:lnTo>
                  <a:lnTo>
                    <a:pt x="25" y="5"/>
                  </a:lnTo>
                  <a:lnTo>
                    <a:pt x="15" y="20"/>
                  </a:lnTo>
                  <a:lnTo>
                    <a:pt x="21" y="35"/>
                  </a:lnTo>
                  <a:lnTo>
                    <a:pt x="21" y="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056" name="Freeform 411"/>
            <p:cNvSpPr>
              <a:spLocks/>
            </p:cNvSpPr>
            <p:nvPr userDrawn="1"/>
          </p:nvSpPr>
          <p:spPr bwMode="auto">
            <a:xfrm>
              <a:off x="4669" y="20"/>
              <a:ext cx="22" cy="21"/>
            </a:xfrm>
            <a:custGeom>
              <a:avLst/>
              <a:gdLst>
                <a:gd name="T0" fmla="*/ 17 w 22"/>
                <a:gd name="T1" fmla="*/ 0 h 21"/>
                <a:gd name="T2" fmla="*/ 13 w 22"/>
                <a:gd name="T3" fmla="*/ 8 h 21"/>
                <a:gd name="T4" fmla="*/ 0 w 22"/>
                <a:gd name="T5" fmla="*/ 14 h 21"/>
                <a:gd name="T6" fmla="*/ 4 w 22"/>
                <a:gd name="T7" fmla="*/ 21 h 21"/>
                <a:gd name="T8" fmla="*/ 17 w 22"/>
                <a:gd name="T9" fmla="*/ 20 h 21"/>
                <a:gd name="T10" fmla="*/ 22 w 22"/>
                <a:gd name="T11" fmla="*/ 2 h 21"/>
                <a:gd name="T12" fmla="*/ 17 w 22"/>
                <a:gd name="T13" fmla="*/ 0 h 21"/>
                <a:gd name="T14" fmla="*/ 17 w 22"/>
                <a:gd name="T15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1">
                  <a:moveTo>
                    <a:pt x="17" y="0"/>
                  </a:moveTo>
                  <a:lnTo>
                    <a:pt x="13" y="8"/>
                  </a:lnTo>
                  <a:lnTo>
                    <a:pt x="0" y="14"/>
                  </a:lnTo>
                  <a:lnTo>
                    <a:pt x="4" y="21"/>
                  </a:lnTo>
                  <a:lnTo>
                    <a:pt x="17" y="20"/>
                  </a:lnTo>
                  <a:lnTo>
                    <a:pt x="22" y="2"/>
                  </a:lnTo>
                  <a:lnTo>
                    <a:pt x="17" y="0"/>
                  </a:lnTo>
                  <a:lnTo>
                    <a:pt x="1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057" name="Freeform 412"/>
            <p:cNvSpPr>
              <a:spLocks/>
            </p:cNvSpPr>
            <p:nvPr userDrawn="1"/>
          </p:nvSpPr>
          <p:spPr bwMode="auto">
            <a:xfrm>
              <a:off x="4709" y="-46"/>
              <a:ext cx="10" cy="13"/>
            </a:xfrm>
            <a:custGeom>
              <a:avLst/>
              <a:gdLst>
                <a:gd name="T0" fmla="*/ 0 w 10"/>
                <a:gd name="T1" fmla="*/ 3 h 13"/>
                <a:gd name="T2" fmla="*/ 4 w 10"/>
                <a:gd name="T3" fmla="*/ 0 h 13"/>
                <a:gd name="T4" fmla="*/ 10 w 10"/>
                <a:gd name="T5" fmla="*/ 10 h 13"/>
                <a:gd name="T6" fmla="*/ 4 w 10"/>
                <a:gd name="T7" fmla="*/ 13 h 13"/>
                <a:gd name="T8" fmla="*/ 0 w 10"/>
                <a:gd name="T9" fmla="*/ 9 h 13"/>
                <a:gd name="T10" fmla="*/ 0 w 10"/>
                <a:gd name="T11" fmla="*/ 3 h 13"/>
                <a:gd name="T12" fmla="*/ 0 w 10"/>
                <a:gd name="T13" fmla="*/ 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13">
                  <a:moveTo>
                    <a:pt x="0" y="3"/>
                  </a:moveTo>
                  <a:lnTo>
                    <a:pt x="4" y="0"/>
                  </a:lnTo>
                  <a:lnTo>
                    <a:pt x="10" y="10"/>
                  </a:lnTo>
                  <a:lnTo>
                    <a:pt x="4" y="13"/>
                  </a:lnTo>
                  <a:lnTo>
                    <a:pt x="0" y="9"/>
                  </a:lnTo>
                  <a:lnTo>
                    <a:pt x="0" y="3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058" name="Freeform 413"/>
            <p:cNvSpPr>
              <a:spLocks/>
            </p:cNvSpPr>
            <p:nvPr userDrawn="1"/>
          </p:nvSpPr>
          <p:spPr bwMode="auto">
            <a:xfrm>
              <a:off x="4669" y="-40"/>
              <a:ext cx="35" cy="45"/>
            </a:xfrm>
            <a:custGeom>
              <a:avLst/>
              <a:gdLst>
                <a:gd name="T0" fmla="*/ 35 w 35"/>
                <a:gd name="T1" fmla="*/ 28 h 45"/>
                <a:gd name="T2" fmla="*/ 29 w 35"/>
                <a:gd name="T3" fmla="*/ 25 h 45"/>
                <a:gd name="T4" fmla="*/ 26 w 35"/>
                <a:gd name="T5" fmla="*/ 18 h 45"/>
                <a:gd name="T6" fmla="*/ 14 w 35"/>
                <a:gd name="T7" fmla="*/ 16 h 45"/>
                <a:gd name="T8" fmla="*/ 14 w 35"/>
                <a:gd name="T9" fmla="*/ 7 h 45"/>
                <a:gd name="T10" fmla="*/ 8 w 35"/>
                <a:gd name="T11" fmla="*/ 0 h 45"/>
                <a:gd name="T12" fmla="*/ 0 w 35"/>
                <a:gd name="T13" fmla="*/ 6 h 45"/>
                <a:gd name="T14" fmla="*/ 10 w 35"/>
                <a:gd name="T15" fmla="*/ 16 h 45"/>
                <a:gd name="T16" fmla="*/ 8 w 35"/>
                <a:gd name="T17" fmla="*/ 27 h 45"/>
                <a:gd name="T18" fmla="*/ 14 w 35"/>
                <a:gd name="T19" fmla="*/ 33 h 45"/>
                <a:gd name="T20" fmla="*/ 25 w 35"/>
                <a:gd name="T21" fmla="*/ 45 h 45"/>
                <a:gd name="T22" fmla="*/ 34 w 35"/>
                <a:gd name="T23" fmla="*/ 39 h 45"/>
                <a:gd name="T24" fmla="*/ 35 w 35"/>
                <a:gd name="T25" fmla="*/ 28 h 45"/>
                <a:gd name="T26" fmla="*/ 35 w 35"/>
                <a:gd name="T27" fmla="*/ 28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5" h="45">
                  <a:moveTo>
                    <a:pt x="35" y="28"/>
                  </a:moveTo>
                  <a:lnTo>
                    <a:pt x="29" y="25"/>
                  </a:lnTo>
                  <a:lnTo>
                    <a:pt x="26" y="18"/>
                  </a:lnTo>
                  <a:lnTo>
                    <a:pt x="14" y="16"/>
                  </a:lnTo>
                  <a:lnTo>
                    <a:pt x="14" y="7"/>
                  </a:lnTo>
                  <a:lnTo>
                    <a:pt x="8" y="0"/>
                  </a:lnTo>
                  <a:lnTo>
                    <a:pt x="0" y="6"/>
                  </a:lnTo>
                  <a:lnTo>
                    <a:pt x="10" y="16"/>
                  </a:lnTo>
                  <a:lnTo>
                    <a:pt x="8" y="27"/>
                  </a:lnTo>
                  <a:lnTo>
                    <a:pt x="14" y="33"/>
                  </a:lnTo>
                  <a:lnTo>
                    <a:pt x="25" y="45"/>
                  </a:lnTo>
                  <a:lnTo>
                    <a:pt x="34" y="39"/>
                  </a:lnTo>
                  <a:lnTo>
                    <a:pt x="35" y="28"/>
                  </a:lnTo>
                  <a:lnTo>
                    <a:pt x="35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059" name="Freeform 414"/>
            <p:cNvSpPr>
              <a:spLocks/>
            </p:cNvSpPr>
            <p:nvPr userDrawn="1"/>
          </p:nvSpPr>
          <p:spPr bwMode="auto">
            <a:xfrm>
              <a:off x="4623" y="-18"/>
              <a:ext cx="54" cy="61"/>
            </a:xfrm>
            <a:custGeom>
              <a:avLst/>
              <a:gdLst>
                <a:gd name="T0" fmla="*/ 54 w 54"/>
                <a:gd name="T1" fmla="*/ 29 h 61"/>
                <a:gd name="T2" fmla="*/ 42 w 54"/>
                <a:gd name="T3" fmla="*/ 22 h 61"/>
                <a:gd name="T4" fmla="*/ 40 w 54"/>
                <a:gd name="T5" fmla="*/ 14 h 61"/>
                <a:gd name="T6" fmla="*/ 45 w 54"/>
                <a:gd name="T7" fmla="*/ 6 h 61"/>
                <a:gd name="T8" fmla="*/ 36 w 54"/>
                <a:gd name="T9" fmla="*/ 0 h 61"/>
                <a:gd name="T10" fmla="*/ 39 w 54"/>
                <a:gd name="T11" fmla="*/ 22 h 61"/>
                <a:gd name="T12" fmla="*/ 30 w 54"/>
                <a:gd name="T13" fmla="*/ 34 h 61"/>
                <a:gd name="T14" fmla="*/ 30 w 54"/>
                <a:gd name="T15" fmla="*/ 41 h 61"/>
                <a:gd name="T16" fmla="*/ 21 w 54"/>
                <a:gd name="T17" fmla="*/ 26 h 61"/>
                <a:gd name="T18" fmla="*/ 30 w 54"/>
                <a:gd name="T19" fmla="*/ 12 h 61"/>
                <a:gd name="T20" fmla="*/ 13 w 54"/>
                <a:gd name="T21" fmla="*/ 12 h 61"/>
                <a:gd name="T22" fmla="*/ 3 w 54"/>
                <a:gd name="T23" fmla="*/ 8 h 61"/>
                <a:gd name="T24" fmla="*/ 0 w 54"/>
                <a:gd name="T25" fmla="*/ 17 h 61"/>
                <a:gd name="T26" fmla="*/ 0 w 54"/>
                <a:gd name="T27" fmla="*/ 25 h 61"/>
                <a:gd name="T28" fmla="*/ 7 w 54"/>
                <a:gd name="T29" fmla="*/ 26 h 61"/>
                <a:gd name="T30" fmla="*/ 9 w 54"/>
                <a:gd name="T31" fmla="*/ 43 h 61"/>
                <a:gd name="T32" fmla="*/ 25 w 54"/>
                <a:gd name="T33" fmla="*/ 61 h 61"/>
                <a:gd name="T34" fmla="*/ 37 w 54"/>
                <a:gd name="T35" fmla="*/ 58 h 61"/>
                <a:gd name="T36" fmla="*/ 42 w 54"/>
                <a:gd name="T37" fmla="*/ 46 h 61"/>
                <a:gd name="T38" fmla="*/ 54 w 54"/>
                <a:gd name="T39" fmla="*/ 29 h 61"/>
                <a:gd name="T40" fmla="*/ 54 w 54"/>
                <a:gd name="T41" fmla="*/ 29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4" h="61">
                  <a:moveTo>
                    <a:pt x="54" y="29"/>
                  </a:moveTo>
                  <a:lnTo>
                    <a:pt x="42" y="22"/>
                  </a:lnTo>
                  <a:lnTo>
                    <a:pt x="40" y="14"/>
                  </a:lnTo>
                  <a:lnTo>
                    <a:pt x="45" y="6"/>
                  </a:lnTo>
                  <a:lnTo>
                    <a:pt x="36" y="0"/>
                  </a:lnTo>
                  <a:lnTo>
                    <a:pt x="39" y="22"/>
                  </a:lnTo>
                  <a:lnTo>
                    <a:pt x="30" y="34"/>
                  </a:lnTo>
                  <a:lnTo>
                    <a:pt x="30" y="41"/>
                  </a:lnTo>
                  <a:lnTo>
                    <a:pt x="21" y="26"/>
                  </a:lnTo>
                  <a:lnTo>
                    <a:pt x="30" y="12"/>
                  </a:lnTo>
                  <a:lnTo>
                    <a:pt x="13" y="12"/>
                  </a:lnTo>
                  <a:lnTo>
                    <a:pt x="3" y="8"/>
                  </a:lnTo>
                  <a:lnTo>
                    <a:pt x="0" y="17"/>
                  </a:lnTo>
                  <a:lnTo>
                    <a:pt x="0" y="25"/>
                  </a:lnTo>
                  <a:lnTo>
                    <a:pt x="7" y="26"/>
                  </a:lnTo>
                  <a:lnTo>
                    <a:pt x="9" y="43"/>
                  </a:lnTo>
                  <a:lnTo>
                    <a:pt x="25" y="61"/>
                  </a:lnTo>
                  <a:lnTo>
                    <a:pt x="37" y="58"/>
                  </a:lnTo>
                  <a:lnTo>
                    <a:pt x="42" y="46"/>
                  </a:lnTo>
                  <a:lnTo>
                    <a:pt x="54" y="29"/>
                  </a:lnTo>
                  <a:lnTo>
                    <a:pt x="54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060" name="Freeform 415"/>
            <p:cNvSpPr>
              <a:spLocks/>
            </p:cNvSpPr>
            <p:nvPr userDrawn="1"/>
          </p:nvSpPr>
          <p:spPr bwMode="auto">
            <a:xfrm>
              <a:off x="4636" y="-39"/>
              <a:ext cx="11" cy="27"/>
            </a:xfrm>
            <a:custGeom>
              <a:avLst/>
              <a:gdLst>
                <a:gd name="T0" fmla="*/ 6 w 11"/>
                <a:gd name="T1" fmla="*/ 27 h 27"/>
                <a:gd name="T2" fmla="*/ 0 w 11"/>
                <a:gd name="T3" fmla="*/ 18 h 27"/>
                <a:gd name="T4" fmla="*/ 6 w 11"/>
                <a:gd name="T5" fmla="*/ 0 h 27"/>
                <a:gd name="T6" fmla="*/ 11 w 11"/>
                <a:gd name="T7" fmla="*/ 5 h 27"/>
                <a:gd name="T8" fmla="*/ 9 w 11"/>
                <a:gd name="T9" fmla="*/ 18 h 27"/>
                <a:gd name="T10" fmla="*/ 6 w 11"/>
                <a:gd name="T11" fmla="*/ 27 h 27"/>
                <a:gd name="T12" fmla="*/ 6 w 11"/>
                <a:gd name="T13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27">
                  <a:moveTo>
                    <a:pt x="6" y="27"/>
                  </a:moveTo>
                  <a:lnTo>
                    <a:pt x="0" y="18"/>
                  </a:lnTo>
                  <a:lnTo>
                    <a:pt x="6" y="0"/>
                  </a:lnTo>
                  <a:lnTo>
                    <a:pt x="11" y="5"/>
                  </a:lnTo>
                  <a:lnTo>
                    <a:pt x="9" y="18"/>
                  </a:lnTo>
                  <a:lnTo>
                    <a:pt x="6" y="27"/>
                  </a:lnTo>
                  <a:lnTo>
                    <a:pt x="6" y="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061" name="Freeform 416"/>
            <p:cNvSpPr>
              <a:spLocks/>
            </p:cNvSpPr>
            <p:nvPr userDrawn="1"/>
          </p:nvSpPr>
          <p:spPr bwMode="auto">
            <a:xfrm>
              <a:off x="4496" y="84"/>
              <a:ext cx="83" cy="101"/>
            </a:xfrm>
            <a:custGeom>
              <a:avLst/>
              <a:gdLst>
                <a:gd name="T0" fmla="*/ 77 w 83"/>
                <a:gd name="T1" fmla="*/ 79 h 101"/>
                <a:gd name="T2" fmla="*/ 51 w 83"/>
                <a:gd name="T3" fmla="*/ 79 h 101"/>
                <a:gd name="T4" fmla="*/ 50 w 83"/>
                <a:gd name="T5" fmla="*/ 69 h 101"/>
                <a:gd name="T6" fmla="*/ 36 w 83"/>
                <a:gd name="T7" fmla="*/ 84 h 101"/>
                <a:gd name="T8" fmla="*/ 21 w 83"/>
                <a:gd name="T9" fmla="*/ 82 h 101"/>
                <a:gd name="T10" fmla="*/ 9 w 83"/>
                <a:gd name="T11" fmla="*/ 101 h 101"/>
                <a:gd name="T12" fmla="*/ 0 w 83"/>
                <a:gd name="T13" fmla="*/ 90 h 101"/>
                <a:gd name="T14" fmla="*/ 5 w 83"/>
                <a:gd name="T15" fmla="*/ 84 h 101"/>
                <a:gd name="T16" fmla="*/ 18 w 83"/>
                <a:gd name="T17" fmla="*/ 81 h 101"/>
                <a:gd name="T18" fmla="*/ 20 w 83"/>
                <a:gd name="T19" fmla="*/ 72 h 101"/>
                <a:gd name="T20" fmla="*/ 8 w 83"/>
                <a:gd name="T21" fmla="*/ 69 h 101"/>
                <a:gd name="T22" fmla="*/ 6 w 83"/>
                <a:gd name="T23" fmla="*/ 61 h 101"/>
                <a:gd name="T24" fmla="*/ 17 w 83"/>
                <a:gd name="T25" fmla="*/ 57 h 101"/>
                <a:gd name="T26" fmla="*/ 5 w 83"/>
                <a:gd name="T27" fmla="*/ 46 h 101"/>
                <a:gd name="T28" fmla="*/ 14 w 83"/>
                <a:gd name="T29" fmla="*/ 33 h 101"/>
                <a:gd name="T30" fmla="*/ 38 w 83"/>
                <a:gd name="T31" fmla="*/ 39 h 101"/>
                <a:gd name="T32" fmla="*/ 44 w 83"/>
                <a:gd name="T33" fmla="*/ 33 h 101"/>
                <a:gd name="T34" fmla="*/ 29 w 83"/>
                <a:gd name="T35" fmla="*/ 25 h 101"/>
                <a:gd name="T36" fmla="*/ 30 w 83"/>
                <a:gd name="T37" fmla="*/ 16 h 101"/>
                <a:gd name="T38" fmla="*/ 45 w 83"/>
                <a:gd name="T39" fmla="*/ 21 h 101"/>
                <a:gd name="T40" fmla="*/ 41 w 83"/>
                <a:gd name="T41" fmla="*/ 0 h 101"/>
                <a:gd name="T42" fmla="*/ 51 w 83"/>
                <a:gd name="T43" fmla="*/ 4 h 101"/>
                <a:gd name="T44" fmla="*/ 56 w 83"/>
                <a:gd name="T45" fmla="*/ 15 h 101"/>
                <a:gd name="T46" fmla="*/ 62 w 83"/>
                <a:gd name="T47" fmla="*/ 1 h 101"/>
                <a:gd name="T48" fmla="*/ 68 w 83"/>
                <a:gd name="T49" fmla="*/ 7 h 101"/>
                <a:gd name="T50" fmla="*/ 65 w 83"/>
                <a:gd name="T51" fmla="*/ 21 h 101"/>
                <a:gd name="T52" fmla="*/ 68 w 83"/>
                <a:gd name="T53" fmla="*/ 27 h 101"/>
                <a:gd name="T54" fmla="*/ 74 w 83"/>
                <a:gd name="T55" fmla="*/ 16 h 101"/>
                <a:gd name="T56" fmla="*/ 83 w 83"/>
                <a:gd name="T57" fmla="*/ 25 h 101"/>
                <a:gd name="T58" fmla="*/ 75 w 83"/>
                <a:gd name="T59" fmla="*/ 30 h 101"/>
                <a:gd name="T60" fmla="*/ 78 w 83"/>
                <a:gd name="T61" fmla="*/ 39 h 101"/>
                <a:gd name="T62" fmla="*/ 69 w 83"/>
                <a:gd name="T63" fmla="*/ 54 h 101"/>
                <a:gd name="T64" fmla="*/ 69 w 83"/>
                <a:gd name="T65" fmla="*/ 66 h 101"/>
                <a:gd name="T66" fmla="*/ 77 w 83"/>
                <a:gd name="T67" fmla="*/ 79 h 101"/>
                <a:gd name="T68" fmla="*/ 77 w 83"/>
                <a:gd name="T69" fmla="*/ 7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83" h="101">
                  <a:moveTo>
                    <a:pt x="77" y="79"/>
                  </a:moveTo>
                  <a:lnTo>
                    <a:pt x="51" y="79"/>
                  </a:lnTo>
                  <a:lnTo>
                    <a:pt x="50" y="69"/>
                  </a:lnTo>
                  <a:lnTo>
                    <a:pt x="36" y="84"/>
                  </a:lnTo>
                  <a:lnTo>
                    <a:pt x="21" y="82"/>
                  </a:lnTo>
                  <a:lnTo>
                    <a:pt x="9" y="101"/>
                  </a:lnTo>
                  <a:lnTo>
                    <a:pt x="0" y="90"/>
                  </a:lnTo>
                  <a:lnTo>
                    <a:pt x="5" y="84"/>
                  </a:lnTo>
                  <a:lnTo>
                    <a:pt x="18" y="81"/>
                  </a:lnTo>
                  <a:lnTo>
                    <a:pt x="20" y="72"/>
                  </a:lnTo>
                  <a:lnTo>
                    <a:pt x="8" y="69"/>
                  </a:lnTo>
                  <a:lnTo>
                    <a:pt x="6" y="61"/>
                  </a:lnTo>
                  <a:lnTo>
                    <a:pt x="17" y="57"/>
                  </a:lnTo>
                  <a:lnTo>
                    <a:pt x="5" y="46"/>
                  </a:lnTo>
                  <a:lnTo>
                    <a:pt x="14" y="33"/>
                  </a:lnTo>
                  <a:lnTo>
                    <a:pt x="38" y="39"/>
                  </a:lnTo>
                  <a:lnTo>
                    <a:pt x="44" y="33"/>
                  </a:lnTo>
                  <a:lnTo>
                    <a:pt x="29" y="25"/>
                  </a:lnTo>
                  <a:lnTo>
                    <a:pt x="30" y="16"/>
                  </a:lnTo>
                  <a:lnTo>
                    <a:pt x="45" y="21"/>
                  </a:lnTo>
                  <a:lnTo>
                    <a:pt x="41" y="0"/>
                  </a:lnTo>
                  <a:lnTo>
                    <a:pt x="51" y="4"/>
                  </a:lnTo>
                  <a:lnTo>
                    <a:pt x="56" y="15"/>
                  </a:lnTo>
                  <a:lnTo>
                    <a:pt x="62" y="1"/>
                  </a:lnTo>
                  <a:lnTo>
                    <a:pt x="68" y="7"/>
                  </a:lnTo>
                  <a:lnTo>
                    <a:pt x="65" y="21"/>
                  </a:lnTo>
                  <a:lnTo>
                    <a:pt x="68" y="27"/>
                  </a:lnTo>
                  <a:lnTo>
                    <a:pt x="74" y="16"/>
                  </a:lnTo>
                  <a:lnTo>
                    <a:pt x="83" y="25"/>
                  </a:lnTo>
                  <a:lnTo>
                    <a:pt x="75" y="30"/>
                  </a:lnTo>
                  <a:lnTo>
                    <a:pt x="78" y="39"/>
                  </a:lnTo>
                  <a:lnTo>
                    <a:pt x="69" y="54"/>
                  </a:lnTo>
                  <a:lnTo>
                    <a:pt x="69" y="66"/>
                  </a:lnTo>
                  <a:lnTo>
                    <a:pt x="77" y="79"/>
                  </a:lnTo>
                  <a:lnTo>
                    <a:pt x="77" y="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062" name="Freeform 417"/>
            <p:cNvSpPr>
              <a:spLocks/>
            </p:cNvSpPr>
            <p:nvPr userDrawn="1"/>
          </p:nvSpPr>
          <p:spPr bwMode="auto">
            <a:xfrm>
              <a:off x="4580" y="38"/>
              <a:ext cx="59" cy="61"/>
            </a:xfrm>
            <a:custGeom>
              <a:avLst/>
              <a:gdLst>
                <a:gd name="T0" fmla="*/ 44 w 59"/>
                <a:gd name="T1" fmla="*/ 0 h 61"/>
                <a:gd name="T2" fmla="*/ 35 w 59"/>
                <a:gd name="T3" fmla="*/ 8 h 61"/>
                <a:gd name="T4" fmla="*/ 40 w 59"/>
                <a:gd name="T5" fmla="*/ 23 h 61"/>
                <a:gd name="T6" fmla="*/ 37 w 59"/>
                <a:gd name="T7" fmla="*/ 23 h 61"/>
                <a:gd name="T8" fmla="*/ 32 w 59"/>
                <a:gd name="T9" fmla="*/ 15 h 61"/>
                <a:gd name="T10" fmla="*/ 28 w 59"/>
                <a:gd name="T11" fmla="*/ 26 h 61"/>
                <a:gd name="T12" fmla="*/ 10 w 59"/>
                <a:gd name="T13" fmla="*/ 29 h 61"/>
                <a:gd name="T14" fmla="*/ 16 w 59"/>
                <a:gd name="T15" fmla="*/ 44 h 61"/>
                <a:gd name="T16" fmla="*/ 0 w 59"/>
                <a:gd name="T17" fmla="*/ 44 h 61"/>
                <a:gd name="T18" fmla="*/ 8 w 59"/>
                <a:gd name="T19" fmla="*/ 53 h 61"/>
                <a:gd name="T20" fmla="*/ 16 w 59"/>
                <a:gd name="T21" fmla="*/ 61 h 61"/>
                <a:gd name="T22" fmla="*/ 47 w 59"/>
                <a:gd name="T23" fmla="*/ 42 h 61"/>
                <a:gd name="T24" fmla="*/ 46 w 59"/>
                <a:gd name="T25" fmla="*/ 29 h 61"/>
                <a:gd name="T26" fmla="*/ 58 w 59"/>
                <a:gd name="T27" fmla="*/ 21 h 61"/>
                <a:gd name="T28" fmla="*/ 59 w 59"/>
                <a:gd name="T29" fmla="*/ 12 h 61"/>
                <a:gd name="T30" fmla="*/ 44 w 59"/>
                <a:gd name="T31" fmla="*/ 0 h 61"/>
                <a:gd name="T32" fmla="*/ 44 w 59"/>
                <a:gd name="T33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9" h="61">
                  <a:moveTo>
                    <a:pt x="44" y="0"/>
                  </a:moveTo>
                  <a:lnTo>
                    <a:pt x="35" y="8"/>
                  </a:lnTo>
                  <a:lnTo>
                    <a:pt x="40" y="23"/>
                  </a:lnTo>
                  <a:lnTo>
                    <a:pt x="37" y="23"/>
                  </a:lnTo>
                  <a:lnTo>
                    <a:pt x="32" y="15"/>
                  </a:lnTo>
                  <a:lnTo>
                    <a:pt x="28" y="26"/>
                  </a:lnTo>
                  <a:lnTo>
                    <a:pt x="10" y="29"/>
                  </a:lnTo>
                  <a:lnTo>
                    <a:pt x="16" y="44"/>
                  </a:lnTo>
                  <a:lnTo>
                    <a:pt x="0" y="44"/>
                  </a:lnTo>
                  <a:lnTo>
                    <a:pt x="8" y="53"/>
                  </a:lnTo>
                  <a:lnTo>
                    <a:pt x="16" y="61"/>
                  </a:lnTo>
                  <a:lnTo>
                    <a:pt x="47" y="42"/>
                  </a:lnTo>
                  <a:lnTo>
                    <a:pt x="46" y="29"/>
                  </a:lnTo>
                  <a:lnTo>
                    <a:pt x="58" y="21"/>
                  </a:lnTo>
                  <a:lnTo>
                    <a:pt x="59" y="12"/>
                  </a:lnTo>
                  <a:lnTo>
                    <a:pt x="44" y="0"/>
                  </a:lnTo>
                  <a:lnTo>
                    <a:pt x="4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063" name="Freeform 418"/>
            <p:cNvSpPr>
              <a:spLocks/>
            </p:cNvSpPr>
            <p:nvPr userDrawn="1"/>
          </p:nvSpPr>
          <p:spPr bwMode="auto">
            <a:xfrm>
              <a:off x="4448" y="314"/>
              <a:ext cx="12" cy="11"/>
            </a:xfrm>
            <a:custGeom>
              <a:avLst/>
              <a:gdLst>
                <a:gd name="T0" fmla="*/ 7 w 12"/>
                <a:gd name="T1" fmla="*/ 0 h 11"/>
                <a:gd name="T2" fmla="*/ 0 w 12"/>
                <a:gd name="T3" fmla="*/ 8 h 11"/>
                <a:gd name="T4" fmla="*/ 6 w 12"/>
                <a:gd name="T5" fmla="*/ 11 h 11"/>
                <a:gd name="T6" fmla="*/ 12 w 12"/>
                <a:gd name="T7" fmla="*/ 6 h 11"/>
                <a:gd name="T8" fmla="*/ 7 w 12"/>
                <a:gd name="T9" fmla="*/ 0 h 11"/>
                <a:gd name="T10" fmla="*/ 7 w 12"/>
                <a:gd name="T11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11">
                  <a:moveTo>
                    <a:pt x="7" y="0"/>
                  </a:moveTo>
                  <a:lnTo>
                    <a:pt x="0" y="8"/>
                  </a:lnTo>
                  <a:lnTo>
                    <a:pt x="6" y="11"/>
                  </a:lnTo>
                  <a:lnTo>
                    <a:pt x="12" y="6"/>
                  </a:lnTo>
                  <a:lnTo>
                    <a:pt x="7" y="0"/>
                  </a:lnTo>
                  <a:lnTo>
                    <a:pt x="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064" name="Freeform 419"/>
            <p:cNvSpPr>
              <a:spLocks/>
            </p:cNvSpPr>
            <p:nvPr userDrawn="1"/>
          </p:nvSpPr>
          <p:spPr bwMode="auto">
            <a:xfrm>
              <a:off x="4407" y="343"/>
              <a:ext cx="15" cy="24"/>
            </a:xfrm>
            <a:custGeom>
              <a:avLst/>
              <a:gdLst>
                <a:gd name="T0" fmla="*/ 15 w 15"/>
                <a:gd name="T1" fmla="*/ 14 h 24"/>
                <a:gd name="T2" fmla="*/ 11 w 15"/>
                <a:gd name="T3" fmla="*/ 20 h 24"/>
                <a:gd name="T4" fmla="*/ 0 w 15"/>
                <a:gd name="T5" fmla="*/ 24 h 24"/>
                <a:gd name="T6" fmla="*/ 2 w 15"/>
                <a:gd name="T7" fmla="*/ 14 h 24"/>
                <a:gd name="T8" fmla="*/ 5 w 15"/>
                <a:gd name="T9" fmla="*/ 0 h 24"/>
                <a:gd name="T10" fmla="*/ 14 w 15"/>
                <a:gd name="T11" fmla="*/ 6 h 24"/>
                <a:gd name="T12" fmla="*/ 15 w 15"/>
                <a:gd name="T13" fmla="*/ 14 h 24"/>
                <a:gd name="T14" fmla="*/ 15 w 15"/>
                <a:gd name="T15" fmla="*/ 1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24">
                  <a:moveTo>
                    <a:pt x="15" y="14"/>
                  </a:moveTo>
                  <a:lnTo>
                    <a:pt x="11" y="20"/>
                  </a:lnTo>
                  <a:lnTo>
                    <a:pt x="0" y="24"/>
                  </a:lnTo>
                  <a:lnTo>
                    <a:pt x="2" y="14"/>
                  </a:lnTo>
                  <a:lnTo>
                    <a:pt x="5" y="0"/>
                  </a:lnTo>
                  <a:lnTo>
                    <a:pt x="14" y="6"/>
                  </a:lnTo>
                  <a:lnTo>
                    <a:pt x="15" y="14"/>
                  </a:lnTo>
                  <a:lnTo>
                    <a:pt x="15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065" name="Freeform 420"/>
            <p:cNvSpPr>
              <a:spLocks/>
            </p:cNvSpPr>
            <p:nvPr userDrawn="1"/>
          </p:nvSpPr>
          <p:spPr bwMode="auto">
            <a:xfrm>
              <a:off x="4467" y="194"/>
              <a:ext cx="18" cy="19"/>
            </a:xfrm>
            <a:custGeom>
              <a:avLst/>
              <a:gdLst>
                <a:gd name="T0" fmla="*/ 12 w 18"/>
                <a:gd name="T1" fmla="*/ 19 h 19"/>
                <a:gd name="T2" fmla="*/ 2 w 18"/>
                <a:gd name="T3" fmla="*/ 9 h 19"/>
                <a:gd name="T4" fmla="*/ 0 w 18"/>
                <a:gd name="T5" fmla="*/ 0 h 19"/>
                <a:gd name="T6" fmla="*/ 6 w 18"/>
                <a:gd name="T7" fmla="*/ 1 h 19"/>
                <a:gd name="T8" fmla="*/ 9 w 18"/>
                <a:gd name="T9" fmla="*/ 4 h 19"/>
                <a:gd name="T10" fmla="*/ 12 w 18"/>
                <a:gd name="T11" fmla="*/ 3 h 19"/>
                <a:gd name="T12" fmla="*/ 18 w 18"/>
                <a:gd name="T13" fmla="*/ 10 h 19"/>
                <a:gd name="T14" fmla="*/ 12 w 18"/>
                <a:gd name="T15" fmla="*/ 19 h 19"/>
                <a:gd name="T16" fmla="*/ 12 w 18"/>
                <a:gd name="T17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" h="19">
                  <a:moveTo>
                    <a:pt x="12" y="19"/>
                  </a:moveTo>
                  <a:lnTo>
                    <a:pt x="2" y="9"/>
                  </a:lnTo>
                  <a:lnTo>
                    <a:pt x="0" y="0"/>
                  </a:lnTo>
                  <a:lnTo>
                    <a:pt x="6" y="1"/>
                  </a:lnTo>
                  <a:lnTo>
                    <a:pt x="9" y="4"/>
                  </a:lnTo>
                  <a:lnTo>
                    <a:pt x="12" y="3"/>
                  </a:lnTo>
                  <a:lnTo>
                    <a:pt x="18" y="10"/>
                  </a:lnTo>
                  <a:lnTo>
                    <a:pt x="12" y="19"/>
                  </a:lnTo>
                  <a:lnTo>
                    <a:pt x="12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066" name="Freeform 421"/>
            <p:cNvSpPr>
              <a:spLocks/>
            </p:cNvSpPr>
            <p:nvPr userDrawn="1"/>
          </p:nvSpPr>
          <p:spPr bwMode="auto">
            <a:xfrm>
              <a:off x="4396" y="203"/>
              <a:ext cx="88" cy="105"/>
            </a:xfrm>
            <a:custGeom>
              <a:avLst/>
              <a:gdLst>
                <a:gd name="T0" fmla="*/ 77 w 88"/>
                <a:gd name="T1" fmla="*/ 15 h 105"/>
                <a:gd name="T2" fmla="*/ 77 w 88"/>
                <a:gd name="T3" fmla="*/ 15 h 105"/>
                <a:gd name="T4" fmla="*/ 74 w 88"/>
                <a:gd name="T5" fmla="*/ 15 h 105"/>
                <a:gd name="T6" fmla="*/ 73 w 88"/>
                <a:gd name="T7" fmla="*/ 16 h 105"/>
                <a:gd name="T8" fmla="*/ 73 w 88"/>
                <a:gd name="T9" fmla="*/ 15 h 105"/>
                <a:gd name="T10" fmla="*/ 73 w 88"/>
                <a:gd name="T11" fmla="*/ 15 h 105"/>
                <a:gd name="T12" fmla="*/ 70 w 88"/>
                <a:gd name="T13" fmla="*/ 10 h 105"/>
                <a:gd name="T14" fmla="*/ 67 w 88"/>
                <a:gd name="T15" fmla="*/ 9 h 105"/>
                <a:gd name="T16" fmla="*/ 61 w 88"/>
                <a:gd name="T17" fmla="*/ 16 h 105"/>
                <a:gd name="T18" fmla="*/ 67 w 88"/>
                <a:gd name="T19" fmla="*/ 28 h 105"/>
                <a:gd name="T20" fmla="*/ 56 w 88"/>
                <a:gd name="T21" fmla="*/ 31 h 105"/>
                <a:gd name="T22" fmla="*/ 53 w 88"/>
                <a:gd name="T23" fmla="*/ 43 h 105"/>
                <a:gd name="T24" fmla="*/ 49 w 88"/>
                <a:gd name="T25" fmla="*/ 57 h 105"/>
                <a:gd name="T26" fmla="*/ 40 w 88"/>
                <a:gd name="T27" fmla="*/ 60 h 105"/>
                <a:gd name="T28" fmla="*/ 38 w 88"/>
                <a:gd name="T29" fmla="*/ 51 h 105"/>
                <a:gd name="T30" fmla="*/ 49 w 88"/>
                <a:gd name="T31" fmla="*/ 37 h 105"/>
                <a:gd name="T32" fmla="*/ 49 w 88"/>
                <a:gd name="T33" fmla="*/ 33 h 105"/>
                <a:gd name="T34" fmla="*/ 41 w 88"/>
                <a:gd name="T35" fmla="*/ 25 h 105"/>
                <a:gd name="T36" fmla="*/ 47 w 88"/>
                <a:gd name="T37" fmla="*/ 15 h 105"/>
                <a:gd name="T38" fmla="*/ 43 w 88"/>
                <a:gd name="T39" fmla="*/ 0 h 105"/>
                <a:gd name="T40" fmla="*/ 37 w 88"/>
                <a:gd name="T41" fmla="*/ 0 h 105"/>
                <a:gd name="T42" fmla="*/ 25 w 88"/>
                <a:gd name="T43" fmla="*/ 25 h 105"/>
                <a:gd name="T44" fmla="*/ 28 w 88"/>
                <a:gd name="T45" fmla="*/ 31 h 105"/>
                <a:gd name="T46" fmla="*/ 23 w 88"/>
                <a:gd name="T47" fmla="*/ 39 h 105"/>
                <a:gd name="T48" fmla="*/ 23 w 88"/>
                <a:gd name="T49" fmla="*/ 51 h 105"/>
                <a:gd name="T50" fmla="*/ 5 w 88"/>
                <a:gd name="T51" fmla="*/ 71 h 105"/>
                <a:gd name="T52" fmla="*/ 10 w 88"/>
                <a:gd name="T53" fmla="*/ 78 h 105"/>
                <a:gd name="T54" fmla="*/ 0 w 88"/>
                <a:gd name="T55" fmla="*/ 83 h 105"/>
                <a:gd name="T56" fmla="*/ 2 w 88"/>
                <a:gd name="T57" fmla="*/ 87 h 105"/>
                <a:gd name="T58" fmla="*/ 10 w 88"/>
                <a:gd name="T59" fmla="*/ 87 h 105"/>
                <a:gd name="T60" fmla="*/ 4 w 88"/>
                <a:gd name="T61" fmla="*/ 104 h 105"/>
                <a:gd name="T62" fmla="*/ 8 w 88"/>
                <a:gd name="T63" fmla="*/ 105 h 105"/>
                <a:gd name="T64" fmla="*/ 16 w 88"/>
                <a:gd name="T65" fmla="*/ 86 h 105"/>
                <a:gd name="T66" fmla="*/ 25 w 88"/>
                <a:gd name="T67" fmla="*/ 78 h 105"/>
                <a:gd name="T68" fmla="*/ 23 w 88"/>
                <a:gd name="T69" fmla="*/ 99 h 105"/>
                <a:gd name="T70" fmla="*/ 29 w 88"/>
                <a:gd name="T71" fmla="*/ 105 h 105"/>
                <a:gd name="T72" fmla="*/ 29 w 88"/>
                <a:gd name="T73" fmla="*/ 105 h 105"/>
                <a:gd name="T74" fmla="*/ 34 w 88"/>
                <a:gd name="T75" fmla="*/ 98 h 105"/>
                <a:gd name="T76" fmla="*/ 40 w 88"/>
                <a:gd name="T77" fmla="*/ 87 h 105"/>
                <a:gd name="T78" fmla="*/ 40 w 88"/>
                <a:gd name="T79" fmla="*/ 87 h 105"/>
                <a:gd name="T80" fmla="*/ 43 w 88"/>
                <a:gd name="T81" fmla="*/ 75 h 105"/>
                <a:gd name="T82" fmla="*/ 44 w 88"/>
                <a:gd name="T83" fmla="*/ 86 h 105"/>
                <a:gd name="T84" fmla="*/ 53 w 88"/>
                <a:gd name="T85" fmla="*/ 90 h 105"/>
                <a:gd name="T86" fmla="*/ 61 w 88"/>
                <a:gd name="T87" fmla="*/ 89 h 105"/>
                <a:gd name="T88" fmla="*/ 53 w 88"/>
                <a:gd name="T89" fmla="*/ 78 h 105"/>
                <a:gd name="T90" fmla="*/ 59 w 88"/>
                <a:gd name="T91" fmla="*/ 71 h 105"/>
                <a:gd name="T92" fmla="*/ 61 w 88"/>
                <a:gd name="T93" fmla="*/ 59 h 105"/>
                <a:gd name="T94" fmla="*/ 74 w 88"/>
                <a:gd name="T95" fmla="*/ 60 h 105"/>
                <a:gd name="T96" fmla="*/ 76 w 88"/>
                <a:gd name="T97" fmla="*/ 45 h 105"/>
                <a:gd name="T98" fmla="*/ 88 w 88"/>
                <a:gd name="T99" fmla="*/ 30 h 105"/>
                <a:gd name="T100" fmla="*/ 85 w 88"/>
                <a:gd name="T101" fmla="*/ 22 h 105"/>
                <a:gd name="T102" fmla="*/ 77 w 88"/>
                <a:gd name="T103" fmla="*/ 15 h 105"/>
                <a:gd name="T104" fmla="*/ 77 w 88"/>
                <a:gd name="T105" fmla="*/ 15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88" h="105">
                  <a:moveTo>
                    <a:pt x="77" y="15"/>
                  </a:moveTo>
                  <a:lnTo>
                    <a:pt x="77" y="15"/>
                  </a:lnTo>
                  <a:lnTo>
                    <a:pt x="74" y="15"/>
                  </a:lnTo>
                  <a:lnTo>
                    <a:pt x="73" y="16"/>
                  </a:lnTo>
                  <a:lnTo>
                    <a:pt x="73" y="15"/>
                  </a:lnTo>
                  <a:lnTo>
                    <a:pt x="73" y="15"/>
                  </a:lnTo>
                  <a:lnTo>
                    <a:pt x="70" y="10"/>
                  </a:lnTo>
                  <a:lnTo>
                    <a:pt x="67" y="9"/>
                  </a:lnTo>
                  <a:lnTo>
                    <a:pt x="61" y="16"/>
                  </a:lnTo>
                  <a:lnTo>
                    <a:pt x="67" y="28"/>
                  </a:lnTo>
                  <a:lnTo>
                    <a:pt x="56" y="31"/>
                  </a:lnTo>
                  <a:lnTo>
                    <a:pt x="53" y="43"/>
                  </a:lnTo>
                  <a:lnTo>
                    <a:pt x="49" y="57"/>
                  </a:lnTo>
                  <a:lnTo>
                    <a:pt x="40" y="60"/>
                  </a:lnTo>
                  <a:lnTo>
                    <a:pt x="38" y="51"/>
                  </a:lnTo>
                  <a:lnTo>
                    <a:pt x="49" y="37"/>
                  </a:lnTo>
                  <a:lnTo>
                    <a:pt x="49" y="33"/>
                  </a:lnTo>
                  <a:lnTo>
                    <a:pt x="41" y="25"/>
                  </a:lnTo>
                  <a:lnTo>
                    <a:pt x="47" y="15"/>
                  </a:lnTo>
                  <a:lnTo>
                    <a:pt x="43" y="0"/>
                  </a:lnTo>
                  <a:lnTo>
                    <a:pt x="37" y="0"/>
                  </a:lnTo>
                  <a:lnTo>
                    <a:pt x="25" y="25"/>
                  </a:lnTo>
                  <a:lnTo>
                    <a:pt x="28" y="31"/>
                  </a:lnTo>
                  <a:lnTo>
                    <a:pt x="23" y="39"/>
                  </a:lnTo>
                  <a:lnTo>
                    <a:pt x="23" y="51"/>
                  </a:lnTo>
                  <a:lnTo>
                    <a:pt x="5" y="71"/>
                  </a:lnTo>
                  <a:lnTo>
                    <a:pt x="10" y="78"/>
                  </a:lnTo>
                  <a:lnTo>
                    <a:pt x="0" y="83"/>
                  </a:lnTo>
                  <a:lnTo>
                    <a:pt x="2" y="87"/>
                  </a:lnTo>
                  <a:lnTo>
                    <a:pt x="10" y="87"/>
                  </a:lnTo>
                  <a:lnTo>
                    <a:pt x="4" y="104"/>
                  </a:lnTo>
                  <a:lnTo>
                    <a:pt x="8" y="105"/>
                  </a:lnTo>
                  <a:lnTo>
                    <a:pt x="16" y="86"/>
                  </a:lnTo>
                  <a:lnTo>
                    <a:pt x="25" y="78"/>
                  </a:lnTo>
                  <a:lnTo>
                    <a:pt x="23" y="99"/>
                  </a:lnTo>
                  <a:lnTo>
                    <a:pt x="29" y="105"/>
                  </a:lnTo>
                  <a:lnTo>
                    <a:pt x="29" y="105"/>
                  </a:lnTo>
                  <a:lnTo>
                    <a:pt x="34" y="98"/>
                  </a:lnTo>
                  <a:lnTo>
                    <a:pt x="40" y="87"/>
                  </a:lnTo>
                  <a:lnTo>
                    <a:pt x="40" y="87"/>
                  </a:lnTo>
                  <a:lnTo>
                    <a:pt x="43" y="75"/>
                  </a:lnTo>
                  <a:lnTo>
                    <a:pt x="44" y="86"/>
                  </a:lnTo>
                  <a:lnTo>
                    <a:pt x="53" y="90"/>
                  </a:lnTo>
                  <a:lnTo>
                    <a:pt x="61" y="89"/>
                  </a:lnTo>
                  <a:lnTo>
                    <a:pt x="53" y="78"/>
                  </a:lnTo>
                  <a:lnTo>
                    <a:pt x="59" y="71"/>
                  </a:lnTo>
                  <a:lnTo>
                    <a:pt x="61" y="59"/>
                  </a:lnTo>
                  <a:lnTo>
                    <a:pt x="74" y="60"/>
                  </a:lnTo>
                  <a:lnTo>
                    <a:pt x="76" y="45"/>
                  </a:lnTo>
                  <a:lnTo>
                    <a:pt x="88" y="30"/>
                  </a:lnTo>
                  <a:lnTo>
                    <a:pt x="85" y="22"/>
                  </a:lnTo>
                  <a:lnTo>
                    <a:pt x="77" y="15"/>
                  </a:lnTo>
                  <a:lnTo>
                    <a:pt x="77" y="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067" name="Freeform 422"/>
            <p:cNvSpPr>
              <a:spLocks/>
            </p:cNvSpPr>
            <p:nvPr userDrawn="1"/>
          </p:nvSpPr>
          <p:spPr bwMode="auto">
            <a:xfrm>
              <a:off x="4457" y="275"/>
              <a:ext cx="13" cy="15"/>
            </a:xfrm>
            <a:custGeom>
              <a:avLst/>
              <a:gdLst>
                <a:gd name="T0" fmla="*/ 13 w 13"/>
                <a:gd name="T1" fmla="*/ 0 h 15"/>
                <a:gd name="T2" fmla="*/ 0 w 13"/>
                <a:gd name="T3" fmla="*/ 6 h 15"/>
                <a:gd name="T4" fmla="*/ 3 w 13"/>
                <a:gd name="T5" fmla="*/ 15 h 15"/>
                <a:gd name="T6" fmla="*/ 13 w 13"/>
                <a:gd name="T7" fmla="*/ 12 h 15"/>
                <a:gd name="T8" fmla="*/ 13 w 13"/>
                <a:gd name="T9" fmla="*/ 0 h 15"/>
                <a:gd name="T10" fmla="*/ 13 w 13"/>
                <a:gd name="T11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15">
                  <a:moveTo>
                    <a:pt x="13" y="0"/>
                  </a:moveTo>
                  <a:lnTo>
                    <a:pt x="0" y="6"/>
                  </a:lnTo>
                  <a:lnTo>
                    <a:pt x="3" y="15"/>
                  </a:lnTo>
                  <a:lnTo>
                    <a:pt x="13" y="12"/>
                  </a:lnTo>
                  <a:lnTo>
                    <a:pt x="13" y="0"/>
                  </a:lnTo>
                  <a:lnTo>
                    <a:pt x="1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068" name="Freeform 423"/>
            <p:cNvSpPr>
              <a:spLocks/>
            </p:cNvSpPr>
            <p:nvPr userDrawn="1"/>
          </p:nvSpPr>
          <p:spPr bwMode="auto">
            <a:xfrm>
              <a:off x="4407" y="133"/>
              <a:ext cx="54" cy="79"/>
            </a:xfrm>
            <a:custGeom>
              <a:avLst/>
              <a:gdLst>
                <a:gd name="T0" fmla="*/ 50 w 54"/>
                <a:gd name="T1" fmla="*/ 33 h 79"/>
                <a:gd name="T2" fmla="*/ 41 w 54"/>
                <a:gd name="T3" fmla="*/ 41 h 79"/>
                <a:gd name="T4" fmla="*/ 36 w 54"/>
                <a:gd name="T5" fmla="*/ 52 h 79"/>
                <a:gd name="T6" fmla="*/ 18 w 54"/>
                <a:gd name="T7" fmla="*/ 59 h 79"/>
                <a:gd name="T8" fmla="*/ 9 w 54"/>
                <a:gd name="T9" fmla="*/ 79 h 79"/>
                <a:gd name="T10" fmla="*/ 6 w 54"/>
                <a:gd name="T11" fmla="*/ 76 h 79"/>
                <a:gd name="T12" fmla="*/ 8 w 54"/>
                <a:gd name="T13" fmla="*/ 71 h 79"/>
                <a:gd name="T14" fmla="*/ 0 w 54"/>
                <a:gd name="T15" fmla="*/ 65 h 79"/>
                <a:gd name="T16" fmla="*/ 15 w 54"/>
                <a:gd name="T17" fmla="*/ 50 h 79"/>
                <a:gd name="T18" fmla="*/ 17 w 54"/>
                <a:gd name="T19" fmla="*/ 35 h 79"/>
                <a:gd name="T20" fmla="*/ 27 w 54"/>
                <a:gd name="T21" fmla="*/ 33 h 79"/>
                <a:gd name="T22" fmla="*/ 30 w 54"/>
                <a:gd name="T23" fmla="*/ 26 h 79"/>
                <a:gd name="T24" fmla="*/ 27 w 54"/>
                <a:gd name="T25" fmla="*/ 18 h 79"/>
                <a:gd name="T26" fmla="*/ 32 w 54"/>
                <a:gd name="T27" fmla="*/ 14 h 79"/>
                <a:gd name="T28" fmla="*/ 36 w 54"/>
                <a:gd name="T29" fmla="*/ 0 h 79"/>
                <a:gd name="T30" fmla="*/ 53 w 54"/>
                <a:gd name="T31" fmla="*/ 3 h 79"/>
                <a:gd name="T32" fmla="*/ 54 w 54"/>
                <a:gd name="T33" fmla="*/ 12 h 79"/>
                <a:gd name="T34" fmla="*/ 48 w 54"/>
                <a:gd name="T35" fmla="*/ 21 h 79"/>
                <a:gd name="T36" fmla="*/ 50 w 54"/>
                <a:gd name="T37" fmla="*/ 33 h 79"/>
                <a:gd name="T38" fmla="*/ 50 w 54"/>
                <a:gd name="T39" fmla="*/ 33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4" h="79">
                  <a:moveTo>
                    <a:pt x="50" y="33"/>
                  </a:moveTo>
                  <a:lnTo>
                    <a:pt x="41" y="41"/>
                  </a:lnTo>
                  <a:lnTo>
                    <a:pt x="36" y="52"/>
                  </a:lnTo>
                  <a:lnTo>
                    <a:pt x="18" y="59"/>
                  </a:lnTo>
                  <a:lnTo>
                    <a:pt x="9" y="79"/>
                  </a:lnTo>
                  <a:lnTo>
                    <a:pt x="6" y="76"/>
                  </a:lnTo>
                  <a:lnTo>
                    <a:pt x="8" y="71"/>
                  </a:lnTo>
                  <a:lnTo>
                    <a:pt x="0" y="65"/>
                  </a:lnTo>
                  <a:lnTo>
                    <a:pt x="15" y="50"/>
                  </a:lnTo>
                  <a:lnTo>
                    <a:pt x="17" y="35"/>
                  </a:lnTo>
                  <a:lnTo>
                    <a:pt x="27" y="33"/>
                  </a:lnTo>
                  <a:lnTo>
                    <a:pt x="30" y="26"/>
                  </a:lnTo>
                  <a:lnTo>
                    <a:pt x="27" y="18"/>
                  </a:lnTo>
                  <a:lnTo>
                    <a:pt x="32" y="14"/>
                  </a:lnTo>
                  <a:lnTo>
                    <a:pt x="36" y="0"/>
                  </a:lnTo>
                  <a:lnTo>
                    <a:pt x="53" y="3"/>
                  </a:lnTo>
                  <a:lnTo>
                    <a:pt x="54" y="12"/>
                  </a:lnTo>
                  <a:lnTo>
                    <a:pt x="48" y="21"/>
                  </a:lnTo>
                  <a:lnTo>
                    <a:pt x="50" y="33"/>
                  </a:lnTo>
                  <a:lnTo>
                    <a:pt x="50" y="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069" name="Freeform 424"/>
            <p:cNvSpPr>
              <a:spLocks/>
            </p:cNvSpPr>
            <p:nvPr userDrawn="1"/>
          </p:nvSpPr>
          <p:spPr bwMode="auto">
            <a:xfrm>
              <a:off x="4350" y="198"/>
              <a:ext cx="63" cy="65"/>
            </a:xfrm>
            <a:custGeom>
              <a:avLst/>
              <a:gdLst>
                <a:gd name="T0" fmla="*/ 39 w 63"/>
                <a:gd name="T1" fmla="*/ 39 h 65"/>
                <a:gd name="T2" fmla="*/ 19 w 63"/>
                <a:gd name="T3" fmla="*/ 51 h 65"/>
                <a:gd name="T4" fmla="*/ 12 w 63"/>
                <a:gd name="T5" fmla="*/ 51 h 65"/>
                <a:gd name="T6" fmla="*/ 3 w 63"/>
                <a:gd name="T7" fmla="*/ 64 h 65"/>
                <a:gd name="T8" fmla="*/ 0 w 63"/>
                <a:gd name="T9" fmla="*/ 54 h 65"/>
                <a:gd name="T10" fmla="*/ 7 w 63"/>
                <a:gd name="T11" fmla="*/ 48 h 65"/>
                <a:gd name="T12" fmla="*/ 4 w 63"/>
                <a:gd name="T13" fmla="*/ 39 h 65"/>
                <a:gd name="T14" fmla="*/ 12 w 63"/>
                <a:gd name="T15" fmla="*/ 33 h 65"/>
                <a:gd name="T16" fmla="*/ 22 w 63"/>
                <a:gd name="T17" fmla="*/ 32 h 65"/>
                <a:gd name="T18" fmla="*/ 31 w 63"/>
                <a:gd name="T19" fmla="*/ 18 h 65"/>
                <a:gd name="T20" fmla="*/ 40 w 63"/>
                <a:gd name="T21" fmla="*/ 17 h 65"/>
                <a:gd name="T22" fmla="*/ 37 w 63"/>
                <a:gd name="T23" fmla="*/ 6 h 65"/>
                <a:gd name="T24" fmla="*/ 42 w 63"/>
                <a:gd name="T25" fmla="*/ 0 h 65"/>
                <a:gd name="T26" fmla="*/ 51 w 63"/>
                <a:gd name="T27" fmla="*/ 11 h 65"/>
                <a:gd name="T28" fmla="*/ 48 w 63"/>
                <a:gd name="T29" fmla="*/ 18 h 65"/>
                <a:gd name="T30" fmla="*/ 51 w 63"/>
                <a:gd name="T31" fmla="*/ 32 h 65"/>
                <a:gd name="T32" fmla="*/ 48 w 63"/>
                <a:gd name="T33" fmla="*/ 38 h 65"/>
                <a:gd name="T34" fmla="*/ 63 w 63"/>
                <a:gd name="T35" fmla="*/ 41 h 65"/>
                <a:gd name="T36" fmla="*/ 56 w 63"/>
                <a:gd name="T37" fmla="*/ 51 h 65"/>
                <a:gd name="T38" fmla="*/ 46 w 63"/>
                <a:gd name="T39" fmla="*/ 53 h 65"/>
                <a:gd name="T40" fmla="*/ 28 w 63"/>
                <a:gd name="T41" fmla="*/ 65 h 65"/>
                <a:gd name="T42" fmla="*/ 21 w 63"/>
                <a:gd name="T43" fmla="*/ 64 h 65"/>
                <a:gd name="T44" fmla="*/ 39 w 63"/>
                <a:gd name="T45" fmla="*/ 39 h 65"/>
                <a:gd name="T46" fmla="*/ 39 w 63"/>
                <a:gd name="T47" fmla="*/ 39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3" h="65">
                  <a:moveTo>
                    <a:pt x="39" y="39"/>
                  </a:moveTo>
                  <a:lnTo>
                    <a:pt x="19" y="51"/>
                  </a:lnTo>
                  <a:lnTo>
                    <a:pt x="12" y="51"/>
                  </a:lnTo>
                  <a:lnTo>
                    <a:pt x="3" y="64"/>
                  </a:lnTo>
                  <a:lnTo>
                    <a:pt x="0" y="54"/>
                  </a:lnTo>
                  <a:lnTo>
                    <a:pt x="7" y="48"/>
                  </a:lnTo>
                  <a:lnTo>
                    <a:pt x="4" y="39"/>
                  </a:lnTo>
                  <a:lnTo>
                    <a:pt x="12" y="33"/>
                  </a:lnTo>
                  <a:lnTo>
                    <a:pt x="22" y="32"/>
                  </a:lnTo>
                  <a:lnTo>
                    <a:pt x="31" y="18"/>
                  </a:lnTo>
                  <a:lnTo>
                    <a:pt x="40" y="17"/>
                  </a:lnTo>
                  <a:lnTo>
                    <a:pt x="37" y="6"/>
                  </a:lnTo>
                  <a:lnTo>
                    <a:pt x="42" y="0"/>
                  </a:lnTo>
                  <a:lnTo>
                    <a:pt x="51" y="11"/>
                  </a:lnTo>
                  <a:lnTo>
                    <a:pt x="48" y="18"/>
                  </a:lnTo>
                  <a:lnTo>
                    <a:pt x="51" y="32"/>
                  </a:lnTo>
                  <a:lnTo>
                    <a:pt x="48" y="38"/>
                  </a:lnTo>
                  <a:lnTo>
                    <a:pt x="63" y="41"/>
                  </a:lnTo>
                  <a:lnTo>
                    <a:pt x="56" y="51"/>
                  </a:lnTo>
                  <a:lnTo>
                    <a:pt x="46" y="53"/>
                  </a:lnTo>
                  <a:lnTo>
                    <a:pt x="28" y="65"/>
                  </a:lnTo>
                  <a:lnTo>
                    <a:pt x="21" y="64"/>
                  </a:lnTo>
                  <a:lnTo>
                    <a:pt x="39" y="39"/>
                  </a:lnTo>
                  <a:lnTo>
                    <a:pt x="39" y="3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070" name="Freeform 425"/>
            <p:cNvSpPr>
              <a:spLocks/>
            </p:cNvSpPr>
            <p:nvPr userDrawn="1"/>
          </p:nvSpPr>
          <p:spPr bwMode="auto">
            <a:xfrm>
              <a:off x="4362" y="263"/>
              <a:ext cx="12" cy="17"/>
            </a:xfrm>
            <a:custGeom>
              <a:avLst/>
              <a:gdLst>
                <a:gd name="T0" fmla="*/ 12 w 12"/>
                <a:gd name="T1" fmla="*/ 8 h 17"/>
                <a:gd name="T2" fmla="*/ 9 w 12"/>
                <a:gd name="T3" fmla="*/ 2 h 17"/>
                <a:gd name="T4" fmla="*/ 4 w 12"/>
                <a:gd name="T5" fmla="*/ 0 h 17"/>
                <a:gd name="T6" fmla="*/ 0 w 12"/>
                <a:gd name="T7" fmla="*/ 6 h 17"/>
                <a:gd name="T8" fmla="*/ 3 w 12"/>
                <a:gd name="T9" fmla="*/ 17 h 17"/>
                <a:gd name="T10" fmla="*/ 10 w 12"/>
                <a:gd name="T11" fmla="*/ 17 h 17"/>
                <a:gd name="T12" fmla="*/ 12 w 12"/>
                <a:gd name="T13" fmla="*/ 8 h 17"/>
                <a:gd name="T14" fmla="*/ 12 w 12"/>
                <a:gd name="T15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17">
                  <a:moveTo>
                    <a:pt x="12" y="8"/>
                  </a:moveTo>
                  <a:lnTo>
                    <a:pt x="9" y="2"/>
                  </a:lnTo>
                  <a:lnTo>
                    <a:pt x="4" y="0"/>
                  </a:lnTo>
                  <a:lnTo>
                    <a:pt x="0" y="6"/>
                  </a:lnTo>
                  <a:lnTo>
                    <a:pt x="3" y="17"/>
                  </a:lnTo>
                  <a:lnTo>
                    <a:pt x="10" y="17"/>
                  </a:lnTo>
                  <a:lnTo>
                    <a:pt x="12" y="8"/>
                  </a:lnTo>
                  <a:lnTo>
                    <a:pt x="12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071" name="Freeform 426"/>
            <p:cNvSpPr>
              <a:spLocks/>
            </p:cNvSpPr>
            <p:nvPr userDrawn="1"/>
          </p:nvSpPr>
          <p:spPr bwMode="auto">
            <a:xfrm>
              <a:off x="4344" y="286"/>
              <a:ext cx="54" cy="51"/>
            </a:xfrm>
            <a:custGeom>
              <a:avLst/>
              <a:gdLst>
                <a:gd name="T0" fmla="*/ 54 w 54"/>
                <a:gd name="T1" fmla="*/ 7 h 51"/>
                <a:gd name="T2" fmla="*/ 49 w 54"/>
                <a:gd name="T3" fmla="*/ 18 h 51"/>
                <a:gd name="T4" fmla="*/ 42 w 54"/>
                <a:gd name="T5" fmla="*/ 30 h 51"/>
                <a:gd name="T6" fmla="*/ 39 w 54"/>
                <a:gd name="T7" fmla="*/ 33 h 51"/>
                <a:gd name="T8" fmla="*/ 31 w 54"/>
                <a:gd name="T9" fmla="*/ 36 h 51"/>
                <a:gd name="T10" fmla="*/ 31 w 54"/>
                <a:gd name="T11" fmla="*/ 43 h 51"/>
                <a:gd name="T12" fmla="*/ 33 w 54"/>
                <a:gd name="T13" fmla="*/ 51 h 51"/>
                <a:gd name="T14" fmla="*/ 28 w 54"/>
                <a:gd name="T15" fmla="*/ 49 h 51"/>
                <a:gd name="T16" fmla="*/ 25 w 54"/>
                <a:gd name="T17" fmla="*/ 36 h 51"/>
                <a:gd name="T18" fmla="*/ 33 w 54"/>
                <a:gd name="T19" fmla="*/ 21 h 51"/>
                <a:gd name="T20" fmla="*/ 21 w 54"/>
                <a:gd name="T21" fmla="*/ 25 h 51"/>
                <a:gd name="T22" fmla="*/ 9 w 54"/>
                <a:gd name="T23" fmla="*/ 45 h 51"/>
                <a:gd name="T24" fmla="*/ 1 w 54"/>
                <a:gd name="T25" fmla="*/ 40 h 51"/>
                <a:gd name="T26" fmla="*/ 0 w 54"/>
                <a:gd name="T27" fmla="*/ 33 h 51"/>
                <a:gd name="T28" fmla="*/ 9 w 54"/>
                <a:gd name="T29" fmla="*/ 21 h 51"/>
                <a:gd name="T30" fmla="*/ 21 w 54"/>
                <a:gd name="T31" fmla="*/ 10 h 51"/>
                <a:gd name="T32" fmla="*/ 33 w 54"/>
                <a:gd name="T33" fmla="*/ 7 h 51"/>
                <a:gd name="T34" fmla="*/ 46 w 54"/>
                <a:gd name="T35" fmla="*/ 0 h 51"/>
                <a:gd name="T36" fmla="*/ 54 w 54"/>
                <a:gd name="T37" fmla="*/ 7 h 51"/>
                <a:gd name="T38" fmla="*/ 54 w 54"/>
                <a:gd name="T39" fmla="*/ 7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4" h="51">
                  <a:moveTo>
                    <a:pt x="54" y="7"/>
                  </a:moveTo>
                  <a:lnTo>
                    <a:pt x="49" y="18"/>
                  </a:lnTo>
                  <a:lnTo>
                    <a:pt x="42" y="30"/>
                  </a:lnTo>
                  <a:lnTo>
                    <a:pt x="39" y="33"/>
                  </a:lnTo>
                  <a:lnTo>
                    <a:pt x="31" y="36"/>
                  </a:lnTo>
                  <a:lnTo>
                    <a:pt x="31" y="43"/>
                  </a:lnTo>
                  <a:lnTo>
                    <a:pt x="33" y="51"/>
                  </a:lnTo>
                  <a:lnTo>
                    <a:pt x="28" y="49"/>
                  </a:lnTo>
                  <a:lnTo>
                    <a:pt x="25" y="36"/>
                  </a:lnTo>
                  <a:lnTo>
                    <a:pt x="33" y="21"/>
                  </a:lnTo>
                  <a:lnTo>
                    <a:pt x="21" y="25"/>
                  </a:lnTo>
                  <a:lnTo>
                    <a:pt x="9" y="45"/>
                  </a:lnTo>
                  <a:lnTo>
                    <a:pt x="1" y="40"/>
                  </a:lnTo>
                  <a:lnTo>
                    <a:pt x="0" y="33"/>
                  </a:lnTo>
                  <a:lnTo>
                    <a:pt x="9" y="21"/>
                  </a:lnTo>
                  <a:lnTo>
                    <a:pt x="21" y="10"/>
                  </a:lnTo>
                  <a:lnTo>
                    <a:pt x="33" y="7"/>
                  </a:lnTo>
                  <a:lnTo>
                    <a:pt x="46" y="0"/>
                  </a:lnTo>
                  <a:lnTo>
                    <a:pt x="54" y="7"/>
                  </a:lnTo>
                  <a:lnTo>
                    <a:pt x="54" y="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072" name="Freeform 427"/>
            <p:cNvSpPr>
              <a:spLocks/>
            </p:cNvSpPr>
            <p:nvPr userDrawn="1"/>
          </p:nvSpPr>
          <p:spPr bwMode="auto">
            <a:xfrm>
              <a:off x="4327" y="302"/>
              <a:ext cx="8" cy="17"/>
            </a:xfrm>
            <a:custGeom>
              <a:avLst/>
              <a:gdLst>
                <a:gd name="T0" fmla="*/ 5 w 8"/>
                <a:gd name="T1" fmla="*/ 17 h 17"/>
                <a:gd name="T2" fmla="*/ 0 w 8"/>
                <a:gd name="T3" fmla="*/ 14 h 17"/>
                <a:gd name="T4" fmla="*/ 0 w 8"/>
                <a:gd name="T5" fmla="*/ 0 h 17"/>
                <a:gd name="T6" fmla="*/ 8 w 8"/>
                <a:gd name="T7" fmla="*/ 8 h 17"/>
                <a:gd name="T8" fmla="*/ 5 w 8"/>
                <a:gd name="T9" fmla="*/ 17 h 17"/>
                <a:gd name="T10" fmla="*/ 5 w 8"/>
                <a:gd name="T11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17">
                  <a:moveTo>
                    <a:pt x="5" y="17"/>
                  </a:moveTo>
                  <a:lnTo>
                    <a:pt x="0" y="14"/>
                  </a:lnTo>
                  <a:lnTo>
                    <a:pt x="0" y="0"/>
                  </a:lnTo>
                  <a:lnTo>
                    <a:pt x="8" y="8"/>
                  </a:lnTo>
                  <a:lnTo>
                    <a:pt x="5" y="17"/>
                  </a:lnTo>
                  <a:lnTo>
                    <a:pt x="5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073" name="Freeform 428"/>
            <p:cNvSpPr>
              <a:spLocks/>
            </p:cNvSpPr>
            <p:nvPr userDrawn="1"/>
          </p:nvSpPr>
          <p:spPr bwMode="auto">
            <a:xfrm>
              <a:off x="4292" y="319"/>
              <a:ext cx="35" cy="33"/>
            </a:xfrm>
            <a:custGeom>
              <a:avLst/>
              <a:gdLst>
                <a:gd name="T0" fmla="*/ 35 w 35"/>
                <a:gd name="T1" fmla="*/ 6 h 33"/>
                <a:gd name="T2" fmla="*/ 34 w 35"/>
                <a:gd name="T3" fmla="*/ 0 h 33"/>
                <a:gd name="T4" fmla="*/ 22 w 35"/>
                <a:gd name="T5" fmla="*/ 0 h 33"/>
                <a:gd name="T6" fmla="*/ 17 w 35"/>
                <a:gd name="T7" fmla="*/ 9 h 33"/>
                <a:gd name="T8" fmla="*/ 14 w 35"/>
                <a:gd name="T9" fmla="*/ 13 h 33"/>
                <a:gd name="T10" fmla="*/ 5 w 35"/>
                <a:gd name="T11" fmla="*/ 13 h 33"/>
                <a:gd name="T12" fmla="*/ 0 w 35"/>
                <a:gd name="T13" fmla="*/ 21 h 33"/>
                <a:gd name="T14" fmla="*/ 0 w 35"/>
                <a:gd name="T15" fmla="*/ 30 h 33"/>
                <a:gd name="T16" fmla="*/ 9 w 35"/>
                <a:gd name="T17" fmla="*/ 33 h 33"/>
                <a:gd name="T18" fmla="*/ 35 w 35"/>
                <a:gd name="T19" fmla="*/ 6 h 33"/>
                <a:gd name="T20" fmla="*/ 35 w 35"/>
                <a:gd name="T21" fmla="*/ 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5" h="33">
                  <a:moveTo>
                    <a:pt x="35" y="6"/>
                  </a:moveTo>
                  <a:lnTo>
                    <a:pt x="34" y="0"/>
                  </a:lnTo>
                  <a:lnTo>
                    <a:pt x="22" y="0"/>
                  </a:lnTo>
                  <a:lnTo>
                    <a:pt x="17" y="9"/>
                  </a:lnTo>
                  <a:lnTo>
                    <a:pt x="14" y="13"/>
                  </a:lnTo>
                  <a:lnTo>
                    <a:pt x="5" y="13"/>
                  </a:lnTo>
                  <a:lnTo>
                    <a:pt x="0" y="21"/>
                  </a:lnTo>
                  <a:lnTo>
                    <a:pt x="0" y="30"/>
                  </a:lnTo>
                  <a:lnTo>
                    <a:pt x="9" y="33"/>
                  </a:lnTo>
                  <a:lnTo>
                    <a:pt x="35" y="6"/>
                  </a:lnTo>
                  <a:lnTo>
                    <a:pt x="35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074" name="Freeform 429"/>
            <p:cNvSpPr>
              <a:spLocks/>
            </p:cNvSpPr>
            <p:nvPr userDrawn="1"/>
          </p:nvSpPr>
          <p:spPr bwMode="auto">
            <a:xfrm>
              <a:off x="4268" y="345"/>
              <a:ext cx="17" cy="18"/>
            </a:xfrm>
            <a:custGeom>
              <a:avLst/>
              <a:gdLst>
                <a:gd name="T0" fmla="*/ 15 w 17"/>
                <a:gd name="T1" fmla="*/ 18 h 18"/>
                <a:gd name="T2" fmla="*/ 17 w 17"/>
                <a:gd name="T3" fmla="*/ 9 h 18"/>
                <a:gd name="T4" fmla="*/ 15 w 17"/>
                <a:gd name="T5" fmla="*/ 4 h 18"/>
                <a:gd name="T6" fmla="*/ 8 w 17"/>
                <a:gd name="T7" fmla="*/ 0 h 18"/>
                <a:gd name="T8" fmla="*/ 11 w 17"/>
                <a:gd name="T9" fmla="*/ 6 h 18"/>
                <a:gd name="T10" fmla="*/ 0 w 17"/>
                <a:gd name="T11" fmla="*/ 6 h 18"/>
                <a:gd name="T12" fmla="*/ 2 w 17"/>
                <a:gd name="T13" fmla="*/ 12 h 18"/>
                <a:gd name="T14" fmla="*/ 8 w 17"/>
                <a:gd name="T15" fmla="*/ 18 h 18"/>
                <a:gd name="T16" fmla="*/ 15 w 17"/>
                <a:gd name="T17" fmla="*/ 18 h 18"/>
                <a:gd name="T18" fmla="*/ 15 w 17"/>
                <a:gd name="T19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" h="18">
                  <a:moveTo>
                    <a:pt x="15" y="18"/>
                  </a:moveTo>
                  <a:lnTo>
                    <a:pt x="17" y="9"/>
                  </a:lnTo>
                  <a:lnTo>
                    <a:pt x="15" y="4"/>
                  </a:lnTo>
                  <a:lnTo>
                    <a:pt x="8" y="0"/>
                  </a:lnTo>
                  <a:lnTo>
                    <a:pt x="11" y="6"/>
                  </a:lnTo>
                  <a:lnTo>
                    <a:pt x="0" y="6"/>
                  </a:lnTo>
                  <a:lnTo>
                    <a:pt x="2" y="12"/>
                  </a:lnTo>
                  <a:lnTo>
                    <a:pt x="8" y="18"/>
                  </a:lnTo>
                  <a:lnTo>
                    <a:pt x="15" y="18"/>
                  </a:lnTo>
                  <a:lnTo>
                    <a:pt x="15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075" name="Freeform 430"/>
            <p:cNvSpPr>
              <a:spLocks/>
            </p:cNvSpPr>
            <p:nvPr userDrawn="1"/>
          </p:nvSpPr>
          <p:spPr bwMode="auto">
            <a:xfrm>
              <a:off x="4250" y="354"/>
              <a:ext cx="21" cy="37"/>
            </a:xfrm>
            <a:custGeom>
              <a:avLst/>
              <a:gdLst>
                <a:gd name="T0" fmla="*/ 21 w 21"/>
                <a:gd name="T1" fmla="*/ 16 h 37"/>
                <a:gd name="T2" fmla="*/ 21 w 21"/>
                <a:gd name="T3" fmla="*/ 10 h 37"/>
                <a:gd name="T4" fmla="*/ 17 w 21"/>
                <a:gd name="T5" fmla="*/ 12 h 37"/>
                <a:gd name="T6" fmla="*/ 18 w 21"/>
                <a:gd name="T7" fmla="*/ 4 h 37"/>
                <a:gd name="T8" fmla="*/ 15 w 21"/>
                <a:gd name="T9" fmla="*/ 0 h 37"/>
                <a:gd name="T10" fmla="*/ 11 w 21"/>
                <a:gd name="T11" fmla="*/ 12 h 37"/>
                <a:gd name="T12" fmla="*/ 2 w 21"/>
                <a:gd name="T13" fmla="*/ 15 h 37"/>
                <a:gd name="T14" fmla="*/ 3 w 21"/>
                <a:gd name="T15" fmla="*/ 27 h 37"/>
                <a:gd name="T16" fmla="*/ 0 w 21"/>
                <a:gd name="T17" fmla="*/ 37 h 37"/>
                <a:gd name="T18" fmla="*/ 6 w 21"/>
                <a:gd name="T19" fmla="*/ 33 h 37"/>
                <a:gd name="T20" fmla="*/ 12 w 21"/>
                <a:gd name="T21" fmla="*/ 18 h 37"/>
                <a:gd name="T22" fmla="*/ 21 w 21"/>
                <a:gd name="T23" fmla="*/ 16 h 37"/>
                <a:gd name="T24" fmla="*/ 21 w 21"/>
                <a:gd name="T25" fmla="*/ 16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" h="37">
                  <a:moveTo>
                    <a:pt x="21" y="16"/>
                  </a:moveTo>
                  <a:lnTo>
                    <a:pt x="21" y="10"/>
                  </a:lnTo>
                  <a:lnTo>
                    <a:pt x="17" y="12"/>
                  </a:lnTo>
                  <a:lnTo>
                    <a:pt x="18" y="4"/>
                  </a:lnTo>
                  <a:lnTo>
                    <a:pt x="15" y="0"/>
                  </a:lnTo>
                  <a:lnTo>
                    <a:pt x="11" y="12"/>
                  </a:lnTo>
                  <a:lnTo>
                    <a:pt x="2" y="15"/>
                  </a:lnTo>
                  <a:lnTo>
                    <a:pt x="3" y="27"/>
                  </a:lnTo>
                  <a:lnTo>
                    <a:pt x="0" y="37"/>
                  </a:lnTo>
                  <a:lnTo>
                    <a:pt x="6" y="33"/>
                  </a:lnTo>
                  <a:lnTo>
                    <a:pt x="12" y="18"/>
                  </a:lnTo>
                  <a:lnTo>
                    <a:pt x="21" y="16"/>
                  </a:lnTo>
                  <a:lnTo>
                    <a:pt x="21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076" name="Freeform 431"/>
            <p:cNvSpPr>
              <a:spLocks/>
            </p:cNvSpPr>
            <p:nvPr userDrawn="1"/>
          </p:nvSpPr>
          <p:spPr bwMode="auto">
            <a:xfrm>
              <a:off x="4345" y="470"/>
              <a:ext cx="24" cy="12"/>
            </a:xfrm>
            <a:custGeom>
              <a:avLst/>
              <a:gdLst>
                <a:gd name="T0" fmla="*/ 24 w 24"/>
                <a:gd name="T1" fmla="*/ 6 h 12"/>
                <a:gd name="T2" fmla="*/ 3 w 24"/>
                <a:gd name="T3" fmla="*/ 12 h 12"/>
                <a:gd name="T4" fmla="*/ 0 w 24"/>
                <a:gd name="T5" fmla="*/ 6 h 12"/>
                <a:gd name="T6" fmla="*/ 15 w 24"/>
                <a:gd name="T7" fmla="*/ 0 h 12"/>
                <a:gd name="T8" fmla="*/ 24 w 24"/>
                <a:gd name="T9" fmla="*/ 6 h 12"/>
                <a:gd name="T10" fmla="*/ 24 w 24"/>
                <a:gd name="T11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12">
                  <a:moveTo>
                    <a:pt x="24" y="6"/>
                  </a:moveTo>
                  <a:lnTo>
                    <a:pt x="3" y="12"/>
                  </a:lnTo>
                  <a:lnTo>
                    <a:pt x="0" y="6"/>
                  </a:lnTo>
                  <a:lnTo>
                    <a:pt x="15" y="0"/>
                  </a:lnTo>
                  <a:lnTo>
                    <a:pt x="24" y="6"/>
                  </a:lnTo>
                  <a:lnTo>
                    <a:pt x="24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077" name="Freeform 432"/>
            <p:cNvSpPr>
              <a:spLocks/>
            </p:cNvSpPr>
            <p:nvPr userDrawn="1"/>
          </p:nvSpPr>
          <p:spPr bwMode="auto">
            <a:xfrm>
              <a:off x="4400" y="397"/>
              <a:ext cx="15" cy="29"/>
            </a:xfrm>
            <a:custGeom>
              <a:avLst/>
              <a:gdLst>
                <a:gd name="T0" fmla="*/ 15 w 15"/>
                <a:gd name="T1" fmla="*/ 18 h 29"/>
                <a:gd name="T2" fmla="*/ 4 w 15"/>
                <a:gd name="T3" fmla="*/ 29 h 29"/>
                <a:gd name="T4" fmla="*/ 0 w 15"/>
                <a:gd name="T5" fmla="*/ 21 h 29"/>
                <a:gd name="T6" fmla="*/ 0 w 15"/>
                <a:gd name="T7" fmla="*/ 15 h 29"/>
                <a:gd name="T8" fmla="*/ 4 w 15"/>
                <a:gd name="T9" fmla="*/ 11 h 29"/>
                <a:gd name="T10" fmla="*/ 6 w 15"/>
                <a:gd name="T11" fmla="*/ 0 h 29"/>
                <a:gd name="T12" fmla="*/ 15 w 15"/>
                <a:gd name="T13" fmla="*/ 18 h 29"/>
                <a:gd name="T14" fmla="*/ 15 w 15"/>
                <a:gd name="T15" fmla="*/ 18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29">
                  <a:moveTo>
                    <a:pt x="15" y="18"/>
                  </a:moveTo>
                  <a:lnTo>
                    <a:pt x="4" y="29"/>
                  </a:lnTo>
                  <a:lnTo>
                    <a:pt x="0" y="21"/>
                  </a:lnTo>
                  <a:lnTo>
                    <a:pt x="0" y="15"/>
                  </a:lnTo>
                  <a:lnTo>
                    <a:pt x="4" y="11"/>
                  </a:lnTo>
                  <a:lnTo>
                    <a:pt x="6" y="0"/>
                  </a:lnTo>
                  <a:lnTo>
                    <a:pt x="15" y="18"/>
                  </a:lnTo>
                  <a:lnTo>
                    <a:pt x="15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078" name="Freeform 433"/>
            <p:cNvSpPr>
              <a:spLocks/>
            </p:cNvSpPr>
            <p:nvPr userDrawn="1"/>
          </p:nvSpPr>
          <p:spPr bwMode="auto">
            <a:xfrm>
              <a:off x="4374" y="381"/>
              <a:ext cx="30" cy="31"/>
            </a:xfrm>
            <a:custGeom>
              <a:avLst/>
              <a:gdLst>
                <a:gd name="T0" fmla="*/ 30 w 30"/>
                <a:gd name="T1" fmla="*/ 6 h 31"/>
                <a:gd name="T2" fmla="*/ 22 w 30"/>
                <a:gd name="T3" fmla="*/ 13 h 31"/>
                <a:gd name="T4" fmla="*/ 21 w 30"/>
                <a:gd name="T5" fmla="*/ 25 h 31"/>
                <a:gd name="T6" fmla="*/ 13 w 30"/>
                <a:gd name="T7" fmla="*/ 31 h 31"/>
                <a:gd name="T8" fmla="*/ 13 w 30"/>
                <a:gd name="T9" fmla="*/ 19 h 31"/>
                <a:gd name="T10" fmla="*/ 0 w 30"/>
                <a:gd name="T11" fmla="*/ 19 h 31"/>
                <a:gd name="T12" fmla="*/ 1 w 30"/>
                <a:gd name="T13" fmla="*/ 10 h 31"/>
                <a:gd name="T14" fmla="*/ 15 w 30"/>
                <a:gd name="T15" fmla="*/ 6 h 31"/>
                <a:gd name="T16" fmla="*/ 26 w 30"/>
                <a:gd name="T17" fmla="*/ 0 h 31"/>
                <a:gd name="T18" fmla="*/ 30 w 30"/>
                <a:gd name="T19" fmla="*/ 6 h 31"/>
                <a:gd name="T20" fmla="*/ 30 w 30"/>
                <a:gd name="T21" fmla="*/ 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31">
                  <a:moveTo>
                    <a:pt x="30" y="6"/>
                  </a:moveTo>
                  <a:lnTo>
                    <a:pt x="22" y="13"/>
                  </a:lnTo>
                  <a:lnTo>
                    <a:pt x="21" y="25"/>
                  </a:lnTo>
                  <a:lnTo>
                    <a:pt x="13" y="31"/>
                  </a:lnTo>
                  <a:lnTo>
                    <a:pt x="13" y="19"/>
                  </a:lnTo>
                  <a:lnTo>
                    <a:pt x="0" y="19"/>
                  </a:lnTo>
                  <a:lnTo>
                    <a:pt x="1" y="10"/>
                  </a:lnTo>
                  <a:lnTo>
                    <a:pt x="15" y="6"/>
                  </a:lnTo>
                  <a:lnTo>
                    <a:pt x="26" y="0"/>
                  </a:lnTo>
                  <a:lnTo>
                    <a:pt x="30" y="6"/>
                  </a:lnTo>
                  <a:lnTo>
                    <a:pt x="30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079" name="Freeform 434"/>
            <p:cNvSpPr>
              <a:spLocks/>
            </p:cNvSpPr>
            <p:nvPr userDrawn="1"/>
          </p:nvSpPr>
          <p:spPr bwMode="auto">
            <a:xfrm>
              <a:off x="4369" y="403"/>
              <a:ext cx="14" cy="12"/>
            </a:xfrm>
            <a:custGeom>
              <a:avLst/>
              <a:gdLst>
                <a:gd name="T0" fmla="*/ 12 w 14"/>
                <a:gd name="T1" fmla="*/ 0 h 12"/>
                <a:gd name="T2" fmla="*/ 14 w 14"/>
                <a:gd name="T3" fmla="*/ 11 h 12"/>
                <a:gd name="T4" fmla="*/ 0 w 14"/>
                <a:gd name="T5" fmla="*/ 12 h 12"/>
                <a:gd name="T6" fmla="*/ 12 w 14"/>
                <a:gd name="T7" fmla="*/ 0 h 12"/>
                <a:gd name="T8" fmla="*/ 12 w 14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2">
                  <a:moveTo>
                    <a:pt x="12" y="0"/>
                  </a:moveTo>
                  <a:lnTo>
                    <a:pt x="14" y="11"/>
                  </a:lnTo>
                  <a:lnTo>
                    <a:pt x="0" y="12"/>
                  </a:lnTo>
                  <a:lnTo>
                    <a:pt x="12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080" name="Freeform 435"/>
            <p:cNvSpPr>
              <a:spLocks/>
            </p:cNvSpPr>
            <p:nvPr userDrawn="1"/>
          </p:nvSpPr>
          <p:spPr bwMode="auto">
            <a:xfrm>
              <a:off x="4264" y="604"/>
              <a:ext cx="16" cy="32"/>
            </a:xfrm>
            <a:custGeom>
              <a:avLst/>
              <a:gdLst>
                <a:gd name="T0" fmla="*/ 16 w 16"/>
                <a:gd name="T1" fmla="*/ 32 h 32"/>
                <a:gd name="T2" fmla="*/ 6 w 16"/>
                <a:gd name="T3" fmla="*/ 32 h 32"/>
                <a:gd name="T4" fmla="*/ 7 w 16"/>
                <a:gd name="T5" fmla="*/ 23 h 32"/>
                <a:gd name="T6" fmla="*/ 0 w 16"/>
                <a:gd name="T7" fmla="*/ 12 h 32"/>
                <a:gd name="T8" fmla="*/ 0 w 16"/>
                <a:gd name="T9" fmla="*/ 0 h 32"/>
                <a:gd name="T10" fmla="*/ 12 w 16"/>
                <a:gd name="T11" fmla="*/ 15 h 32"/>
                <a:gd name="T12" fmla="*/ 16 w 16"/>
                <a:gd name="T13" fmla="*/ 32 h 32"/>
                <a:gd name="T14" fmla="*/ 16 w 16"/>
                <a:gd name="T15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" h="32">
                  <a:moveTo>
                    <a:pt x="16" y="32"/>
                  </a:moveTo>
                  <a:lnTo>
                    <a:pt x="6" y="32"/>
                  </a:lnTo>
                  <a:lnTo>
                    <a:pt x="7" y="23"/>
                  </a:lnTo>
                  <a:lnTo>
                    <a:pt x="0" y="12"/>
                  </a:lnTo>
                  <a:lnTo>
                    <a:pt x="0" y="0"/>
                  </a:lnTo>
                  <a:lnTo>
                    <a:pt x="12" y="15"/>
                  </a:lnTo>
                  <a:lnTo>
                    <a:pt x="16" y="32"/>
                  </a:lnTo>
                  <a:lnTo>
                    <a:pt x="16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081" name="Freeform 436"/>
            <p:cNvSpPr>
              <a:spLocks/>
            </p:cNvSpPr>
            <p:nvPr userDrawn="1"/>
          </p:nvSpPr>
          <p:spPr bwMode="auto">
            <a:xfrm>
              <a:off x="4187" y="731"/>
              <a:ext cx="19" cy="18"/>
            </a:xfrm>
            <a:custGeom>
              <a:avLst/>
              <a:gdLst>
                <a:gd name="T0" fmla="*/ 19 w 19"/>
                <a:gd name="T1" fmla="*/ 10 h 18"/>
                <a:gd name="T2" fmla="*/ 12 w 19"/>
                <a:gd name="T3" fmla="*/ 18 h 18"/>
                <a:gd name="T4" fmla="*/ 0 w 19"/>
                <a:gd name="T5" fmla="*/ 18 h 18"/>
                <a:gd name="T6" fmla="*/ 3 w 19"/>
                <a:gd name="T7" fmla="*/ 4 h 18"/>
                <a:gd name="T8" fmla="*/ 10 w 19"/>
                <a:gd name="T9" fmla="*/ 0 h 18"/>
                <a:gd name="T10" fmla="*/ 19 w 19"/>
                <a:gd name="T11" fmla="*/ 10 h 18"/>
                <a:gd name="T12" fmla="*/ 19 w 19"/>
                <a:gd name="T13" fmla="*/ 1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18">
                  <a:moveTo>
                    <a:pt x="19" y="10"/>
                  </a:moveTo>
                  <a:lnTo>
                    <a:pt x="12" y="18"/>
                  </a:lnTo>
                  <a:lnTo>
                    <a:pt x="0" y="18"/>
                  </a:lnTo>
                  <a:lnTo>
                    <a:pt x="3" y="4"/>
                  </a:lnTo>
                  <a:lnTo>
                    <a:pt x="10" y="0"/>
                  </a:lnTo>
                  <a:lnTo>
                    <a:pt x="19" y="10"/>
                  </a:lnTo>
                  <a:lnTo>
                    <a:pt x="19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082" name="Freeform 437"/>
            <p:cNvSpPr>
              <a:spLocks/>
            </p:cNvSpPr>
            <p:nvPr userDrawn="1"/>
          </p:nvSpPr>
          <p:spPr bwMode="auto">
            <a:xfrm>
              <a:off x="3973" y="1014"/>
              <a:ext cx="54" cy="49"/>
            </a:xfrm>
            <a:custGeom>
              <a:avLst/>
              <a:gdLst>
                <a:gd name="T0" fmla="*/ 54 w 54"/>
                <a:gd name="T1" fmla="*/ 28 h 49"/>
                <a:gd name="T2" fmla="*/ 46 w 54"/>
                <a:gd name="T3" fmla="*/ 29 h 49"/>
                <a:gd name="T4" fmla="*/ 39 w 54"/>
                <a:gd name="T5" fmla="*/ 38 h 49"/>
                <a:gd name="T6" fmla="*/ 24 w 54"/>
                <a:gd name="T7" fmla="*/ 37 h 49"/>
                <a:gd name="T8" fmla="*/ 16 w 54"/>
                <a:gd name="T9" fmla="*/ 47 h 49"/>
                <a:gd name="T10" fmla="*/ 6 w 54"/>
                <a:gd name="T11" fmla="*/ 49 h 49"/>
                <a:gd name="T12" fmla="*/ 0 w 54"/>
                <a:gd name="T13" fmla="*/ 38 h 49"/>
                <a:gd name="T14" fmla="*/ 6 w 54"/>
                <a:gd name="T15" fmla="*/ 29 h 49"/>
                <a:gd name="T16" fmla="*/ 22 w 54"/>
                <a:gd name="T17" fmla="*/ 32 h 49"/>
                <a:gd name="T18" fmla="*/ 15 w 54"/>
                <a:gd name="T19" fmla="*/ 22 h 49"/>
                <a:gd name="T20" fmla="*/ 24 w 54"/>
                <a:gd name="T21" fmla="*/ 20 h 49"/>
                <a:gd name="T22" fmla="*/ 1 w 54"/>
                <a:gd name="T23" fmla="*/ 12 h 49"/>
                <a:gd name="T24" fmla="*/ 16 w 54"/>
                <a:gd name="T25" fmla="*/ 9 h 49"/>
                <a:gd name="T26" fmla="*/ 19 w 54"/>
                <a:gd name="T27" fmla="*/ 0 h 49"/>
                <a:gd name="T28" fmla="*/ 27 w 54"/>
                <a:gd name="T29" fmla="*/ 18 h 49"/>
                <a:gd name="T30" fmla="*/ 42 w 54"/>
                <a:gd name="T31" fmla="*/ 17 h 49"/>
                <a:gd name="T32" fmla="*/ 42 w 54"/>
                <a:gd name="T33" fmla="*/ 22 h 49"/>
                <a:gd name="T34" fmla="*/ 54 w 54"/>
                <a:gd name="T35" fmla="*/ 28 h 49"/>
                <a:gd name="T36" fmla="*/ 54 w 54"/>
                <a:gd name="T37" fmla="*/ 28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4" h="49">
                  <a:moveTo>
                    <a:pt x="54" y="28"/>
                  </a:moveTo>
                  <a:lnTo>
                    <a:pt x="46" y="29"/>
                  </a:lnTo>
                  <a:lnTo>
                    <a:pt x="39" y="38"/>
                  </a:lnTo>
                  <a:lnTo>
                    <a:pt x="24" y="37"/>
                  </a:lnTo>
                  <a:lnTo>
                    <a:pt x="16" y="47"/>
                  </a:lnTo>
                  <a:lnTo>
                    <a:pt x="6" y="49"/>
                  </a:lnTo>
                  <a:lnTo>
                    <a:pt x="0" y="38"/>
                  </a:lnTo>
                  <a:lnTo>
                    <a:pt x="6" y="29"/>
                  </a:lnTo>
                  <a:lnTo>
                    <a:pt x="22" y="32"/>
                  </a:lnTo>
                  <a:lnTo>
                    <a:pt x="15" y="22"/>
                  </a:lnTo>
                  <a:lnTo>
                    <a:pt x="24" y="20"/>
                  </a:lnTo>
                  <a:lnTo>
                    <a:pt x="1" y="12"/>
                  </a:lnTo>
                  <a:lnTo>
                    <a:pt x="16" y="9"/>
                  </a:lnTo>
                  <a:lnTo>
                    <a:pt x="19" y="0"/>
                  </a:lnTo>
                  <a:lnTo>
                    <a:pt x="27" y="18"/>
                  </a:lnTo>
                  <a:lnTo>
                    <a:pt x="42" y="17"/>
                  </a:lnTo>
                  <a:lnTo>
                    <a:pt x="42" y="22"/>
                  </a:lnTo>
                  <a:lnTo>
                    <a:pt x="54" y="28"/>
                  </a:lnTo>
                  <a:lnTo>
                    <a:pt x="54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083" name="Freeform 438"/>
            <p:cNvSpPr>
              <a:spLocks/>
            </p:cNvSpPr>
            <p:nvPr userDrawn="1"/>
          </p:nvSpPr>
          <p:spPr bwMode="auto">
            <a:xfrm>
              <a:off x="3939" y="1058"/>
              <a:ext cx="25" cy="23"/>
            </a:xfrm>
            <a:custGeom>
              <a:avLst/>
              <a:gdLst>
                <a:gd name="T0" fmla="*/ 25 w 25"/>
                <a:gd name="T1" fmla="*/ 20 h 23"/>
                <a:gd name="T2" fmla="*/ 19 w 25"/>
                <a:gd name="T3" fmla="*/ 23 h 23"/>
                <a:gd name="T4" fmla="*/ 11 w 25"/>
                <a:gd name="T5" fmla="*/ 12 h 23"/>
                <a:gd name="T6" fmla="*/ 0 w 25"/>
                <a:gd name="T7" fmla="*/ 6 h 23"/>
                <a:gd name="T8" fmla="*/ 13 w 25"/>
                <a:gd name="T9" fmla="*/ 6 h 23"/>
                <a:gd name="T10" fmla="*/ 11 w 25"/>
                <a:gd name="T11" fmla="*/ 0 h 23"/>
                <a:gd name="T12" fmla="*/ 25 w 25"/>
                <a:gd name="T13" fmla="*/ 14 h 23"/>
                <a:gd name="T14" fmla="*/ 25 w 25"/>
                <a:gd name="T15" fmla="*/ 20 h 23"/>
                <a:gd name="T16" fmla="*/ 25 w 25"/>
                <a:gd name="T17" fmla="*/ 2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" h="23">
                  <a:moveTo>
                    <a:pt x="25" y="20"/>
                  </a:moveTo>
                  <a:lnTo>
                    <a:pt x="19" y="23"/>
                  </a:lnTo>
                  <a:lnTo>
                    <a:pt x="11" y="12"/>
                  </a:lnTo>
                  <a:lnTo>
                    <a:pt x="0" y="6"/>
                  </a:lnTo>
                  <a:lnTo>
                    <a:pt x="13" y="6"/>
                  </a:lnTo>
                  <a:lnTo>
                    <a:pt x="11" y="0"/>
                  </a:lnTo>
                  <a:lnTo>
                    <a:pt x="25" y="14"/>
                  </a:lnTo>
                  <a:lnTo>
                    <a:pt x="25" y="20"/>
                  </a:lnTo>
                  <a:lnTo>
                    <a:pt x="25" y="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084" name="Freeform 439"/>
            <p:cNvSpPr>
              <a:spLocks/>
            </p:cNvSpPr>
            <p:nvPr userDrawn="1"/>
          </p:nvSpPr>
          <p:spPr bwMode="auto">
            <a:xfrm>
              <a:off x="3860" y="1171"/>
              <a:ext cx="18" cy="18"/>
            </a:xfrm>
            <a:custGeom>
              <a:avLst/>
              <a:gdLst>
                <a:gd name="T0" fmla="*/ 10 w 18"/>
                <a:gd name="T1" fmla="*/ 18 h 18"/>
                <a:gd name="T2" fmla="*/ 0 w 18"/>
                <a:gd name="T3" fmla="*/ 12 h 18"/>
                <a:gd name="T4" fmla="*/ 4 w 18"/>
                <a:gd name="T5" fmla="*/ 0 h 18"/>
                <a:gd name="T6" fmla="*/ 18 w 18"/>
                <a:gd name="T7" fmla="*/ 8 h 18"/>
                <a:gd name="T8" fmla="*/ 10 w 18"/>
                <a:gd name="T9" fmla="*/ 18 h 18"/>
                <a:gd name="T10" fmla="*/ 10 w 18"/>
                <a:gd name="T11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18">
                  <a:moveTo>
                    <a:pt x="10" y="18"/>
                  </a:moveTo>
                  <a:lnTo>
                    <a:pt x="0" y="12"/>
                  </a:lnTo>
                  <a:lnTo>
                    <a:pt x="4" y="0"/>
                  </a:lnTo>
                  <a:lnTo>
                    <a:pt x="18" y="8"/>
                  </a:lnTo>
                  <a:lnTo>
                    <a:pt x="10" y="18"/>
                  </a:lnTo>
                  <a:lnTo>
                    <a:pt x="10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085" name="Freeform 440"/>
            <p:cNvSpPr>
              <a:spLocks/>
            </p:cNvSpPr>
            <p:nvPr userDrawn="1"/>
          </p:nvSpPr>
          <p:spPr bwMode="auto">
            <a:xfrm>
              <a:off x="3841" y="1191"/>
              <a:ext cx="20" cy="12"/>
            </a:xfrm>
            <a:custGeom>
              <a:avLst/>
              <a:gdLst>
                <a:gd name="T0" fmla="*/ 16 w 20"/>
                <a:gd name="T1" fmla="*/ 0 h 12"/>
                <a:gd name="T2" fmla="*/ 2 w 20"/>
                <a:gd name="T3" fmla="*/ 1 h 12"/>
                <a:gd name="T4" fmla="*/ 0 w 20"/>
                <a:gd name="T5" fmla="*/ 9 h 12"/>
                <a:gd name="T6" fmla="*/ 11 w 20"/>
                <a:gd name="T7" fmla="*/ 12 h 12"/>
                <a:gd name="T8" fmla="*/ 20 w 20"/>
                <a:gd name="T9" fmla="*/ 1 h 12"/>
                <a:gd name="T10" fmla="*/ 16 w 20"/>
                <a:gd name="T11" fmla="*/ 0 h 12"/>
                <a:gd name="T12" fmla="*/ 16 w 20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12">
                  <a:moveTo>
                    <a:pt x="16" y="0"/>
                  </a:moveTo>
                  <a:lnTo>
                    <a:pt x="2" y="1"/>
                  </a:lnTo>
                  <a:lnTo>
                    <a:pt x="0" y="9"/>
                  </a:lnTo>
                  <a:lnTo>
                    <a:pt x="11" y="12"/>
                  </a:lnTo>
                  <a:lnTo>
                    <a:pt x="20" y="1"/>
                  </a:lnTo>
                  <a:lnTo>
                    <a:pt x="16" y="0"/>
                  </a:lnTo>
                  <a:lnTo>
                    <a:pt x="1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086" name="Freeform 441"/>
            <p:cNvSpPr>
              <a:spLocks/>
            </p:cNvSpPr>
            <p:nvPr userDrawn="1"/>
          </p:nvSpPr>
          <p:spPr bwMode="auto">
            <a:xfrm>
              <a:off x="3841" y="1206"/>
              <a:ext cx="16" cy="9"/>
            </a:xfrm>
            <a:custGeom>
              <a:avLst/>
              <a:gdLst>
                <a:gd name="T0" fmla="*/ 9 w 16"/>
                <a:gd name="T1" fmla="*/ 0 h 9"/>
                <a:gd name="T2" fmla="*/ 0 w 16"/>
                <a:gd name="T3" fmla="*/ 2 h 9"/>
                <a:gd name="T4" fmla="*/ 3 w 16"/>
                <a:gd name="T5" fmla="*/ 9 h 9"/>
                <a:gd name="T6" fmla="*/ 16 w 16"/>
                <a:gd name="T7" fmla="*/ 8 h 9"/>
                <a:gd name="T8" fmla="*/ 9 w 16"/>
                <a:gd name="T9" fmla="*/ 0 h 9"/>
                <a:gd name="T10" fmla="*/ 9 w 16"/>
                <a:gd name="T11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9">
                  <a:moveTo>
                    <a:pt x="9" y="0"/>
                  </a:moveTo>
                  <a:lnTo>
                    <a:pt x="0" y="2"/>
                  </a:lnTo>
                  <a:lnTo>
                    <a:pt x="3" y="9"/>
                  </a:lnTo>
                  <a:lnTo>
                    <a:pt x="16" y="8"/>
                  </a:lnTo>
                  <a:lnTo>
                    <a:pt x="9" y="0"/>
                  </a:lnTo>
                  <a:lnTo>
                    <a:pt x="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087" name="Freeform 442"/>
            <p:cNvSpPr>
              <a:spLocks/>
            </p:cNvSpPr>
            <p:nvPr userDrawn="1"/>
          </p:nvSpPr>
          <p:spPr bwMode="auto">
            <a:xfrm>
              <a:off x="3771" y="1251"/>
              <a:ext cx="55" cy="33"/>
            </a:xfrm>
            <a:custGeom>
              <a:avLst/>
              <a:gdLst>
                <a:gd name="T0" fmla="*/ 51 w 55"/>
                <a:gd name="T1" fmla="*/ 23 h 33"/>
                <a:gd name="T2" fmla="*/ 54 w 55"/>
                <a:gd name="T3" fmla="*/ 18 h 33"/>
                <a:gd name="T4" fmla="*/ 45 w 55"/>
                <a:gd name="T5" fmla="*/ 14 h 33"/>
                <a:gd name="T6" fmla="*/ 55 w 55"/>
                <a:gd name="T7" fmla="*/ 11 h 33"/>
                <a:gd name="T8" fmla="*/ 52 w 55"/>
                <a:gd name="T9" fmla="*/ 6 h 33"/>
                <a:gd name="T10" fmla="*/ 42 w 55"/>
                <a:gd name="T11" fmla="*/ 3 h 33"/>
                <a:gd name="T12" fmla="*/ 28 w 55"/>
                <a:gd name="T13" fmla="*/ 14 h 33"/>
                <a:gd name="T14" fmla="*/ 27 w 55"/>
                <a:gd name="T15" fmla="*/ 6 h 33"/>
                <a:gd name="T16" fmla="*/ 19 w 55"/>
                <a:gd name="T17" fmla="*/ 0 h 33"/>
                <a:gd name="T18" fmla="*/ 22 w 55"/>
                <a:gd name="T19" fmla="*/ 15 h 33"/>
                <a:gd name="T20" fmla="*/ 16 w 55"/>
                <a:gd name="T21" fmla="*/ 14 h 33"/>
                <a:gd name="T22" fmla="*/ 9 w 55"/>
                <a:gd name="T23" fmla="*/ 21 h 33"/>
                <a:gd name="T24" fmla="*/ 0 w 55"/>
                <a:gd name="T25" fmla="*/ 23 h 33"/>
                <a:gd name="T26" fmla="*/ 6 w 55"/>
                <a:gd name="T27" fmla="*/ 33 h 33"/>
                <a:gd name="T28" fmla="*/ 19 w 55"/>
                <a:gd name="T29" fmla="*/ 26 h 33"/>
                <a:gd name="T30" fmla="*/ 51 w 55"/>
                <a:gd name="T31" fmla="*/ 23 h 33"/>
                <a:gd name="T32" fmla="*/ 51 w 55"/>
                <a:gd name="T33" fmla="*/ 2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5" h="33">
                  <a:moveTo>
                    <a:pt x="51" y="23"/>
                  </a:moveTo>
                  <a:lnTo>
                    <a:pt x="54" y="18"/>
                  </a:lnTo>
                  <a:lnTo>
                    <a:pt x="45" y="14"/>
                  </a:lnTo>
                  <a:lnTo>
                    <a:pt x="55" y="11"/>
                  </a:lnTo>
                  <a:lnTo>
                    <a:pt x="52" y="6"/>
                  </a:lnTo>
                  <a:lnTo>
                    <a:pt x="42" y="3"/>
                  </a:lnTo>
                  <a:lnTo>
                    <a:pt x="28" y="14"/>
                  </a:lnTo>
                  <a:lnTo>
                    <a:pt x="27" y="6"/>
                  </a:lnTo>
                  <a:lnTo>
                    <a:pt x="19" y="0"/>
                  </a:lnTo>
                  <a:lnTo>
                    <a:pt x="22" y="15"/>
                  </a:lnTo>
                  <a:lnTo>
                    <a:pt x="16" y="14"/>
                  </a:lnTo>
                  <a:lnTo>
                    <a:pt x="9" y="21"/>
                  </a:lnTo>
                  <a:lnTo>
                    <a:pt x="0" y="23"/>
                  </a:lnTo>
                  <a:lnTo>
                    <a:pt x="6" y="33"/>
                  </a:lnTo>
                  <a:lnTo>
                    <a:pt x="19" y="26"/>
                  </a:lnTo>
                  <a:lnTo>
                    <a:pt x="51" y="23"/>
                  </a:lnTo>
                  <a:lnTo>
                    <a:pt x="51" y="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088" name="Freeform 443"/>
            <p:cNvSpPr>
              <a:spLocks/>
            </p:cNvSpPr>
            <p:nvPr userDrawn="1"/>
          </p:nvSpPr>
          <p:spPr bwMode="auto">
            <a:xfrm>
              <a:off x="3766" y="1254"/>
              <a:ext cx="18" cy="15"/>
            </a:xfrm>
            <a:custGeom>
              <a:avLst/>
              <a:gdLst>
                <a:gd name="T0" fmla="*/ 18 w 18"/>
                <a:gd name="T1" fmla="*/ 11 h 15"/>
                <a:gd name="T2" fmla="*/ 9 w 18"/>
                <a:gd name="T3" fmla="*/ 15 h 15"/>
                <a:gd name="T4" fmla="*/ 3 w 18"/>
                <a:gd name="T5" fmla="*/ 9 h 15"/>
                <a:gd name="T6" fmla="*/ 0 w 18"/>
                <a:gd name="T7" fmla="*/ 0 h 15"/>
                <a:gd name="T8" fmla="*/ 12 w 18"/>
                <a:gd name="T9" fmla="*/ 0 h 15"/>
                <a:gd name="T10" fmla="*/ 18 w 18"/>
                <a:gd name="T11" fmla="*/ 11 h 15"/>
                <a:gd name="T12" fmla="*/ 18 w 18"/>
                <a:gd name="T13" fmla="*/ 1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" h="15">
                  <a:moveTo>
                    <a:pt x="18" y="11"/>
                  </a:moveTo>
                  <a:lnTo>
                    <a:pt x="9" y="15"/>
                  </a:lnTo>
                  <a:lnTo>
                    <a:pt x="3" y="9"/>
                  </a:lnTo>
                  <a:lnTo>
                    <a:pt x="0" y="0"/>
                  </a:lnTo>
                  <a:lnTo>
                    <a:pt x="12" y="0"/>
                  </a:lnTo>
                  <a:lnTo>
                    <a:pt x="18" y="11"/>
                  </a:lnTo>
                  <a:lnTo>
                    <a:pt x="18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089" name="Freeform 444"/>
            <p:cNvSpPr>
              <a:spLocks/>
            </p:cNvSpPr>
            <p:nvPr userDrawn="1"/>
          </p:nvSpPr>
          <p:spPr bwMode="auto">
            <a:xfrm>
              <a:off x="3793" y="1233"/>
              <a:ext cx="9" cy="14"/>
            </a:xfrm>
            <a:custGeom>
              <a:avLst/>
              <a:gdLst>
                <a:gd name="T0" fmla="*/ 0 w 9"/>
                <a:gd name="T1" fmla="*/ 14 h 14"/>
                <a:gd name="T2" fmla="*/ 2 w 9"/>
                <a:gd name="T3" fmla="*/ 2 h 14"/>
                <a:gd name="T4" fmla="*/ 8 w 9"/>
                <a:gd name="T5" fmla="*/ 0 h 14"/>
                <a:gd name="T6" fmla="*/ 9 w 9"/>
                <a:gd name="T7" fmla="*/ 8 h 14"/>
                <a:gd name="T8" fmla="*/ 0 w 9"/>
                <a:gd name="T9" fmla="*/ 14 h 14"/>
                <a:gd name="T10" fmla="*/ 0 w 9"/>
                <a:gd name="T1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14">
                  <a:moveTo>
                    <a:pt x="0" y="14"/>
                  </a:moveTo>
                  <a:lnTo>
                    <a:pt x="2" y="2"/>
                  </a:lnTo>
                  <a:lnTo>
                    <a:pt x="8" y="0"/>
                  </a:lnTo>
                  <a:lnTo>
                    <a:pt x="9" y="8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090" name="Freeform 445"/>
            <p:cNvSpPr>
              <a:spLocks/>
            </p:cNvSpPr>
            <p:nvPr userDrawn="1"/>
          </p:nvSpPr>
          <p:spPr bwMode="auto">
            <a:xfrm>
              <a:off x="3808" y="1211"/>
              <a:ext cx="27" cy="28"/>
            </a:xfrm>
            <a:custGeom>
              <a:avLst/>
              <a:gdLst>
                <a:gd name="T0" fmla="*/ 6 w 27"/>
                <a:gd name="T1" fmla="*/ 28 h 28"/>
                <a:gd name="T2" fmla="*/ 2 w 27"/>
                <a:gd name="T3" fmla="*/ 19 h 28"/>
                <a:gd name="T4" fmla="*/ 0 w 27"/>
                <a:gd name="T5" fmla="*/ 6 h 28"/>
                <a:gd name="T6" fmla="*/ 9 w 27"/>
                <a:gd name="T7" fmla="*/ 7 h 28"/>
                <a:gd name="T8" fmla="*/ 27 w 27"/>
                <a:gd name="T9" fmla="*/ 0 h 28"/>
                <a:gd name="T10" fmla="*/ 27 w 27"/>
                <a:gd name="T11" fmla="*/ 3 h 28"/>
                <a:gd name="T12" fmla="*/ 14 w 27"/>
                <a:gd name="T13" fmla="*/ 13 h 28"/>
                <a:gd name="T14" fmla="*/ 12 w 27"/>
                <a:gd name="T15" fmla="*/ 21 h 28"/>
                <a:gd name="T16" fmla="*/ 6 w 27"/>
                <a:gd name="T17" fmla="*/ 28 h 28"/>
                <a:gd name="T18" fmla="*/ 6 w 27"/>
                <a:gd name="T19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" h="28">
                  <a:moveTo>
                    <a:pt x="6" y="28"/>
                  </a:moveTo>
                  <a:lnTo>
                    <a:pt x="2" y="19"/>
                  </a:lnTo>
                  <a:lnTo>
                    <a:pt x="0" y="6"/>
                  </a:lnTo>
                  <a:lnTo>
                    <a:pt x="9" y="7"/>
                  </a:lnTo>
                  <a:lnTo>
                    <a:pt x="27" y="0"/>
                  </a:lnTo>
                  <a:lnTo>
                    <a:pt x="27" y="3"/>
                  </a:lnTo>
                  <a:lnTo>
                    <a:pt x="14" y="13"/>
                  </a:lnTo>
                  <a:lnTo>
                    <a:pt x="12" y="21"/>
                  </a:lnTo>
                  <a:lnTo>
                    <a:pt x="6" y="28"/>
                  </a:lnTo>
                  <a:lnTo>
                    <a:pt x="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091" name="Freeform 446"/>
            <p:cNvSpPr>
              <a:spLocks/>
            </p:cNvSpPr>
            <p:nvPr userDrawn="1"/>
          </p:nvSpPr>
          <p:spPr bwMode="auto">
            <a:xfrm>
              <a:off x="3752" y="1340"/>
              <a:ext cx="29" cy="20"/>
            </a:xfrm>
            <a:custGeom>
              <a:avLst/>
              <a:gdLst>
                <a:gd name="T0" fmla="*/ 25 w 29"/>
                <a:gd name="T1" fmla="*/ 11 h 20"/>
                <a:gd name="T2" fmla="*/ 29 w 29"/>
                <a:gd name="T3" fmla="*/ 5 h 20"/>
                <a:gd name="T4" fmla="*/ 19 w 29"/>
                <a:gd name="T5" fmla="*/ 0 h 20"/>
                <a:gd name="T6" fmla="*/ 0 w 29"/>
                <a:gd name="T7" fmla="*/ 15 h 20"/>
                <a:gd name="T8" fmla="*/ 2 w 29"/>
                <a:gd name="T9" fmla="*/ 20 h 20"/>
                <a:gd name="T10" fmla="*/ 14 w 29"/>
                <a:gd name="T11" fmla="*/ 11 h 20"/>
                <a:gd name="T12" fmla="*/ 25 w 29"/>
                <a:gd name="T13" fmla="*/ 11 h 20"/>
                <a:gd name="T14" fmla="*/ 25 w 29"/>
                <a:gd name="T15" fmla="*/ 11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9" h="20">
                  <a:moveTo>
                    <a:pt x="25" y="11"/>
                  </a:moveTo>
                  <a:lnTo>
                    <a:pt x="29" y="5"/>
                  </a:lnTo>
                  <a:lnTo>
                    <a:pt x="19" y="0"/>
                  </a:lnTo>
                  <a:lnTo>
                    <a:pt x="0" y="15"/>
                  </a:lnTo>
                  <a:lnTo>
                    <a:pt x="2" y="20"/>
                  </a:lnTo>
                  <a:lnTo>
                    <a:pt x="14" y="11"/>
                  </a:lnTo>
                  <a:lnTo>
                    <a:pt x="25" y="11"/>
                  </a:lnTo>
                  <a:lnTo>
                    <a:pt x="25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092" name="Freeform 447"/>
            <p:cNvSpPr>
              <a:spLocks/>
            </p:cNvSpPr>
            <p:nvPr userDrawn="1"/>
          </p:nvSpPr>
          <p:spPr bwMode="auto">
            <a:xfrm>
              <a:off x="3749" y="1287"/>
              <a:ext cx="17" cy="17"/>
            </a:xfrm>
            <a:custGeom>
              <a:avLst/>
              <a:gdLst>
                <a:gd name="T0" fmla="*/ 17 w 17"/>
                <a:gd name="T1" fmla="*/ 8 h 17"/>
                <a:gd name="T2" fmla="*/ 2 w 17"/>
                <a:gd name="T3" fmla="*/ 17 h 17"/>
                <a:gd name="T4" fmla="*/ 0 w 17"/>
                <a:gd name="T5" fmla="*/ 8 h 17"/>
                <a:gd name="T6" fmla="*/ 8 w 17"/>
                <a:gd name="T7" fmla="*/ 0 h 17"/>
                <a:gd name="T8" fmla="*/ 17 w 17"/>
                <a:gd name="T9" fmla="*/ 8 h 17"/>
                <a:gd name="T10" fmla="*/ 17 w 17"/>
                <a:gd name="T11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" h="17">
                  <a:moveTo>
                    <a:pt x="17" y="8"/>
                  </a:moveTo>
                  <a:lnTo>
                    <a:pt x="2" y="17"/>
                  </a:lnTo>
                  <a:lnTo>
                    <a:pt x="0" y="8"/>
                  </a:lnTo>
                  <a:lnTo>
                    <a:pt x="8" y="0"/>
                  </a:lnTo>
                  <a:lnTo>
                    <a:pt x="17" y="8"/>
                  </a:lnTo>
                  <a:lnTo>
                    <a:pt x="17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093" name="Freeform 448"/>
            <p:cNvSpPr>
              <a:spLocks/>
            </p:cNvSpPr>
            <p:nvPr userDrawn="1"/>
          </p:nvSpPr>
          <p:spPr bwMode="auto">
            <a:xfrm>
              <a:off x="3733" y="1384"/>
              <a:ext cx="16" cy="21"/>
            </a:xfrm>
            <a:custGeom>
              <a:avLst/>
              <a:gdLst>
                <a:gd name="T0" fmla="*/ 16 w 16"/>
                <a:gd name="T1" fmla="*/ 9 h 21"/>
                <a:gd name="T2" fmla="*/ 9 w 16"/>
                <a:gd name="T3" fmla="*/ 21 h 21"/>
                <a:gd name="T4" fmla="*/ 1 w 16"/>
                <a:gd name="T5" fmla="*/ 17 h 21"/>
                <a:gd name="T6" fmla="*/ 0 w 16"/>
                <a:gd name="T7" fmla="*/ 8 h 21"/>
                <a:gd name="T8" fmla="*/ 6 w 16"/>
                <a:gd name="T9" fmla="*/ 6 h 21"/>
                <a:gd name="T10" fmla="*/ 9 w 16"/>
                <a:gd name="T11" fmla="*/ 0 h 21"/>
                <a:gd name="T12" fmla="*/ 16 w 16"/>
                <a:gd name="T13" fmla="*/ 9 h 21"/>
                <a:gd name="T14" fmla="*/ 16 w 16"/>
                <a:gd name="T15" fmla="*/ 9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" h="21">
                  <a:moveTo>
                    <a:pt x="16" y="9"/>
                  </a:moveTo>
                  <a:lnTo>
                    <a:pt x="9" y="21"/>
                  </a:lnTo>
                  <a:lnTo>
                    <a:pt x="1" y="17"/>
                  </a:lnTo>
                  <a:lnTo>
                    <a:pt x="0" y="8"/>
                  </a:lnTo>
                  <a:lnTo>
                    <a:pt x="6" y="6"/>
                  </a:lnTo>
                  <a:lnTo>
                    <a:pt x="9" y="0"/>
                  </a:lnTo>
                  <a:lnTo>
                    <a:pt x="16" y="9"/>
                  </a:lnTo>
                  <a:lnTo>
                    <a:pt x="16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094" name="Freeform 449"/>
            <p:cNvSpPr>
              <a:spLocks/>
            </p:cNvSpPr>
            <p:nvPr userDrawn="1"/>
          </p:nvSpPr>
          <p:spPr bwMode="auto">
            <a:xfrm>
              <a:off x="3751" y="1432"/>
              <a:ext cx="38" cy="23"/>
            </a:xfrm>
            <a:custGeom>
              <a:avLst/>
              <a:gdLst>
                <a:gd name="T0" fmla="*/ 38 w 38"/>
                <a:gd name="T1" fmla="*/ 15 h 23"/>
                <a:gd name="T2" fmla="*/ 32 w 38"/>
                <a:gd name="T3" fmla="*/ 11 h 23"/>
                <a:gd name="T4" fmla="*/ 21 w 38"/>
                <a:gd name="T5" fmla="*/ 9 h 23"/>
                <a:gd name="T6" fmla="*/ 14 w 38"/>
                <a:gd name="T7" fmla="*/ 0 h 23"/>
                <a:gd name="T8" fmla="*/ 10 w 38"/>
                <a:gd name="T9" fmla="*/ 5 h 23"/>
                <a:gd name="T10" fmla="*/ 0 w 38"/>
                <a:gd name="T11" fmla="*/ 0 h 23"/>
                <a:gd name="T12" fmla="*/ 3 w 38"/>
                <a:gd name="T13" fmla="*/ 12 h 23"/>
                <a:gd name="T14" fmla="*/ 18 w 38"/>
                <a:gd name="T15" fmla="*/ 23 h 23"/>
                <a:gd name="T16" fmla="*/ 38 w 38"/>
                <a:gd name="T17" fmla="*/ 15 h 23"/>
                <a:gd name="T18" fmla="*/ 38 w 38"/>
                <a:gd name="T19" fmla="*/ 15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" h="23">
                  <a:moveTo>
                    <a:pt x="38" y="15"/>
                  </a:moveTo>
                  <a:lnTo>
                    <a:pt x="32" y="11"/>
                  </a:lnTo>
                  <a:lnTo>
                    <a:pt x="21" y="9"/>
                  </a:lnTo>
                  <a:lnTo>
                    <a:pt x="14" y="0"/>
                  </a:lnTo>
                  <a:lnTo>
                    <a:pt x="10" y="5"/>
                  </a:lnTo>
                  <a:lnTo>
                    <a:pt x="0" y="0"/>
                  </a:lnTo>
                  <a:lnTo>
                    <a:pt x="3" y="12"/>
                  </a:lnTo>
                  <a:lnTo>
                    <a:pt x="18" y="23"/>
                  </a:lnTo>
                  <a:lnTo>
                    <a:pt x="38" y="15"/>
                  </a:lnTo>
                  <a:lnTo>
                    <a:pt x="38" y="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095" name="Freeform 450"/>
            <p:cNvSpPr>
              <a:spLocks/>
            </p:cNvSpPr>
            <p:nvPr userDrawn="1"/>
          </p:nvSpPr>
          <p:spPr bwMode="auto">
            <a:xfrm>
              <a:off x="3742" y="1441"/>
              <a:ext cx="12" cy="23"/>
            </a:xfrm>
            <a:custGeom>
              <a:avLst/>
              <a:gdLst>
                <a:gd name="T0" fmla="*/ 12 w 12"/>
                <a:gd name="T1" fmla="*/ 23 h 23"/>
                <a:gd name="T2" fmla="*/ 1 w 12"/>
                <a:gd name="T3" fmla="*/ 15 h 23"/>
                <a:gd name="T4" fmla="*/ 0 w 12"/>
                <a:gd name="T5" fmla="*/ 0 h 23"/>
                <a:gd name="T6" fmla="*/ 12 w 12"/>
                <a:gd name="T7" fmla="*/ 12 h 23"/>
                <a:gd name="T8" fmla="*/ 12 w 12"/>
                <a:gd name="T9" fmla="*/ 23 h 23"/>
                <a:gd name="T10" fmla="*/ 12 w 12"/>
                <a:gd name="T11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23">
                  <a:moveTo>
                    <a:pt x="12" y="23"/>
                  </a:moveTo>
                  <a:lnTo>
                    <a:pt x="1" y="15"/>
                  </a:lnTo>
                  <a:lnTo>
                    <a:pt x="0" y="0"/>
                  </a:lnTo>
                  <a:lnTo>
                    <a:pt x="12" y="12"/>
                  </a:lnTo>
                  <a:lnTo>
                    <a:pt x="12" y="23"/>
                  </a:lnTo>
                  <a:lnTo>
                    <a:pt x="12" y="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096" name="Freeform 451"/>
            <p:cNvSpPr>
              <a:spLocks/>
            </p:cNvSpPr>
            <p:nvPr userDrawn="1"/>
          </p:nvSpPr>
          <p:spPr bwMode="auto">
            <a:xfrm>
              <a:off x="3755" y="1481"/>
              <a:ext cx="16" cy="21"/>
            </a:xfrm>
            <a:custGeom>
              <a:avLst/>
              <a:gdLst>
                <a:gd name="T0" fmla="*/ 16 w 16"/>
                <a:gd name="T1" fmla="*/ 21 h 21"/>
                <a:gd name="T2" fmla="*/ 11 w 16"/>
                <a:gd name="T3" fmla="*/ 10 h 21"/>
                <a:gd name="T4" fmla="*/ 6 w 16"/>
                <a:gd name="T5" fmla="*/ 0 h 21"/>
                <a:gd name="T6" fmla="*/ 0 w 16"/>
                <a:gd name="T7" fmla="*/ 6 h 21"/>
                <a:gd name="T8" fmla="*/ 2 w 16"/>
                <a:gd name="T9" fmla="*/ 15 h 21"/>
                <a:gd name="T10" fmla="*/ 16 w 16"/>
                <a:gd name="T11" fmla="*/ 21 h 21"/>
                <a:gd name="T12" fmla="*/ 16 w 16"/>
                <a:gd name="T13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21">
                  <a:moveTo>
                    <a:pt x="16" y="21"/>
                  </a:moveTo>
                  <a:lnTo>
                    <a:pt x="11" y="10"/>
                  </a:lnTo>
                  <a:lnTo>
                    <a:pt x="6" y="0"/>
                  </a:lnTo>
                  <a:lnTo>
                    <a:pt x="0" y="6"/>
                  </a:lnTo>
                  <a:lnTo>
                    <a:pt x="2" y="15"/>
                  </a:lnTo>
                  <a:lnTo>
                    <a:pt x="16" y="21"/>
                  </a:lnTo>
                  <a:lnTo>
                    <a:pt x="16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097" name="Freeform 452"/>
            <p:cNvSpPr>
              <a:spLocks/>
            </p:cNvSpPr>
            <p:nvPr userDrawn="1"/>
          </p:nvSpPr>
          <p:spPr bwMode="auto">
            <a:xfrm>
              <a:off x="3786" y="1517"/>
              <a:ext cx="22" cy="28"/>
            </a:xfrm>
            <a:custGeom>
              <a:avLst/>
              <a:gdLst>
                <a:gd name="T0" fmla="*/ 18 w 22"/>
                <a:gd name="T1" fmla="*/ 0 h 28"/>
                <a:gd name="T2" fmla="*/ 3 w 22"/>
                <a:gd name="T3" fmla="*/ 7 h 28"/>
                <a:gd name="T4" fmla="*/ 0 w 22"/>
                <a:gd name="T5" fmla="*/ 18 h 28"/>
                <a:gd name="T6" fmla="*/ 4 w 22"/>
                <a:gd name="T7" fmla="*/ 28 h 28"/>
                <a:gd name="T8" fmla="*/ 22 w 22"/>
                <a:gd name="T9" fmla="*/ 13 h 28"/>
                <a:gd name="T10" fmla="*/ 22 w 22"/>
                <a:gd name="T11" fmla="*/ 0 h 28"/>
                <a:gd name="T12" fmla="*/ 18 w 22"/>
                <a:gd name="T13" fmla="*/ 0 h 28"/>
                <a:gd name="T14" fmla="*/ 18 w 22"/>
                <a:gd name="T15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8">
                  <a:moveTo>
                    <a:pt x="18" y="0"/>
                  </a:moveTo>
                  <a:lnTo>
                    <a:pt x="3" y="7"/>
                  </a:lnTo>
                  <a:lnTo>
                    <a:pt x="0" y="18"/>
                  </a:lnTo>
                  <a:lnTo>
                    <a:pt x="4" y="28"/>
                  </a:lnTo>
                  <a:lnTo>
                    <a:pt x="22" y="13"/>
                  </a:lnTo>
                  <a:lnTo>
                    <a:pt x="22" y="0"/>
                  </a:lnTo>
                  <a:lnTo>
                    <a:pt x="18" y="0"/>
                  </a:lnTo>
                  <a:lnTo>
                    <a:pt x="1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098" name="Freeform 453"/>
            <p:cNvSpPr>
              <a:spLocks/>
            </p:cNvSpPr>
            <p:nvPr userDrawn="1"/>
          </p:nvSpPr>
          <p:spPr bwMode="auto">
            <a:xfrm>
              <a:off x="3777" y="1539"/>
              <a:ext cx="12" cy="23"/>
            </a:xfrm>
            <a:custGeom>
              <a:avLst/>
              <a:gdLst>
                <a:gd name="T0" fmla="*/ 12 w 12"/>
                <a:gd name="T1" fmla="*/ 12 h 23"/>
                <a:gd name="T2" fmla="*/ 6 w 12"/>
                <a:gd name="T3" fmla="*/ 0 h 23"/>
                <a:gd name="T4" fmla="*/ 3 w 12"/>
                <a:gd name="T5" fmla="*/ 0 h 23"/>
                <a:gd name="T6" fmla="*/ 0 w 12"/>
                <a:gd name="T7" fmla="*/ 8 h 23"/>
                <a:gd name="T8" fmla="*/ 9 w 12"/>
                <a:gd name="T9" fmla="*/ 23 h 23"/>
                <a:gd name="T10" fmla="*/ 12 w 12"/>
                <a:gd name="T11" fmla="*/ 12 h 23"/>
                <a:gd name="T12" fmla="*/ 12 w 12"/>
                <a:gd name="T13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23">
                  <a:moveTo>
                    <a:pt x="12" y="12"/>
                  </a:moveTo>
                  <a:lnTo>
                    <a:pt x="6" y="0"/>
                  </a:lnTo>
                  <a:lnTo>
                    <a:pt x="3" y="0"/>
                  </a:lnTo>
                  <a:lnTo>
                    <a:pt x="0" y="8"/>
                  </a:lnTo>
                  <a:lnTo>
                    <a:pt x="9" y="23"/>
                  </a:lnTo>
                  <a:lnTo>
                    <a:pt x="12" y="12"/>
                  </a:lnTo>
                  <a:lnTo>
                    <a:pt x="12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099" name="Freeform 454"/>
            <p:cNvSpPr>
              <a:spLocks/>
            </p:cNvSpPr>
            <p:nvPr userDrawn="1"/>
          </p:nvSpPr>
          <p:spPr bwMode="auto">
            <a:xfrm>
              <a:off x="3766" y="1518"/>
              <a:ext cx="14" cy="18"/>
            </a:xfrm>
            <a:custGeom>
              <a:avLst/>
              <a:gdLst>
                <a:gd name="T0" fmla="*/ 9 w 14"/>
                <a:gd name="T1" fmla="*/ 15 h 18"/>
                <a:gd name="T2" fmla="*/ 5 w 14"/>
                <a:gd name="T3" fmla="*/ 18 h 18"/>
                <a:gd name="T4" fmla="*/ 0 w 14"/>
                <a:gd name="T5" fmla="*/ 8 h 18"/>
                <a:gd name="T6" fmla="*/ 2 w 14"/>
                <a:gd name="T7" fmla="*/ 0 h 18"/>
                <a:gd name="T8" fmla="*/ 6 w 14"/>
                <a:gd name="T9" fmla="*/ 0 h 18"/>
                <a:gd name="T10" fmla="*/ 14 w 14"/>
                <a:gd name="T11" fmla="*/ 8 h 18"/>
                <a:gd name="T12" fmla="*/ 9 w 14"/>
                <a:gd name="T13" fmla="*/ 15 h 18"/>
                <a:gd name="T14" fmla="*/ 9 w 14"/>
                <a:gd name="T15" fmla="*/ 15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18">
                  <a:moveTo>
                    <a:pt x="9" y="15"/>
                  </a:moveTo>
                  <a:lnTo>
                    <a:pt x="5" y="18"/>
                  </a:lnTo>
                  <a:lnTo>
                    <a:pt x="0" y="8"/>
                  </a:lnTo>
                  <a:lnTo>
                    <a:pt x="2" y="0"/>
                  </a:lnTo>
                  <a:lnTo>
                    <a:pt x="6" y="0"/>
                  </a:lnTo>
                  <a:lnTo>
                    <a:pt x="14" y="8"/>
                  </a:lnTo>
                  <a:lnTo>
                    <a:pt x="9" y="15"/>
                  </a:lnTo>
                  <a:lnTo>
                    <a:pt x="9" y="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100" name="Freeform 455"/>
            <p:cNvSpPr>
              <a:spLocks/>
            </p:cNvSpPr>
            <p:nvPr userDrawn="1"/>
          </p:nvSpPr>
          <p:spPr bwMode="auto">
            <a:xfrm>
              <a:off x="3778" y="1579"/>
              <a:ext cx="18" cy="37"/>
            </a:xfrm>
            <a:custGeom>
              <a:avLst/>
              <a:gdLst>
                <a:gd name="T0" fmla="*/ 17 w 18"/>
                <a:gd name="T1" fmla="*/ 37 h 37"/>
                <a:gd name="T2" fmla="*/ 12 w 18"/>
                <a:gd name="T3" fmla="*/ 25 h 37"/>
                <a:gd name="T4" fmla="*/ 18 w 18"/>
                <a:gd name="T5" fmla="*/ 19 h 37"/>
                <a:gd name="T6" fmla="*/ 15 w 18"/>
                <a:gd name="T7" fmla="*/ 15 h 37"/>
                <a:gd name="T8" fmla="*/ 8 w 18"/>
                <a:gd name="T9" fmla="*/ 10 h 37"/>
                <a:gd name="T10" fmla="*/ 12 w 18"/>
                <a:gd name="T11" fmla="*/ 0 h 37"/>
                <a:gd name="T12" fmla="*/ 5 w 18"/>
                <a:gd name="T13" fmla="*/ 0 h 37"/>
                <a:gd name="T14" fmla="*/ 0 w 18"/>
                <a:gd name="T15" fmla="*/ 9 h 37"/>
                <a:gd name="T16" fmla="*/ 2 w 18"/>
                <a:gd name="T17" fmla="*/ 24 h 37"/>
                <a:gd name="T18" fmla="*/ 12 w 18"/>
                <a:gd name="T19" fmla="*/ 36 h 37"/>
                <a:gd name="T20" fmla="*/ 17 w 18"/>
                <a:gd name="T21" fmla="*/ 37 h 37"/>
                <a:gd name="T22" fmla="*/ 17 w 18"/>
                <a:gd name="T23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" h="37">
                  <a:moveTo>
                    <a:pt x="17" y="37"/>
                  </a:moveTo>
                  <a:lnTo>
                    <a:pt x="12" y="25"/>
                  </a:lnTo>
                  <a:lnTo>
                    <a:pt x="18" y="19"/>
                  </a:lnTo>
                  <a:lnTo>
                    <a:pt x="15" y="15"/>
                  </a:lnTo>
                  <a:lnTo>
                    <a:pt x="8" y="10"/>
                  </a:lnTo>
                  <a:lnTo>
                    <a:pt x="12" y="0"/>
                  </a:lnTo>
                  <a:lnTo>
                    <a:pt x="5" y="0"/>
                  </a:lnTo>
                  <a:lnTo>
                    <a:pt x="0" y="9"/>
                  </a:lnTo>
                  <a:lnTo>
                    <a:pt x="2" y="24"/>
                  </a:lnTo>
                  <a:lnTo>
                    <a:pt x="12" y="36"/>
                  </a:lnTo>
                  <a:lnTo>
                    <a:pt x="17" y="37"/>
                  </a:lnTo>
                  <a:lnTo>
                    <a:pt x="17" y="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101" name="Freeform 456"/>
            <p:cNvSpPr>
              <a:spLocks/>
            </p:cNvSpPr>
            <p:nvPr userDrawn="1"/>
          </p:nvSpPr>
          <p:spPr bwMode="auto">
            <a:xfrm>
              <a:off x="3774" y="1609"/>
              <a:ext cx="7" cy="21"/>
            </a:xfrm>
            <a:custGeom>
              <a:avLst/>
              <a:gdLst>
                <a:gd name="T0" fmla="*/ 7 w 7"/>
                <a:gd name="T1" fmla="*/ 9 h 21"/>
                <a:gd name="T2" fmla="*/ 6 w 7"/>
                <a:gd name="T3" fmla="*/ 0 h 21"/>
                <a:gd name="T4" fmla="*/ 3 w 7"/>
                <a:gd name="T5" fmla="*/ 4 h 21"/>
                <a:gd name="T6" fmla="*/ 0 w 7"/>
                <a:gd name="T7" fmla="*/ 18 h 21"/>
                <a:gd name="T8" fmla="*/ 4 w 7"/>
                <a:gd name="T9" fmla="*/ 21 h 21"/>
                <a:gd name="T10" fmla="*/ 7 w 7"/>
                <a:gd name="T11" fmla="*/ 9 h 21"/>
                <a:gd name="T12" fmla="*/ 7 w 7"/>
                <a:gd name="T13" fmla="*/ 9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21">
                  <a:moveTo>
                    <a:pt x="7" y="9"/>
                  </a:moveTo>
                  <a:lnTo>
                    <a:pt x="6" y="0"/>
                  </a:lnTo>
                  <a:lnTo>
                    <a:pt x="3" y="4"/>
                  </a:lnTo>
                  <a:lnTo>
                    <a:pt x="0" y="18"/>
                  </a:lnTo>
                  <a:lnTo>
                    <a:pt x="4" y="21"/>
                  </a:lnTo>
                  <a:lnTo>
                    <a:pt x="7" y="9"/>
                  </a:lnTo>
                  <a:lnTo>
                    <a:pt x="7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102" name="Freeform 457"/>
            <p:cNvSpPr>
              <a:spLocks/>
            </p:cNvSpPr>
            <p:nvPr userDrawn="1"/>
          </p:nvSpPr>
          <p:spPr bwMode="auto">
            <a:xfrm>
              <a:off x="4169" y="1767"/>
              <a:ext cx="12" cy="21"/>
            </a:xfrm>
            <a:custGeom>
              <a:avLst/>
              <a:gdLst>
                <a:gd name="T0" fmla="*/ 7 w 12"/>
                <a:gd name="T1" fmla="*/ 21 h 21"/>
                <a:gd name="T2" fmla="*/ 12 w 12"/>
                <a:gd name="T3" fmla="*/ 12 h 21"/>
                <a:gd name="T4" fmla="*/ 12 w 12"/>
                <a:gd name="T5" fmla="*/ 0 h 21"/>
                <a:gd name="T6" fmla="*/ 1 w 12"/>
                <a:gd name="T7" fmla="*/ 0 h 21"/>
                <a:gd name="T8" fmla="*/ 0 w 12"/>
                <a:gd name="T9" fmla="*/ 8 h 21"/>
                <a:gd name="T10" fmla="*/ 7 w 12"/>
                <a:gd name="T11" fmla="*/ 21 h 21"/>
                <a:gd name="T12" fmla="*/ 7 w 12"/>
                <a:gd name="T13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21">
                  <a:moveTo>
                    <a:pt x="7" y="21"/>
                  </a:moveTo>
                  <a:lnTo>
                    <a:pt x="12" y="12"/>
                  </a:lnTo>
                  <a:lnTo>
                    <a:pt x="12" y="0"/>
                  </a:lnTo>
                  <a:lnTo>
                    <a:pt x="1" y="0"/>
                  </a:lnTo>
                  <a:lnTo>
                    <a:pt x="0" y="8"/>
                  </a:lnTo>
                  <a:lnTo>
                    <a:pt x="7" y="21"/>
                  </a:lnTo>
                  <a:lnTo>
                    <a:pt x="7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103" name="Freeform 458"/>
            <p:cNvSpPr>
              <a:spLocks/>
            </p:cNvSpPr>
            <p:nvPr userDrawn="1"/>
          </p:nvSpPr>
          <p:spPr bwMode="auto">
            <a:xfrm>
              <a:off x="4372" y="2081"/>
              <a:ext cx="31" cy="33"/>
            </a:xfrm>
            <a:custGeom>
              <a:avLst/>
              <a:gdLst>
                <a:gd name="T0" fmla="*/ 8 w 31"/>
                <a:gd name="T1" fmla="*/ 0 h 33"/>
                <a:gd name="T2" fmla="*/ 2 w 31"/>
                <a:gd name="T3" fmla="*/ 6 h 33"/>
                <a:gd name="T4" fmla="*/ 0 w 31"/>
                <a:gd name="T5" fmla="*/ 20 h 33"/>
                <a:gd name="T6" fmla="*/ 28 w 31"/>
                <a:gd name="T7" fmla="*/ 33 h 33"/>
                <a:gd name="T8" fmla="*/ 31 w 31"/>
                <a:gd name="T9" fmla="*/ 20 h 33"/>
                <a:gd name="T10" fmla="*/ 29 w 31"/>
                <a:gd name="T11" fmla="*/ 17 h 33"/>
                <a:gd name="T12" fmla="*/ 8 w 31"/>
                <a:gd name="T13" fmla="*/ 0 h 33"/>
                <a:gd name="T14" fmla="*/ 8 w 31"/>
                <a:gd name="T15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1" h="33">
                  <a:moveTo>
                    <a:pt x="8" y="0"/>
                  </a:moveTo>
                  <a:lnTo>
                    <a:pt x="2" y="6"/>
                  </a:lnTo>
                  <a:lnTo>
                    <a:pt x="0" y="20"/>
                  </a:lnTo>
                  <a:lnTo>
                    <a:pt x="28" y="33"/>
                  </a:lnTo>
                  <a:lnTo>
                    <a:pt x="31" y="20"/>
                  </a:lnTo>
                  <a:lnTo>
                    <a:pt x="29" y="17"/>
                  </a:lnTo>
                  <a:lnTo>
                    <a:pt x="8" y="0"/>
                  </a:lnTo>
                  <a:lnTo>
                    <a:pt x="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104" name="Freeform 459"/>
            <p:cNvSpPr>
              <a:spLocks/>
            </p:cNvSpPr>
            <p:nvPr userDrawn="1"/>
          </p:nvSpPr>
          <p:spPr bwMode="auto">
            <a:xfrm>
              <a:off x="4479" y="1847"/>
              <a:ext cx="43" cy="125"/>
            </a:xfrm>
            <a:custGeom>
              <a:avLst/>
              <a:gdLst>
                <a:gd name="T0" fmla="*/ 9 w 43"/>
                <a:gd name="T1" fmla="*/ 122 h 125"/>
                <a:gd name="T2" fmla="*/ 2 w 43"/>
                <a:gd name="T3" fmla="*/ 125 h 125"/>
                <a:gd name="T4" fmla="*/ 0 w 43"/>
                <a:gd name="T5" fmla="*/ 115 h 125"/>
                <a:gd name="T6" fmla="*/ 9 w 43"/>
                <a:gd name="T7" fmla="*/ 65 h 125"/>
                <a:gd name="T8" fmla="*/ 20 w 43"/>
                <a:gd name="T9" fmla="*/ 48 h 125"/>
                <a:gd name="T10" fmla="*/ 28 w 43"/>
                <a:gd name="T11" fmla="*/ 35 h 125"/>
                <a:gd name="T12" fmla="*/ 32 w 43"/>
                <a:gd name="T13" fmla="*/ 24 h 125"/>
                <a:gd name="T14" fmla="*/ 31 w 43"/>
                <a:gd name="T15" fmla="*/ 14 h 125"/>
                <a:gd name="T16" fmla="*/ 40 w 43"/>
                <a:gd name="T17" fmla="*/ 0 h 125"/>
                <a:gd name="T18" fmla="*/ 43 w 43"/>
                <a:gd name="T19" fmla="*/ 2 h 125"/>
                <a:gd name="T20" fmla="*/ 38 w 43"/>
                <a:gd name="T21" fmla="*/ 11 h 125"/>
                <a:gd name="T22" fmla="*/ 37 w 43"/>
                <a:gd name="T23" fmla="*/ 36 h 125"/>
                <a:gd name="T24" fmla="*/ 37 w 43"/>
                <a:gd name="T25" fmla="*/ 53 h 125"/>
                <a:gd name="T26" fmla="*/ 26 w 43"/>
                <a:gd name="T27" fmla="*/ 62 h 125"/>
                <a:gd name="T28" fmla="*/ 23 w 43"/>
                <a:gd name="T29" fmla="*/ 83 h 125"/>
                <a:gd name="T30" fmla="*/ 19 w 43"/>
                <a:gd name="T31" fmla="*/ 103 h 125"/>
                <a:gd name="T32" fmla="*/ 9 w 43"/>
                <a:gd name="T33" fmla="*/ 122 h 125"/>
                <a:gd name="T34" fmla="*/ 9 w 43"/>
                <a:gd name="T35" fmla="*/ 122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3" h="125">
                  <a:moveTo>
                    <a:pt x="9" y="122"/>
                  </a:moveTo>
                  <a:lnTo>
                    <a:pt x="2" y="125"/>
                  </a:lnTo>
                  <a:lnTo>
                    <a:pt x="0" y="115"/>
                  </a:lnTo>
                  <a:lnTo>
                    <a:pt x="9" y="65"/>
                  </a:lnTo>
                  <a:lnTo>
                    <a:pt x="20" y="48"/>
                  </a:lnTo>
                  <a:lnTo>
                    <a:pt x="28" y="35"/>
                  </a:lnTo>
                  <a:lnTo>
                    <a:pt x="32" y="24"/>
                  </a:lnTo>
                  <a:lnTo>
                    <a:pt x="31" y="14"/>
                  </a:lnTo>
                  <a:lnTo>
                    <a:pt x="40" y="0"/>
                  </a:lnTo>
                  <a:lnTo>
                    <a:pt x="43" y="2"/>
                  </a:lnTo>
                  <a:lnTo>
                    <a:pt x="38" y="11"/>
                  </a:lnTo>
                  <a:lnTo>
                    <a:pt x="37" y="36"/>
                  </a:lnTo>
                  <a:lnTo>
                    <a:pt x="37" y="53"/>
                  </a:lnTo>
                  <a:lnTo>
                    <a:pt x="26" y="62"/>
                  </a:lnTo>
                  <a:lnTo>
                    <a:pt x="23" y="83"/>
                  </a:lnTo>
                  <a:lnTo>
                    <a:pt x="19" y="103"/>
                  </a:lnTo>
                  <a:lnTo>
                    <a:pt x="9" y="122"/>
                  </a:lnTo>
                  <a:lnTo>
                    <a:pt x="9" y="1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105" name="Freeform 460"/>
            <p:cNvSpPr>
              <a:spLocks/>
            </p:cNvSpPr>
            <p:nvPr userDrawn="1"/>
          </p:nvSpPr>
          <p:spPr bwMode="auto">
            <a:xfrm>
              <a:off x="4588" y="1779"/>
              <a:ext cx="60" cy="118"/>
            </a:xfrm>
            <a:custGeom>
              <a:avLst/>
              <a:gdLst>
                <a:gd name="T0" fmla="*/ 5 w 60"/>
                <a:gd name="T1" fmla="*/ 100 h 118"/>
                <a:gd name="T2" fmla="*/ 15 w 60"/>
                <a:gd name="T3" fmla="*/ 94 h 118"/>
                <a:gd name="T4" fmla="*/ 12 w 60"/>
                <a:gd name="T5" fmla="*/ 101 h 118"/>
                <a:gd name="T6" fmla="*/ 0 w 60"/>
                <a:gd name="T7" fmla="*/ 118 h 118"/>
                <a:gd name="T8" fmla="*/ 18 w 60"/>
                <a:gd name="T9" fmla="*/ 113 h 118"/>
                <a:gd name="T10" fmla="*/ 17 w 60"/>
                <a:gd name="T11" fmla="*/ 103 h 118"/>
                <a:gd name="T12" fmla="*/ 32 w 60"/>
                <a:gd name="T13" fmla="*/ 80 h 118"/>
                <a:gd name="T14" fmla="*/ 41 w 60"/>
                <a:gd name="T15" fmla="*/ 79 h 118"/>
                <a:gd name="T16" fmla="*/ 41 w 60"/>
                <a:gd name="T17" fmla="*/ 67 h 118"/>
                <a:gd name="T18" fmla="*/ 51 w 60"/>
                <a:gd name="T19" fmla="*/ 64 h 118"/>
                <a:gd name="T20" fmla="*/ 45 w 60"/>
                <a:gd name="T21" fmla="*/ 55 h 118"/>
                <a:gd name="T22" fmla="*/ 47 w 60"/>
                <a:gd name="T23" fmla="*/ 23 h 118"/>
                <a:gd name="T24" fmla="*/ 57 w 60"/>
                <a:gd name="T25" fmla="*/ 20 h 118"/>
                <a:gd name="T26" fmla="*/ 60 w 60"/>
                <a:gd name="T27" fmla="*/ 8 h 118"/>
                <a:gd name="T28" fmla="*/ 56 w 60"/>
                <a:gd name="T29" fmla="*/ 0 h 118"/>
                <a:gd name="T30" fmla="*/ 48 w 60"/>
                <a:gd name="T31" fmla="*/ 6 h 118"/>
                <a:gd name="T32" fmla="*/ 44 w 60"/>
                <a:gd name="T33" fmla="*/ 0 h 118"/>
                <a:gd name="T34" fmla="*/ 41 w 60"/>
                <a:gd name="T35" fmla="*/ 8 h 118"/>
                <a:gd name="T36" fmla="*/ 23 w 60"/>
                <a:gd name="T37" fmla="*/ 9 h 118"/>
                <a:gd name="T38" fmla="*/ 21 w 60"/>
                <a:gd name="T39" fmla="*/ 21 h 118"/>
                <a:gd name="T40" fmla="*/ 2 w 60"/>
                <a:gd name="T41" fmla="*/ 47 h 118"/>
                <a:gd name="T42" fmla="*/ 9 w 60"/>
                <a:gd name="T43" fmla="*/ 65 h 118"/>
                <a:gd name="T44" fmla="*/ 2 w 60"/>
                <a:gd name="T45" fmla="*/ 74 h 118"/>
                <a:gd name="T46" fmla="*/ 6 w 60"/>
                <a:gd name="T47" fmla="*/ 85 h 118"/>
                <a:gd name="T48" fmla="*/ 5 w 60"/>
                <a:gd name="T49" fmla="*/ 100 h 118"/>
                <a:gd name="T50" fmla="*/ 5 w 60"/>
                <a:gd name="T51" fmla="*/ 100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0" h="118">
                  <a:moveTo>
                    <a:pt x="5" y="100"/>
                  </a:moveTo>
                  <a:lnTo>
                    <a:pt x="15" y="94"/>
                  </a:lnTo>
                  <a:lnTo>
                    <a:pt x="12" y="101"/>
                  </a:lnTo>
                  <a:lnTo>
                    <a:pt x="0" y="118"/>
                  </a:lnTo>
                  <a:lnTo>
                    <a:pt x="18" y="113"/>
                  </a:lnTo>
                  <a:lnTo>
                    <a:pt x="17" y="103"/>
                  </a:lnTo>
                  <a:lnTo>
                    <a:pt x="32" y="80"/>
                  </a:lnTo>
                  <a:lnTo>
                    <a:pt x="41" y="79"/>
                  </a:lnTo>
                  <a:lnTo>
                    <a:pt x="41" y="67"/>
                  </a:lnTo>
                  <a:lnTo>
                    <a:pt x="51" y="64"/>
                  </a:lnTo>
                  <a:lnTo>
                    <a:pt x="45" y="55"/>
                  </a:lnTo>
                  <a:lnTo>
                    <a:pt x="47" y="23"/>
                  </a:lnTo>
                  <a:lnTo>
                    <a:pt x="57" y="20"/>
                  </a:lnTo>
                  <a:lnTo>
                    <a:pt x="60" y="8"/>
                  </a:lnTo>
                  <a:lnTo>
                    <a:pt x="56" y="0"/>
                  </a:lnTo>
                  <a:lnTo>
                    <a:pt x="48" y="6"/>
                  </a:lnTo>
                  <a:lnTo>
                    <a:pt x="44" y="0"/>
                  </a:lnTo>
                  <a:lnTo>
                    <a:pt x="41" y="8"/>
                  </a:lnTo>
                  <a:lnTo>
                    <a:pt x="23" y="9"/>
                  </a:lnTo>
                  <a:lnTo>
                    <a:pt x="21" y="21"/>
                  </a:lnTo>
                  <a:lnTo>
                    <a:pt x="2" y="47"/>
                  </a:lnTo>
                  <a:lnTo>
                    <a:pt x="9" y="65"/>
                  </a:lnTo>
                  <a:lnTo>
                    <a:pt x="2" y="74"/>
                  </a:lnTo>
                  <a:lnTo>
                    <a:pt x="6" y="85"/>
                  </a:lnTo>
                  <a:lnTo>
                    <a:pt x="5" y="100"/>
                  </a:lnTo>
                  <a:lnTo>
                    <a:pt x="5" y="10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106" name="Freeform 461"/>
            <p:cNvSpPr>
              <a:spLocks/>
            </p:cNvSpPr>
            <p:nvPr userDrawn="1"/>
          </p:nvSpPr>
          <p:spPr bwMode="auto">
            <a:xfrm>
              <a:off x="4648" y="1767"/>
              <a:ext cx="15" cy="20"/>
            </a:xfrm>
            <a:custGeom>
              <a:avLst/>
              <a:gdLst>
                <a:gd name="T0" fmla="*/ 2 w 15"/>
                <a:gd name="T1" fmla="*/ 20 h 20"/>
                <a:gd name="T2" fmla="*/ 0 w 15"/>
                <a:gd name="T3" fmla="*/ 9 h 20"/>
                <a:gd name="T4" fmla="*/ 14 w 15"/>
                <a:gd name="T5" fmla="*/ 0 h 20"/>
                <a:gd name="T6" fmla="*/ 15 w 15"/>
                <a:gd name="T7" fmla="*/ 9 h 20"/>
                <a:gd name="T8" fmla="*/ 8 w 15"/>
                <a:gd name="T9" fmla="*/ 8 h 20"/>
                <a:gd name="T10" fmla="*/ 2 w 15"/>
                <a:gd name="T11" fmla="*/ 20 h 20"/>
                <a:gd name="T12" fmla="*/ 2 w 15"/>
                <a:gd name="T13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20">
                  <a:moveTo>
                    <a:pt x="2" y="20"/>
                  </a:moveTo>
                  <a:lnTo>
                    <a:pt x="0" y="9"/>
                  </a:lnTo>
                  <a:lnTo>
                    <a:pt x="14" y="0"/>
                  </a:lnTo>
                  <a:lnTo>
                    <a:pt x="15" y="9"/>
                  </a:lnTo>
                  <a:lnTo>
                    <a:pt x="8" y="8"/>
                  </a:lnTo>
                  <a:lnTo>
                    <a:pt x="2" y="20"/>
                  </a:lnTo>
                  <a:lnTo>
                    <a:pt x="2" y="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107" name="Freeform 462"/>
            <p:cNvSpPr>
              <a:spLocks/>
            </p:cNvSpPr>
            <p:nvPr userDrawn="1"/>
          </p:nvSpPr>
          <p:spPr bwMode="auto">
            <a:xfrm>
              <a:off x="4594" y="1606"/>
              <a:ext cx="21" cy="18"/>
            </a:xfrm>
            <a:custGeom>
              <a:avLst/>
              <a:gdLst>
                <a:gd name="T0" fmla="*/ 0 w 21"/>
                <a:gd name="T1" fmla="*/ 3 h 18"/>
                <a:gd name="T2" fmla="*/ 3 w 21"/>
                <a:gd name="T3" fmla="*/ 10 h 18"/>
                <a:gd name="T4" fmla="*/ 8 w 21"/>
                <a:gd name="T5" fmla="*/ 10 h 18"/>
                <a:gd name="T6" fmla="*/ 15 w 21"/>
                <a:gd name="T7" fmla="*/ 18 h 18"/>
                <a:gd name="T8" fmla="*/ 20 w 21"/>
                <a:gd name="T9" fmla="*/ 9 h 18"/>
                <a:gd name="T10" fmla="*/ 21 w 21"/>
                <a:gd name="T11" fmla="*/ 0 h 18"/>
                <a:gd name="T12" fmla="*/ 8 w 21"/>
                <a:gd name="T13" fmla="*/ 4 h 18"/>
                <a:gd name="T14" fmla="*/ 0 w 21"/>
                <a:gd name="T15" fmla="*/ 3 h 18"/>
                <a:gd name="T16" fmla="*/ 0 w 21"/>
                <a:gd name="T17" fmla="*/ 3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18">
                  <a:moveTo>
                    <a:pt x="0" y="3"/>
                  </a:moveTo>
                  <a:lnTo>
                    <a:pt x="3" y="10"/>
                  </a:lnTo>
                  <a:lnTo>
                    <a:pt x="8" y="10"/>
                  </a:lnTo>
                  <a:lnTo>
                    <a:pt x="15" y="18"/>
                  </a:lnTo>
                  <a:lnTo>
                    <a:pt x="20" y="9"/>
                  </a:lnTo>
                  <a:lnTo>
                    <a:pt x="21" y="0"/>
                  </a:lnTo>
                  <a:lnTo>
                    <a:pt x="8" y="4"/>
                  </a:lnTo>
                  <a:lnTo>
                    <a:pt x="0" y="3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108" name="Freeform 463"/>
            <p:cNvSpPr>
              <a:spLocks/>
            </p:cNvSpPr>
            <p:nvPr userDrawn="1"/>
          </p:nvSpPr>
          <p:spPr bwMode="auto">
            <a:xfrm>
              <a:off x="4552" y="1600"/>
              <a:ext cx="15" cy="10"/>
            </a:xfrm>
            <a:custGeom>
              <a:avLst/>
              <a:gdLst>
                <a:gd name="T0" fmla="*/ 10 w 15"/>
                <a:gd name="T1" fmla="*/ 0 h 10"/>
                <a:gd name="T2" fmla="*/ 0 w 15"/>
                <a:gd name="T3" fmla="*/ 3 h 10"/>
                <a:gd name="T4" fmla="*/ 7 w 15"/>
                <a:gd name="T5" fmla="*/ 10 h 10"/>
                <a:gd name="T6" fmla="*/ 15 w 15"/>
                <a:gd name="T7" fmla="*/ 6 h 10"/>
                <a:gd name="T8" fmla="*/ 10 w 15"/>
                <a:gd name="T9" fmla="*/ 0 h 10"/>
                <a:gd name="T10" fmla="*/ 10 w 15"/>
                <a:gd name="T11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" h="10">
                  <a:moveTo>
                    <a:pt x="10" y="0"/>
                  </a:moveTo>
                  <a:lnTo>
                    <a:pt x="0" y="3"/>
                  </a:lnTo>
                  <a:lnTo>
                    <a:pt x="7" y="10"/>
                  </a:lnTo>
                  <a:lnTo>
                    <a:pt x="15" y="6"/>
                  </a:lnTo>
                  <a:lnTo>
                    <a:pt x="10" y="0"/>
                  </a:lnTo>
                  <a:lnTo>
                    <a:pt x="1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109" name="Freeform 464"/>
            <p:cNvSpPr>
              <a:spLocks/>
            </p:cNvSpPr>
            <p:nvPr userDrawn="1"/>
          </p:nvSpPr>
          <p:spPr bwMode="auto">
            <a:xfrm>
              <a:off x="4609" y="1580"/>
              <a:ext cx="14" cy="14"/>
            </a:xfrm>
            <a:custGeom>
              <a:avLst/>
              <a:gdLst>
                <a:gd name="T0" fmla="*/ 14 w 14"/>
                <a:gd name="T1" fmla="*/ 0 h 14"/>
                <a:gd name="T2" fmla="*/ 0 w 14"/>
                <a:gd name="T3" fmla="*/ 8 h 14"/>
                <a:gd name="T4" fmla="*/ 0 w 14"/>
                <a:gd name="T5" fmla="*/ 8 h 14"/>
                <a:gd name="T6" fmla="*/ 3 w 14"/>
                <a:gd name="T7" fmla="*/ 11 h 14"/>
                <a:gd name="T8" fmla="*/ 6 w 14"/>
                <a:gd name="T9" fmla="*/ 14 h 14"/>
                <a:gd name="T10" fmla="*/ 6 w 14"/>
                <a:gd name="T11" fmla="*/ 14 h 14"/>
                <a:gd name="T12" fmla="*/ 6 w 14"/>
                <a:gd name="T13" fmla="*/ 14 h 14"/>
                <a:gd name="T14" fmla="*/ 14 w 14"/>
                <a:gd name="T15" fmla="*/ 0 h 14"/>
                <a:gd name="T16" fmla="*/ 14 w 14"/>
                <a:gd name="T17" fmla="*/ 0 h 14"/>
                <a:gd name="T18" fmla="*/ 14 w 14"/>
                <a:gd name="T19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" h="14">
                  <a:moveTo>
                    <a:pt x="14" y="0"/>
                  </a:moveTo>
                  <a:lnTo>
                    <a:pt x="0" y="8"/>
                  </a:lnTo>
                  <a:lnTo>
                    <a:pt x="0" y="8"/>
                  </a:lnTo>
                  <a:lnTo>
                    <a:pt x="3" y="11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110" name="Freeform 465"/>
            <p:cNvSpPr>
              <a:spLocks/>
            </p:cNvSpPr>
            <p:nvPr userDrawn="1"/>
          </p:nvSpPr>
          <p:spPr bwMode="auto">
            <a:xfrm>
              <a:off x="4603" y="1465"/>
              <a:ext cx="11" cy="16"/>
            </a:xfrm>
            <a:custGeom>
              <a:avLst/>
              <a:gdLst>
                <a:gd name="T0" fmla="*/ 0 w 11"/>
                <a:gd name="T1" fmla="*/ 0 h 16"/>
                <a:gd name="T2" fmla="*/ 2 w 11"/>
                <a:gd name="T3" fmla="*/ 11 h 16"/>
                <a:gd name="T4" fmla="*/ 9 w 11"/>
                <a:gd name="T5" fmla="*/ 16 h 16"/>
                <a:gd name="T6" fmla="*/ 11 w 11"/>
                <a:gd name="T7" fmla="*/ 13 h 16"/>
                <a:gd name="T8" fmla="*/ 0 w 11"/>
                <a:gd name="T9" fmla="*/ 0 h 16"/>
                <a:gd name="T10" fmla="*/ 0 w 11"/>
                <a:gd name="T11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" h="16">
                  <a:moveTo>
                    <a:pt x="0" y="0"/>
                  </a:moveTo>
                  <a:lnTo>
                    <a:pt x="2" y="11"/>
                  </a:lnTo>
                  <a:lnTo>
                    <a:pt x="9" y="16"/>
                  </a:lnTo>
                  <a:lnTo>
                    <a:pt x="11" y="13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111" name="Freeform 466"/>
            <p:cNvSpPr>
              <a:spLocks/>
            </p:cNvSpPr>
            <p:nvPr userDrawn="1"/>
          </p:nvSpPr>
          <p:spPr bwMode="auto">
            <a:xfrm>
              <a:off x="4683" y="1469"/>
              <a:ext cx="38" cy="49"/>
            </a:xfrm>
            <a:custGeom>
              <a:avLst/>
              <a:gdLst>
                <a:gd name="T0" fmla="*/ 0 w 38"/>
                <a:gd name="T1" fmla="*/ 15 h 49"/>
                <a:gd name="T2" fmla="*/ 0 w 38"/>
                <a:gd name="T3" fmla="*/ 22 h 49"/>
                <a:gd name="T4" fmla="*/ 6 w 38"/>
                <a:gd name="T5" fmla="*/ 31 h 49"/>
                <a:gd name="T6" fmla="*/ 12 w 38"/>
                <a:gd name="T7" fmla="*/ 42 h 49"/>
                <a:gd name="T8" fmla="*/ 24 w 38"/>
                <a:gd name="T9" fmla="*/ 40 h 49"/>
                <a:gd name="T10" fmla="*/ 29 w 38"/>
                <a:gd name="T11" fmla="*/ 49 h 49"/>
                <a:gd name="T12" fmla="*/ 35 w 38"/>
                <a:gd name="T13" fmla="*/ 43 h 49"/>
                <a:gd name="T14" fmla="*/ 24 w 38"/>
                <a:gd name="T15" fmla="*/ 39 h 49"/>
                <a:gd name="T16" fmla="*/ 23 w 38"/>
                <a:gd name="T17" fmla="*/ 31 h 49"/>
                <a:gd name="T18" fmla="*/ 29 w 38"/>
                <a:gd name="T19" fmla="*/ 30 h 49"/>
                <a:gd name="T20" fmla="*/ 27 w 38"/>
                <a:gd name="T21" fmla="*/ 19 h 49"/>
                <a:gd name="T22" fmla="*/ 38 w 38"/>
                <a:gd name="T23" fmla="*/ 21 h 49"/>
                <a:gd name="T24" fmla="*/ 20 w 38"/>
                <a:gd name="T25" fmla="*/ 0 h 49"/>
                <a:gd name="T26" fmla="*/ 17 w 38"/>
                <a:gd name="T27" fmla="*/ 1 h 49"/>
                <a:gd name="T28" fmla="*/ 21 w 38"/>
                <a:gd name="T29" fmla="*/ 6 h 49"/>
                <a:gd name="T30" fmla="*/ 20 w 38"/>
                <a:gd name="T31" fmla="*/ 12 h 49"/>
                <a:gd name="T32" fmla="*/ 12 w 38"/>
                <a:gd name="T33" fmla="*/ 9 h 49"/>
                <a:gd name="T34" fmla="*/ 12 w 38"/>
                <a:gd name="T35" fmla="*/ 16 h 49"/>
                <a:gd name="T36" fmla="*/ 9 w 38"/>
                <a:gd name="T37" fmla="*/ 22 h 49"/>
                <a:gd name="T38" fmla="*/ 0 w 38"/>
                <a:gd name="T39" fmla="*/ 15 h 49"/>
                <a:gd name="T40" fmla="*/ 0 w 38"/>
                <a:gd name="T41" fmla="*/ 15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8" h="49">
                  <a:moveTo>
                    <a:pt x="0" y="15"/>
                  </a:moveTo>
                  <a:lnTo>
                    <a:pt x="0" y="22"/>
                  </a:lnTo>
                  <a:lnTo>
                    <a:pt x="6" y="31"/>
                  </a:lnTo>
                  <a:lnTo>
                    <a:pt x="12" y="42"/>
                  </a:lnTo>
                  <a:lnTo>
                    <a:pt x="24" y="40"/>
                  </a:lnTo>
                  <a:lnTo>
                    <a:pt x="29" y="49"/>
                  </a:lnTo>
                  <a:lnTo>
                    <a:pt x="35" y="43"/>
                  </a:lnTo>
                  <a:lnTo>
                    <a:pt x="24" y="39"/>
                  </a:lnTo>
                  <a:lnTo>
                    <a:pt x="23" y="31"/>
                  </a:lnTo>
                  <a:lnTo>
                    <a:pt x="29" y="30"/>
                  </a:lnTo>
                  <a:lnTo>
                    <a:pt x="27" y="19"/>
                  </a:lnTo>
                  <a:lnTo>
                    <a:pt x="38" y="21"/>
                  </a:lnTo>
                  <a:lnTo>
                    <a:pt x="20" y="0"/>
                  </a:lnTo>
                  <a:lnTo>
                    <a:pt x="17" y="1"/>
                  </a:lnTo>
                  <a:lnTo>
                    <a:pt x="21" y="6"/>
                  </a:lnTo>
                  <a:lnTo>
                    <a:pt x="20" y="12"/>
                  </a:lnTo>
                  <a:lnTo>
                    <a:pt x="12" y="9"/>
                  </a:lnTo>
                  <a:lnTo>
                    <a:pt x="12" y="16"/>
                  </a:lnTo>
                  <a:lnTo>
                    <a:pt x="9" y="22"/>
                  </a:lnTo>
                  <a:lnTo>
                    <a:pt x="0" y="15"/>
                  </a:lnTo>
                  <a:lnTo>
                    <a:pt x="0" y="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112" name="Freeform 467"/>
            <p:cNvSpPr>
              <a:spLocks/>
            </p:cNvSpPr>
            <p:nvPr userDrawn="1"/>
          </p:nvSpPr>
          <p:spPr bwMode="auto">
            <a:xfrm>
              <a:off x="4846" y="726"/>
              <a:ext cx="8" cy="20"/>
            </a:xfrm>
            <a:custGeom>
              <a:avLst/>
              <a:gdLst>
                <a:gd name="T0" fmla="*/ 8 w 8"/>
                <a:gd name="T1" fmla="*/ 0 h 20"/>
                <a:gd name="T2" fmla="*/ 4 w 8"/>
                <a:gd name="T3" fmla="*/ 5 h 20"/>
                <a:gd name="T4" fmla="*/ 0 w 8"/>
                <a:gd name="T5" fmla="*/ 12 h 20"/>
                <a:gd name="T6" fmla="*/ 3 w 8"/>
                <a:gd name="T7" fmla="*/ 20 h 20"/>
                <a:gd name="T8" fmla="*/ 8 w 8"/>
                <a:gd name="T9" fmla="*/ 15 h 20"/>
                <a:gd name="T10" fmla="*/ 8 w 8"/>
                <a:gd name="T11" fmla="*/ 0 h 20"/>
                <a:gd name="T12" fmla="*/ 8 w 8"/>
                <a:gd name="T13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20">
                  <a:moveTo>
                    <a:pt x="8" y="0"/>
                  </a:moveTo>
                  <a:lnTo>
                    <a:pt x="4" y="5"/>
                  </a:lnTo>
                  <a:lnTo>
                    <a:pt x="0" y="12"/>
                  </a:lnTo>
                  <a:lnTo>
                    <a:pt x="3" y="20"/>
                  </a:lnTo>
                  <a:lnTo>
                    <a:pt x="8" y="15"/>
                  </a:lnTo>
                  <a:lnTo>
                    <a:pt x="8" y="0"/>
                  </a:lnTo>
                  <a:lnTo>
                    <a:pt x="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113" name="Freeform 468"/>
            <p:cNvSpPr>
              <a:spLocks/>
            </p:cNvSpPr>
            <p:nvPr userDrawn="1"/>
          </p:nvSpPr>
          <p:spPr bwMode="auto">
            <a:xfrm>
              <a:off x="5003" y="823"/>
              <a:ext cx="27" cy="16"/>
            </a:xfrm>
            <a:custGeom>
              <a:avLst/>
              <a:gdLst>
                <a:gd name="T0" fmla="*/ 18 w 27"/>
                <a:gd name="T1" fmla="*/ 15 h 16"/>
                <a:gd name="T2" fmla="*/ 13 w 27"/>
                <a:gd name="T3" fmla="*/ 16 h 16"/>
                <a:gd name="T4" fmla="*/ 9 w 27"/>
                <a:gd name="T5" fmla="*/ 9 h 16"/>
                <a:gd name="T6" fmla="*/ 7 w 27"/>
                <a:gd name="T7" fmla="*/ 15 h 16"/>
                <a:gd name="T8" fmla="*/ 0 w 27"/>
                <a:gd name="T9" fmla="*/ 10 h 16"/>
                <a:gd name="T10" fmla="*/ 0 w 27"/>
                <a:gd name="T11" fmla="*/ 3 h 16"/>
                <a:gd name="T12" fmla="*/ 4 w 27"/>
                <a:gd name="T13" fmla="*/ 0 h 16"/>
                <a:gd name="T14" fmla="*/ 16 w 27"/>
                <a:gd name="T15" fmla="*/ 1 h 16"/>
                <a:gd name="T16" fmla="*/ 27 w 27"/>
                <a:gd name="T17" fmla="*/ 3 h 16"/>
                <a:gd name="T18" fmla="*/ 24 w 27"/>
                <a:gd name="T19" fmla="*/ 6 h 16"/>
                <a:gd name="T20" fmla="*/ 16 w 27"/>
                <a:gd name="T21" fmla="*/ 9 h 16"/>
                <a:gd name="T22" fmla="*/ 18 w 27"/>
                <a:gd name="T23" fmla="*/ 15 h 16"/>
                <a:gd name="T24" fmla="*/ 18 w 27"/>
                <a:gd name="T25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" h="16">
                  <a:moveTo>
                    <a:pt x="18" y="15"/>
                  </a:moveTo>
                  <a:lnTo>
                    <a:pt x="13" y="16"/>
                  </a:lnTo>
                  <a:lnTo>
                    <a:pt x="9" y="9"/>
                  </a:lnTo>
                  <a:lnTo>
                    <a:pt x="7" y="15"/>
                  </a:lnTo>
                  <a:lnTo>
                    <a:pt x="0" y="10"/>
                  </a:lnTo>
                  <a:lnTo>
                    <a:pt x="0" y="3"/>
                  </a:lnTo>
                  <a:lnTo>
                    <a:pt x="4" y="0"/>
                  </a:lnTo>
                  <a:lnTo>
                    <a:pt x="16" y="1"/>
                  </a:lnTo>
                  <a:lnTo>
                    <a:pt x="27" y="3"/>
                  </a:lnTo>
                  <a:lnTo>
                    <a:pt x="24" y="6"/>
                  </a:lnTo>
                  <a:lnTo>
                    <a:pt x="16" y="9"/>
                  </a:lnTo>
                  <a:lnTo>
                    <a:pt x="18" y="15"/>
                  </a:lnTo>
                  <a:lnTo>
                    <a:pt x="18" y="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114" name="Freeform 469"/>
            <p:cNvSpPr>
              <a:spLocks/>
            </p:cNvSpPr>
            <p:nvPr userDrawn="1"/>
          </p:nvSpPr>
          <p:spPr bwMode="auto">
            <a:xfrm>
              <a:off x="4884" y="1001"/>
              <a:ext cx="13" cy="16"/>
            </a:xfrm>
            <a:custGeom>
              <a:avLst/>
              <a:gdLst>
                <a:gd name="T0" fmla="*/ 13 w 13"/>
                <a:gd name="T1" fmla="*/ 9 h 16"/>
                <a:gd name="T2" fmla="*/ 9 w 13"/>
                <a:gd name="T3" fmla="*/ 16 h 16"/>
                <a:gd name="T4" fmla="*/ 0 w 13"/>
                <a:gd name="T5" fmla="*/ 10 h 16"/>
                <a:gd name="T6" fmla="*/ 7 w 13"/>
                <a:gd name="T7" fmla="*/ 0 h 16"/>
                <a:gd name="T8" fmla="*/ 13 w 13"/>
                <a:gd name="T9" fmla="*/ 9 h 16"/>
                <a:gd name="T10" fmla="*/ 13 w 13"/>
                <a:gd name="T11" fmla="*/ 9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16">
                  <a:moveTo>
                    <a:pt x="13" y="9"/>
                  </a:moveTo>
                  <a:lnTo>
                    <a:pt x="9" y="16"/>
                  </a:lnTo>
                  <a:lnTo>
                    <a:pt x="0" y="10"/>
                  </a:lnTo>
                  <a:lnTo>
                    <a:pt x="7" y="0"/>
                  </a:lnTo>
                  <a:lnTo>
                    <a:pt x="13" y="9"/>
                  </a:lnTo>
                  <a:lnTo>
                    <a:pt x="13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115" name="Freeform 470"/>
            <p:cNvSpPr>
              <a:spLocks/>
            </p:cNvSpPr>
            <p:nvPr userDrawn="1"/>
          </p:nvSpPr>
          <p:spPr bwMode="auto">
            <a:xfrm>
              <a:off x="4778" y="1088"/>
              <a:ext cx="23" cy="15"/>
            </a:xfrm>
            <a:custGeom>
              <a:avLst/>
              <a:gdLst>
                <a:gd name="T0" fmla="*/ 17 w 23"/>
                <a:gd name="T1" fmla="*/ 12 h 15"/>
                <a:gd name="T2" fmla="*/ 14 w 23"/>
                <a:gd name="T3" fmla="*/ 6 h 15"/>
                <a:gd name="T4" fmla="*/ 23 w 23"/>
                <a:gd name="T5" fmla="*/ 8 h 15"/>
                <a:gd name="T6" fmla="*/ 18 w 23"/>
                <a:gd name="T7" fmla="*/ 0 h 15"/>
                <a:gd name="T8" fmla="*/ 3 w 23"/>
                <a:gd name="T9" fmla="*/ 0 h 15"/>
                <a:gd name="T10" fmla="*/ 0 w 23"/>
                <a:gd name="T11" fmla="*/ 5 h 15"/>
                <a:gd name="T12" fmla="*/ 6 w 23"/>
                <a:gd name="T13" fmla="*/ 15 h 15"/>
                <a:gd name="T14" fmla="*/ 17 w 23"/>
                <a:gd name="T15" fmla="*/ 12 h 15"/>
                <a:gd name="T16" fmla="*/ 17 w 23"/>
                <a:gd name="T17" fmla="*/ 1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" h="15">
                  <a:moveTo>
                    <a:pt x="17" y="12"/>
                  </a:moveTo>
                  <a:lnTo>
                    <a:pt x="14" y="6"/>
                  </a:lnTo>
                  <a:lnTo>
                    <a:pt x="23" y="8"/>
                  </a:lnTo>
                  <a:lnTo>
                    <a:pt x="18" y="0"/>
                  </a:lnTo>
                  <a:lnTo>
                    <a:pt x="3" y="0"/>
                  </a:lnTo>
                  <a:lnTo>
                    <a:pt x="0" y="5"/>
                  </a:lnTo>
                  <a:lnTo>
                    <a:pt x="6" y="15"/>
                  </a:lnTo>
                  <a:lnTo>
                    <a:pt x="17" y="12"/>
                  </a:lnTo>
                  <a:lnTo>
                    <a:pt x="17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116" name="Freeform 471"/>
            <p:cNvSpPr>
              <a:spLocks/>
            </p:cNvSpPr>
            <p:nvPr userDrawn="1"/>
          </p:nvSpPr>
          <p:spPr bwMode="auto">
            <a:xfrm>
              <a:off x="4786" y="1506"/>
              <a:ext cx="10" cy="12"/>
            </a:xfrm>
            <a:custGeom>
              <a:avLst/>
              <a:gdLst>
                <a:gd name="T0" fmla="*/ 3 w 10"/>
                <a:gd name="T1" fmla="*/ 0 h 12"/>
                <a:gd name="T2" fmla="*/ 0 w 10"/>
                <a:gd name="T3" fmla="*/ 9 h 12"/>
                <a:gd name="T4" fmla="*/ 7 w 10"/>
                <a:gd name="T5" fmla="*/ 12 h 12"/>
                <a:gd name="T6" fmla="*/ 10 w 10"/>
                <a:gd name="T7" fmla="*/ 9 h 12"/>
                <a:gd name="T8" fmla="*/ 3 w 10"/>
                <a:gd name="T9" fmla="*/ 0 h 12"/>
                <a:gd name="T10" fmla="*/ 3 w 10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" h="12">
                  <a:moveTo>
                    <a:pt x="3" y="0"/>
                  </a:moveTo>
                  <a:lnTo>
                    <a:pt x="0" y="9"/>
                  </a:lnTo>
                  <a:lnTo>
                    <a:pt x="7" y="12"/>
                  </a:lnTo>
                  <a:lnTo>
                    <a:pt x="10" y="9"/>
                  </a:lnTo>
                  <a:lnTo>
                    <a:pt x="3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117" name="Freeform 472"/>
            <p:cNvSpPr>
              <a:spLocks/>
            </p:cNvSpPr>
            <p:nvPr userDrawn="1"/>
          </p:nvSpPr>
          <p:spPr bwMode="auto">
            <a:xfrm>
              <a:off x="4799" y="1500"/>
              <a:ext cx="12" cy="15"/>
            </a:xfrm>
            <a:custGeom>
              <a:avLst/>
              <a:gdLst>
                <a:gd name="T0" fmla="*/ 0 w 12"/>
                <a:gd name="T1" fmla="*/ 6 h 15"/>
                <a:gd name="T2" fmla="*/ 0 w 12"/>
                <a:gd name="T3" fmla="*/ 3 h 15"/>
                <a:gd name="T4" fmla="*/ 9 w 12"/>
                <a:gd name="T5" fmla="*/ 0 h 15"/>
                <a:gd name="T6" fmla="*/ 12 w 12"/>
                <a:gd name="T7" fmla="*/ 8 h 15"/>
                <a:gd name="T8" fmla="*/ 5 w 12"/>
                <a:gd name="T9" fmla="*/ 15 h 15"/>
                <a:gd name="T10" fmla="*/ 0 w 12"/>
                <a:gd name="T11" fmla="*/ 6 h 15"/>
                <a:gd name="T12" fmla="*/ 0 w 12"/>
                <a:gd name="T13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5">
                  <a:moveTo>
                    <a:pt x="0" y="6"/>
                  </a:moveTo>
                  <a:lnTo>
                    <a:pt x="0" y="3"/>
                  </a:lnTo>
                  <a:lnTo>
                    <a:pt x="9" y="0"/>
                  </a:lnTo>
                  <a:lnTo>
                    <a:pt x="12" y="8"/>
                  </a:lnTo>
                  <a:lnTo>
                    <a:pt x="5" y="15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118" name="Freeform 473"/>
            <p:cNvSpPr>
              <a:spLocks/>
            </p:cNvSpPr>
            <p:nvPr userDrawn="1"/>
          </p:nvSpPr>
          <p:spPr bwMode="auto">
            <a:xfrm>
              <a:off x="4816" y="1461"/>
              <a:ext cx="15" cy="20"/>
            </a:xfrm>
            <a:custGeom>
              <a:avLst/>
              <a:gdLst>
                <a:gd name="T0" fmla="*/ 12 w 15"/>
                <a:gd name="T1" fmla="*/ 3 h 20"/>
                <a:gd name="T2" fmla="*/ 3 w 15"/>
                <a:gd name="T3" fmla="*/ 0 h 20"/>
                <a:gd name="T4" fmla="*/ 0 w 15"/>
                <a:gd name="T5" fmla="*/ 3 h 20"/>
                <a:gd name="T6" fmla="*/ 0 w 15"/>
                <a:gd name="T7" fmla="*/ 15 h 20"/>
                <a:gd name="T8" fmla="*/ 4 w 15"/>
                <a:gd name="T9" fmla="*/ 20 h 20"/>
                <a:gd name="T10" fmla="*/ 15 w 15"/>
                <a:gd name="T11" fmla="*/ 15 h 20"/>
                <a:gd name="T12" fmla="*/ 12 w 15"/>
                <a:gd name="T13" fmla="*/ 3 h 20"/>
                <a:gd name="T14" fmla="*/ 12 w 15"/>
                <a:gd name="T15" fmla="*/ 3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20">
                  <a:moveTo>
                    <a:pt x="12" y="3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0" y="15"/>
                  </a:lnTo>
                  <a:lnTo>
                    <a:pt x="4" y="20"/>
                  </a:lnTo>
                  <a:lnTo>
                    <a:pt x="15" y="15"/>
                  </a:lnTo>
                  <a:lnTo>
                    <a:pt x="12" y="3"/>
                  </a:lnTo>
                  <a:lnTo>
                    <a:pt x="12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119" name="Freeform 474"/>
            <p:cNvSpPr>
              <a:spLocks/>
            </p:cNvSpPr>
            <p:nvPr userDrawn="1"/>
          </p:nvSpPr>
          <p:spPr bwMode="auto">
            <a:xfrm>
              <a:off x="4840" y="1478"/>
              <a:ext cx="14" cy="10"/>
            </a:xfrm>
            <a:custGeom>
              <a:avLst/>
              <a:gdLst>
                <a:gd name="T0" fmla="*/ 0 w 14"/>
                <a:gd name="T1" fmla="*/ 3 h 10"/>
                <a:gd name="T2" fmla="*/ 6 w 14"/>
                <a:gd name="T3" fmla="*/ 0 h 10"/>
                <a:gd name="T4" fmla="*/ 12 w 14"/>
                <a:gd name="T5" fmla="*/ 3 h 10"/>
                <a:gd name="T6" fmla="*/ 14 w 14"/>
                <a:gd name="T7" fmla="*/ 9 h 10"/>
                <a:gd name="T8" fmla="*/ 6 w 14"/>
                <a:gd name="T9" fmla="*/ 10 h 10"/>
                <a:gd name="T10" fmla="*/ 0 w 14"/>
                <a:gd name="T11" fmla="*/ 3 h 10"/>
                <a:gd name="T12" fmla="*/ 0 w 14"/>
                <a:gd name="T13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" h="10">
                  <a:moveTo>
                    <a:pt x="0" y="3"/>
                  </a:moveTo>
                  <a:lnTo>
                    <a:pt x="6" y="0"/>
                  </a:lnTo>
                  <a:lnTo>
                    <a:pt x="12" y="3"/>
                  </a:lnTo>
                  <a:lnTo>
                    <a:pt x="14" y="9"/>
                  </a:lnTo>
                  <a:lnTo>
                    <a:pt x="6" y="10"/>
                  </a:lnTo>
                  <a:lnTo>
                    <a:pt x="0" y="3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120" name="Freeform 475"/>
            <p:cNvSpPr>
              <a:spLocks/>
            </p:cNvSpPr>
            <p:nvPr userDrawn="1"/>
          </p:nvSpPr>
          <p:spPr bwMode="auto">
            <a:xfrm>
              <a:off x="4854" y="1488"/>
              <a:ext cx="31" cy="35"/>
            </a:xfrm>
            <a:custGeom>
              <a:avLst/>
              <a:gdLst>
                <a:gd name="T0" fmla="*/ 6 w 31"/>
                <a:gd name="T1" fmla="*/ 27 h 35"/>
                <a:gd name="T2" fmla="*/ 9 w 31"/>
                <a:gd name="T3" fmla="*/ 32 h 35"/>
                <a:gd name="T4" fmla="*/ 18 w 31"/>
                <a:gd name="T5" fmla="*/ 35 h 35"/>
                <a:gd name="T6" fmla="*/ 19 w 31"/>
                <a:gd name="T7" fmla="*/ 27 h 35"/>
                <a:gd name="T8" fmla="*/ 22 w 31"/>
                <a:gd name="T9" fmla="*/ 18 h 35"/>
                <a:gd name="T10" fmla="*/ 25 w 31"/>
                <a:gd name="T11" fmla="*/ 15 h 35"/>
                <a:gd name="T12" fmla="*/ 31 w 31"/>
                <a:gd name="T13" fmla="*/ 6 h 35"/>
                <a:gd name="T14" fmla="*/ 31 w 31"/>
                <a:gd name="T15" fmla="*/ 0 h 35"/>
                <a:gd name="T16" fmla="*/ 22 w 31"/>
                <a:gd name="T17" fmla="*/ 6 h 35"/>
                <a:gd name="T18" fmla="*/ 4 w 31"/>
                <a:gd name="T19" fmla="*/ 15 h 35"/>
                <a:gd name="T20" fmla="*/ 0 w 31"/>
                <a:gd name="T21" fmla="*/ 20 h 35"/>
                <a:gd name="T22" fmla="*/ 6 w 31"/>
                <a:gd name="T23" fmla="*/ 27 h 35"/>
                <a:gd name="T24" fmla="*/ 6 w 31"/>
                <a:gd name="T25" fmla="*/ 2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1" h="35">
                  <a:moveTo>
                    <a:pt x="6" y="27"/>
                  </a:moveTo>
                  <a:lnTo>
                    <a:pt x="9" y="32"/>
                  </a:lnTo>
                  <a:lnTo>
                    <a:pt x="18" y="35"/>
                  </a:lnTo>
                  <a:lnTo>
                    <a:pt x="19" y="27"/>
                  </a:lnTo>
                  <a:lnTo>
                    <a:pt x="22" y="18"/>
                  </a:lnTo>
                  <a:lnTo>
                    <a:pt x="25" y="15"/>
                  </a:lnTo>
                  <a:lnTo>
                    <a:pt x="31" y="6"/>
                  </a:lnTo>
                  <a:lnTo>
                    <a:pt x="31" y="0"/>
                  </a:lnTo>
                  <a:lnTo>
                    <a:pt x="22" y="6"/>
                  </a:lnTo>
                  <a:lnTo>
                    <a:pt x="4" y="15"/>
                  </a:lnTo>
                  <a:lnTo>
                    <a:pt x="0" y="20"/>
                  </a:lnTo>
                  <a:lnTo>
                    <a:pt x="6" y="27"/>
                  </a:lnTo>
                  <a:lnTo>
                    <a:pt x="6" y="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121" name="Freeform 476"/>
            <p:cNvSpPr>
              <a:spLocks/>
            </p:cNvSpPr>
            <p:nvPr userDrawn="1"/>
          </p:nvSpPr>
          <p:spPr bwMode="auto">
            <a:xfrm>
              <a:off x="4828" y="1490"/>
              <a:ext cx="9" cy="19"/>
            </a:xfrm>
            <a:custGeom>
              <a:avLst/>
              <a:gdLst>
                <a:gd name="T0" fmla="*/ 4 w 9"/>
                <a:gd name="T1" fmla="*/ 19 h 19"/>
                <a:gd name="T2" fmla="*/ 0 w 9"/>
                <a:gd name="T3" fmla="*/ 12 h 19"/>
                <a:gd name="T4" fmla="*/ 6 w 9"/>
                <a:gd name="T5" fmla="*/ 0 h 19"/>
                <a:gd name="T6" fmla="*/ 9 w 9"/>
                <a:gd name="T7" fmla="*/ 4 h 19"/>
                <a:gd name="T8" fmla="*/ 9 w 9"/>
                <a:gd name="T9" fmla="*/ 15 h 19"/>
                <a:gd name="T10" fmla="*/ 4 w 9"/>
                <a:gd name="T11" fmla="*/ 19 h 19"/>
                <a:gd name="T12" fmla="*/ 4 w 9"/>
                <a:gd name="T13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9">
                  <a:moveTo>
                    <a:pt x="4" y="19"/>
                  </a:moveTo>
                  <a:lnTo>
                    <a:pt x="0" y="12"/>
                  </a:lnTo>
                  <a:lnTo>
                    <a:pt x="6" y="0"/>
                  </a:lnTo>
                  <a:lnTo>
                    <a:pt x="9" y="4"/>
                  </a:lnTo>
                  <a:lnTo>
                    <a:pt x="9" y="15"/>
                  </a:lnTo>
                  <a:lnTo>
                    <a:pt x="4" y="19"/>
                  </a:lnTo>
                  <a:lnTo>
                    <a:pt x="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122" name="Freeform 477"/>
            <p:cNvSpPr>
              <a:spLocks/>
            </p:cNvSpPr>
            <p:nvPr userDrawn="1"/>
          </p:nvSpPr>
          <p:spPr bwMode="auto">
            <a:xfrm>
              <a:off x="4814" y="1499"/>
              <a:ext cx="9" cy="13"/>
            </a:xfrm>
            <a:custGeom>
              <a:avLst/>
              <a:gdLst>
                <a:gd name="T0" fmla="*/ 8 w 9"/>
                <a:gd name="T1" fmla="*/ 13 h 13"/>
                <a:gd name="T2" fmla="*/ 0 w 9"/>
                <a:gd name="T3" fmla="*/ 3 h 13"/>
                <a:gd name="T4" fmla="*/ 6 w 9"/>
                <a:gd name="T5" fmla="*/ 0 h 13"/>
                <a:gd name="T6" fmla="*/ 9 w 9"/>
                <a:gd name="T7" fmla="*/ 6 h 13"/>
                <a:gd name="T8" fmla="*/ 8 w 9"/>
                <a:gd name="T9" fmla="*/ 13 h 13"/>
                <a:gd name="T10" fmla="*/ 8 w 9"/>
                <a:gd name="T1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13">
                  <a:moveTo>
                    <a:pt x="8" y="13"/>
                  </a:moveTo>
                  <a:lnTo>
                    <a:pt x="0" y="3"/>
                  </a:lnTo>
                  <a:lnTo>
                    <a:pt x="6" y="0"/>
                  </a:lnTo>
                  <a:lnTo>
                    <a:pt x="9" y="6"/>
                  </a:lnTo>
                  <a:lnTo>
                    <a:pt x="8" y="13"/>
                  </a:lnTo>
                  <a:lnTo>
                    <a:pt x="8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123" name="Freeform 478"/>
            <p:cNvSpPr>
              <a:spLocks/>
            </p:cNvSpPr>
            <p:nvPr userDrawn="1"/>
          </p:nvSpPr>
          <p:spPr bwMode="auto">
            <a:xfrm>
              <a:off x="6137" y="554"/>
              <a:ext cx="11" cy="23"/>
            </a:xfrm>
            <a:custGeom>
              <a:avLst/>
              <a:gdLst>
                <a:gd name="T0" fmla="*/ 8 w 11"/>
                <a:gd name="T1" fmla="*/ 23 h 23"/>
                <a:gd name="T2" fmla="*/ 0 w 11"/>
                <a:gd name="T3" fmla="*/ 15 h 23"/>
                <a:gd name="T4" fmla="*/ 0 w 11"/>
                <a:gd name="T5" fmla="*/ 0 h 23"/>
                <a:gd name="T6" fmla="*/ 11 w 11"/>
                <a:gd name="T7" fmla="*/ 9 h 23"/>
                <a:gd name="T8" fmla="*/ 8 w 11"/>
                <a:gd name="T9" fmla="*/ 23 h 23"/>
                <a:gd name="T10" fmla="*/ 8 w 11"/>
                <a:gd name="T11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" h="23">
                  <a:moveTo>
                    <a:pt x="8" y="23"/>
                  </a:moveTo>
                  <a:lnTo>
                    <a:pt x="0" y="15"/>
                  </a:lnTo>
                  <a:lnTo>
                    <a:pt x="0" y="0"/>
                  </a:lnTo>
                  <a:lnTo>
                    <a:pt x="11" y="9"/>
                  </a:lnTo>
                  <a:lnTo>
                    <a:pt x="8" y="23"/>
                  </a:lnTo>
                  <a:lnTo>
                    <a:pt x="8" y="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124" name="Freeform 479"/>
            <p:cNvSpPr>
              <a:spLocks/>
            </p:cNvSpPr>
            <p:nvPr userDrawn="1"/>
          </p:nvSpPr>
          <p:spPr bwMode="auto">
            <a:xfrm>
              <a:off x="5712" y="806"/>
              <a:ext cx="9" cy="6"/>
            </a:xfrm>
            <a:custGeom>
              <a:avLst/>
              <a:gdLst>
                <a:gd name="T0" fmla="*/ 0 w 9"/>
                <a:gd name="T1" fmla="*/ 0 h 6"/>
                <a:gd name="T2" fmla="*/ 1 w 9"/>
                <a:gd name="T3" fmla="*/ 6 h 6"/>
                <a:gd name="T4" fmla="*/ 9 w 9"/>
                <a:gd name="T5" fmla="*/ 3 h 6"/>
                <a:gd name="T6" fmla="*/ 0 w 9"/>
                <a:gd name="T7" fmla="*/ 0 h 6"/>
                <a:gd name="T8" fmla="*/ 0 w 9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6">
                  <a:moveTo>
                    <a:pt x="0" y="0"/>
                  </a:moveTo>
                  <a:lnTo>
                    <a:pt x="1" y="6"/>
                  </a:lnTo>
                  <a:lnTo>
                    <a:pt x="9" y="3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125" name="Freeform 480"/>
            <p:cNvSpPr>
              <a:spLocks/>
            </p:cNvSpPr>
            <p:nvPr userDrawn="1"/>
          </p:nvSpPr>
          <p:spPr bwMode="auto">
            <a:xfrm>
              <a:off x="4829" y="1695"/>
              <a:ext cx="88" cy="83"/>
            </a:xfrm>
            <a:custGeom>
              <a:avLst/>
              <a:gdLst>
                <a:gd name="T0" fmla="*/ 23 w 88"/>
                <a:gd name="T1" fmla="*/ 54 h 83"/>
                <a:gd name="T2" fmla="*/ 23 w 88"/>
                <a:gd name="T3" fmla="*/ 59 h 83"/>
                <a:gd name="T4" fmla="*/ 9 w 88"/>
                <a:gd name="T5" fmla="*/ 63 h 83"/>
                <a:gd name="T6" fmla="*/ 5 w 88"/>
                <a:gd name="T7" fmla="*/ 72 h 83"/>
                <a:gd name="T8" fmla="*/ 14 w 88"/>
                <a:gd name="T9" fmla="*/ 83 h 83"/>
                <a:gd name="T10" fmla="*/ 29 w 88"/>
                <a:gd name="T11" fmla="*/ 63 h 83"/>
                <a:gd name="T12" fmla="*/ 31 w 88"/>
                <a:gd name="T13" fmla="*/ 47 h 83"/>
                <a:gd name="T14" fmla="*/ 37 w 88"/>
                <a:gd name="T15" fmla="*/ 42 h 83"/>
                <a:gd name="T16" fmla="*/ 58 w 88"/>
                <a:gd name="T17" fmla="*/ 47 h 83"/>
                <a:gd name="T18" fmla="*/ 59 w 88"/>
                <a:gd name="T19" fmla="*/ 36 h 83"/>
                <a:gd name="T20" fmla="*/ 68 w 88"/>
                <a:gd name="T21" fmla="*/ 33 h 83"/>
                <a:gd name="T22" fmla="*/ 74 w 88"/>
                <a:gd name="T23" fmla="*/ 25 h 83"/>
                <a:gd name="T24" fmla="*/ 80 w 88"/>
                <a:gd name="T25" fmla="*/ 19 h 83"/>
                <a:gd name="T26" fmla="*/ 88 w 88"/>
                <a:gd name="T27" fmla="*/ 22 h 83"/>
                <a:gd name="T28" fmla="*/ 88 w 88"/>
                <a:gd name="T29" fmla="*/ 15 h 83"/>
                <a:gd name="T30" fmla="*/ 80 w 88"/>
                <a:gd name="T31" fmla="*/ 6 h 83"/>
                <a:gd name="T32" fmla="*/ 73 w 88"/>
                <a:gd name="T33" fmla="*/ 0 h 83"/>
                <a:gd name="T34" fmla="*/ 50 w 88"/>
                <a:gd name="T35" fmla="*/ 3 h 83"/>
                <a:gd name="T36" fmla="*/ 40 w 88"/>
                <a:gd name="T37" fmla="*/ 0 h 83"/>
                <a:gd name="T38" fmla="*/ 23 w 88"/>
                <a:gd name="T39" fmla="*/ 12 h 83"/>
                <a:gd name="T40" fmla="*/ 31 w 88"/>
                <a:gd name="T41" fmla="*/ 16 h 83"/>
                <a:gd name="T42" fmla="*/ 21 w 88"/>
                <a:gd name="T43" fmla="*/ 12 h 83"/>
                <a:gd name="T44" fmla="*/ 20 w 88"/>
                <a:gd name="T45" fmla="*/ 18 h 83"/>
                <a:gd name="T46" fmla="*/ 5 w 88"/>
                <a:gd name="T47" fmla="*/ 9 h 83"/>
                <a:gd name="T48" fmla="*/ 2 w 88"/>
                <a:gd name="T49" fmla="*/ 12 h 83"/>
                <a:gd name="T50" fmla="*/ 12 w 88"/>
                <a:gd name="T51" fmla="*/ 28 h 83"/>
                <a:gd name="T52" fmla="*/ 0 w 88"/>
                <a:gd name="T53" fmla="*/ 28 h 83"/>
                <a:gd name="T54" fmla="*/ 8 w 88"/>
                <a:gd name="T55" fmla="*/ 41 h 83"/>
                <a:gd name="T56" fmla="*/ 23 w 88"/>
                <a:gd name="T57" fmla="*/ 54 h 83"/>
                <a:gd name="T58" fmla="*/ 23 w 88"/>
                <a:gd name="T59" fmla="*/ 54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88" h="83">
                  <a:moveTo>
                    <a:pt x="23" y="54"/>
                  </a:moveTo>
                  <a:lnTo>
                    <a:pt x="23" y="59"/>
                  </a:lnTo>
                  <a:lnTo>
                    <a:pt x="9" y="63"/>
                  </a:lnTo>
                  <a:lnTo>
                    <a:pt x="5" y="72"/>
                  </a:lnTo>
                  <a:lnTo>
                    <a:pt x="14" y="83"/>
                  </a:lnTo>
                  <a:lnTo>
                    <a:pt x="29" y="63"/>
                  </a:lnTo>
                  <a:lnTo>
                    <a:pt x="31" y="47"/>
                  </a:lnTo>
                  <a:lnTo>
                    <a:pt x="37" y="42"/>
                  </a:lnTo>
                  <a:lnTo>
                    <a:pt x="58" y="47"/>
                  </a:lnTo>
                  <a:lnTo>
                    <a:pt x="59" y="36"/>
                  </a:lnTo>
                  <a:lnTo>
                    <a:pt x="68" y="33"/>
                  </a:lnTo>
                  <a:lnTo>
                    <a:pt x="74" y="25"/>
                  </a:lnTo>
                  <a:lnTo>
                    <a:pt x="80" y="19"/>
                  </a:lnTo>
                  <a:lnTo>
                    <a:pt x="88" y="22"/>
                  </a:lnTo>
                  <a:lnTo>
                    <a:pt x="88" y="15"/>
                  </a:lnTo>
                  <a:lnTo>
                    <a:pt x="80" y="6"/>
                  </a:lnTo>
                  <a:lnTo>
                    <a:pt x="73" y="0"/>
                  </a:lnTo>
                  <a:lnTo>
                    <a:pt x="50" y="3"/>
                  </a:lnTo>
                  <a:lnTo>
                    <a:pt x="40" y="0"/>
                  </a:lnTo>
                  <a:lnTo>
                    <a:pt x="23" y="12"/>
                  </a:lnTo>
                  <a:lnTo>
                    <a:pt x="31" y="16"/>
                  </a:lnTo>
                  <a:lnTo>
                    <a:pt x="21" y="12"/>
                  </a:lnTo>
                  <a:lnTo>
                    <a:pt x="20" y="18"/>
                  </a:lnTo>
                  <a:lnTo>
                    <a:pt x="5" y="9"/>
                  </a:lnTo>
                  <a:lnTo>
                    <a:pt x="2" y="12"/>
                  </a:lnTo>
                  <a:lnTo>
                    <a:pt x="12" y="28"/>
                  </a:lnTo>
                  <a:lnTo>
                    <a:pt x="0" y="28"/>
                  </a:lnTo>
                  <a:lnTo>
                    <a:pt x="8" y="41"/>
                  </a:lnTo>
                  <a:lnTo>
                    <a:pt x="23" y="54"/>
                  </a:lnTo>
                  <a:lnTo>
                    <a:pt x="23" y="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126" name="Freeform 481"/>
            <p:cNvSpPr>
              <a:spLocks/>
            </p:cNvSpPr>
            <p:nvPr userDrawn="1"/>
          </p:nvSpPr>
          <p:spPr bwMode="auto">
            <a:xfrm>
              <a:off x="4909" y="1686"/>
              <a:ext cx="15" cy="18"/>
            </a:xfrm>
            <a:custGeom>
              <a:avLst/>
              <a:gdLst>
                <a:gd name="T0" fmla="*/ 0 w 15"/>
                <a:gd name="T1" fmla="*/ 4 h 18"/>
                <a:gd name="T2" fmla="*/ 2 w 15"/>
                <a:gd name="T3" fmla="*/ 12 h 18"/>
                <a:gd name="T4" fmla="*/ 9 w 15"/>
                <a:gd name="T5" fmla="*/ 18 h 18"/>
                <a:gd name="T6" fmla="*/ 15 w 15"/>
                <a:gd name="T7" fmla="*/ 12 h 18"/>
                <a:gd name="T8" fmla="*/ 11 w 15"/>
                <a:gd name="T9" fmla="*/ 0 h 18"/>
                <a:gd name="T10" fmla="*/ 0 w 15"/>
                <a:gd name="T11" fmla="*/ 4 h 18"/>
                <a:gd name="T12" fmla="*/ 0 w 15"/>
                <a:gd name="T13" fmla="*/ 4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18">
                  <a:moveTo>
                    <a:pt x="0" y="4"/>
                  </a:moveTo>
                  <a:lnTo>
                    <a:pt x="2" y="12"/>
                  </a:lnTo>
                  <a:lnTo>
                    <a:pt x="9" y="18"/>
                  </a:lnTo>
                  <a:lnTo>
                    <a:pt x="15" y="12"/>
                  </a:lnTo>
                  <a:lnTo>
                    <a:pt x="11" y="0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127" name="Freeform 482"/>
            <p:cNvSpPr>
              <a:spLocks/>
            </p:cNvSpPr>
            <p:nvPr userDrawn="1"/>
          </p:nvSpPr>
          <p:spPr bwMode="auto">
            <a:xfrm>
              <a:off x="4908" y="1639"/>
              <a:ext cx="15" cy="14"/>
            </a:xfrm>
            <a:custGeom>
              <a:avLst/>
              <a:gdLst>
                <a:gd name="T0" fmla="*/ 0 w 15"/>
                <a:gd name="T1" fmla="*/ 8 h 14"/>
                <a:gd name="T2" fmla="*/ 1 w 15"/>
                <a:gd name="T3" fmla="*/ 2 h 14"/>
                <a:gd name="T4" fmla="*/ 13 w 15"/>
                <a:gd name="T5" fmla="*/ 0 h 14"/>
                <a:gd name="T6" fmla="*/ 15 w 15"/>
                <a:gd name="T7" fmla="*/ 9 h 14"/>
                <a:gd name="T8" fmla="*/ 9 w 15"/>
                <a:gd name="T9" fmla="*/ 9 h 14"/>
                <a:gd name="T10" fmla="*/ 9 w 15"/>
                <a:gd name="T11" fmla="*/ 9 h 14"/>
                <a:gd name="T12" fmla="*/ 7 w 15"/>
                <a:gd name="T13" fmla="*/ 11 h 14"/>
                <a:gd name="T14" fmla="*/ 4 w 15"/>
                <a:gd name="T15" fmla="*/ 14 h 14"/>
                <a:gd name="T16" fmla="*/ 4 w 15"/>
                <a:gd name="T17" fmla="*/ 14 h 14"/>
                <a:gd name="T18" fmla="*/ 3 w 15"/>
                <a:gd name="T19" fmla="*/ 12 h 14"/>
                <a:gd name="T20" fmla="*/ 1 w 15"/>
                <a:gd name="T21" fmla="*/ 11 h 14"/>
                <a:gd name="T22" fmla="*/ 0 w 15"/>
                <a:gd name="T23" fmla="*/ 8 h 14"/>
                <a:gd name="T24" fmla="*/ 0 w 15"/>
                <a:gd name="T25" fmla="*/ 8 h 14"/>
                <a:gd name="T26" fmla="*/ 0 w 15"/>
                <a:gd name="T27" fmla="*/ 8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" h="14">
                  <a:moveTo>
                    <a:pt x="0" y="8"/>
                  </a:moveTo>
                  <a:lnTo>
                    <a:pt x="1" y="2"/>
                  </a:lnTo>
                  <a:lnTo>
                    <a:pt x="13" y="0"/>
                  </a:lnTo>
                  <a:lnTo>
                    <a:pt x="15" y="9"/>
                  </a:lnTo>
                  <a:lnTo>
                    <a:pt x="9" y="9"/>
                  </a:lnTo>
                  <a:lnTo>
                    <a:pt x="9" y="9"/>
                  </a:lnTo>
                  <a:lnTo>
                    <a:pt x="7" y="11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3" y="12"/>
                  </a:lnTo>
                  <a:lnTo>
                    <a:pt x="1" y="11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128" name="Freeform 483"/>
            <p:cNvSpPr>
              <a:spLocks/>
            </p:cNvSpPr>
            <p:nvPr userDrawn="1"/>
          </p:nvSpPr>
          <p:spPr bwMode="auto">
            <a:xfrm>
              <a:off x="4841" y="1645"/>
              <a:ext cx="58" cy="39"/>
            </a:xfrm>
            <a:custGeom>
              <a:avLst/>
              <a:gdLst>
                <a:gd name="T0" fmla="*/ 22 w 58"/>
                <a:gd name="T1" fmla="*/ 23 h 39"/>
                <a:gd name="T2" fmla="*/ 11 w 58"/>
                <a:gd name="T3" fmla="*/ 21 h 39"/>
                <a:gd name="T4" fmla="*/ 2 w 58"/>
                <a:gd name="T5" fmla="*/ 20 h 39"/>
                <a:gd name="T6" fmla="*/ 0 w 58"/>
                <a:gd name="T7" fmla="*/ 15 h 39"/>
                <a:gd name="T8" fmla="*/ 13 w 58"/>
                <a:gd name="T9" fmla="*/ 12 h 39"/>
                <a:gd name="T10" fmla="*/ 20 w 58"/>
                <a:gd name="T11" fmla="*/ 11 h 39"/>
                <a:gd name="T12" fmla="*/ 26 w 58"/>
                <a:gd name="T13" fmla="*/ 6 h 39"/>
                <a:gd name="T14" fmla="*/ 31 w 58"/>
                <a:gd name="T15" fmla="*/ 0 h 39"/>
                <a:gd name="T16" fmla="*/ 47 w 58"/>
                <a:gd name="T17" fmla="*/ 2 h 39"/>
                <a:gd name="T18" fmla="*/ 53 w 58"/>
                <a:gd name="T19" fmla="*/ 11 h 39"/>
                <a:gd name="T20" fmla="*/ 58 w 58"/>
                <a:gd name="T21" fmla="*/ 21 h 39"/>
                <a:gd name="T22" fmla="*/ 55 w 58"/>
                <a:gd name="T23" fmla="*/ 24 h 39"/>
                <a:gd name="T24" fmla="*/ 50 w 58"/>
                <a:gd name="T25" fmla="*/ 20 h 39"/>
                <a:gd name="T26" fmla="*/ 46 w 58"/>
                <a:gd name="T27" fmla="*/ 24 h 39"/>
                <a:gd name="T28" fmla="*/ 40 w 58"/>
                <a:gd name="T29" fmla="*/ 33 h 39"/>
                <a:gd name="T30" fmla="*/ 37 w 58"/>
                <a:gd name="T31" fmla="*/ 39 h 39"/>
                <a:gd name="T32" fmla="*/ 28 w 58"/>
                <a:gd name="T33" fmla="*/ 39 h 39"/>
                <a:gd name="T34" fmla="*/ 20 w 58"/>
                <a:gd name="T35" fmla="*/ 33 h 39"/>
                <a:gd name="T36" fmla="*/ 22 w 58"/>
                <a:gd name="T37" fmla="*/ 23 h 39"/>
                <a:gd name="T38" fmla="*/ 22 w 58"/>
                <a:gd name="T39" fmla="*/ 23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8" h="39">
                  <a:moveTo>
                    <a:pt x="22" y="23"/>
                  </a:moveTo>
                  <a:lnTo>
                    <a:pt x="11" y="21"/>
                  </a:lnTo>
                  <a:lnTo>
                    <a:pt x="2" y="20"/>
                  </a:lnTo>
                  <a:lnTo>
                    <a:pt x="0" y="15"/>
                  </a:lnTo>
                  <a:lnTo>
                    <a:pt x="13" y="12"/>
                  </a:lnTo>
                  <a:lnTo>
                    <a:pt x="20" y="11"/>
                  </a:lnTo>
                  <a:lnTo>
                    <a:pt x="26" y="6"/>
                  </a:lnTo>
                  <a:lnTo>
                    <a:pt x="31" y="0"/>
                  </a:lnTo>
                  <a:lnTo>
                    <a:pt x="47" y="2"/>
                  </a:lnTo>
                  <a:lnTo>
                    <a:pt x="53" y="11"/>
                  </a:lnTo>
                  <a:lnTo>
                    <a:pt x="58" y="21"/>
                  </a:lnTo>
                  <a:lnTo>
                    <a:pt x="55" y="24"/>
                  </a:lnTo>
                  <a:lnTo>
                    <a:pt x="50" y="20"/>
                  </a:lnTo>
                  <a:lnTo>
                    <a:pt x="46" y="24"/>
                  </a:lnTo>
                  <a:lnTo>
                    <a:pt x="40" y="33"/>
                  </a:lnTo>
                  <a:lnTo>
                    <a:pt x="37" y="39"/>
                  </a:lnTo>
                  <a:lnTo>
                    <a:pt x="28" y="39"/>
                  </a:lnTo>
                  <a:lnTo>
                    <a:pt x="20" y="33"/>
                  </a:lnTo>
                  <a:lnTo>
                    <a:pt x="22" y="23"/>
                  </a:lnTo>
                  <a:lnTo>
                    <a:pt x="22" y="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129" name="Freeform 484"/>
            <p:cNvSpPr>
              <a:spLocks/>
            </p:cNvSpPr>
            <p:nvPr userDrawn="1"/>
          </p:nvSpPr>
          <p:spPr bwMode="auto">
            <a:xfrm>
              <a:off x="4320" y="2205"/>
              <a:ext cx="46" cy="39"/>
            </a:xfrm>
            <a:custGeom>
              <a:avLst/>
              <a:gdLst>
                <a:gd name="T0" fmla="*/ 46 w 46"/>
                <a:gd name="T1" fmla="*/ 39 h 39"/>
                <a:gd name="T2" fmla="*/ 37 w 46"/>
                <a:gd name="T3" fmla="*/ 33 h 39"/>
                <a:gd name="T4" fmla="*/ 28 w 46"/>
                <a:gd name="T5" fmla="*/ 31 h 39"/>
                <a:gd name="T6" fmla="*/ 22 w 46"/>
                <a:gd name="T7" fmla="*/ 36 h 39"/>
                <a:gd name="T8" fmla="*/ 15 w 46"/>
                <a:gd name="T9" fmla="*/ 31 h 39"/>
                <a:gd name="T10" fmla="*/ 15 w 46"/>
                <a:gd name="T11" fmla="*/ 31 h 39"/>
                <a:gd name="T12" fmla="*/ 13 w 46"/>
                <a:gd name="T13" fmla="*/ 30 h 39"/>
                <a:gd name="T14" fmla="*/ 12 w 46"/>
                <a:gd name="T15" fmla="*/ 28 h 39"/>
                <a:gd name="T16" fmla="*/ 10 w 46"/>
                <a:gd name="T17" fmla="*/ 27 h 39"/>
                <a:gd name="T18" fmla="*/ 10 w 46"/>
                <a:gd name="T19" fmla="*/ 27 h 39"/>
                <a:gd name="T20" fmla="*/ 12 w 46"/>
                <a:gd name="T21" fmla="*/ 16 h 39"/>
                <a:gd name="T22" fmla="*/ 6 w 46"/>
                <a:gd name="T23" fmla="*/ 13 h 39"/>
                <a:gd name="T24" fmla="*/ 0 w 46"/>
                <a:gd name="T25" fmla="*/ 9 h 39"/>
                <a:gd name="T26" fmla="*/ 4 w 46"/>
                <a:gd name="T27" fmla="*/ 0 h 39"/>
                <a:gd name="T28" fmla="*/ 15 w 46"/>
                <a:gd name="T29" fmla="*/ 15 h 39"/>
                <a:gd name="T30" fmla="*/ 22 w 46"/>
                <a:gd name="T31" fmla="*/ 22 h 39"/>
                <a:gd name="T32" fmla="*/ 36 w 46"/>
                <a:gd name="T33" fmla="*/ 24 h 39"/>
                <a:gd name="T34" fmla="*/ 43 w 46"/>
                <a:gd name="T35" fmla="*/ 22 h 39"/>
                <a:gd name="T36" fmla="*/ 42 w 46"/>
                <a:gd name="T37" fmla="*/ 25 h 39"/>
                <a:gd name="T38" fmla="*/ 46 w 46"/>
                <a:gd name="T39" fmla="*/ 39 h 39"/>
                <a:gd name="T40" fmla="*/ 46 w 46"/>
                <a:gd name="T41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6" h="39">
                  <a:moveTo>
                    <a:pt x="46" y="39"/>
                  </a:moveTo>
                  <a:lnTo>
                    <a:pt x="37" y="33"/>
                  </a:lnTo>
                  <a:lnTo>
                    <a:pt x="28" y="31"/>
                  </a:lnTo>
                  <a:lnTo>
                    <a:pt x="22" y="36"/>
                  </a:lnTo>
                  <a:lnTo>
                    <a:pt x="15" y="31"/>
                  </a:lnTo>
                  <a:lnTo>
                    <a:pt x="15" y="31"/>
                  </a:lnTo>
                  <a:lnTo>
                    <a:pt x="13" y="30"/>
                  </a:lnTo>
                  <a:lnTo>
                    <a:pt x="12" y="28"/>
                  </a:lnTo>
                  <a:lnTo>
                    <a:pt x="10" y="27"/>
                  </a:lnTo>
                  <a:lnTo>
                    <a:pt x="10" y="27"/>
                  </a:lnTo>
                  <a:lnTo>
                    <a:pt x="12" y="16"/>
                  </a:lnTo>
                  <a:lnTo>
                    <a:pt x="6" y="13"/>
                  </a:lnTo>
                  <a:lnTo>
                    <a:pt x="0" y="9"/>
                  </a:lnTo>
                  <a:lnTo>
                    <a:pt x="4" y="0"/>
                  </a:lnTo>
                  <a:lnTo>
                    <a:pt x="15" y="15"/>
                  </a:lnTo>
                  <a:lnTo>
                    <a:pt x="22" y="22"/>
                  </a:lnTo>
                  <a:lnTo>
                    <a:pt x="36" y="24"/>
                  </a:lnTo>
                  <a:lnTo>
                    <a:pt x="43" y="22"/>
                  </a:lnTo>
                  <a:lnTo>
                    <a:pt x="42" y="25"/>
                  </a:lnTo>
                  <a:lnTo>
                    <a:pt x="46" y="39"/>
                  </a:lnTo>
                  <a:lnTo>
                    <a:pt x="46" y="3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130" name="Freeform 485"/>
            <p:cNvSpPr>
              <a:spLocks/>
            </p:cNvSpPr>
            <p:nvPr userDrawn="1"/>
          </p:nvSpPr>
          <p:spPr bwMode="auto">
            <a:xfrm>
              <a:off x="4277" y="2147"/>
              <a:ext cx="35" cy="49"/>
            </a:xfrm>
            <a:custGeom>
              <a:avLst/>
              <a:gdLst>
                <a:gd name="T0" fmla="*/ 3 w 35"/>
                <a:gd name="T1" fmla="*/ 34 h 49"/>
                <a:gd name="T2" fmla="*/ 0 w 35"/>
                <a:gd name="T3" fmla="*/ 40 h 49"/>
                <a:gd name="T4" fmla="*/ 9 w 35"/>
                <a:gd name="T5" fmla="*/ 47 h 49"/>
                <a:gd name="T6" fmla="*/ 9 w 35"/>
                <a:gd name="T7" fmla="*/ 47 h 49"/>
                <a:gd name="T8" fmla="*/ 11 w 35"/>
                <a:gd name="T9" fmla="*/ 49 h 49"/>
                <a:gd name="T10" fmla="*/ 11 w 35"/>
                <a:gd name="T11" fmla="*/ 49 h 49"/>
                <a:gd name="T12" fmla="*/ 12 w 35"/>
                <a:gd name="T13" fmla="*/ 47 h 49"/>
                <a:gd name="T14" fmla="*/ 12 w 35"/>
                <a:gd name="T15" fmla="*/ 47 h 49"/>
                <a:gd name="T16" fmla="*/ 20 w 35"/>
                <a:gd name="T17" fmla="*/ 38 h 49"/>
                <a:gd name="T18" fmla="*/ 26 w 35"/>
                <a:gd name="T19" fmla="*/ 38 h 49"/>
                <a:gd name="T20" fmla="*/ 32 w 35"/>
                <a:gd name="T21" fmla="*/ 41 h 49"/>
                <a:gd name="T22" fmla="*/ 35 w 35"/>
                <a:gd name="T23" fmla="*/ 38 h 49"/>
                <a:gd name="T24" fmla="*/ 30 w 35"/>
                <a:gd name="T25" fmla="*/ 29 h 49"/>
                <a:gd name="T26" fmla="*/ 27 w 35"/>
                <a:gd name="T27" fmla="*/ 28 h 49"/>
                <a:gd name="T28" fmla="*/ 30 w 35"/>
                <a:gd name="T29" fmla="*/ 23 h 49"/>
                <a:gd name="T30" fmla="*/ 32 w 35"/>
                <a:gd name="T31" fmla="*/ 19 h 49"/>
                <a:gd name="T32" fmla="*/ 27 w 35"/>
                <a:gd name="T33" fmla="*/ 14 h 49"/>
                <a:gd name="T34" fmla="*/ 20 w 35"/>
                <a:gd name="T35" fmla="*/ 14 h 49"/>
                <a:gd name="T36" fmla="*/ 15 w 35"/>
                <a:gd name="T37" fmla="*/ 11 h 49"/>
                <a:gd name="T38" fmla="*/ 15 w 35"/>
                <a:gd name="T39" fmla="*/ 3 h 49"/>
                <a:gd name="T40" fmla="*/ 5 w 35"/>
                <a:gd name="T41" fmla="*/ 0 h 49"/>
                <a:gd name="T42" fmla="*/ 2 w 35"/>
                <a:gd name="T43" fmla="*/ 6 h 49"/>
                <a:gd name="T44" fmla="*/ 3 w 35"/>
                <a:gd name="T45" fmla="*/ 11 h 49"/>
                <a:gd name="T46" fmla="*/ 12 w 35"/>
                <a:gd name="T47" fmla="*/ 13 h 49"/>
                <a:gd name="T48" fmla="*/ 21 w 35"/>
                <a:gd name="T49" fmla="*/ 19 h 49"/>
                <a:gd name="T50" fmla="*/ 21 w 35"/>
                <a:gd name="T51" fmla="*/ 25 h 49"/>
                <a:gd name="T52" fmla="*/ 15 w 35"/>
                <a:gd name="T53" fmla="*/ 26 h 49"/>
                <a:gd name="T54" fmla="*/ 8 w 35"/>
                <a:gd name="T55" fmla="*/ 20 h 49"/>
                <a:gd name="T56" fmla="*/ 3 w 35"/>
                <a:gd name="T57" fmla="*/ 23 h 49"/>
                <a:gd name="T58" fmla="*/ 6 w 35"/>
                <a:gd name="T59" fmla="*/ 29 h 49"/>
                <a:gd name="T60" fmla="*/ 3 w 35"/>
                <a:gd name="T61" fmla="*/ 34 h 49"/>
                <a:gd name="T62" fmla="*/ 3 w 35"/>
                <a:gd name="T63" fmla="*/ 34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5" h="49">
                  <a:moveTo>
                    <a:pt x="3" y="34"/>
                  </a:moveTo>
                  <a:lnTo>
                    <a:pt x="0" y="40"/>
                  </a:lnTo>
                  <a:lnTo>
                    <a:pt x="9" y="47"/>
                  </a:lnTo>
                  <a:lnTo>
                    <a:pt x="9" y="47"/>
                  </a:lnTo>
                  <a:lnTo>
                    <a:pt x="11" y="49"/>
                  </a:lnTo>
                  <a:lnTo>
                    <a:pt x="11" y="49"/>
                  </a:lnTo>
                  <a:lnTo>
                    <a:pt x="12" y="47"/>
                  </a:lnTo>
                  <a:lnTo>
                    <a:pt x="12" y="47"/>
                  </a:lnTo>
                  <a:lnTo>
                    <a:pt x="20" y="38"/>
                  </a:lnTo>
                  <a:lnTo>
                    <a:pt x="26" y="38"/>
                  </a:lnTo>
                  <a:lnTo>
                    <a:pt x="32" y="41"/>
                  </a:lnTo>
                  <a:lnTo>
                    <a:pt x="35" y="38"/>
                  </a:lnTo>
                  <a:lnTo>
                    <a:pt x="30" y="29"/>
                  </a:lnTo>
                  <a:lnTo>
                    <a:pt x="27" y="28"/>
                  </a:lnTo>
                  <a:lnTo>
                    <a:pt x="30" y="23"/>
                  </a:lnTo>
                  <a:lnTo>
                    <a:pt x="32" y="19"/>
                  </a:lnTo>
                  <a:lnTo>
                    <a:pt x="27" y="14"/>
                  </a:lnTo>
                  <a:lnTo>
                    <a:pt x="20" y="14"/>
                  </a:lnTo>
                  <a:lnTo>
                    <a:pt x="15" y="11"/>
                  </a:lnTo>
                  <a:lnTo>
                    <a:pt x="15" y="3"/>
                  </a:lnTo>
                  <a:lnTo>
                    <a:pt x="5" y="0"/>
                  </a:lnTo>
                  <a:lnTo>
                    <a:pt x="2" y="6"/>
                  </a:lnTo>
                  <a:lnTo>
                    <a:pt x="3" y="11"/>
                  </a:lnTo>
                  <a:lnTo>
                    <a:pt x="12" y="13"/>
                  </a:lnTo>
                  <a:lnTo>
                    <a:pt x="21" y="19"/>
                  </a:lnTo>
                  <a:lnTo>
                    <a:pt x="21" y="25"/>
                  </a:lnTo>
                  <a:lnTo>
                    <a:pt x="15" y="26"/>
                  </a:lnTo>
                  <a:lnTo>
                    <a:pt x="8" y="20"/>
                  </a:lnTo>
                  <a:lnTo>
                    <a:pt x="3" y="23"/>
                  </a:lnTo>
                  <a:lnTo>
                    <a:pt x="6" y="29"/>
                  </a:lnTo>
                  <a:lnTo>
                    <a:pt x="3" y="34"/>
                  </a:lnTo>
                  <a:lnTo>
                    <a:pt x="3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131" name="Freeform 486"/>
            <p:cNvSpPr>
              <a:spLocks/>
            </p:cNvSpPr>
            <p:nvPr userDrawn="1"/>
          </p:nvSpPr>
          <p:spPr bwMode="auto">
            <a:xfrm>
              <a:off x="4062" y="2104"/>
              <a:ext cx="16" cy="30"/>
            </a:xfrm>
            <a:custGeom>
              <a:avLst/>
              <a:gdLst>
                <a:gd name="T0" fmla="*/ 0 w 16"/>
                <a:gd name="T1" fmla="*/ 9 h 30"/>
                <a:gd name="T2" fmla="*/ 3 w 16"/>
                <a:gd name="T3" fmla="*/ 18 h 30"/>
                <a:gd name="T4" fmla="*/ 1 w 16"/>
                <a:gd name="T5" fmla="*/ 22 h 30"/>
                <a:gd name="T6" fmla="*/ 12 w 16"/>
                <a:gd name="T7" fmla="*/ 30 h 30"/>
                <a:gd name="T8" fmla="*/ 16 w 16"/>
                <a:gd name="T9" fmla="*/ 18 h 30"/>
                <a:gd name="T10" fmla="*/ 16 w 16"/>
                <a:gd name="T11" fmla="*/ 12 h 30"/>
                <a:gd name="T12" fmla="*/ 1 w 16"/>
                <a:gd name="T13" fmla="*/ 0 h 30"/>
                <a:gd name="T14" fmla="*/ 3 w 16"/>
                <a:gd name="T15" fmla="*/ 9 h 30"/>
                <a:gd name="T16" fmla="*/ 0 w 16"/>
                <a:gd name="T17" fmla="*/ 9 h 30"/>
                <a:gd name="T18" fmla="*/ 0 w 16"/>
                <a:gd name="T19" fmla="*/ 9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30">
                  <a:moveTo>
                    <a:pt x="0" y="9"/>
                  </a:moveTo>
                  <a:lnTo>
                    <a:pt x="3" y="18"/>
                  </a:lnTo>
                  <a:lnTo>
                    <a:pt x="1" y="22"/>
                  </a:lnTo>
                  <a:lnTo>
                    <a:pt x="12" y="30"/>
                  </a:lnTo>
                  <a:lnTo>
                    <a:pt x="16" y="18"/>
                  </a:lnTo>
                  <a:lnTo>
                    <a:pt x="16" y="12"/>
                  </a:lnTo>
                  <a:lnTo>
                    <a:pt x="1" y="0"/>
                  </a:lnTo>
                  <a:lnTo>
                    <a:pt x="3" y="9"/>
                  </a:lnTo>
                  <a:lnTo>
                    <a:pt x="0" y="9"/>
                  </a:lnTo>
                  <a:lnTo>
                    <a:pt x="0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132" name="Freeform 487"/>
            <p:cNvSpPr>
              <a:spLocks/>
            </p:cNvSpPr>
            <p:nvPr userDrawn="1"/>
          </p:nvSpPr>
          <p:spPr bwMode="auto">
            <a:xfrm>
              <a:off x="4145" y="2164"/>
              <a:ext cx="15" cy="17"/>
            </a:xfrm>
            <a:custGeom>
              <a:avLst/>
              <a:gdLst>
                <a:gd name="T0" fmla="*/ 6 w 15"/>
                <a:gd name="T1" fmla="*/ 17 h 17"/>
                <a:gd name="T2" fmla="*/ 0 w 15"/>
                <a:gd name="T3" fmla="*/ 12 h 17"/>
                <a:gd name="T4" fmla="*/ 0 w 15"/>
                <a:gd name="T5" fmla="*/ 2 h 17"/>
                <a:gd name="T6" fmla="*/ 4 w 15"/>
                <a:gd name="T7" fmla="*/ 0 h 17"/>
                <a:gd name="T8" fmla="*/ 15 w 15"/>
                <a:gd name="T9" fmla="*/ 8 h 17"/>
                <a:gd name="T10" fmla="*/ 13 w 15"/>
                <a:gd name="T11" fmla="*/ 14 h 17"/>
                <a:gd name="T12" fmla="*/ 6 w 15"/>
                <a:gd name="T13" fmla="*/ 17 h 17"/>
                <a:gd name="T14" fmla="*/ 6 w 15"/>
                <a:gd name="T15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17">
                  <a:moveTo>
                    <a:pt x="6" y="17"/>
                  </a:moveTo>
                  <a:lnTo>
                    <a:pt x="0" y="12"/>
                  </a:lnTo>
                  <a:lnTo>
                    <a:pt x="0" y="2"/>
                  </a:lnTo>
                  <a:lnTo>
                    <a:pt x="4" y="0"/>
                  </a:lnTo>
                  <a:lnTo>
                    <a:pt x="15" y="8"/>
                  </a:lnTo>
                  <a:lnTo>
                    <a:pt x="13" y="14"/>
                  </a:lnTo>
                  <a:lnTo>
                    <a:pt x="6" y="17"/>
                  </a:lnTo>
                  <a:lnTo>
                    <a:pt x="6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133" name="Freeform 488"/>
            <p:cNvSpPr>
              <a:spLocks/>
            </p:cNvSpPr>
            <p:nvPr userDrawn="1"/>
          </p:nvSpPr>
          <p:spPr bwMode="auto">
            <a:xfrm>
              <a:off x="4120" y="2096"/>
              <a:ext cx="20" cy="47"/>
            </a:xfrm>
            <a:custGeom>
              <a:avLst/>
              <a:gdLst>
                <a:gd name="T0" fmla="*/ 2 w 20"/>
                <a:gd name="T1" fmla="*/ 47 h 47"/>
                <a:gd name="T2" fmla="*/ 0 w 20"/>
                <a:gd name="T3" fmla="*/ 38 h 47"/>
                <a:gd name="T4" fmla="*/ 2 w 20"/>
                <a:gd name="T5" fmla="*/ 27 h 47"/>
                <a:gd name="T6" fmla="*/ 8 w 20"/>
                <a:gd name="T7" fmla="*/ 17 h 47"/>
                <a:gd name="T8" fmla="*/ 19 w 20"/>
                <a:gd name="T9" fmla="*/ 0 h 47"/>
                <a:gd name="T10" fmla="*/ 20 w 20"/>
                <a:gd name="T11" fmla="*/ 9 h 47"/>
                <a:gd name="T12" fmla="*/ 14 w 20"/>
                <a:gd name="T13" fmla="*/ 23 h 47"/>
                <a:gd name="T14" fmla="*/ 6 w 20"/>
                <a:gd name="T15" fmla="*/ 39 h 47"/>
                <a:gd name="T16" fmla="*/ 2 w 20"/>
                <a:gd name="T17" fmla="*/ 47 h 47"/>
                <a:gd name="T18" fmla="*/ 2 w 20"/>
                <a:gd name="T19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" h="47">
                  <a:moveTo>
                    <a:pt x="2" y="47"/>
                  </a:moveTo>
                  <a:lnTo>
                    <a:pt x="0" y="38"/>
                  </a:lnTo>
                  <a:lnTo>
                    <a:pt x="2" y="27"/>
                  </a:lnTo>
                  <a:lnTo>
                    <a:pt x="8" y="17"/>
                  </a:lnTo>
                  <a:lnTo>
                    <a:pt x="19" y="0"/>
                  </a:lnTo>
                  <a:lnTo>
                    <a:pt x="20" y="9"/>
                  </a:lnTo>
                  <a:lnTo>
                    <a:pt x="14" y="23"/>
                  </a:lnTo>
                  <a:lnTo>
                    <a:pt x="6" y="39"/>
                  </a:lnTo>
                  <a:lnTo>
                    <a:pt x="2" y="47"/>
                  </a:lnTo>
                  <a:lnTo>
                    <a:pt x="2" y="4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134" name="Freeform 489"/>
            <p:cNvSpPr>
              <a:spLocks/>
            </p:cNvSpPr>
            <p:nvPr userDrawn="1"/>
          </p:nvSpPr>
          <p:spPr bwMode="auto">
            <a:xfrm>
              <a:off x="4098" y="2120"/>
              <a:ext cx="13" cy="15"/>
            </a:xfrm>
            <a:custGeom>
              <a:avLst/>
              <a:gdLst>
                <a:gd name="T0" fmla="*/ 12 w 13"/>
                <a:gd name="T1" fmla="*/ 15 h 15"/>
                <a:gd name="T2" fmla="*/ 4 w 13"/>
                <a:gd name="T3" fmla="*/ 12 h 15"/>
                <a:gd name="T4" fmla="*/ 0 w 13"/>
                <a:gd name="T5" fmla="*/ 0 h 15"/>
                <a:gd name="T6" fmla="*/ 13 w 13"/>
                <a:gd name="T7" fmla="*/ 6 h 15"/>
                <a:gd name="T8" fmla="*/ 12 w 13"/>
                <a:gd name="T9" fmla="*/ 15 h 15"/>
                <a:gd name="T10" fmla="*/ 12 w 13"/>
                <a:gd name="T11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15">
                  <a:moveTo>
                    <a:pt x="12" y="15"/>
                  </a:moveTo>
                  <a:lnTo>
                    <a:pt x="4" y="12"/>
                  </a:lnTo>
                  <a:lnTo>
                    <a:pt x="0" y="0"/>
                  </a:lnTo>
                  <a:lnTo>
                    <a:pt x="13" y="6"/>
                  </a:lnTo>
                  <a:lnTo>
                    <a:pt x="12" y="15"/>
                  </a:lnTo>
                  <a:lnTo>
                    <a:pt x="12" y="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135" name="Freeform 490"/>
            <p:cNvSpPr>
              <a:spLocks/>
            </p:cNvSpPr>
            <p:nvPr userDrawn="1"/>
          </p:nvSpPr>
          <p:spPr bwMode="auto">
            <a:xfrm>
              <a:off x="4114" y="2108"/>
              <a:ext cx="9" cy="12"/>
            </a:xfrm>
            <a:custGeom>
              <a:avLst/>
              <a:gdLst>
                <a:gd name="T0" fmla="*/ 3 w 9"/>
                <a:gd name="T1" fmla="*/ 12 h 12"/>
                <a:gd name="T2" fmla="*/ 0 w 9"/>
                <a:gd name="T3" fmla="*/ 6 h 12"/>
                <a:gd name="T4" fmla="*/ 9 w 9"/>
                <a:gd name="T5" fmla="*/ 0 h 12"/>
                <a:gd name="T6" fmla="*/ 3 w 9"/>
                <a:gd name="T7" fmla="*/ 12 h 12"/>
                <a:gd name="T8" fmla="*/ 3 w 9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2">
                  <a:moveTo>
                    <a:pt x="3" y="12"/>
                  </a:moveTo>
                  <a:lnTo>
                    <a:pt x="0" y="6"/>
                  </a:lnTo>
                  <a:lnTo>
                    <a:pt x="9" y="0"/>
                  </a:lnTo>
                  <a:lnTo>
                    <a:pt x="3" y="12"/>
                  </a:lnTo>
                  <a:lnTo>
                    <a:pt x="3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136" name="Freeform 491"/>
            <p:cNvSpPr>
              <a:spLocks/>
            </p:cNvSpPr>
            <p:nvPr userDrawn="1"/>
          </p:nvSpPr>
          <p:spPr bwMode="auto">
            <a:xfrm>
              <a:off x="4063" y="2046"/>
              <a:ext cx="68" cy="65"/>
            </a:xfrm>
            <a:custGeom>
              <a:avLst/>
              <a:gdLst>
                <a:gd name="T0" fmla="*/ 63 w 68"/>
                <a:gd name="T1" fmla="*/ 53 h 65"/>
                <a:gd name="T2" fmla="*/ 56 w 68"/>
                <a:gd name="T3" fmla="*/ 59 h 65"/>
                <a:gd name="T4" fmla="*/ 45 w 68"/>
                <a:gd name="T5" fmla="*/ 65 h 65"/>
                <a:gd name="T6" fmla="*/ 32 w 68"/>
                <a:gd name="T7" fmla="*/ 64 h 65"/>
                <a:gd name="T8" fmla="*/ 23 w 68"/>
                <a:gd name="T9" fmla="*/ 55 h 65"/>
                <a:gd name="T10" fmla="*/ 27 w 68"/>
                <a:gd name="T11" fmla="*/ 50 h 65"/>
                <a:gd name="T12" fmla="*/ 20 w 68"/>
                <a:gd name="T13" fmla="*/ 49 h 65"/>
                <a:gd name="T14" fmla="*/ 18 w 68"/>
                <a:gd name="T15" fmla="*/ 37 h 65"/>
                <a:gd name="T16" fmla="*/ 8 w 68"/>
                <a:gd name="T17" fmla="*/ 29 h 65"/>
                <a:gd name="T18" fmla="*/ 0 w 68"/>
                <a:gd name="T19" fmla="*/ 20 h 65"/>
                <a:gd name="T20" fmla="*/ 2 w 68"/>
                <a:gd name="T21" fmla="*/ 8 h 65"/>
                <a:gd name="T22" fmla="*/ 11 w 68"/>
                <a:gd name="T23" fmla="*/ 12 h 65"/>
                <a:gd name="T24" fmla="*/ 18 w 68"/>
                <a:gd name="T25" fmla="*/ 11 h 65"/>
                <a:gd name="T26" fmla="*/ 24 w 68"/>
                <a:gd name="T27" fmla="*/ 0 h 65"/>
                <a:gd name="T28" fmla="*/ 41 w 68"/>
                <a:gd name="T29" fmla="*/ 6 h 65"/>
                <a:gd name="T30" fmla="*/ 42 w 68"/>
                <a:gd name="T31" fmla="*/ 12 h 65"/>
                <a:gd name="T32" fmla="*/ 45 w 68"/>
                <a:gd name="T33" fmla="*/ 17 h 65"/>
                <a:gd name="T34" fmla="*/ 48 w 68"/>
                <a:gd name="T35" fmla="*/ 20 h 65"/>
                <a:gd name="T36" fmla="*/ 51 w 68"/>
                <a:gd name="T37" fmla="*/ 28 h 65"/>
                <a:gd name="T38" fmla="*/ 65 w 68"/>
                <a:gd name="T39" fmla="*/ 34 h 65"/>
                <a:gd name="T40" fmla="*/ 68 w 68"/>
                <a:gd name="T41" fmla="*/ 44 h 65"/>
                <a:gd name="T42" fmla="*/ 63 w 68"/>
                <a:gd name="T43" fmla="*/ 53 h 65"/>
                <a:gd name="T44" fmla="*/ 63 w 68"/>
                <a:gd name="T45" fmla="*/ 53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8" h="65">
                  <a:moveTo>
                    <a:pt x="63" y="53"/>
                  </a:moveTo>
                  <a:lnTo>
                    <a:pt x="56" y="59"/>
                  </a:lnTo>
                  <a:lnTo>
                    <a:pt x="45" y="65"/>
                  </a:lnTo>
                  <a:lnTo>
                    <a:pt x="32" y="64"/>
                  </a:lnTo>
                  <a:lnTo>
                    <a:pt x="23" y="55"/>
                  </a:lnTo>
                  <a:lnTo>
                    <a:pt x="27" y="50"/>
                  </a:lnTo>
                  <a:lnTo>
                    <a:pt x="20" y="49"/>
                  </a:lnTo>
                  <a:lnTo>
                    <a:pt x="18" y="37"/>
                  </a:lnTo>
                  <a:lnTo>
                    <a:pt x="8" y="29"/>
                  </a:lnTo>
                  <a:lnTo>
                    <a:pt x="0" y="20"/>
                  </a:lnTo>
                  <a:lnTo>
                    <a:pt x="2" y="8"/>
                  </a:lnTo>
                  <a:lnTo>
                    <a:pt x="11" y="12"/>
                  </a:lnTo>
                  <a:lnTo>
                    <a:pt x="18" y="11"/>
                  </a:lnTo>
                  <a:lnTo>
                    <a:pt x="24" y="0"/>
                  </a:lnTo>
                  <a:lnTo>
                    <a:pt x="41" y="6"/>
                  </a:lnTo>
                  <a:lnTo>
                    <a:pt x="42" y="12"/>
                  </a:lnTo>
                  <a:lnTo>
                    <a:pt x="45" y="17"/>
                  </a:lnTo>
                  <a:lnTo>
                    <a:pt x="48" y="20"/>
                  </a:lnTo>
                  <a:lnTo>
                    <a:pt x="51" y="28"/>
                  </a:lnTo>
                  <a:lnTo>
                    <a:pt x="65" y="34"/>
                  </a:lnTo>
                  <a:lnTo>
                    <a:pt x="68" y="44"/>
                  </a:lnTo>
                  <a:lnTo>
                    <a:pt x="63" y="53"/>
                  </a:lnTo>
                  <a:lnTo>
                    <a:pt x="63" y="5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137" name="Freeform 492"/>
            <p:cNvSpPr>
              <a:spLocks/>
            </p:cNvSpPr>
            <p:nvPr userDrawn="1"/>
          </p:nvSpPr>
          <p:spPr bwMode="auto">
            <a:xfrm>
              <a:off x="4114" y="2052"/>
              <a:ext cx="8" cy="22"/>
            </a:xfrm>
            <a:custGeom>
              <a:avLst/>
              <a:gdLst>
                <a:gd name="T0" fmla="*/ 3 w 8"/>
                <a:gd name="T1" fmla="*/ 22 h 22"/>
                <a:gd name="T2" fmla="*/ 0 w 8"/>
                <a:gd name="T3" fmla="*/ 12 h 22"/>
                <a:gd name="T4" fmla="*/ 0 w 8"/>
                <a:gd name="T5" fmla="*/ 2 h 22"/>
                <a:gd name="T6" fmla="*/ 3 w 8"/>
                <a:gd name="T7" fmla="*/ 0 h 22"/>
                <a:gd name="T8" fmla="*/ 8 w 8"/>
                <a:gd name="T9" fmla="*/ 12 h 22"/>
                <a:gd name="T10" fmla="*/ 3 w 8"/>
                <a:gd name="T11" fmla="*/ 22 h 22"/>
                <a:gd name="T12" fmla="*/ 3 w 8"/>
                <a:gd name="T13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22">
                  <a:moveTo>
                    <a:pt x="3" y="22"/>
                  </a:moveTo>
                  <a:lnTo>
                    <a:pt x="0" y="12"/>
                  </a:lnTo>
                  <a:lnTo>
                    <a:pt x="0" y="2"/>
                  </a:lnTo>
                  <a:lnTo>
                    <a:pt x="3" y="0"/>
                  </a:lnTo>
                  <a:lnTo>
                    <a:pt x="8" y="12"/>
                  </a:lnTo>
                  <a:lnTo>
                    <a:pt x="3" y="22"/>
                  </a:lnTo>
                  <a:lnTo>
                    <a:pt x="3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138" name="Freeform 493"/>
            <p:cNvSpPr>
              <a:spLocks/>
            </p:cNvSpPr>
            <p:nvPr userDrawn="1"/>
          </p:nvSpPr>
          <p:spPr bwMode="auto">
            <a:xfrm>
              <a:off x="4143" y="2120"/>
              <a:ext cx="48" cy="30"/>
            </a:xfrm>
            <a:custGeom>
              <a:avLst/>
              <a:gdLst>
                <a:gd name="T0" fmla="*/ 0 w 48"/>
                <a:gd name="T1" fmla="*/ 3 h 30"/>
                <a:gd name="T2" fmla="*/ 0 w 48"/>
                <a:gd name="T3" fmla="*/ 6 h 30"/>
                <a:gd name="T4" fmla="*/ 11 w 48"/>
                <a:gd name="T5" fmla="*/ 14 h 30"/>
                <a:gd name="T6" fmla="*/ 2 w 48"/>
                <a:gd name="T7" fmla="*/ 14 h 30"/>
                <a:gd name="T8" fmla="*/ 2 w 48"/>
                <a:gd name="T9" fmla="*/ 20 h 30"/>
                <a:gd name="T10" fmla="*/ 17 w 48"/>
                <a:gd name="T11" fmla="*/ 24 h 30"/>
                <a:gd name="T12" fmla="*/ 21 w 48"/>
                <a:gd name="T13" fmla="*/ 30 h 30"/>
                <a:gd name="T14" fmla="*/ 33 w 48"/>
                <a:gd name="T15" fmla="*/ 29 h 30"/>
                <a:gd name="T16" fmla="*/ 48 w 48"/>
                <a:gd name="T17" fmla="*/ 30 h 30"/>
                <a:gd name="T18" fmla="*/ 44 w 48"/>
                <a:gd name="T19" fmla="*/ 20 h 30"/>
                <a:gd name="T20" fmla="*/ 44 w 48"/>
                <a:gd name="T21" fmla="*/ 20 h 30"/>
                <a:gd name="T22" fmla="*/ 44 w 48"/>
                <a:gd name="T23" fmla="*/ 15 h 30"/>
                <a:gd name="T24" fmla="*/ 42 w 48"/>
                <a:gd name="T25" fmla="*/ 12 h 30"/>
                <a:gd name="T26" fmla="*/ 41 w 48"/>
                <a:gd name="T27" fmla="*/ 9 h 30"/>
                <a:gd name="T28" fmla="*/ 41 w 48"/>
                <a:gd name="T29" fmla="*/ 9 h 30"/>
                <a:gd name="T30" fmla="*/ 33 w 48"/>
                <a:gd name="T31" fmla="*/ 9 h 30"/>
                <a:gd name="T32" fmla="*/ 24 w 48"/>
                <a:gd name="T33" fmla="*/ 9 h 30"/>
                <a:gd name="T34" fmla="*/ 24 w 48"/>
                <a:gd name="T35" fmla="*/ 9 h 30"/>
                <a:gd name="T36" fmla="*/ 9 w 48"/>
                <a:gd name="T37" fmla="*/ 0 h 30"/>
                <a:gd name="T38" fmla="*/ 0 w 48"/>
                <a:gd name="T39" fmla="*/ 3 h 30"/>
                <a:gd name="T40" fmla="*/ 0 w 48"/>
                <a:gd name="T41" fmla="*/ 3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8" h="30">
                  <a:moveTo>
                    <a:pt x="0" y="3"/>
                  </a:moveTo>
                  <a:lnTo>
                    <a:pt x="0" y="6"/>
                  </a:lnTo>
                  <a:lnTo>
                    <a:pt x="11" y="14"/>
                  </a:lnTo>
                  <a:lnTo>
                    <a:pt x="2" y="14"/>
                  </a:lnTo>
                  <a:lnTo>
                    <a:pt x="2" y="20"/>
                  </a:lnTo>
                  <a:lnTo>
                    <a:pt x="17" y="24"/>
                  </a:lnTo>
                  <a:lnTo>
                    <a:pt x="21" y="30"/>
                  </a:lnTo>
                  <a:lnTo>
                    <a:pt x="33" y="29"/>
                  </a:lnTo>
                  <a:lnTo>
                    <a:pt x="48" y="30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4" y="15"/>
                  </a:lnTo>
                  <a:lnTo>
                    <a:pt x="42" y="12"/>
                  </a:lnTo>
                  <a:lnTo>
                    <a:pt x="41" y="9"/>
                  </a:lnTo>
                  <a:lnTo>
                    <a:pt x="41" y="9"/>
                  </a:lnTo>
                  <a:lnTo>
                    <a:pt x="33" y="9"/>
                  </a:lnTo>
                  <a:lnTo>
                    <a:pt x="24" y="9"/>
                  </a:lnTo>
                  <a:lnTo>
                    <a:pt x="24" y="9"/>
                  </a:lnTo>
                  <a:lnTo>
                    <a:pt x="9" y="0"/>
                  </a:lnTo>
                  <a:lnTo>
                    <a:pt x="0" y="3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139" name="Freeform 494"/>
            <p:cNvSpPr>
              <a:spLocks/>
            </p:cNvSpPr>
            <p:nvPr userDrawn="1"/>
          </p:nvSpPr>
          <p:spPr bwMode="auto">
            <a:xfrm>
              <a:off x="4184" y="2117"/>
              <a:ext cx="27" cy="35"/>
            </a:xfrm>
            <a:custGeom>
              <a:avLst/>
              <a:gdLst>
                <a:gd name="T0" fmla="*/ 0 w 27"/>
                <a:gd name="T1" fmla="*/ 0 h 35"/>
                <a:gd name="T2" fmla="*/ 9 w 27"/>
                <a:gd name="T3" fmla="*/ 17 h 35"/>
                <a:gd name="T4" fmla="*/ 7 w 27"/>
                <a:gd name="T5" fmla="*/ 21 h 35"/>
                <a:gd name="T6" fmla="*/ 12 w 27"/>
                <a:gd name="T7" fmla="*/ 35 h 35"/>
                <a:gd name="T8" fmla="*/ 16 w 27"/>
                <a:gd name="T9" fmla="*/ 29 h 35"/>
                <a:gd name="T10" fmla="*/ 21 w 27"/>
                <a:gd name="T11" fmla="*/ 21 h 35"/>
                <a:gd name="T12" fmla="*/ 27 w 27"/>
                <a:gd name="T13" fmla="*/ 12 h 35"/>
                <a:gd name="T14" fmla="*/ 18 w 27"/>
                <a:gd name="T15" fmla="*/ 3 h 35"/>
                <a:gd name="T16" fmla="*/ 12 w 27"/>
                <a:gd name="T17" fmla="*/ 8 h 35"/>
                <a:gd name="T18" fmla="*/ 6 w 27"/>
                <a:gd name="T19" fmla="*/ 0 h 35"/>
                <a:gd name="T20" fmla="*/ 0 w 27"/>
                <a:gd name="T21" fmla="*/ 0 h 35"/>
                <a:gd name="T22" fmla="*/ 0 w 27"/>
                <a:gd name="T23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7" h="35">
                  <a:moveTo>
                    <a:pt x="0" y="0"/>
                  </a:moveTo>
                  <a:lnTo>
                    <a:pt x="9" y="17"/>
                  </a:lnTo>
                  <a:lnTo>
                    <a:pt x="7" y="21"/>
                  </a:lnTo>
                  <a:lnTo>
                    <a:pt x="12" y="35"/>
                  </a:lnTo>
                  <a:lnTo>
                    <a:pt x="16" y="29"/>
                  </a:lnTo>
                  <a:lnTo>
                    <a:pt x="21" y="21"/>
                  </a:lnTo>
                  <a:lnTo>
                    <a:pt x="27" y="12"/>
                  </a:lnTo>
                  <a:lnTo>
                    <a:pt x="18" y="3"/>
                  </a:lnTo>
                  <a:lnTo>
                    <a:pt x="12" y="8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140" name="Freeform 495"/>
            <p:cNvSpPr>
              <a:spLocks/>
            </p:cNvSpPr>
            <p:nvPr userDrawn="1"/>
          </p:nvSpPr>
          <p:spPr bwMode="auto">
            <a:xfrm>
              <a:off x="4212" y="2108"/>
              <a:ext cx="29" cy="18"/>
            </a:xfrm>
            <a:custGeom>
              <a:avLst/>
              <a:gdLst>
                <a:gd name="T0" fmla="*/ 0 w 29"/>
                <a:gd name="T1" fmla="*/ 12 h 18"/>
                <a:gd name="T2" fmla="*/ 8 w 29"/>
                <a:gd name="T3" fmla="*/ 18 h 18"/>
                <a:gd name="T4" fmla="*/ 14 w 29"/>
                <a:gd name="T5" fmla="*/ 12 h 18"/>
                <a:gd name="T6" fmla="*/ 22 w 29"/>
                <a:gd name="T7" fmla="*/ 9 h 18"/>
                <a:gd name="T8" fmla="*/ 29 w 29"/>
                <a:gd name="T9" fmla="*/ 11 h 18"/>
                <a:gd name="T10" fmla="*/ 26 w 29"/>
                <a:gd name="T11" fmla="*/ 6 h 18"/>
                <a:gd name="T12" fmla="*/ 8 w 29"/>
                <a:gd name="T13" fmla="*/ 0 h 18"/>
                <a:gd name="T14" fmla="*/ 13 w 29"/>
                <a:gd name="T15" fmla="*/ 8 h 18"/>
                <a:gd name="T16" fmla="*/ 0 w 29"/>
                <a:gd name="T17" fmla="*/ 12 h 18"/>
                <a:gd name="T18" fmla="*/ 0 w 29"/>
                <a:gd name="T19" fmla="*/ 1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9" h="18">
                  <a:moveTo>
                    <a:pt x="0" y="12"/>
                  </a:moveTo>
                  <a:lnTo>
                    <a:pt x="8" y="18"/>
                  </a:lnTo>
                  <a:lnTo>
                    <a:pt x="14" y="12"/>
                  </a:lnTo>
                  <a:lnTo>
                    <a:pt x="22" y="9"/>
                  </a:lnTo>
                  <a:lnTo>
                    <a:pt x="29" y="11"/>
                  </a:lnTo>
                  <a:lnTo>
                    <a:pt x="26" y="6"/>
                  </a:lnTo>
                  <a:lnTo>
                    <a:pt x="8" y="0"/>
                  </a:lnTo>
                  <a:lnTo>
                    <a:pt x="13" y="8"/>
                  </a:lnTo>
                  <a:lnTo>
                    <a:pt x="0" y="12"/>
                  </a:lnTo>
                  <a:lnTo>
                    <a:pt x="0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141" name="Freeform 496"/>
            <p:cNvSpPr>
              <a:spLocks/>
            </p:cNvSpPr>
            <p:nvPr userDrawn="1"/>
          </p:nvSpPr>
          <p:spPr bwMode="auto">
            <a:xfrm>
              <a:off x="4139" y="1986"/>
              <a:ext cx="102" cy="128"/>
            </a:xfrm>
            <a:custGeom>
              <a:avLst/>
              <a:gdLst>
                <a:gd name="T0" fmla="*/ 75 w 102"/>
                <a:gd name="T1" fmla="*/ 127 h 128"/>
                <a:gd name="T2" fmla="*/ 66 w 102"/>
                <a:gd name="T3" fmla="*/ 128 h 128"/>
                <a:gd name="T4" fmla="*/ 58 w 102"/>
                <a:gd name="T5" fmla="*/ 121 h 128"/>
                <a:gd name="T6" fmla="*/ 51 w 102"/>
                <a:gd name="T7" fmla="*/ 121 h 128"/>
                <a:gd name="T8" fmla="*/ 46 w 102"/>
                <a:gd name="T9" fmla="*/ 113 h 128"/>
                <a:gd name="T10" fmla="*/ 55 w 102"/>
                <a:gd name="T11" fmla="*/ 110 h 128"/>
                <a:gd name="T12" fmla="*/ 48 w 102"/>
                <a:gd name="T13" fmla="*/ 100 h 128"/>
                <a:gd name="T14" fmla="*/ 48 w 102"/>
                <a:gd name="T15" fmla="*/ 100 h 128"/>
                <a:gd name="T16" fmla="*/ 43 w 102"/>
                <a:gd name="T17" fmla="*/ 103 h 128"/>
                <a:gd name="T18" fmla="*/ 42 w 102"/>
                <a:gd name="T19" fmla="*/ 106 h 128"/>
                <a:gd name="T20" fmla="*/ 39 w 102"/>
                <a:gd name="T21" fmla="*/ 106 h 128"/>
                <a:gd name="T22" fmla="*/ 39 w 102"/>
                <a:gd name="T23" fmla="*/ 106 h 128"/>
                <a:gd name="T24" fmla="*/ 30 w 102"/>
                <a:gd name="T25" fmla="*/ 101 h 128"/>
                <a:gd name="T26" fmla="*/ 21 w 102"/>
                <a:gd name="T27" fmla="*/ 103 h 128"/>
                <a:gd name="T28" fmla="*/ 16 w 102"/>
                <a:gd name="T29" fmla="*/ 95 h 128"/>
                <a:gd name="T30" fmla="*/ 13 w 102"/>
                <a:gd name="T31" fmla="*/ 86 h 128"/>
                <a:gd name="T32" fmla="*/ 16 w 102"/>
                <a:gd name="T33" fmla="*/ 80 h 128"/>
                <a:gd name="T34" fmla="*/ 10 w 102"/>
                <a:gd name="T35" fmla="*/ 69 h 128"/>
                <a:gd name="T36" fmla="*/ 15 w 102"/>
                <a:gd name="T37" fmla="*/ 60 h 128"/>
                <a:gd name="T38" fmla="*/ 0 w 102"/>
                <a:gd name="T39" fmla="*/ 45 h 128"/>
                <a:gd name="T40" fmla="*/ 3 w 102"/>
                <a:gd name="T41" fmla="*/ 41 h 128"/>
                <a:gd name="T42" fmla="*/ 24 w 102"/>
                <a:gd name="T43" fmla="*/ 45 h 128"/>
                <a:gd name="T44" fmla="*/ 30 w 102"/>
                <a:gd name="T45" fmla="*/ 38 h 128"/>
                <a:gd name="T46" fmla="*/ 36 w 102"/>
                <a:gd name="T47" fmla="*/ 29 h 128"/>
                <a:gd name="T48" fmla="*/ 21 w 102"/>
                <a:gd name="T49" fmla="*/ 21 h 128"/>
                <a:gd name="T50" fmla="*/ 21 w 102"/>
                <a:gd name="T51" fmla="*/ 17 h 128"/>
                <a:gd name="T52" fmla="*/ 33 w 102"/>
                <a:gd name="T53" fmla="*/ 23 h 128"/>
                <a:gd name="T54" fmla="*/ 52 w 102"/>
                <a:gd name="T55" fmla="*/ 18 h 128"/>
                <a:gd name="T56" fmla="*/ 40 w 102"/>
                <a:gd name="T57" fmla="*/ 30 h 128"/>
                <a:gd name="T58" fmla="*/ 45 w 102"/>
                <a:gd name="T59" fmla="*/ 33 h 128"/>
                <a:gd name="T60" fmla="*/ 43 w 102"/>
                <a:gd name="T61" fmla="*/ 41 h 128"/>
                <a:gd name="T62" fmla="*/ 55 w 102"/>
                <a:gd name="T63" fmla="*/ 48 h 128"/>
                <a:gd name="T64" fmla="*/ 60 w 102"/>
                <a:gd name="T65" fmla="*/ 33 h 128"/>
                <a:gd name="T66" fmla="*/ 63 w 102"/>
                <a:gd name="T67" fmla="*/ 32 h 128"/>
                <a:gd name="T68" fmla="*/ 70 w 102"/>
                <a:gd name="T69" fmla="*/ 38 h 128"/>
                <a:gd name="T70" fmla="*/ 70 w 102"/>
                <a:gd name="T71" fmla="*/ 29 h 128"/>
                <a:gd name="T72" fmla="*/ 64 w 102"/>
                <a:gd name="T73" fmla="*/ 21 h 128"/>
                <a:gd name="T74" fmla="*/ 84 w 102"/>
                <a:gd name="T75" fmla="*/ 0 h 128"/>
                <a:gd name="T76" fmla="*/ 95 w 102"/>
                <a:gd name="T77" fmla="*/ 6 h 128"/>
                <a:gd name="T78" fmla="*/ 98 w 102"/>
                <a:gd name="T79" fmla="*/ 21 h 128"/>
                <a:gd name="T80" fmla="*/ 102 w 102"/>
                <a:gd name="T81" fmla="*/ 33 h 128"/>
                <a:gd name="T82" fmla="*/ 102 w 102"/>
                <a:gd name="T83" fmla="*/ 44 h 128"/>
                <a:gd name="T84" fmla="*/ 80 w 102"/>
                <a:gd name="T85" fmla="*/ 63 h 128"/>
                <a:gd name="T86" fmla="*/ 80 w 102"/>
                <a:gd name="T87" fmla="*/ 75 h 128"/>
                <a:gd name="T88" fmla="*/ 93 w 102"/>
                <a:gd name="T89" fmla="*/ 91 h 128"/>
                <a:gd name="T90" fmla="*/ 83 w 102"/>
                <a:gd name="T91" fmla="*/ 106 h 128"/>
                <a:gd name="T92" fmla="*/ 72 w 102"/>
                <a:gd name="T93" fmla="*/ 104 h 128"/>
                <a:gd name="T94" fmla="*/ 72 w 102"/>
                <a:gd name="T95" fmla="*/ 110 h 128"/>
                <a:gd name="T96" fmla="*/ 67 w 102"/>
                <a:gd name="T97" fmla="*/ 106 h 128"/>
                <a:gd name="T98" fmla="*/ 66 w 102"/>
                <a:gd name="T99" fmla="*/ 113 h 128"/>
                <a:gd name="T100" fmla="*/ 75 w 102"/>
                <a:gd name="T101" fmla="*/ 127 h 128"/>
                <a:gd name="T102" fmla="*/ 75 w 102"/>
                <a:gd name="T103" fmla="*/ 127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02" h="128">
                  <a:moveTo>
                    <a:pt x="75" y="127"/>
                  </a:moveTo>
                  <a:lnTo>
                    <a:pt x="66" y="128"/>
                  </a:lnTo>
                  <a:lnTo>
                    <a:pt x="58" y="121"/>
                  </a:lnTo>
                  <a:lnTo>
                    <a:pt x="51" y="121"/>
                  </a:lnTo>
                  <a:lnTo>
                    <a:pt x="46" y="113"/>
                  </a:lnTo>
                  <a:lnTo>
                    <a:pt x="55" y="110"/>
                  </a:lnTo>
                  <a:lnTo>
                    <a:pt x="48" y="100"/>
                  </a:lnTo>
                  <a:lnTo>
                    <a:pt x="48" y="100"/>
                  </a:lnTo>
                  <a:lnTo>
                    <a:pt x="43" y="103"/>
                  </a:lnTo>
                  <a:lnTo>
                    <a:pt x="42" y="106"/>
                  </a:lnTo>
                  <a:lnTo>
                    <a:pt x="39" y="106"/>
                  </a:lnTo>
                  <a:lnTo>
                    <a:pt x="39" y="106"/>
                  </a:lnTo>
                  <a:lnTo>
                    <a:pt x="30" y="101"/>
                  </a:lnTo>
                  <a:lnTo>
                    <a:pt x="21" y="103"/>
                  </a:lnTo>
                  <a:lnTo>
                    <a:pt x="16" y="95"/>
                  </a:lnTo>
                  <a:lnTo>
                    <a:pt x="13" y="86"/>
                  </a:lnTo>
                  <a:lnTo>
                    <a:pt x="16" y="80"/>
                  </a:lnTo>
                  <a:lnTo>
                    <a:pt x="10" y="69"/>
                  </a:lnTo>
                  <a:lnTo>
                    <a:pt x="15" y="60"/>
                  </a:lnTo>
                  <a:lnTo>
                    <a:pt x="0" y="45"/>
                  </a:lnTo>
                  <a:lnTo>
                    <a:pt x="3" y="41"/>
                  </a:lnTo>
                  <a:lnTo>
                    <a:pt x="24" y="45"/>
                  </a:lnTo>
                  <a:lnTo>
                    <a:pt x="30" y="38"/>
                  </a:lnTo>
                  <a:lnTo>
                    <a:pt x="36" y="29"/>
                  </a:lnTo>
                  <a:lnTo>
                    <a:pt x="21" y="21"/>
                  </a:lnTo>
                  <a:lnTo>
                    <a:pt x="21" y="17"/>
                  </a:lnTo>
                  <a:lnTo>
                    <a:pt x="33" y="23"/>
                  </a:lnTo>
                  <a:lnTo>
                    <a:pt x="52" y="18"/>
                  </a:lnTo>
                  <a:lnTo>
                    <a:pt x="40" y="30"/>
                  </a:lnTo>
                  <a:lnTo>
                    <a:pt x="45" y="33"/>
                  </a:lnTo>
                  <a:lnTo>
                    <a:pt x="43" y="41"/>
                  </a:lnTo>
                  <a:lnTo>
                    <a:pt x="55" y="48"/>
                  </a:lnTo>
                  <a:lnTo>
                    <a:pt x="60" y="33"/>
                  </a:lnTo>
                  <a:lnTo>
                    <a:pt x="63" y="32"/>
                  </a:lnTo>
                  <a:lnTo>
                    <a:pt x="70" y="38"/>
                  </a:lnTo>
                  <a:lnTo>
                    <a:pt x="70" y="29"/>
                  </a:lnTo>
                  <a:lnTo>
                    <a:pt x="64" y="21"/>
                  </a:lnTo>
                  <a:lnTo>
                    <a:pt x="84" y="0"/>
                  </a:lnTo>
                  <a:lnTo>
                    <a:pt x="95" y="6"/>
                  </a:lnTo>
                  <a:lnTo>
                    <a:pt x="98" y="21"/>
                  </a:lnTo>
                  <a:lnTo>
                    <a:pt x="102" y="33"/>
                  </a:lnTo>
                  <a:lnTo>
                    <a:pt x="102" y="44"/>
                  </a:lnTo>
                  <a:lnTo>
                    <a:pt x="80" y="63"/>
                  </a:lnTo>
                  <a:lnTo>
                    <a:pt x="80" y="75"/>
                  </a:lnTo>
                  <a:lnTo>
                    <a:pt x="93" y="91"/>
                  </a:lnTo>
                  <a:lnTo>
                    <a:pt x="83" y="106"/>
                  </a:lnTo>
                  <a:lnTo>
                    <a:pt x="72" y="104"/>
                  </a:lnTo>
                  <a:lnTo>
                    <a:pt x="72" y="110"/>
                  </a:lnTo>
                  <a:lnTo>
                    <a:pt x="67" y="106"/>
                  </a:lnTo>
                  <a:lnTo>
                    <a:pt x="66" y="113"/>
                  </a:lnTo>
                  <a:lnTo>
                    <a:pt x="75" y="127"/>
                  </a:lnTo>
                  <a:lnTo>
                    <a:pt x="75" y="1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142" name="Freeform 497"/>
            <p:cNvSpPr>
              <a:spLocks/>
            </p:cNvSpPr>
            <p:nvPr userDrawn="1"/>
          </p:nvSpPr>
          <p:spPr bwMode="auto">
            <a:xfrm>
              <a:off x="4108" y="2006"/>
              <a:ext cx="11" cy="22"/>
            </a:xfrm>
            <a:custGeom>
              <a:avLst/>
              <a:gdLst>
                <a:gd name="T0" fmla="*/ 0 w 11"/>
                <a:gd name="T1" fmla="*/ 18 h 22"/>
                <a:gd name="T2" fmla="*/ 8 w 11"/>
                <a:gd name="T3" fmla="*/ 22 h 22"/>
                <a:gd name="T4" fmla="*/ 11 w 11"/>
                <a:gd name="T5" fmla="*/ 12 h 22"/>
                <a:gd name="T6" fmla="*/ 3 w 11"/>
                <a:gd name="T7" fmla="*/ 0 h 22"/>
                <a:gd name="T8" fmla="*/ 8 w 11"/>
                <a:gd name="T9" fmla="*/ 12 h 22"/>
                <a:gd name="T10" fmla="*/ 0 w 11"/>
                <a:gd name="T11" fmla="*/ 18 h 22"/>
                <a:gd name="T12" fmla="*/ 0 w 11"/>
                <a:gd name="T13" fmla="*/ 18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22">
                  <a:moveTo>
                    <a:pt x="0" y="18"/>
                  </a:moveTo>
                  <a:lnTo>
                    <a:pt x="8" y="22"/>
                  </a:lnTo>
                  <a:lnTo>
                    <a:pt x="11" y="12"/>
                  </a:lnTo>
                  <a:lnTo>
                    <a:pt x="3" y="0"/>
                  </a:lnTo>
                  <a:lnTo>
                    <a:pt x="8" y="12"/>
                  </a:lnTo>
                  <a:lnTo>
                    <a:pt x="0" y="18"/>
                  </a:lnTo>
                  <a:lnTo>
                    <a:pt x="0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143" name="Freeform 498"/>
            <p:cNvSpPr>
              <a:spLocks/>
            </p:cNvSpPr>
            <p:nvPr userDrawn="1"/>
          </p:nvSpPr>
          <p:spPr bwMode="auto">
            <a:xfrm>
              <a:off x="3971" y="2064"/>
              <a:ext cx="14" cy="10"/>
            </a:xfrm>
            <a:custGeom>
              <a:avLst/>
              <a:gdLst>
                <a:gd name="T0" fmla="*/ 14 w 14"/>
                <a:gd name="T1" fmla="*/ 10 h 10"/>
                <a:gd name="T2" fmla="*/ 6 w 14"/>
                <a:gd name="T3" fmla="*/ 0 h 10"/>
                <a:gd name="T4" fmla="*/ 0 w 14"/>
                <a:gd name="T5" fmla="*/ 2 h 10"/>
                <a:gd name="T6" fmla="*/ 8 w 14"/>
                <a:gd name="T7" fmla="*/ 8 h 10"/>
                <a:gd name="T8" fmla="*/ 14 w 14"/>
                <a:gd name="T9" fmla="*/ 10 h 10"/>
                <a:gd name="T10" fmla="*/ 14 w 14"/>
                <a:gd name="T11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" h="10">
                  <a:moveTo>
                    <a:pt x="14" y="10"/>
                  </a:moveTo>
                  <a:lnTo>
                    <a:pt x="6" y="0"/>
                  </a:lnTo>
                  <a:lnTo>
                    <a:pt x="0" y="2"/>
                  </a:lnTo>
                  <a:lnTo>
                    <a:pt x="8" y="8"/>
                  </a:lnTo>
                  <a:lnTo>
                    <a:pt x="14" y="10"/>
                  </a:lnTo>
                  <a:lnTo>
                    <a:pt x="14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144" name="Freeform 499"/>
            <p:cNvSpPr>
              <a:spLocks/>
            </p:cNvSpPr>
            <p:nvPr userDrawn="1"/>
          </p:nvSpPr>
          <p:spPr bwMode="auto">
            <a:xfrm>
              <a:off x="4131" y="1849"/>
              <a:ext cx="18" cy="13"/>
            </a:xfrm>
            <a:custGeom>
              <a:avLst/>
              <a:gdLst>
                <a:gd name="T0" fmla="*/ 18 w 18"/>
                <a:gd name="T1" fmla="*/ 10 h 13"/>
                <a:gd name="T2" fmla="*/ 11 w 18"/>
                <a:gd name="T3" fmla="*/ 7 h 13"/>
                <a:gd name="T4" fmla="*/ 5 w 18"/>
                <a:gd name="T5" fmla="*/ 13 h 13"/>
                <a:gd name="T6" fmla="*/ 0 w 18"/>
                <a:gd name="T7" fmla="*/ 10 h 13"/>
                <a:gd name="T8" fmla="*/ 6 w 18"/>
                <a:gd name="T9" fmla="*/ 3 h 13"/>
                <a:gd name="T10" fmla="*/ 15 w 18"/>
                <a:gd name="T11" fmla="*/ 0 h 13"/>
                <a:gd name="T12" fmla="*/ 18 w 18"/>
                <a:gd name="T13" fmla="*/ 10 h 13"/>
                <a:gd name="T14" fmla="*/ 18 w 18"/>
                <a:gd name="T15" fmla="*/ 1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13">
                  <a:moveTo>
                    <a:pt x="18" y="10"/>
                  </a:moveTo>
                  <a:lnTo>
                    <a:pt x="11" y="7"/>
                  </a:lnTo>
                  <a:lnTo>
                    <a:pt x="5" y="13"/>
                  </a:lnTo>
                  <a:lnTo>
                    <a:pt x="0" y="10"/>
                  </a:lnTo>
                  <a:lnTo>
                    <a:pt x="6" y="3"/>
                  </a:lnTo>
                  <a:lnTo>
                    <a:pt x="15" y="0"/>
                  </a:lnTo>
                  <a:lnTo>
                    <a:pt x="18" y="10"/>
                  </a:lnTo>
                  <a:lnTo>
                    <a:pt x="18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145" name="Freeform 500"/>
            <p:cNvSpPr>
              <a:spLocks/>
            </p:cNvSpPr>
            <p:nvPr userDrawn="1"/>
          </p:nvSpPr>
          <p:spPr bwMode="auto">
            <a:xfrm>
              <a:off x="3968" y="1802"/>
              <a:ext cx="146" cy="133"/>
            </a:xfrm>
            <a:custGeom>
              <a:avLst/>
              <a:gdLst>
                <a:gd name="T0" fmla="*/ 103 w 146"/>
                <a:gd name="T1" fmla="*/ 27 h 133"/>
                <a:gd name="T2" fmla="*/ 110 w 146"/>
                <a:gd name="T3" fmla="*/ 23 h 133"/>
                <a:gd name="T4" fmla="*/ 121 w 146"/>
                <a:gd name="T5" fmla="*/ 23 h 133"/>
                <a:gd name="T6" fmla="*/ 128 w 146"/>
                <a:gd name="T7" fmla="*/ 15 h 133"/>
                <a:gd name="T8" fmla="*/ 142 w 146"/>
                <a:gd name="T9" fmla="*/ 0 h 133"/>
                <a:gd name="T10" fmla="*/ 146 w 146"/>
                <a:gd name="T11" fmla="*/ 1 h 133"/>
                <a:gd name="T12" fmla="*/ 140 w 146"/>
                <a:gd name="T13" fmla="*/ 7 h 133"/>
                <a:gd name="T14" fmla="*/ 134 w 146"/>
                <a:gd name="T15" fmla="*/ 24 h 133"/>
                <a:gd name="T16" fmla="*/ 140 w 146"/>
                <a:gd name="T17" fmla="*/ 32 h 133"/>
                <a:gd name="T18" fmla="*/ 145 w 146"/>
                <a:gd name="T19" fmla="*/ 44 h 133"/>
                <a:gd name="T20" fmla="*/ 143 w 146"/>
                <a:gd name="T21" fmla="*/ 56 h 133"/>
                <a:gd name="T22" fmla="*/ 134 w 146"/>
                <a:gd name="T23" fmla="*/ 69 h 133"/>
                <a:gd name="T24" fmla="*/ 128 w 146"/>
                <a:gd name="T25" fmla="*/ 83 h 133"/>
                <a:gd name="T26" fmla="*/ 127 w 146"/>
                <a:gd name="T27" fmla="*/ 89 h 133"/>
                <a:gd name="T28" fmla="*/ 122 w 146"/>
                <a:gd name="T29" fmla="*/ 87 h 133"/>
                <a:gd name="T30" fmla="*/ 116 w 146"/>
                <a:gd name="T31" fmla="*/ 81 h 133"/>
                <a:gd name="T32" fmla="*/ 106 w 146"/>
                <a:gd name="T33" fmla="*/ 80 h 133"/>
                <a:gd name="T34" fmla="*/ 95 w 146"/>
                <a:gd name="T35" fmla="*/ 77 h 133"/>
                <a:gd name="T36" fmla="*/ 89 w 146"/>
                <a:gd name="T37" fmla="*/ 83 h 133"/>
                <a:gd name="T38" fmla="*/ 80 w 146"/>
                <a:gd name="T39" fmla="*/ 80 h 133"/>
                <a:gd name="T40" fmla="*/ 66 w 146"/>
                <a:gd name="T41" fmla="*/ 89 h 133"/>
                <a:gd name="T42" fmla="*/ 56 w 146"/>
                <a:gd name="T43" fmla="*/ 84 h 133"/>
                <a:gd name="T44" fmla="*/ 54 w 146"/>
                <a:gd name="T45" fmla="*/ 75 h 133"/>
                <a:gd name="T46" fmla="*/ 36 w 146"/>
                <a:gd name="T47" fmla="*/ 86 h 133"/>
                <a:gd name="T48" fmla="*/ 32 w 146"/>
                <a:gd name="T49" fmla="*/ 93 h 133"/>
                <a:gd name="T50" fmla="*/ 15 w 146"/>
                <a:gd name="T51" fmla="*/ 100 h 133"/>
                <a:gd name="T52" fmla="*/ 12 w 146"/>
                <a:gd name="T53" fmla="*/ 112 h 133"/>
                <a:gd name="T54" fmla="*/ 20 w 146"/>
                <a:gd name="T55" fmla="*/ 116 h 133"/>
                <a:gd name="T56" fmla="*/ 20 w 146"/>
                <a:gd name="T57" fmla="*/ 119 h 133"/>
                <a:gd name="T58" fmla="*/ 24 w 146"/>
                <a:gd name="T59" fmla="*/ 124 h 133"/>
                <a:gd name="T60" fmla="*/ 23 w 146"/>
                <a:gd name="T61" fmla="*/ 133 h 133"/>
                <a:gd name="T62" fmla="*/ 17 w 146"/>
                <a:gd name="T63" fmla="*/ 131 h 133"/>
                <a:gd name="T64" fmla="*/ 18 w 146"/>
                <a:gd name="T65" fmla="*/ 124 h 133"/>
                <a:gd name="T66" fmla="*/ 12 w 146"/>
                <a:gd name="T67" fmla="*/ 127 h 133"/>
                <a:gd name="T68" fmla="*/ 6 w 146"/>
                <a:gd name="T69" fmla="*/ 118 h 133"/>
                <a:gd name="T70" fmla="*/ 0 w 146"/>
                <a:gd name="T71" fmla="*/ 116 h 133"/>
                <a:gd name="T72" fmla="*/ 2 w 146"/>
                <a:gd name="T73" fmla="*/ 109 h 133"/>
                <a:gd name="T74" fmla="*/ 5 w 146"/>
                <a:gd name="T75" fmla="*/ 90 h 133"/>
                <a:gd name="T76" fmla="*/ 21 w 146"/>
                <a:gd name="T77" fmla="*/ 75 h 133"/>
                <a:gd name="T78" fmla="*/ 39 w 146"/>
                <a:gd name="T79" fmla="*/ 72 h 133"/>
                <a:gd name="T80" fmla="*/ 48 w 146"/>
                <a:gd name="T81" fmla="*/ 66 h 133"/>
                <a:gd name="T82" fmla="*/ 76 w 146"/>
                <a:gd name="T83" fmla="*/ 63 h 133"/>
                <a:gd name="T84" fmla="*/ 89 w 146"/>
                <a:gd name="T85" fmla="*/ 42 h 133"/>
                <a:gd name="T86" fmla="*/ 103 w 146"/>
                <a:gd name="T87" fmla="*/ 27 h 133"/>
                <a:gd name="T88" fmla="*/ 103 w 146"/>
                <a:gd name="T89" fmla="*/ 27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46" h="133">
                  <a:moveTo>
                    <a:pt x="103" y="27"/>
                  </a:moveTo>
                  <a:lnTo>
                    <a:pt x="110" y="23"/>
                  </a:lnTo>
                  <a:lnTo>
                    <a:pt x="121" y="23"/>
                  </a:lnTo>
                  <a:lnTo>
                    <a:pt x="128" y="15"/>
                  </a:lnTo>
                  <a:lnTo>
                    <a:pt x="142" y="0"/>
                  </a:lnTo>
                  <a:lnTo>
                    <a:pt x="146" y="1"/>
                  </a:lnTo>
                  <a:lnTo>
                    <a:pt x="140" y="7"/>
                  </a:lnTo>
                  <a:lnTo>
                    <a:pt x="134" y="24"/>
                  </a:lnTo>
                  <a:lnTo>
                    <a:pt x="140" y="32"/>
                  </a:lnTo>
                  <a:lnTo>
                    <a:pt x="145" y="44"/>
                  </a:lnTo>
                  <a:lnTo>
                    <a:pt x="143" y="56"/>
                  </a:lnTo>
                  <a:lnTo>
                    <a:pt x="134" y="69"/>
                  </a:lnTo>
                  <a:lnTo>
                    <a:pt x="128" y="83"/>
                  </a:lnTo>
                  <a:lnTo>
                    <a:pt x="127" y="89"/>
                  </a:lnTo>
                  <a:lnTo>
                    <a:pt x="122" y="87"/>
                  </a:lnTo>
                  <a:lnTo>
                    <a:pt x="116" y="81"/>
                  </a:lnTo>
                  <a:lnTo>
                    <a:pt x="106" y="80"/>
                  </a:lnTo>
                  <a:lnTo>
                    <a:pt x="95" y="77"/>
                  </a:lnTo>
                  <a:lnTo>
                    <a:pt x="89" y="83"/>
                  </a:lnTo>
                  <a:lnTo>
                    <a:pt x="80" y="80"/>
                  </a:lnTo>
                  <a:lnTo>
                    <a:pt x="66" y="89"/>
                  </a:lnTo>
                  <a:lnTo>
                    <a:pt x="56" y="84"/>
                  </a:lnTo>
                  <a:lnTo>
                    <a:pt x="54" y="75"/>
                  </a:lnTo>
                  <a:lnTo>
                    <a:pt x="36" y="86"/>
                  </a:lnTo>
                  <a:lnTo>
                    <a:pt x="32" y="93"/>
                  </a:lnTo>
                  <a:lnTo>
                    <a:pt x="15" y="100"/>
                  </a:lnTo>
                  <a:lnTo>
                    <a:pt x="12" y="112"/>
                  </a:lnTo>
                  <a:lnTo>
                    <a:pt x="20" y="116"/>
                  </a:lnTo>
                  <a:lnTo>
                    <a:pt x="20" y="119"/>
                  </a:lnTo>
                  <a:lnTo>
                    <a:pt x="24" y="124"/>
                  </a:lnTo>
                  <a:lnTo>
                    <a:pt x="23" y="133"/>
                  </a:lnTo>
                  <a:lnTo>
                    <a:pt x="17" y="131"/>
                  </a:lnTo>
                  <a:lnTo>
                    <a:pt x="18" y="124"/>
                  </a:lnTo>
                  <a:lnTo>
                    <a:pt x="12" y="127"/>
                  </a:lnTo>
                  <a:lnTo>
                    <a:pt x="6" y="118"/>
                  </a:lnTo>
                  <a:lnTo>
                    <a:pt x="0" y="116"/>
                  </a:lnTo>
                  <a:lnTo>
                    <a:pt x="2" y="109"/>
                  </a:lnTo>
                  <a:lnTo>
                    <a:pt x="5" y="90"/>
                  </a:lnTo>
                  <a:lnTo>
                    <a:pt x="21" y="75"/>
                  </a:lnTo>
                  <a:lnTo>
                    <a:pt x="39" y="72"/>
                  </a:lnTo>
                  <a:lnTo>
                    <a:pt x="48" y="66"/>
                  </a:lnTo>
                  <a:lnTo>
                    <a:pt x="76" y="63"/>
                  </a:lnTo>
                  <a:lnTo>
                    <a:pt x="89" y="42"/>
                  </a:lnTo>
                  <a:lnTo>
                    <a:pt x="103" y="27"/>
                  </a:lnTo>
                  <a:lnTo>
                    <a:pt x="103" y="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146" name="Freeform 501"/>
            <p:cNvSpPr>
              <a:spLocks/>
            </p:cNvSpPr>
            <p:nvPr userDrawn="1"/>
          </p:nvSpPr>
          <p:spPr bwMode="auto">
            <a:xfrm>
              <a:off x="3988" y="1898"/>
              <a:ext cx="22" cy="20"/>
            </a:xfrm>
            <a:custGeom>
              <a:avLst/>
              <a:gdLst>
                <a:gd name="T0" fmla="*/ 22 w 22"/>
                <a:gd name="T1" fmla="*/ 2 h 20"/>
                <a:gd name="T2" fmla="*/ 12 w 22"/>
                <a:gd name="T3" fmla="*/ 0 h 20"/>
                <a:gd name="T4" fmla="*/ 10 w 22"/>
                <a:gd name="T5" fmla="*/ 7 h 20"/>
                <a:gd name="T6" fmla="*/ 1 w 22"/>
                <a:gd name="T7" fmla="*/ 5 h 20"/>
                <a:gd name="T8" fmla="*/ 0 w 22"/>
                <a:gd name="T9" fmla="*/ 11 h 20"/>
                <a:gd name="T10" fmla="*/ 6 w 22"/>
                <a:gd name="T11" fmla="*/ 20 h 20"/>
                <a:gd name="T12" fmla="*/ 19 w 22"/>
                <a:gd name="T13" fmla="*/ 14 h 20"/>
                <a:gd name="T14" fmla="*/ 22 w 22"/>
                <a:gd name="T15" fmla="*/ 2 h 20"/>
                <a:gd name="T16" fmla="*/ 22 w 22"/>
                <a:gd name="T1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" h="20">
                  <a:moveTo>
                    <a:pt x="22" y="2"/>
                  </a:moveTo>
                  <a:lnTo>
                    <a:pt x="12" y="0"/>
                  </a:lnTo>
                  <a:lnTo>
                    <a:pt x="10" y="7"/>
                  </a:lnTo>
                  <a:lnTo>
                    <a:pt x="1" y="5"/>
                  </a:lnTo>
                  <a:lnTo>
                    <a:pt x="0" y="11"/>
                  </a:lnTo>
                  <a:lnTo>
                    <a:pt x="6" y="20"/>
                  </a:lnTo>
                  <a:lnTo>
                    <a:pt x="19" y="14"/>
                  </a:lnTo>
                  <a:lnTo>
                    <a:pt x="22" y="2"/>
                  </a:lnTo>
                  <a:lnTo>
                    <a:pt x="22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147" name="Freeform 502"/>
            <p:cNvSpPr>
              <a:spLocks/>
            </p:cNvSpPr>
            <p:nvPr userDrawn="1"/>
          </p:nvSpPr>
          <p:spPr bwMode="auto">
            <a:xfrm>
              <a:off x="3983" y="2092"/>
              <a:ext cx="5" cy="18"/>
            </a:xfrm>
            <a:custGeom>
              <a:avLst/>
              <a:gdLst>
                <a:gd name="T0" fmla="*/ 0 w 5"/>
                <a:gd name="T1" fmla="*/ 18 h 18"/>
                <a:gd name="T2" fmla="*/ 0 w 5"/>
                <a:gd name="T3" fmla="*/ 12 h 18"/>
                <a:gd name="T4" fmla="*/ 2 w 5"/>
                <a:gd name="T5" fmla="*/ 0 h 18"/>
                <a:gd name="T6" fmla="*/ 5 w 5"/>
                <a:gd name="T7" fmla="*/ 6 h 18"/>
                <a:gd name="T8" fmla="*/ 3 w 5"/>
                <a:gd name="T9" fmla="*/ 12 h 18"/>
                <a:gd name="T10" fmla="*/ 0 w 5"/>
                <a:gd name="T11" fmla="*/ 18 h 18"/>
                <a:gd name="T12" fmla="*/ 0 w 5"/>
                <a:gd name="T13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18">
                  <a:moveTo>
                    <a:pt x="0" y="18"/>
                  </a:moveTo>
                  <a:lnTo>
                    <a:pt x="0" y="12"/>
                  </a:lnTo>
                  <a:lnTo>
                    <a:pt x="2" y="0"/>
                  </a:lnTo>
                  <a:lnTo>
                    <a:pt x="5" y="6"/>
                  </a:lnTo>
                  <a:lnTo>
                    <a:pt x="3" y="12"/>
                  </a:lnTo>
                  <a:lnTo>
                    <a:pt x="0" y="18"/>
                  </a:lnTo>
                  <a:lnTo>
                    <a:pt x="0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148" name="Freeform 503"/>
            <p:cNvSpPr>
              <a:spLocks/>
            </p:cNvSpPr>
            <p:nvPr userDrawn="1"/>
          </p:nvSpPr>
          <p:spPr bwMode="auto">
            <a:xfrm>
              <a:off x="3983" y="2143"/>
              <a:ext cx="9" cy="12"/>
            </a:xfrm>
            <a:custGeom>
              <a:avLst/>
              <a:gdLst>
                <a:gd name="T0" fmla="*/ 8 w 9"/>
                <a:gd name="T1" fmla="*/ 0 h 12"/>
                <a:gd name="T2" fmla="*/ 8 w 9"/>
                <a:gd name="T3" fmla="*/ 0 h 12"/>
                <a:gd name="T4" fmla="*/ 2 w 9"/>
                <a:gd name="T5" fmla="*/ 1 h 12"/>
                <a:gd name="T6" fmla="*/ 0 w 9"/>
                <a:gd name="T7" fmla="*/ 6 h 12"/>
                <a:gd name="T8" fmla="*/ 5 w 9"/>
                <a:gd name="T9" fmla="*/ 12 h 12"/>
                <a:gd name="T10" fmla="*/ 9 w 9"/>
                <a:gd name="T11" fmla="*/ 7 h 12"/>
                <a:gd name="T12" fmla="*/ 9 w 9"/>
                <a:gd name="T13" fmla="*/ 7 h 12"/>
                <a:gd name="T14" fmla="*/ 8 w 9"/>
                <a:gd name="T15" fmla="*/ 0 h 12"/>
                <a:gd name="T16" fmla="*/ 8 w 9"/>
                <a:gd name="T17" fmla="*/ 0 h 12"/>
                <a:gd name="T18" fmla="*/ 8 w 9"/>
                <a:gd name="T1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" h="12">
                  <a:moveTo>
                    <a:pt x="8" y="0"/>
                  </a:moveTo>
                  <a:lnTo>
                    <a:pt x="8" y="0"/>
                  </a:lnTo>
                  <a:lnTo>
                    <a:pt x="2" y="1"/>
                  </a:lnTo>
                  <a:lnTo>
                    <a:pt x="0" y="6"/>
                  </a:lnTo>
                  <a:lnTo>
                    <a:pt x="5" y="12"/>
                  </a:lnTo>
                  <a:lnTo>
                    <a:pt x="9" y="7"/>
                  </a:lnTo>
                  <a:lnTo>
                    <a:pt x="9" y="7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149" name="Freeform 504"/>
            <p:cNvSpPr>
              <a:spLocks/>
            </p:cNvSpPr>
            <p:nvPr userDrawn="1"/>
          </p:nvSpPr>
          <p:spPr bwMode="auto">
            <a:xfrm>
              <a:off x="3979" y="2155"/>
              <a:ext cx="4" cy="8"/>
            </a:xfrm>
            <a:custGeom>
              <a:avLst/>
              <a:gdLst>
                <a:gd name="T0" fmla="*/ 0 w 4"/>
                <a:gd name="T1" fmla="*/ 0 h 8"/>
                <a:gd name="T2" fmla="*/ 3 w 4"/>
                <a:gd name="T3" fmla="*/ 8 h 8"/>
                <a:gd name="T4" fmla="*/ 4 w 4"/>
                <a:gd name="T5" fmla="*/ 3 h 8"/>
                <a:gd name="T6" fmla="*/ 0 w 4"/>
                <a:gd name="T7" fmla="*/ 0 h 8"/>
                <a:gd name="T8" fmla="*/ 0 w 4"/>
                <a:gd name="T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8">
                  <a:moveTo>
                    <a:pt x="0" y="0"/>
                  </a:moveTo>
                  <a:lnTo>
                    <a:pt x="3" y="8"/>
                  </a:lnTo>
                  <a:lnTo>
                    <a:pt x="4" y="3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150" name="Freeform 505"/>
            <p:cNvSpPr>
              <a:spLocks/>
            </p:cNvSpPr>
            <p:nvPr userDrawn="1"/>
          </p:nvSpPr>
          <p:spPr bwMode="auto">
            <a:xfrm>
              <a:off x="3991" y="2158"/>
              <a:ext cx="6" cy="8"/>
            </a:xfrm>
            <a:custGeom>
              <a:avLst/>
              <a:gdLst>
                <a:gd name="T0" fmla="*/ 1 w 6"/>
                <a:gd name="T1" fmla="*/ 8 h 8"/>
                <a:gd name="T2" fmla="*/ 0 w 6"/>
                <a:gd name="T3" fmla="*/ 2 h 8"/>
                <a:gd name="T4" fmla="*/ 6 w 6"/>
                <a:gd name="T5" fmla="*/ 0 h 8"/>
                <a:gd name="T6" fmla="*/ 1 w 6"/>
                <a:gd name="T7" fmla="*/ 8 h 8"/>
                <a:gd name="T8" fmla="*/ 1 w 6"/>
                <a:gd name="T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">
                  <a:moveTo>
                    <a:pt x="1" y="8"/>
                  </a:moveTo>
                  <a:lnTo>
                    <a:pt x="0" y="2"/>
                  </a:lnTo>
                  <a:lnTo>
                    <a:pt x="6" y="0"/>
                  </a:lnTo>
                  <a:lnTo>
                    <a:pt x="1" y="8"/>
                  </a:lnTo>
                  <a:lnTo>
                    <a:pt x="1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151" name="Freeform 506"/>
            <p:cNvSpPr>
              <a:spLocks/>
            </p:cNvSpPr>
            <p:nvPr userDrawn="1"/>
          </p:nvSpPr>
          <p:spPr bwMode="auto">
            <a:xfrm>
              <a:off x="3745" y="2306"/>
              <a:ext cx="13" cy="27"/>
            </a:xfrm>
            <a:custGeom>
              <a:avLst/>
              <a:gdLst>
                <a:gd name="T0" fmla="*/ 10 w 13"/>
                <a:gd name="T1" fmla="*/ 27 h 27"/>
                <a:gd name="T2" fmla="*/ 0 w 13"/>
                <a:gd name="T3" fmla="*/ 27 h 27"/>
                <a:gd name="T4" fmla="*/ 1 w 13"/>
                <a:gd name="T5" fmla="*/ 10 h 27"/>
                <a:gd name="T6" fmla="*/ 7 w 13"/>
                <a:gd name="T7" fmla="*/ 3 h 27"/>
                <a:gd name="T8" fmla="*/ 13 w 13"/>
                <a:gd name="T9" fmla="*/ 0 h 27"/>
                <a:gd name="T10" fmla="*/ 13 w 13"/>
                <a:gd name="T11" fmla="*/ 7 h 27"/>
                <a:gd name="T12" fmla="*/ 12 w 13"/>
                <a:gd name="T13" fmla="*/ 15 h 27"/>
                <a:gd name="T14" fmla="*/ 10 w 13"/>
                <a:gd name="T15" fmla="*/ 27 h 27"/>
                <a:gd name="T16" fmla="*/ 10 w 13"/>
                <a:gd name="T17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" h="27">
                  <a:moveTo>
                    <a:pt x="10" y="27"/>
                  </a:moveTo>
                  <a:lnTo>
                    <a:pt x="0" y="27"/>
                  </a:lnTo>
                  <a:lnTo>
                    <a:pt x="1" y="10"/>
                  </a:lnTo>
                  <a:lnTo>
                    <a:pt x="7" y="3"/>
                  </a:lnTo>
                  <a:lnTo>
                    <a:pt x="13" y="0"/>
                  </a:lnTo>
                  <a:lnTo>
                    <a:pt x="13" y="7"/>
                  </a:lnTo>
                  <a:lnTo>
                    <a:pt x="12" y="15"/>
                  </a:lnTo>
                  <a:lnTo>
                    <a:pt x="10" y="27"/>
                  </a:lnTo>
                  <a:lnTo>
                    <a:pt x="10" y="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152" name="Freeform 507"/>
            <p:cNvSpPr>
              <a:spLocks/>
            </p:cNvSpPr>
            <p:nvPr userDrawn="1"/>
          </p:nvSpPr>
          <p:spPr bwMode="auto">
            <a:xfrm>
              <a:off x="3760" y="2289"/>
              <a:ext cx="23" cy="20"/>
            </a:xfrm>
            <a:custGeom>
              <a:avLst/>
              <a:gdLst>
                <a:gd name="T0" fmla="*/ 1 w 23"/>
                <a:gd name="T1" fmla="*/ 20 h 20"/>
                <a:gd name="T2" fmla="*/ 0 w 23"/>
                <a:gd name="T3" fmla="*/ 14 h 20"/>
                <a:gd name="T4" fmla="*/ 6 w 23"/>
                <a:gd name="T5" fmla="*/ 8 h 20"/>
                <a:gd name="T6" fmla="*/ 20 w 23"/>
                <a:gd name="T7" fmla="*/ 0 h 20"/>
                <a:gd name="T8" fmla="*/ 23 w 23"/>
                <a:gd name="T9" fmla="*/ 2 h 20"/>
                <a:gd name="T10" fmla="*/ 11 w 23"/>
                <a:gd name="T11" fmla="*/ 9 h 20"/>
                <a:gd name="T12" fmla="*/ 6 w 23"/>
                <a:gd name="T13" fmla="*/ 14 h 20"/>
                <a:gd name="T14" fmla="*/ 1 w 23"/>
                <a:gd name="T15" fmla="*/ 20 h 20"/>
                <a:gd name="T16" fmla="*/ 1 w 23"/>
                <a:gd name="T17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" h="20">
                  <a:moveTo>
                    <a:pt x="1" y="20"/>
                  </a:moveTo>
                  <a:lnTo>
                    <a:pt x="0" y="14"/>
                  </a:lnTo>
                  <a:lnTo>
                    <a:pt x="6" y="8"/>
                  </a:lnTo>
                  <a:lnTo>
                    <a:pt x="20" y="0"/>
                  </a:lnTo>
                  <a:lnTo>
                    <a:pt x="23" y="2"/>
                  </a:lnTo>
                  <a:lnTo>
                    <a:pt x="11" y="9"/>
                  </a:lnTo>
                  <a:lnTo>
                    <a:pt x="6" y="14"/>
                  </a:lnTo>
                  <a:lnTo>
                    <a:pt x="1" y="20"/>
                  </a:lnTo>
                  <a:lnTo>
                    <a:pt x="1" y="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153" name="Freeform 508"/>
            <p:cNvSpPr>
              <a:spLocks/>
            </p:cNvSpPr>
            <p:nvPr userDrawn="1"/>
          </p:nvSpPr>
          <p:spPr bwMode="auto">
            <a:xfrm>
              <a:off x="3784" y="2279"/>
              <a:ext cx="29" cy="10"/>
            </a:xfrm>
            <a:custGeom>
              <a:avLst/>
              <a:gdLst>
                <a:gd name="T0" fmla="*/ 0 w 29"/>
                <a:gd name="T1" fmla="*/ 6 h 10"/>
                <a:gd name="T2" fmla="*/ 3 w 29"/>
                <a:gd name="T3" fmla="*/ 10 h 10"/>
                <a:gd name="T4" fmla="*/ 11 w 29"/>
                <a:gd name="T5" fmla="*/ 9 h 10"/>
                <a:gd name="T6" fmla="*/ 15 w 29"/>
                <a:gd name="T7" fmla="*/ 6 h 10"/>
                <a:gd name="T8" fmla="*/ 24 w 29"/>
                <a:gd name="T9" fmla="*/ 3 h 10"/>
                <a:gd name="T10" fmla="*/ 29 w 29"/>
                <a:gd name="T11" fmla="*/ 3 h 10"/>
                <a:gd name="T12" fmla="*/ 29 w 29"/>
                <a:gd name="T13" fmla="*/ 0 h 10"/>
                <a:gd name="T14" fmla="*/ 18 w 29"/>
                <a:gd name="T15" fmla="*/ 1 h 10"/>
                <a:gd name="T16" fmla="*/ 0 w 29"/>
                <a:gd name="T17" fmla="*/ 6 h 10"/>
                <a:gd name="T18" fmla="*/ 0 w 29"/>
                <a:gd name="T19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9" h="10">
                  <a:moveTo>
                    <a:pt x="0" y="6"/>
                  </a:moveTo>
                  <a:lnTo>
                    <a:pt x="3" y="10"/>
                  </a:lnTo>
                  <a:lnTo>
                    <a:pt x="11" y="9"/>
                  </a:lnTo>
                  <a:lnTo>
                    <a:pt x="15" y="6"/>
                  </a:lnTo>
                  <a:lnTo>
                    <a:pt x="24" y="3"/>
                  </a:lnTo>
                  <a:lnTo>
                    <a:pt x="29" y="3"/>
                  </a:lnTo>
                  <a:lnTo>
                    <a:pt x="29" y="0"/>
                  </a:lnTo>
                  <a:lnTo>
                    <a:pt x="18" y="1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154" name="Freeform 509"/>
            <p:cNvSpPr>
              <a:spLocks/>
            </p:cNvSpPr>
            <p:nvPr userDrawn="1"/>
          </p:nvSpPr>
          <p:spPr bwMode="auto">
            <a:xfrm>
              <a:off x="3817" y="2276"/>
              <a:ext cx="29" cy="7"/>
            </a:xfrm>
            <a:custGeom>
              <a:avLst/>
              <a:gdLst>
                <a:gd name="T0" fmla="*/ 0 w 29"/>
                <a:gd name="T1" fmla="*/ 7 h 7"/>
                <a:gd name="T2" fmla="*/ 3 w 29"/>
                <a:gd name="T3" fmla="*/ 3 h 7"/>
                <a:gd name="T4" fmla="*/ 14 w 29"/>
                <a:gd name="T5" fmla="*/ 3 h 7"/>
                <a:gd name="T6" fmla="*/ 23 w 29"/>
                <a:gd name="T7" fmla="*/ 1 h 7"/>
                <a:gd name="T8" fmla="*/ 29 w 29"/>
                <a:gd name="T9" fmla="*/ 0 h 7"/>
                <a:gd name="T10" fmla="*/ 17 w 29"/>
                <a:gd name="T11" fmla="*/ 7 h 7"/>
                <a:gd name="T12" fmla="*/ 8 w 29"/>
                <a:gd name="T13" fmla="*/ 6 h 7"/>
                <a:gd name="T14" fmla="*/ 0 w 29"/>
                <a:gd name="T15" fmla="*/ 7 h 7"/>
                <a:gd name="T16" fmla="*/ 0 w 29"/>
                <a:gd name="T1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7">
                  <a:moveTo>
                    <a:pt x="0" y="7"/>
                  </a:moveTo>
                  <a:lnTo>
                    <a:pt x="3" y="3"/>
                  </a:lnTo>
                  <a:lnTo>
                    <a:pt x="14" y="3"/>
                  </a:lnTo>
                  <a:lnTo>
                    <a:pt x="23" y="1"/>
                  </a:lnTo>
                  <a:lnTo>
                    <a:pt x="29" y="0"/>
                  </a:lnTo>
                  <a:lnTo>
                    <a:pt x="17" y="7"/>
                  </a:lnTo>
                  <a:lnTo>
                    <a:pt x="8" y="6"/>
                  </a:lnTo>
                  <a:lnTo>
                    <a:pt x="0" y="7"/>
                  </a:lnTo>
                  <a:lnTo>
                    <a:pt x="0" y="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155" name="Freeform 510"/>
            <p:cNvSpPr>
              <a:spLocks/>
            </p:cNvSpPr>
            <p:nvPr userDrawn="1"/>
          </p:nvSpPr>
          <p:spPr bwMode="auto">
            <a:xfrm>
              <a:off x="3849" y="2273"/>
              <a:ext cx="15" cy="7"/>
            </a:xfrm>
            <a:custGeom>
              <a:avLst/>
              <a:gdLst>
                <a:gd name="T0" fmla="*/ 0 w 15"/>
                <a:gd name="T1" fmla="*/ 7 h 7"/>
                <a:gd name="T2" fmla="*/ 3 w 15"/>
                <a:gd name="T3" fmla="*/ 1 h 7"/>
                <a:gd name="T4" fmla="*/ 15 w 15"/>
                <a:gd name="T5" fmla="*/ 0 h 7"/>
                <a:gd name="T6" fmla="*/ 9 w 15"/>
                <a:gd name="T7" fmla="*/ 3 h 7"/>
                <a:gd name="T8" fmla="*/ 0 w 15"/>
                <a:gd name="T9" fmla="*/ 7 h 7"/>
                <a:gd name="T10" fmla="*/ 0 w 15"/>
                <a:gd name="T11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" h="7">
                  <a:moveTo>
                    <a:pt x="0" y="7"/>
                  </a:moveTo>
                  <a:lnTo>
                    <a:pt x="3" y="1"/>
                  </a:lnTo>
                  <a:lnTo>
                    <a:pt x="15" y="0"/>
                  </a:lnTo>
                  <a:lnTo>
                    <a:pt x="9" y="3"/>
                  </a:lnTo>
                  <a:lnTo>
                    <a:pt x="0" y="7"/>
                  </a:lnTo>
                  <a:lnTo>
                    <a:pt x="0" y="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156" name="Freeform 511"/>
            <p:cNvSpPr>
              <a:spLocks/>
            </p:cNvSpPr>
            <p:nvPr userDrawn="1"/>
          </p:nvSpPr>
          <p:spPr bwMode="auto">
            <a:xfrm>
              <a:off x="3875" y="2264"/>
              <a:ext cx="15" cy="9"/>
            </a:xfrm>
            <a:custGeom>
              <a:avLst/>
              <a:gdLst>
                <a:gd name="T0" fmla="*/ 4 w 15"/>
                <a:gd name="T1" fmla="*/ 9 h 9"/>
                <a:gd name="T2" fmla="*/ 0 w 15"/>
                <a:gd name="T3" fmla="*/ 4 h 9"/>
                <a:gd name="T4" fmla="*/ 4 w 15"/>
                <a:gd name="T5" fmla="*/ 0 h 9"/>
                <a:gd name="T6" fmla="*/ 12 w 15"/>
                <a:gd name="T7" fmla="*/ 0 h 9"/>
                <a:gd name="T8" fmla="*/ 15 w 15"/>
                <a:gd name="T9" fmla="*/ 1 h 9"/>
                <a:gd name="T10" fmla="*/ 9 w 15"/>
                <a:gd name="T11" fmla="*/ 3 h 9"/>
                <a:gd name="T12" fmla="*/ 4 w 15"/>
                <a:gd name="T13" fmla="*/ 9 h 9"/>
                <a:gd name="T14" fmla="*/ 4 w 15"/>
                <a:gd name="T15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9">
                  <a:moveTo>
                    <a:pt x="4" y="9"/>
                  </a:moveTo>
                  <a:lnTo>
                    <a:pt x="0" y="4"/>
                  </a:lnTo>
                  <a:lnTo>
                    <a:pt x="4" y="0"/>
                  </a:lnTo>
                  <a:lnTo>
                    <a:pt x="12" y="0"/>
                  </a:lnTo>
                  <a:lnTo>
                    <a:pt x="15" y="1"/>
                  </a:lnTo>
                  <a:lnTo>
                    <a:pt x="9" y="3"/>
                  </a:lnTo>
                  <a:lnTo>
                    <a:pt x="4" y="9"/>
                  </a:lnTo>
                  <a:lnTo>
                    <a:pt x="4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157" name="Freeform 512"/>
            <p:cNvSpPr>
              <a:spLocks/>
            </p:cNvSpPr>
            <p:nvPr userDrawn="1"/>
          </p:nvSpPr>
          <p:spPr bwMode="auto">
            <a:xfrm>
              <a:off x="3894" y="2252"/>
              <a:ext cx="15" cy="7"/>
            </a:xfrm>
            <a:custGeom>
              <a:avLst/>
              <a:gdLst>
                <a:gd name="T0" fmla="*/ 0 w 15"/>
                <a:gd name="T1" fmla="*/ 7 h 7"/>
                <a:gd name="T2" fmla="*/ 9 w 15"/>
                <a:gd name="T3" fmla="*/ 1 h 7"/>
                <a:gd name="T4" fmla="*/ 15 w 15"/>
                <a:gd name="T5" fmla="*/ 0 h 7"/>
                <a:gd name="T6" fmla="*/ 14 w 15"/>
                <a:gd name="T7" fmla="*/ 3 h 7"/>
                <a:gd name="T8" fmla="*/ 0 w 15"/>
                <a:gd name="T9" fmla="*/ 7 h 7"/>
                <a:gd name="T10" fmla="*/ 0 w 15"/>
                <a:gd name="T11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" h="7">
                  <a:moveTo>
                    <a:pt x="0" y="7"/>
                  </a:moveTo>
                  <a:lnTo>
                    <a:pt x="9" y="1"/>
                  </a:lnTo>
                  <a:lnTo>
                    <a:pt x="15" y="0"/>
                  </a:lnTo>
                  <a:lnTo>
                    <a:pt x="14" y="3"/>
                  </a:lnTo>
                  <a:lnTo>
                    <a:pt x="0" y="7"/>
                  </a:lnTo>
                  <a:lnTo>
                    <a:pt x="0" y="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158" name="Freeform 513"/>
            <p:cNvSpPr>
              <a:spLocks/>
            </p:cNvSpPr>
            <p:nvPr userDrawn="1"/>
          </p:nvSpPr>
          <p:spPr bwMode="auto">
            <a:xfrm>
              <a:off x="3918" y="2247"/>
              <a:ext cx="11" cy="3"/>
            </a:xfrm>
            <a:custGeom>
              <a:avLst/>
              <a:gdLst>
                <a:gd name="T0" fmla="*/ 0 w 11"/>
                <a:gd name="T1" fmla="*/ 2 h 3"/>
                <a:gd name="T2" fmla="*/ 11 w 11"/>
                <a:gd name="T3" fmla="*/ 0 h 3"/>
                <a:gd name="T4" fmla="*/ 9 w 11"/>
                <a:gd name="T5" fmla="*/ 3 h 3"/>
                <a:gd name="T6" fmla="*/ 0 w 11"/>
                <a:gd name="T7" fmla="*/ 2 h 3"/>
                <a:gd name="T8" fmla="*/ 0 w 11"/>
                <a:gd name="T9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3">
                  <a:moveTo>
                    <a:pt x="0" y="2"/>
                  </a:moveTo>
                  <a:lnTo>
                    <a:pt x="11" y="0"/>
                  </a:lnTo>
                  <a:lnTo>
                    <a:pt x="9" y="3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159" name="Freeform 514"/>
            <p:cNvSpPr>
              <a:spLocks/>
            </p:cNvSpPr>
            <p:nvPr userDrawn="1"/>
          </p:nvSpPr>
          <p:spPr bwMode="auto">
            <a:xfrm>
              <a:off x="3939" y="2245"/>
              <a:ext cx="11" cy="4"/>
            </a:xfrm>
            <a:custGeom>
              <a:avLst/>
              <a:gdLst>
                <a:gd name="T0" fmla="*/ 0 w 11"/>
                <a:gd name="T1" fmla="*/ 4 h 4"/>
                <a:gd name="T2" fmla="*/ 6 w 11"/>
                <a:gd name="T3" fmla="*/ 0 h 4"/>
                <a:gd name="T4" fmla="*/ 11 w 11"/>
                <a:gd name="T5" fmla="*/ 2 h 4"/>
                <a:gd name="T6" fmla="*/ 0 w 11"/>
                <a:gd name="T7" fmla="*/ 4 h 4"/>
                <a:gd name="T8" fmla="*/ 0 w 11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4">
                  <a:moveTo>
                    <a:pt x="0" y="4"/>
                  </a:moveTo>
                  <a:lnTo>
                    <a:pt x="6" y="0"/>
                  </a:lnTo>
                  <a:lnTo>
                    <a:pt x="11" y="2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160" name="Freeform 515"/>
            <p:cNvSpPr>
              <a:spLocks/>
            </p:cNvSpPr>
            <p:nvPr userDrawn="1"/>
          </p:nvSpPr>
          <p:spPr bwMode="auto">
            <a:xfrm>
              <a:off x="3314" y="2707"/>
              <a:ext cx="15" cy="9"/>
            </a:xfrm>
            <a:custGeom>
              <a:avLst/>
              <a:gdLst>
                <a:gd name="T0" fmla="*/ 15 w 15"/>
                <a:gd name="T1" fmla="*/ 6 h 9"/>
                <a:gd name="T2" fmla="*/ 12 w 15"/>
                <a:gd name="T3" fmla="*/ 2 h 9"/>
                <a:gd name="T4" fmla="*/ 6 w 15"/>
                <a:gd name="T5" fmla="*/ 0 h 9"/>
                <a:gd name="T6" fmla="*/ 0 w 15"/>
                <a:gd name="T7" fmla="*/ 5 h 9"/>
                <a:gd name="T8" fmla="*/ 1 w 15"/>
                <a:gd name="T9" fmla="*/ 9 h 9"/>
                <a:gd name="T10" fmla="*/ 7 w 15"/>
                <a:gd name="T11" fmla="*/ 6 h 9"/>
                <a:gd name="T12" fmla="*/ 13 w 15"/>
                <a:gd name="T13" fmla="*/ 9 h 9"/>
                <a:gd name="T14" fmla="*/ 15 w 15"/>
                <a:gd name="T15" fmla="*/ 6 h 9"/>
                <a:gd name="T16" fmla="*/ 15 w 15"/>
                <a:gd name="T17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9">
                  <a:moveTo>
                    <a:pt x="15" y="6"/>
                  </a:moveTo>
                  <a:lnTo>
                    <a:pt x="12" y="2"/>
                  </a:lnTo>
                  <a:lnTo>
                    <a:pt x="6" y="0"/>
                  </a:lnTo>
                  <a:lnTo>
                    <a:pt x="0" y="5"/>
                  </a:lnTo>
                  <a:lnTo>
                    <a:pt x="1" y="9"/>
                  </a:lnTo>
                  <a:lnTo>
                    <a:pt x="7" y="6"/>
                  </a:lnTo>
                  <a:lnTo>
                    <a:pt x="13" y="9"/>
                  </a:lnTo>
                  <a:lnTo>
                    <a:pt x="15" y="6"/>
                  </a:lnTo>
                  <a:lnTo>
                    <a:pt x="15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161" name="Freeform 516"/>
            <p:cNvSpPr>
              <a:spLocks/>
            </p:cNvSpPr>
            <p:nvPr userDrawn="1"/>
          </p:nvSpPr>
          <p:spPr bwMode="auto">
            <a:xfrm>
              <a:off x="3294" y="2695"/>
              <a:ext cx="7" cy="5"/>
            </a:xfrm>
            <a:custGeom>
              <a:avLst/>
              <a:gdLst>
                <a:gd name="T0" fmla="*/ 7 w 7"/>
                <a:gd name="T1" fmla="*/ 2 h 5"/>
                <a:gd name="T2" fmla="*/ 4 w 7"/>
                <a:gd name="T3" fmla="*/ 5 h 5"/>
                <a:gd name="T4" fmla="*/ 0 w 7"/>
                <a:gd name="T5" fmla="*/ 5 h 5"/>
                <a:gd name="T6" fmla="*/ 0 w 7"/>
                <a:gd name="T7" fmla="*/ 0 h 5"/>
                <a:gd name="T8" fmla="*/ 7 w 7"/>
                <a:gd name="T9" fmla="*/ 2 h 5"/>
                <a:gd name="T10" fmla="*/ 7 w 7"/>
                <a:gd name="T11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5">
                  <a:moveTo>
                    <a:pt x="7" y="2"/>
                  </a:moveTo>
                  <a:lnTo>
                    <a:pt x="4" y="5"/>
                  </a:lnTo>
                  <a:lnTo>
                    <a:pt x="0" y="5"/>
                  </a:lnTo>
                  <a:lnTo>
                    <a:pt x="0" y="0"/>
                  </a:lnTo>
                  <a:lnTo>
                    <a:pt x="7" y="2"/>
                  </a:lnTo>
                  <a:lnTo>
                    <a:pt x="7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162" name="Freeform 517"/>
            <p:cNvSpPr>
              <a:spLocks/>
            </p:cNvSpPr>
            <p:nvPr userDrawn="1"/>
          </p:nvSpPr>
          <p:spPr bwMode="auto">
            <a:xfrm>
              <a:off x="3366" y="3016"/>
              <a:ext cx="14" cy="14"/>
            </a:xfrm>
            <a:custGeom>
              <a:avLst/>
              <a:gdLst>
                <a:gd name="T0" fmla="*/ 11 w 14"/>
                <a:gd name="T1" fmla="*/ 14 h 14"/>
                <a:gd name="T2" fmla="*/ 14 w 14"/>
                <a:gd name="T3" fmla="*/ 8 h 14"/>
                <a:gd name="T4" fmla="*/ 8 w 14"/>
                <a:gd name="T5" fmla="*/ 0 h 14"/>
                <a:gd name="T6" fmla="*/ 0 w 14"/>
                <a:gd name="T7" fmla="*/ 0 h 14"/>
                <a:gd name="T8" fmla="*/ 11 w 14"/>
                <a:gd name="T9" fmla="*/ 14 h 14"/>
                <a:gd name="T10" fmla="*/ 11 w 14"/>
                <a:gd name="T1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" h="14">
                  <a:moveTo>
                    <a:pt x="11" y="14"/>
                  </a:moveTo>
                  <a:lnTo>
                    <a:pt x="14" y="8"/>
                  </a:lnTo>
                  <a:lnTo>
                    <a:pt x="8" y="0"/>
                  </a:lnTo>
                  <a:lnTo>
                    <a:pt x="0" y="0"/>
                  </a:lnTo>
                  <a:lnTo>
                    <a:pt x="11" y="14"/>
                  </a:lnTo>
                  <a:lnTo>
                    <a:pt x="11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163" name="Freeform 518"/>
            <p:cNvSpPr>
              <a:spLocks/>
            </p:cNvSpPr>
            <p:nvPr userDrawn="1"/>
          </p:nvSpPr>
          <p:spPr bwMode="auto">
            <a:xfrm>
              <a:off x="3366" y="2995"/>
              <a:ext cx="8" cy="11"/>
            </a:xfrm>
            <a:custGeom>
              <a:avLst/>
              <a:gdLst>
                <a:gd name="T0" fmla="*/ 8 w 8"/>
                <a:gd name="T1" fmla="*/ 11 h 11"/>
                <a:gd name="T2" fmla="*/ 0 w 8"/>
                <a:gd name="T3" fmla="*/ 6 h 11"/>
                <a:gd name="T4" fmla="*/ 0 w 8"/>
                <a:gd name="T5" fmla="*/ 0 h 11"/>
                <a:gd name="T6" fmla="*/ 5 w 8"/>
                <a:gd name="T7" fmla="*/ 6 h 11"/>
                <a:gd name="T8" fmla="*/ 8 w 8"/>
                <a:gd name="T9" fmla="*/ 11 h 11"/>
                <a:gd name="T10" fmla="*/ 8 w 8"/>
                <a:gd name="T11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11">
                  <a:moveTo>
                    <a:pt x="8" y="11"/>
                  </a:moveTo>
                  <a:lnTo>
                    <a:pt x="0" y="6"/>
                  </a:lnTo>
                  <a:lnTo>
                    <a:pt x="0" y="0"/>
                  </a:lnTo>
                  <a:lnTo>
                    <a:pt x="5" y="6"/>
                  </a:lnTo>
                  <a:lnTo>
                    <a:pt x="8" y="11"/>
                  </a:lnTo>
                  <a:lnTo>
                    <a:pt x="8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164" name="Freeform 519"/>
            <p:cNvSpPr>
              <a:spLocks/>
            </p:cNvSpPr>
            <p:nvPr userDrawn="1"/>
          </p:nvSpPr>
          <p:spPr bwMode="auto">
            <a:xfrm>
              <a:off x="3342" y="3244"/>
              <a:ext cx="0" cy="2"/>
            </a:xfrm>
            <a:custGeom>
              <a:avLst/>
              <a:gdLst>
                <a:gd name="T0" fmla="*/ 0 h 2"/>
                <a:gd name="T1" fmla="*/ 0 h 2"/>
                <a:gd name="T2" fmla="*/ 2 h 2"/>
                <a:gd name="T3" fmla="*/ 0 h 2"/>
                <a:gd name="T4" fmla="*/ 0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2">
                  <a:moveTo>
                    <a:pt x="0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165" name="Freeform 520"/>
            <p:cNvSpPr>
              <a:spLocks/>
            </p:cNvSpPr>
            <p:nvPr userDrawn="1"/>
          </p:nvSpPr>
          <p:spPr bwMode="auto">
            <a:xfrm>
              <a:off x="3540" y="3626"/>
              <a:ext cx="19" cy="15"/>
            </a:xfrm>
            <a:custGeom>
              <a:avLst/>
              <a:gdLst>
                <a:gd name="T0" fmla="*/ 3 w 19"/>
                <a:gd name="T1" fmla="*/ 0 h 15"/>
                <a:gd name="T2" fmla="*/ 7 w 19"/>
                <a:gd name="T3" fmla="*/ 8 h 15"/>
                <a:gd name="T4" fmla="*/ 18 w 19"/>
                <a:gd name="T5" fmla="*/ 8 h 15"/>
                <a:gd name="T6" fmla="*/ 19 w 19"/>
                <a:gd name="T7" fmla="*/ 15 h 15"/>
                <a:gd name="T8" fmla="*/ 16 w 19"/>
                <a:gd name="T9" fmla="*/ 11 h 15"/>
                <a:gd name="T10" fmla="*/ 7 w 19"/>
                <a:gd name="T11" fmla="*/ 11 h 15"/>
                <a:gd name="T12" fmla="*/ 3 w 19"/>
                <a:gd name="T13" fmla="*/ 14 h 15"/>
                <a:gd name="T14" fmla="*/ 0 w 19"/>
                <a:gd name="T15" fmla="*/ 9 h 15"/>
                <a:gd name="T16" fmla="*/ 3 w 19"/>
                <a:gd name="T17" fmla="*/ 0 h 15"/>
                <a:gd name="T18" fmla="*/ 3 w 19"/>
                <a:gd name="T1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" h="15">
                  <a:moveTo>
                    <a:pt x="3" y="0"/>
                  </a:moveTo>
                  <a:lnTo>
                    <a:pt x="7" y="8"/>
                  </a:lnTo>
                  <a:lnTo>
                    <a:pt x="18" y="8"/>
                  </a:lnTo>
                  <a:lnTo>
                    <a:pt x="19" y="15"/>
                  </a:lnTo>
                  <a:lnTo>
                    <a:pt x="16" y="11"/>
                  </a:lnTo>
                  <a:lnTo>
                    <a:pt x="7" y="11"/>
                  </a:lnTo>
                  <a:lnTo>
                    <a:pt x="3" y="14"/>
                  </a:lnTo>
                  <a:lnTo>
                    <a:pt x="0" y="9"/>
                  </a:lnTo>
                  <a:lnTo>
                    <a:pt x="3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166" name="Freeform 521"/>
            <p:cNvSpPr>
              <a:spLocks/>
            </p:cNvSpPr>
            <p:nvPr userDrawn="1"/>
          </p:nvSpPr>
          <p:spPr bwMode="auto">
            <a:xfrm>
              <a:off x="3529" y="3597"/>
              <a:ext cx="27" cy="27"/>
            </a:xfrm>
            <a:custGeom>
              <a:avLst/>
              <a:gdLst>
                <a:gd name="T0" fmla="*/ 15 w 27"/>
                <a:gd name="T1" fmla="*/ 26 h 27"/>
                <a:gd name="T2" fmla="*/ 12 w 27"/>
                <a:gd name="T3" fmla="*/ 27 h 27"/>
                <a:gd name="T4" fmla="*/ 11 w 27"/>
                <a:gd name="T5" fmla="*/ 23 h 27"/>
                <a:gd name="T6" fmla="*/ 3 w 27"/>
                <a:gd name="T7" fmla="*/ 26 h 27"/>
                <a:gd name="T8" fmla="*/ 0 w 27"/>
                <a:gd name="T9" fmla="*/ 20 h 27"/>
                <a:gd name="T10" fmla="*/ 5 w 27"/>
                <a:gd name="T11" fmla="*/ 9 h 27"/>
                <a:gd name="T12" fmla="*/ 17 w 27"/>
                <a:gd name="T13" fmla="*/ 2 h 27"/>
                <a:gd name="T14" fmla="*/ 27 w 27"/>
                <a:gd name="T15" fmla="*/ 0 h 27"/>
                <a:gd name="T16" fmla="*/ 27 w 27"/>
                <a:gd name="T17" fmla="*/ 6 h 27"/>
                <a:gd name="T18" fmla="*/ 15 w 27"/>
                <a:gd name="T19" fmla="*/ 26 h 27"/>
                <a:gd name="T20" fmla="*/ 15 w 27"/>
                <a:gd name="T21" fmla="*/ 26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" h="27">
                  <a:moveTo>
                    <a:pt x="15" y="26"/>
                  </a:moveTo>
                  <a:lnTo>
                    <a:pt x="12" y="27"/>
                  </a:lnTo>
                  <a:lnTo>
                    <a:pt x="11" y="23"/>
                  </a:lnTo>
                  <a:lnTo>
                    <a:pt x="3" y="26"/>
                  </a:lnTo>
                  <a:lnTo>
                    <a:pt x="0" y="20"/>
                  </a:lnTo>
                  <a:lnTo>
                    <a:pt x="5" y="9"/>
                  </a:lnTo>
                  <a:lnTo>
                    <a:pt x="17" y="2"/>
                  </a:lnTo>
                  <a:lnTo>
                    <a:pt x="27" y="0"/>
                  </a:lnTo>
                  <a:lnTo>
                    <a:pt x="27" y="6"/>
                  </a:lnTo>
                  <a:lnTo>
                    <a:pt x="15" y="26"/>
                  </a:lnTo>
                  <a:lnTo>
                    <a:pt x="15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167" name="Freeform 522"/>
            <p:cNvSpPr>
              <a:spLocks/>
            </p:cNvSpPr>
            <p:nvPr userDrawn="1"/>
          </p:nvSpPr>
          <p:spPr bwMode="auto">
            <a:xfrm>
              <a:off x="3603" y="3526"/>
              <a:ext cx="71" cy="62"/>
            </a:xfrm>
            <a:custGeom>
              <a:avLst/>
              <a:gdLst>
                <a:gd name="T0" fmla="*/ 24 w 71"/>
                <a:gd name="T1" fmla="*/ 41 h 62"/>
                <a:gd name="T2" fmla="*/ 18 w 71"/>
                <a:gd name="T3" fmla="*/ 37 h 62"/>
                <a:gd name="T4" fmla="*/ 8 w 71"/>
                <a:gd name="T5" fmla="*/ 38 h 62"/>
                <a:gd name="T6" fmla="*/ 8 w 71"/>
                <a:gd name="T7" fmla="*/ 47 h 62"/>
                <a:gd name="T8" fmla="*/ 2 w 71"/>
                <a:gd name="T9" fmla="*/ 46 h 62"/>
                <a:gd name="T10" fmla="*/ 0 w 71"/>
                <a:gd name="T11" fmla="*/ 31 h 62"/>
                <a:gd name="T12" fmla="*/ 11 w 71"/>
                <a:gd name="T13" fmla="*/ 25 h 62"/>
                <a:gd name="T14" fmla="*/ 24 w 71"/>
                <a:gd name="T15" fmla="*/ 14 h 62"/>
                <a:gd name="T16" fmla="*/ 35 w 71"/>
                <a:gd name="T17" fmla="*/ 9 h 62"/>
                <a:gd name="T18" fmla="*/ 59 w 71"/>
                <a:gd name="T19" fmla="*/ 0 h 62"/>
                <a:gd name="T20" fmla="*/ 59 w 71"/>
                <a:gd name="T21" fmla="*/ 3 h 62"/>
                <a:gd name="T22" fmla="*/ 50 w 71"/>
                <a:gd name="T23" fmla="*/ 11 h 62"/>
                <a:gd name="T24" fmla="*/ 50 w 71"/>
                <a:gd name="T25" fmla="*/ 14 h 62"/>
                <a:gd name="T26" fmla="*/ 56 w 71"/>
                <a:gd name="T27" fmla="*/ 11 h 62"/>
                <a:gd name="T28" fmla="*/ 51 w 71"/>
                <a:gd name="T29" fmla="*/ 17 h 62"/>
                <a:gd name="T30" fmla="*/ 53 w 71"/>
                <a:gd name="T31" fmla="*/ 22 h 62"/>
                <a:gd name="T32" fmla="*/ 65 w 71"/>
                <a:gd name="T33" fmla="*/ 22 h 62"/>
                <a:gd name="T34" fmla="*/ 69 w 71"/>
                <a:gd name="T35" fmla="*/ 23 h 62"/>
                <a:gd name="T36" fmla="*/ 71 w 71"/>
                <a:gd name="T37" fmla="*/ 31 h 62"/>
                <a:gd name="T38" fmla="*/ 65 w 71"/>
                <a:gd name="T39" fmla="*/ 41 h 62"/>
                <a:gd name="T40" fmla="*/ 62 w 71"/>
                <a:gd name="T41" fmla="*/ 49 h 62"/>
                <a:gd name="T42" fmla="*/ 57 w 71"/>
                <a:gd name="T43" fmla="*/ 56 h 62"/>
                <a:gd name="T44" fmla="*/ 42 w 71"/>
                <a:gd name="T45" fmla="*/ 62 h 62"/>
                <a:gd name="T46" fmla="*/ 42 w 71"/>
                <a:gd name="T47" fmla="*/ 59 h 62"/>
                <a:gd name="T48" fmla="*/ 35 w 71"/>
                <a:gd name="T49" fmla="*/ 56 h 62"/>
                <a:gd name="T50" fmla="*/ 24 w 71"/>
                <a:gd name="T51" fmla="*/ 52 h 62"/>
                <a:gd name="T52" fmla="*/ 24 w 71"/>
                <a:gd name="T53" fmla="*/ 41 h 62"/>
                <a:gd name="T54" fmla="*/ 24 w 71"/>
                <a:gd name="T55" fmla="*/ 41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1" h="62">
                  <a:moveTo>
                    <a:pt x="24" y="41"/>
                  </a:moveTo>
                  <a:lnTo>
                    <a:pt x="18" y="37"/>
                  </a:lnTo>
                  <a:lnTo>
                    <a:pt x="8" y="38"/>
                  </a:lnTo>
                  <a:lnTo>
                    <a:pt x="8" y="47"/>
                  </a:lnTo>
                  <a:lnTo>
                    <a:pt x="2" y="46"/>
                  </a:lnTo>
                  <a:lnTo>
                    <a:pt x="0" y="31"/>
                  </a:lnTo>
                  <a:lnTo>
                    <a:pt x="11" y="25"/>
                  </a:lnTo>
                  <a:lnTo>
                    <a:pt x="24" y="14"/>
                  </a:lnTo>
                  <a:lnTo>
                    <a:pt x="35" y="9"/>
                  </a:lnTo>
                  <a:lnTo>
                    <a:pt x="59" y="0"/>
                  </a:lnTo>
                  <a:lnTo>
                    <a:pt x="59" y="3"/>
                  </a:lnTo>
                  <a:lnTo>
                    <a:pt x="50" y="11"/>
                  </a:lnTo>
                  <a:lnTo>
                    <a:pt x="50" y="14"/>
                  </a:lnTo>
                  <a:lnTo>
                    <a:pt x="56" y="11"/>
                  </a:lnTo>
                  <a:lnTo>
                    <a:pt x="51" y="17"/>
                  </a:lnTo>
                  <a:lnTo>
                    <a:pt x="53" y="22"/>
                  </a:lnTo>
                  <a:lnTo>
                    <a:pt x="65" y="22"/>
                  </a:lnTo>
                  <a:lnTo>
                    <a:pt x="69" y="23"/>
                  </a:lnTo>
                  <a:lnTo>
                    <a:pt x="71" y="31"/>
                  </a:lnTo>
                  <a:lnTo>
                    <a:pt x="65" y="41"/>
                  </a:lnTo>
                  <a:lnTo>
                    <a:pt x="62" y="49"/>
                  </a:lnTo>
                  <a:lnTo>
                    <a:pt x="57" y="56"/>
                  </a:lnTo>
                  <a:lnTo>
                    <a:pt x="42" y="62"/>
                  </a:lnTo>
                  <a:lnTo>
                    <a:pt x="42" y="59"/>
                  </a:lnTo>
                  <a:lnTo>
                    <a:pt x="35" y="56"/>
                  </a:lnTo>
                  <a:lnTo>
                    <a:pt x="24" y="52"/>
                  </a:lnTo>
                  <a:lnTo>
                    <a:pt x="24" y="41"/>
                  </a:lnTo>
                  <a:lnTo>
                    <a:pt x="24" y="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168" name="Freeform 523"/>
            <p:cNvSpPr>
              <a:spLocks/>
            </p:cNvSpPr>
            <p:nvPr userDrawn="1"/>
          </p:nvSpPr>
          <p:spPr bwMode="auto">
            <a:xfrm>
              <a:off x="3691" y="3522"/>
              <a:ext cx="40" cy="21"/>
            </a:xfrm>
            <a:custGeom>
              <a:avLst/>
              <a:gdLst>
                <a:gd name="T0" fmla="*/ 0 w 40"/>
                <a:gd name="T1" fmla="*/ 3 h 21"/>
                <a:gd name="T2" fmla="*/ 1 w 40"/>
                <a:gd name="T3" fmla="*/ 9 h 21"/>
                <a:gd name="T4" fmla="*/ 6 w 40"/>
                <a:gd name="T5" fmla="*/ 9 h 21"/>
                <a:gd name="T6" fmla="*/ 6 w 40"/>
                <a:gd name="T7" fmla="*/ 16 h 21"/>
                <a:gd name="T8" fmla="*/ 24 w 40"/>
                <a:gd name="T9" fmla="*/ 15 h 21"/>
                <a:gd name="T10" fmla="*/ 31 w 40"/>
                <a:gd name="T11" fmla="*/ 21 h 21"/>
                <a:gd name="T12" fmla="*/ 40 w 40"/>
                <a:gd name="T13" fmla="*/ 16 h 21"/>
                <a:gd name="T14" fmla="*/ 39 w 40"/>
                <a:gd name="T15" fmla="*/ 9 h 21"/>
                <a:gd name="T16" fmla="*/ 25 w 40"/>
                <a:gd name="T17" fmla="*/ 0 h 21"/>
                <a:gd name="T18" fmla="*/ 0 w 40"/>
                <a:gd name="T19" fmla="*/ 3 h 21"/>
                <a:gd name="T20" fmla="*/ 0 w 40"/>
                <a:gd name="T21" fmla="*/ 3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0" h="21">
                  <a:moveTo>
                    <a:pt x="0" y="3"/>
                  </a:moveTo>
                  <a:lnTo>
                    <a:pt x="1" y="9"/>
                  </a:lnTo>
                  <a:lnTo>
                    <a:pt x="6" y="9"/>
                  </a:lnTo>
                  <a:lnTo>
                    <a:pt x="6" y="16"/>
                  </a:lnTo>
                  <a:lnTo>
                    <a:pt x="24" y="15"/>
                  </a:lnTo>
                  <a:lnTo>
                    <a:pt x="31" y="21"/>
                  </a:lnTo>
                  <a:lnTo>
                    <a:pt x="40" y="16"/>
                  </a:lnTo>
                  <a:lnTo>
                    <a:pt x="39" y="9"/>
                  </a:lnTo>
                  <a:lnTo>
                    <a:pt x="25" y="0"/>
                  </a:lnTo>
                  <a:lnTo>
                    <a:pt x="0" y="3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169" name="Freeform 524"/>
            <p:cNvSpPr>
              <a:spLocks/>
            </p:cNvSpPr>
            <p:nvPr userDrawn="1"/>
          </p:nvSpPr>
          <p:spPr bwMode="auto">
            <a:xfrm>
              <a:off x="3995" y="3277"/>
              <a:ext cx="62" cy="147"/>
            </a:xfrm>
            <a:custGeom>
              <a:avLst/>
              <a:gdLst>
                <a:gd name="T0" fmla="*/ 41 w 62"/>
                <a:gd name="T1" fmla="*/ 31 h 147"/>
                <a:gd name="T2" fmla="*/ 46 w 62"/>
                <a:gd name="T3" fmla="*/ 26 h 147"/>
                <a:gd name="T4" fmla="*/ 44 w 62"/>
                <a:gd name="T5" fmla="*/ 16 h 147"/>
                <a:gd name="T6" fmla="*/ 49 w 62"/>
                <a:gd name="T7" fmla="*/ 2 h 147"/>
                <a:gd name="T8" fmla="*/ 55 w 62"/>
                <a:gd name="T9" fmla="*/ 0 h 147"/>
                <a:gd name="T10" fmla="*/ 56 w 62"/>
                <a:gd name="T11" fmla="*/ 28 h 147"/>
                <a:gd name="T12" fmla="*/ 55 w 62"/>
                <a:gd name="T13" fmla="*/ 37 h 147"/>
                <a:gd name="T14" fmla="*/ 62 w 62"/>
                <a:gd name="T15" fmla="*/ 55 h 147"/>
                <a:gd name="T16" fmla="*/ 61 w 62"/>
                <a:gd name="T17" fmla="*/ 85 h 147"/>
                <a:gd name="T18" fmla="*/ 53 w 62"/>
                <a:gd name="T19" fmla="*/ 105 h 147"/>
                <a:gd name="T20" fmla="*/ 52 w 62"/>
                <a:gd name="T21" fmla="*/ 114 h 147"/>
                <a:gd name="T22" fmla="*/ 46 w 62"/>
                <a:gd name="T23" fmla="*/ 129 h 147"/>
                <a:gd name="T24" fmla="*/ 39 w 62"/>
                <a:gd name="T25" fmla="*/ 142 h 147"/>
                <a:gd name="T26" fmla="*/ 39 w 62"/>
                <a:gd name="T27" fmla="*/ 147 h 147"/>
                <a:gd name="T28" fmla="*/ 33 w 62"/>
                <a:gd name="T29" fmla="*/ 142 h 147"/>
                <a:gd name="T30" fmla="*/ 29 w 62"/>
                <a:gd name="T31" fmla="*/ 141 h 147"/>
                <a:gd name="T32" fmla="*/ 27 w 62"/>
                <a:gd name="T33" fmla="*/ 138 h 147"/>
                <a:gd name="T34" fmla="*/ 21 w 62"/>
                <a:gd name="T35" fmla="*/ 135 h 147"/>
                <a:gd name="T36" fmla="*/ 14 w 62"/>
                <a:gd name="T37" fmla="*/ 130 h 147"/>
                <a:gd name="T38" fmla="*/ 18 w 62"/>
                <a:gd name="T39" fmla="*/ 118 h 147"/>
                <a:gd name="T40" fmla="*/ 15 w 62"/>
                <a:gd name="T41" fmla="*/ 115 h 147"/>
                <a:gd name="T42" fmla="*/ 6 w 62"/>
                <a:gd name="T43" fmla="*/ 112 h 147"/>
                <a:gd name="T44" fmla="*/ 9 w 62"/>
                <a:gd name="T45" fmla="*/ 108 h 147"/>
                <a:gd name="T46" fmla="*/ 11 w 62"/>
                <a:gd name="T47" fmla="*/ 102 h 147"/>
                <a:gd name="T48" fmla="*/ 8 w 62"/>
                <a:gd name="T49" fmla="*/ 100 h 147"/>
                <a:gd name="T50" fmla="*/ 8 w 62"/>
                <a:gd name="T51" fmla="*/ 89 h 147"/>
                <a:gd name="T52" fmla="*/ 5 w 62"/>
                <a:gd name="T53" fmla="*/ 82 h 147"/>
                <a:gd name="T54" fmla="*/ 0 w 62"/>
                <a:gd name="T55" fmla="*/ 73 h 147"/>
                <a:gd name="T56" fmla="*/ 2 w 62"/>
                <a:gd name="T57" fmla="*/ 65 h 147"/>
                <a:gd name="T58" fmla="*/ 8 w 62"/>
                <a:gd name="T59" fmla="*/ 64 h 147"/>
                <a:gd name="T60" fmla="*/ 6 w 62"/>
                <a:gd name="T61" fmla="*/ 49 h 147"/>
                <a:gd name="T62" fmla="*/ 20 w 62"/>
                <a:gd name="T63" fmla="*/ 41 h 147"/>
                <a:gd name="T64" fmla="*/ 23 w 62"/>
                <a:gd name="T65" fmla="*/ 34 h 147"/>
                <a:gd name="T66" fmla="*/ 32 w 62"/>
                <a:gd name="T67" fmla="*/ 28 h 147"/>
                <a:gd name="T68" fmla="*/ 41 w 62"/>
                <a:gd name="T69" fmla="*/ 31 h 147"/>
                <a:gd name="T70" fmla="*/ 41 w 62"/>
                <a:gd name="T71" fmla="*/ 31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2" h="147">
                  <a:moveTo>
                    <a:pt x="41" y="31"/>
                  </a:moveTo>
                  <a:lnTo>
                    <a:pt x="46" y="26"/>
                  </a:lnTo>
                  <a:lnTo>
                    <a:pt x="44" y="16"/>
                  </a:lnTo>
                  <a:lnTo>
                    <a:pt x="49" y="2"/>
                  </a:lnTo>
                  <a:lnTo>
                    <a:pt x="55" y="0"/>
                  </a:lnTo>
                  <a:lnTo>
                    <a:pt x="56" y="28"/>
                  </a:lnTo>
                  <a:lnTo>
                    <a:pt x="55" y="37"/>
                  </a:lnTo>
                  <a:lnTo>
                    <a:pt x="62" y="55"/>
                  </a:lnTo>
                  <a:lnTo>
                    <a:pt x="61" y="85"/>
                  </a:lnTo>
                  <a:lnTo>
                    <a:pt x="53" y="105"/>
                  </a:lnTo>
                  <a:lnTo>
                    <a:pt x="52" y="114"/>
                  </a:lnTo>
                  <a:lnTo>
                    <a:pt x="46" y="129"/>
                  </a:lnTo>
                  <a:lnTo>
                    <a:pt x="39" y="142"/>
                  </a:lnTo>
                  <a:lnTo>
                    <a:pt x="39" y="147"/>
                  </a:lnTo>
                  <a:lnTo>
                    <a:pt x="33" y="142"/>
                  </a:lnTo>
                  <a:lnTo>
                    <a:pt x="29" y="141"/>
                  </a:lnTo>
                  <a:lnTo>
                    <a:pt x="27" y="138"/>
                  </a:lnTo>
                  <a:lnTo>
                    <a:pt x="21" y="135"/>
                  </a:lnTo>
                  <a:lnTo>
                    <a:pt x="14" y="130"/>
                  </a:lnTo>
                  <a:lnTo>
                    <a:pt x="18" y="118"/>
                  </a:lnTo>
                  <a:lnTo>
                    <a:pt x="15" y="115"/>
                  </a:lnTo>
                  <a:lnTo>
                    <a:pt x="6" y="112"/>
                  </a:lnTo>
                  <a:lnTo>
                    <a:pt x="9" y="108"/>
                  </a:lnTo>
                  <a:lnTo>
                    <a:pt x="11" y="102"/>
                  </a:lnTo>
                  <a:lnTo>
                    <a:pt x="8" y="100"/>
                  </a:lnTo>
                  <a:lnTo>
                    <a:pt x="8" y="89"/>
                  </a:lnTo>
                  <a:lnTo>
                    <a:pt x="5" y="82"/>
                  </a:lnTo>
                  <a:lnTo>
                    <a:pt x="0" y="73"/>
                  </a:lnTo>
                  <a:lnTo>
                    <a:pt x="2" y="65"/>
                  </a:lnTo>
                  <a:lnTo>
                    <a:pt x="8" y="64"/>
                  </a:lnTo>
                  <a:lnTo>
                    <a:pt x="6" y="49"/>
                  </a:lnTo>
                  <a:lnTo>
                    <a:pt x="20" y="41"/>
                  </a:lnTo>
                  <a:lnTo>
                    <a:pt x="23" y="34"/>
                  </a:lnTo>
                  <a:lnTo>
                    <a:pt x="32" y="28"/>
                  </a:lnTo>
                  <a:lnTo>
                    <a:pt x="41" y="31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170" name="Freeform 525"/>
            <p:cNvSpPr>
              <a:spLocks/>
            </p:cNvSpPr>
            <p:nvPr userDrawn="1"/>
          </p:nvSpPr>
          <p:spPr bwMode="auto">
            <a:xfrm>
              <a:off x="3962" y="3436"/>
              <a:ext cx="107" cy="190"/>
            </a:xfrm>
            <a:custGeom>
              <a:avLst/>
              <a:gdLst>
                <a:gd name="T0" fmla="*/ 8 w 107"/>
                <a:gd name="T1" fmla="*/ 18 h 190"/>
                <a:gd name="T2" fmla="*/ 14 w 107"/>
                <a:gd name="T3" fmla="*/ 7 h 190"/>
                <a:gd name="T4" fmla="*/ 9 w 107"/>
                <a:gd name="T5" fmla="*/ 4 h 190"/>
                <a:gd name="T6" fmla="*/ 6 w 107"/>
                <a:gd name="T7" fmla="*/ 15 h 190"/>
                <a:gd name="T8" fmla="*/ 2 w 107"/>
                <a:gd name="T9" fmla="*/ 18 h 190"/>
                <a:gd name="T10" fmla="*/ 5 w 107"/>
                <a:gd name="T11" fmla="*/ 35 h 190"/>
                <a:gd name="T12" fmla="*/ 0 w 107"/>
                <a:gd name="T13" fmla="*/ 44 h 190"/>
                <a:gd name="T14" fmla="*/ 3 w 107"/>
                <a:gd name="T15" fmla="*/ 57 h 190"/>
                <a:gd name="T16" fmla="*/ 6 w 107"/>
                <a:gd name="T17" fmla="*/ 51 h 190"/>
                <a:gd name="T18" fmla="*/ 17 w 107"/>
                <a:gd name="T19" fmla="*/ 57 h 190"/>
                <a:gd name="T20" fmla="*/ 23 w 107"/>
                <a:gd name="T21" fmla="*/ 69 h 190"/>
                <a:gd name="T22" fmla="*/ 20 w 107"/>
                <a:gd name="T23" fmla="*/ 78 h 190"/>
                <a:gd name="T24" fmla="*/ 24 w 107"/>
                <a:gd name="T25" fmla="*/ 84 h 190"/>
                <a:gd name="T26" fmla="*/ 18 w 107"/>
                <a:gd name="T27" fmla="*/ 99 h 190"/>
                <a:gd name="T28" fmla="*/ 27 w 107"/>
                <a:gd name="T29" fmla="*/ 107 h 190"/>
                <a:gd name="T30" fmla="*/ 24 w 107"/>
                <a:gd name="T31" fmla="*/ 116 h 190"/>
                <a:gd name="T32" fmla="*/ 14 w 107"/>
                <a:gd name="T33" fmla="*/ 148 h 190"/>
                <a:gd name="T34" fmla="*/ 23 w 107"/>
                <a:gd name="T35" fmla="*/ 160 h 190"/>
                <a:gd name="T36" fmla="*/ 23 w 107"/>
                <a:gd name="T37" fmla="*/ 176 h 190"/>
                <a:gd name="T38" fmla="*/ 27 w 107"/>
                <a:gd name="T39" fmla="*/ 179 h 190"/>
                <a:gd name="T40" fmla="*/ 21 w 107"/>
                <a:gd name="T41" fmla="*/ 179 h 190"/>
                <a:gd name="T42" fmla="*/ 24 w 107"/>
                <a:gd name="T43" fmla="*/ 187 h 190"/>
                <a:gd name="T44" fmla="*/ 29 w 107"/>
                <a:gd name="T45" fmla="*/ 184 h 190"/>
                <a:gd name="T46" fmla="*/ 38 w 107"/>
                <a:gd name="T47" fmla="*/ 190 h 190"/>
                <a:gd name="T48" fmla="*/ 47 w 107"/>
                <a:gd name="T49" fmla="*/ 188 h 190"/>
                <a:gd name="T50" fmla="*/ 56 w 107"/>
                <a:gd name="T51" fmla="*/ 187 h 190"/>
                <a:gd name="T52" fmla="*/ 60 w 107"/>
                <a:gd name="T53" fmla="*/ 181 h 190"/>
                <a:gd name="T54" fmla="*/ 62 w 107"/>
                <a:gd name="T55" fmla="*/ 167 h 190"/>
                <a:gd name="T56" fmla="*/ 74 w 107"/>
                <a:gd name="T57" fmla="*/ 160 h 190"/>
                <a:gd name="T58" fmla="*/ 80 w 107"/>
                <a:gd name="T59" fmla="*/ 167 h 190"/>
                <a:gd name="T60" fmla="*/ 88 w 107"/>
                <a:gd name="T61" fmla="*/ 175 h 190"/>
                <a:gd name="T62" fmla="*/ 97 w 107"/>
                <a:gd name="T63" fmla="*/ 160 h 190"/>
                <a:gd name="T64" fmla="*/ 95 w 107"/>
                <a:gd name="T65" fmla="*/ 137 h 190"/>
                <a:gd name="T66" fmla="*/ 101 w 107"/>
                <a:gd name="T67" fmla="*/ 113 h 190"/>
                <a:gd name="T68" fmla="*/ 107 w 107"/>
                <a:gd name="T69" fmla="*/ 93 h 190"/>
                <a:gd name="T70" fmla="*/ 98 w 107"/>
                <a:gd name="T71" fmla="*/ 86 h 190"/>
                <a:gd name="T72" fmla="*/ 100 w 107"/>
                <a:gd name="T73" fmla="*/ 75 h 190"/>
                <a:gd name="T74" fmla="*/ 107 w 107"/>
                <a:gd name="T75" fmla="*/ 69 h 190"/>
                <a:gd name="T76" fmla="*/ 107 w 107"/>
                <a:gd name="T77" fmla="*/ 51 h 190"/>
                <a:gd name="T78" fmla="*/ 97 w 107"/>
                <a:gd name="T79" fmla="*/ 33 h 190"/>
                <a:gd name="T80" fmla="*/ 98 w 107"/>
                <a:gd name="T81" fmla="*/ 23 h 190"/>
                <a:gd name="T82" fmla="*/ 92 w 107"/>
                <a:gd name="T83" fmla="*/ 6 h 190"/>
                <a:gd name="T84" fmla="*/ 85 w 107"/>
                <a:gd name="T85" fmla="*/ 6 h 190"/>
                <a:gd name="T86" fmla="*/ 71 w 107"/>
                <a:gd name="T87" fmla="*/ 0 h 190"/>
                <a:gd name="T88" fmla="*/ 68 w 107"/>
                <a:gd name="T89" fmla="*/ 0 h 190"/>
                <a:gd name="T90" fmla="*/ 65 w 107"/>
                <a:gd name="T91" fmla="*/ 7 h 190"/>
                <a:gd name="T92" fmla="*/ 56 w 107"/>
                <a:gd name="T93" fmla="*/ 13 h 190"/>
                <a:gd name="T94" fmla="*/ 42 w 107"/>
                <a:gd name="T95" fmla="*/ 23 h 190"/>
                <a:gd name="T96" fmla="*/ 38 w 107"/>
                <a:gd name="T97" fmla="*/ 32 h 190"/>
                <a:gd name="T98" fmla="*/ 24 w 107"/>
                <a:gd name="T99" fmla="*/ 32 h 190"/>
                <a:gd name="T100" fmla="*/ 12 w 107"/>
                <a:gd name="T101" fmla="*/ 26 h 190"/>
                <a:gd name="T102" fmla="*/ 8 w 107"/>
                <a:gd name="T103" fmla="*/ 18 h 190"/>
                <a:gd name="T104" fmla="*/ 8 w 107"/>
                <a:gd name="T105" fmla="*/ 18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07" h="190">
                  <a:moveTo>
                    <a:pt x="8" y="18"/>
                  </a:moveTo>
                  <a:lnTo>
                    <a:pt x="14" y="7"/>
                  </a:lnTo>
                  <a:lnTo>
                    <a:pt x="9" y="4"/>
                  </a:lnTo>
                  <a:lnTo>
                    <a:pt x="6" y="15"/>
                  </a:lnTo>
                  <a:lnTo>
                    <a:pt x="2" y="18"/>
                  </a:lnTo>
                  <a:lnTo>
                    <a:pt x="5" y="35"/>
                  </a:lnTo>
                  <a:lnTo>
                    <a:pt x="0" y="44"/>
                  </a:lnTo>
                  <a:lnTo>
                    <a:pt x="3" y="57"/>
                  </a:lnTo>
                  <a:lnTo>
                    <a:pt x="6" y="51"/>
                  </a:lnTo>
                  <a:lnTo>
                    <a:pt x="17" y="57"/>
                  </a:lnTo>
                  <a:lnTo>
                    <a:pt x="23" y="69"/>
                  </a:lnTo>
                  <a:lnTo>
                    <a:pt x="20" y="78"/>
                  </a:lnTo>
                  <a:lnTo>
                    <a:pt x="24" y="84"/>
                  </a:lnTo>
                  <a:lnTo>
                    <a:pt x="18" y="99"/>
                  </a:lnTo>
                  <a:lnTo>
                    <a:pt x="27" y="107"/>
                  </a:lnTo>
                  <a:lnTo>
                    <a:pt x="24" y="116"/>
                  </a:lnTo>
                  <a:lnTo>
                    <a:pt x="14" y="148"/>
                  </a:lnTo>
                  <a:lnTo>
                    <a:pt x="23" y="160"/>
                  </a:lnTo>
                  <a:lnTo>
                    <a:pt x="23" y="176"/>
                  </a:lnTo>
                  <a:lnTo>
                    <a:pt x="27" y="179"/>
                  </a:lnTo>
                  <a:lnTo>
                    <a:pt x="21" y="179"/>
                  </a:lnTo>
                  <a:lnTo>
                    <a:pt x="24" y="187"/>
                  </a:lnTo>
                  <a:lnTo>
                    <a:pt x="29" y="184"/>
                  </a:lnTo>
                  <a:lnTo>
                    <a:pt x="38" y="190"/>
                  </a:lnTo>
                  <a:lnTo>
                    <a:pt x="47" y="188"/>
                  </a:lnTo>
                  <a:lnTo>
                    <a:pt x="56" y="187"/>
                  </a:lnTo>
                  <a:lnTo>
                    <a:pt x="60" y="181"/>
                  </a:lnTo>
                  <a:lnTo>
                    <a:pt x="62" y="167"/>
                  </a:lnTo>
                  <a:lnTo>
                    <a:pt x="74" y="160"/>
                  </a:lnTo>
                  <a:lnTo>
                    <a:pt x="80" y="167"/>
                  </a:lnTo>
                  <a:lnTo>
                    <a:pt x="88" y="175"/>
                  </a:lnTo>
                  <a:lnTo>
                    <a:pt x="97" y="160"/>
                  </a:lnTo>
                  <a:lnTo>
                    <a:pt x="95" y="137"/>
                  </a:lnTo>
                  <a:lnTo>
                    <a:pt x="101" y="113"/>
                  </a:lnTo>
                  <a:lnTo>
                    <a:pt x="107" y="93"/>
                  </a:lnTo>
                  <a:lnTo>
                    <a:pt x="98" y="86"/>
                  </a:lnTo>
                  <a:lnTo>
                    <a:pt x="100" y="75"/>
                  </a:lnTo>
                  <a:lnTo>
                    <a:pt x="107" y="69"/>
                  </a:lnTo>
                  <a:lnTo>
                    <a:pt x="107" y="51"/>
                  </a:lnTo>
                  <a:lnTo>
                    <a:pt x="97" y="33"/>
                  </a:lnTo>
                  <a:lnTo>
                    <a:pt x="98" y="23"/>
                  </a:lnTo>
                  <a:lnTo>
                    <a:pt x="92" y="6"/>
                  </a:lnTo>
                  <a:lnTo>
                    <a:pt x="85" y="6"/>
                  </a:lnTo>
                  <a:lnTo>
                    <a:pt x="71" y="0"/>
                  </a:lnTo>
                  <a:lnTo>
                    <a:pt x="68" y="0"/>
                  </a:lnTo>
                  <a:lnTo>
                    <a:pt x="65" y="7"/>
                  </a:lnTo>
                  <a:lnTo>
                    <a:pt x="56" y="13"/>
                  </a:lnTo>
                  <a:lnTo>
                    <a:pt x="42" y="23"/>
                  </a:lnTo>
                  <a:lnTo>
                    <a:pt x="38" y="32"/>
                  </a:lnTo>
                  <a:lnTo>
                    <a:pt x="24" y="32"/>
                  </a:lnTo>
                  <a:lnTo>
                    <a:pt x="12" y="26"/>
                  </a:lnTo>
                  <a:lnTo>
                    <a:pt x="8" y="18"/>
                  </a:lnTo>
                  <a:lnTo>
                    <a:pt x="8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171" name="Freeform 526"/>
            <p:cNvSpPr>
              <a:spLocks/>
            </p:cNvSpPr>
            <p:nvPr userDrawn="1"/>
          </p:nvSpPr>
          <p:spPr bwMode="auto">
            <a:xfrm>
              <a:off x="4093" y="3296"/>
              <a:ext cx="24" cy="18"/>
            </a:xfrm>
            <a:custGeom>
              <a:avLst/>
              <a:gdLst>
                <a:gd name="T0" fmla="*/ 15 w 24"/>
                <a:gd name="T1" fmla="*/ 10 h 18"/>
                <a:gd name="T2" fmla="*/ 3 w 24"/>
                <a:gd name="T3" fmla="*/ 12 h 18"/>
                <a:gd name="T4" fmla="*/ 0 w 24"/>
                <a:gd name="T5" fmla="*/ 6 h 18"/>
                <a:gd name="T6" fmla="*/ 15 w 24"/>
                <a:gd name="T7" fmla="*/ 4 h 18"/>
                <a:gd name="T8" fmla="*/ 23 w 24"/>
                <a:gd name="T9" fmla="*/ 0 h 18"/>
                <a:gd name="T10" fmla="*/ 24 w 24"/>
                <a:gd name="T11" fmla="*/ 4 h 18"/>
                <a:gd name="T12" fmla="*/ 24 w 24"/>
                <a:gd name="T13" fmla="*/ 9 h 18"/>
                <a:gd name="T14" fmla="*/ 20 w 24"/>
                <a:gd name="T15" fmla="*/ 10 h 18"/>
                <a:gd name="T16" fmla="*/ 23 w 24"/>
                <a:gd name="T17" fmla="*/ 16 h 18"/>
                <a:gd name="T18" fmla="*/ 18 w 24"/>
                <a:gd name="T19" fmla="*/ 18 h 18"/>
                <a:gd name="T20" fmla="*/ 15 w 24"/>
                <a:gd name="T21" fmla="*/ 10 h 18"/>
                <a:gd name="T22" fmla="*/ 15 w 24"/>
                <a:gd name="T23" fmla="*/ 1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" h="18">
                  <a:moveTo>
                    <a:pt x="15" y="10"/>
                  </a:moveTo>
                  <a:lnTo>
                    <a:pt x="3" y="12"/>
                  </a:lnTo>
                  <a:lnTo>
                    <a:pt x="0" y="6"/>
                  </a:lnTo>
                  <a:lnTo>
                    <a:pt x="15" y="4"/>
                  </a:lnTo>
                  <a:lnTo>
                    <a:pt x="23" y="0"/>
                  </a:lnTo>
                  <a:lnTo>
                    <a:pt x="24" y="4"/>
                  </a:lnTo>
                  <a:lnTo>
                    <a:pt x="24" y="9"/>
                  </a:lnTo>
                  <a:lnTo>
                    <a:pt x="20" y="10"/>
                  </a:lnTo>
                  <a:lnTo>
                    <a:pt x="23" y="16"/>
                  </a:lnTo>
                  <a:lnTo>
                    <a:pt x="18" y="18"/>
                  </a:lnTo>
                  <a:lnTo>
                    <a:pt x="15" y="10"/>
                  </a:lnTo>
                  <a:lnTo>
                    <a:pt x="15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172" name="Freeform 527"/>
            <p:cNvSpPr>
              <a:spLocks/>
            </p:cNvSpPr>
            <p:nvPr userDrawn="1"/>
          </p:nvSpPr>
          <p:spPr bwMode="auto">
            <a:xfrm>
              <a:off x="4350" y="3842"/>
              <a:ext cx="12" cy="9"/>
            </a:xfrm>
            <a:custGeom>
              <a:avLst/>
              <a:gdLst>
                <a:gd name="T0" fmla="*/ 12 w 12"/>
                <a:gd name="T1" fmla="*/ 6 h 9"/>
                <a:gd name="T2" fmla="*/ 6 w 12"/>
                <a:gd name="T3" fmla="*/ 9 h 9"/>
                <a:gd name="T4" fmla="*/ 0 w 12"/>
                <a:gd name="T5" fmla="*/ 1 h 9"/>
                <a:gd name="T6" fmla="*/ 10 w 12"/>
                <a:gd name="T7" fmla="*/ 0 h 9"/>
                <a:gd name="T8" fmla="*/ 12 w 12"/>
                <a:gd name="T9" fmla="*/ 6 h 9"/>
                <a:gd name="T10" fmla="*/ 12 w 12"/>
                <a:gd name="T11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9">
                  <a:moveTo>
                    <a:pt x="12" y="6"/>
                  </a:moveTo>
                  <a:lnTo>
                    <a:pt x="6" y="9"/>
                  </a:lnTo>
                  <a:lnTo>
                    <a:pt x="0" y="1"/>
                  </a:lnTo>
                  <a:lnTo>
                    <a:pt x="10" y="0"/>
                  </a:lnTo>
                  <a:lnTo>
                    <a:pt x="12" y="6"/>
                  </a:lnTo>
                  <a:lnTo>
                    <a:pt x="12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173" name="Freeform 528"/>
            <p:cNvSpPr>
              <a:spLocks/>
            </p:cNvSpPr>
            <p:nvPr userDrawn="1"/>
          </p:nvSpPr>
          <p:spPr bwMode="auto">
            <a:xfrm>
              <a:off x="4188" y="3780"/>
              <a:ext cx="12" cy="12"/>
            </a:xfrm>
            <a:custGeom>
              <a:avLst/>
              <a:gdLst>
                <a:gd name="T0" fmla="*/ 12 w 12"/>
                <a:gd name="T1" fmla="*/ 7 h 12"/>
                <a:gd name="T2" fmla="*/ 6 w 12"/>
                <a:gd name="T3" fmla="*/ 12 h 12"/>
                <a:gd name="T4" fmla="*/ 0 w 12"/>
                <a:gd name="T5" fmla="*/ 3 h 12"/>
                <a:gd name="T6" fmla="*/ 3 w 12"/>
                <a:gd name="T7" fmla="*/ 0 h 12"/>
                <a:gd name="T8" fmla="*/ 12 w 12"/>
                <a:gd name="T9" fmla="*/ 7 h 12"/>
                <a:gd name="T10" fmla="*/ 12 w 12"/>
                <a:gd name="T11" fmla="*/ 7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12">
                  <a:moveTo>
                    <a:pt x="12" y="7"/>
                  </a:moveTo>
                  <a:lnTo>
                    <a:pt x="6" y="12"/>
                  </a:lnTo>
                  <a:lnTo>
                    <a:pt x="0" y="3"/>
                  </a:lnTo>
                  <a:lnTo>
                    <a:pt x="3" y="0"/>
                  </a:lnTo>
                  <a:lnTo>
                    <a:pt x="12" y="7"/>
                  </a:lnTo>
                  <a:lnTo>
                    <a:pt x="12" y="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174" name="Freeform 529"/>
            <p:cNvSpPr>
              <a:spLocks/>
            </p:cNvSpPr>
            <p:nvPr userDrawn="1"/>
          </p:nvSpPr>
          <p:spPr bwMode="auto">
            <a:xfrm>
              <a:off x="4395" y="3650"/>
              <a:ext cx="11" cy="11"/>
            </a:xfrm>
            <a:custGeom>
              <a:avLst/>
              <a:gdLst>
                <a:gd name="T0" fmla="*/ 11 w 11"/>
                <a:gd name="T1" fmla="*/ 2 h 11"/>
                <a:gd name="T2" fmla="*/ 6 w 11"/>
                <a:gd name="T3" fmla="*/ 11 h 11"/>
                <a:gd name="T4" fmla="*/ 0 w 11"/>
                <a:gd name="T5" fmla="*/ 3 h 11"/>
                <a:gd name="T6" fmla="*/ 3 w 11"/>
                <a:gd name="T7" fmla="*/ 0 h 11"/>
                <a:gd name="T8" fmla="*/ 11 w 11"/>
                <a:gd name="T9" fmla="*/ 2 h 11"/>
                <a:gd name="T10" fmla="*/ 11 w 11"/>
                <a:gd name="T11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" h="11">
                  <a:moveTo>
                    <a:pt x="11" y="2"/>
                  </a:moveTo>
                  <a:lnTo>
                    <a:pt x="6" y="11"/>
                  </a:lnTo>
                  <a:lnTo>
                    <a:pt x="0" y="3"/>
                  </a:lnTo>
                  <a:lnTo>
                    <a:pt x="3" y="0"/>
                  </a:lnTo>
                  <a:lnTo>
                    <a:pt x="11" y="2"/>
                  </a:lnTo>
                  <a:lnTo>
                    <a:pt x="11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175" name="Freeform 530"/>
            <p:cNvSpPr>
              <a:spLocks/>
            </p:cNvSpPr>
            <p:nvPr userDrawn="1"/>
          </p:nvSpPr>
          <p:spPr bwMode="auto">
            <a:xfrm>
              <a:off x="4360" y="3849"/>
              <a:ext cx="20" cy="12"/>
            </a:xfrm>
            <a:custGeom>
              <a:avLst/>
              <a:gdLst>
                <a:gd name="T0" fmla="*/ 6 w 20"/>
                <a:gd name="T1" fmla="*/ 0 h 12"/>
                <a:gd name="T2" fmla="*/ 0 w 20"/>
                <a:gd name="T3" fmla="*/ 3 h 12"/>
                <a:gd name="T4" fmla="*/ 6 w 20"/>
                <a:gd name="T5" fmla="*/ 11 h 12"/>
                <a:gd name="T6" fmla="*/ 9 w 20"/>
                <a:gd name="T7" fmla="*/ 12 h 12"/>
                <a:gd name="T8" fmla="*/ 17 w 20"/>
                <a:gd name="T9" fmla="*/ 11 h 12"/>
                <a:gd name="T10" fmla="*/ 20 w 20"/>
                <a:gd name="T11" fmla="*/ 6 h 12"/>
                <a:gd name="T12" fmla="*/ 15 w 20"/>
                <a:gd name="T13" fmla="*/ 0 h 12"/>
                <a:gd name="T14" fmla="*/ 6 w 20"/>
                <a:gd name="T15" fmla="*/ 0 h 12"/>
                <a:gd name="T16" fmla="*/ 6 w 20"/>
                <a:gd name="T1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" h="12">
                  <a:moveTo>
                    <a:pt x="6" y="0"/>
                  </a:moveTo>
                  <a:lnTo>
                    <a:pt x="0" y="3"/>
                  </a:lnTo>
                  <a:lnTo>
                    <a:pt x="6" y="11"/>
                  </a:lnTo>
                  <a:lnTo>
                    <a:pt x="9" y="12"/>
                  </a:lnTo>
                  <a:lnTo>
                    <a:pt x="17" y="11"/>
                  </a:lnTo>
                  <a:lnTo>
                    <a:pt x="20" y="6"/>
                  </a:lnTo>
                  <a:lnTo>
                    <a:pt x="15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176" name="Freeform 531"/>
            <p:cNvSpPr>
              <a:spLocks/>
            </p:cNvSpPr>
            <p:nvPr userDrawn="1"/>
          </p:nvSpPr>
          <p:spPr bwMode="auto">
            <a:xfrm>
              <a:off x="4241" y="3673"/>
              <a:ext cx="198" cy="128"/>
            </a:xfrm>
            <a:custGeom>
              <a:avLst/>
              <a:gdLst>
                <a:gd name="T0" fmla="*/ 198 w 198"/>
                <a:gd name="T1" fmla="*/ 0 h 128"/>
                <a:gd name="T2" fmla="*/ 193 w 198"/>
                <a:gd name="T3" fmla="*/ 0 h 128"/>
                <a:gd name="T4" fmla="*/ 187 w 198"/>
                <a:gd name="T5" fmla="*/ 4 h 128"/>
                <a:gd name="T6" fmla="*/ 175 w 198"/>
                <a:gd name="T7" fmla="*/ 6 h 128"/>
                <a:gd name="T8" fmla="*/ 168 w 198"/>
                <a:gd name="T9" fmla="*/ 10 h 128"/>
                <a:gd name="T10" fmla="*/ 151 w 198"/>
                <a:gd name="T11" fmla="*/ 9 h 128"/>
                <a:gd name="T12" fmla="*/ 136 w 198"/>
                <a:gd name="T13" fmla="*/ 16 h 128"/>
                <a:gd name="T14" fmla="*/ 118 w 198"/>
                <a:gd name="T15" fmla="*/ 21 h 128"/>
                <a:gd name="T16" fmla="*/ 103 w 198"/>
                <a:gd name="T17" fmla="*/ 16 h 128"/>
                <a:gd name="T18" fmla="*/ 86 w 198"/>
                <a:gd name="T19" fmla="*/ 22 h 128"/>
                <a:gd name="T20" fmla="*/ 73 w 198"/>
                <a:gd name="T21" fmla="*/ 24 h 128"/>
                <a:gd name="T22" fmla="*/ 65 w 198"/>
                <a:gd name="T23" fmla="*/ 13 h 128"/>
                <a:gd name="T24" fmla="*/ 57 w 198"/>
                <a:gd name="T25" fmla="*/ 13 h 128"/>
                <a:gd name="T26" fmla="*/ 48 w 198"/>
                <a:gd name="T27" fmla="*/ 9 h 128"/>
                <a:gd name="T28" fmla="*/ 38 w 198"/>
                <a:gd name="T29" fmla="*/ 18 h 128"/>
                <a:gd name="T30" fmla="*/ 32 w 198"/>
                <a:gd name="T31" fmla="*/ 21 h 128"/>
                <a:gd name="T32" fmla="*/ 26 w 198"/>
                <a:gd name="T33" fmla="*/ 13 h 128"/>
                <a:gd name="T34" fmla="*/ 23 w 198"/>
                <a:gd name="T35" fmla="*/ 9 h 128"/>
                <a:gd name="T36" fmla="*/ 17 w 198"/>
                <a:gd name="T37" fmla="*/ 7 h 128"/>
                <a:gd name="T38" fmla="*/ 17 w 198"/>
                <a:gd name="T39" fmla="*/ 15 h 128"/>
                <a:gd name="T40" fmla="*/ 9 w 198"/>
                <a:gd name="T41" fmla="*/ 18 h 128"/>
                <a:gd name="T42" fmla="*/ 0 w 198"/>
                <a:gd name="T43" fmla="*/ 31 h 128"/>
                <a:gd name="T44" fmla="*/ 6 w 198"/>
                <a:gd name="T45" fmla="*/ 51 h 128"/>
                <a:gd name="T46" fmla="*/ 30 w 198"/>
                <a:gd name="T47" fmla="*/ 56 h 128"/>
                <a:gd name="T48" fmla="*/ 35 w 198"/>
                <a:gd name="T49" fmla="*/ 60 h 128"/>
                <a:gd name="T50" fmla="*/ 59 w 198"/>
                <a:gd name="T51" fmla="*/ 71 h 128"/>
                <a:gd name="T52" fmla="*/ 86 w 198"/>
                <a:gd name="T53" fmla="*/ 92 h 128"/>
                <a:gd name="T54" fmla="*/ 110 w 198"/>
                <a:gd name="T55" fmla="*/ 93 h 128"/>
                <a:gd name="T56" fmla="*/ 130 w 198"/>
                <a:gd name="T57" fmla="*/ 113 h 128"/>
                <a:gd name="T58" fmla="*/ 146 w 198"/>
                <a:gd name="T59" fmla="*/ 119 h 128"/>
                <a:gd name="T60" fmla="*/ 162 w 198"/>
                <a:gd name="T61" fmla="*/ 123 h 128"/>
                <a:gd name="T62" fmla="*/ 171 w 198"/>
                <a:gd name="T63" fmla="*/ 128 h 128"/>
                <a:gd name="T64" fmla="*/ 175 w 198"/>
                <a:gd name="T65" fmla="*/ 126 h 128"/>
                <a:gd name="T66" fmla="*/ 171 w 198"/>
                <a:gd name="T67" fmla="*/ 114 h 128"/>
                <a:gd name="T68" fmla="*/ 181 w 198"/>
                <a:gd name="T69" fmla="*/ 101 h 128"/>
                <a:gd name="T70" fmla="*/ 184 w 198"/>
                <a:gd name="T71" fmla="*/ 86 h 128"/>
                <a:gd name="T72" fmla="*/ 175 w 198"/>
                <a:gd name="T73" fmla="*/ 74 h 128"/>
                <a:gd name="T74" fmla="*/ 175 w 198"/>
                <a:gd name="T75" fmla="*/ 74 h 128"/>
                <a:gd name="T76" fmla="*/ 174 w 198"/>
                <a:gd name="T77" fmla="*/ 57 h 128"/>
                <a:gd name="T78" fmla="*/ 174 w 198"/>
                <a:gd name="T79" fmla="*/ 57 h 128"/>
                <a:gd name="T80" fmla="*/ 180 w 198"/>
                <a:gd name="T81" fmla="*/ 44 h 128"/>
                <a:gd name="T82" fmla="*/ 186 w 198"/>
                <a:gd name="T83" fmla="*/ 31 h 128"/>
                <a:gd name="T84" fmla="*/ 198 w 198"/>
                <a:gd name="T85" fmla="*/ 12 h 128"/>
                <a:gd name="T86" fmla="*/ 195 w 198"/>
                <a:gd name="T87" fmla="*/ 4 h 128"/>
                <a:gd name="T88" fmla="*/ 198 w 198"/>
                <a:gd name="T89" fmla="*/ 0 h 128"/>
                <a:gd name="T90" fmla="*/ 198 w 198"/>
                <a:gd name="T91" fmla="*/ 0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98" h="128">
                  <a:moveTo>
                    <a:pt x="198" y="0"/>
                  </a:moveTo>
                  <a:lnTo>
                    <a:pt x="193" y="0"/>
                  </a:lnTo>
                  <a:lnTo>
                    <a:pt x="187" y="4"/>
                  </a:lnTo>
                  <a:lnTo>
                    <a:pt x="175" y="6"/>
                  </a:lnTo>
                  <a:lnTo>
                    <a:pt x="168" y="10"/>
                  </a:lnTo>
                  <a:lnTo>
                    <a:pt x="151" y="9"/>
                  </a:lnTo>
                  <a:lnTo>
                    <a:pt x="136" y="16"/>
                  </a:lnTo>
                  <a:lnTo>
                    <a:pt x="118" y="21"/>
                  </a:lnTo>
                  <a:lnTo>
                    <a:pt x="103" y="16"/>
                  </a:lnTo>
                  <a:lnTo>
                    <a:pt x="86" y="22"/>
                  </a:lnTo>
                  <a:lnTo>
                    <a:pt x="73" y="24"/>
                  </a:lnTo>
                  <a:lnTo>
                    <a:pt x="65" y="13"/>
                  </a:lnTo>
                  <a:lnTo>
                    <a:pt x="57" y="13"/>
                  </a:lnTo>
                  <a:lnTo>
                    <a:pt x="48" y="9"/>
                  </a:lnTo>
                  <a:lnTo>
                    <a:pt x="38" y="18"/>
                  </a:lnTo>
                  <a:lnTo>
                    <a:pt x="32" y="21"/>
                  </a:lnTo>
                  <a:lnTo>
                    <a:pt x="26" y="13"/>
                  </a:lnTo>
                  <a:lnTo>
                    <a:pt x="23" y="9"/>
                  </a:lnTo>
                  <a:lnTo>
                    <a:pt x="17" y="7"/>
                  </a:lnTo>
                  <a:lnTo>
                    <a:pt x="17" y="15"/>
                  </a:lnTo>
                  <a:lnTo>
                    <a:pt x="9" y="18"/>
                  </a:lnTo>
                  <a:lnTo>
                    <a:pt x="0" y="31"/>
                  </a:lnTo>
                  <a:lnTo>
                    <a:pt x="6" y="51"/>
                  </a:lnTo>
                  <a:lnTo>
                    <a:pt x="30" y="56"/>
                  </a:lnTo>
                  <a:lnTo>
                    <a:pt x="35" y="60"/>
                  </a:lnTo>
                  <a:lnTo>
                    <a:pt x="59" y="71"/>
                  </a:lnTo>
                  <a:lnTo>
                    <a:pt x="86" y="92"/>
                  </a:lnTo>
                  <a:lnTo>
                    <a:pt x="110" y="93"/>
                  </a:lnTo>
                  <a:lnTo>
                    <a:pt x="130" y="113"/>
                  </a:lnTo>
                  <a:lnTo>
                    <a:pt x="146" y="119"/>
                  </a:lnTo>
                  <a:lnTo>
                    <a:pt x="162" y="123"/>
                  </a:lnTo>
                  <a:lnTo>
                    <a:pt x="171" y="128"/>
                  </a:lnTo>
                  <a:lnTo>
                    <a:pt x="175" y="126"/>
                  </a:lnTo>
                  <a:lnTo>
                    <a:pt x="171" y="114"/>
                  </a:lnTo>
                  <a:lnTo>
                    <a:pt x="181" y="101"/>
                  </a:lnTo>
                  <a:lnTo>
                    <a:pt x="184" y="86"/>
                  </a:lnTo>
                  <a:lnTo>
                    <a:pt x="175" y="74"/>
                  </a:lnTo>
                  <a:lnTo>
                    <a:pt x="175" y="74"/>
                  </a:lnTo>
                  <a:lnTo>
                    <a:pt x="174" y="57"/>
                  </a:lnTo>
                  <a:lnTo>
                    <a:pt x="174" y="57"/>
                  </a:lnTo>
                  <a:lnTo>
                    <a:pt x="180" y="44"/>
                  </a:lnTo>
                  <a:lnTo>
                    <a:pt x="186" y="31"/>
                  </a:lnTo>
                  <a:lnTo>
                    <a:pt x="198" y="12"/>
                  </a:lnTo>
                  <a:lnTo>
                    <a:pt x="195" y="4"/>
                  </a:lnTo>
                  <a:lnTo>
                    <a:pt x="198" y="0"/>
                  </a:lnTo>
                  <a:lnTo>
                    <a:pt x="19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177" name="Freeform 532"/>
            <p:cNvSpPr>
              <a:spLocks/>
            </p:cNvSpPr>
            <p:nvPr userDrawn="1"/>
          </p:nvSpPr>
          <p:spPr bwMode="auto">
            <a:xfrm>
              <a:off x="2783" y="2083"/>
              <a:ext cx="315" cy="410"/>
            </a:xfrm>
            <a:custGeom>
              <a:avLst/>
              <a:gdLst>
                <a:gd name="T0" fmla="*/ 197 w 315"/>
                <a:gd name="T1" fmla="*/ 36 h 410"/>
                <a:gd name="T2" fmla="*/ 218 w 315"/>
                <a:gd name="T3" fmla="*/ 24 h 410"/>
                <a:gd name="T4" fmla="*/ 273 w 315"/>
                <a:gd name="T5" fmla="*/ 21 h 410"/>
                <a:gd name="T6" fmla="*/ 294 w 315"/>
                <a:gd name="T7" fmla="*/ 67 h 410"/>
                <a:gd name="T8" fmla="*/ 286 w 315"/>
                <a:gd name="T9" fmla="*/ 83 h 410"/>
                <a:gd name="T10" fmla="*/ 312 w 315"/>
                <a:gd name="T11" fmla="*/ 89 h 410"/>
                <a:gd name="T12" fmla="*/ 303 w 315"/>
                <a:gd name="T13" fmla="*/ 90 h 410"/>
                <a:gd name="T14" fmla="*/ 306 w 315"/>
                <a:gd name="T15" fmla="*/ 116 h 410"/>
                <a:gd name="T16" fmla="*/ 288 w 315"/>
                <a:gd name="T17" fmla="*/ 138 h 410"/>
                <a:gd name="T18" fmla="*/ 273 w 315"/>
                <a:gd name="T19" fmla="*/ 150 h 410"/>
                <a:gd name="T20" fmla="*/ 267 w 315"/>
                <a:gd name="T21" fmla="*/ 152 h 410"/>
                <a:gd name="T22" fmla="*/ 271 w 315"/>
                <a:gd name="T23" fmla="*/ 193 h 410"/>
                <a:gd name="T24" fmla="*/ 273 w 315"/>
                <a:gd name="T25" fmla="*/ 279 h 410"/>
                <a:gd name="T26" fmla="*/ 253 w 315"/>
                <a:gd name="T27" fmla="*/ 327 h 410"/>
                <a:gd name="T28" fmla="*/ 226 w 315"/>
                <a:gd name="T29" fmla="*/ 342 h 410"/>
                <a:gd name="T30" fmla="*/ 193 w 315"/>
                <a:gd name="T31" fmla="*/ 351 h 410"/>
                <a:gd name="T32" fmla="*/ 159 w 315"/>
                <a:gd name="T33" fmla="*/ 374 h 410"/>
                <a:gd name="T34" fmla="*/ 140 w 315"/>
                <a:gd name="T35" fmla="*/ 366 h 410"/>
                <a:gd name="T36" fmla="*/ 132 w 315"/>
                <a:gd name="T37" fmla="*/ 378 h 410"/>
                <a:gd name="T38" fmla="*/ 119 w 315"/>
                <a:gd name="T39" fmla="*/ 396 h 410"/>
                <a:gd name="T40" fmla="*/ 89 w 315"/>
                <a:gd name="T41" fmla="*/ 408 h 410"/>
                <a:gd name="T42" fmla="*/ 46 w 315"/>
                <a:gd name="T43" fmla="*/ 410 h 410"/>
                <a:gd name="T44" fmla="*/ 51 w 315"/>
                <a:gd name="T45" fmla="*/ 396 h 410"/>
                <a:gd name="T46" fmla="*/ 46 w 315"/>
                <a:gd name="T47" fmla="*/ 387 h 410"/>
                <a:gd name="T48" fmla="*/ 16 w 315"/>
                <a:gd name="T49" fmla="*/ 401 h 410"/>
                <a:gd name="T50" fmla="*/ 52 w 315"/>
                <a:gd name="T51" fmla="*/ 375 h 410"/>
                <a:gd name="T52" fmla="*/ 18 w 315"/>
                <a:gd name="T53" fmla="*/ 374 h 410"/>
                <a:gd name="T54" fmla="*/ 30 w 315"/>
                <a:gd name="T55" fmla="*/ 356 h 410"/>
                <a:gd name="T56" fmla="*/ 21 w 315"/>
                <a:gd name="T57" fmla="*/ 348 h 410"/>
                <a:gd name="T58" fmla="*/ 9 w 315"/>
                <a:gd name="T59" fmla="*/ 331 h 410"/>
                <a:gd name="T60" fmla="*/ 31 w 315"/>
                <a:gd name="T61" fmla="*/ 336 h 410"/>
                <a:gd name="T62" fmla="*/ 36 w 315"/>
                <a:gd name="T63" fmla="*/ 324 h 410"/>
                <a:gd name="T64" fmla="*/ 70 w 315"/>
                <a:gd name="T65" fmla="*/ 304 h 410"/>
                <a:gd name="T66" fmla="*/ 114 w 315"/>
                <a:gd name="T67" fmla="*/ 295 h 410"/>
                <a:gd name="T68" fmla="*/ 99 w 315"/>
                <a:gd name="T69" fmla="*/ 273 h 410"/>
                <a:gd name="T70" fmla="*/ 63 w 315"/>
                <a:gd name="T71" fmla="*/ 295 h 410"/>
                <a:gd name="T72" fmla="*/ 34 w 315"/>
                <a:gd name="T73" fmla="*/ 306 h 410"/>
                <a:gd name="T74" fmla="*/ 73 w 315"/>
                <a:gd name="T75" fmla="*/ 267 h 410"/>
                <a:gd name="T76" fmla="*/ 84 w 315"/>
                <a:gd name="T77" fmla="*/ 239 h 410"/>
                <a:gd name="T78" fmla="*/ 86 w 315"/>
                <a:gd name="T79" fmla="*/ 230 h 410"/>
                <a:gd name="T80" fmla="*/ 45 w 315"/>
                <a:gd name="T81" fmla="*/ 224 h 410"/>
                <a:gd name="T82" fmla="*/ 25 w 315"/>
                <a:gd name="T83" fmla="*/ 212 h 410"/>
                <a:gd name="T84" fmla="*/ 37 w 315"/>
                <a:gd name="T85" fmla="*/ 179 h 410"/>
                <a:gd name="T86" fmla="*/ 40 w 315"/>
                <a:gd name="T87" fmla="*/ 166 h 410"/>
                <a:gd name="T88" fmla="*/ 43 w 315"/>
                <a:gd name="T89" fmla="*/ 153 h 410"/>
                <a:gd name="T90" fmla="*/ 43 w 315"/>
                <a:gd name="T91" fmla="*/ 129 h 410"/>
                <a:gd name="T92" fmla="*/ 77 w 315"/>
                <a:gd name="T93" fmla="*/ 122 h 410"/>
                <a:gd name="T94" fmla="*/ 92 w 315"/>
                <a:gd name="T95" fmla="*/ 116 h 410"/>
                <a:gd name="T96" fmla="*/ 120 w 315"/>
                <a:gd name="T97" fmla="*/ 116 h 410"/>
                <a:gd name="T98" fmla="*/ 140 w 315"/>
                <a:gd name="T99" fmla="*/ 81 h 410"/>
                <a:gd name="T100" fmla="*/ 108 w 315"/>
                <a:gd name="T101" fmla="*/ 69 h 410"/>
                <a:gd name="T102" fmla="*/ 125 w 315"/>
                <a:gd name="T103" fmla="*/ 40 h 410"/>
                <a:gd name="T104" fmla="*/ 162 w 315"/>
                <a:gd name="T105" fmla="*/ 19 h 410"/>
                <a:gd name="T106" fmla="*/ 176 w 315"/>
                <a:gd name="T107" fmla="*/ 40 h 410"/>
                <a:gd name="T108" fmla="*/ 196 w 315"/>
                <a:gd name="T109" fmla="*/ 12 h 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15" h="410">
                  <a:moveTo>
                    <a:pt x="215" y="13"/>
                  </a:moveTo>
                  <a:lnTo>
                    <a:pt x="212" y="18"/>
                  </a:lnTo>
                  <a:lnTo>
                    <a:pt x="200" y="25"/>
                  </a:lnTo>
                  <a:lnTo>
                    <a:pt x="197" y="36"/>
                  </a:lnTo>
                  <a:lnTo>
                    <a:pt x="200" y="37"/>
                  </a:lnTo>
                  <a:lnTo>
                    <a:pt x="209" y="30"/>
                  </a:lnTo>
                  <a:lnTo>
                    <a:pt x="215" y="21"/>
                  </a:lnTo>
                  <a:lnTo>
                    <a:pt x="218" y="24"/>
                  </a:lnTo>
                  <a:lnTo>
                    <a:pt x="227" y="19"/>
                  </a:lnTo>
                  <a:lnTo>
                    <a:pt x="235" y="15"/>
                  </a:lnTo>
                  <a:lnTo>
                    <a:pt x="264" y="15"/>
                  </a:lnTo>
                  <a:lnTo>
                    <a:pt x="273" y="21"/>
                  </a:lnTo>
                  <a:lnTo>
                    <a:pt x="280" y="42"/>
                  </a:lnTo>
                  <a:lnTo>
                    <a:pt x="289" y="58"/>
                  </a:lnTo>
                  <a:lnTo>
                    <a:pt x="295" y="64"/>
                  </a:lnTo>
                  <a:lnTo>
                    <a:pt x="294" y="67"/>
                  </a:lnTo>
                  <a:lnTo>
                    <a:pt x="288" y="73"/>
                  </a:lnTo>
                  <a:lnTo>
                    <a:pt x="280" y="83"/>
                  </a:lnTo>
                  <a:lnTo>
                    <a:pt x="283" y="89"/>
                  </a:lnTo>
                  <a:lnTo>
                    <a:pt x="286" y="83"/>
                  </a:lnTo>
                  <a:lnTo>
                    <a:pt x="297" y="75"/>
                  </a:lnTo>
                  <a:lnTo>
                    <a:pt x="304" y="75"/>
                  </a:lnTo>
                  <a:lnTo>
                    <a:pt x="313" y="83"/>
                  </a:lnTo>
                  <a:lnTo>
                    <a:pt x="312" y="89"/>
                  </a:lnTo>
                  <a:lnTo>
                    <a:pt x="315" y="101"/>
                  </a:lnTo>
                  <a:lnTo>
                    <a:pt x="310" y="105"/>
                  </a:lnTo>
                  <a:lnTo>
                    <a:pt x="304" y="102"/>
                  </a:lnTo>
                  <a:lnTo>
                    <a:pt x="303" y="90"/>
                  </a:lnTo>
                  <a:lnTo>
                    <a:pt x="300" y="92"/>
                  </a:lnTo>
                  <a:lnTo>
                    <a:pt x="301" y="107"/>
                  </a:lnTo>
                  <a:lnTo>
                    <a:pt x="307" y="110"/>
                  </a:lnTo>
                  <a:lnTo>
                    <a:pt x="306" y="116"/>
                  </a:lnTo>
                  <a:lnTo>
                    <a:pt x="301" y="123"/>
                  </a:lnTo>
                  <a:lnTo>
                    <a:pt x="289" y="125"/>
                  </a:lnTo>
                  <a:lnTo>
                    <a:pt x="288" y="128"/>
                  </a:lnTo>
                  <a:lnTo>
                    <a:pt x="288" y="138"/>
                  </a:lnTo>
                  <a:lnTo>
                    <a:pt x="283" y="143"/>
                  </a:lnTo>
                  <a:lnTo>
                    <a:pt x="277" y="147"/>
                  </a:lnTo>
                  <a:lnTo>
                    <a:pt x="273" y="150"/>
                  </a:lnTo>
                  <a:lnTo>
                    <a:pt x="273" y="150"/>
                  </a:lnTo>
                  <a:lnTo>
                    <a:pt x="271" y="152"/>
                  </a:lnTo>
                  <a:lnTo>
                    <a:pt x="270" y="152"/>
                  </a:lnTo>
                  <a:lnTo>
                    <a:pt x="267" y="152"/>
                  </a:lnTo>
                  <a:lnTo>
                    <a:pt x="267" y="152"/>
                  </a:lnTo>
                  <a:lnTo>
                    <a:pt x="259" y="149"/>
                  </a:lnTo>
                  <a:lnTo>
                    <a:pt x="258" y="156"/>
                  </a:lnTo>
                  <a:lnTo>
                    <a:pt x="261" y="179"/>
                  </a:lnTo>
                  <a:lnTo>
                    <a:pt x="271" y="193"/>
                  </a:lnTo>
                  <a:lnTo>
                    <a:pt x="265" y="206"/>
                  </a:lnTo>
                  <a:lnTo>
                    <a:pt x="270" y="223"/>
                  </a:lnTo>
                  <a:lnTo>
                    <a:pt x="279" y="264"/>
                  </a:lnTo>
                  <a:lnTo>
                    <a:pt x="273" y="279"/>
                  </a:lnTo>
                  <a:lnTo>
                    <a:pt x="261" y="310"/>
                  </a:lnTo>
                  <a:lnTo>
                    <a:pt x="258" y="321"/>
                  </a:lnTo>
                  <a:lnTo>
                    <a:pt x="251" y="321"/>
                  </a:lnTo>
                  <a:lnTo>
                    <a:pt x="253" y="327"/>
                  </a:lnTo>
                  <a:lnTo>
                    <a:pt x="262" y="339"/>
                  </a:lnTo>
                  <a:lnTo>
                    <a:pt x="253" y="341"/>
                  </a:lnTo>
                  <a:lnTo>
                    <a:pt x="239" y="338"/>
                  </a:lnTo>
                  <a:lnTo>
                    <a:pt x="226" y="342"/>
                  </a:lnTo>
                  <a:lnTo>
                    <a:pt x="223" y="331"/>
                  </a:lnTo>
                  <a:lnTo>
                    <a:pt x="217" y="334"/>
                  </a:lnTo>
                  <a:lnTo>
                    <a:pt x="214" y="345"/>
                  </a:lnTo>
                  <a:lnTo>
                    <a:pt x="193" y="351"/>
                  </a:lnTo>
                  <a:lnTo>
                    <a:pt x="178" y="359"/>
                  </a:lnTo>
                  <a:lnTo>
                    <a:pt x="172" y="368"/>
                  </a:lnTo>
                  <a:lnTo>
                    <a:pt x="164" y="365"/>
                  </a:lnTo>
                  <a:lnTo>
                    <a:pt x="159" y="374"/>
                  </a:lnTo>
                  <a:lnTo>
                    <a:pt x="150" y="375"/>
                  </a:lnTo>
                  <a:lnTo>
                    <a:pt x="144" y="381"/>
                  </a:lnTo>
                  <a:lnTo>
                    <a:pt x="137" y="375"/>
                  </a:lnTo>
                  <a:lnTo>
                    <a:pt x="140" y="366"/>
                  </a:lnTo>
                  <a:lnTo>
                    <a:pt x="135" y="371"/>
                  </a:lnTo>
                  <a:lnTo>
                    <a:pt x="131" y="369"/>
                  </a:lnTo>
                  <a:lnTo>
                    <a:pt x="128" y="377"/>
                  </a:lnTo>
                  <a:lnTo>
                    <a:pt x="132" y="378"/>
                  </a:lnTo>
                  <a:lnTo>
                    <a:pt x="131" y="384"/>
                  </a:lnTo>
                  <a:lnTo>
                    <a:pt x="134" y="390"/>
                  </a:lnTo>
                  <a:lnTo>
                    <a:pt x="122" y="389"/>
                  </a:lnTo>
                  <a:lnTo>
                    <a:pt x="119" y="396"/>
                  </a:lnTo>
                  <a:lnTo>
                    <a:pt x="110" y="396"/>
                  </a:lnTo>
                  <a:lnTo>
                    <a:pt x="105" y="402"/>
                  </a:lnTo>
                  <a:lnTo>
                    <a:pt x="98" y="405"/>
                  </a:lnTo>
                  <a:lnTo>
                    <a:pt x="89" y="408"/>
                  </a:lnTo>
                  <a:lnTo>
                    <a:pt x="69" y="405"/>
                  </a:lnTo>
                  <a:lnTo>
                    <a:pt x="64" y="404"/>
                  </a:lnTo>
                  <a:lnTo>
                    <a:pt x="60" y="407"/>
                  </a:lnTo>
                  <a:lnTo>
                    <a:pt x="46" y="410"/>
                  </a:lnTo>
                  <a:lnTo>
                    <a:pt x="46" y="405"/>
                  </a:lnTo>
                  <a:lnTo>
                    <a:pt x="39" y="402"/>
                  </a:lnTo>
                  <a:lnTo>
                    <a:pt x="46" y="396"/>
                  </a:lnTo>
                  <a:lnTo>
                    <a:pt x="51" y="396"/>
                  </a:lnTo>
                  <a:lnTo>
                    <a:pt x="64" y="390"/>
                  </a:lnTo>
                  <a:lnTo>
                    <a:pt x="55" y="389"/>
                  </a:lnTo>
                  <a:lnTo>
                    <a:pt x="61" y="384"/>
                  </a:lnTo>
                  <a:lnTo>
                    <a:pt x="46" y="387"/>
                  </a:lnTo>
                  <a:lnTo>
                    <a:pt x="39" y="389"/>
                  </a:lnTo>
                  <a:lnTo>
                    <a:pt x="33" y="396"/>
                  </a:lnTo>
                  <a:lnTo>
                    <a:pt x="25" y="401"/>
                  </a:lnTo>
                  <a:lnTo>
                    <a:pt x="16" y="401"/>
                  </a:lnTo>
                  <a:lnTo>
                    <a:pt x="27" y="396"/>
                  </a:lnTo>
                  <a:lnTo>
                    <a:pt x="33" y="383"/>
                  </a:lnTo>
                  <a:lnTo>
                    <a:pt x="48" y="378"/>
                  </a:lnTo>
                  <a:lnTo>
                    <a:pt x="52" y="375"/>
                  </a:lnTo>
                  <a:lnTo>
                    <a:pt x="45" y="371"/>
                  </a:lnTo>
                  <a:lnTo>
                    <a:pt x="30" y="378"/>
                  </a:lnTo>
                  <a:lnTo>
                    <a:pt x="24" y="381"/>
                  </a:lnTo>
                  <a:lnTo>
                    <a:pt x="18" y="374"/>
                  </a:lnTo>
                  <a:lnTo>
                    <a:pt x="4" y="375"/>
                  </a:lnTo>
                  <a:lnTo>
                    <a:pt x="13" y="366"/>
                  </a:lnTo>
                  <a:lnTo>
                    <a:pt x="25" y="357"/>
                  </a:lnTo>
                  <a:lnTo>
                    <a:pt x="30" y="356"/>
                  </a:lnTo>
                  <a:lnTo>
                    <a:pt x="40" y="351"/>
                  </a:lnTo>
                  <a:lnTo>
                    <a:pt x="39" y="348"/>
                  </a:lnTo>
                  <a:lnTo>
                    <a:pt x="31" y="350"/>
                  </a:lnTo>
                  <a:lnTo>
                    <a:pt x="21" y="348"/>
                  </a:lnTo>
                  <a:lnTo>
                    <a:pt x="4" y="347"/>
                  </a:lnTo>
                  <a:lnTo>
                    <a:pt x="0" y="342"/>
                  </a:lnTo>
                  <a:lnTo>
                    <a:pt x="4" y="333"/>
                  </a:lnTo>
                  <a:lnTo>
                    <a:pt x="9" y="331"/>
                  </a:lnTo>
                  <a:lnTo>
                    <a:pt x="24" y="328"/>
                  </a:lnTo>
                  <a:lnTo>
                    <a:pt x="19" y="338"/>
                  </a:lnTo>
                  <a:lnTo>
                    <a:pt x="28" y="330"/>
                  </a:lnTo>
                  <a:lnTo>
                    <a:pt x="31" y="336"/>
                  </a:lnTo>
                  <a:lnTo>
                    <a:pt x="37" y="338"/>
                  </a:lnTo>
                  <a:lnTo>
                    <a:pt x="52" y="338"/>
                  </a:lnTo>
                  <a:lnTo>
                    <a:pt x="42" y="333"/>
                  </a:lnTo>
                  <a:lnTo>
                    <a:pt x="36" y="324"/>
                  </a:lnTo>
                  <a:lnTo>
                    <a:pt x="46" y="319"/>
                  </a:lnTo>
                  <a:lnTo>
                    <a:pt x="48" y="307"/>
                  </a:lnTo>
                  <a:lnTo>
                    <a:pt x="54" y="306"/>
                  </a:lnTo>
                  <a:lnTo>
                    <a:pt x="70" y="304"/>
                  </a:lnTo>
                  <a:lnTo>
                    <a:pt x="90" y="298"/>
                  </a:lnTo>
                  <a:lnTo>
                    <a:pt x="101" y="295"/>
                  </a:lnTo>
                  <a:lnTo>
                    <a:pt x="117" y="298"/>
                  </a:lnTo>
                  <a:lnTo>
                    <a:pt x="114" y="295"/>
                  </a:lnTo>
                  <a:lnTo>
                    <a:pt x="101" y="292"/>
                  </a:lnTo>
                  <a:lnTo>
                    <a:pt x="93" y="291"/>
                  </a:lnTo>
                  <a:lnTo>
                    <a:pt x="95" y="282"/>
                  </a:lnTo>
                  <a:lnTo>
                    <a:pt x="99" y="273"/>
                  </a:lnTo>
                  <a:lnTo>
                    <a:pt x="92" y="276"/>
                  </a:lnTo>
                  <a:lnTo>
                    <a:pt x="83" y="289"/>
                  </a:lnTo>
                  <a:lnTo>
                    <a:pt x="75" y="292"/>
                  </a:lnTo>
                  <a:lnTo>
                    <a:pt x="63" y="295"/>
                  </a:lnTo>
                  <a:lnTo>
                    <a:pt x="58" y="297"/>
                  </a:lnTo>
                  <a:lnTo>
                    <a:pt x="60" y="300"/>
                  </a:lnTo>
                  <a:lnTo>
                    <a:pt x="48" y="300"/>
                  </a:lnTo>
                  <a:lnTo>
                    <a:pt x="34" y="306"/>
                  </a:lnTo>
                  <a:lnTo>
                    <a:pt x="33" y="300"/>
                  </a:lnTo>
                  <a:lnTo>
                    <a:pt x="57" y="288"/>
                  </a:lnTo>
                  <a:lnTo>
                    <a:pt x="63" y="274"/>
                  </a:lnTo>
                  <a:lnTo>
                    <a:pt x="73" y="267"/>
                  </a:lnTo>
                  <a:lnTo>
                    <a:pt x="72" y="264"/>
                  </a:lnTo>
                  <a:lnTo>
                    <a:pt x="64" y="265"/>
                  </a:lnTo>
                  <a:lnTo>
                    <a:pt x="72" y="247"/>
                  </a:lnTo>
                  <a:lnTo>
                    <a:pt x="84" y="239"/>
                  </a:lnTo>
                  <a:lnTo>
                    <a:pt x="99" y="241"/>
                  </a:lnTo>
                  <a:lnTo>
                    <a:pt x="95" y="232"/>
                  </a:lnTo>
                  <a:lnTo>
                    <a:pt x="96" y="223"/>
                  </a:lnTo>
                  <a:lnTo>
                    <a:pt x="86" y="230"/>
                  </a:lnTo>
                  <a:lnTo>
                    <a:pt x="58" y="230"/>
                  </a:lnTo>
                  <a:lnTo>
                    <a:pt x="54" y="226"/>
                  </a:lnTo>
                  <a:lnTo>
                    <a:pt x="52" y="215"/>
                  </a:lnTo>
                  <a:lnTo>
                    <a:pt x="45" y="224"/>
                  </a:lnTo>
                  <a:lnTo>
                    <a:pt x="39" y="224"/>
                  </a:lnTo>
                  <a:lnTo>
                    <a:pt x="37" y="217"/>
                  </a:lnTo>
                  <a:lnTo>
                    <a:pt x="28" y="217"/>
                  </a:lnTo>
                  <a:lnTo>
                    <a:pt x="25" y="212"/>
                  </a:lnTo>
                  <a:lnTo>
                    <a:pt x="16" y="205"/>
                  </a:lnTo>
                  <a:lnTo>
                    <a:pt x="24" y="194"/>
                  </a:lnTo>
                  <a:lnTo>
                    <a:pt x="34" y="190"/>
                  </a:lnTo>
                  <a:lnTo>
                    <a:pt x="37" y="179"/>
                  </a:lnTo>
                  <a:lnTo>
                    <a:pt x="57" y="173"/>
                  </a:lnTo>
                  <a:lnTo>
                    <a:pt x="52" y="170"/>
                  </a:lnTo>
                  <a:lnTo>
                    <a:pt x="52" y="164"/>
                  </a:lnTo>
                  <a:lnTo>
                    <a:pt x="40" y="166"/>
                  </a:lnTo>
                  <a:lnTo>
                    <a:pt x="36" y="170"/>
                  </a:lnTo>
                  <a:lnTo>
                    <a:pt x="30" y="161"/>
                  </a:lnTo>
                  <a:lnTo>
                    <a:pt x="31" y="150"/>
                  </a:lnTo>
                  <a:lnTo>
                    <a:pt x="43" y="153"/>
                  </a:lnTo>
                  <a:lnTo>
                    <a:pt x="42" y="147"/>
                  </a:lnTo>
                  <a:lnTo>
                    <a:pt x="34" y="144"/>
                  </a:lnTo>
                  <a:lnTo>
                    <a:pt x="31" y="134"/>
                  </a:lnTo>
                  <a:lnTo>
                    <a:pt x="43" y="129"/>
                  </a:lnTo>
                  <a:lnTo>
                    <a:pt x="45" y="114"/>
                  </a:lnTo>
                  <a:lnTo>
                    <a:pt x="60" y="117"/>
                  </a:lnTo>
                  <a:lnTo>
                    <a:pt x="69" y="116"/>
                  </a:lnTo>
                  <a:lnTo>
                    <a:pt x="77" y="122"/>
                  </a:lnTo>
                  <a:lnTo>
                    <a:pt x="78" y="128"/>
                  </a:lnTo>
                  <a:lnTo>
                    <a:pt x="87" y="132"/>
                  </a:lnTo>
                  <a:lnTo>
                    <a:pt x="84" y="123"/>
                  </a:lnTo>
                  <a:lnTo>
                    <a:pt x="92" y="116"/>
                  </a:lnTo>
                  <a:lnTo>
                    <a:pt x="104" y="122"/>
                  </a:lnTo>
                  <a:lnTo>
                    <a:pt x="114" y="128"/>
                  </a:lnTo>
                  <a:lnTo>
                    <a:pt x="119" y="128"/>
                  </a:lnTo>
                  <a:lnTo>
                    <a:pt x="120" y="116"/>
                  </a:lnTo>
                  <a:lnTo>
                    <a:pt x="114" y="104"/>
                  </a:lnTo>
                  <a:lnTo>
                    <a:pt x="122" y="95"/>
                  </a:lnTo>
                  <a:lnTo>
                    <a:pt x="134" y="95"/>
                  </a:lnTo>
                  <a:lnTo>
                    <a:pt x="140" y="81"/>
                  </a:lnTo>
                  <a:lnTo>
                    <a:pt x="129" y="80"/>
                  </a:lnTo>
                  <a:lnTo>
                    <a:pt x="117" y="83"/>
                  </a:lnTo>
                  <a:lnTo>
                    <a:pt x="105" y="75"/>
                  </a:lnTo>
                  <a:lnTo>
                    <a:pt x="108" y="69"/>
                  </a:lnTo>
                  <a:lnTo>
                    <a:pt x="116" y="61"/>
                  </a:lnTo>
                  <a:lnTo>
                    <a:pt x="131" y="55"/>
                  </a:lnTo>
                  <a:lnTo>
                    <a:pt x="128" y="49"/>
                  </a:lnTo>
                  <a:lnTo>
                    <a:pt x="125" y="40"/>
                  </a:lnTo>
                  <a:lnTo>
                    <a:pt x="135" y="30"/>
                  </a:lnTo>
                  <a:lnTo>
                    <a:pt x="146" y="27"/>
                  </a:lnTo>
                  <a:lnTo>
                    <a:pt x="150" y="18"/>
                  </a:lnTo>
                  <a:lnTo>
                    <a:pt x="162" y="19"/>
                  </a:lnTo>
                  <a:lnTo>
                    <a:pt x="161" y="15"/>
                  </a:lnTo>
                  <a:lnTo>
                    <a:pt x="172" y="10"/>
                  </a:lnTo>
                  <a:lnTo>
                    <a:pt x="184" y="22"/>
                  </a:lnTo>
                  <a:lnTo>
                    <a:pt x="176" y="40"/>
                  </a:lnTo>
                  <a:lnTo>
                    <a:pt x="185" y="40"/>
                  </a:lnTo>
                  <a:lnTo>
                    <a:pt x="190" y="30"/>
                  </a:lnTo>
                  <a:lnTo>
                    <a:pt x="187" y="12"/>
                  </a:lnTo>
                  <a:lnTo>
                    <a:pt x="196" y="12"/>
                  </a:lnTo>
                  <a:lnTo>
                    <a:pt x="200" y="0"/>
                  </a:lnTo>
                  <a:lnTo>
                    <a:pt x="215" y="13"/>
                  </a:lnTo>
                  <a:lnTo>
                    <a:pt x="215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178" name="Freeform 533"/>
            <p:cNvSpPr>
              <a:spLocks/>
            </p:cNvSpPr>
            <p:nvPr userDrawn="1"/>
          </p:nvSpPr>
          <p:spPr bwMode="auto">
            <a:xfrm>
              <a:off x="2796" y="2233"/>
              <a:ext cx="18" cy="11"/>
            </a:xfrm>
            <a:custGeom>
              <a:avLst/>
              <a:gdLst>
                <a:gd name="T0" fmla="*/ 18 w 18"/>
                <a:gd name="T1" fmla="*/ 0 h 11"/>
                <a:gd name="T2" fmla="*/ 14 w 18"/>
                <a:gd name="T3" fmla="*/ 0 h 11"/>
                <a:gd name="T4" fmla="*/ 0 w 18"/>
                <a:gd name="T5" fmla="*/ 3 h 11"/>
                <a:gd name="T6" fmla="*/ 15 w 18"/>
                <a:gd name="T7" fmla="*/ 11 h 11"/>
                <a:gd name="T8" fmla="*/ 18 w 18"/>
                <a:gd name="T9" fmla="*/ 0 h 11"/>
                <a:gd name="T10" fmla="*/ 18 w 18"/>
                <a:gd name="T11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11">
                  <a:moveTo>
                    <a:pt x="18" y="0"/>
                  </a:moveTo>
                  <a:lnTo>
                    <a:pt x="14" y="0"/>
                  </a:lnTo>
                  <a:lnTo>
                    <a:pt x="0" y="3"/>
                  </a:lnTo>
                  <a:lnTo>
                    <a:pt x="15" y="11"/>
                  </a:lnTo>
                  <a:lnTo>
                    <a:pt x="18" y="0"/>
                  </a:lnTo>
                  <a:lnTo>
                    <a:pt x="1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179" name="Freeform 534"/>
            <p:cNvSpPr>
              <a:spLocks/>
            </p:cNvSpPr>
            <p:nvPr userDrawn="1"/>
          </p:nvSpPr>
          <p:spPr bwMode="auto">
            <a:xfrm>
              <a:off x="2819" y="2196"/>
              <a:ext cx="7" cy="10"/>
            </a:xfrm>
            <a:custGeom>
              <a:avLst/>
              <a:gdLst>
                <a:gd name="T0" fmla="*/ 7 w 7"/>
                <a:gd name="T1" fmla="*/ 1 h 10"/>
                <a:gd name="T2" fmla="*/ 6 w 7"/>
                <a:gd name="T3" fmla="*/ 10 h 10"/>
                <a:gd name="T4" fmla="*/ 0 w 7"/>
                <a:gd name="T5" fmla="*/ 7 h 10"/>
                <a:gd name="T6" fmla="*/ 0 w 7"/>
                <a:gd name="T7" fmla="*/ 0 h 10"/>
                <a:gd name="T8" fmla="*/ 7 w 7"/>
                <a:gd name="T9" fmla="*/ 1 h 10"/>
                <a:gd name="T10" fmla="*/ 7 w 7"/>
                <a:gd name="T11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10">
                  <a:moveTo>
                    <a:pt x="7" y="1"/>
                  </a:moveTo>
                  <a:lnTo>
                    <a:pt x="6" y="10"/>
                  </a:lnTo>
                  <a:lnTo>
                    <a:pt x="0" y="7"/>
                  </a:lnTo>
                  <a:lnTo>
                    <a:pt x="0" y="0"/>
                  </a:lnTo>
                  <a:lnTo>
                    <a:pt x="7" y="1"/>
                  </a:lnTo>
                  <a:lnTo>
                    <a:pt x="7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180" name="Freeform 535"/>
            <p:cNvSpPr>
              <a:spLocks/>
            </p:cNvSpPr>
            <p:nvPr userDrawn="1"/>
          </p:nvSpPr>
          <p:spPr bwMode="auto">
            <a:xfrm>
              <a:off x="3143" y="2187"/>
              <a:ext cx="29" cy="34"/>
            </a:xfrm>
            <a:custGeom>
              <a:avLst/>
              <a:gdLst>
                <a:gd name="T0" fmla="*/ 0 w 29"/>
                <a:gd name="T1" fmla="*/ 34 h 34"/>
                <a:gd name="T2" fmla="*/ 6 w 29"/>
                <a:gd name="T3" fmla="*/ 33 h 34"/>
                <a:gd name="T4" fmla="*/ 15 w 29"/>
                <a:gd name="T5" fmla="*/ 33 h 34"/>
                <a:gd name="T6" fmla="*/ 23 w 29"/>
                <a:gd name="T7" fmla="*/ 27 h 34"/>
                <a:gd name="T8" fmla="*/ 26 w 29"/>
                <a:gd name="T9" fmla="*/ 16 h 34"/>
                <a:gd name="T10" fmla="*/ 24 w 29"/>
                <a:gd name="T11" fmla="*/ 9 h 34"/>
                <a:gd name="T12" fmla="*/ 29 w 29"/>
                <a:gd name="T13" fmla="*/ 1 h 34"/>
                <a:gd name="T14" fmla="*/ 24 w 29"/>
                <a:gd name="T15" fmla="*/ 0 h 34"/>
                <a:gd name="T16" fmla="*/ 14 w 29"/>
                <a:gd name="T17" fmla="*/ 4 h 34"/>
                <a:gd name="T18" fmla="*/ 6 w 29"/>
                <a:gd name="T19" fmla="*/ 24 h 34"/>
                <a:gd name="T20" fmla="*/ 0 w 29"/>
                <a:gd name="T21" fmla="*/ 30 h 34"/>
                <a:gd name="T22" fmla="*/ 0 w 29"/>
                <a:gd name="T23" fmla="*/ 34 h 34"/>
                <a:gd name="T24" fmla="*/ 0 w 29"/>
                <a:gd name="T25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9" h="34">
                  <a:moveTo>
                    <a:pt x="0" y="34"/>
                  </a:moveTo>
                  <a:lnTo>
                    <a:pt x="6" y="33"/>
                  </a:lnTo>
                  <a:lnTo>
                    <a:pt x="15" y="33"/>
                  </a:lnTo>
                  <a:lnTo>
                    <a:pt x="23" y="27"/>
                  </a:lnTo>
                  <a:lnTo>
                    <a:pt x="26" y="16"/>
                  </a:lnTo>
                  <a:lnTo>
                    <a:pt x="24" y="9"/>
                  </a:lnTo>
                  <a:lnTo>
                    <a:pt x="29" y="1"/>
                  </a:lnTo>
                  <a:lnTo>
                    <a:pt x="24" y="0"/>
                  </a:lnTo>
                  <a:lnTo>
                    <a:pt x="14" y="4"/>
                  </a:lnTo>
                  <a:lnTo>
                    <a:pt x="6" y="24"/>
                  </a:lnTo>
                  <a:lnTo>
                    <a:pt x="0" y="30"/>
                  </a:lnTo>
                  <a:lnTo>
                    <a:pt x="0" y="34"/>
                  </a:lnTo>
                  <a:lnTo>
                    <a:pt x="0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181" name="Freeform 536"/>
            <p:cNvSpPr>
              <a:spLocks/>
            </p:cNvSpPr>
            <p:nvPr userDrawn="1"/>
          </p:nvSpPr>
          <p:spPr bwMode="auto">
            <a:xfrm>
              <a:off x="3151" y="2288"/>
              <a:ext cx="34" cy="30"/>
            </a:xfrm>
            <a:custGeom>
              <a:avLst/>
              <a:gdLst>
                <a:gd name="T0" fmla="*/ 21 w 34"/>
                <a:gd name="T1" fmla="*/ 30 h 30"/>
                <a:gd name="T2" fmla="*/ 25 w 34"/>
                <a:gd name="T3" fmla="*/ 25 h 30"/>
                <a:gd name="T4" fmla="*/ 28 w 34"/>
                <a:gd name="T5" fmla="*/ 18 h 30"/>
                <a:gd name="T6" fmla="*/ 34 w 34"/>
                <a:gd name="T7" fmla="*/ 10 h 30"/>
                <a:gd name="T8" fmla="*/ 28 w 34"/>
                <a:gd name="T9" fmla="*/ 10 h 30"/>
                <a:gd name="T10" fmla="*/ 22 w 34"/>
                <a:gd name="T11" fmla="*/ 6 h 30"/>
                <a:gd name="T12" fmla="*/ 18 w 34"/>
                <a:gd name="T13" fmla="*/ 0 h 30"/>
                <a:gd name="T14" fmla="*/ 0 w 34"/>
                <a:gd name="T15" fmla="*/ 3 h 30"/>
                <a:gd name="T16" fmla="*/ 1 w 34"/>
                <a:gd name="T17" fmla="*/ 12 h 30"/>
                <a:gd name="T18" fmla="*/ 4 w 34"/>
                <a:gd name="T19" fmla="*/ 13 h 30"/>
                <a:gd name="T20" fmla="*/ 0 w 34"/>
                <a:gd name="T21" fmla="*/ 15 h 30"/>
                <a:gd name="T22" fmla="*/ 1 w 34"/>
                <a:gd name="T23" fmla="*/ 24 h 30"/>
                <a:gd name="T24" fmla="*/ 21 w 34"/>
                <a:gd name="T25" fmla="*/ 30 h 30"/>
                <a:gd name="T26" fmla="*/ 21 w 34"/>
                <a:gd name="T27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4" h="30">
                  <a:moveTo>
                    <a:pt x="21" y="30"/>
                  </a:moveTo>
                  <a:lnTo>
                    <a:pt x="25" y="25"/>
                  </a:lnTo>
                  <a:lnTo>
                    <a:pt x="28" y="18"/>
                  </a:lnTo>
                  <a:lnTo>
                    <a:pt x="34" y="10"/>
                  </a:lnTo>
                  <a:lnTo>
                    <a:pt x="28" y="10"/>
                  </a:lnTo>
                  <a:lnTo>
                    <a:pt x="22" y="6"/>
                  </a:lnTo>
                  <a:lnTo>
                    <a:pt x="18" y="0"/>
                  </a:lnTo>
                  <a:lnTo>
                    <a:pt x="0" y="3"/>
                  </a:lnTo>
                  <a:lnTo>
                    <a:pt x="1" y="12"/>
                  </a:lnTo>
                  <a:lnTo>
                    <a:pt x="4" y="13"/>
                  </a:lnTo>
                  <a:lnTo>
                    <a:pt x="0" y="15"/>
                  </a:lnTo>
                  <a:lnTo>
                    <a:pt x="1" y="24"/>
                  </a:lnTo>
                  <a:lnTo>
                    <a:pt x="21" y="30"/>
                  </a:lnTo>
                  <a:lnTo>
                    <a:pt x="21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182" name="Freeform 537"/>
            <p:cNvSpPr>
              <a:spLocks/>
            </p:cNvSpPr>
            <p:nvPr userDrawn="1"/>
          </p:nvSpPr>
          <p:spPr bwMode="auto">
            <a:xfrm>
              <a:off x="3104" y="2045"/>
              <a:ext cx="16" cy="27"/>
            </a:xfrm>
            <a:custGeom>
              <a:avLst/>
              <a:gdLst>
                <a:gd name="T0" fmla="*/ 15 w 16"/>
                <a:gd name="T1" fmla="*/ 25 h 27"/>
                <a:gd name="T2" fmla="*/ 10 w 16"/>
                <a:gd name="T3" fmla="*/ 27 h 27"/>
                <a:gd name="T4" fmla="*/ 3 w 16"/>
                <a:gd name="T5" fmla="*/ 22 h 27"/>
                <a:gd name="T6" fmla="*/ 0 w 16"/>
                <a:gd name="T7" fmla="*/ 13 h 27"/>
                <a:gd name="T8" fmla="*/ 1 w 16"/>
                <a:gd name="T9" fmla="*/ 6 h 27"/>
                <a:gd name="T10" fmla="*/ 4 w 16"/>
                <a:gd name="T11" fmla="*/ 0 h 27"/>
                <a:gd name="T12" fmla="*/ 10 w 16"/>
                <a:gd name="T13" fmla="*/ 0 h 27"/>
                <a:gd name="T14" fmla="*/ 12 w 16"/>
                <a:gd name="T15" fmla="*/ 6 h 27"/>
                <a:gd name="T16" fmla="*/ 16 w 16"/>
                <a:gd name="T17" fmla="*/ 16 h 27"/>
                <a:gd name="T18" fmla="*/ 15 w 16"/>
                <a:gd name="T19" fmla="*/ 25 h 27"/>
                <a:gd name="T20" fmla="*/ 15 w 16"/>
                <a:gd name="T21" fmla="*/ 25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" h="27">
                  <a:moveTo>
                    <a:pt x="15" y="25"/>
                  </a:moveTo>
                  <a:lnTo>
                    <a:pt x="10" y="27"/>
                  </a:lnTo>
                  <a:lnTo>
                    <a:pt x="3" y="22"/>
                  </a:lnTo>
                  <a:lnTo>
                    <a:pt x="0" y="13"/>
                  </a:lnTo>
                  <a:lnTo>
                    <a:pt x="1" y="6"/>
                  </a:lnTo>
                  <a:lnTo>
                    <a:pt x="4" y="0"/>
                  </a:lnTo>
                  <a:lnTo>
                    <a:pt x="10" y="0"/>
                  </a:lnTo>
                  <a:lnTo>
                    <a:pt x="12" y="6"/>
                  </a:lnTo>
                  <a:lnTo>
                    <a:pt x="16" y="16"/>
                  </a:lnTo>
                  <a:lnTo>
                    <a:pt x="15" y="25"/>
                  </a:lnTo>
                  <a:lnTo>
                    <a:pt x="15" y="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183" name="Freeform 538"/>
            <p:cNvSpPr>
              <a:spLocks/>
            </p:cNvSpPr>
            <p:nvPr userDrawn="1"/>
          </p:nvSpPr>
          <p:spPr bwMode="auto">
            <a:xfrm>
              <a:off x="3030" y="2019"/>
              <a:ext cx="32" cy="38"/>
            </a:xfrm>
            <a:custGeom>
              <a:avLst/>
              <a:gdLst>
                <a:gd name="T0" fmla="*/ 29 w 32"/>
                <a:gd name="T1" fmla="*/ 8 h 38"/>
                <a:gd name="T2" fmla="*/ 29 w 32"/>
                <a:gd name="T3" fmla="*/ 15 h 38"/>
                <a:gd name="T4" fmla="*/ 32 w 32"/>
                <a:gd name="T5" fmla="*/ 26 h 38"/>
                <a:gd name="T6" fmla="*/ 23 w 32"/>
                <a:gd name="T7" fmla="*/ 32 h 38"/>
                <a:gd name="T8" fmla="*/ 20 w 32"/>
                <a:gd name="T9" fmla="*/ 38 h 38"/>
                <a:gd name="T10" fmla="*/ 14 w 32"/>
                <a:gd name="T11" fmla="*/ 36 h 38"/>
                <a:gd name="T12" fmla="*/ 12 w 32"/>
                <a:gd name="T13" fmla="*/ 30 h 38"/>
                <a:gd name="T14" fmla="*/ 15 w 32"/>
                <a:gd name="T15" fmla="*/ 18 h 38"/>
                <a:gd name="T16" fmla="*/ 9 w 32"/>
                <a:gd name="T17" fmla="*/ 18 h 38"/>
                <a:gd name="T18" fmla="*/ 3 w 32"/>
                <a:gd name="T19" fmla="*/ 26 h 38"/>
                <a:gd name="T20" fmla="*/ 1 w 32"/>
                <a:gd name="T21" fmla="*/ 29 h 38"/>
                <a:gd name="T22" fmla="*/ 0 w 32"/>
                <a:gd name="T23" fmla="*/ 21 h 38"/>
                <a:gd name="T24" fmla="*/ 6 w 32"/>
                <a:gd name="T25" fmla="*/ 8 h 38"/>
                <a:gd name="T26" fmla="*/ 12 w 32"/>
                <a:gd name="T27" fmla="*/ 11 h 38"/>
                <a:gd name="T28" fmla="*/ 17 w 32"/>
                <a:gd name="T29" fmla="*/ 6 h 38"/>
                <a:gd name="T30" fmla="*/ 23 w 32"/>
                <a:gd name="T31" fmla="*/ 0 h 38"/>
                <a:gd name="T32" fmla="*/ 29 w 32"/>
                <a:gd name="T33" fmla="*/ 8 h 38"/>
                <a:gd name="T34" fmla="*/ 29 w 32"/>
                <a:gd name="T35" fmla="*/ 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2" h="38">
                  <a:moveTo>
                    <a:pt x="29" y="8"/>
                  </a:moveTo>
                  <a:lnTo>
                    <a:pt x="29" y="15"/>
                  </a:lnTo>
                  <a:lnTo>
                    <a:pt x="32" y="26"/>
                  </a:lnTo>
                  <a:lnTo>
                    <a:pt x="23" y="32"/>
                  </a:lnTo>
                  <a:lnTo>
                    <a:pt x="20" y="38"/>
                  </a:lnTo>
                  <a:lnTo>
                    <a:pt x="14" y="36"/>
                  </a:lnTo>
                  <a:lnTo>
                    <a:pt x="12" y="30"/>
                  </a:lnTo>
                  <a:lnTo>
                    <a:pt x="15" y="18"/>
                  </a:lnTo>
                  <a:lnTo>
                    <a:pt x="9" y="18"/>
                  </a:lnTo>
                  <a:lnTo>
                    <a:pt x="3" y="26"/>
                  </a:lnTo>
                  <a:lnTo>
                    <a:pt x="1" y="29"/>
                  </a:lnTo>
                  <a:lnTo>
                    <a:pt x="0" y="21"/>
                  </a:lnTo>
                  <a:lnTo>
                    <a:pt x="6" y="8"/>
                  </a:lnTo>
                  <a:lnTo>
                    <a:pt x="12" y="11"/>
                  </a:lnTo>
                  <a:lnTo>
                    <a:pt x="17" y="6"/>
                  </a:lnTo>
                  <a:lnTo>
                    <a:pt x="23" y="0"/>
                  </a:lnTo>
                  <a:lnTo>
                    <a:pt x="29" y="8"/>
                  </a:lnTo>
                  <a:lnTo>
                    <a:pt x="29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184" name="Freeform 539"/>
            <p:cNvSpPr>
              <a:spLocks/>
            </p:cNvSpPr>
            <p:nvPr userDrawn="1"/>
          </p:nvSpPr>
          <p:spPr bwMode="auto">
            <a:xfrm>
              <a:off x="3056" y="1995"/>
              <a:ext cx="25" cy="36"/>
            </a:xfrm>
            <a:custGeom>
              <a:avLst/>
              <a:gdLst>
                <a:gd name="T0" fmla="*/ 3 w 25"/>
                <a:gd name="T1" fmla="*/ 33 h 36"/>
                <a:gd name="T2" fmla="*/ 7 w 25"/>
                <a:gd name="T3" fmla="*/ 36 h 36"/>
                <a:gd name="T4" fmla="*/ 16 w 25"/>
                <a:gd name="T5" fmla="*/ 27 h 36"/>
                <a:gd name="T6" fmla="*/ 18 w 25"/>
                <a:gd name="T7" fmla="*/ 18 h 36"/>
                <a:gd name="T8" fmla="*/ 25 w 25"/>
                <a:gd name="T9" fmla="*/ 5 h 36"/>
                <a:gd name="T10" fmla="*/ 24 w 25"/>
                <a:gd name="T11" fmla="*/ 0 h 36"/>
                <a:gd name="T12" fmla="*/ 16 w 25"/>
                <a:gd name="T13" fmla="*/ 8 h 36"/>
                <a:gd name="T14" fmla="*/ 7 w 25"/>
                <a:gd name="T15" fmla="*/ 18 h 36"/>
                <a:gd name="T16" fmla="*/ 12 w 25"/>
                <a:gd name="T17" fmla="*/ 18 h 36"/>
                <a:gd name="T18" fmla="*/ 0 w 25"/>
                <a:gd name="T19" fmla="*/ 27 h 36"/>
                <a:gd name="T20" fmla="*/ 3 w 25"/>
                <a:gd name="T21" fmla="*/ 32 h 36"/>
                <a:gd name="T22" fmla="*/ 3 w 25"/>
                <a:gd name="T23" fmla="*/ 33 h 36"/>
                <a:gd name="T24" fmla="*/ 3 w 25"/>
                <a:gd name="T25" fmla="*/ 33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" h="36">
                  <a:moveTo>
                    <a:pt x="3" y="33"/>
                  </a:moveTo>
                  <a:lnTo>
                    <a:pt x="7" y="36"/>
                  </a:lnTo>
                  <a:lnTo>
                    <a:pt x="16" y="27"/>
                  </a:lnTo>
                  <a:lnTo>
                    <a:pt x="18" y="18"/>
                  </a:lnTo>
                  <a:lnTo>
                    <a:pt x="25" y="5"/>
                  </a:lnTo>
                  <a:lnTo>
                    <a:pt x="24" y="0"/>
                  </a:lnTo>
                  <a:lnTo>
                    <a:pt x="16" y="8"/>
                  </a:lnTo>
                  <a:lnTo>
                    <a:pt x="7" y="18"/>
                  </a:lnTo>
                  <a:lnTo>
                    <a:pt x="12" y="18"/>
                  </a:lnTo>
                  <a:lnTo>
                    <a:pt x="0" y="27"/>
                  </a:lnTo>
                  <a:lnTo>
                    <a:pt x="3" y="32"/>
                  </a:lnTo>
                  <a:lnTo>
                    <a:pt x="3" y="33"/>
                  </a:lnTo>
                  <a:lnTo>
                    <a:pt x="3" y="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185" name="Freeform 540"/>
            <p:cNvSpPr>
              <a:spLocks/>
            </p:cNvSpPr>
            <p:nvPr userDrawn="1"/>
          </p:nvSpPr>
          <p:spPr bwMode="auto">
            <a:xfrm>
              <a:off x="3053" y="1998"/>
              <a:ext cx="7" cy="11"/>
            </a:xfrm>
            <a:custGeom>
              <a:avLst/>
              <a:gdLst>
                <a:gd name="T0" fmla="*/ 0 w 7"/>
                <a:gd name="T1" fmla="*/ 11 h 11"/>
                <a:gd name="T2" fmla="*/ 1 w 7"/>
                <a:gd name="T3" fmla="*/ 5 h 11"/>
                <a:gd name="T4" fmla="*/ 7 w 7"/>
                <a:gd name="T5" fmla="*/ 0 h 11"/>
                <a:gd name="T6" fmla="*/ 6 w 7"/>
                <a:gd name="T7" fmla="*/ 6 h 11"/>
                <a:gd name="T8" fmla="*/ 0 w 7"/>
                <a:gd name="T9" fmla="*/ 11 h 11"/>
                <a:gd name="T10" fmla="*/ 0 w 7"/>
                <a:gd name="T11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11">
                  <a:moveTo>
                    <a:pt x="0" y="11"/>
                  </a:moveTo>
                  <a:lnTo>
                    <a:pt x="1" y="5"/>
                  </a:lnTo>
                  <a:lnTo>
                    <a:pt x="7" y="0"/>
                  </a:lnTo>
                  <a:lnTo>
                    <a:pt x="6" y="6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186" name="Freeform 541"/>
            <p:cNvSpPr>
              <a:spLocks/>
            </p:cNvSpPr>
            <p:nvPr userDrawn="1"/>
          </p:nvSpPr>
          <p:spPr bwMode="auto">
            <a:xfrm>
              <a:off x="3042" y="1936"/>
              <a:ext cx="41" cy="47"/>
            </a:xfrm>
            <a:custGeom>
              <a:avLst/>
              <a:gdLst>
                <a:gd name="T0" fmla="*/ 41 w 41"/>
                <a:gd name="T1" fmla="*/ 35 h 47"/>
                <a:gd name="T2" fmla="*/ 30 w 41"/>
                <a:gd name="T3" fmla="*/ 44 h 47"/>
                <a:gd name="T4" fmla="*/ 29 w 41"/>
                <a:gd name="T5" fmla="*/ 39 h 47"/>
                <a:gd name="T6" fmla="*/ 18 w 41"/>
                <a:gd name="T7" fmla="*/ 42 h 47"/>
                <a:gd name="T8" fmla="*/ 14 w 41"/>
                <a:gd name="T9" fmla="*/ 47 h 47"/>
                <a:gd name="T10" fmla="*/ 5 w 41"/>
                <a:gd name="T11" fmla="*/ 47 h 47"/>
                <a:gd name="T12" fmla="*/ 0 w 41"/>
                <a:gd name="T13" fmla="*/ 41 h 47"/>
                <a:gd name="T14" fmla="*/ 8 w 41"/>
                <a:gd name="T15" fmla="*/ 33 h 47"/>
                <a:gd name="T16" fmla="*/ 17 w 41"/>
                <a:gd name="T17" fmla="*/ 35 h 47"/>
                <a:gd name="T18" fmla="*/ 17 w 41"/>
                <a:gd name="T19" fmla="*/ 30 h 47"/>
                <a:gd name="T20" fmla="*/ 9 w 41"/>
                <a:gd name="T21" fmla="*/ 30 h 47"/>
                <a:gd name="T22" fmla="*/ 11 w 41"/>
                <a:gd name="T23" fmla="*/ 26 h 47"/>
                <a:gd name="T24" fmla="*/ 17 w 41"/>
                <a:gd name="T25" fmla="*/ 24 h 47"/>
                <a:gd name="T26" fmla="*/ 20 w 41"/>
                <a:gd name="T27" fmla="*/ 18 h 47"/>
                <a:gd name="T28" fmla="*/ 11 w 41"/>
                <a:gd name="T29" fmla="*/ 18 h 47"/>
                <a:gd name="T30" fmla="*/ 2 w 41"/>
                <a:gd name="T31" fmla="*/ 14 h 47"/>
                <a:gd name="T32" fmla="*/ 0 w 41"/>
                <a:gd name="T33" fmla="*/ 6 h 47"/>
                <a:gd name="T34" fmla="*/ 8 w 41"/>
                <a:gd name="T35" fmla="*/ 8 h 47"/>
                <a:gd name="T36" fmla="*/ 6 w 41"/>
                <a:gd name="T37" fmla="*/ 2 h 47"/>
                <a:gd name="T38" fmla="*/ 12 w 41"/>
                <a:gd name="T39" fmla="*/ 0 h 47"/>
                <a:gd name="T40" fmla="*/ 21 w 41"/>
                <a:gd name="T41" fmla="*/ 15 h 47"/>
                <a:gd name="T42" fmla="*/ 33 w 41"/>
                <a:gd name="T43" fmla="*/ 20 h 47"/>
                <a:gd name="T44" fmla="*/ 30 w 41"/>
                <a:gd name="T45" fmla="*/ 27 h 47"/>
                <a:gd name="T46" fmla="*/ 41 w 41"/>
                <a:gd name="T47" fmla="*/ 35 h 47"/>
                <a:gd name="T48" fmla="*/ 41 w 41"/>
                <a:gd name="T49" fmla="*/ 35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1" h="47">
                  <a:moveTo>
                    <a:pt x="41" y="35"/>
                  </a:moveTo>
                  <a:lnTo>
                    <a:pt x="30" y="44"/>
                  </a:lnTo>
                  <a:lnTo>
                    <a:pt x="29" y="39"/>
                  </a:lnTo>
                  <a:lnTo>
                    <a:pt x="18" y="42"/>
                  </a:lnTo>
                  <a:lnTo>
                    <a:pt x="14" y="47"/>
                  </a:lnTo>
                  <a:lnTo>
                    <a:pt x="5" y="47"/>
                  </a:lnTo>
                  <a:lnTo>
                    <a:pt x="0" y="41"/>
                  </a:lnTo>
                  <a:lnTo>
                    <a:pt x="8" y="33"/>
                  </a:lnTo>
                  <a:lnTo>
                    <a:pt x="17" y="35"/>
                  </a:lnTo>
                  <a:lnTo>
                    <a:pt x="17" y="30"/>
                  </a:lnTo>
                  <a:lnTo>
                    <a:pt x="9" y="30"/>
                  </a:lnTo>
                  <a:lnTo>
                    <a:pt x="11" y="26"/>
                  </a:lnTo>
                  <a:lnTo>
                    <a:pt x="17" y="24"/>
                  </a:lnTo>
                  <a:lnTo>
                    <a:pt x="20" y="18"/>
                  </a:lnTo>
                  <a:lnTo>
                    <a:pt x="11" y="18"/>
                  </a:lnTo>
                  <a:lnTo>
                    <a:pt x="2" y="14"/>
                  </a:lnTo>
                  <a:lnTo>
                    <a:pt x="0" y="6"/>
                  </a:lnTo>
                  <a:lnTo>
                    <a:pt x="8" y="8"/>
                  </a:lnTo>
                  <a:lnTo>
                    <a:pt x="6" y="2"/>
                  </a:lnTo>
                  <a:lnTo>
                    <a:pt x="12" y="0"/>
                  </a:lnTo>
                  <a:lnTo>
                    <a:pt x="21" y="15"/>
                  </a:lnTo>
                  <a:lnTo>
                    <a:pt x="33" y="20"/>
                  </a:lnTo>
                  <a:lnTo>
                    <a:pt x="30" y="27"/>
                  </a:lnTo>
                  <a:lnTo>
                    <a:pt x="41" y="35"/>
                  </a:lnTo>
                  <a:lnTo>
                    <a:pt x="41" y="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187" name="Freeform 542"/>
            <p:cNvSpPr>
              <a:spLocks/>
            </p:cNvSpPr>
            <p:nvPr userDrawn="1"/>
          </p:nvSpPr>
          <p:spPr bwMode="auto">
            <a:xfrm>
              <a:off x="3018" y="1933"/>
              <a:ext cx="15" cy="11"/>
            </a:xfrm>
            <a:custGeom>
              <a:avLst/>
              <a:gdLst>
                <a:gd name="T0" fmla="*/ 15 w 15"/>
                <a:gd name="T1" fmla="*/ 0 h 11"/>
                <a:gd name="T2" fmla="*/ 10 w 15"/>
                <a:gd name="T3" fmla="*/ 0 h 11"/>
                <a:gd name="T4" fmla="*/ 3 w 15"/>
                <a:gd name="T5" fmla="*/ 5 h 11"/>
                <a:gd name="T6" fmla="*/ 0 w 15"/>
                <a:gd name="T7" fmla="*/ 11 h 11"/>
                <a:gd name="T8" fmla="*/ 7 w 15"/>
                <a:gd name="T9" fmla="*/ 9 h 11"/>
                <a:gd name="T10" fmla="*/ 15 w 15"/>
                <a:gd name="T11" fmla="*/ 0 h 11"/>
                <a:gd name="T12" fmla="*/ 15 w 15"/>
                <a:gd name="T13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11">
                  <a:moveTo>
                    <a:pt x="15" y="0"/>
                  </a:moveTo>
                  <a:lnTo>
                    <a:pt x="10" y="0"/>
                  </a:lnTo>
                  <a:lnTo>
                    <a:pt x="3" y="5"/>
                  </a:lnTo>
                  <a:lnTo>
                    <a:pt x="0" y="11"/>
                  </a:lnTo>
                  <a:lnTo>
                    <a:pt x="7" y="9"/>
                  </a:lnTo>
                  <a:lnTo>
                    <a:pt x="15" y="0"/>
                  </a:lnTo>
                  <a:lnTo>
                    <a:pt x="1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188" name="Freeform 543"/>
            <p:cNvSpPr>
              <a:spLocks/>
            </p:cNvSpPr>
            <p:nvPr userDrawn="1"/>
          </p:nvSpPr>
          <p:spPr bwMode="auto">
            <a:xfrm>
              <a:off x="3009" y="1948"/>
              <a:ext cx="9" cy="9"/>
            </a:xfrm>
            <a:custGeom>
              <a:avLst/>
              <a:gdLst>
                <a:gd name="T0" fmla="*/ 9 w 9"/>
                <a:gd name="T1" fmla="*/ 0 h 9"/>
                <a:gd name="T2" fmla="*/ 4 w 9"/>
                <a:gd name="T3" fmla="*/ 2 h 9"/>
                <a:gd name="T4" fmla="*/ 0 w 9"/>
                <a:gd name="T5" fmla="*/ 6 h 9"/>
                <a:gd name="T6" fmla="*/ 3 w 9"/>
                <a:gd name="T7" fmla="*/ 9 h 9"/>
                <a:gd name="T8" fmla="*/ 6 w 9"/>
                <a:gd name="T9" fmla="*/ 5 h 9"/>
                <a:gd name="T10" fmla="*/ 9 w 9"/>
                <a:gd name="T11" fmla="*/ 0 h 9"/>
                <a:gd name="T12" fmla="*/ 9 w 9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9">
                  <a:moveTo>
                    <a:pt x="9" y="0"/>
                  </a:moveTo>
                  <a:lnTo>
                    <a:pt x="4" y="2"/>
                  </a:lnTo>
                  <a:lnTo>
                    <a:pt x="0" y="6"/>
                  </a:lnTo>
                  <a:lnTo>
                    <a:pt x="3" y="9"/>
                  </a:lnTo>
                  <a:lnTo>
                    <a:pt x="6" y="5"/>
                  </a:lnTo>
                  <a:lnTo>
                    <a:pt x="9" y="0"/>
                  </a:lnTo>
                  <a:lnTo>
                    <a:pt x="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189" name="Freeform 544"/>
            <p:cNvSpPr>
              <a:spLocks/>
            </p:cNvSpPr>
            <p:nvPr userDrawn="1"/>
          </p:nvSpPr>
          <p:spPr bwMode="auto">
            <a:xfrm>
              <a:off x="3033" y="1892"/>
              <a:ext cx="11" cy="13"/>
            </a:xfrm>
            <a:custGeom>
              <a:avLst/>
              <a:gdLst>
                <a:gd name="T0" fmla="*/ 6 w 11"/>
                <a:gd name="T1" fmla="*/ 13 h 13"/>
                <a:gd name="T2" fmla="*/ 11 w 11"/>
                <a:gd name="T3" fmla="*/ 10 h 13"/>
                <a:gd name="T4" fmla="*/ 11 w 11"/>
                <a:gd name="T5" fmla="*/ 5 h 13"/>
                <a:gd name="T6" fmla="*/ 8 w 11"/>
                <a:gd name="T7" fmla="*/ 0 h 13"/>
                <a:gd name="T8" fmla="*/ 0 w 11"/>
                <a:gd name="T9" fmla="*/ 2 h 13"/>
                <a:gd name="T10" fmla="*/ 0 w 11"/>
                <a:gd name="T11" fmla="*/ 8 h 13"/>
                <a:gd name="T12" fmla="*/ 6 w 11"/>
                <a:gd name="T13" fmla="*/ 13 h 13"/>
                <a:gd name="T14" fmla="*/ 6 w 11"/>
                <a:gd name="T15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13">
                  <a:moveTo>
                    <a:pt x="6" y="13"/>
                  </a:moveTo>
                  <a:lnTo>
                    <a:pt x="11" y="10"/>
                  </a:lnTo>
                  <a:lnTo>
                    <a:pt x="11" y="5"/>
                  </a:lnTo>
                  <a:lnTo>
                    <a:pt x="8" y="0"/>
                  </a:lnTo>
                  <a:lnTo>
                    <a:pt x="0" y="2"/>
                  </a:lnTo>
                  <a:lnTo>
                    <a:pt x="0" y="8"/>
                  </a:lnTo>
                  <a:lnTo>
                    <a:pt x="6" y="13"/>
                  </a:lnTo>
                  <a:lnTo>
                    <a:pt x="6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190" name="Freeform 545"/>
            <p:cNvSpPr>
              <a:spLocks/>
            </p:cNvSpPr>
            <p:nvPr userDrawn="1"/>
          </p:nvSpPr>
          <p:spPr bwMode="auto">
            <a:xfrm>
              <a:off x="3044" y="1906"/>
              <a:ext cx="4" cy="3"/>
            </a:xfrm>
            <a:custGeom>
              <a:avLst/>
              <a:gdLst>
                <a:gd name="T0" fmla="*/ 0 w 4"/>
                <a:gd name="T1" fmla="*/ 2 h 3"/>
                <a:gd name="T2" fmla="*/ 4 w 4"/>
                <a:gd name="T3" fmla="*/ 0 h 3"/>
                <a:gd name="T4" fmla="*/ 4 w 4"/>
                <a:gd name="T5" fmla="*/ 3 h 3"/>
                <a:gd name="T6" fmla="*/ 0 w 4"/>
                <a:gd name="T7" fmla="*/ 2 h 3"/>
                <a:gd name="T8" fmla="*/ 0 w 4"/>
                <a:gd name="T9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3">
                  <a:moveTo>
                    <a:pt x="0" y="2"/>
                  </a:moveTo>
                  <a:lnTo>
                    <a:pt x="4" y="0"/>
                  </a:lnTo>
                  <a:lnTo>
                    <a:pt x="4" y="3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191" name="Freeform 546"/>
            <p:cNvSpPr>
              <a:spLocks/>
            </p:cNvSpPr>
            <p:nvPr userDrawn="1"/>
          </p:nvSpPr>
          <p:spPr bwMode="auto">
            <a:xfrm>
              <a:off x="3009" y="1816"/>
              <a:ext cx="69" cy="82"/>
            </a:xfrm>
            <a:custGeom>
              <a:avLst/>
              <a:gdLst>
                <a:gd name="T0" fmla="*/ 50 w 69"/>
                <a:gd name="T1" fmla="*/ 67 h 82"/>
                <a:gd name="T2" fmla="*/ 48 w 69"/>
                <a:gd name="T3" fmla="*/ 78 h 82"/>
                <a:gd name="T4" fmla="*/ 48 w 69"/>
                <a:gd name="T5" fmla="*/ 82 h 82"/>
                <a:gd name="T6" fmla="*/ 54 w 69"/>
                <a:gd name="T7" fmla="*/ 79 h 82"/>
                <a:gd name="T8" fmla="*/ 60 w 69"/>
                <a:gd name="T9" fmla="*/ 67 h 82"/>
                <a:gd name="T10" fmla="*/ 69 w 69"/>
                <a:gd name="T11" fmla="*/ 60 h 82"/>
                <a:gd name="T12" fmla="*/ 68 w 69"/>
                <a:gd name="T13" fmla="*/ 54 h 82"/>
                <a:gd name="T14" fmla="*/ 50 w 69"/>
                <a:gd name="T15" fmla="*/ 58 h 82"/>
                <a:gd name="T16" fmla="*/ 51 w 69"/>
                <a:gd name="T17" fmla="*/ 49 h 82"/>
                <a:gd name="T18" fmla="*/ 48 w 69"/>
                <a:gd name="T19" fmla="*/ 49 h 82"/>
                <a:gd name="T20" fmla="*/ 47 w 69"/>
                <a:gd name="T21" fmla="*/ 39 h 82"/>
                <a:gd name="T22" fmla="*/ 39 w 69"/>
                <a:gd name="T23" fmla="*/ 34 h 82"/>
                <a:gd name="T24" fmla="*/ 41 w 69"/>
                <a:gd name="T25" fmla="*/ 28 h 82"/>
                <a:gd name="T26" fmla="*/ 39 w 69"/>
                <a:gd name="T27" fmla="*/ 9 h 82"/>
                <a:gd name="T28" fmla="*/ 27 w 69"/>
                <a:gd name="T29" fmla="*/ 0 h 82"/>
                <a:gd name="T30" fmla="*/ 21 w 69"/>
                <a:gd name="T31" fmla="*/ 6 h 82"/>
                <a:gd name="T32" fmla="*/ 27 w 69"/>
                <a:gd name="T33" fmla="*/ 21 h 82"/>
                <a:gd name="T34" fmla="*/ 16 w 69"/>
                <a:gd name="T35" fmla="*/ 16 h 82"/>
                <a:gd name="T36" fmla="*/ 12 w 69"/>
                <a:gd name="T37" fmla="*/ 7 h 82"/>
                <a:gd name="T38" fmla="*/ 10 w 69"/>
                <a:gd name="T39" fmla="*/ 13 h 82"/>
                <a:gd name="T40" fmla="*/ 13 w 69"/>
                <a:gd name="T41" fmla="*/ 25 h 82"/>
                <a:gd name="T42" fmla="*/ 10 w 69"/>
                <a:gd name="T43" fmla="*/ 27 h 82"/>
                <a:gd name="T44" fmla="*/ 4 w 69"/>
                <a:gd name="T45" fmla="*/ 22 h 82"/>
                <a:gd name="T46" fmla="*/ 0 w 69"/>
                <a:gd name="T47" fmla="*/ 28 h 82"/>
                <a:gd name="T48" fmla="*/ 3 w 69"/>
                <a:gd name="T49" fmla="*/ 36 h 82"/>
                <a:gd name="T50" fmla="*/ 7 w 69"/>
                <a:gd name="T51" fmla="*/ 43 h 82"/>
                <a:gd name="T52" fmla="*/ 16 w 69"/>
                <a:gd name="T53" fmla="*/ 45 h 82"/>
                <a:gd name="T54" fmla="*/ 16 w 69"/>
                <a:gd name="T55" fmla="*/ 36 h 82"/>
                <a:gd name="T56" fmla="*/ 24 w 69"/>
                <a:gd name="T57" fmla="*/ 42 h 82"/>
                <a:gd name="T58" fmla="*/ 25 w 69"/>
                <a:gd name="T59" fmla="*/ 51 h 82"/>
                <a:gd name="T60" fmla="*/ 25 w 69"/>
                <a:gd name="T61" fmla="*/ 55 h 82"/>
                <a:gd name="T62" fmla="*/ 32 w 69"/>
                <a:gd name="T63" fmla="*/ 64 h 82"/>
                <a:gd name="T64" fmla="*/ 35 w 69"/>
                <a:gd name="T65" fmla="*/ 69 h 82"/>
                <a:gd name="T66" fmla="*/ 39 w 69"/>
                <a:gd name="T67" fmla="*/ 67 h 82"/>
                <a:gd name="T68" fmla="*/ 50 w 69"/>
                <a:gd name="T69" fmla="*/ 67 h 82"/>
                <a:gd name="T70" fmla="*/ 50 w 69"/>
                <a:gd name="T71" fmla="*/ 67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9" h="82">
                  <a:moveTo>
                    <a:pt x="50" y="67"/>
                  </a:moveTo>
                  <a:lnTo>
                    <a:pt x="48" y="78"/>
                  </a:lnTo>
                  <a:lnTo>
                    <a:pt x="48" y="82"/>
                  </a:lnTo>
                  <a:lnTo>
                    <a:pt x="54" y="79"/>
                  </a:lnTo>
                  <a:lnTo>
                    <a:pt x="60" y="67"/>
                  </a:lnTo>
                  <a:lnTo>
                    <a:pt x="69" y="60"/>
                  </a:lnTo>
                  <a:lnTo>
                    <a:pt x="68" y="54"/>
                  </a:lnTo>
                  <a:lnTo>
                    <a:pt x="50" y="58"/>
                  </a:lnTo>
                  <a:lnTo>
                    <a:pt x="51" y="49"/>
                  </a:lnTo>
                  <a:lnTo>
                    <a:pt x="48" y="49"/>
                  </a:lnTo>
                  <a:lnTo>
                    <a:pt x="47" y="39"/>
                  </a:lnTo>
                  <a:lnTo>
                    <a:pt x="39" y="34"/>
                  </a:lnTo>
                  <a:lnTo>
                    <a:pt x="41" y="28"/>
                  </a:lnTo>
                  <a:lnTo>
                    <a:pt x="39" y="9"/>
                  </a:lnTo>
                  <a:lnTo>
                    <a:pt x="27" y="0"/>
                  </a:lnTo>
                  <a:lnTo>
                    <a:pt x="21" y="6"/>
                  </a:lnTo>
                  <a:lnTo>
                    <a:pt x="27" y="21"/>
                  </a:lnTo>
                  <a:lnTo>
                    <a:pt x="16" y="16"/>
                  </a:lnTo>
                  <a:lnTo>
                    <a:pt x="12" y="7"/>
                  </a:lnTo>
                  <a:lnTo>
                    <a:pt x="10" y="13"/>
                  </a:lnTo>
                  <a:lnTo>
                    <a:pt x="13" y="25"/>
                  </a:lnTo>
                  <a:lnTo>
                    <a:pt x="10" y="27"/>
                  </a:lnTo>
                  <a:lnTo>
                    <a:pt x="4" y="22"/>
                  </a:lnTo>
                  <a:lnTo>
                    <a:pt x="0" y="28"/>
                  </a:lnTo>
                  <a:lnTo>
                    <a:pt x="3" y="36"/>
                  </a:lnTo>
                  <a:lnTo>
                    <a:pt x="7" y="43"/>
                  </a:lnTo>
                  <a:lnTo>
                    <a:pt x="16" y="45"/>
                  </a:lnTo>
                  <a:lnTo>
                    <a:pt x="16" y="36"/>
                  </a:lnTo>
                  <a:lnTo>
                    <a:pt x="24" y="42"/>
                  </a:lnTo>
                  <a:lnTo>
                    <a:pt x="25" y="51"/>
                  </a:lnTo>
                  <a:lnTo>
                    <a:pt x="25" y="55"/>
                  </a:lnTo>
                  <a:lnTo>
                    <a:pt x="32" y="64"/>
                  </a:lnTo>
                  <a:lnTo>
                    <a:pt x="35" y="69"/>
                  </a:lnTo>
                  <a:lnTo>
                    <a:pt x="39" y="67"/>
                  </a:lnTo>
                  <a:lnTo>
                    <a:pt x="50" y="67"/>
                  </a:lnTo>
                  <a:lnTo>
                    <a:pt x="50" y="6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192" name="Freeform 547"/>
            <p:cNvSpPr>
              <a:spLocks/>
            </p:cNvSpPr>
            <p:nvPr userDrawn="1"/>
          </p:nvSpPr>
          <p:spPr bwMode="auto">
            <a:xfrm>
              <a:off x="3057" y="1847"/>
              <a:ext cx="6" cy="15"/>
            </a:xfrm>
            <a:custGeom>
              <a:avLst/>
              <a:gdLst>
                <a:gd name="T0" fmla="*/ 3 w 6"/>
                <a:gd name="T1" fmla="*/ 15 h 15"/>
                <a:gd name="T2" fmla="*/ 2 w 6"/>
                <a:gd name="T3" fmla="*/ 9 h 15"/>
                <a:gd name="T4" fmla="*/ 0 w 6"/>
                <a:gd name="T5" fmla="*/ 0 h 15"/>
                <a:gd name="T6" fmla="*/ 5 w 6"/>
                <a:gd name="T7" fmla="*/ 2 h 15"/>
                <a:gd name="T8" fmla="*/ 6 w 6"/>
                <a:gd name="T9" fmla="*/ 8 h 15"/>
                <a:gd name="T10" fmla="*/ 3 w 6"/>
                <a:gd name="T11" fmla="*/ 15 h 15"/>
                <a:gd name="T12" fmla="*/ 3 w 6"/>
                <a:gd name="T13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15">
                  <a:moveTo>
                    <a:pt x="3" y="15"/>
                  </a:moveTo>
                  <a:lnTo>
                    <a:pt x="2" y="9"/>
                  </a:lnTo>
                  <a:lnTo>
                    <a:pt x="0" y="0"/>
                  </a:lnTo>
                  <a:lnTo>
                    <a:pt x="5" y="2"/>
                  </a:lnTo>
                  <a:lnTo>
                    <a:pt x="6" y="8"/>
                  </a:lnTo>
                  <a:lnTo>
                    <a:pt x="3" y="15"/>
                  </a:lnTo>
                  <a:lnTo>
                    <a:pt x="3" y="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193" name="Freeform 548"/>
            <p:cNvSpPr>
              <a:spLocks/>
            </p:cNvSpPr>
            <p:nvPr userDrawn="1"/>
          </p:nvSpPr>
          <p:spPr bwMode="auto">
            <a:xfrm>
              <a:off x="2988" y="1723"/>
              <a:ext cx="65" cy="83"/>
            </a:xfrm>
            <a:custGeom>
              <a:avLst/>
              <a:gdLst>
                <a:gd name="T0" fmla="*/ 22 w 65"/>
                <a:gd name="T1" fmla="*/ 68 h 83"/>
                <a:gd name="T2" fmla="*/ 24 w 65"/>
                <a:gd name="T3" fmla="*/ 62 h 83"/>
                <a:gd name="T4" fmla="*/ 30 w 65"/>
                <a:gd name="T5" fmla="*/ 64 h 83"/>
                <a:gd name="T6" fmla="*/ 36 w 65"/>
                <a:gd name="T7" fmla="*/ 64 h 83"/>
                <a:gd name="T8" fmla="*/ 43 w 65"/>
                <a:gd name="T9" fmla="*/ 58 h 83"/>
                <a:gd name="T10" fmla="*/ 45 w 65"/>
                <a:gd name="T11" fmla="*/ 55 h 83"/>
                <a:gd name="T12" fmla="*/ 43 w 65"/>
                <a:gd name="T13" fmla="*/ 47 h 83"/>
                <a:gd name="T14" fmla="*/ 37 w 65"/>
                <a:gd name="T15" fmla="*/ 47 h 83"/>
                <a:gd name="T16" fmla="*/ 45 w 65"/>
                <a:gd name="T17" fmla="*/ 41 h 83"/>
                <a:gd name="T18" fmla="*/ 51 w 65"/>
                <a:gd name="T19" fmla="*/ 35 h 83"/>
                <a:gd name="T20" fmla="*/ 59 w 65"/>
                <a:gd name="T21" fmla="*/ 34 h 83"/>
                <a:gd name="T22" fmla="*/ 65 w 65"/>
                <a:gd name="T23" fmla="*/ 25 h 83"/>
                <a:gd name="T24" fmla="*/ 62 w 65"/>
                <a:gd name="T25" fmla="*/ 20 h 83"/>
                <a:gd name="T26" fmla="*/ 53 w 65"/>
                <a:gd name="T27" fmla="*/ 31 h 83"/>
                <a:gd name="T28" fmla="*/ 51 w 65"/>
                <a:gd name="T29" fmla="*/ 26 h 83"/>
                <a:gd name="T30" fmla="*/ 60 w 65"/>
                <a:gd name="T31" fmla="*/ 17 h 83"/>
                <a:gd name="T32" fmla="*/ 57 w 65"/>
                <a:gd name="T33" fmla="*/ 0 h 83"/>
                <a:gd name="T34" fmla="*/ 53 w 65"/>
                <a:gd name="T35" fmla="*/ 0 h 83"/>
                <a:gd name="T36" fmla="*/ 51 w 65"/>
                <a:gd name="T37" fmla="*/ 7 h 83"/>
                <a:gd name="T38" fmla="*/ 43 w 65"/>
                <a:gd name="T39" fmla="*/ 10 h 83"/>
                <a:gd name="T40" fmla="*/ 25 w 65"/>
                <a:gd name="T41" fmla="*/ 23 h 83"/>
                <a:gd name="T42" fmla="*/ 24 w 65"/>
                <a:gd name="T43" fmla="*/ 29 h 83"/>
                <a:gd name="T44" fmla="*/ 25 w 65"/>
                <a:gd name="T45" fmla="*/ 37 h 83"/>
                <a:gd name="T46" fmla="*/ 22 w 65"/>
                <a:gd name="T47" fmla="*/ 31 h 83"/>
                <a:gd name="T48" fmla="*/ 15 w 65"/>
                <a:gd name="T49" fmla="*/ 31 h 83"/>
                <a:gd name="T50" fmla="*/ 13 w 65"/>
                <a:gd name="T51" fmla="*/ 34 h 83"/>
                <a:gd name="T52" fmla="*/ 9 w 65"/>
                <a:gd name="T53" fmla="*/ 29 h 83"/>
                <a:gd name="T54" fmla="*/ 1 w 65"/>
                <a:gd name="T55" fmla="*/ 40 h 83"/>
                <a:gd name="T56" fmla="*/ 3 w 65"/>
                <a:gd name="T57" fmla="*/ 53 h 83"/>
                <a:gd name="T58" fmla="*/ 10 w 65"/>
                <a:gd name="T59" fmla="*/ 52 h 83"/>
                <a:gd name="T60" fmla="*/ 6 w 65"/>
                <a:gd name="T61" fmla="*/ 56 h 83"/>
                <a:gd name="T62" fmla="*/ 7 w 65"/>
                <a:gd name="T63" fmla="*/ 61 h 83"/>
                <a:gd name="T64" fmla="*/ 13 w 65"/>
                <a:gd name="T65" fmla="*/ 64 h 83"/>
                <a:gd name="T66" fmla="*/ 7 w 65"/>
                <a:gd name="T67" fmla="*/ 73 h 83"/>
                <a:gd name="T68" fmla="*/ 0 w 65"/>
                <a:gd name="T69" fmla="*/ 79 h 83"/>
                <a:gd name="T70" fmla="*/ 9 w 65"/>
                <a:gd name="T71" fmla="*/ 83 h 83"/>
                <a:gd name="T72" fmla="*/ 19 w 65"/>
                <a:gd name="T73" fmla="*/ 79 h 83"/>
                <a:gd name="T74" fmla="*/ 22 w 65"/>
                <a:gd name="T75" fmla="*/ 68 h 83"/>
                <a:gd name="T76" fmla="*/ 22 w 65"/>
                <a:gd name="T77" fmla="*/ 68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65" h="83">
                  <a:moveTo>
                    <a:pt x="22" y="68"/>
                  </a:moveTo>
                  <a:lnTo>
                    <a:pt x="24" y="62"/>
                  </a:lnTo>
                  <a:lnTo>
                    <a:pt x="30" y="64"/>
                  </a:lnTo>
                  <a:lnTo>
                    <a:pt x="36" y="64"/>
                  </a:lnTo>
                  <a:lnTo>
                    <a:pt x="43" y="58"/>
                  </a:lnTo>
                  <a:lnTo>
                    <a:pt x="45" y="55"/>
                  </a:lnTo>
                  <a:lnTo>
                    <a:pt x="43" y="47"/>
                  </a:lnTo>
                  <a:lnTo>
                    <a:pt x="37" y="47"/>
                  </a:lnTo>
                  <a:lnTo>
                    <a:pt x="45" y="41"/>
                  </a:lnTo>
                  <a:lnTo>
                    <a:pt x="51" y="35"/>
                  </a:lnTo>
                  <a:lnTo>
                    <a:pt x="59" y="34"/>
                  </a:lnTo>
                  <a:lnTo>
                    <a:pt x="65" y="25"/>
                  </a:lnTo>
                  <a:lnTo>
                    <a:pt x="62" y="20"/>
                  </a:lnTo>
                  <a:lnTo>
                    <a:pt x="53" y="31"/>
                  </a:lnTo>
                  <a:lnTo>
                    <a:pt x="51" y="26"/>
                  </a:lnTo>
                  <a:lnTo>
                    <a:pt x="60" y="17"/>
                  </a:lnTo>
                  <a:lnTo>
                    <a:pt x="57" y="0"/>
                  </a:lnTo>
                  <a:lnTo>
                    <a:pt x="53" y="0"/>
                  </a:lnTo>
                  <a:lnTo>
                    <a:pt x="51" y="7"/>
                  </a:lnTo>
                  <a:lnTo>
                    <a:pt x="43" y="10"/>
                  </a:lnTo>
                  <a:lnTo>
                    <a:pt x="25" y="23"/>
                  </a:lnTo>
                  <a:lnTo>
                    <a:pt x="24" y="29"/>
                  </a:lnTo>
                  <a:lnTo>
                    <a:pt x="25" y="37"/>
                  </a:lnTo>
                  <a:lnTo>
                    <a:pt x="22" y="31"/>
                  </a:lnTo>
                  <a:lnTo>
                    <a:pt x="15" y="31"/>
                  </a:lnTo>
                  <a:lnTo>
                    <a:pt x="13" y="34"/>
                  </a:lnTo>
                  <a:lnTo>
                    <a:pt x="9" y="29"/>
                  </a:lnTo>
                  <a:lnTo>
                    <a:pt x="1" y="40"/>
                  </a:lnTo>
                  <a:lnTo>
                    <a:pt x="3" y="53"/>
                  </a:lnTo>
                  <a:lnTo>
                    <a:pt x="10" y="52"/>
                  </a:lnTo>
                  <a:lnTo>
                    <a:pt x="6" y="56"/>
                  </a:lnTo>
                  <a:lnTo>
                    <a:pt x="7" y="61"/>
                  </a:lnTo>
                  <a:lnTo>
                    <a:pt x="13" y="64"/>
                  </a:lnTo>
                  <a:lnTo>
                    <a:pt x="7" y="73"/>
                  </a:lnTo>
                  <a:lnTo>
                    <a:pt x="0" y="79"/>
                  </a:lnTo>
                  <a:lnTo>
                    <a:pt x="9" y="83"/>
                  </a:lnTo>
                  <a:lnTo>
                    <a:pt x="19" y="79"/>
                  </a:lnTo>
                  <a:lnTo>
                    <a:pt x="22" y="68"/>
                  </a:lnTo>
                  <a:lnTo>
                    <a:pt x="22" y="6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194" name="Freeform 549"/>
            <p:cNvSpPr>
              <a:spLocks/>
            </p:cNvSpPr>
            <p:nvPr userDrawn="1"/>
          </p:nvSpPr>
          <p:spPr bwMode="auto">
            <a:xfrm>
              <a:off x="2974" y="1840"/>
              <a:ext cx="14" cy="10"/>
            </a:xfrm>
            <a:custGeom>
              <a:avLst/>
              <a:gdLst>
                <a:gd name="T0" fmla="*/ 9 w 14"/>
                <a:gd name="T1" fmla="*/ 10 h 10"/>
                <a:gd name="T2" fmla="*/ 5 w 14"/>
                <a:gd name="T3" fmla="*/ 9 h 10"/>
                <a:gd name="T4" fmla="*/ 0 w 14"/>
                <a:gd name="T5" fmla="*/ 6 h 10"/>
                <a:gd name="T6" fmla="*/ 0 w 14"/>
                <a:gd name="T7" fmla="*/ 1 h 10"/>
                <a:gd name="T8" fmla="*/ 6 w 14"/>
                <a:gd name="T9" fmla="*/ 0 h 10"/>
                <a:gd name="T10" fmla="*/ 14 w 14"/>
                <a:gd name="T11" fmla="*/ 4 h 10"/>
                <a:gd name="T12" fmla="*/ 9 w 14"/>
                <a:gd name="T13" fmla="*/ 10 h 10"/>
                <a:gd name="T14" fmla="*/ 9 w 14"/>
                <a:gd name="T15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10">
                  <a:moveTo>
                    <a:pt x="9" y="10"/>
                  </a:moveTo>
                  <a:lnTo>
                    <a:pt x="5" y="9"/>
                  </a:lnTo>
                  <a:lnTo>
                    <a:pt x="0" y="6"/>
                  </a:lnTo>
                  <a:lnTo>
                    <a:pt x="0" y="1"/>
                  </a:lnTo>
                  <a:lnTo>
                    <a:pt x="6" y="0"/>
                  </a:lnTo>
                  <a:lnTo>
                    <a:pt x="14" y="4"/>
                  </a:lnTo>
                  <a:lnTo>
                    <a:pt x="9" y="10"/>
                  </a:lnTo>
                  <a:lnTo>
                    <a:pt x="9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195" name="Freeform 550"/>
            <p:cNvSpPr>
              <a:spLocks/>
            </p:cNvSpPr>
            <p:nvPr userDrawn="1"/>
          </p:nvSpPr>
          <p:spPr bwMode="auto">
            <a:xfrm>
              <a:off x="2967" y="1852"/>
              <a:ext cx="18" cy="39"/>
            </a:xfrm>
            <a:custGeom>
              <a:avLst/>
              <a:gdLst>
                <a:gd name="T0" fmla="*/ 18 w 18"/>
                <a:gd name="T1" fmla="*/ 6 h 39"/>
                <a:gd name="T2" fmla="*/ 9 w 18"/>
                <a:gd name="T3" fmla="*/ 0 h 39"/>
                <a:gd name="T4" fmla="*/ 1 w 18"/>
                <a:gd name="T5" fmla="*/ 1 h 39"/>
                <a:gd name="T6" fmla="*/ 0 w 18"/>
                <a:gd name="T7" fmla="*/ 15 h 39"/>
                <a:gd name="T8" fmla="*/ 1 w 18"/>
                <a:gd name="T9" fmla="*/ 25 h 39"/>
                <a:gd name="T10" fmla="*/ 4 w 18"/>
                <a:gd name="T11" fmla="*/ 33 h 39"/>
                <a:gd name="T12" fmla="*/ 12 w 18"/>
                <a:gd name="T13" fmla="*/ 39 h 39"/>
                <a:gd name="T14" fmla="*/ 15 w 18"/>
                <a:gd name="T15" fmla="*/ 30 h 39"/>
                <a:gd name="T16" fmla="*/ 9 w 18"/>
                <a:gd name="T17" fmla="*/ 15 h 39"/>
                <a:gd name="T18" fmla="*/ 16 w 18"/>
                <a:gd name="T19" fmla="*/ 12 h 39"/>
                <a:gd name="T20" fmla="*/ 18 w 18"/>
                <a:gd name="T21" fmla="*/ 6 h 39"/>
                <a:gd name="T22" fmla="*/ 18 w 18"/>
                <a:gd name="T23" fmla="*/ 6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" h="39">
                  <a:moveTo>
                    <a:pt x="18" y="6"/>
                  </a:moveTo>
                  <a:lnTo>
                    <a:pt x="9" y="0"/>
                  </a:lnTo>
                  <a:lnTo>
                    <a:pt x="1" y="1"/>
                  </a:lnTo>
                  <a:lnTo>
                    <a:pt x="0" y="15"/>
                  </a:lnTo>
                  <a:lnTo>
                    <a:pt x="1" y="25"/>
                  </a:lnTo>
                  <a:lnTo>
                    <a:pt x="4" y="33"/>
                  </a:lnTo>
                  <a:lnTo>
                    <a:pt x="12" y="39"/>
                  </a:lnTo>
                  <a:lnTo>
                    <a:pt x="15" y="30"/>
                  </a:lnTo>
                  <a:lnTo>
                    <a:pt x="9" y="15"/>
                  </a:lnTo>
                  <a:lnTo>
                    <a:pt x="16" y="12"/>
                  </a:lnTo>
                  <a:lnTo>
                    <a:pt x="18" y="6"/>
                  </a:lnTo>
                  <a:lnTo>
                    <a:pt x="18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196" name="Freeform 551"/>
            <p:cNvSpPr>
              <a:spLocks/>
            </p:cNvSpPr>
            <p:nvPr userDrawn="1"/>
          </p:nvSpPr>
          <p:spPr bwMode="auto">
            <a:xfrm>
              <a:off x="2962" y="1819"/>
              <a:ext cx="27" cy="21"/>
            </a:xfrm>
            <a:custGeom>
              <a:avLst/>
              <a:gdLst>
                <a:gd name="T0" fmla="*/ 26 w 27"/>
                <a:gd name="T1" fmla="*/ 21 h 21"/>
                <a:gd name="T2" fmla="*/ 17 w 27"/>
                <a:gd name="T3" fmla="*/ 16 h 21"/>
                <a:gd name="T4" fmla="*/ 15 w 27"/>
                <a:gd name="T5" fmla="*/ 10 h 21"/>
                <a:gd name="T6" fmla="*/ 3 w 27"/>
                <a:gd name="T7" fmla="*/ 9 h 21"/>
                <a:gd name="T8" fmla="*/ 0 w 27"/>
                <a:gd name="T9" fmla="*/ 3 h 21"/>
                <a:gd name="T10" fmla="*/ 17 w 27"/>
                <a:gd name="T11" fmla="*/ 0 h 21"/>
                <a:gd name="T12" fmla="*/ 27 w 27"/>
                <a:gd name="T13" fmla="*/ 1 h 21"/>
                <a:gd name="T14" fmla="*/ 26 w 27"/>
                <a:gd name="T15" fmla="*/ 7 h 21"/>
                <a:gd name="T16" fmla="*/ 21 w 27"/>
                <a:gd name="T17" fmla="*/ 7 h 21"/>
                <a:gd name="T18" fmla="*/ 23 w 27"/>
                <a:gd name="T19" fmla="*/ 13 h 21"/>
                <a:gd name="T20" fmla="*/ 26 w 27"/>
                <a:gd name="T21" fmla="*/ 13 h 21"/>
                <a:gd name="T22" fmla="*/ 26 w 27"/>
                <a:gd name="T23" fmla="*/ 21 h 21"/>
                <a:gd name="T24" fmla="*/ 26 w 27"/>
                <a:gd name="T2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" h="21">
                  <a:moveTo>
                    <a:pt x="26" y="21"/>
                  </a:moveTo>
                  <a:lnTo>
                    <a:pt x="17" y="16"/>
                  </a:lnTo>
                  <a:lnTo>
                    <a:pt x="15" y="10"/>
                  </a:lnTo>
                  <a:lnTo>
                    <a:pt x="3" y="9"/>
                  </a:lnTo>
                  <a:lnTo>
                    <a:pt x="0" y="3"/>
                  </a:lnTo>
                  <a:lnTo>
                    <a:pt x="17" y="0"/>
                  </a:lnTo>
                  <a:lnTo>
                    <a:pt x="27" y="1"/>
                  </a:lnTo>
                  <a:lnTo>
                    <a:pt x="26" y="7"/>
                  </a:lnTo>
                  <a:lnTo>
                    <a:pt x="21" y="7"/>
                  </a:lnTo>
                  <a:lnTo>
                    <a:pt x="23" y="13"/>
                  </a:lnTo>
                  <a:lnTo>
                    <a:pt x="26" y="13"/>
                  </a:lnTo>
                  <a:lnTo>
                    <a:pt x="26" y="21"/>
                  </a:lnTo>
                  <a:lnTo>
                    <a:pt x="26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197" name="Freeform 552"/>
            <p:cNvSpPr>
              <a:spLocks/>
            </p:cNvSpPr>
            <p:nvPr userDrawn="1"/>
          </p:nvSpPr>
          <p:spPr bwMode="auto">
            <a:xfrm>
              <a:off x="2970" y="1892"/>
              <a:ext cx="6" cy="14"/>
            </a:xfrm>
            <a:custGeom>
              <a:avLst/>
              <a:gdLst>
                <a:gd name="T0" fmla="*/ 6 w 6"/>
                <a:gd name="T1" fmla="*/ 5 h 14"/>
                <a:gd name="T2" fmla="*/ 1 w 6"/>
                <a:gd name="T3" fmla="*/ 0 h 14"/>
                <a:gd name="T4" fmla="*/ 0 w 6"/>
                <a:gd name="T5" fmla="*/ 14 h 14"/>
                <a:gd name="T6" fmla="*/ 6 w 6"/>
                <a:gd name="T7" fmla="*/ 5 h 14"/>
                <a:gd name="T8" fmla="*/ 6 w 6"/>
                <a:gd name="T9" fmla="*/ 5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4">
                  <a:moveTo>
                    <a:pt x="6" y="5"/>
                  </a:moveTo>
                  <a:lnTo>
                    <a:pt x="1" y="0"/>
                  </a:lnTo>
                  <a:lnTo>
                    <a:pt x="0" y="14"/>
                  </a:lnTo>
                  <a:lnTo>
                    <a:pt x="6" y="5"/>
                  </a:lnTo>
                  <a:lnTo>
                    <a:pt x="6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198" name="Freeform 553"/>
            <p:cNvSpPr>
              <a:spLocks/>
            </p:cNvSpPr>
            <p:nvPr userDrawn="1"/>
          </p:nvSpPr>
          <p:spPr bwMode="auto">
            <a:xfrm>
              <a:off x="3225" y="1662"/>
              <a:ext cx="18" cy="18"/>
            </a:xfrm>
            <a:custGeom>
              <a:avLst/>
              <a:gdLst>
                <a:gd name="T0" fmla="*/ 18 w 18"/>
                <a:gd name="T1" fmla="*/ 13 h 18"/>
                <a:gd name="T2" fmla="*/ 9 w 18"/>
                <a:gd name="T3" fmla="*/ 18 h 18"/>
                <a:gd name="T4" fmla="*/ 0 w 18"/>
                <a:gd name="T5" fmla="*/ 10 h 18"/>
                <a:gd name="T6" fmla="*/ 0 w 18"/>
                <a:gd name="T7" fmla="*/ 4 h 18"/>
                <a:gd name="T8" fmla="*/ 7 w 18"/>
                <a:gd name="T9" fmla="*/ 0 h 18"/>
                <a:gd name="T10" fmla="*/ 18 w 18"/>
                <a:gd name="T11" fmla="*/ 13 h 18"/>
                <a:gd name="T12" fmla="*/ 18 w 18"/>
                <a:gd name="T13" fmla="*/ 13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" h="18">
                  <a:moveTo>
                    <a:pt x="18" y="13"/>
                  </a:moveTo>
                  <a:lnTo>
                    <a:pt x="9" y="18"/>
                  </a:lnTo>
                  <a:lnTo>
                    <a:pt x="0" y="10"/>
                  </a:lnTo>
                  <a:lnTo>
                    <a:pt x="0" y="4"/>
                  </a:lnTo>
                  <a:lnTo>
                    <a:pt x="7" y="0"/>
                  </a:lnTo>
                  <a:lnTo>
                    <a:pt x="18" y="13"/>
                  </a:lnTo>
                  <a:lnTo>
                    <a:pt x="18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199" name="Freeform 554"/>
            <p:cNvSpPr>
              <a:spLocks/>
            </p:cNvSpPr>
            <p:nvPr userDrawn="1"/>
          </p:nvSpPr>
          <p:spPr bwMode="auto">
            <a:xfrm>
              <a:off x="3250" y="1672"/>
              <a:ext cx="9" cy="12"/>
            </a:xfrm>
            <a:custGeom>
              <a:avLst/>
              <a:gdLst>
                <a:gd name="T0" fmla="*/ 0 w 9"/>
                <a:gd name="T1" fmla="*/ 3 h 12"/>
                <a:gd name="T2" fmla="*/ 6 w 9"/>
                <a:gd name="T3" fmla="*/ 0 h 12"/>
                <a:gd name="T4" fmla="*/ 9 w 9"/>
                <a:gd name="T5" fmla="*/ 5 h 12"/>
                <a:gd name="T6" fmla="*/ 5 w 9"/>
                <a:gd name="T7" fmla="*/ 12 h 12"/>
                <a:gd name="T8" fmla="*/ 2 w 9"/>
                <a:gd name="T9" fmla="*/ 11 h 12"/>
                <a:gd name="T10" fmla="*/ 0 w 9"/>
                <a:gd name="T11" fmla="*/ 3 h 12"/>
                <a:gd name="T12" fmla="*/ 0 w 9"/>
                <a:gd name="T13" fmla="*/ 3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2">
                  <a:moveTo>
                    <a:pt x="0" y="3"/>
                  </a:moveTo>
                  <a:lnTo>
                    <a:pt x="6" y="0"/>
                  </a:lnTo>
                  <a:lnTo>
                    <a:pt x="9" y="5"/>
                  </a:lnTo>
                  <a:lnTo>
                    <a:pt x="5" y="12"/>
                  </a:lnTo>
                  <a:lnTo>
                    <a:pt x="2" y="11"/>
                  </a:lnTo>
                  <a:lnTo>
                    <a:pt x="0" y="3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200" name="Freeform 555"/>
            <p:cNvSpPr>
              <a:spLocks/>
            </p:cNvSpPr>
            <p:nvPr userDrawn="1"/>
          </p:nvSpPr>
          <p:spPr bwMode="auto">
            <a:xfrm>
              <a:off x="3225" y="1636"/>
              <a:ext cx="51" cy="30"/>
            </a:xfrm>
            <a:custGeom>
              <a:avLst/>
              <a:gdLst>
                <a:gd name="T0" fmla="*/ 16 w 51"/>
                <a:gd name="T1" fmla="*/ 29 h 30"/>
                <a:gd name="T2" fmla="*/ 34 w 51"/>
                <a:gd name="T3" fmla="*/ 18 h 30"/>
                <a:gd name="T4" fmla="*/ 37 w 51"/>
                <a:gd name="T5" fmla="*/ 30 h 30"/>
                <a:gd name="T6" fmla="*/ 48 w 51"/>
                <a:gd name="T7" fmla="*/ 29 h 30"/>
                <a:gd name="T8" fmla="*/ 51 w 51"/>
                <a:gd name="T9" fmla="*/ 20 h 30"/>
                <a:gd name="T10" fmla="*/ 42 w 51"/>
                <a:gd name="T11" fmla="*/ 23 h 30"/>
                <a:gd name="T12" fmla="*/ 37 w 51"/>
                <a:gd name="T13" fmla="*/ 18 h 30"/>
                <a:gd name="T14" fmla="*/ 31 w 51"/>
                <a:gd name="T15" fmla="*/ 14 h 30"/>
                <a:gd name="T16" fmla="*/ 21 w 51"/>
                <a:gd name="T17" fmla="*/ 21 h 30"/>
                <a:gd name="T18" fmla="*/ 16 w 51"/>
                <a:gd name="T19" fmla="*/ 17 h 30"/>
                <a:gd name="T20" fmla="*/ 19 w 51"/>
                <a:gd name="T21" fmla="*/ 9 h 30"/>
                <a:gd name="T22" fmla="*/ 15 w 51"/>
                <a:gd name="T23" fmla="*/ 3 h 30"/>
                <a:gd name="T24" fmla="*/ 4 w 51"/>
                <a:gd name="T25" fmla="*/ 0 h 30"/>
                <a:gd name="T26" fmla="*/ 0 w 51"/>
                <a:gd name="T27" fmla="*/ 17 h 30"/>
                <a:gd name="T28" fmla="*/ 6 w 51"/>
                <a:gd name="T29" fmla="*/ 24 h 30"/>
                <a:gd name="T30" fmla="*/ 12 w 51"/>
                <a:gd name="T31" fmla="*/ 26 h 30"/>
                <a:gd name="T32" fmla="*/ 16 w 51"/>
                <a:gd name="T33" fmla="*/ 29 h 30"/>
                <a:gd name="T34" fmla="*/ 16 w 51"/>
                <a:gd name="T35" fmla="*/ 29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1" h="30">
                  <a:moveTo>
                    <a:pt x="16" y="29"/>
                  </a:moveTo>
                  <a:lnTo>
                    <a:pt x="34" y="18"/>
                  </a:lnTo>
                  <a:lnTo>
                    <a:pt x="37" y="30"/>
                  </a:lnTo>
                  <a:lnTo>
                    <a:pt x="48" y="29"/>
                  </a:lnTo>
                  <a:lnTo>
                    <a:pt x="51" y="20"/>
                  </a:lnTo>
                  <a:lnTo>
                    <a:pt x="42" y="23"/>
                  </a:lnTo>
                  <a:lnTo>
                    <a:pt x="37" y="18"/>
                  </a:lnTo>
                  <a:lnTo>
                    <a:pt x="31" y="14"/>
                  </a:lnTo>
                  <a:lnTo>
                    <a:pt x="21" y="21"/>
                  </a:lnTo>
                  <a:lnTo>
                    <a:pt x="16" y="17"/>
                  </a:lnTo>
                  <a:lnTo>
                    <a:pt x="19" y="9"/>
                  </a:lnTo>
                  <a:lnTo>
                    <a:pt x="15" y="3"/>
                  </a:lnTo>
                  <a:lnTo>
                    <a:pt x="4" y="0"/>
                  </a:lnTo>
                  <a:lnTo>
                    <a:pt x="0" y="17"/>
                  </a:lnTo>
                  <a:lnTo>
                    <a:pt x="6" y="24"/>
                  </a:lnTo>
                  <a:lnTo>
                    <a:pt x="12" y="26"/>
                  </a:lnTo>
                  <a:lnTo>
                    <a:pt x="16" y="29"/>
                  </a:lnTo>
                  <a:lnTo>
                    <a:pt x="16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201" name="Freeform 556"/>
            <p:cNvSpPr>
              <a:spLocks/>
            </p:cNvSpPr>
            <p:nvPr userDrawn="1"/>
          </p:nvSpPr>
          <p:spPr bwMode="auto">
            <a:xfrm>
              <a:off x="3243" y="1630"/>
              <a:ext cx="10" cy="7"/>
            </a:xfrm>
            <a:custGeom>
              <a:avLst/>
              <a:gdLst>
                <a:gd name="T0" fmla="*/ 0 w 10"/>
                <a:gd name="T1" fmla="*/ 4 h 7"/>
                <a:gd name="T2" fmla="*/ 4 w 10"/>
                <a:gd name="T3" fmla="*/ 7 h 7"/>
                <a:gd name="T4" fmla="*/ 10 w 10"/>
                <a:gd name="T5" fmla="*/ 3 h 7"/>
                <a:gd name="T6" fmla="*/ 1 w 10"/>
                <a:gd name="T7" fmla="*/ 0 h 7"/>
                <a:gd name="T8" fmla="*/ 0 w 10"/>
                <a:gd name="T9" fmla="*/ 4 h 7"/>
                <a:gd name="T10" fmla="*/ 0 w 10"/>
                <a:gd name="T11" fmla="*/ 4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" h="7">
                  <a:moveTo>
                    <a:pt x="0" y="4"/>
                  </a:moveTo>
                  <a:lnTo>
                    <a:pt x="4" y="7"/>
                  </a:lnTo>
                  <a:lnTo>
                    <a:pt x="10" y="3"/>
                  </a:lnTo>
                  <a:lnTo>
                    <a:pt x="1" y="0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202" name="Freeform 557"/>
            <p:cNvSpPr>
              <a:spLocks/>
            </p:cNvSpPr>
            <p:nvPr userDrawn="1"/>
          </p:nvSpPr>
          <p:spPr bwMode="auto">
            <a:xfrm>
              <a:off x="3246" y="1612"/>
              <a:ext cx="15" cy="15"/>
            </a:xfrm>
            <a:custGeom>
              <a:avLst/>
              <a:gdLst>
                <a:gd name="T0" fmla="*/ 0 w 15"/>
                <a:gd name="T1" fmla="*/ 7 h 15"/>
                <a:gd name="T2" fmla="*/ 3 w 15"/>
                <a:gd name="T3" fmla="*/ 1 h 15"/>
                <a:gd name="T4" fmla="*/ 9 w 15"/>
                <a:gd name="T5" fmla="*/ 0 h 15"/>
                <a:gd name="T6" fmla="*/ 7 w 15"/>
                <a:gd name="T7" fmla="*/ 4 h 15"/>
                <a:gd name="T8" fmla="*/ 15 w 15"/>
                <a:gd name="T9" fmla="*/ 10 h 15"/>
                <a:gd name="T10" fmla="*/ 12 w 15"/>
                <a:gd name="T11" fmla="*/ 15 h 15"/>
                <a:gd name="T12" fmla="*/ 6 w 15"/>
                <a:gd name="T13" fmla="*/ 9 h 15"/>
                <a:gd name="T14" fmla="*/ 0 w 15"/>
                <a:gd name="T15" fmla="*/ 7 h 15"/>
                <a:gd name="T16" fmla="*/ 0 w 15"/>
                <a:gd name="T17" fmla="*/ 7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15">
                  <a:moveTo>
                    <a:pt x="0" y="7"/>
                  </a:moveTo>
                  <a:lnTo>
                    <a:pt x="3" y="1"/>
                  </a:lnTo>
                  <a:lnTo>
                    <a:pt x="9" y="0"/>
                  </a:lnTo>
                  <a:lnTo>
                    <a:pt x="7" y="4"/>
                  </a:lnTo>
                  <a:lnTo>
                    <a:pt x="15" y="10"/>
                  </a:lnTo>
                  <a:lnTo>
                    <a:pt x="12" y="15"/>
                  </a:lnTo>
                  <a:lnTo>
                    <a:pt x="6" y="9"/>
                  </a:lnTo>
                  <a:lnTo>
                    <a:pt x="0" y="7"/>
                  </a:lnTo>
                  <a:lnTo>
                    <a:pt x="0" y="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203" name="Freeform 558"/>
            <p:cNvSpPr>
              <a:spLocks/>
            </p:cNvSpPr>
            <p:nvPr userDrawn="1"/>
          </p:nvSpPr>
          <p:spPr bwMode="auto">
            <a:xfrm>
              <a:off x="3270" y="1613"/>
              <a:ext cx="16" cy="15"/>
            </a:xfrm>
            <a:custGeom>
              <a:avLst/>
              <a:gdLst>
                <a:gd name="T0" fmla="*/ 0 w 16"/>
                <a:gd name="T1" fmla="*/ 15 h 15"/>
                <a:gd name="T2" fmla="*/ 0 w 16"/>
                <a:gd name="T3" fmla="*/ 6 h 15"/>
                <a:gd name="T4" fmla="*/ 7 w 16"/>
                <a:gd name="T5" fmla="*/ 0 h 15"/>
                <a:gd name="T6" fmla="*/ 16 w 16"/>
                <a:gd name="T7" fmla="*/ 0 h 15"/>
                <a:gd name="T8" fmla="*/ 13 w 16"/>
                <a:gd name="T9" fmla="*/ 5 h 15"/>
                <a:gd name="T10" fmla="*/ 0 w 16"/>
                <a:gd name="T11" fmla="*/ 15 h 15"/>
                <a:gd name="T12" fmla="*/ 0 w 16"/>
                <a:gd name="T13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15">
                  <a:moveTo>
                    <a:pt x="0" y="15"/>
                  </a:moveTo>
                  <a:lnTo>
                    <a:pt x="0" y="6"/>
                  </a:lnTo>
                  <a:lnTo>
                    <a:pt x="7" y="0"/>
                  </a:lnTo>
                  <a:lnTo>
                    <a:pt x="16" y="0"/>
                  </a:lnTo>
                  <a:lnTo>
                    <a:pt x="13" y="5"/>
                  </a:lnTo>
                  <a:lnTo>
                    <a:pt x="0" y="15"/>
                  </a:lnTo>
                  <a:lnTo>
                    <a:pt x="0" y="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204" name="Freeform 559"/>
            <p:cNvSpPr>
              <a:spLocks/>
            </p:cNvSpPr>
            <p:nvPr userDrawn="1"/>
          </p:nvSpPr>
          <p:spPr bwMode="auto">
            <a:xfrm>
              <a:off x="3268" y="1630"/>
              <a:ext cx="11" cy="6"/>
            </a:xfrm>
            <a:custGeom>
              <a:avLst/>
              <a:gdLst>
                <a:gd name="T0" fmla="*/ 0 w 11"/>
                <a:gd name="T1" fmla="*/ 3 h 6"/>
                <a:gd name="T2" fmla="*/ 9 w 11"/>
                <a:gd name="T3" fmla="*/ 0 h 6"/>
                <a:gd name="T4" fmla="*/ 11 w 11"/>
                <a:gd name="T5" fmla="*/ 6 h 6"/>
                <a:gd name="T6" fmla="*/ 0 w 11"/>
                <a:gd name="T7" fmla="*/ 3 h 6"/>
                <a:gd name="T8" fmla="*/ 0 w 11"/>
                <a:gd name="T9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6">
                  <a:moveTo>
                    <a:pt x="0" y="3"/>
                  </a:moveTo>
                  <a:lnTo>
                    <a:pt x="9" y="0"/>
                  </a:lnTo>
                  <a:lnTo>
                    <a:pt x="11" y="6"/>
                  </a:lnTo>
                  <a:lnTo>
                    <a:pt x="0" y="3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205" name="Freeform 560"/>
            <p:cNvSpPr>
              <a:spLocks/>
            </p:cNvSpPr>
            <p:nvPr userDrawn="1"/>
          </p:nvSpPr>
          <p:spPr bwMode="auto">
            <a:xfrm>
              <a:off x="3259" y="1642"/>
              <a:ext cx="9" cy="6"/>
            </a:xfrm>
            <a:custGeom>
              <a:avLst/>
              <a:gdLst>
                <a:gd name="T0" fmla="*/ 0 w 9"/>
                <a:gd name="T1" fmla="*/ 2 h 6"/>
                <a:gd name="T2" fmla="*/ 5 w 9"/>
                <a:gd name="T3" fmla="*/ 6 h 6"/>
                <a:gd name="T4" fmla="*/ 9 w 9"/>
                <a:gd name="T5" fmla="*/ 0 h 6"/>
                <a:gd name="T6" fmla="*/ 0 w 9"/>
                <a:gd name="T7" fmla="*/ 2 h 6"/>
                <a:gd name="T8" fmla="*/ 0 w 9"/>
                <a:gd name="T9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6">
                  <a:moveTo>
                    <a:pt x="0" y="2"/>
                  </a:moveTo>
                  <a:lnTo>
                    <a:pt x="5" y="6"/>
                  </a:lnTo>
                  <a:lnTo>
                    <a:pt x="9" y="0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206" name="Freeform 561"/>
            <p:cNvSpPr>
              <a:spLocks/>
            </p:cNvSpPr>
            <p:nvPr userDrawn="1"/>
          </p:nvSpPr>
          <p:spPr bwMode="auto">
            <a:xfrm>
              <a:off x="3330" y="1470"/>
              <a:ext cx="45" cy="75"/>
            </a:xfrm>
            <a:custGeom>
              <a:avLst/>
              <a:gdLst>
                <a:gd name="T0" fmla="*/ 27 w 45"/>
                <a:gd name="T1" fmla="*/ 33 h 75"/>
                <a:gd name="T2" fmla="*/ 27 w 45"/>
                <a:gd name="T3" fmla="*/ 38 h 75"/>
                <a:gd name="T4" fmla="*/ 27 w 45"/>
                <a:gd name="T5" fmla="*/ 54 h 75"/>
                <a:gd name="T6" fmla="*/ 20 w 45"/>
                <a:gd name="T7" fmla="*/ 71 h 75"/>
                <a:gd name="T8" fmla="*/ 27 w 45"/>
                <a:gd name="T9" fmla="*/ 75 h 75"/>
                <a:gd name="T10" fmla="*/ 30 w 45"/>
                <a:gd name="T11" fmla="*/ 65 h 75"/>
                <a:gd name="T12" fmla="*/ 36 w 45"/>
                <a:gd name="T13" fmla="*/ 56 h 75"/>
                <a:gd name="T14" fmla="*/ 36 w 45"/>
                <a:gd name="T15" fmla="*/ 41 h 75"/>
                <a:gd name="T16" fmla="*/ 39 w 45"/>
                <a:gd name="T17" fmla="*/ 36 h 75"/>
                <a:gd name="T18" fmla="*/ 42 w 45"/>
                <a:gd name="T19" fmla="*/ 39 h 75"/>
                <a:gd name="T20" fmla="*/ 45 w 45"/>
                <a:gd name="T21" fmla="*/ 33 h 75"/>
                <a:gd name="T22" fmla="*/ 33 w 45"/>
                <a:gd name="T23" fmla="*/ 27 h 75"/>
                <a:gd name="T24" fmla="*/ 33 w 45"/>
                <a:gd name="T25" fmla="*/ 23 h 75"/>
                <a:gd name="T26" fmla="*/ 38 w 45"/>
                <a:gd name="T27" fmla="*/ 20 h 75"/>
                <a:gd name="T28" fmla="*/ 33 w 45"/>
                <a:gd name="T29" fmla="*/ 11 h 75"/>
                <a:gd name="T30" fmla="*/ 39 w 45"/>
                <a:gd name="T31" fmla="*/ 6 h 75"/>
                <a:gd name="T32" fmla="*/ 35 w 45"/>
                <a:gd name="T33" fmla="*/ 2 h 75"/>
                <a:gd name="T34" fmla="*/ 29 w 45"/>
                <a:gd name="T35" fmla="*/ 5 h 75"/>
                <a:gd name="T36" fmla="*/ 24 w 45"/>
                <a:gd name="T37" fmla="*/ 0 h 75"/>
                <a:gd name="T38" fmla="*/ 21 w 45"/>
                <a:gd name="T39" fmla="*/ 5 h 75"/>
                <a:gd name="T40" fmla="*/ 18 w 45"/>
                <a:gd name="T41" fmla="*/ 15 h 75"/>
                <a:gd name="T42" fmla="*/ 21 w 45"/>
                <a:gd name="T43" fmla="*/ 20 h 75"/>
                <a:gd name="T44" fmla="*/ 20 w 45"/>
                <a:gd name="T45" fmla="*/ 24 h 75"/>
                <a:gd name="T46" fmla="*/ 15 w 45"/>
                <a:gd name="T47" fmla="*/ 20 h 75"/>
                <a:gd name="T48" fmla="*/ 2 w 45"/>
                <a:gd name="T49" fmla="*/ 24 h 75"/>
                <a:gd name="T50" fmla="*/ 0 w 45"/>
                <a:gd name="T51" fmla="*/ 32 h 75"/>
                <a:gd name="T52" fmla="*/ 14 w 45"/>
                <a:gd name="T53" fmla="*/ 44 h 75"/>
                <a:gd name="T54" fmla="*/ 21 w 45"/>
                <a:gd name="T55" fmla="*/ 32 h 75"/>
                <a:gd name="T56" fmla="*/ 27 w 45"/>
                <a:gd name="T57" fmla="*/ 33 h 75"/>
                <a:gd name="T58" fmla="*/ 27 w 45"/>
                <a:gd name="T59" fmla="*/ 33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5" h="75">
                  <a:moveTo>
                    <a:pt x="27" y="33"/>
                  </a:moveTo>
                  <a:lnTo>
                    <a:pt x="27" y="38"/>
                  </a:lnTo>
                  <a:lnTo>
                    <a:pt x="27" y="54"/>
                  </a:lnTo>
                  <a:lnTo>
                    <a:pt x="20" y="71"/>
                  </a:lnTo>
                  <a:lnTo>
                    <a:pt x="27" y="75"/>
                  </a:lnTo>
                  <a:lnTo>
                    <a:pt x="30" y="65"/>
                  </a:lnTo>
                  <a:lnTo>
                    <a:pt x="36" y="56"/>
                  </a:lnTo>
                  <a:lnTo>
                    <a:pt x="36" y="41"/>
                  </a:lnTo>
                  <a:lnTo>
                    <a:pt x="39" y="36"/>
                  </a:lnTo>
                  <a:lnTo>
                    <a:pt x="42" y="39"/>
                  </a:lnTo>
                  <a:lnTo>
                    <a:pt x="45" y="33"/>
                  </a:lnTo>
                  <a:lnTo>
                    <a:pt x="33" y="27"/>
                  </a:lnTo>
                  <a:lnTo>
                    <a:pt x="33" y="23"/>
                  </a:lnTo>
                  <a:lnTo>
                    <a:pt x="38" y="20"/>
                  </a:lnTo>
                  <a:lnTo>
                    <a:pt x="33" y="11"/>
                  </a:lnTo>
                  <a:lnTo>
                    <a:pt x="39" y="6"/>
                  </a:lnTo>
                  <a:lnTo>
                    <a:pt x="35" y="2"/>
                  </a:lnTo>
                  <a:lnTo>
                    <a:pt x="29" y="5"/>
                  </a:lnTo>
                  <a:lnTo>
                    <a:pt x="24" y="0"/>
                  </a:lnTo>
                  <a:lnTo>
                    <a:pt x="21" y="5"/>
                  </a:lnTo>
                  <a:lnTo>
                    <a:pt x="18" y="15"/>
                  </a:lnTo>
                  <a:lnTo>
                    <a:pt x="21" y="20"/>
                  </a:lnTo>
                  <a:lnTo>
                    <a:pt x="20" y="24"/>
                  </a:lnTo>
                  <a:lnTo>
                    <a:pt x="15" y="20"/>
                  </a:lnTo>
                  <a:lnTo>
                    <a:pt x="2" y="24"/>
                  </a:lnTo>
                  <a:lnTo>
                    <a:pt x="0" y="32"/>
                  </a:lnTo>
                  <a:lnTo>
                    <a:pt x="14" y="44"/>
                  </a:lnTo>
                  <a:lnTo>
                    <a:pt x="21" y="32"/>
                  </a:lnTo>
                  <a:lnTo>
                    <a:pt x="27" y="33"/>
                  </a:lnTo>
                  <a:lnTo>
                    <a:pt x="27" y="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207" name="Freeform 562"/>
            <p:cNvSpPr>
              <a:spLocks/>
            </p:cNvSpPr>
            <p:nvPr userDrawn="1"/>
          </p:nvSpPr>
          <p:spPr bwMode="auto">
            <a:xfrm>
              <a:off x="3336" y="1453"/>
              <a:ext cx="17" cy="31"/>
            </a:xfrm>
            <a:custGeom>
              <a:avLst/>
              <a:gdLst>
                <a:gd name="T0" fmla="*/ 17 w 17"/>
                <a:gd name="T1" fmla="*/ 0 h 31"/>
                <a:gd name="T2" fmla="*/ 17 w 17"/>
                <a:gd name="T3" fmla="*/ 14 h 31"/>
                <a:gd name="T4" fmla="*/ 11 w 17"/>
                <a:gd name="T5" fmla="*/ 20 h 31"/>
                <a:gd name="T6" fmla="*/ 6 w 17"/>
                <a:gd name="T7" fmla="*/ 31 h 31"/>
                <a:gd name="T8" fmla="*/ 0 w 17"/>
                <a:gd name="T9" fmla="*/ 28 h 31"/>
                <a:gd name="T10" fmla="*/ 9 w 17"/>
                <a:gd name="T11" fmla="*/ 17 h 31"/>
                <a:gd name="T12" fmla="*/ 5 w 17"/>
                <a:gd name="T13" fmla="*/ 11 h 31"/>
                <a:gd name="T14" fmla="*/ 8 w 17"/>
                <a:gd name="T15" fmla="*/ 0 h 31"/>
                <a:gd name="T16" fmla="*/ 17 w 17"/>
                <a:gd name="T17" fmla="*/ 0 h 31"/>
                <a:gd name="T18" fmla="*/ 17 w 17"/>
                <a:gd name="T19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" h="31">
                  <a:moveTo>
                    <a:pt x="17" y="0"/>
                  </a:moveTo>
                  <a:lnTo>
                    <a:pt x="17" y="14"/>
                  </a:lnTo>
                  <a:lnTo>
                    <a:pt x="11" y="20"/>
                  </a:lnTo>
                  <a:lnTo>
                    <a:pt x="6" y="31"/>
                  </a:lnTo>
                  <a:lnTo>
                    <a:pt x="0" y="28"/>
                  </a:lnTo>
                  <a:lnTo>
                    <a:pt x="9" y="17"/>
                  </a:lnTo>
                  <a:lnTo>
                    <a:pt x="5" y="11"/>
                  </a:lnTo>
                  <a:lnTo>
                    <a:pt x="8" y="0"/>
                  </a:lnTo>
                  <a:lnTo>
                    <a:pt x="17" y="0"/>
                  </a:lnTo>
                  <a:lnTo>
                    <a:pt x="1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208" name="Freeform 563"/>
            <p:cNvSpPr>
              <a:spLocks/>
            </p:cNvSpPr>
            <p:nvPr userDrawn="1"/>
          </p:nvSpPr>
          <p:spPr bwMode="auto">
            <a:xfrm>
              <a:off x="3360" y="1440"/>
              <a:ext cx="11" cy="27"/>
            </a:xfrm>
            <a:custGeom>
              <a:avLst/>
              <a:gdLst>
                <a:gd name="T0" fmla="*/ 2 w 11"/>
                <a:gd name="T1" fmla="*/ 27 h 27"/>
                <a:gd name="T2" fmla="*/ 0 w 11"/>
                <a:gd name="T3" fmla="*/ 19 h 27"/>
                <a:gd name="T4" fmla="*/ 3 w 11"/>
                <a:gd name="T5" fmla="*/ 4 h 27"/>
                <a:gd name="T6" fmla="*/ 5 w 11"/>
                <a:gd name="T7" fmla="*/ 0 h 27"/>
                <a:gd name="T8" fmla="*/ 11 w 11"/>
                <a:gd name="T9" fmla="*/ 4 h 27"/>
                <a:gd name="T10" fmla="*/ 11 w 11"/>
                <a:gd name="T11" fmla="*/ 18 h 27"/>
                <a:gd name="T12" fmla="*/ 9 w 11"/>
                <a:gd name="T13" fmla="*/ 22 h 27"/>
                <a:gd name="T14" fmla="*/ 2 w 11"/>
                <a:gd name="T15" fmla="*/ 27 h 27"/>
                <a:gd name="T16" fmla="*/ 2 w 11"/>
                <a:gd name="T17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" h="27">
                  <a:moveTo>
                    <a:pt x="2" y="27"/>
                  </a:moveTo>
                  <a:lnTo>
                    <a:pt x="0" y="19"/>
                  </a:lnTo>
                  <a:lnTo>
                    <a:pt x="3" y="4"/>
                  </a:lnTo>
                  <a:lnTo>
                    <a:pt x="5" y="0"/>
                  </a:lnTo>
                  <a:lnTo>
                    <a:pt x="11" y="4"/>
                  </a:lnTo>
                  <a:lnTo>
                    <a:pt x="11" y="18"/>
                  </a:lnTo>
                  <a:lnTo>
                    <a:pt x="9" y="22"/>
                  </a:lnTo>
                  <a:lnTo>
                    <a:pt x="2" y="27"/>
                  </a:lnTo>
                  <a:lnTo>
                    <a:pt x="2" y="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209" name="Freeform 564"/>
            <p:cNvSpPr>
              <a:spLocks/>
            </p:cNvSpPr>
            <p:nvPr userDrawn="1"/>
          </p:nvSpPr>
          <p:spPr bwMode="auto">
            <a:xfrm>
              <a:off x="3365" y="1423"/>
              <a:ext cx="10" cy="15"/>
            </a:xfrm>
            <a:custGeom>
              <a:avLst/>
              <a:gdLst>
                <a:gd name="T0" fmla="*/ 4 w 10"/>
                <a:gd name="T1" fmla="*/ 15 h 15"/>
                <a:gd name="T2" fmla="*/ 0 w 10"/>
                <a:gd name="T3" fmla="*/ 11 h 15"/>
                <a:gd name="T4" fmla="*/ 6 w 10"/>
                <a:gd name="T5" fmla="*/ 0 h 15"/>
                <a:gd name="T6" fmla="*/ 10 w 10"/>
                <a:gd name="T7" fmla="*/ 6 h 15"/>
                <a:gd name="T8" fmla="*/ 4 w 10"/>
                <a:gd name="T9" fmla="*/ 15 h 15"/>
                <a:gd name="T10" fmla="*/ 4 w 10"/>
                <a:gd name="T11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" h="15">
                  <a:moveTo>
                    <a:pt x="4" y="15"/>
                  </a:moveTo>
                  <a:lnTo>
                    <a:pt x="0" y="11"/>
                  </a:lnTo>
                  <a:lnTo>
                    <a:pt x="6" y="0"/>
                  </a:lnTo>
                  <a:lnTo>
                    <a:pt x="10" y="6"/>
                  </a:lnTo>
                  <a:lnTo>
                    <a:pt x="4" y="15"/>
                  </a:lnTo>
                  <a:lnTo>
                    <a:pt x="4" y="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210" name="Freeform 565"/>
            <p:cNvSpPr>
              <a:spLocks/>
            </p:cNvSpPr>
            <p:nvPr userDrawn="1"/>
          </p:nvSpPr>
          <p:spPr bwMode="auto">
            <a:xfrm>
              <a:off x="3375" y="1441"/>
              <a:ext cx="5" cy="9"/>
            </a:xfrm>
            <a:custGeom>
              <a:avLst/>
              <a:gdLst>
                <a:gd name="T0" fmla="*/ 0 w 5"/>
                <a:gd name="T1" fmla="*/ 9 h 9"/>
                <a:gd name="T2" fmla="*/ 0 w 5"/>
                <a:gd name="T3" fmla="*/ 2 h 9"/>
                <a:gd name="T4" fmla="*/ 5 w 5"/>
                <a:gd name="T5" fmla="*/ 0 h 9"/>
                <a:gd name="T6" fmla="*/ 0 w 5"/>
                <a:gd name="T7" fmla="*/ 9 h 9"/>
                <a:gd name="T8" fmla="*/ 0 w 5"/>
                <a:gd name="T9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">
                  <a:moveTo>
                    <a:pt x="0" y="9"/>
                  </a:moveTo>
                  <a:lnTo>
                    <a:pt x="0" y="2"/>
                  </a:lnTo>
                  <a:lnTo>
                    <a:pt x="5" y="0"/>
                  </a:lnTo>
                  <a:lnTo>
                    <a:pt x="0" y="9"/>
                  </a:lnTo>
                  <a:lnTo>
                    <a:pt x="0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211" name="Freeform 566"/>
            <p:cNvSpPr>
              <a:spLocks/>
            </p:cNvSpPr>
            <p:nvPr userDrawn="1"/>
          </p:nvSpPr>
          <p:spPr bwMode="auto">
            <a:xfrm>
              <a:off x="2973" y="1232"/>
              <a:ext cx="33" cy="42"/>
            </a:xfrm>
            <a:custGeom>
              <a:avLst/>
              <a:gdLst>
                <a:gd name="T0" fmla="*/ 10 w 33"/>
                <a:gd name="T1" fmla="*/ 1 h 42"/>
                <a:gd name="T2" fmla="*/ 6 w 33"/>
                <a:gd name="T3" fmla="*/ 0 h 42"/>
                <a:gd name="T4" fmla="*/ 4 w 33"/>
                <a:gd name="T5" fmla="*/ 9 h 42"/>
                <a:gd name="T6" fmla="*/ 0 w 33"/>
                <a:gd name="T7" fmla="*/ 12 h 42"/>
                <a:gd name="T8" fmla="*/ 4 w 33"/>
                <a:gd name="T9" fmla="*/ 18 h 42"/>
                <a:gd name="T10" fmla="*/ 13 w 33"/>
                <a:gd name="T11" fmla="*/ 22 h 42"/>
                <a:gd name="T12" fmla="*/ 18 w 33"/>
                <a:gd name="T13" fmla="*/ 33 h 42"/>
                <a:gd name="T14" fmla="*/ 27 w 33"/>
                <a:gd name="T15" fmla="*/ 42 h 42"/>
                <a:gd name="T16" fmla="*/ 27 w 33"/>
                <a:gd name="T17" fmla="*/ 42 h 42"/>
                <a:gd name="T18" fmla="*/ 30 w 33"/>
                <a:gd name="T19" fmla="*/ 42 h 42"/>
                <a:gd name="T20" fmla="*/ 31 w 33"/>
                <a:gd name="T21" fmla="*/ 42 h 42"/>
                <a:gd name="T22" fmla="*/ 33 w 33"/>
                <a:gd name="T23" fmla="*/ 40 h 42"/>
                <a:gd name="T24" fmla="*/ 33 w 33"/>
                <a:gd name="T25" fmla="*/ 40 h 42"/>
                <a:gd name="T26" fmla="*/ 30 w 33"/>
                <a:gd name="T27" fmla="*/ 36 h 42"/>
                <a:gd name="T28" fmla="*/ 27 w 33"/>
                <a:gd name="T29" fmla="*/ 31 h 42"/>
                <a:gd name="T30" fmla="*/ 19 w 33"/>
                <a:gd name="T31" fmla="*/ 21 h 42"/>
                <a:gd name="T32" fmla="*/ 10 w 33"/>
                <a:gd name="T33" fmla="*/ 1 h 42"/>
                <a:gd name="T34" fmla="*/ 10 w 33"/>
                <a:gd name="T35" fmla="*/ 1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3" h="42">
                  <a:moveTo>
                    <a:pt x="10" y="1"/>
                  </a:moveTo>
                  <a:lnTo>
                    <a:pt x="6" y="0"/>
                  </a:lnTo>
                  <a:lnTo>
                    <a:pt x="4" y="9"/>
                  </a:lnTo>
                  <a:lnTo>
                    <a:pt x="0" y="12"/>
                  </a:lnTo>
                  <a:lnTo>
                    <a:pt x="4" y="18"/>
                  </a:lnTo>
                  <a:lnTo>
                    <a:pt x="13" y="22"/>
                  </a:lnTo>
                  <a:lnTo>
                    <a:pt x="18" y="33"/>
                  </a:lnTo>
                  <a:lnTo>
                    <a:pt x="27" y="42"/>
                  </a:lnTo>
                  <a:lnTo>
                    <a:pt x="27" y="42"/>
                  </a:lnTo>
                  <a:lnTo>
                    <a:pt x="30" y="42"/>
                  </a:lnTo>
                  <a:lnTo>
                    <a:pt x="31" y="42"/>
                  </a:lnTo>
                  <a:lnTo>
                    <a:pt x="33" y="40"/>
                  </a:lnTo>
                  <a:lnTo>
                    <a:pt x="33" y="40"/>
                  </a:lnTo>
                  <a:lnTo>
                    <a:pt x="30" y="36"/>
                  </a:lnTo>
                  <a:lnTo>
                    <a:pt x="27" y="31"/>
                  </a:lnTo>
                  <a:lnTo>
                    <a:pt x="19" y="21"/>
                  </a:lnTo>
                  <a:lnTo>
                    <a:pt x="10" y="1"/>
                  </a:lnTo>
                  <a:lnTo>
                    <a:pt x="10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212" name="Freeform 567"/>
            <p:cNvSpPr>
              <a:spLocks/>
            </p:cNvSpPr>
            <p:nvPr userDrawn="1"/>
          </p:nvSpPr>
          <p:spPr bwMode="auto">
            <a:xfrm>
              <a:off x="2962" y="1251"/>
              <a:ext cx="18" cy="18"/>
            </a:xfrm>
            <a:custGeom>
              <a:avLst/>
              <a:gdLst>
                <a:gd name="T0" fmla="*/ 15 w 18"/>
                <a:gd name="T1" fmla="*/ 5 h 18"/>
                <a:gd name="T2" fmla="*/ 9 w 18"/>
                <a:gd name="T3" fmla="*/ 3 h 18"/>
                <a:gd name="T4" fmla="*/ 3 w 18"/>
                <a:gd name="T5" fmla="*/ 0 h 18"/>
                <a:gd name="T6" fmla="*/ 0 w 18"/>
                <a:gd name="T7" fmla="*/ 8 h 18"/>
                <a:gd name="T8" fmla="*/ 9 w 18"/>
                <a:gd name="T9" fmla="*/ 11 h 18"/>
                <a:gd name="T10" fmla="*/ 11 w 18"/>
                <a:gd name="T11" fmla="*/ 14 h 18"/>
                <a:gd name="T12" fmla="*/ 18 w 18"/>
                <a:gd name="T13" fmla="*/ 18 h 18"/>
                <a:gd name="T14" fmla="*/ 15 w 18"/>
                <a:gd name="T15" fmla="*/ 5 h 18"/>
                <a:gd name="T16" fmla="*/ 15 w 18"/>
                <a:gd name="T17" fmla="*/ 5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" h="18">
                  <a:moveTo>
                    <a:pt x="15" y="5"/>
                  </a:moveTo>
                  <a:lnTo>
                    <a:pt x="9" y="3"/>
                  </a:lnTo>
                  <a:lnTo>
                    <a:pt x="3" y="0"/>
                  </a:lnTo>
                  <a:lnTo>
                    <a:pt x="0" y="8"/>
                  </a:lnTo>
                  <a:lnTo>
                    <a:pt x="9" y="11"/>
                  </a:lnTo>
                  <a:lnTo>
                    <a:pt x="11" y="14"/>
                  </a:lnTo>
                  <a:lnTo>
                    <a:pt x="18" y="18"/>
                  </a:lnTo>
                  <a:lnTo>
                    <a:pt x="15" y="5"/>
                  </a:lnTo>
                  <a:lnTo>
                    <a:pt x="15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213" name="Freeform 568"/>
            <p:cNvSpPr>
              <a:spLocks/>
            </p:cNvSpPr>
            <p:nvPr userDrawn="1"/>
          </p:nvSpPr>
          <p:spPr bwMode="auto">
            <a:xfrm>
              <a:off x="2953" y="1254"/>
              <a:ext cx="6" cy="3"/>
            </a:xfrm>
            <a:custGeom>
              <a:avLst/>
              <a:gdLst>
                <a:gd name="T0" fmla="*/ 6 w 6"/>
                <a:gd name="T1" fmla="*/ 0 h 3"/>
                <a:gd name="T2" fmla="*/ 5 w 6"/>
                <a:gd name="T3" fmla="*/ 3 h 3"/>
                <a:gd name="T4" fmla="*/ 0 w 6"/>
                <a:gd name="T5" fmla="*/ 0 h 3"/>
                <a:gd name="T6" fmla="*/ 6 w 6"/>
                <a:gd name="T7" fmla="*/ 0 h 3"/>
                <a:gd name="T8" fmla="*/ 6 w 6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3">
                  <a:moveTo>
                    <a:pt x="6" y="0"/>
                  </a:moveTo>
                  <a:lnTo>
                    <a:pt x="5" y="3"/>
                  </a:lnTo>
                  <a:lnTo>
                    <a:pt x="0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214" name="Freeform 569"/>
            <p:cNvSpPr>
              <a:spLocks/>
            </p:cNvSpPr>
            <p:nvPr userDrawn="1"/>
          </p:nvSpPr>
          <p:spPr bwMode="auto">
            <a:xfrm>
              <a:off x="2995" y="1281"/>
              <a:ext cx="18" cy="20"/>
            </a:xfrm>
            <a:custGeom>
              <a:avLst/>
              <a:gdLst>
                <a:gd name="T0" fmla="*/ 17 w 18"/>
                <a:gd name="T1" fmla="*/ 8 h 20"/>
                <a:gd name="T2" fmla="*/ 11 w 18"/>
                <a:gd name="T3" fmla="*/ 0 h 20"/>
                <a:gd name="T4" fmla="*/ 3 w 18"/>
                <a:gd name="T5" fmla="*/ 2 h 20"/>
                <a:gd name="T6" fmla="*/ 0 w 18"/>
                <a:gd name="T7" fmla="*/ 11 h 20"/>
                <a:gd name="T8" fmla="*/ 3 w 18"/>
                <a:gd name="T9" fmla="*/ 12 h 20"/>
                <a:gd name="T10" fmla="*/ 12 w 18"/>
                <a:gd name="T11" fmla="*/ 11 h 20"/>
                <a:gd name="T12" fmla="*/ 18 w 18"/>
                <a:gd name="T13" fmla="*/ 20 h 20"/>
                <a:gd name="T14" fmla="*/ 17 w 18"/>
                <a:gd name="T15" fmla="*/ 8 h 20"/>
                <a:gd name="T16" fmla="*/ 17 w 18"/>
                <a:gd name="T17" fmla="*/ 8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" h="20">
                  <a:moveTo>
                    <a:pt x="17" y="8"/>
                  </a:moveTo>
                  <a:lnTo>
                    <a:pt x="11" y="0"/>
                  </a:lnTo>
                  <a:lnTo>
                    <a:pt x="3" y="2"/>
                  </a:lnTo>
                  <a:lnTo>
                    <a:pt x="0" y="11"/>
                  </a:lnTo>
                  <a:lnTo>
                    <a:pt x="3" y="12"/>
                  </a:lnTo>
                  <a:lnTo>
                    <a:pt x="12" y="11"/>
                  </a:lnTo>
                  <a:lnTo>
                    <a:pt x="18" y="20"/>
                  </a:lnTo>
                  <a:lnTo>
                    <a:pt x="17" y="8"/>
                  </a:lnTo>
                  <a:lnTo>
                    <a:pt x="17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215" name="Freeform 570"/>
            <p:cNvSpPr>
              <a:spLocks/>
            </p:cNvSpPr>
            <p:nvPr userDrawn="1"/>
          </p:nvSpPr>
          <p:spPr bwMode="auto">
            <a:xfrm>
              <a:off x="2991" y="1315"/>
              <a:ext cx="19" cy="34"/>
            </a:xfrm>
            <a:custGeom>
              <a:avLst/>
              <a:gdLst>
                <a:gd name="T0" fmla="*/ 1 w 19"/>
                <a:gd name="T1" fmla="*/ 0 h 34"/>
                <a:gd name="T2" fmla="*/ 9 w 19"/>
                <a:gd name="T3" fmla="*/ 10 h 34"/>
                <a:gd name="T4" fmla="*/ 13 w 19"/>
                <a:gd name="T5" fmla="*/ 10 h 34"/>
                <a:gd name="T6" fmla="*/ 16 w 19"/>
                <a:gd name="T7" fmla="*/ 13 h 34"/>
                <a:gd name="T8" fmla="*/ 15 w 19"/>
                <a:gd name="T9" fmla="*/ 16 h 34"/>
                <a:gd name="T10" fmla="*/ 19 w 19"/>
                <a:gd name="T11" fmla="*/ 25 h 34"/>
                <a:gd name="T12" fmla="*/ 13 w 19"/>
                <a:gd name="T13" fmla="*/ 34 h 34"/>
                <a:gd name="T14" fmla="*/ 6 w 19"/>
                <a:gd name="T15" fmla="*/ 22 h 34"/>
                <a:gd name="T16" fmla="*/ 4 w 19"/>
                <a:gd name="T17" fmla="*/ 13 h 34"/>
                <a:gd name="T18" fmla="*/ 0 w 19"/>
                <a:gd name="T19" fmla="*/ 1 h 34"/>
                <a:gd name="T20" fmla="*/ 1 w 19"/>
                <a:gd name="T21" fmla="*/ 0 h 34"/>
                <a:gd name="T22" fmla="*/ 1 w 19"/>
                <a:gd name="T23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" h="34">
                  <a:moveTo>
                    <a:pt x="1" y="0"/>
                  </a:moveTo>
                  <a:lnTo>
                    <a:pt x="9" y="10"/>
                  </a:lnTo>
                  <a:lnTo>
                    <a:pt x="13" y="10"/>
                  </a:lnTo>
                  <a:lnTo>
                    <a:pt x="16" y="13"/>
                  </a:lnTo>
                  <a:lnTo>
                    <a:pt x="15" y="16"/>
                  </a:lnTo>
                  <a:lnTo>
                    <a:pt x="19" y="25"/>
                  </a:lnTo>
                  <a:lnTo>
                    <a:pt x="13" y="34"/>
                  </a:lnTo>
                  <a:lnTo>
                    <a:pt x="6" y="22"/>
                  </a:lnTo>
                  <a:lnTo>
                    <a:pt x="4" y="13"/>
                  </a:lnTo>
                  <a:lnTo>
                    <a:pt x="0" y="1"/>
                  </a:lnTo>
                  <a:lnTo>
                    <a:pt x="1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216" name="Freeform 571"/>
            <p:cNvSpPr>
              <a:spLocks/>
            </p:cNvSpPr>
            <p:nvPr userDrawn="1"/>
          </p:nvSpPr>
          <p:spPr bwMode="auto">
            <a:xfrm>
              <a:off x="2986" y="1227"/>
              <a:ext cx="27" cy="38"/>
            </a:xfrm>
            <a:custGeom>
              <a:avLst/>
              <a:gdLst>
                <a:gd name="T0" fmla="*/ 0 w 27"/>
                <a:gd name="T1" fmla="*/ 5 h 38"/>
                <a:gd name="T2" fmla="*/ 9 w 27"/>
                <a:gd name="T3" fmla="*/ 21 h 38"/>
                <a:gd name="T4" fmla="*/ 17 w 27"/>
                <a:gd name="T5" fmla="*/ 29 h 38"/>
                <a:gd name="T6" fmla="*/ 23 w 27"/>
                <a:gd name="T7" fmla="*/ 38 h 38"/>
                <a:gd name="T8" fmla="*/ 26 w 27"/>
                <a:gd name="T9" fmla="*/ 35 h 38"/>
                <a:gd name="T10" fmla="*/ 27 w 27"/>
                <a:gd name="T11" fmla="*/ 30 h 38"/>
                <a:gd name="T12" fmla="*/ 21 w 27"/>
                <a:gd name="T13" fmla="*/ 23 h 38"/>
                <a:gd name="T14" fmla="*/ 27 w 27"/>
                <a:gd name="T15" fmla="*/ 26 h 38"/>
                <a:gd name="T16" fmla="*/ 26 w 27"/>
                <a:gd name="T17" fmla="*/ 18 h 38"/>
                <a:gd name="T18" fmla="*/ 17 w 27"/>
                <a:gd name="T19" fmla="*/ 15 h 38"/>
                <a:gd name="T20" fmla="*/ 11 w 27"/>
                <a:gd name="T21" fmla="*/ 5 h 38"/>
                <a:gd name="T22" fmla="*/ 8 w 27"/>
                <a:gd name="T23" fmla="*/ 5 h 38"/>
                <a:gd name="T24" fmla="*/ 6 w 27"/>
                <a:gd name="T25" fmla="*/ 0 h 38"/>
                <a:gd name="T26" fmla="*/ 0 w 27"/>
                <a:gd name="T27" fmla="*/ 5 h 38"/>
                <a:gd name="T28" fmla="*/ 0 w 27"/>
                <a:gd name="T29" fmla="*/ 5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7" h="38">
                  <a:moveTo>
                    <a:pt x="0" y="5"/>
                  </a:moveTo>
                  <a:lnTo>
                    <a:pt x="9" y="21"/>
                  </a:lnTo>
                  <a:lnTo>
                    <a:pt x="17" y="29"/>
                  </a:lnTo>
                  <a:lnTo>
                    <a:pt x="23" y="38"/>
                  </a:lnTo>
                  <a:lnTo>
                    <a:pt x="26" y="35"/>
                  </a:lnTo>
                  <a:lnTo>
                    <a:pt x="27" y="30"/>
                  </a:lnTo>
                  <a:lnTo>
                    <a:pt x="21" y="23"/>
                  </a:lnTo>
                  <a:lnTo>
                    <a:pt x="27" y="26"/>
                  </a:lnTo>
                  <a:lnTo>
                    <a:pt x="26" y="18"/>
                  </a:lnTo>
                  <a:lnTo>
                    <a:pt x="17" y="15"/>
                  </a:lnTo>
                  <a:lnTo>
                    <a:pt x="11" y="5"/>
                  </a:lnTo>
                  <a:lnTo>
                    <a:pt x="8" y="5"/>
                  </a:lnTo>
                  <a:lnTo>
                    <a:pt x="6" y="0"/>
                  </a:lnTo>
                  <a:lnTo>
                    <a:pt x="0" y="5"/>
                  </a:lnTo>
                  <a:lnTo>
                    <a:pt x="0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217" name="Freeform 572"/>
            <p:cNvSpPr>
              <a:spLocks/>
            </p:cNvSpPr>
            <p:nvPr userDrawn="1"/>
          </p:nvSpPr>
          <p:spPr bwMode="auto">
            <a:xfrm>
              <a:off x="3001" y="1229"/>
              <a:ext cx="11" cy="9"/>
            </a:xfrm>
            <a:custGeom>
              <a:avLst/>
              <a:gdLst>
                <a:gd name="T0" fmla="*/ 0 w 11"/>
                <a:gd name="T1" fmla="*/ 0 h 9"/>
                <a:gd name="T2" fmla="*/ 6 w 11"/>
                <a:gd name="T3" fmla="*/ 9 h 9"/>
                <a:gd name="T4" fmla="*/ 11 w 11"/>
                <a:gd name="T5" fmla="*/ 6 h 9"/>
                <a:gd name="T6" fmla="*/ 9 w 11"/>
                <a:gd name="T7" fmla="*/ 3 h 9"/>
                <a:gd name="T8" fmla="*/ 0 w 11"/>
                <a:gd name="T9" fmla="*/ 0 h 9"/>
                <a:gd name="T10" fmla="*/ 0 w 11"/>
                <a:gd name="T11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" h="9">
                  <a:moveTo>
                    <a:pt x="0" y="0"/>
                  </a:moveTo>
                  <a:lnTo>
                    <a:pt x="6" y="9"/>
                  </a:lnTo>
                  <a:lnTo>
                    <a:pt x="11" y="6"/>
                  </a:lnTo>
                  <a:lnTo>
                    <a:pt x="9" y="3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218" name="Freeform 573"/>
            <p:cNvSpPr>
              <a:spLocks/>
            </p:cNvSpPr>
            <p:nvPr userDrawn="1"/>
          </p:nvSpPr>
          <p:spPr bwMode="auto">
            <a:xfrm>
              <a:off x="3012" y="1236"/>
              <a:ext cx="9" cy="12"/>
            </a:xfrm>
            <a:custGeom>
              <a:avLst/>
              <a:gdLst>
                <a:gd name="T0" fmla="*/ 1 w 9"/>
                <a:gd name="T1" fmla="*/ 0 h 12"/>
                <a:gd name="T2" fmla="*/ 0 w 9"/>
                <a:gd name="T3" fmla="*/ 5 h 12"/>
                <a:gd name="T4" fmla="*/ 6 w 9"/>
                <a:gd name="T5" fmla="*/ 12 h 12"/>
                <a:gd name="T6" fmla="*/ 9 w 9"/>
                <a:gd name="T7" fmla="*/ 9 h 12"/>
                <a:gd name="T8" fmla="*/ 1 w 9"/>
                <a:gd name="T9" fmla="*/ 0 h 12"/>
                <a:gd name="T10" fmla="*/ 1 w 9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12">
                  <a:moveTo>
                    <a:pt x="1" y="0"/>
                  </a:moveTo>
                  <a:lnTo>
                    <a:pt x="0" y="5"/>
                  </a:lnTo>
                  <a:lnTo>
                    <a:pt x="6" y="12"/>
                  </a:lnTo>
                  <a:lnTo>
                    <a:pt x="9" y="9"/>
                  </a:lnTo>
                  <a:lnTo>
                    <a:pt x="1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219" name="Freeform 574"/>
            <p:cNvSpPr>
              <a:spLocks/>
            </p:cNvSpPr>
            <p:nvPr userDrawn="1"/>
          </p:nvSpPr>
          <p:spPr bwMode="auto">
            <a:xfrm>
              <a:off x="3016" y="1227"/>
              <a:ext cx="9" cy="9"/>
            </a:xfrm>
            <a:custGeom>
              <a:avLst/>
              <a:gdLst>
                <a:gd name="T0" fmla="*/ 0 w 9"/>
                <a:gd name="T1" fmla="*/ 0 h 9"/>
                <a:gd name="T2" fmla="*/ 5 w 9"/>
                <a:gd name="T3" fmla="*/ 9 h 9"/>
                <a:gd name="T4" fmla="*/ 9 w 9"/>
                <a:gd name="T5" fmla="*/ 8 h 9"/>
                <a:gd name="T6" fmla="*/ 8 w 9"/>
                <a:gd name="T7" fmla="*/ 3 h 9"/>
                <a:gd name="T8" fmla="*/ 3 w 9"/>
                <a:gd name="T9" fmla="*/ 0 h 9"/>
                <a:gd name="T10" fmla="*/ 0 w 9"/>
                <a:gd name="T11" fmla="*/ 0 h 9"/>
                <a:gd name="T12" fmla="*/ 0 w 9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9">
                  <a:moveTo>
                    <a:pt x="0" y="0"/>
                  </a:moveTo>
                  <a:lnTo>
                    <a:pt x="5" y="9"/>
                  </a:lnTo>
                  <a:lnTo>
                    <a:pt x="9" y="8"/>
                  </a:lnTo>
                  <a:lnTo>
                    <a:pt x="8" y="3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220" name="Freeform 575"/>
            <p:cNvSpPr>
              <a:spLocks/>
            </p:cNvSpPr>
            <p:nvPr userDrawn="1"/>
          </p:nvSpPr>
          <p:spPr bwMode="auto">
            <a:xfrm>
              <a:off x="3048" y="1698"/>
              <a:ext cx="511" cy="943"/>
            </a:xfrm>
            <a:custGeom>
              <a:avLst/>
              <a:gdLst>
                <a:gd name="T0" fmla="*/ 130 w 511"/>
                <a:gd name="T1" fmla="*/ 116 h 943"/>
                <a:gd name="T2" fmla="*/ 130 w 511"/>
                <a:gd name="T3" fmla="*/ 101 h 943"/>
                <a:gd name="T4" fmla="*/ 183 w 511"/>
                <a:gd name="T5" fmla="*/ 44 h 943"/>
                <a:gd name="T6" fmla="*/ 142 w 511"/>
                <a:gd name="T7" fmla="*/ 9 h 943"/>
                <a:gd name="T8" fmla="*/ 77 w 511"/>
                <a:gd name="T9" fmla="*/ 9 h 943"/>
                <a:gd name="T10" fmla="*/ 60 w 511"/>
                <a:gd name="T11" fmla="*/ 53 h 943"/>
                <a:gd name="T12" fmla="*/ 60 w 511"/>
                <a:gd name="T13" fmla="*/ 95 h 943"/>
                <a:gd name="T14" fmla="*/ 24 w 511"/>
                <a:gd name="T15" fmla="*/ 121 h 943"/>
                <a:gd name="T16" fmla="*/ 41 w 511"/>
                <a:gd name="T17" fmla="*/ 158 h 943"/>
                <a:gd name="T18" fmla="*/ 26 w 511"/>
                <a:gd name="T19" fmla="*/ 191 h 943"/>
                <a:gd name="T20" fmla="*/ 0 w 511"/>
                <a:gd name="T21" fmla="*/ 231 h 943"/>
                <a:gd name="T22" fmla="*/ 39 w 511"/>
                <a:gd name="T23" fmla="*/ 256 h 943"/>
                <a:gd name="T24" fmla="*/ 62 w 511"/>
                <a:gd name="T25" fmla="*/ 243 h 943"/>
                <a:gd name="T26" fmla="*/ 45 w 511"/>
                <a:gd name="T27" fmla="*/ 296 h 943"/>
                <a:gd name="T28" fmla="*/ 35 w 511"/>
                <a:gd name="T29" fmla="*/ 357 h 943"/>
                <a:gd name="T30" fmla="*/ 57 w 511"/>
                <a:gd name="T31" fmla="*/ 336 h 943"/>
                <a:gd name="T32" fmla="*/ 62 w 511"/>
                <a:gd name="T33" fmla="*/ 315 h 943"/>
                <a:gd name="T34" fmla="*/ 122 w 511"/>
                <a:gd name="T35" fmla="*/ 323 h 943"/>
                <a:gd name="T36" fmla="*/ 95 w 511"/>
                <a:gd name="T37" fmla="*/ 374 h 943"/>
                <a:gd name="T38" fmla="*/ 66 w 511"/>
                <a:gd name="T39" fmla="*/ 439 h 943"/>
                <a:gd name="T40" fmla="*/ 110 w 511"/>
                <a:gd name="T41" fmla="*/ 457 h 943"/>
                <a:gd name="T42" fmla="*/ 152 w 511"/>
                <a:gd name="T43" fmla="*/ 437 h 943"/>
                <a:gd name="T44" fmla="*/ 205 w 511"/>
                <a:gd name="T45" fmla="*/ 431 h 943"/>
                <a:gd name="T46" fmla="*/ 192 w 511"/>
                <a:gd name="T47" fmla="*/ 501 h 943"/>
                <a:gd name="T48" fmla="*/ 210 w 511"/>
                <a:gd name="T49" fmla="*/ 516 h 943"/>
                <a:gd name="T50" fmla="*/ 204 w 511"/>
                <a:gd name="T51" fmla="*/ 573 h 943"/>
                <a:gd name="T52" fmla="*/ 207 w 511"/>
                <a:gd name="T53" fmla="*/ 609 h 943"/>
                <a:gd name="T54" fmla="*/ 118 w 511"/>
                <a:gd name="T55" fmla="*/ 640 h 943"/>
                <a:gd name="T56" fmla="*/ 115 w 511"/>
                <a:gd name="T57" fmla="*/ 652 h 943"/>
                <a:gd name="T58" fmla="*/ 130 w 511"/>
                <a:gd name="T59" fmla="*/ 716 h 943"/>
                <a:gd name="T60" fmla="*/ 72 w 511"/>
                <a:gd name="T61" fmla="*/ 756 h 943"/>
                <a:gd name="T62" fmla="*/ 118 w 511"/>
                <a:gd name="T63" fmla="*/ 768 h 943"/>
                <a:gd name="T64" fmla="*/ 207 w 511"/>
                <a:gd name="T65" fmla="*/ 787 h 943"/>
                <a:gd name="T66" fmla="*/ 211 w 511"/>
                <a:gd name="T67" fmla="*/ 802 h 943"/>
                <a:gd name="T68" fmla="*/ 122 w 511"/>
                <a:gd name="T69" fmla="*/ 837 h 943"/>
                <a:gd name="T70" fmla="*/ 45 w 511"/>
                <a:gd name="T71" fmla="*/ 943 h 943"/>
                <a:gd name="T72" fmla="*/ 118 w 511"/>
                <a:gd name="T73" fmla="*/ 904 h 943"/>
                <a:gd name="T74" fmla="*/ 207 w 511"/>
                <a:gd name="T75" fmla="*/ 870 h 943"/>
                <a:gd name="T76" fmla="*/ 285 w 511"/>
                <a:gd name="T77" fmla="*/ 870 h 943"/>
                <a:gd name="T78" fmla="*/ 327 w 511"/>
                <a:gd name="T79" fmla="*/ 861 h 943"/>
                <a:gd name="T80" fmla="*/ 440 w 511"/>
                <a:gd name="T81" fmla="*/ 852 h 943"/>
                <a:gd name="T82" fmla="*/ 463 w 511"/>
                <a:gd name="T83" fmla="*/ 810 h 943"/>
                <a:gd name="T84" fmla="*/ 450 w 511"/>
                <a:gd name="T85" fmla="*/ 781 h 943"/>
                <a:gd name="T86" fmla="*/ 481 w 511"/>
                <a:gd name="T87" fmla="*/ 757 h 943"/>
                <a:gd name="T88" fmla="*/ 498 w 511"/>
                <a:gd name="T89" fmla="*/ 658 h 943"/>
                <a:gd name="T90" fmla="*/ 404 w 511"/>
                <a:gd name="T91" fmla="*/ 655 h 943"/>
                <a:gd name="T92" fmla="*/ 386 w 511"/>
                <a:gd name="T93" fmla="*/ 569 h 943"/>
                <a:gd name="T94" fmla="*/ 380 w 511"/>
                <a:gd name="T95" fmla="*/ 567 h 943"/>
                <a:gd name="T96" fmla="*/ 376 w 511"/>
                <a:gd name="T97" fmla="*/ 507 h 943"/>
                <a:gd name="T98" fmla="*/ 320 w 511"/>
                <a:gd name="T99" fmla="*/ 460 h 943"/>
                <a:gd name="T100" fmla="*/ 288 w 511"/>
                <a:gd name="T101" fmla="*/ 380 h 943"/>
                <a:gd name="T102" fmla="*/ 250 w 511"/>
                <a:gd name="T103" fmla="*/ 320 h 943"/>
                <a:gd name="T104" fmla="*/ 169 w 511"/>
                <a:gd name="T105" fmla="*/ 308 h 943"/>
                <a:gd name="T106" fmla="*/ 205 w 511"/>
                <a:gd name="T107" fmla="*/ 286 h 943"/>
                <a:gd name="T108" fmla="*/ 202 w 511"/>
                <a:gd name="T109" fmla="*/ 265 h 943"/>
                <a:gd name="T110" fmla="*/ 247 w 511"/>
                <a:gd name="T111" fmla="*/ 223 h 943"/>
                <a:gd name="T112" fmla="*/ 232 w 511"/>
                <a:gd name="T113" fmla="*/ 116 h 943"/>
                <a:gd name="T114" fmla="*/ 152 w 511"/>
                <a:gd name="T115" fmla="*/ 124 h 9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11" h="943">
                  <a:moveTo>
                    <a:pt x="127" y="143"/>
                  </a:moveTo>
                  <a:lnTo>
                    <a:pt x="122" y="143"/>
                  </a:lnTo>
                  <a:lnTo>
                    <a:pt x="110" y="136"/>
                  </a:lnTo>
                  <a:lnTo>
                    <a:pt x="112" y="134"/>
                  </a:lnTo>
                  <a:lnTo>
                    <a:pt x="116" y="136"/>
                  </a:lnTo>
                  <a:lnTo>
                    <a:pt x="124" y="134"/>
                  </a:lnTo>
                  <a:lnTo>
                    <a:pt x="131" y="130"/>
                  </a:lnTo>
                  <a:lnTo>
                    <a:pt x="134" y="116"/>
                  </a:lnTo>
                  <a:lnTo>
                    <a:pt x="130" y="116"/>
                  </a:lnTo>
                  <a:lnTo>
                    <a:pt x="121" y="121"/>
                  </a:lnTo>
                  <a:lnTo>
                    <a:pt x="112" y="127"/>
                  </a:lnTo>
                  <a:lnTo>
                    <a:pt x="110" y="124"/>
                  </a:lnTo>
                  <a:lnTo>
                    <a:pt x="119" y="113"/>
                  </a:lnTo>
                  <a:lnTo>
                    <a:pt x="139" y="105"/>
                  </a:lnTo>
                  <a:lnTo>
                    <a:pt x="142" y="111"/>
                  </a:lnTo>
                  <a:lnTo>
                    <a:pt x="152" y="96"/>
                  </a:lnTo>
                  <a:lnTo>
                    <a:pt x="149" y="95"/>
                  </a:lnTo>
                  <a:lnTo>
                    <a:pt x="130" y="101"/>
                  </a:lnTo>
                  <a:lnTo>
                    <a:pt x="128" y="96"/>
                  </a:lnTo>
                  <a:lnTo>
                    <a:pt x="118" y="95"/>
                  </a:lnTo>
                  <a:lnTo>
                    <a:pt x="128" y="92"/>
                  </a:lnTo>
                  <a:lnTo>
                    <a:pt x="134" y="93"/>
                  </a:lnTo>
                  <a:lnTo>
                    <a:pt x="145" y="81"/>
                  </a:lnTo>
                  <a:lnTo>
                    <a:pt x="146" y="77"/>
                  </a:lnTo>
                  <a:lnTo>
                    <a:pt x="155" y="72"/>
                  </a:lnTo>
                  <a:lnTo>
                    <a:pt x="161" y="62"/>
                  </a:lnTo>
                  <a:lnTo>
                    <a:pt x="183" y="44"/>
                  </a:lnTo>
                  <a:lnTo>
                    <a:pt x="196" y="35"/>
                  </a:lnTo>
                  <a:lnTo>
                    <a:pt x="202" y="19"/>
                  </a:lnTo>
                  <a:lnTo>
                    <a:pt x="196" y="18"/>
                  </a:lnTo>
                  <a:lnTo>
                    <a:pt x="193" y="13"/>
                  </a:lnTo>
                  <a:lnTo>
                    <a:pt x="195" y="6"/>
                  </a:lnTo>
                  <a:lnTo>
                    <a:pt x="189" y="0"/>
                  </a:lnTo>
                  <a:lnTo>
                    <a:pt x="163" y="7"/>
                  </a:lnTo>
                  <a:lnTo>
                    <a:pt x="152" y="15"/>
                  </a:lnTo>
                  <a:lnTo>
                    <a:pt x="142" y="9"/>
                  </a:lnTo>
                  <a:lnTo>
                    <a:pt x="125" y="15"/>
                  </a:lnTo>
                  <a:lnTo>
                    <a:pt x="118" y="19"/>
                  </a:lnTo>
                  <a:lnTo>
                    <a:pt x="112" y="16"/>
                  </a:lnTo>
                  <a:lnTo>
                    <a:pt x="106" y="12"/>
                  </a:lnTo>
                  <a:lnTo>
                    <a:pt x="101" y="12"/>
                  </a:lnTo>
                  <a:lnTo>
                    <a:pt x="98" y="16"/>
                  </a:lnTo>
                  <a:lnTo>
                    <a:pt x="91" y="9"/>
                  </a:lnTo>
                  <a:lnTo>
                    <a:pt x="85" y="6"/>
                  </a:lnTo>
                  <a:lnTo>
                    <a:pt x="77" y="9"/>
                  </a:lnTo>
                  <a:lnTo>
                    <a:pt x="74" y="9"/>
                  </a:lnTo>
                  <a:lnTo>
                    <a:pt x="72" y="16"/>
                  </a:lnTo>
                  <a:lnTo>
                    <a:pt x="65" y="29"/>
                  </a:lnTo>
                  <a:lnTo>
                    <a:pt x="63" y="36"/>
                  </a:lnTo>
                  <a:lnTo>
                    <a:pt x="65" y="44"/>
                  </a:lnTo>
                  <a:lnTo>
                    <a:pt x="77" y="50"/>
                  </a:lnTo>
                  <a:lnTo>
                    <a:pt x="77" y="54"/>
                  </a:lnTo>
                  <a:lnTo>
                    <a:pt x="68" y="48"/>
                  </a:lnTo>
                  <a:lnTo>
                    <a:pt x="60" y="53"/>
                  </a:lnTo>
                  <a:lnTo>
                    <a:pt x="54" y="57"/>
                  </a:lnTo>
                  <a:lnTo>
                    <a:pt x="60" y="68"/>
                  </a:lnTo>
                  <a:lnTo>
                    <a:pt x="59" y="71"/>
                  </a:lnTo>
                  <a:lnTo>
                    <a:pt x="51" y="68"/>
                  </a:lnTo>
                  <a:lnTo>
                    <a:pt x="47" y="69"/>
                  </a:lnTo>
                  <a:lnTo>
                    <a:pt x="47" y="74"/>
                  </a:lnTo>
                  <a:lnTo>
                    <a:pt x="56" y="81"/>
                  </a:lnTo>
                  <a:lnTo>
                    <a:pt x="63" y="92"/>
                  </a:lnTo>
                  <a:lnTo>
                    <a:pt x="60" y="95"/>
                  </a:lnTo>
                  <a:lnTo>
                    <a:pt x="53" y="90"/>
                  </a:lnTo>
                  <a:lnTo>
                    <a:pt x="50" y="93"/>
                  </a:lnTo>
                  <a:lnTo>
                    <a:pt x="53" y="96"/>
                  </a:lnTo>
                  <a:lnTo>
                    <a:pt x="38" y="95"/>
                  </a:lnTo>
                  <a:lnTo>
                    <a:pt x="29" y="96"/>
                  </a:lnTo>
                  <a:lnTo>
                    <a:pt x="23" y="102"/>
                  </a:lnTo>
                  <a:lnTo>
                    <a:pt x="33" y="116"/>
                  </a:lnTo>
                  <a:lnTo>
                    <a:pt x="27" y="116"/>
                  </a:lnTo>
                  <a:lnTo>
                    <a:pt x="24" y="121"/>
                  </a:lnTo>
                  <a:lnTo>
                    <a:pt x="38" y="136"/>
                  </a:lnTo>
                  <a:lnTo>
                    <a:pt x="45" y="140"/>
                  </a:lnTo>
                  <a:lnTo>
                    <a:pt x="38" y="140"/>
                  </a:lnTo>
                  <a:lnTo>
                    <a:pt x="26" y="134"/>
                  </a:lnTo>
                  <a:lnTo>
                    <a:pt x="20" y="137"/>
                  </a:lnTo>
                  <a:lnTo>
                    <a:pt x="23" y="151"/>
                  </a:lnTo>
                  <a:lnTo>
                    <a:pt x="32" y="163"/>
                  </a:lnTo>
                  <a:lnTo>
                    <a:pt x="41" y="152"/>
                  </a:lnTo>
                  <a:lnTo>
                    <a:pt x="41" y="158"/>
                  </a:lnTo>
                  <a:lnTo>
                    <a:pt x="54" y="152"/>
                  </a:lnTo>
                  <a:lnTo>
                    <a:pt x="39" y="163"/>
                  </a:lnTo>
                  <a:lnTo>
                    <a:pt x="50" y="167"/>
                  </a:lnTo>
                  <a:lnTo>
                    <a:pt x="50" y="170"/>
                  </a:lnTo>
                  <a:lnTo>
                    <a:pt x="38" y="173"/>
                  </a:lnTo>
                  <a:lnTo>
                    <a:pt x="33" y="178"/>
                  </a:lnTo>
                  <a:lnTo>
                    <a:pt x="44" y="190"/>
                  </a:lnTo>
                  <a:lnTo>
                    <a:pt x="35" y="185"/>
                  </a:lnTo>
                  <a:lnTo>
                    <a:pt x="26" y="191"/>
                  </a:lnTo>
                  <a:lnTo>
                    <a:pt x="38" y="197"/>
                  </a:lnTo>
                  <a:lnTo>
                    <a:pt x="24" y="199"/>
                  </a:lnTo>
                  <a:lnTo>
                    <a:pt x="23" y="208"/>
                  </a:lnTo>
                  <a:lnTo>
                    <a:pt x="29" y="217"/>
                  </a:lnTo>
                  <a:lnTo>
                    <a:pt x="27" y="225"/>
                  </a:lnTo>
                  <a:lnTo>
                    <a:pt x="21" y="226"/>
                  </a:lnTo>
                  <a:lnTo>
                    <a:pt x="15" y="223"/>
                  </a:lnTo>
                  <a:lnTo>
                    <a:pt x="2" y="226"/>
                  </a:lnTo>
                  <a:lnTo>
                    <a:pt x="0" y="231"/>
                  </a:lnTo>
                  <a:lnTo>
                    <a:pt x="11" y="237"/>
                  </a:lnTo>
                  <a:lnTo>
                    <a:pt x="17" y="234"/>
                  </a:lnTo>
                  <a:lnTo>
                    <a:pt x="17" y="231"/>
                  </a:lnTo>
                  <a:lnTo>
                    <a:pt x="29" y="232"/>
                  </a:lnTo>
                  <a:lnTo>
                    <a:pt x="18" y="235"/>
                  </a:lnTo>
                  <a:lnTo>
                    <a:pt x="17" y="244"/>
                  </a:lnTo>
                  <a:lnTo>
                    <a:pt x="26" y="249"/>
                  </a:lnTo>
                  <a:lnTo>
                    <a:pt x="32" y="256"/>
                  </a:lnTo>
                  <a:lnTo>
                    <a:pt x="39" y="256"/>
                  </a:lnTo>
                  <a:lnTo>
                    <a:pt x="44" y="252"/>
                  </a:lnTo>
                  <a:lnTo>
                    <a:pt x="53" y="244"/>
                  </a:lnTo>
                  <a:lnTo>
                    <a:pt x="53" y="235"/>
                  </a:lnTo>
                  <a:lnTo>
                    <a:pt x="60" y="229"/>
                  </a:lnTo>
                  <a:lnTo>
                    <a:pt x="68" y="220"/>
                  </a:lnTo>
                  <a:lnTo>
                    <a:pt x="88" y="196"/>
                  </a:lnTo>
                  <a:lnTo>
                    <a:pt x="62" y="229"/>
                  </a:lnTo>
                  <a:lnTo>
                    <a:pt x="65" y="237"/>
                  </a:lnTo>
                  <a:lnTo>
                    <a:pt x="62" y="243"/>
                  </a:lnTo>
                  <a:lnTo>
                    <a:pt x="63" y="247"/>
                  </a:lnTo>
                  <a:lnTo>
                    <a:pt x="53" y="256"/>
                  </a:lnTo>
                  <a:lnTo>
                    <a:pt x="54" y="264"/>
                  </a:lnTo>
                  <a:lnTo>
                    <a:pt x="50" y="262"/>
                  </a:lnTo>
                  <a:lnTo>
                    <a:pt x="51" y="270"/>
                  </a:lnTo>
                  <a:lnTo>
                    <a:pt x="41" y="271"/>
                  </a:lnTo>
                  <a:lnTo>
                    <a:pt x="41" y="279"/>
                  </a:lnTo>
                  <a:lnTo>
                    <a:pt x="48" y="288"/>
                  </a:lnTo>
                  <a:lnTo>
                    <a:pt x="45" y="296"/>
                  </a:lnTo>
                  <a:lnTo>
                    <a:pt x="39" y="305"/>
                  </a:lnTo>
                  <a:lnTo>
                    <a:pt x="35" y="315"/>
                  </a:lnTo>
                  <a:lnTo>
                    <a:pt x="41" y="314"/>
                  </a:lnTo>
                  <a:lnTo>
                    <a:pt x="38" y="327"/>
                  </a:lnTo>
                  <a:lnTo>
                    <a:pt x="33" y="333"/>
                  </a:lnTo>
                  <a:lnTo>
                    <a:pt x="35" y="338"/>
                  </a:lnTo>
                  <a:lnTo>
                    <a:pt x="42" y="336"/>
                  </a:lnTo>
                  <a:lnTo>
                    <a:pt x="42" y="341"/>
                  </a:lnTo>
                  <a:lnTo>
                    <a:pt x="35" y="357"/>
                  </a:lnTo>
                  <a:lnTo>
                    <a:pt x="29" y="372"/>
                  </a:lnTo>
                  <a:lnTo>
                    <a:pt x="24" y="383"/>
                  </a:lnTo>
                  <a:lnTo>
                    <a:pt x="27" y="392"/>
                  </a:lnTo>
                  <a:lnTo>
                    <a:pt x="35" y="392"/>
                  </a:lnTo>
                  <a:lnTo>
                    <a:pt x="41" y="389"/>
                  </a:lnTo>
                  <a:lnTo>
                    <a:pt x="45" y="376"/>
                  </a:lnTo>
                  <a:lnTo>
                    <a:pt x="48" y="363"/>
                  </a:lnTo>
                  <a:lnTo>
                    <a:pt x="51" y="344"/>
                  </a:lnTo>
                  <a:lnTo>
                    <a:pt x="57" y="336"/>
                  </a:lnTo>
                  <a:lnTo>
                    <a:pt x="59" y="326"/>
                  </a:lnTo>
                  <a:lnTo>
                    <a:pt x="54" y="320"/>
                  </a:lnTo>
                  <a:lnTo>
                    <a:pt x="50" y="312"/>
                  </a:lnTo>
                  <a:lnTo>
                    <a:pt x="53" y="302"/>
                  </a:lnTo>
                  <a:lnTo>
                    <a:pt x="56" y="305"/>
                  </a:lnTo>
                  <a:lnTo>
                    <a:pt x="72" y="279"/>
                  </a:lnTo>
                  <a:lnTo>
                    <a:pt x="72" y="286"/>
                  </a:lnTo>
                  <a:lnTo>
                    <a:pt x="62" y="309"/>
                  </a:lnTo>
                  <a:lnTo>
                    <a:pt x="62" y="315"/>
                  </a:lnTo>
                  <a:lnTo>
                    <a:pt x="66" y="321"/>
                  </a:lnTo>
                  <a:lnTo>
                    <a:pt x="69" y="317"/>
                  </a:lnTo>
                  <a:lnTo>
                    <a:pt x="74" y="318"/>
                  </a:lnTo>
                  <a:lnTo>
                    <a:pt x="82" y="315"/>
                  </a:lnTo>
                  <a:lnTo>
                    <a:pt x="83" y="308"/>
                  </a:lnTo>
                  <a:lnTo>
                    <a:pt x="82" y="293"/>
                  </a:lnTo>
                  <a:lnTo>
                    <a:pt x="89" y="311"/>
                  </a:lnTo>
                  <a:lnTo>
                    <a:pt x="106" y="312"/>
                  </a:lnTo>
                  <a:lnTo>
                    <a:pt x="122" y="323"/>
                  </a:lnTo>
                  <a:lnTo>
                    <a:pt x="104" y="315"/>
                  </a:lnTo>
                  <a:lnTo>
                    <a:pt x="98" y="318"/>
                  </a:lnTo>
                  <a:lnTo>
                    <a:pt x="92" y="315"/>
                  </a:lnTo>
                  <a:lnTo>
                    <a:pt x="83" y="330"/>
                  </a:lnTo>
                  <a:lnTo>
                    <a:pt x="83" y="341"/>
                  </a:lnTo>
                  <a:lnTo>
                    <a:pt x="89" y="353"/>
                  </a:lnTo>
                  <a:lnTo>
                    <a:pt x="89" y="359"/>
                  </a:lnTo>
                  <a:lnTo>
                    <a:pt x="98" y="363"/>
                  </a:lnTo>
                  <a:lnTo>
                    <a:pt x="95" y="374"/>
                  </a:lnTo>
                  <a:lnTo>
                    <a:pt x="91" y="379"/>
                  </a:lnTo>
                  <a:lnTo>
                    <a:pt x="80" y="406"/>
                  </a:lnTo>
                  <a:lnTo>
                    <a:pt x="77" y="418"/>
                  </a:lnTo>
                  <a:lnTo>
                    <a:pt x="80" y="433"/>
                  </a:lnTo>
                  <a:lnTo>
                    <a:pt x="78" y="434"/>
                  </a:lnTo>
                  <a:lnTo>
                    <a:pt x="74" y="425"/>
                  </a:lnTo>
                  <a:lnTo>
                    <a:pt x="69" y="424"/>
                  </a:lnTo>
                  <a:lnTo>
                    <a:pt x="65" y="431"/>
                  </a:lnTo>
                  <a:lnTo>
                    <a:pt x="66" y="439"/>
                  </a:lnTo>
                  <a:lnTo>
                    <a:pt x="77" y="445"/>
                  </a:lnTo>
                  <a:lnTo>
                    <a:pt x="83" y="458"/>
                  </a:lnTo>
                  <a:lnTo>
                    <a:pt x="92" y="465"/>
                  </a:lnTo>
                  <a:lnTo>
                    <a:pt x="92" y="458"/>
                  </a:lnTo>
                  <a:lnTo>
                    <a:pt x="85" y="454"/>
                  </a:lnTo>
                  <a:lnTo>
                    <a:pt x="83" y="442"/>
                  </a:lnTo>
                  <a:lnTo>
                    <a:pt x="97" y="437"/>
                  </a:lnTo>
                  <a:lnTo>
                    <a:pt x="104" y="454"/>
                  </a:lnTo>
                  <a:lnTo>
                    <a:pt x="110" y="457"/>
                  </a:lnTo>
                  <a:lnTo>
                    <a:pt x="119" y="457"/>
                  </a:lnTo>
                  <a:lnTo>
                    <a:pt x="125" y="449"/>
                  </a:lnTo>
                  <a:lnTo>
                    <a:pt x="118" y="437"/>
                  </a:lnTo>
                  <a:lnTo>
                    <a:pt x="122" y="431"/>
                  </a:lnTo>
                  <a:lnTo>
                    <a:pt x="124" y="437"/>
                  </a:lnTo>
                  <a:lnTo>
                    <a:pt x="131" y="445"/>
                  </a:lnTo>
                  <a:lnTo>
                    <a:pt x="145" y="440"/>
                  </a:lnTo>
                  <a:lnTo>
                    <a:pt x="151" y="433"/>
                  </a:lnTo>
                  <a:lnTo>
                    <a:pt x="152" y="437"/>
                  </a:lnTo>
                  <a:lnTo>
                    <a:pt x="166" y="436"/>
                  </a:lnTo>
                  <a:lnTo>
                    <a:pt x="172" y="427"/>
                  </a:lnTo>
                  <a:lnTo>
                    <a:pt x="177" y="416"/>
                  </a:lnTo>
                  <a:lnTo>
                    <a:pt x="180" y="422"/>
                  </a:lnTo>
                  <a:lnTo>
                    <a:pt x="190" y="424"/>
                  </a:lnTo>
                  <a:lnTo>
                    <a:pt x="198" y="425"/>
                  </a:lnTo>
                  <a:lnTo>
                    <a:pt x="204" y="430"/>
                  </a:lnTo>
                  <a:lnTo>
                    <a:pt x="210" y="427"/>
                  </a:lnTo>
                  <a:lnTo>
                    <a:pt x="205" y="431"/>
                  </a:lnTo>
                  <a:lnTo>
                    <a:pt x="192" y="431"/>
                  </a:lnTo>
                  <a:lnTo>
                    <a:pt x="184" y="436"/>
                  </a:lnTo>
                  <a:lnTo>
                    <a:pt x="180" y="445"/>
                  </a:lnTo>
                  <a:lnTo>
                    <a:pt x="174" y="454"/>
                  </a:lnTo>
                  <a:lnTo>
                    <a:pt x="167" y="475"/>
                  </a:lnTo>
                  <a:lnTo>
                    <a:pt x="174" y="496"/>
                  </a:lnTo>
                  <a:lnTo>
                    <a:pt x="178" y="504"/>
                  </a:lnTo>
                  <a:lnTo>
                    <a:pt x="184" y="507"/>
                  </a:lnTo>
                  <a:lnTo>
                    <a:pt x="192" y="501"/>
                  </a:lnTo>
                  <a:lnTo>
                    <a:pt x="190" y="510"/>
                  </a:lnTo>
                  <a:lnTo>
                    <a:pt x="196" y="520"/>
                  </a:lnTo>
                  <a:lnTo>
                    <a:pt x="199" y="516"/>
                  </a:lnTo>
                  <a:lnTo>
                    <a:pt x="204" y="510"/>
                  </a:lnTo>
                  <a:lnTo>
                    <a:pt x="205" y="513"/>
                  </a:lnTo>
                  <a:lnTo>
                    <a:pt x="211" y="510"/>
                  </a:lnTo>
                  <a:lnTo>
                    <a:pt x="214" y="504"/>
                  </a:lnTo>
                  <a:lnTo>
                    <a:pt x="217" y="508"/>
                  </a:lnTo>
                  <a:lnTo>
                    <a:pt x="210" y="516"/>
                  </a:lnTo>
                  <a:lnTo>
                    <a:pt x="211" y="520"/>
                  </a:lnTo>
                  <a:lnTo>
                    <a:pt x="220" y="531"/>
                  </a:lnTo>
                  <a:lnTo>
                    <a:pt x="219" y="537"/>
                  </a:lnTo>
                  <a:lnTo>
                    <a:pt x="213" y="537"/>
                  </a:lnTo>
                  <a:lnTo>
                    <a:pt x="207" y="543"/>
                  </a:lnTo>
                  <a:lnTo>
                    <a:pt x="208" y="557"/>
                  </a:lnTo>
                  <a:lnTo>
                    <a:pt x="217" y="557"/>
                  </a:lnTo>
                  <a:lnTo>
                    <a:pt x="210" y="560"/>
                  </a:lnTo>
                  <a:lnTo>
                    <a:pt x="204" y="573"/>
                  </a:lnTo>
                  <a:lnTo>
                    <a:pt x="205" y="585"/>
                  </a:lnTo>
                  <a:lnTo>
                    <a:pt x="211" y="596"/>
                  </a:lnTo>
                  <a:lnTo>
                    <a:pt x="222" y="600"/>
                  </a:lnTo>
                  <a:lnTo>
                    <a:pt x="216" y="605"/>
                  </a:lnTo>
                  <a:lnTo>
                    <a:pt x="207" y="600"/>
                  </a:lnTo>
                  <a:lnTo>
                    <a:pt x="205" y="588"/>
                  </a:lnTo>
                  <a:lnTo>
                    <a:pt x="195" y="597"/>
                  </a:lnTo>
                  <a:lnTo>
                    <a:pt x="193" y="602"/>
                  </a:lnTo>
                  <a:lnTo>
                    <a:pt x="207" y="609"/>
                  </a:lnTo>
                  <a:lnTo>
                    <a:pt x="190" y="606"/>
                  </a:lnTo>
                  <a:lnTo>
                    <a:pt x="184" y="603"/>
                  </a:lnTo>
                  <a:lnTo>
                    <a:pt x="175" y="609"/>
                  </a:lnTo>
                  <a:lnTo>
                    <a:pt x="164" y="606"/>
                  </a:lnTo>
                  <a:lnTo>
                    <a:pt x="154" y="602"/>
                  </a:lnTo>
                  <a:lnTo>
                    <a:pt x="134" y="614"/>
                  </a:lnTo>
                  <a:lnTo>
                    <a:pt x="125" y="618"/>
                  </a:lnTo>
                  <a:lnTo>
                    <a:pt x="127" y="630"/>
                  </a:lnTo>
                  <a:lnTo>
                    <a:pt x="118" y="640"/>
                  </a:lnTo>
                  <a:lnTo>
                    <a:pt x="110" y="643"/>
                  </a:lnTo>
                  <a:lnTo>
                    <a:pt x="104" y="644"/>
                  </a:lnTo>
                  <a:lnTo>
                    <a:pt x="88" y="662"/>
                  </a:lnTo>
                  <a:lnTo>
                    <a:pt x="91" y="665"/>
                  </a:lnTo>
                  <a:lnTo>
                    <a:pt x="98" y="658"/>
                  </a:lnTo>
                  <a:lnTo>
                    <a:pt x="109" y="662"/>
                  </a:lnTo>
                  <a:lnTo>
                    <a:pt x="112" y="659"/>
                  </a:lnTo>
                  <a:lnTo>
                    <a:pt x="115" y="652"/>
                  </a:lnTo>
                  <a:lnTo>
                    <a:pt x="115" y="652"/>
                  </a:lnTo>
                  <a:lnTo>
                    <a:pt x="130" y="649"/>
                  </a:lnTo>
                  <a:lnTo>
                    <a:pt x="136" y="646"/>
                  </a:lnTo>
                  <a:lnTo>
                    <a:pt x="134" y="652"/>
                  </a:lnTo>
                  <a:lnTo>
                    <a:pt x="136" y="661"/>
                  </a:lnTo>
                  <a:lnTo>
                    <a:pt x="142" y="667"/>
                  </a:lnTo>
                  <a:lnTo>
                    <a:pt x="140" y="679"/>
                  </a:lnTo>
                  <a:lnTo>
                    <a:pt x="148" y="680"/>
                  </a:lnTo>
                  <a:lnTo>
                    <a:pt x="139" y="701"/>
                  </a:lnTo>
                  <a:lnTo>
                    <a:pt x="130" y="716"/>
                  </a:lnTo>
                  <a:lnTo>
                    <a:pt x="116" y="723"/>
                  </a:lnTo>
                  <a:lnTo>
                    <a:pt x="103" y="732"/>
                  </a:lnTo>
                  <a:lnTo>
                    <a:pt x="92" y="741"/>
                  </a:lnTo>
                  <a:lnTo>
                    <a:pt x="78" y="742"/>
                  </a:lnTo>
                  <a:lnTo>
                    <a:pt x="69" y="748"/>
                  </a:lnTo>
                  <a:lnTo>
                    <a:pt x="66" y="753"/>
                  </a:lnTo>
                  <a:lnTo>
                    <a:pt x="59" y="753"/>
                  </a:lnTo>
                  <a:lnTo>
                    <a:pt x="60" y="754"/>
                  </a:lnTo>
                  <a:lnTo>
                    <a:pt x="72" y="756"/>
                  </a:lnTo>
                  <a:lnTo>
                    <a:pt x="66" y="763"/>
                  </a:lnTo>
                  <a:lnTo>
                    <a:pt x="66" y="769"/>
                  </a:lnTo>
                  <a:lnTo>
                    <a:pt x="75" y="774"/>
                  </a:lnTo>
                  <a:lnTo>
                    <a:pt x="78" y="783"/>
                  </a:lnTo>
                  <a:lnTo>
                    <a:pt x="89" y="783"/>
                  </a:lnTo>
                  <a:lnTo>
                    <a:pt x="94" y="775"/>
                  </a:lnTo>
                  <a:lnTo>
                    <a:pt x="107" y="771"/>
                  </a:lnTo>
                  <a:lnTo>
                    <a:pt x="118" y="762"/>
                  </a:lnTo>
                  <a:lnTo>
                    <a:pt x="118" y="768"/>
                  </a:lnTo>
                  <a:lnTo>
                    <a:pt x="137" y="769"/>
                  </a:lnTo>
                  <a:lnTo>
                    <a:pt x="118" y="781"/>
                  </a:lnTo>
                  <a:lnTo>
                    <a:pt x="127" y="786"/>
                  </a:lnTo>
                  <a:lnTo>
                    <a:pt x="143" y="786"/>
                  </a:lnTo>
                  <a:lnTo>
                    <a:pt x="154" y="777"/>
                  </a:lnTo>
                  <a:lnTo>
                    <a:pt x="166" y="789"/>
                  </a:lnTo>
                  <a:lnTo>
                    <a:pt x="180" y="802"/>
                  </a:lnTo>
                  <a:lnTo>
                    <a:pt x="195" y="799"/>
                  </a:lnTo>
                  <a:lnTo>
                    <a:pt x="207" y="787"/>
                  </a:lnTo>
                  <a:lnTo>
                    <a:pt x="217" y="786"/>
                  </a:lnTo>
                  <a:lnTo>
                    <a:pt x="226" y="775"/>
                  </a:lnTo>
                  <a:lnTo>
                    <a:pt x="235" y="772"/>
                  </a:lnTo>
                  <a:lnTo>
                    <a:pt x="249" y="762"/>
                  </a:lnTo>
                  <a:lnTo>
                    <a:pt x="253" y="754"/>
                  </a:lnTo>
                  <a:lnTo>
                    <a:pt x="252" y="760"/>
                  </a:lnTo>
                  <a:lnTo>
                    <a:pt x="235" y="777"/>
                  </a:lnTo>
                  <a:lnTo>
                    <a:pt x="232" y="790"/>
                  </a:lnTo>
                  <a:lnTo>
                    <a:pt x="211" y="802"/>
                  </a:lnTo>
                  <a:lnTo>
                    <a:pt x="207" y="822"/>
                  </a:lnTo>
                  <a:lnTo>
                    <a:pt x="193" y="824"/>
                  </a:lnTo>
                  <a:lnTo>
                    <a:pt x="160" y="818"/>
                  </a:lnTo>
                  <a:lnTo>
                    <a:pt x="131" y="822"/>
                  </a:lnTo>
                  <a:lnTo>
                    <a:pt x="130" y="831"/>
                  </a:lnTo>
                  <a:lnTo>
                    <a:pt x="131" y="836"/>
                  </a:lnTo>
                  <a:lnTo>
                    <a:pt x="142" y="833"/>
                  </a:lnTo>
                  <a:lnTo>
                    <a:pt x="131" y="842"/>
                  </a:lnTo>
                  <a:lnTo>
                    <a:pt x="122" y="837"/>
                  </a:lnTo>
                  <a:lnTo>
                    <a:pt x="115" y="837"/>
                  </a:lnTo>
                  <a:lnTo>
                    <a:pt x="109" y="872"/>
                  </a:lnTo>
                  <a:lnTo>
                    <a:pt x="89" y="879"/>
                  </a:lnTo>
                  <a:lnTo>
                    <a:pt x="72" y="908"/>
                  </a:lnTo>
                  <a:lnTo>
                    <a:pt x="51" y="922"/>
                  </a:lnTo>
                  <a:lnTo>
                    <a:pt x="48" y="926"/>
                  </a:lnTo>
                  <a:lnTo>
                    <a:pt x="39" y="926"/>
                  </a:lnTo>
                  <a:lnTo>
                    <a:pt x="36" y="935"/>
                  </a:lnTo>
                  <a:lnTo>
                    <a:pt x="45" y="943"/>
                  </a:lnTo>
                  <a:lnTo>
                    <a:pt x="47" y="935"/>
                  </a:lnTo>
                  <a:lnTo>
                    <a:pt x="56" y="931"/>
                  </a:lnTo>
                  <a:lnTo>
                    <a:pt x="71" y="940"/>
                  </a:lnTo>
                  <a:lnTo>
                    <a:pt x="78" y="943"/>
                  </a:lnTo>
                  <a:lnTo>
                    <a:pt x="82" y="937"/>
                  </a:lnTo>
                  <a:lnTo>
                    <a:pt x="77" y="928"/>
                  </a:lnTo>
                  <a:lnTo>
                    <a:pt x="97" y="916"/>
                  </a:lnTo>
                  <a:lnTo>
                    <a:pt x="101" y="905"/>
                  </a:lnTo>
                  <a:lnTo>
                    <a:pt x="118" y="904"/>
                  </a:lnTo>
                  <a:lnTo>
                    <a:pt x="137" y="910"/>
                  </a:lnTo>
                  <a:lnTo>
                    <a:pt x="154" y="911"/>
                  </a:lnTo>
                  <a:lnTo>
                    <a:pt x="164" y="916"/>
                  </a:lnTo>
                  <a:lnTo>
                    <a:pt x="174" y="914"/>
                  </a:lnTo>
                  <a:lnTo>
                    <a:pt x="172" y="890"/>
                  </a:lnTo>
                  <a:lnTo>
                    <a:pt x="180" y="875"/>
                  </a:lnTo>
                  <a:lnTo>
                    <a:pt x="183" y="881"/>
                  </a:lnTo>
                  <a:lnTo>
                    <a:pt x="190" y="882"/>
                  </a:lnTo>
                  <a:lnTo>
                    <a:pt x="207" y="870"/>
                  </a:lnTo>
                  <a:lnTo>
                    <a:pt x="232" y="872"/>
                  </a:lnTo>
                  <a:lnTo>
                    <a:pt x="243" y="887"/>
                  </a:lnTo>
                  <a:lnTo>
                    <a:pt x="256" y="882"/>
                  </a:lnTo>
                  <a:lnTo>
                    <a:pt x="269" y="884"/>
                  </a:lnTo>
                  <a:lnTo>
                    <a:pt x="272" y="887"/>
                  </a:lnTo>
                  <a:lnTo>
                    <a:pt x="279" y="876"/>
                  </a:lnTo>
                  <a:lnTo>
                    <a:pt x="272" y="872"/>
                  </a:lnTo>
                  <a:lnTo>
                    <a:pt x="275" y="866"/>
                  </a:lnTo>
                  <a:lnTo>
                    <a:pt x="285" y="870"/>
                  </a:lnTo>
                  <a:lnTo>
                    <a:pt x="296" y="872"/>
                  </a:lnTo>
                  <a:lnTo>
                    <a:pt x="299" y="867"/>
                  </a:lnTo>
                  <a:lnTo>
                    <a:pt x="309" y="861"/>
                  </a:lnTo>
                  <a:lnTo>
                    <a:pt x="311" y="857"/>
                  </a:lnTo>
                  <a:lnTo>
                    <a:pt x="308" y="852"/>
                  </a:lnTo>
                  <a:lnTo>
                    <a:pt x="303" y="848"/>
                  </a:lnTo>
                  <a:lnTo>
                    <a:pt x="312" y="848"/>
                  </a:lnTo>
                  <a:lnTo>
                    <a:pt x="321" y="860"/>
                  </a:lnTo>
                  <a:lnTo>
                    <a:pt x="327" y="861"/>
                  </a:lnTo>
                  <a:lnTo>
                    <a:pt x="332" y="855"/>
                  </a:lnTo>
                  <a:lnTo>
                    <a:pt x="335" y="858"/>
                  </a:lnTo>
                  <a:lnTo>
                    <a:pt x="342" y="858"/>
                  </a:lnTo>
                  <a:lnTo>
                    <a:pt x="345" y="866"/>
                  </a:lnTo>
                  <a:lnTo>
                    <a:pt x="358" y="870"/>
                  </a:lnTo>
                  <a:lnTo>
                    <a:pt x="364" y="860"/>
                  </a:lnTo>
                  <a:lnTo>
                    <a:pt x="397" y="860"/>
                  </a:lnTo>
                  <a:lnTo>
                    <a:pt x="404" y="866"/>
                  </a:lnTo>
                  <a:lnTo>
                    <a:pt x="440" y="852"/>
                  </a:lnTo>
                  <a:lnTo>
                    <a:pt x="460" y="849"/>
                  </a:lnTo>
                  <a:lnTo>
                    <a:pt x="463" y="836"/>
                  </a:lnTo>
                  <a:lnTo>
                    <a:pt x="484" y="830"/>
                  </a:lnTo>
                  <a:lnTo>
                    <a:pt x="489" y="824"/>
                  </a:lnTo>
                  <a:lnTo>
                    <a:pt x="487" y="810"/>
                  </a:lnTo>
                  <a:lnTo>
                    <a:pt x="492" y="802"/>
                  </a:lnTo>
                  <a:lnTo>
                    <a:pt x="486" y="802"/>
                  </a:lnTo>
                  <a:lnTo>
                    <a:pt x="471" y="807"/>
                  </a:lnTo>
                  <a:lnTo>
                    <a:pt x="463" y="810"/>
                  </a:lnTo>
                  <a:lnTo>
                    <a:pt x="450" y="809"/>
                  </a:lnTo>
                  <a:lnTo>
                    <a:pt x="442" y="802"/>
                  </a:lnTo>
                  <a:lnTo>
                    <a:pt x="434" y="810"/>
                  </a:lnTo>
                  <a:lnTo>
                    <a:pt x="431" y="807"/>
                  </a:lnTo>
                  <a:lnTo>
                    <a:pt x="440" y="798"/>
                  </a:lnTo>
                  <a:lnTo>
                    <a:pt x="431" y="792"/>
                  </a:lnTo>
                  <a:lnTo>
                    <a:pt x="442" y="796"/>
                  </a:lnTo>
                  <a:lnTo>
                    <a:pt x="447" y="790"/>
                  </a:lnTo>
                  <a:lnTo>
                    <a:pt x="450" y="781"/>
                  </a:lnTo>
                  <a:lnTo>
                    <a:pt x="456" y="775"/>
                  </a:lnTo>
                  <a:lnTo>
                    <a:pt x="456" y="769"/>
                  </a:lnTo>
                  <a:lnTo>
                    <a:pt x="445" y="763"/>
                  </a:lnTo>
                  <a:lnTo>
                    <a:pt x="450" y="762"/>
                  </a:lnTo>
                  <a:lnTo>
                    <a:pt x="459" y="762"/>
                  </a:lnTo>
                  <a:lnTo>
                    <a:pt x="462" y="756"/>
                  </a:lnTo>
                  <a:lnTo>
                    <a:pt x="466" y="759"/>
                  </a:lnTo>
                  <a:lnTo>
                    <a:pt x="474" y="760"/>
                  </a:lnTo>
                  <a:lnTo>
                    <a:pt x="481" y="757"/>
                  </a:lnTo>
                  <a:lnTo>
                    <a:pt x="483" y="751"/>
                  </a:lnTo>
                  <a:lnTo>
                    <a:pt x="478" y="747"/>
                  </a:lnTo>
                  <a:lnTo>
                    <a:pt x="478" y="738"/>
                  </a:lnTo>
                  <a:lnTo>
                    <a:pt x="487" y="733"/>
                  </a:lnTo>
                  <a:lnTo>
                    <a:pt x="495" y="735"/>
                  </a:lnTo>
                  <a:lnTo>
                    <a:pt x="505" y="718"/>
                  </a:lnTo>
                  <a:lnTo>
                    <a:pt x="510" y="700"/>
                  </a:lnTo>
                  <a:lnTo>
                    <a:pt x="511" y="685"/>
                  </a:lnTo>
                  <a:lnTo>
                    <a:pt x="498" y="658"/>
                  </a:lnTo>
                  <a:lnTo>
                    <a:pt x="489" y="644"/>
                  </a:lnTo>
                  <a:lnTo>
                    <a:pt x="459" y="640"/>
                  </a:lnTo>
                  <a:lnTo>
                    <a:pt x="445" y="637"/>
                  </a:lnTo>
                  <a:lnTo>
                    <a:pt x="436" y="638"/>
                  </a:lnTo>
                  <a:lnTo>
                    <a:pt x="425" y="640"/>
                  </a:lnTo>
                  <a:lnTo>
                    <a:pt x="422" y="649"/>
                  </a:lnTo>
                  <a:lnTo>
                    <a:pt x="421" y="658"/>
                  </a:lnTo>
                  <a:lnTo>
                    <a:pt x="416" y="659"/>
                  </a:lnTo>
                  <a:lnTo>
                    <a:pt x="404" y="655"/>
                  </a:lnTo>
                  <a:lnTo>
                    <a:pt x="400" y="647"/>
                  </a:lnTo>
                  <a:lnTo>
                    <a:pt x="404" y="635"/>
                  </a:lnTo>
                  <a:lnTo>
                    <a:pt x="413" y="626"/>
                  </a:lnTo>
                  <a:lnTo>
                    <a:pt x="418" y="618"/>
                  </a:lnTo>
                  <a:lnTo>
                    <a:pt x="416" y="600"/>
                  </a:lnTo>
                  <a:lnTo>
                    <a:pt x="412" y="591"/>
                  </a:lnTo>
                  <a:lnTo>
                    <a:pt x="401" y="581"/>
                  </a:lnTo>
                  <a:lnTo>
                    <a:pt x="392" y="575"/>
                  </a:lnTo>
                  <a:lnTo>
                    <a:pt x="386" y="569"/>
                  </a:lnTo>
                  <a:lnTo>
                    <a:pt x="379" y="569"/>
                  </a:lnTo>
                  <a:lnTo>
                    <a:pt x="370" y="569"/>
                  </a:lnTo>
                  <a:lnTo>
                    <a:pt x="364" y="564"/>
                  </a:lnTo>
                  <a:lnTo>
                    <a:pt x="356" y="564"/>
                  </a:lnTo>
                  <a:lnTo>
                    <a:pt x="347" y="564"/>
                  </a:lnTo>
                  <a:lnTo>
                    <a:pt x="348" y="561"/>
                  </a:lnTo>
                  <a:lnTo>
                    <a:pt x="358" y="561"/>
                  </a:lnTo>
                  <a:lnTo>
                    <a:pt x="368" y="560"/>
                  </a:lnTo>
                  <a:lnTo>
                    <a:pt x="380" y="567"/>
                  </a:lnTo>
                  <a:lnTo>
                    <a:pt x="389" y="566"/>
                  </a:lnTo>
                  <a:lnTo>
                    <a:pt x="392" y="569"/>
                  </a:lnTo>
                  <a:lnTo>
                    <a:pt x="406" y="567"/>
                  </a:lnTo>
                  <a:lnTo>
                    <a:pt x="412" y="575"/>
                  </a:lnTo>
                  <a:lnTo>
                    <a:pt x="409" y="563"/>
                  </a:lnTo>
                  <a:lnTo>
                    <a:pt x="392" y="547"/>
                  </a:lnTo>
                  <a:lnTo>
                    <a:pt x="383" y="522"/>
                  </a:lnTo>
                  <a:lnTo>
                    <a:pt x="388" y="514"/>
                  </a:lnTo>
                  <a:lnTo>
                    <a:pt x="376" y="507"/>
                  </a:lnTo>
                  <a:lnTo>
                    <a:pt x="368" y="490"/>
                  </a:lnTo>
                  <a:lnTo>
                    <a:pt x="351" y="475"/>
                  </a:lnTo>
                  <a:lnTo>
                    <a:pt x="341" y="468"/>
                  </a:lnTo>
                  <a:lnTo>
                    <a:pt x="335" y="463"/>
                  </a:lnTo>
                  <a:lnTo>
                    <a:pt x="329" y="463"/>
                  </a:lnTo>
                  <a:lnTo>
                    <a:pt x="327" y="466"/>
                  </a:lnTo>
                  <a:lnTo>
                    <a:pt x="320" y="466"/>
                  </a:lnTo>
                  <a:lnTo>
                    <a:pt x="315" y="471"/>
                  </a:lnTo>
                  <a:lnTo>
                    <a:pt x="320" y="460"/>
                  </a:lnTo>
                  <a:lnTo>
                    <a:pt x="324" y="452"/>
                  </a:lnTo>
                  <a:lnTo>
                    <a:pt x="318" y="446"/>
                  </a:lnTo>
                  <a:lnTo>
                    <a:pt x="315" y="440"/>
                  </a:lnTo>
                  <a:lnTo>
                    <a:pt x="306" y="437"/>
                  </a:lnTo>
                  <a:lnTo>
                    <a:pt x="309" y="433"/>
                  </a:lnTo>
                  <a:lnTo>
                    <a:pt x="302" y="418"/>
                  </a:lnTo>
                  <a:lnTo>
                    <a:pt x="299" y="394"/>
                  </a:lnTo>
                  <a:lnTo>
                    <a:pt x="294" y="383"/>
                  </a:lnTo>
                  <a:lnTo>
                    <a:pt x="288" y="380"/>
                  </a:lnTo>
                  <a:lnTo>
                    <a:pt x="291" y="374"/>
                  </a:lnTo>
                  <a:lnTo>
                    <a:pt x="297" y="371"/>
                  </a:lnTo>
                  <a:lnTo>
                    <a:pt x="290" y="354"/>
                  </a:lnTo>
                  <a:lnTo>
                    <a:pt x="290" y="354"/>
                  </a:lnTo>
                  <a:lnTo>
                    <a:pt x="284" y="351"/>
                  </a:lnTo>
                  <a:lnTo>
                    <a:pt x="278" y="347"/>
                  </a:lnTo>
                  <a:lnTo>
                    <a:pt x="278" y="347"/>
                  </a:lnTo>
                  <a:lnTo>
                    <a:pt x="262" y="324"/>
                  </a:lnTo>
                  <a:lnTo>
                    <a:pt x="250" y="320"/>
                  </a:lnTo>
                  <a:lnTo>
                    <a:pt x="240" y="317"/>
                  </a:lnTo>
                  <a:lnTo>
                    <a:pt x="232" y="309"/>
                  </a:lnTo>
                  <a:lnTo>
                    <a:pt x="225" y="305"/>
                  </a:lnTo>
                  <a:lnTo>
                    <a:pt x="217" y="305"/>
                  </a:lnTo>
                  <a:lnTo>
                    <a:pt x="208" y="314"/>
                  </a:lnTo>
                  <a:lnTo>
                    <a:pt x="202" y="315"/>
                  </a:lnTo>
                  <a:lnTo>
                    <a:pt x="187" y="314"/>
                  </a:lnTo>
                  <a:lnTo>
                    <a:pt x="177" y="311"/>
                  </a:lnTo>
                  <a:lnTo>
                    <a:pt x="169" y="308"/>
                  </a:lnTo>
                  <a:lnTo>
                    <a:pt x="158" y="306"/>
                  </a:lnTo>
                  <a:lnTo>
                    <a:pt x="148" y="308"/>
                  </a:lnTo>
                  <a:lnTo>
                    <a:pt x="148" y="305"/>
                  </a:lnTo>
                  <a:lnTo>
                    <a:pt x="164" y="303"/>
                  </a:lnTo>
                  <a:lnTo>
                    <a:pt x="181" y="303"/>
                  </a:lnTo>
                  <a:lnTo>
                    <a:pt x="189" y="305"/>
                  </a:lnTo>
                  <a:lnTo>
                    <a:pt x="198" y="300"/>
                  </a:lnTo>
                  <a:lnTo>
                    <a:pt x="204" y="293"/>
                  </a:lnTo>
                  <a:lnTo>
                    <a:pt x="205" y="286"/>
                  </a:lnTo>
                  <a:lnTo>
                    <a:pt x="213" y="288"/>
                  </a:lnTo>
                  <a:lnTo>
                    <a:pt x="222" y="288"/>
                  </a:lnTo>
                  <a:lnTo>
                    <a:pt x="225" y="283"/>
                  </a:lnTo>
                  <a:lnTo>
                    <a:pt x="226" y="279"/>
                  </a:lnTo>
                  <a:lnTo>
                    <a:pt x="223" y="274"/>
                  </a:lnTo>
                  <a:lnTo>
                    <a:pt x="216" y="271"/>
                  </a:lnTo>
                  <a:lnTo>
                    <a:pt x="217" y="268"/>
                  </a:lnTo>
                  <a:lnTo>
                    <a:pt x="211" y="264"/>
                  </a:lnTo>
                  <a:lnTo>
                    <a:pt x="202" y="265"/>
                  </a:lnTo>
                  <a:lnTo>
                    <a:pt x="196" y="270"/>
                  </a:lnTo>
                  <a:lnTo>
                    <a:pt x="195" y="265"/>
                  </a:lnTo>
                  <a:lnTo>
                    <a:pt x="204" y="258"/>
                  </a:lnTo>
                  <a:lnTo>
                    <a:pt x="219" y="262"/>
                  </a:lnTo>
                  <a:lnTo>
                    <a:pt x="223" y="253"/>
                  </a:lnTo>
                  <a:lnTo>
                    <a:pt x="226" y="246"/>
                  </a:lnTo>
                  <a:lnTo>
                    <a:pt x="237" y="240"/>
                  </a:lnTo>
                  <a:lnTo>
                    <a:pt x="237" y="231"/>
                  </a:lnTo>
                  <a:lnTo>
                    <a:pt x="247" y="223"/>
                  </a:lnTo>
                  <a:lnTo>
                    <a:pt x="249" y="210"/>
                  </a:lnTo>
                  <a:lnTo>
                    <a:pt x="259" y="190"/>
                  </a:lnTo>
                  <a:lnTo>
                    <a:pt x="262" y="170"/>
                  </a:lnTo>
                  <a:lnTo>
                    <a:pt x="275" y="152"/>
                  </a:lnTo>
                  <a:lnTo>
                    <a:pt x="276" y="130"/>
                  </a:lnTo>
                  <a:lnTo>
                    <a:pt x="272" y="118"/>
                  </a:lnTo>
                  <a:lnTo>
                    <a:pt x="264" y="114"/>
                  </a:lnTo>
                  <a:lnTo>
                    <a:pt x="247" y="114"/>
                  </a:lnTo>
                  <a:lnTo>
                    <a:pt x="232" y="116"/>
                  </a:lnTo>
                  <a:lnTo>
                    <a:pt x="223" y="111"/>
                  </a:lnTo>
                  <a:lnTo>
                    <a:pt x="211" y="114"/>
                  </a:lnTo>
                  <a:lnTo>
                    <a:pt x="204" y="119"/>
                  </a:lnTo>
                  <a:lnTo>
                    <a:pt x="195" y="116"/>
                  </a:lnTo>
                  <a:lnTo>
                    <a:pt x="184" y="111"/>
                  </a:lnTo>
                  <a:lnTo>
                    <a:pt x="174" y="116"/>
                  </a:lnTo>
                  <a:lnTo>
                    <a:pt x="169" y="121"/>
                  </a:lnTo>
                  <a:lnTo>
                    <a:pt x="161" y="122"/>
                  </a:lnTo>
                  <a:lnTo>
                    <a:pt x="152" y="124"/>
                  </a:lnTo>
                  <a:lnTo>
                    <a:pt x="149" y="127"/>
                  </a:lnTo>
                  <a:lnTo>
                    <a:pt x="134" y="130"/>
                  </a:lnTo>
                  <a:lnTo>
                    <a:pt x="137" y="133"/>
                  </a:lnTo>
                  <a:lnTo>
                    <a:pt x="127" y="143"/>
                  </a:lnTo>
                  <a:lnTo>
                    <a:pt x="127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221" name="Freeform 576"/>
            <p:cNvSpPr>
              <a:spLocks/>
            </p:cNvSpPr>
            <p:nvPr userDrawn="1"/>
          </p:nvSpPr>
          <p:spPr bwMode="auto">
            <a:xfrm>
              <a:off x="3344" y="2561"/>
              <a:ext cx="37" cy="21"/>
            </a:xfrm>
            <a:custGeom>
              <a:avLst/>
              <a:gdLst>
                <a:gd name="T0" fmla="*/ 3 w 37"/>
                <a:gd name="T1" fmla="*/ 10 h 21"/>
                <a:gd name="T2" fmla="*/ 18 w 37"/>
                <a:gd name="T3" fmla="*/ 0 h 21"/>
                <a:gd name="T4" fmla="*/ 21 w 37"/>
                <a:gd name="T5" fmla="*/ 3 h 21"/>
                <a:gd name="T6" fmla="*/ 33 w 37"/>
                <a:gd name="T7" fmla="*/ 6 h 21"/>
                <a:gd name="T8" fmla="*/ 37 w 37"/>
                <a:gd name="T9" fmla="*/ 10 h 21"/>
                <a:gd name="T10" fmla="*/ 36 w 37"/>
                <a:gd name="T11" fmla="*/ 15 h 21"/>
                <a:gd name="T12" fmla="*/ 31 w 37"/>
                <a:gd name="T13" fmla="*/ 19 h 21"/>
                <a:gd name="T14" fmla="*/ 25 w 37"/>
                <a:gd name="T15" fmla="*/ 21 h 21"/>
                <a:gd name="T16" fmla="*/ 10 w 37"/>
                <a:gd name="T17" fmla="*/ 13 h 21"/>
                <a:gd name="T18" fmla="*/ 0 w 37"/>
                <a:gd name="T19" fmla="*/ 13 h 21"/>
                <a:gd name="T20" fmla="*/ 3 w 37"/>
                <a:gd name="T21" fmla="*/ 10 h 21"/>
                <a:gd name="T22" fmla="*/ 3 w 37"/>
                <a:gd name="T23" fmla="*/ 1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7" h="21">
                  <a:moveTo>
                    <a:pt x="3" y="10"/>
                  </a:moveTo>
                  <a:lnTo>
                    <a:pt x="18" y="0"/>
                  </a:lnTo>
                  <a:lnTo>
                    <a:pt x="21" y="3"/>
                  </a:lnTo>
                  <a:lnTo>
                    <a:pt x="33" y="6"/>
                  </a:lnTo>
                  <a:lnTo>
                    <a:pt x="37" y="10"/>
                  </a:lnTo>
                  <a:lnTo>
                    <a:pt x="36" y="15"/>
                  </a:lnTo>
                  <a:lnTo>
                    <a:pt x="31" y="19"/>
                  </a:lnTo>
                  <a:lnTo>
                    <a:pt x="25" y="21"/>
                  </a:lnTo>
                  <a:lnTo>
                    <a:pt x="10" y="13"/>
                  </a:lnTo>
                  <a:lnTo>
                    <a:pt x="0" y="13"/>
                  </a:lnTo>
                  <a:lnTo>
                    <a:pt x="3" y="10"/>
                  </a:lnTo>
                  <a:lnTo>
                    <a:pt x="3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222" name="Freeform 577"/>
            <p:cNvSpPr>
              <a:spLocks/>
            </p:cNvSpPr>
            <p:nvPr userDrawn="1"/>
          </p:nvSpPr>
          <p:spPr bwMode="auto">
            <a:xfrm>
              <a:off x="4357" y="3089"/>
              <a:ext cx="17" cy="44"/>
            </a:xfrm>
            <a:custGeom>
              <a:avLst/>
              <a:gdLst>
                <a:gd name="T0" fmla="*/ 9 w 17"/>
                <a:gd name="T1" fmla="*/ 12 h 44"/>
                <a:gd name="T2" fmla="*/ 6 w 17"/>
                <a:gd name="T3" fmla="*/ 9 h 44"/>
                <a:gd name="T4" fmla="*/ 6 w 17"/>
                <a:gd name="T5" fmla="*/ 0 h 44"/>
                <a:gd name="T6" fmla="*/ 0 w 17"/>
                <a:gd name="T7" fmla="*/ 0 h 44"/>
                <a:gd name="T8" fmla="*/ 0 w 17"/>
                <a:gd name="T9" fmla="*/ 6 h 44"/>
                <a:gd name="T10" fmla="*/ 8 w 17"/>
                <a:gd name="T11" fmla="*/ 15 h 44"/>
                <a:gd name="T12" fmla="*/ 8 w 17"/>
                <a:gd name="T13" fmla="*/ 21 h 44"/>
                <a:gd name="T14" fmla="*/ 6 w 17"/>
                <a:gd name="T15" fmla="*/ 24 h 44"/>
                <a:gd name="T16" fmla="*/ 3 w 17"/>
                <a:gd name="T17" fmla="*/ 21 h 44"/>
                <a:gd name="T18" fmla="*/ 2 w 17"/>
                <a:gd name="T19" fmla="*/ 26 h 44"/>
                <a:gd name="T20" fmla="*/ 5 w 17"/>
                <a:gd name="T21" fmla="*/ 33 h 44"/>
                <a:gd name="T22" fmla="*/ 11 w 17"/>
                <a:gd name="T23" fmla="*/ 39 h 44"/>
                <a:gd name="T24" fmla="*/ 14 w 17"/>
                <a:gd name="T25" fmla="*/ 44 h 44"/>
                <a:gd name="T26" fmla="*/ 17 w 17"/>
                <a:gd name="T27" fmla="*/ 44 h 44"/>
                <a:gd name="T28" fmla="*/ 14 w 17"/>
                <a:gd name="T29" fmla="*/ 19 h 44"/>
                <a:gd name="T30" fmla="*/ 9 w 17"/>
                <a:gd name="T31" fmla="*/ 12 h 44"/>
                <a:gd name="T32" fmla="*/ 9 w 17"/>
                <a:gd name="T33" fmla="*/ 12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" h="44">
                  <a:moveTo>
                    <a:pt x="9" y="12"/>
                  </a:moveTo>
                  <a:lnTo>
                    <a:pt x="6" y="9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8" y="15"/>
                  </a:lnTo>
                  <a:lnTo>
                    <a:pt x="8" y="21"/>
                  </a:lnTo>
                  <a:lnTo>
                    <a:pt x="6" y="24"/>
                  </a:lnTo>
                  <a:lnTo>
                    <a:pt x="3" y="21"/>
                  </a:lnTo>
                  <a:lnTo>
                    <a:pt x="2" y="26"/>
                  </a:lnTo>
                  <a:lnTo>
                    <a:pt x="5" y="33"/>
                  </a:lnTo>
                  <a:lnTo>
                    <a:pt x="11" y="39"/>
                  </a:lnTo>
                  <a:lnTo>
                    <a:pt x="14" y="44"/>
                  </a:lnTo>
                  <a:lnTo>
                    <a:pt x="17" y="44"/>
                  </a:lnTo>
                  <a:lnTo>
                    <a:pt x="14" y="19"/>
                  </a:lnTo>
                  <a:lnTo>
                    <a:pt x="9" y="12"/>
                  </a:lnTo>
                  <a:lnTo>
                    <a:pt x="9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223" name="Freeform 578"/>
            <p:cNvSpPr>
              <a:spLocks/>
            </p:cNvSpPr>
            <p:nvPr userDrawn="1"/>
          </p:nvSpPr>
          <p:spPr bwMode="auto">
            <a:xfrm>
              <a:off x="4359" y="3131"/>
              <a:ext cx="15" cy="20"/>
            </a:xfrm>
            <a:custGeom>
              <a:avLst/>
              <a:gdLst>
                <a:gd name="T0" fmla="*/ 4 w 15"/>
                <a:gd name="T1" fmla="*/ 0 h 20"/>
                <a:gd name="T2" fmla="*/ 0 w 15"/>
                <a:gd name="T3" fmla="*/ 2 h 20"/>
                <a:gd name="T4" fmla="*/ 1 w 15"/>
                <a:gd name="T5" fmla="*/ 6 h 20"/>
                <a:gd name="T6" fmla="*/ 6 w 15"/>
                <a:gd name="T7" fmla="*/ 12 h 20"/>
                <a:gd name="T8" fmla="*/ 10 w 15"/>
                <a:gd name="T9" fmla="*/ 14 h 20"/>
                <a:gd name="T10" fmla="*/ 12 w 15"/>
                <a:gd name="T11" fmla="*/ 20 h 20"/>
                <a:gd name="T12" fmla="*/ 15 w 15"/>
                <a:gd name="T13" fmla="*/ 18 h 20"/>
                <a:gd name="T14" fmla="*/ 13 w 15"/>
                <a:gd name="T15" fmla="*/ 11 h 20"/>
                <a:gd name="T16" fmla="*/ 4 w 15"/>
                <a:gd name="T17" fmla="*/ 0 h 20"/>
                <a:gd name="T18" fmla="*/ 4 w 15"/>
                <a:gd name="T19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" h="20">
                  <a:moveTo>
                    <a:pt x="4" y="0"/>
                  </a:moveTo>
                  <a:lnTo>
                    <a:pt x="0" y="2"/>
                  </a:lnTo>
                  <a:lnTo>
                    <a:pt x="1" y="6"/>
                  </a:lnTo>
                  <a:lnTo>
                    <a:pt x="6" y="12"/>
                  </a:lnTo>
                  <a:lnTo>
                    <a:pt x="10" y="14"/>
                  </a:lnTo>
                  <a:lnTo>
                    <a:pt x="12" y="20"/>
                  </a:lnTo>
                  <a:lnTo>
                    <a:pt x="15" y="18"/>
                  </a:lnTo>
                  <a:lnTo>
                    <a:pt x="13" y="11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224" name="Freeform 579"/>
            <p:cNvSpPr>
              <a:spLocks/>
            </p:cNvSpPr>
            <p:nvPr userDrawn="1"/>
          </p:nvSpPr>
          <p:spPr bwMode="auto">
            <a:xfrm>
              <a:off x="4381" y="3160"/>
              <a:ext cx="26" cy="25"/>
            </a:xfrm>
            <a:custGeom>
              <a:avLst/>
              <a:gdLst>
                <a:gd name="T0" fmla="*/ 0 w 26"/>
                <a:gd name="T1" fmla="*/ 0 h 25"/>
                <a:gd name="T2" fmla="*/ 6 w 26"/>
                <a:gd name="T3" fmla="*/ 9 h 25"/>
                <a:gd name="T4" fmla="*/ 14 w 26"/>
                <a:gd name="T5" fmla="*/ 19 h 25"/>
                <a:gd name="T6" fmla="*/ 26 w 26"/>
                <a:gd name="T7" fmla="*/ 25 h 25"/>
                <a:gd name="T8" fmla="*/ 17 w 26"/>
                <a:gd name="T9" fmla="*/ 16 h 25"/>
                <a:gd name="T10" fmla="*/ 0 w 26"/>
                <a:gd name="T11" fmla="*/ 0 h 25"/>
                <a:gd name="T12" fmla="*/ 0 w 26"/>
                <a:gd name="T13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25">
                  <a:moveTo>
                    <a:pt x="0" y="0"/>
                  </a:moveTo>
                  <a:lnTo>
                    <a:pt x="6" y="9"/>
                  </a:lnTo>
                  <a:lnTo>
                    <a:pt x="14" y="19"/>
                  </a:lnTo>
                  <a:lnTo>
                    <a:pt x="26" y="25"/>
                  </a:lnTo>
                  <a:lnTo>
                    <a:pt x="17" y="1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225" name="Freeform 580"/>
            <p:cNvSpPr>
              <a:spLocks/>
            </p:cNvSpPr>
            <p:nvPr userDrawn="1"/>
          </p:nvSpPr>
          <p:spPr bwMode="auto">
            <a:xfrm>
              <a:off x="4389" y="3133"/>
              <a:ext cx="27" cy="25"/>
            </a:xfrm>
            <a:custGeom>
              <a:avLst/>
              <a:gdLst>
                <a:gd name="T0" fmla="*/ 27 w 27"/>
                <a:gd name="T1" fmla="*/ 22 h 25"/>
                <a:gd name="T2" fmla="*/ 21 w 27"/>
                <a:gd name="T3" fmla="*/ 18 h 25"/>
                <a:gd name="T4" fmla="*/ 14 w 27"/>
                <a:gd name="T5" fmla="*/ 10 h 25"/>
                <a:gd name="T6" fmla="*/ 18 w 27"/>
                <a:gd name="T7" fmla="*/ 12 h 25"/>
                <a:gd name="T8" fmla="*/ 17 w 27"/>
                <a:gd name="T9" fmla="*/ 9 h 25"/>
                <a:gd name="T10" fmla="*/ 3 w 27"/>
                <a:gd name="T11" fmla="*/ 0 h 25"/>
                <a:gd name="T12" fmla="*/ 0 w 27"/>
                <a:gd name="T13" fmla="*/ 0 h 25"/>
                <a:gd name="T14" fmla="*/ 1 w 27"/>
                <a:gd name="T15" fmla="*/ 6 h 25"/>
                <a:gd name="T16" fmla="*/ 7 w 27"/>
                <a:gd name="T17" fmla="*/ 13 h 25"/>
                <a:gd name="T18" fmla="*/ 15 w 27"/>
                <a:gd name="T19" fmla="*/ 21 h 25"/>
                <a:gd name="T20" fmla="*/ 14 w 27"/>
                <a:gd name="T21" fmla="*/ 15 h 25"/>
                <a:gd name="T22" fmla="*/ 27 w 27"/>
                <a:gd name="T23" fmla="*/ 25 h 25"/>
                <a:gd name="T24" fmla="*/ 27 w 27"/>
                <a:gd name="T25" fmla="*/ 22 h 25"/>
                <a:gd name="T26" fmla="*/ 27 w 27"/>
                <a:gd name="T27" fmla="*/ 2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7" h="25">
                  <a:moveTo>
                    <a:pt x="27" y="22"/>
                  </a:moveTo>
                  <a:lnTo>
                    <a:pt x="21" y="18"/>
                  </a:lnTo>
                  <a:lnTo>
                    <a:pt x="14" y="10"/>
                  </a:lnTo>
                  <a:lnTo>
                    <a:pt x="18" y="12"/>
                  </a:lnTo>
                  <a:lnTo>
                    <a:pt x="17" y="9"/>
                  </a:lnTo>
                  <a:lnTo>
                    <a:pt x="3" y="0"/>
                  </a:lnTo>
                  <a:lnTo>
                    <a:pt x="0" y="0"/>
                  </a:lnTo>
                  <a:lnTo>
                    <a:pt x="1" y="6"/>
                  </a:lnTo>
                  <a:lnTo>
                    <a:pt x="7" y="13"/>
                  </a:lnTo>
                  <a:lnTo>
                    <a:pt x="15" y="21"/>
                  </a:lnTo>
                  <a:lnTo>
                    <a:pt x="14" y="15"/>
                  </a:lnTo>
                  <a:lnTo>
                    <a:pt x="27" y="25"/>
                  </a:lnTo>
                  <a:lnTo>
                    <a:pt x="27" y="22"/>
                  </a:lnTo>
                  <a:lnTo>
                    <a:pt x="27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226" name="Freeform 581"/>
            <p:cNvSpPr>
              <a:spLocks/>
            </p:cNvSpPr>
            <p:nvPr userDrawn="1"/>
          </p:nvSpPr>
          <p:spPr bwMode="auto">
            <a:xfrm>
              <a:off x="4401" y="3157"/>
              <a:ext cx="9" cy="6"/>
            </a:xfrm>
            <a:custGeom>
              <a:avLst/>
              <a:gdLst>
                <a:gd name="T0" fmla="*/ 9 w 9"/>
                <a:gd name="T1" fmla="*/ 4 h 6"/>
                <a:gd name="T2" fmla="*/ 0 w 9"/>
                <a:gd name="T3" fmla="*/ 0 h 6"/>
                <a:gd name="T4" fmla="*/ 6 w 9"/>
                <a:gd name="T5" fmla="*/ 6 h 6"/>
                <a:gd name="T6" fmla="*/ 9 w 9"/>
                <a:gd name="T7" fmla="*/ 4 h 6"/>
                <a:gd name="T8" fmla="*/ 9 w 9"/>
                <a:gd name="T9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6">
                  <a:moveTo>
                    <a:pt x="9" y="4"/>
                  </a:moveTo>
                  <a:lnTo>
                    <a:pt x="0" y="0"/>
                  </a:lnTo>
                  <a:lnTo>
                    <a:pt x="6" y="6"/>
                  </a:lnTo>
                  <a:lnTo>
                    <a:pt x="9" y="4"/>
                  </a:lnTo>
                  <a:lnTo>
                    <a:pt x="9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227" name="Freeform 582"/>
            <p:cNvSpPr>
              <a:spLocks/>
            </p:cNvSpPr>
            <p:nvPr userDrawn="1"/>
          </p:nvSpPr>
          <p:spPr bwMode="auto">
            <a:xfrm>
              <a:off x="4369" y="3084"/>
              <a:ext cx="31" cy="40"/>
            </a:xfrm>
            <a:custGeom>
              <a:avLst/>
              <a:gdLst>
                <a:gd name="T0" fmla="*/ 27 w 31"/>
                <a:gd name="T1" fmla="*/ 35 h 40"/>
                <a:gd name="T2" fmla="*/ 24 w 31"/>
                <a:gd name="T3" fmla="*/ 34 h 40"/>
                <a:gd name="T4" fmla="*/ 15 w 31"/>
                <a:gd name="T5" fmla="*/ 29 h 40"/>
                <a:gd name="T6" fmla="*/ 14 w 31"/>
                <a:gd name="T7" fmla="*/ 21 h 40"/>
                <a:gd name="T8" fmla="*/ 11 w 31"/>
                <a:gd name="T9" fmla="*/ 21 h 40"/>
                <a:gd name="T10" fmla="*/ 2 w 31"/>
                <a:gd name="T11" fmla="*/ 14 h 40"/>
                <a:gd name="T12" fmla="*/ 0 w 31"/>
                <a:gd name="T13" fmla="*/ 6 h 40"/>
                <a:gd name="T14" fmla="*/ 6 w 31"/>
                <a:gd name="T15" fmla="*/ 6 h 40"/>
                <a:gd name="T16" fmla="*/ 6 w 31"/>
                <a:gd name="T17" fmla="*/ 0 h 40"/>
                <a:gd name="T18" fmla="*/ 9 w 31"/>
                <a:gd name="T19" fmla="*/ 0 h 40"/>
                <a:gd name="T20" fmla="*/ 20 w 31"/>
                <a:gd name="T21" fmla="*/ 15 h 40"/>
                <a:gd name="T22" fmla="*/ 23 w 31"/>
                <a:gd name="T23" fmla="*/ 18 h 40"/>
                <a:gd name="T24" fmla="*/ 20 w 31"/>
                <a:gd name="T25" fmla="*/ 23 h 40"/>
                <a:gd name="T26" fmla="*/ 26 w 31"/>
                <a:gd name="T27" fmla="*/ 29 h 40"/>
                <a:gd name="T28" fmla="*/ 31 w 31"/>
                <a:gd name="T29" fmla="*/ 40 h 40"/>
                <a:gd name="T30" fmla="*/ 27 w 31"/>
                <a:gd name="T31" fmla="*/ 35 h 40"/>
                <a:gd name="T32" fmla="*/ 27 w 31"/>
                <a:gd name="T33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7" y="35"/>
                  </a:moveTo>
                  <a:lnTo>
                    <a:pt x="24" y="34"/>
                  </a:lnTo>
                  <a:lnTo>
                    <a:pt x="15" y="29"/>
                  </a:lnTo>
                  <a:lnTo>
                    <a:pt x="14" y="21"/>
                  </a:lnTo>
                  <a:lnTo>
                    <a:pt x="11" y="21"/>
                  </a:lnTo>
                  <a:lnTo>
                    <a:pt x="2" y="14"/>
                  </a:lnTo>
                  <a:lnTo>
                    <a:pt x="0" y="6"/>
                  </a:lnTo>
                  <a:lnTo>
                    <a:pt x="6" y="6"/>
                  </a:lnTo>
                  <a:lnTo>
                    <a:pt x="6" y="0"/>
                  </a:lnTo>
                  <a:lnTo>
                    <a:pt x="9" y="0"/>
                  </a:lnTo>
                  <a:lnTo>
                    <a:pt x="20" y="15"/>
                  </a:lnTo>
                  <a:lnTo>
                    <a:pt x="23" y="18"/>
                  </a:lnTo>
                  <a:lnTo>
                    <a:pt x="20" y="23"/>
                  </a:lnTo>
                  <a:lnTo>
                    <a:pt x="26" y="29"/>
                  </a:lnTo>
                  <a:lnTo>
                    <a:pt x="31" y="40"/>
                  </a:lnTo>
                  <a:lnTo>
                    <a:pt x="27" y="35"/>
                  </a:lnTo>
                  <a:lnTo>
                    <a:pt x="27" y="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228" name="Freeform 583"/>
            <p:cNvSpPr>
              <a:spLocks/>
            </p:cNvSpPr>
            <p:nvPr userDrawn="1"/>
          </p:nvSpPr>
          <p:spPr bwMode="auto">
            <a:xfrm>
              <a:off x="4384" y="3121"/>
              <a:ext cx="12" cy="10"/>
            </a:xfrm>
            <a:custGeom>
              <a:avLst/>
              <a:gdLst>
                <a:gd name="T0" fmla="*/ 5 w 12"/>
                <a:gd name="T1" fmla="*/ 0 h 10"/>
                <a:gd name="T2" fmla="*/ 0 w 12"/>
                <a:gd name="T3" fmla="*/ 1 h 10"/>
                <a:gd name="T4" fmla="*/ 2 w 12"/>
                <a:gd name="T5" fmla="*/ 4 h 10"/>
                <a:gd name="T6" fmla="*/ 12 w 12"/>
                <a:gd name="T7" fmla="*/ 10 h 10"/>
                <a:gd name="T8" fmla="*/ 9 w 12"/>
                <a:gd name="T9" fmla="*/ 7 h 10"/>
                <a:gd name="T10" fmla="*/ 5 w 12"/>
                <a:gd name="T11" fmla="*/ 0 h 10"/>
                <a:gd name="T12" fmla="*/ 5 w 12"/>
                <a:gd name="T1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0">
                  <a:moveTo>
                    <a:pt x="5" y="0"/>
                  </a:moveTo>
                  <a:lnTo>
                    <a:pt x="0" y="1"/>
                  </a:lnTo>
                  <a:lnTo>
                    <a:pt x="2" y="4"/>
                  </a:lnTo>
                  <a:lnTo>
                    <a:pt x="12" y="10"/>
                  </a:lnTo>
                  <a:lnTo>
                    <a:pt x="9" y="7"/>
                  </a:lnTo>
                  <a:lnTo>
                    <a:pt x="5" y="0"/>
                  </a:lnTo>
                  <a:lnTo>
                    <a:pt x="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229" name="Freeform 584"/>
            <p:cNvSpPr>
              <a:spLocks/>
            </p:cNvSpPr>
            <p:nvPr userDrawn="1"/>
          </p:nvSpPr>
          <p:spPr bwMode="auto">
            <a:xfrm>
              <a:off x="4475" y="3240"/>
              <a:ext cx="15" cy="6"/>
            </a:xfrm>
            <a:custGeom>
              <a:avLst/>
              <a:gdLst>
                <a:gd name="T0" fmla="*/ 0 w 15"/>
                <a:gd name="T1" fmla="*/ 0 h 6"/>
                <a:gd name="T2" fmla="*/ 6 w 15"/>
                <a:gd name="T3" fmla="*/ 0 h 6"/>
                <a:gd name="T4" fmla="*/ 15 w 15"/>
                <a:gd name="T5" fmla="*/ 6 h 6"/>
                <a:gd name="T6" fmla="*/ 9 w 15"/>
                <a:gd name="T7" fmla="*/ 4 h 6"/>
                <a:gd name="T8" fmla="*/ 0 w 15"/>
                <a:gd name="T9" fmla="*/ 0 h 6"/>
                <a:gd name="T10" fmla="*/ 0 w 15"/>
                <a:gd name="T11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" h="6">
                  <a:moveTo>
                    <a:pt x="0" y="0"/>
                  </a:moveTo>
                  <a:lnTo>
                    <a:pt x="6" y="0"/>
                  </a:lnTo>
                  <a:lnTo>
                    <a:pt x="15" y="6"/>
                  </a:lnTo>
                  <a:lnTo>
                    <a:pt x="9" y="4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230" name="Freeform 585"/>
            <p:cNvSpPr>
              <a:spLocks/>
            </p:cNvSpPr>
            <p:nvPr userDrawn="1"/>
          </p:nvSpPr>
          <p:spPr bwMode="auto">
            <a:xfrm>
              <a:off x="4495" y="3243"/>
              <a:ext cx="24" cy="10"/>
            </a:xfrm>
            <a:custGeom>
              <a:avLst/>
              <a:gdLst>
                <a:gd name="T0" fmla="*/ 0 w 24"/>
                <a:gd name="T1" fmla="*/ 0 h 10"/>
                <a:gd name="T2" fmla="*/ 0 w 24"/>
                <a:gd name="T3" fmla="*/ 3 h 10"/>
                <a:gd name="T4" fmla="*/ 3 w 24"/>
                <a:gd name="T5" fmla="*/ 7 h 10"/>
                <a:gd name="T6" fmla="*/ 10 w 24"/>
                <a:gd name="T7" fmla="*/ 9 h 10"/>
                <a:gd name="T8" fmla="*/ 22 w 24"/>
                <a:gd name="T9" fmla="*/ 10 h 10"/>
                <a:gd name="T10" fmla="*/ 24 w 24"/>
                <a:gd name="T11" fmla="*/ 6 h 10"/>
                <a:gd name="T12" fmla="*/ 13 w 24"/>
                <a:gd name="T13" fmla="*/ 0 h 10"/>
                <a:gd name="T14" fmla="*/ 0 w 24"/>
                <a:gd name="T15" fmla="*/ 0 h 10"/>
                <a:gd name="T16" fmla="*/ 0 w 24"/>
                <a:gd name="T1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" h="10">
                  <a:moveTo>
                    <a:pt x="0" y="0"/>
                  </a:moveTo>
                  <a:lnTo>
                    <a:pt x="0" y="3"/>
                  </a:lnTo>
                  <a:lnTo>
                    <a:pt x="3" y="7"/>
                  </a:lnTo>
                  <a:lnTo>
                    <a:pt x="10" y="9"/>
                  </a:lnTo>
                  <a:lnTo>
                    <a:pt x="22" y="10"/>
                  </a:lnTo>
                  <a:lnTo>
                    <a:pt x="24" y="6"/>
                  </a:lnTo>
                  <a:lnTo>
                    <a:pt x="13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231" name="Freeform 586"/>
            <p:cNvSpPr>
              <a:spLocks/>
            </p:cNvSpPr>
            <p:nvPr userDrawn="1"/>
          </p:nvSpPr>
          <p:spPr bwMode="auto">
            <a:xfrm>
              <a:off x="4492" y="3256"/>
              <a:ext cx="40" cy="9"/>
            </a:xfrm>
            <a:custGeom>
              <a:avLst/>
              <a:gdLst>
                <a:gd name="T0" fmla="*/ 0 w 40"/>
                <a:gd name="T1" fmla="*/ 0 h 9"/>
                <a:gd name="T2" fmla="*/ 19 w 40"/>
                <a:gd name="T3" fmla="*/ 5 h 9"/>
                <a:gd name="T4" fmla="*/ 40 w 40"/>
                <a:gd name="T5" fmla="*/ 6 h 9"/>
                <a:gd name="T6" fmla="*/ 40 w 40"/>
                <a:gd name="T7" fmla="*/ 9 h 9"/>
                <a:gd name="T8" fmla="*/ 19 w 40"/>
                <a:gd name="T9" fmla="*/ 9 h 9"/>
                <a:gd name="T10" fmla="*/ 1 w 40"/>
                <a:gd name="T11" fmla="*/ 5 h 9"/>
                <a:gd name="T12" fmla="*/ 0 w 40"/>
                <a:gd name="T13" fmla="*/ 0 h 9"/>
                <a:gd name="T14" fmla="*/ 0 w 40"/>
                <a:gd name="T1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9">
                  <a:moveTo>
                    <a:pt x="0" y="0"/>
                  </a:moveTo>
                  <a:lnTo>
                    <a:pt x="19" y="5"/>
                  </a:lnTo>
                  <a:lnTo>
                    <a:pt x="40" y="6"/>
                  </a:lnTo>
                  <a:lnTo>
                    <a:pt x="40" y="9"/>
                  </a:lnTo>
                  <a:lnTo>
                    <a:pt x="19" y="9"/>
                  </a:lnTo>
                  <a:lnTo>
                    <a:pt x="1" y="5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232" name="Freeform 587"/>
            <p:cNvSpPr>
              <a:spLocks/>
            </p:cNvSpPr>
            <p:nvPr userDrawn="1"/>
          </p:nvSpPr>
          <p:spPr bwMode="auto">
            <a:xfrm>
              <a:off x="4472" y="3268"/>
              <a:ext cx="9" cy="9"/>
            </a:xfrm>
            <a:custGeom>
              <a:avLst/>
              <a:gdLst>
                <a:gd name="T0" fmla="*/ 9 w 9"/>
                <a:gd name="T1" fmla="*/ 2 h 9"/>
                <a:gd name="T2" fmla="*/ 6 w 9"/>
                <a:gd name="T3" fmla="*/ 0 h 9"/>
                <a:gd name="T4" fmla="*/ 0 w 9"/>
                <a:gd name="T5" fmla="*/ 3 h 9"/>
                <a:gd name="T6" fmla="*/ 1 w 9"/>
                <a:gd name="T7" fmla="*/ 6 h 9"/>
                <a:gd name="T8" fmla="*/ 1 w 9"/>
                <a:gd name="T9" fmla="*/ 9 h 9"/>
                <a:gd name="T10" fmla="*/ 9 w 9"/>
                <a:gd name="T11" fmla="*/ 2 h 9"/>
                <a:gd name="T12" fmla="*/ 9 w 9"/>
                <a:gd name="T13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9">
                  <a:moveTo>
                    <a:pt x="9" y="2"/>
                  </a:moveTo>
                  <a:lnTo>
                    <a:pt x="6" y="0"/>
                  </a:lnTo>
                  <a:lnTo>
                    <a:pt x="0" y="3"/>
                  </a:lnTo>
                  <a:lnTo>
                    <a:pt x="1" y="6"/>
                  </a:lnTo>
                  <a:lnTo>
                    <a:pt x="1" y="9"/>
                  </a:lnTo>
                  <a:lnTo>
                    <a:pt x="9" y="2"/>
                  </a:lnTo>
                  <a:lnTo>
                    <a:pt x="9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233" name="Freeform 588"/>
            <p:cNvSpPr>
              <a:spLocks/>
            </p:cNvSpPr>
            <p:nvPr userDrawn="1"/>
          </p:nvSpPr>
          <p:spPr bwMode="auto">
            <a:xfrm>
              <a:off x="4502" y="3280"/>
              <a:ext cx="42" cy="14"/>
            </a:xfrm>
            <a:custGeom>
              <a:avLst/>
              <a:gdLst>
                <a:gd name="T0" fmla="*/ 0 w 42"/>
                <a:gd name="T1" fmla="*/ 2 h 14"/>
                <a:gd name="T2" fmla="*/ 8 w 42"/>
                <a:gd name="T3" fmla="*/ 0 h 14"/>
                <a:gd name="T4" fmla="*/ 20 w 42"/>
                <a:gd name="T5" fmla="*/ 8 h 14"/>
                <a:gd name="T6" fmla="*/ 29 w 42"/>
                <a:gd name="T7" fmla="*/ 5 h 14"/>
                <a:gd name="T8" fmla="*/ 42 w 42"/>
                <a:gd name="T9" fmla="*/ 10 h 14"/>
                <a:gd name="T10" fmla="*/ 29 w 42"/>
                <a:gd name="T11" fmla="*/ 10 h 14"/>
                <a:gd name="T12" fmla="*/ 21 w 42"/>
                <a:gd name="T13" fmla="*/ 14 h 14"/>
                <a:gd name="T14" fmla="*/ 0 w 42"/>
                <a:gd name="T15" fmla="*/ 2 h 14"/>
                <a:gd name="T16" fmla="*/ 0 w 42"/>
                <a:gd name="T17" fmla="*/ 2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" h="14">
                  <a:moveTo>
                    <a:pt x="0" y="2"/>
                  </a:moveTo>
                  <a:lnTo>
                    <a:pt x="8" y="0"/>
                  </a:lnTo>
                  <a:lnTo>
                    <a:pt x="20" y="8"/>
                  </a:lnTo>
                  <a:lnTo>
                    <a:pt x="29" y="5"/>
                  </a:lnTo>
                  <a:lnTo>
                    <a:pt x="42" y="10"/>
                  </a:lnTo>
                  <a:lnTo>
                    <a:pt x="29" y="10"/>
                  </a:lnTo>
                  <a:lnTo>
                    <a:pt x="21" y="14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234" name="Freeform 589"/>
            <p:cNvSpPr>
              <a:spLocks/>
            </p:cNvSpPr>
            <p:nvPr userDrawn="1"/>
          </p:nvSpPr>
          <p:spPr bwMode="auto">
            <a:xfrm>
              <a:off x="4393" y="3157"/>
              <a:ext cx="20" cy="19"/>
            </a:xfrm>
            <a:custGeom>
              <a:avLst/>
              <a:gdLst>
                <a:gd name="T0" fmla="*/ 0 w 20"/>
                <a:gd name="T1" fmla="*/ 0 h 19"/>
                <a:gd name="T2" fmla="*/ 19 w 20"/>
                <a:gd name="T3" fmla="*/ 13 h 19"/>
                <a:gd name="T4" fmla="*/ 20 w 20"/>
                <a:gd name="T5" fmla="*/ 19 h 19"/>
                <a:gd name="T6" fmla="*/ 0 w 20"/>
                <a:gd name="T7" fmla="*/ 0 h 19"/>
                <a:gd name="T8" fmla="*/ 0 w 20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19">
                  <a:moveTo>
                    <a:pt x="0" y="0"/>
                  </a:moveTo>
                  <a:lnTo>
                    <a:pt x="19" y="13"/>
                  </a:lnTo>
                  <a:lnTo>
                    <a:pt x="20" y="19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235" name="Freeform 590"/>
            <p:cNvSpPr>
              <a:spLocks/>
            </p:cNvSpPr>
            <p:nvPr userDrawn="1"/>
          </p:nvSpPr>
          <p:spPr bwMode="auto">
            <a:xfrm>
              <a:off x="4549" y="3294"/>
              <a:ext cx="27" cy="12"/>
            </a:xfrm>
            <a:custGeom>
              <a:avLst/>
              <a:gdLst>
                <a:gd name="T0" fmla="*/ 3 w 27"/>
                <a:gd name="T1" fmla="*/ 0 h 12"/>
                <a:gd name="T2" fmla="*/ 12 w 27"/>
                <a:gd name="T3" fmla="*/ 5 h 12"/>
                <a:gd name="T4" fmla="*/ 27 w 27"/>
                <a:gd name="T5" fmla="*/ 9 h 12"/>
                <a:gd name="T6" fmla="*/ 25 w 27"/>
                <a:gd name="T7" fmla="*/ 12 h 12"/>
                <a:gd name="T8" fmla="*/ 9 w 27"/>
                <a:gd name="T9" fmla="*/ 9 h 12"/>
                <a:gd name="T10" fmla="*/ 0 w 27"/>
                <a:gd name="T11" fmla="*/ 2 h 12"/>
                <a:gd name="T12" fmla="*/ 3 w 27"/>
                <a:gd name="T13" fmla="*/ 0 h 12"/>
                <a:gd name="T14" fmla="*/ 3 w 27"/>
                <a:gd name="T1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" h="12">
                  <a:moveTo>
                    <a:pt x="3" y="0"/>
                  </a:moveTo>
                  <a:lnTo>
                    <a:pt x="12" y="5"/>
                  </a:lnTo>
                  <a:lnTo>
                    <a:pt x="27" y="9"/>
                  </a:lnTo>
                  <a:lnTo>
                    <a:pt x="25" y="12"/>
                  </a:lnTo>
                  <a:lnTo>
                    <a:pt x="9" y="9"/>
                  </a:lnTo>
                  <a:lnTo>
                    <a:pt x="0" y="2"/>
                  </a:lnTo>
                  <a:lnTo>
                    <a:pt x="3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236" name="Freeform 591"/>
            <p:cNvSpPr>
              <a:spLocks/>
            </p:cNvSpPr>
            <p:nvPr userDrawn="1"/>
          </p:nvSpPr>
          <p:spPr bwMode="auto">
            <a:xfrm>
              <a:off x="4523" y="3297"/>
              <a:ext cx="6" cy="3"/>
            </a:xfrm>
            <a:custGeom>
              <a:avLst/>
              <a:gdLst>
                <a:gd name="T0" fmla="*/ 0 w 6"/>
                <a:gd name="T1" fmla="*/ 0 h 3"/>
                <a:gd name="T2" fmla="*/ 6 w 6"/>
                <a:gd name="T3" fmla="*/ 0 h 3"/>
                <a:gd name="T4" fmla="*/ 3 w 6"/>
                <a:gd name="T5" fmla="*/ 3 h 3"/>
                <a:gd name="T6" fmla="*/ 0 w 6"/>
                <a:gd name="T7" fmla="*/ 0 h 3"/>
                <a:gd name="T8" fmla="*/ 0 w 6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3">
                  <a:moveTo>
                    <a:pt x="0" y="0"/>
                  </a:moveTo>
                  <a:lnTo>
                    <a:pt x="6" y="0"/>
                  </a:lnTo>
                  <a:lnTo>
                    <a:pt x="3" y="3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237" name="Freeform 592"/>
            <p:cNvSpPr>
              <a:spLocks/>
            </p:cNvSpPr>
            <p:nvPr userDrawn="1"/>
          </p:nvSpPr>
          <p:spPr bwMode="auto">
            <a:xfrm>
              <a:off x="4695" y="3548"/>
              <a:ext cx="27" cy="36"/>
            </a:xfrm>
            <a:custGeom>
              <a:avLst/>
              <a:gdLst>
                <a:gd name="T0" fmla="*/ 20 w 27"/>
                <a:gd name="T1" fmla="*/ 7 h 36"/>
                <a:gd name="T2" fmla="*/ 12 w 27"/>
                <a:gd name="T3" fmla="*/ 10 h 36"/>
                <a:gd name="T4" fmla="*/ 14 w 27"/>
                <a:gd name="T5" fmla="*/ 18 h 36"/>
                <a:gd name="T6" fmla="*/ 20 w 27"/>
                <a:gd name="T7" fmla="*/ 22 h 36"/>
                <a:gd name="T8" fmla="*/ 20 w 27"/>
                <a:gd name="T9" fmla="*/ 28 h 36"/>
                <a:gd name="T10" fmla="*/ 27 w 27"/>
                <a:gd name="T11" fmla="*/ 28 h 36"/>
                <a:gd name="T12" fmla="*/ 26 w 27"/>
                <a:gd name="T13" fmla="*/ 36 h 36"/>
                <a:gd name="T14" fmla="*/ 14 w 27"/>
                <a:gd name="T15" fmla="*/ 28 h 36"/>
                <a:gd name="T16" fmla="*/ 14 w 27"/>
                <a:gd name="T17" fmla="*/ 21 h 36"/>
                <a:gd name="T18" fmla="*/ 0 w 27"/>
                <a:gd name="T19" fmla="*/ 6 h 36"/>
                <a:gd name="T20" fmla="*/ 0 w 27"/>
                <a:gd name="T21" fmla="*/ 1 h 36"/>
                <a:gd name="T22" fmla="*/ 11 w 27"/>
                <a:gd name="T23" fmla="*/ 3 h 36"/>
                <a:gd name="T24" fmla="*/ 12 w 27"/>
                <a:gd name="T25" fmla="*/ 0 h 36"/>
                <a:gd name="T26" fmla="*/ 17 w 27"/>
                <a:gd name="T27" fmla="*/ 3 h 36"/>
                <a:gd name="T28" fmla="*/ 20 w 27"/>
                <a:gd name="T29" fmla="*/ 7 h 36"/>
                <a:gd name="T30" fmla="*/ 20 w 27"/>
                <a:gd name="T31" fmla="*/ 7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7" h="36">
                  <a:moveTo>
                    <a:pt x="20" y="7"/>
                  </a:moveTo>
                  <a:lnTo>
                    <a:pt x="12" y="10"/>
                  </a:lnTo>
                  <a:lnTo>
                    <a:pt x="14" y="18"/>
                  </a:lnTo>
                  <a:lnTo>
                    <a:pt x="20" y="22"/>
                  </a:lnTo>
                  <a:lnTo>
                    <a:pt x="20" y="28"/>
                  </a:lnTo>
                  <a:lnTo>
                    <a:pt x="27" y="28"/>
                  </a:lnTo>
                  <a:lnTo>
                    <a:pt x="26" y="36"/>
                  </a:lnTo>
                  <a:lnTo>
                    <a:pt x="14" y="28"/>
                  </a:lnTo>
                  <a:lnTo>
                    <a:pt x="14" y="21"/>
                  </a:lnTo>
                  <a:lnTo>
                    <a:pt x="0" y="6"/>
                  </a:lnTo>
                  <a:lnTo>
                    <a:pt x="0" y="1"/>
                  </a:lnTo>
                  <a:lnTo>
                    <a:pt x="11" y="3"/>
                  </a:lnTo>
                  <a:lnTo>
                    <a:pt x="12" y="0"/>
                  </a:lnTo>
                  <a:lnTo>
                    <a:pt x="17" y="3"/>
                  </a:lnTo>
                  <a:lnTo>
                    <a:pt x="20" y="7"/>
                  </a:lnTo>
                  <a:lnTo>
                    <a:pt x="20" y="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238" name="Freeform 593"/>
            <p:cNvSpPr>
              <a:spLocks/>
            </p:cNvSpPr>
            <p:nvPr userDrawn="1"/>
          </p:nvSpPr>
          <p:spPr bwMode="auto">
            <a:xfrm>
              <a:off x="4751" y="3624"/>
              <a:ext cx="15" cy="25"/>
            </a:xfrm>
            <a:custGeom>
              <a:avLst/>
              <a:gdLst>
                <a:gd name="T0" fmla="*/ 12 w 15"/>
                <a:gd name="T1" fmla="*/ 0 h 25"/>
                <a:gd name="T2" fmla="*/ 12 w 15"/>
                <a:gd name="T3" fmla="*/ 7 h 25"/>
                <a:gd name="T4" fmla="*/ 15 w 15"/>
                <a:gd name="T5" fmla="*/ 11 h 25"/>
                <a:gd name="T6" fmla="*/ 14 w 15"/>
                <a:gd name="T7" fmla="*/ 22 h 25"/>
                <a:gd name="T8" fmla="*/ 9 w 15"/>
                <a:gd name="T9" fmla="*/ 22 h 25"/>
                <a:gd name="T10" fmla="*/ 9 w 15"/>
                <a:gd name="T11" fmla="*/ 19 h 25"/>
                <a:gd name="T12" fmla="*/ 3 w 15"/>
                <a:gd name="T13" fmla="*/ 25 h 25"/>
                <a:gd name="T14" fmla="*/ 0 w 15"/>
                <a:gd name="T15" fmla="*/ 23 h 25"/>
                <a:gd name="T16" fmla="*/ 1 w 15"/>
                <a:gd name="T17" fmla="*/ 17 h 25"/>
                <a:gd name="T18" fmla="*/ 4 w 15"/>
                <a:gd name="T19" fmla="*/ 13 h 25"/>
                <a:gd name="T20" fmla="*/ 4 w 15"/>
                <a:gd name="T21" fmla="*/ 5 h 25"/>
                <a:gd name="T22" fmla="*/ 12 w 15"/>
                <a:gd name="T23" fmla="*/ 0 h 25"/>
                <a:gd name="T24" fmla="*/ 12 w 15"/>
                <a:gd name="T25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" h="25">
                  <a:moveTo>
                    <a:pt x="12" y="0"/>
                  </a:moveTo>
                  <a:lnTo>
                    <a:pt x="12" y="7"/>
                  </a:lnTo>
                  <a:lnTo>
                    <a:pt x="15" y="11"/>
                  </a:lnTo>
                  <a:lnTo>
                    <a:pt x="14" y="22"/>
                  </a:lnTo>
                  <a:lnTo>
                    <a:pt x="9" y="22"/>
                  </a:lnTo>
                  <a:lnTo>
                    <a:pt x="9" y="19"/>
                  </a:lnTo>
                  <a:lnTo>
                    <a:pt x="3" y="25"/>
                  </a:lnTo>
                  <a:lnTo>
                    <a:pt x="0" y="23"/>
                  </a:lnTo>
                  <a:lnTo>
                    <a:pt x="1" y="17"/>
                  </a:lnTo>
                  <a:lnTo>
                    <a:pt x="4" y="13"/>
                  </a:lnTo>
                  <a:lnTo>
                    <a:pt x="4" y="5"/>
                  </a:lnTo>
                  <a:lnTo>
                    <a:pt x="12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239" name="Freeform 594"/>
            <p:cNvSpPr>
              <a:spLocks/>
            </p:cNvSpPr>
            <p:nvPr userDrawn="1"/>
          </p:nvSpPr>
          <p:spPr bwMode="auto">
            <a:xfrm>
              <a:off x="4766" y="3641"/>
              <a:ext cx="6" cy="9"/>
            </a:xfrm>
            <a:custGeom>
              <a:avLst/>
              <a:gdLst>
                <a:gd name="T0" fmla="*/ 2 w 6"/>
                <a:gd name="T1" fmla="*/ 0 h 9"/>
                <a:gd name="T2" fmla="*/ 0 w 6"/>
                <a:gd name="T3" fmla="*/ 8 h 9"/>
                <a:gd name="T4" fmla="*/ 6 w 6"/>
                <a:gd name="T5" fmla="*/ 9 h 9"/>
                <a:gd name="T6" fmla="*/ 3 w 6"/>
                <a:gd name="T7" fmla="*/ 5 h 9"/>
                <a:gd name="T8" fmla="*/ 6 w 6"/>
                <a:gd name="T9" fmla="*/ 0 h 9"/>
                <a:gd name="T10" fmla="*/ 2 w 6"/>
                <a:gd name="T11" fmla="*/ 0 h 9"/>
                <a:gd name="T12" fmla="*/ 2 w 6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9">
                  <a:moveTo>
                    <a:pt x="2" y="0"/>
                  </a:moveTo>
                  <a:lnTo>
                    <a:pt x="0" y="8"/>
                  </a:lnTo>
                  <a:lnTo>
                    <a:pt x="6" y="9"/>
                  </a:lnTo>
                  <a:lnTo>
                    <a:pt x="3" y="5"/>
                  </a:lnTo>
                  <a:lnTo>
                    <a:pt x="6" y="0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240" name="Freeform 595"/>
            <p:cNvSpPr>
              <a:spLocks/>
            </p:cNvSpPr>
            <p:nvPr userDrawn="1"/>
          </p:nvSpPr>
          <p:spPr bwMode="auto">
            <a:xfrm>
              <a:off x="4757" y="3656"/>
              <a:ext cx="11" cy="17"/>
            </a:xfrm>
            <a:custGeom>
              <a:avLst/>
              <a:gdLst>
                <a:gd name="T0" fmla="*/ 0 w 11"/>
                <a:gd name="T1" fmla="*/ 0 h 17"/>
                <a:gd name="T2" fmla="*/ 0 w 11"/>
                <a:gd name="T3" fmla="*/ 11 h 17"/>
                <a:gd name="T4" fmla="*/ 4 w 11"/>
                <a:gd name="T5" fmla="*/ 14 h 17"/>
                <a:gd name="T6" fmla="*/ 11 w 11"/>
                <a:gd name="T7" fmla="*/ 17 h 17"/>
                <a:gd name="T8" fmla="*/ 11 w 11"/>
                <a:gd name="T9" fmla="*/ 12 h 17"/>
                <a:gd name="T10" fmla="*/ 4 w 11"/>
                <a:gd name="T11" fmla="*/ 9 h 17"/>
                <a:gd name="T12" fmla="*/ 6 w 11"/>
                <a:gd name="T13" fmla="*/ 2 h 17"/>
                <a:gd name="T14" fmla="*/ 0 w 11"/>
                <a:gd name="T15" fmla="*/ 0 h 17"/>
                <a:gd name="T16" fmla="*/ 0 w 11"/>
                <a:gd name="T17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" h="17">
                  <a:moveTo>
                    <a:pt x="0" y="0"/>
                  </a:moveTo>
                  <a:lnTo>
                    <a:pt x="0" y="11"/>
                  </a:lnTo>
                  <a:lnTo>
                    <a:pt x="4" y="14"/>
                  </a:lnTo>
                  <a:lnTo>
                    <a:pt x="11" y="17"/>
                  </a:lnTo>
                  <a:lnTo>
                    <a:pt x="11" y="12"/>
                  </a:lnTo>
                  <a:lnTo>
                    <a:pt x="4" y="9"/>
                  </a:lnTo>
                  <a:lnTo>
                    <a:pt x="6" y="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241" name="Freeform 596"/>
            <p:cNvSpPr>
              <a:spLocks/>
            </p:cNvSpPr>
            <p:nvPr userDrawn="1"/>
          </p:nvSpPr>
          <p:spPr bwMode="auto">
            <a:xfrm>
              <a:off x="4742" y="3655"/>
              <a:ext cx="29" cy="31"/>
            </a:xfrm>
            <a:custGeom>
              <a:avLst/>
              <a:gdLst>
                <a:gd name="T0" fmla="*/ 15 w 29"/>
                <a:gd name="T1" fmla="*/ 19 h 31"/>
                <a:gd name="T2" fmla="*/ 12 w 29"/>
                <a:gd name="T3" fmla="*/ 13 h 31"/>
                <a:gd name="T4" fmla="*/ 12 w 29"/>
                <a:gd name="T5" fmla="*/ 7 h 31"/>
                <a:gd name="T6" fmla="*/ 12 w 29"/>
                <a:gd name="T7" fmla="*/ 0 h 31"/>
                <a:gd name="T8" fmla="*/ 7 w 29"/>
                <a:gd name="T9" fmla="*/ 12 h 31"/>
                <a:gd name="T10" fmla="*/ 1 w 29"/>
                <a:gd name="T11" fmla="*/ 7 h 31"/>
                <a:gd name="T12" fmla="*/ 0 w 29"/>
                <a:gd name="T13" fmla="*/ 18 h 31"/>
                <a:gd name="T14" fmla="*/ 6 w 29"/>
                <a:gd name="T15" fmla="*/ 24 h 31"/>
                <a:gd name="T16" fmla="*/ 7 w 29"/>
                <a:gd name="T17" fmla="*/ 18 h 31"/>
                <a:gd name="T18" fmla="*/ 10 w 29"/>
                <a:gd name="T19" fmla="*/ 24 h 31"/>
                <a:gd name="T20" fmla="*/ 10 w 29"/>
                <a:gd name="T21" fmla="*/ 28 h 31"/>
                <a:gd name="T22" fmla="*/ 19 w 29"/>
                <a:gd name="T23" fmla="*/ 31 h 31"/>
                <a:gd name="T24" fmla="*/ 21 w 29"/>
                <a:gd name="T25" fmla="*/ 30 h 31"/>
                <a:gd name="T26" fmla="*/ 29 w 29"/>
                <a:gd name="T27" fmla="*/ 31 h 31"/>
                <a:gd name="T28" fmla="*/ 29 w 29"/>
                <a:gd name="T29" fmla="*/ 22 h 31"/>
                <a:gd name="T30" fmla="*/ 16 w 29"/>
                <a:gd name="T31" fmla="*/ 16 h 31"/>
                <a:gd name="T32" fmla="*/ 15 w 29"/>
                <a:gd name="T33" fmla="*/ 19 h 31"/>
                <a:gd name="T34" fmla="*/ 15 w 29"/>
                <a:gd name="T35" fmla="*/ 1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9" h="31">
                  <a:moveTo>
                    <a:pt x="15" y="19"/>
                  </a:moveTo>
                  <a:lnTo>
                    <a:pt x="12" y="13"/>
                  </a:lnTo>
                  <a:lnTo>
                    <a:pt x="12" y="7"/>
                  </a:lnTo>
                  <a:lnTo>
                    <a:pt x="12" y="0"/>
                  </a:lnTo>
                  <a:lnTo>
                    <a:pt x="7" y="12"/>
                  </a:lnTo>
                  <a:lnTo>
                    <a:pt x="1" y="7"/>
                  </a:lnTo>
                  <a:lnTo>
                    <a:pt x="0" y="18"/>
                  </a:lnTo>
                  <a:lnTo>
                    <a:pt x="6" y="24"/>
                  </a:lnTo>
                  <a:lnTo>
                    <a:pt x="7" y="18"/>
                  </a:lnTo>
                  <a:lnTo>
                    <a:pt x="10" y="24"/>
                  </a:lnTo>
                  <a:lnTo>
                    <a:pt x="10" y="28"/>
                  </a:lnTo>
                  <a:lnTo>
                    <a:pt x="19" y="31"/>
                  </a:lnTo>
                  <a:lnTo>
                    <a:pt x="21" y="30"/>
                  </a:lnTo>
                  <a:lnTo>
                    <a:pt x="29" y="31"/>
                  </a:lnTo>
                  <a:lnTo>
                    <a:pt x="29" y="22"/>
                  </a:lnTo>
                  <a:lnTo>
                    <a:pt x="16" y="16"/>
                  </a:lnTo>
                  <a:lnTo>
                    <a:pt x="15" y="19"/>
                  </a:lnTo>
                  <a:lnTo>
                    <a:pt x="15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242" name="Freeform 597"/>
            <p:cNvSpPr>
              <a:spLocks/>
            </p:cNvSpPr>
            <p:nvPr userDrawn="1"/>
          </p:nvSpPr>
          <p:spPr bwMode="auto">
            <a:xfrm>
              <a:off x="4760" y="3697"/>
              <a:ext cx="21" cy="20"/>
            </a:xfrm>
            <a:custGeom>
              <a:avLst/>
              <a:gdLst>
                <a:gd name="T0" fmla="*/ 1 w 21"/>
                <a:gd name="T1" fmla="*/ 0 h 20"/>
                <a:gd name="T2" fmla="*/ 0 w 21"/>
                <a:gd name="T3" fmla="*/ 7 h 20"/>
                <a:gd name="T4" fmla="*/ 5 w 21"/>
                <a:gd name="T5" fmla="*/ 15 h 20"/>
                <a:gd name="T6" fmla="*/ 11 w 21"/>
                <a:gd name="T7" fmla="*/ 20 h 20"/>
                <a:gd name="T8" fmla="*/ 12 w 21"/>
                <a:gd name="T9" fmla="*/ 13 h 20"/>
                <a:gd name="T10" fmla="*/ 21 w 21"/>
                <a:gd name="T11" fmla="*/ 16 h 20"/>
                <a:gd name="T12" fmla="*/ 15 w 21"/>
                <a:gd name="T13" fmla="*/ 6 h 20"/>
                <a:gd name="T14" fmla="*/ 6 w 21"/>
                <a:gd name="T15" fmla="*/ 4 h 20"/>
                <a:gd name="T16" fmla="*/ 6 w 21"/>
                <a:gd name="T17" fmla="*/ 1 h 20"/>
                <a:gd name="T18" fmla="*/ 1 w 21"/>
                <a:gd name="T19" fmla="*/ 0 h 20"/>
                <a:gd name="T20" fmla="*/ 1 w 21"/>
                <a:gd name="T21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" h="20">
                  <a:moveTo>
                    <a:pt x="1" y="0"/>
                  </a:moveTo>
                  <a:lnTo>
                    <a:pt x="0" y="7"/>
                  </a:lnTo>
                  <a:lnTo>
                    <a:pt x="5" y="15"/>
                  </a:lnTo>
                  <a:lnTo>
                    <a:pt x="11" y="20"/>
                  </a:lnTo>
                  <a:lnTo>
                    <a:pt x="12" y="13"/>
                  </a:lnTo>
                  <a:lnTo>
                    <a:pt x="21" y="16"/>
                  </a:lnTo>
                  <a:lnTo>
                    <a:pt x="15" y="6"/>
                  </a:lnTo>
                  <a:lnTo>
                    <a:pt x="6" y="4"/>
                  </a:lnTo>
                  <a:lnTo>
                    <a:pt x="6" y="1"/>
                  </a:lnTo>
                  <a:lnTo>
                    <a:pt x="1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243" name="Freeform 598"/>
            <p:cNvSpPr>
              <a:spLocks/>
            </p:cNvSpPr>
            <p:nvPr userDrawn="1"/>
          </p:nvSpPr>
          <p:spPr bwMode="auto">
            <a:xfrm>
              <a:off x="4938" y="3594"/>
              <a:ext cx="8" cy="6"/>
            </a:xfrm>
            <a:custGeom>
              <a:avLst/>
              <a:gdLst>
                <a:gd name="T0" fmla="*/ 0 w 8"/>
                <a:gd name="T1" fmla="*/ 6 h 6"/>
                <a:gd name="T2" fmla="*/ 1 w 8"/>
                <a:gd name="T3" fmla="*/ 0 h 6"/>
                <a:gd name="T4" fmla="*/ 8 w 8"/>
                <a:gd name="T5" fmla="*/ 0 h 6"/>
                <a:gd name="T6" fmla="*/ 0 w 8"/>
                <a:gd name="T7" fmla="*/ 6 h 6"/>
                <a:gd name="T8" fmla="*/ 0 w 8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6">
                  <a:moveTo>
                    <a:pt x="0" y="6"/>
                  </a:moveTo>
                  <a:lnTo>
                    <a:pt x="1" y="0"/>
                  </a:lnTo>
                  <a:lnTo>
                    <a:pt x="8" y="0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244" name="Freeform 599"/>
            <p:cNvSpPr>
              <a:spLocks/>
            </p:cNvSpPr>
            <p:nvPr userDrawn="1"/>
          </p:nvSpPr>
          <p:spPr bwMode="auto">
            <a:xfrm>
              <a:off x="4950" y="3590"/>
              <a:ext cx="12" cy="12"/>
            </a:xfrm>
            <a:custGeom>
              <a:avLst/>
              <a:gdLst>
                <a:gd name="T0" fmla="*/ 0 w 12"/>
                <a:gd name="T1" fmla="*/ 3 h 12"/>
                <a:gd name="T2" fmla="*/ 2 w 12"/>
                <a:gd name="T3" fmla="*/ 7 h 12"/>
                <a:gd name="T4" fmla="*/ 6 w 12"/>
                <a:gd name="T5" fmla="*/ 12 h 12"/>
                <a:gd name="T6" fmla="*/ 12 w 12"/>
                <a:gd name="T7" fmla="*/ 10 h 12"/>
                <a:gd name="T8" fmla="*/ 11 w 12"/>
                <a:gd name="T9" fmla="*/ 6 h 12"/>
                <a:gd name="T10" fmla="*/ 8 w 12"/>
                <a:gd name="T11" fmla="*/ 6 h 12"/>
                <a:gd name="T12" fmla="*/ 5 w 12"/>
                <a:gd name="T13" fmla="*/ 0 h 12"/>
                <a:gd name="T14" fmla="*/ 0 w 12"/>
                <a:gd name="T15" fmla="*/ 3 h 12"/>
                <a:gd name="T16" fmla="*/ 0 w 12"/>
                <a:gd name="T17" fmla="*/ 3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" h="12">
                  <a:moveTo>
                    <a:pt x="0" y="3"/>
                  </a:moveTo>
                  <a:lnTo>
                    <a:pt x="2" y="7"/>
                  </a:lnTo>
                  <a:lnTo>
                    <a:pt x="6" y="12"/>
                  </a:lnTo>
                  <a:lnTo>
                    <a:pt x="12" y="10"/>
                  </a:lnTo>
                  <a:lnTo>
                    <a:pt x="11" y="6"/>
                  </a:lnTo>
                  <a:lnTo>
                    <a:pt x="8" y="6"/>
                  </a:lnTo>
                  <a:lnTo>
                    <a:pt x="5" y="0"/>
                  </a:lnTo>
                  <a:lnTo>
                    <a:pt x="0" y="3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245" name="Freeform 600"/>
            <p:cNvSpPr>
              <a:spLocks/>
            </p:cNvSpPr>
            <p:nvPr userDrawn="1"/>
          </p:nvSpPr>
          <p:spPr bwMode="auto">
            <a:xfrm>
              <a:off x="4964" y="3582"/>
              <a:ext cx="6" cy="15"/>
            </a:xfrm>
            <a:custGeom>
              <a:avLst/>
              <a:gdLst>
                <a:gd name="T0" fmla="*/ 0 w 6"/>
                <a:gd name="T1" fmla="*/ 12 h 15"/>
                <a:gd name="T2" fmla="*/ 1 w 6"/>
                <a:gd name="T3" fmla="*/ 15 h 15"/>
                <a:gd name="T4" fmla="*/ 6 w 6"/>
                <a:gd name="T5" fmla="*/ 8 h 15"/>
                <a:gd name="T6" fmla="*/ 3 w 6"/>
                <a:gd name="T7" fmla="*/ 0 h 15"/>
                <a:gd name="T8" fmla="*/ 1 w 6"/>
                <a:gd name="T9" fmla="*/ 8 h 15"/>
                <a:gd name="T10" fmla="*/ 0 w 6"/>
                <a:gd name="T11" fmla="*/ 12 h 15"/>
                <a:gd name="T12" fmla="*/ 0 w 6"/>
                <a:gd name="T13" fmla="*/ 1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15">
                  <a:moveTo>
                    <a:pt x="0" y="12"/>
                  </a:moveTo>
                  <a:lnTo>
                    <a:pt x="1" y="15"/>
                  </a:lnTo>
                  <a:lnTo>
                    <a:pt x="6" y="8"/>
                  </a:lnTo>
                  <a:lnTo>
                    <a:pt x="3" y="0"/>
                  </a:lnTo>
                  <a:lnTo>
                    <a:pt x="1" y="8"/>
                  </a:lnTo>
                  <a:lnTo>
                    <a:pt x="0" y="12"/>
                  </a:lnTo>
                  <a:lnTo>
                    <a:pt x="0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246" name="Freeform 601"/>
            <p:cNvSpPr>
              <a:spLocks/>
            </p:cNvSpPr>
            <p:nvPr userDrawn="1"/>
          </p:nvSpPr>
          <p:spPr bwMode="auto">
            <a:xfrm>
              <a:off x="4909" y="3611"/>
              <a:ext cx="107" cy="86"/>
            </a:xfrm>
            <a:custGeom>
              <a:avLst/>
              <a:gdLst>
                <a:gd name="T0" fmla="*/ 0 w 107"/>
                <a:gd name="T1" fmla="*/ 13 h 86"/>
                <a:gd name="T2" fmla="*/ 6 w 107"/>
                <a:gd name="T3" fmla="*/ 6 h 86"/>
                <a:gd name="T4" fmla="*/ 11 w 107"/>
                <a:gd name="T5" fmla="*/ 6 h 86"/>
                <a:gd name="T6" fmla="*/ 15 w 107"/>
                <a:gd name="T7" fmla="*/ 0 h 86"/>
                <a:gd name="T8" fmla="*/ 26 w 107"/>
                <a:gd name="T9" fmla="*/ 1 h 86"/>
                <a:gd name="T10" fmla="*/ 33 w 107"/>
                <a:gd name="T11" fmla="*/ 12 h 86"/>
                <a:gd name="T12" fmla="*/ 40 w 107"/>
                <a:gd name="T13" fmla="*/ 21 h 86"/>
                <a:gd name="T14" fmla="*/ 50 w 107"/>
                <a:gd name="T15" fmla="*/ 24 h 86"/>
                <a:gd name="T16" fmla="*/ 55 w 107"/>
                <a:gd name="T17" fmla="*/ 29 h 86"/>
                <a:gd name="T18" fmla="*/ 74 w 107"/>
                <a:gd name="T19" fmla="*/ 29 h 86"/>
                <a:gd name="T20" fmla="*/ 76 w 107"/>
                <a:gd name="T21" fmla="*/ 32 h 86"/>
                <a:gd name="T22" fmla="*/ 76 w 107"/>
                <a:gd name="T23" fmla="*/ 39 h 86"/>
                <a:gd name="T24" fmla="*/ 79 w 107"/>
                <a:gd name="T25" fmla="*/ 44 h 86"/>
                <a:gd name="T26" fmla="*/ 77 w 107"/>
                <a:gd name="T27" fmla="*/ 50 h 86"/>
                <a:gd name="T28" fmla="*/ 82 w 107"/>
                <a:gd name="T29" fmla="*/ 56 h 86"/>
                <a:gd name="T30" fmla="*/ 89 w 107"/>
                <a:gd name="T31" fmla="*/ 62 h 86"/>
                <a:gd name="T32" fmla="*/ 97 w 107"/>
                <a:gd name="T33" fmla="*/ 63 h 86"/>
                <a:gd name="T34" fmla="*/ 107 w 107"/>
                <a:gd name="T35" fmla="*/ 65 h 86"/>
                <a:gd name="T36" fmla="*/ 107 w 107"/>
                <a:gd name="T37" fmla="*/ 80 h 86"/>
                <a:gd name="T38" fmla="*/ 100 w 107"/>
                <a:gd name="T39" fmla="*/ 86 h 86"/>
                <a:gd name="T40" fmla="*/ 91 w 107"/>
                <a:gd name="T41" fmla="*/ 84 h 86"/>
                <a:gd name="T42" fmla="*/ 86 w 107"/>
                <a:gd name="T43" fmla="*/ 78 h 86"/>
                <a:gd name="T44" fmla="*/ 85 w 107"/>
                <a:gd name="T45" fmla="*/ 71 h 86"/>
                <a:gd name="T46" fmla="*/ 73 w 107"/>
                <a:gd name="T47" fmla="*/ 65 h 86"/>
                <a:gd name="T48" fmla="*/ 74 w 107"/>
                <a:gd name="T49" fmla="*/ 59 h 86"/>
                <a:gd name="T50" fmla="*/ 65 w 107"/>
                <a:gd name="T51" fmla="*/ 53 h 86"/>
                <a:gd name="T52" fmla="*/ 62 w 107"/>
                <a:gd name="T53" fmla="*/ 47 h 86"/>
                <a:gd name="T54" fmla="*/ 41 w 107"/>
                <a:gd name="T55" fmla="*/ 45 h 86"/>
                <a:gd name="T56" fmla="*/ 38 w 107"/>
                <a:gd name="T57" fmla="*/ 41 h 86"/>
                <a:gd name="T58" fmla="*/ 40 w 107"/>
                <a:gd name="T59" fmla="*/ 33 h 86"/>
                <a:gd name="T60" fmla="*/ 33 w 107"/>
                <a:gd name="T61" fmla="*/ 26 h 86"/>
                <a:gd name="T62" fmla="*/ 11 w 107"/>
                <a:gd name="T63" fmla="*/ 12 h 86"/>
                <a:gd name="T64" fmla="*/ 11 w 107"/>
                <a:gd name="T65" fmla="*/ 9 h 86"/>
                <a:gd name="T66" fmla="*/ 8 w 107"/>
                <a:gd name="T67" fmla="*/ 10 h 86"/>
                <a:gd name="T68" fmla="*/ 0 w 107"/>
                <a:gd name="T69" fmla="*/ 13 h 86"/>
                <a:gd name="T70" fmla="*/ 0 w 107"/>
                <a:gd name="T71" fmla="*/ 13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7" h="86">
                  <a:moveTo>
                    <a:pt x="0" y="13"/>
                  </a:moveTo>
                  <a:lnTo>
                    <a:pt x="6" y="6"/>
                  </a:lnTo>
                  <a:lnTo>
                    <a:pt x="11" y="6"/>
                  </a:lnTo>
                  <a:lnTo>
                    <a:pt x="15" y="0"/>
                  </a:lnTo>
                  <a:lnTo>
                    <a:pt x="26" y="1"/>
                  </a:lnTo>
                  <a:lnTo>
                    <a:pt x="33" y="12"/>
                  </a:lnTo>
                  <a:lnTo>
                    <a:pt x="40" y="21"/>
                  </a:lnTo>
                  <a:lnTo>
                    <a:pt x="50" y="24"/>
                  </a:lnTo>
                  <a:lnTo>
                    <a:pt x="55" y="29"/>
                  </a:lnTo>
                  <a:lnTo>
                    <a:pt x="74" y="29"/>
                  </a:lnTo>
                  <a:lnTo>
                    <a:pt x="76" y="32"/>
                  </a:lnTo>
                  <a:lnTo>
                    <a:pt x="76" y="39"/>
                  </a:lnTo>
                  <a:lnTo>
                    <a:pt x="79" y="44"/>
                  </a:lnTo>
                  <a:lnTo>
                    <a:pt x="77" y="50"/>
                  </a:lnTo>
                  <a:lnTo>
                    <a:pt x="82" y="56"/>
                  </a:lnTo>
                  <a:lnTo>
                    <a:pt x="89" y="62"/>
                  </a:lnTo>
                  <a:lnTo>
                    <a:pt x="97" y="63"/>
                  </a:lnTo>
                  <a:lnTo>
                    <a:pt x="107" y="65"/>
                  </a:lnTo>
                  <a:lnTo>
                    <a:pt x="107" y="80"/>
                  </a:lnTo>
                  <a:lnTo>
                    <a:pt x="100" y="86"/>
                  </a:lnTo>
                  <a:lnTo>
                    <a:pt x="91" y="84"/>
                  </a:lnTo>
                  <a:lnTo>
                    <a:pt x="86" y="78"/>
                  </a:lnTo>
                  <a:lnTo>
                    <a:pt x="85" y="71"/>
                  </a:lnTo>
                  <a:lnTo>
                    <a:pt x="73" y="65"/>
                  </a:lnTo>
                  <a:lnTo>
                    <a:pt x="74" y="59"/>
                  </a:lnTo>
                  <a:lnTo>
                    <a:pt x="65" y="53"/>
                  </a:lnTo>
                  <a:lnTo>
                    <a:pt x="62" y="47"/>
                  </a:lnTo>
                  <a:lnTo>
                    <a:pt x="41" y="45"/>
                  </a:lnTo>
                  <a:lnTo>
                    <a:pt x="38" y="41"/>
                  </a:lnTo>
                  <a:lnTo>
                    <a:pt x="40" y="33"/>
                  </a:lnTo>
                  <a:lnTo>
                    <a:pt x="33" y="26"/>
                  </a:lnTo>
                  <a:lnTo>
                    <a:pt x="11" y="12"/>
                  </a:lnTo>
                  <a:lnTo>
                    <a:pt x="11" y="9"/>
                  </a:lnTo>
                  <a:lnTo>
                    <a:pt x="8" y="1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247" name="Freeform 602"/>
            <p:cNvSpPr>
              <a:spLocks/>
            </p:cNvSpPr>
            <p:nvPr userDrawn="1"/>
          </p:nvSpPr>
          <p:spPr bwMode="auto">
            <a:xfrm>
              <a:off x="5000" y="3612"/>
              <a:ext cx="21" cy="20"/>
            </a:xfrm>
            <a:custGeom>
              <a:avLst/>
              <a:gdLst>
                <a:gd name="T0" fmla="*/ 13 w 21"/>
                <a:gd name="T1" fmla="*/ 20 h 20"/>
                <a:gd name="T2" fmla="*/ 21 w 21"/>
                <a:gd name="T3" fmla="*/ 15 h 20"/>
                <a:gd name="T4" fmla="*/ 19 w 21"/>
                <a:gd name="T5" fmla="*/ 12 h 20"/>
                <a:gd name="T6" fmla="*/ 12 w 21"/>
                <a:gd name="T7" fmla="*/ 8 h 20"/>
                <a:gd name="T8" fmla="*/ 9 w 21"/>
                <a:gd name="T9" fmla="*/ 0 h 20"/>
                <a:gd name="T10" fmla="*/ 1 w 21"/>
                <a:gd name="T11" fmla="*/ 0 h 20"/>
                <a:gd name="T12" fmla="*/ 0 w 21"/>
                <a:gd name="T13" fmla="*/ 5 h 20"/>
                <a:gd name="T14" fmla="*/ 1 w 21"/>
                <a:gd name="T15" fmla="*/ 9 h 20"/>
                <a:gd name="T16" fmla="*/ 10 w 21"/>
                <a:gd name="T17" fmla="*/ 12 h 20"/>
                <a:gd name="T18" fmla="*/ 9 w 21"/>
                <a:gd name="T19" fmla="*/ 17 h 20"/>
                <a:gd name="T20" fmla="*/ 13 w 21"/>
                <a:gd name="T21" fmla="*/ 20 h 20"/>
                <a:gd name="T22" fmla="*/ 13 w 21"/>
                <a:gd name="T23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1" h="20">
                  <a:moveTo>
                    <a:pt x="13" y="20"/>
                  </a:moveTo>
                  <a:lnTo>
                    <a:pt x="21" y="15"/>
                  </a:lnTo>
                  <a:lnTo>
                    <a:pt x="19" y="12"/>
                  </a:lnTo>
                  <a:lnTo>
                    <a:pt x="12" y="8"/>
                  </a:lnTo>
                  <a:lnTo>
                    <a:pt x="9" y="0"/>
                  </a:lnTo>
                  <a:lnTo>
                    <a:pt x="1" y="0"/>
                  </a:lnTo>
                  <a:lnTo>
                    <a:pt x="0" y="5"/>
                  </a:lnTo>
                  <a:lnTo>
                    <a:pt x="1" y="9"/>
                  </a:lnTo>
                  <a:lnTo>
                    <a:pt x="10" y="12"/>
                  </a:lnTo>
                  <a:lnTo>
                    <a:pt x="9" y="17"/>
                  </a:lnTo>
                  <a:lnTo>
                    <a:pt x="13" y="20"/>
                  </a:lnTo>
                  <a:lnTo>
                    <a:pt x="13" y="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248" name="Freeform 603"/>
            <p:cNvSpPr>
              <a:spLocks/>
            </p:cNvSpPr>
            <p:nvPr userDrawn="1"/>
          </p:nvSpPr>
          <p:spPr bwMode="auto">
            <a:xfrm>
              <a:off x="4787" y="3668"/>
              <a:ext cx="159" cy="156"/>
            </a:xfrm>
            <a:custGeom>
              <a:avLst/>
              <a:gdLst>
                <a:gd name="T0" fmla="*/ 116 w 159"/>
                <a:gd name="T1" fmla="*/ 27 h 156"/>
                <a:gd name="T2" fmla="*/ 103 w 159"/>
                <a:gd name="T3" fmla="*/ 18 h 156"/>
                <a:gd name="T4" fmla="*/ 71 w 159"/>
                <a:gd name="T5" fmla="*/ 12 h 156"/>
                <a:gd name="T6" fmla="*/ 44 w 159"/>
                <a:gd name="T7" fmla="*/ 5 h 156"/>
                <a:gd name="T8" fmla="*/ 29 w 159"/>
                <a:gd name="T9" fmla="*/ 11 h 156"/>
                <a:gd name="T10" fmla="*/ 18 w 159"/>
                <a:gd name="T11" fmla="*/ 3 h 156"/>
                <a:gd name="T12" fmla="*/ 6 w 159"/>
                <a:gd name="T13" fmla="*/ 29 h 156"/>
                <a:gd name="T14" fmla="*/ 0 w 159"/>
                <a:gd name="T15" fmla="*/ 38 h 156"/>
                <a:gd name="T16" fmla="*/ 14 w 159"/>
                <a:gd name="T17" fmla="*/ 56 h 156"/>
                <a:gd name="T18" fmla="*/ 27 w 159"/>
                <a:gd name="T19" fmla="*/ 56 h 156"/>
                <a:gd name="T20" fmla="*/ 41 w 159"/>
                <a:gd name="T21" fmla="*/ 86 h 156"/>
                <a:gd name="T22" fmla="*/ 35 w 159"/>
                <a:gd name="T23" fmla="*/ 109 h 156"/>
                <a:gd name="T24" fmla="*/ 48 w 159"/>
                <a:gd name="T25" fmla="*/ 119 h 156"/>
                <a:gd name="T26" fmla="*/ 54 w 159"/>
                <a:gd name="T27" fmla="*/ 106 h 156"/>
                <a:gd name="T28" fmla="*/ 65 w 159"/>
                <a:gd name="T29" fmla="*/ 110 h 156"/>
                <a:gd name="T30" fmla="*/ 74 w 159"/>
                <a:gd name="T31" fmla="*/ 116 h 156"/>
                <a:gd name="T32" fmla="*/ 85 w 159"/>
                <a:gd name="T33" fmla="*/ 145 h 156"/>
                <a:gd name="T34" fmla="*/ 91 w 159"/>
                <a:gd name="T35" fmla="*/ 153 h 156"/>
                <a:gd name="T36" fmla="*/ 92 w 159"/>
                <a:gd name="T37" fmla="*/ 142 h 156"/>
                <a:gd name="T38" fmla="*/ 109 w 159"/>
                <a:gd name="T39" fmla="*/ 121 h 156"/>
                <a:gd name="T40" fmla="*/ 121 w 159"/>
                <a:gd name="T41" fmla="*/ 145 h 156"/>
                <a:gd name="T42" fmla="*/ 127 w 159"/>
                <a:gd name="T43" fmla="*/ 148 h 156"/>
                <a:gd name="T44" fmla="*/ 130 w 159"/>
                <a:gd name="T45" fmla="*/ 144 h 156"/>
                <a:gd name="T46" fmla="*/ 142 w 159"/>
                <a:gd name="T47" fmla="*/ 148 h 156"/>
                <a:gd name="T48" fmla="*/ 134 w 159"/>
                <a:gd name="T49" fmla="*/ 136 h 156"/>
                <a:gd name="T50" fmla="*/ 130 w 159"/>
                <a:gd name="T51" fmla="*/ 119 h 156"/>
                <a:gd name="T52" fmla="*/ 125 w 159"/>
                <a:gd name="T53" fmla="*/ 98 h 156"/>
                <a:gd name="T54" fmla="*/ 121 w 159"/>
                <a:gd name="T55" fmla="*/ 77 h 156"/>
                <a:gd name="T56" fmla="*/ 116 w 159"/>
                <a:gd name="T57" fmla="*/ 65 h 156"/>
                <a:gd name="T58" fmla="*/ 125 w 159"/>
                <a:gd name="T59" fmla="*/ 68 h 156"/>
                <a:gd name="T60" fmla="*/ 131 w 159"/>
                <a:gd name="T61" fmla="*/ 74 h 156"/>
                <a:gd name="T62" fmla="*/ 137 w 159"/>
                <a:gd name="T63" fmla="*/ 82 h 156"/>
                <a:gd name="T64" fmla="*/ 146 w 159"/>
                <a:gd name="T65" fmla="*/ 71 h 156"/>
                <a:gd name="T66" fmla="*/ 157 w 159"/>
                <a:gd name="T67" fmla="*/ 65 h 156"/>
                <a:gd name="T68" fmla="*/ 155 w 159"/>
                <a:gd name="T69" fmla="*/ 61 h 156"/>
                <a:gd name="T70" fmla="*/ 149 w 159"/>
                <a:gd name="T71" fmla="*/ 47 h 156"/>
                <a:gd name="T72" fmla="*/ 149 w 159"/>
                <a:gd name="T73" fmla="*/ 58 h 156"/>
                <a:gd name="T74" fmla="*/ 139 w 159"/>
                <a:gd name="T75" fmla="*/ 55 h 156"/>
                <a:gd name="T76" fmla="*/ 130 w 159"/>
                <a:gd name="T77" fmla="*/ 42 h 156"/>
                <a:gd name="T78" fmla="*/ 127 w 159"/>
                <a:gd name="T79" fmla="*/ 35 h 156"/>
                <a:gd name="T80" fmla="*/ 125 w 159"/>
                <a:gd name="T81" fmla="*/ 26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59" h="156">
                  <a:moveTo>
                    <a:pt x="125" y="26"/>
                  </a:moveTo>
                  <a:lnTo>
                    <a:pt x="116" y="27"/>
                  </a:lnTo>
                  <a:lnTo>
                    <a:pt x="112" y="27"/>
                  </a:lnTo>
                  <a:lnTo>
                    <a:pt x="103" y="18"/>
                  </a:lnTo>
                  <a:lnTo>
                    <a:pt x="88" y="18"/>
                  </a:lnTo>
                  <a:lnTo>
                    <a:pt x="71" y="12"/>
                  </a:lnTo>
                  <a:lnTo>
                    <a:pt x="54" y="0"/>
                  </a:lnTo>
                  <a:lnTo>
                    <a:pt x="44" y="5"/>
                  </a:lnTo>
                  <a:lnTo>
                    <a:pt x="39" y="11"/>
                  </a:lnTo>
                  <a:lnTo>
                    <a:pt x="29" y="11"/>
                  </a:lnTo>
                  <a:lnTo>
                    <a:pt x="20" y="0"/>
                  </a:lnTo>
                  <a:lnTo>
                    <a:pt x="18" y="3"/>
                  </a:lnTo>
                  <a:lnTo>
                    <a:pt x="20" y="14"/>
                  </a:lnTo>
                  <a:lnTo>
                    <a:pt x="6" y="29"/>
                  </a:lnTo>
                  <a:lnTo>
                    <a:pt x="0" y="29"/>
                  </a:lnTo>
                  <a:lnTo>
                    <a:pt x="0" y="38"/>
                  </a:lnTo>
                  <a:lnTo>
                    <a:pt x="9" y="39"/>
                  </a:lnTo>
                  <a:lnTo>
                    <a:pt x="14" y="56"/>
                  </a:lnTo>
                  <a:lnTo>
                    <a:pt x="18" y="53"/>
                  </a:lnTo>
                  <a:lnTo>
                    <a:pt x="27" y="56"/>
                  </a:lnTo>
                  <a:lnTo>
                    <a:pt x="38" y="71"/>
                  </a:lnTo>
                  <a:lnTo>
                    <a:pt x="41" y="86"/>
                  </a:lnTo>
                  <a:lnTo>
                    <a:pt x="35" y="94"/>
                  </a:lnTo>
                  <a:lnTo>
                    <a:pt x="35" y="109"/>
                  </a:lnTo>
                  <a:lnTo>
                    <a:pt x="42" y="121"/>
                  </a:lnTo>
                  <a:lnTo>
                    <a:pt x="48" y="119"/>
                  </a:lnTo>
                  <a:lnTo>
                    <a:pt x="51" y="124"/>
                  </a:lnTo>
                  <a:lnTo>
                    <a:pt x="54" y="106"/>
                  </a:lnTo>
                  <a:lnTo>
                    <a:pt x="63" y="101"/>
                  </a:lnTo>
                  <a:lnTo>
                    <a:pt x="65" y="110"/>
                  </a:lnTo>
                  <a:lnTo>
                    <a:pt x="73" y="112"/>
                  </a:lnTo>
                  <a:lnTo>
                    <a:pt x="74" y="116"/>
                  </a:lnTo>
                  <a:lnTo>
                    <a:pt x="79" y="119"/>
                  </a:lnTo>
                  <a:lnTo>
                    <a:pt x="85" y="145"/>
                  </a:lnTo>
                  <a:lnTo>
                    <a:pt x="88" y="154"/>
                  </a:lnTo>
                  <a:lnTo>
                    <a:pt x="91" y="153"/>
                  </a:lnTo>
                  <a:lnTo>
                    <a:pt x="94" y="156"/>
                  </a:lnTo>
                  <a:lnTo>
                    <a:pt x="92" y="142"/>
                  </a:lnTo>
                  <a:lnTo>
                    <a:pt x="98" y="124"/>
                  </a:lnTo>
                  <a:lnTo>
                    <a:pt x="109" y="121"/>
                  </a:lnTo>
                  <a:lnTo>
                    <a:pt x="116" y="134"/>
                  </a:lnTo>
                  <a:lnTo>
                    <a:pt x="121" y="145"/>
                  </a:lnTo>
                  <a:lnTo>
                    <a:pt x="121" y="150"/>
                  </a:lnTo>
                  <a:lnTo>
                    <a:pt x="127" y="148"/>
                  </a:lnTo>
                  <a:lnTo>
                    <a:pt x="125" y="142"/>
                  </a:lnTo>
                  <a:lnTo>
                    <a:pt x="130" y="144"/>
                  </a:lnTo>
                  <a:lnTo>
                    <a:pt x="134" y="153"/>
                  </a:lnTo>
                  <a:lnTo>
                    <a:pt x="142" y="148"/>
                  </a:lnTo>
                  <a:lnTo>
                    <a:pt x="131" y="141"/>
                  </a:lnTo>
                  <a:lnTo>
                    <a:pt x="134" y="136"/>
                  </a:lnTo>
                  <a:lnTo>
                    <a:pt x="127" y="130"/>
                  </a:lnTo>
                  <a:lnTo>
                    <a:pt x="130" y="119"/>
                  </a:lnTo>
                  <a:lnTo>
                    <a:pt x="128" y="109"/>
                  </a:lnTo>
                  <a:lnTo>
                    <a:pt x="125" y="98"/>
                  </a:lnTo>
                  <a:lnTo>
                    <a:pt x="119" y="89"/>
                  </a:lnTo>
                  <a:lnTo>
                    <a:pt x="121" y="77"/>
                  </a:lnTo>
                  <a:lnTo>
                    <a:pt x="115" y="70"/>
                  </a:lnTo>
                  <a:lnTo>
                    <a:pt x="116" y="65"/>
                  </a:lnTo>
                  <a:lnTo>
                    <a:pt x="124" y="64"/>
                  </a:lnTo>
                  <a:lnTo>
                    <a:pt x="125" y="68"/>
                  </a:lnTo>
                  <a:lnTo>
                    <a:pt x="136" y="73"/>
                  </a:lnTo>
                  <a:lnTo>
                    <a:pt x="131" y="74"/>
                  </a:lnTo>
                  <a:lnTo>
                    <a:pt x="136" y="82"/>
                  </a:lnTo>
                  <a:lnTo>
                    <a:pt x="137" y="82"/>
                  </a:lnTo>
                  <a:lnTo>
                    <a:pt x="143" y="77"/>
                  </a:lnTo>
                  <a:lnTo>
                    <a:pt x="146" y="71"/>
                  </a:lnTo>
                  <a:lnTo>
                    <a:pt x="151" y="73"/>
                  </a:lnTo>
                  <a:lnTo>
                    <a:pt x="157" y="65"/>
                  </a:lnTo>
                  <a:lnTo>
                    <a:pt x="159" y="61"/>
                  </a:lnTo>
                  <a:lnTo>
                    <a:pt x="155" y="61"/>
                  </a:lnTo>
                  <a:lnTo>
                    <a:pt x="155" y="52"/>
                  </a:lnTo>
                  <a:lnTo>
                    <a:pt x="149" y="47"/>
                  </a:lnTo>
                  <a:lnTo>
                    <a:pt x="146" y="49"/>
                  </a:lnTo>
                  <a:lnTo>
                    <a:pt x="149" y="58"/>
                  </a:lnTo>
                  <a:lnTo>
                    <a:pt x="145" y="58"/>
                  </a:lnTo>
                  <a:lnTo>
                    <a:pt x="139" y="55"/>
                  </a:lnTo>
                  <a:lnTo>
                    <a:pt x="136" y="44"/>
                  </a:lnTo>
                  <a:lnTo>
                    <a:pt x="130" y="42"/>
                  </a:lnTo>
                  <a:lnTo>
                    <a:pt x="134" y="38"/>
                  </a:lnTo>
                  <a:lnTo>
                    <a:pt x="127" y="35"/>
                  </a:lnTo>
                  <a:lnTo>
                    <a:pt x="125" y="26"/>
                  </a:lnTo>
                  <a:lnTo>
                    <a:pt x="125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249" name="Freeform 604"/>
            <p:cNvSpPr>
              <a:spLocks/>
            </p:cNvSpPr>
            <p:nvPr userDrawn="1"/>
          </p:nvSpPr>
          <p:spPr bwMode="auto">
            <a:xfrm>
              <a:off x="4906" y="3824"/>
              <a:ext cx="14" cy="22"/>
            </a:xfrm>
            <a:custGeom>
              <a:avLst/>
              <a:gdLst>
                <a:gd name="T0" fmla="*/ 2 w 14"/>
                <a:gd name="T1" fmla="*/ 0 h 22"/>
                <a:gd name="T2" fmla="*/ 0 w 14"/>
                <a:gd name="T3" fmla="*/ 9 h 22"/>
                <a:gd name="T4" fmla="*/ 3 w 14"/>
                <a:gd name="T5" fmla="*/ 21 h 22"/>
                <a:gd name="T6" fmla="*/ 11 w 14"/>
                <a:gd name="T7" fmla="*/ 22 h 22"/>
                <a:gd name="T8" fmla="*/ 14 w 14"/>
                <a:gd name="T9" fmla="*/ 18 h 22"/>
                <a:gd name="T10" fmla="*/ 11 w 14"/>
                <a:gd name="T11" fmla="*/ 10 h 22"/>
                <a:gd name="T12" fmla="*/ 14 w 14"/>
                <a:gd name="T13" fmla="*/ 9 h 22"/>
                <a:gd name="T14" fmla="*/ 11 w 14"/>
                <a:gd name="T15" fmla="*/ 3 h 22"/>
                <a:gd name="T16" fmla="*/ 2 w 14"/>
                <a:gd name="T17" fmla="*/ 0 h 22"/>
                <a:gd name="T18" fmla="*/ 2 w 14"/>
                <a:gd name="T19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" h="22">
                  <a:moveTo>
                    <a:pt x="2" y="0"/>
                  </a:moveTo>
                  <a:lnTo>
                    <a:pt x="0" y="9"/>
                  </a:lnTo>
                  <a:lnTo>
                    <a:pt x="3" y="21"/>
                  </a:lnTo>
                  <a:lnTo>
                    <a:pt x="11" y="22"/>
                  </a:lnTo>
                  <a:lnTo>
                    <a:pt x="14" y="18"/>
                  </a:lnTo>
                  <a:lnTo>
                    <a:pt x="11" y="10"/>
                  </a:lnTo>
                  <a:lnTo>
                    <a:pt x="14" y="9"/>
                  </a:lnTo>
                  <a:lnTo>
                    <a:pt x="11" y="3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250" name="Freeform 605"/>
            <p:cNvSpPr>
              <a:spLocks/>
            </p:cNvSpPr>
            <p:nvPr userDrawn="1"/>
          </p:nvSpPr>
          <p:spPr bwMode="auto">
            <a:xfrm>
              <a:off x="4831" y="3789"/>
              <a:ext cx="4" cy="9"/>
            </a:xfrm>
            <a:custGeom>
              <a:avLst/>
              <a:gdLst>
                <a:gd name="T0" fmla="*/ 3 w 4"/>
                <a:gd name="T1" fmla="*/ 0 h 9"/>
                <a:gd name="T2" fmla="*/ 0 w 4"/>
                <a:gd name="T3" fmla="*/ 3 h 9"/>
                <a:gd name="T4" fmla="*/ 4 w 4"/>
                <a:gd name="T5" fmla="*/ 9 h 9"/>
                <a:gd name="T6" fmla="*/ 3 w 4"/>
                <a:gd name="T7" fmla="*/ 0 h 9"/>
                <a:gd name="T8" fmla="*/ 3 w 4"/>
                <a:gd name="T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9">
                  <a:moveTo>
                    <a:pt x="3" y="0"/>
                  </a:moveTo>
                  <a:lnTo>
                    <a:pt x="0" y="3"/>
                  </a:lnTo>
                  <a:lnTo>
                    <a:pt x="4" y="9"/>
                  </a:lnTo>
                  <a:lnTo>
                    <a:pt x="3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251" name="Freeform 606"/>
            <p:cNvSpPr>
              <a:spLocks/>
            </p:cNvSpPr>
            <p:nvPr userDrawn="1"/>
          </p:nvSpPr>
          <p:spPr bwMode="auto">
            <a:xfrm>
              <a:off x="4936" y="3739"/>
              <a:ext cx="13" cy="8"/>
            </a:xfrm>
            <a:custGeom>
              <a:avLst/>
              <a:gdLst>
                <a:gd name="T0" fmla="*/ 0 w 13"/>
                <a:gd name="T1" fmla="*/ 6 h 8"/>
                <a:gd name="T2" fmla="*/ 3 w 13"/>
                <a:gd name="T3" fmla="*/ 5 h 8"/>
                <a:gd name="T4" fmla="*/ 11 w 13"/>
                <a:gd name="T5" fmla="*/ 0 h 8"/>
                <a:gd name="T6" fmla="*/ 13 w 13"/>
                <a:gd name="T7" fmla="*/ 3 h 8"/>
                <a:gd name="T8" fmla="*/ 5 w 13"/>
                <a:gd name="T9" fmla="*/ 8 h 8"/>
                <a:gd name="T10" fmla="*/ 0 w 13"/>
                <a:gd name="T11" fmla="*/ 6 h 8"/>
                <a:gd name="T12" fmla="*/ 0 w 13"/>
                <a:gd name="T13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" h="8">
                  <a:moveTo>
                    <a:pt x="0" y="6"/>
                  </a:moveTo>
                  <a:lnTo>
                    <a:pt x="3" y="5"/>
                  </a:lnTo>
                  <a:lnTo>
                    <a:pt x="11" y="0"/>
                  </a:lnTo>
                  <a:lnTo>
                    <a:pt x="13" y="3"/>
                  </a:lnTo>
                  <a:lnTo>
                    <a:pt x="5" y="8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</p:grpSp>
      <p:sp>
        <p:nvSpPr>
          <p:cNvPr id="2252" name="Freeform 608"/>
          <p:cNvSpPr>
            <a:spLocks/>
          </p:cNvSpPr>
          <p:nvPr userDrawn="1"/>
        </p:nvSpPr>
        <p:spPr bwMode="auto">
          <a:xfrm>
            <a:off x="7810501" y="5954712"/>
            <a:ext cx="6350" cy="9525"/>
          </a:xfrm>
          <a:custGeom>
            <a:avLst/>
            <a:gdLst>
              <a:gd name="T0" fmla="*/ 0 w 4"/>
              <a:gd name="T1" fmla="*/ 0 h 6"/>
              <a:gd name="T2" fmla="*/ 4 w 4"/>
              <a:gd name="T3" fmla="*/ 2 h 6"/>
              <a:gd name="T4" fmla="*/ 0 w 4"/>
              <a:gd name="T5" fmla="*/ 6 h 6"/>
              <a:gd name="T6" fmla="*/ 0 w 4"/>
              <a:gd name="T7" fmla="*/ 0 h 6"/>
              <a:gd name="T8" fmla="*/ 0 w 4"/>
              <a:gd name="T9" fmla="*/ 0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" h="6">
                <a:moveTo>
                  <a:pt x="0" y="0"/>
                </a:moveTo>
                <a:lnTo>
                  <a:pt x="4" y="2"/>
                </a:lnTo>
                <a:lnTo>
                  <a:pt x="0" y="6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/>
          </a:p>
        </p:txBody>
      </p:sp>
      <p:sp>
        <p:nvSpPr>
          <p:cNvPr id="2253" name="Freeform 609"/>
          <p:cNvSpPr>
            <a:spLocks/>
          </p:cNvSpPr>
          <p:nvPr userDrawn="1"/>
        </p:nvSpPr>
        <p:spPr bwMode="auto">
          <a:xfrm>
            <a:off x="7913688" y="5897562"/>
            <a:ext cx="11112" cy="12700"/>
          </a:xfrm>
          <a:custGeom>
            <a:avLst/>
            <a:gdLst>
              <a:gd name="T0" fmla="*/ 3 w 7"/>
              <a:gd name="T1" fmla="*/ 0 h 8"/>
              <a:gd name="T2" fmla="*/ 7 w 7"/>
              <a:gd name="T3" fmla="*/ 2 h 8"/>
              <a:gd name="T4" fmla="*/ 1 w 7"/>
              <a:gd name="T5" fmla="*/ 8 h 8"/>
              <a:gd name="T6" fmla="*/ 0 w 7"/>
              <a:gd name="T7" fmla="*/ 5 h 8"/>
              <a:gd name="T8" fmla="*/ 3 w 7"/>
              <a:gd name="T9" fmla="*/ 0 h 8"/>
              <a:gd name="T10" fmla="*/ 3 w 7"/>
              <a:gd name="T11" fmla="*/ 0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7" h="8">
                <a:moveTo>
                  <a:pt x="3" y="0"/>
                </a:moveTo>
                <a:lnTo>
                  <a:pt x="7" y="2"/>
                </a:lnTo>
                <a:lnTo>
                  <a:pt x="1" y="8"/>
                </a:lnTo>
                <a:lnTo>
                  <a:pt x="0" y="5"/>
                </a:lnTo>
                <a:lnTo>
                  <a:pt x="3" y="0"/>
                </a:lnTo>
                <a:lnTo>
                  <a:pt x="3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/>
          </a:p>
        </p:txBody>
      </p:sp>
      <p:sp>
        <p:nvSpPr>
          <p:cNvPr id="2254" name="Freeform 610"/>
          <p:cNvSpPr>
            <a:spLocks/>
          </p:cNvSpPr>
          <p:nvPr userDrawn="1"/>
        </p:nvSpPr>
        <p:spPr bwMode="auto">
          <a:xfrm>
            <a:off x="7937501" y="5905500"/>
            <a:ext cx="14287" cy="23813"/>
          </a:xfrm>
          <a:custGeom>
            <a:avLst/>
            <a:gdLst>
              <a:gd name="T0" fmla="*/ 0 w 9"/>
              <a:gd name="T1" fmla="*/ 3 h 15"/>
              <a:gd name="T2" fmla="*/ 4 w 9"/>
              <a:gd name="T3" fmla="*/ 0 h 15"/>
              <a:gd name="T4" fmla="*/ 9 w 9"/>
              <a:gd name="T5" fmla="*/ 4 h 15"/>
              <a:gd name="T6" fmla="*/ 9 w 9"/>
              <a:gd name="T7" fmla="*/ 9 h 15"/>
              <a:gd name="T8" fmla="*/ 3 w 9"/>
              <a:gd name="T9" fmla="*/ 15 h 15"/>
              <a:gd name="T10" fmla="*/ 3 w 9"/>
              <a:gd name="T11" fmla="*/ 7 h 15"/>
              <a:gd name="T12" fmla="*/ 0 w 9"/>
              <a:gd name="T13" fmla="*/ 3 h 15"/>
              <a:gd name="T14" fmla="*/ 0 w 9"/>
              <a:gd name="T15" fmla="*/ 3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9" h="15">
                <a:moveTo>
                  <a:pt x="0" y="3"/>
                </a:moveTo>
                <a:lnTo>
                  <a:pt x="4" y="0"/>
                </a:lnTo>
                <a:lnTo>
                  <a:pt x="9" y="4"/>
                </a:lnTo>
                <a:lnTo>
                  <a:pt x="9" y="9"/>
                </a:lnTo>
                <a:lnTo>
                  <a:pt x="3" y="15"/>
                </a:lnTo>
                <a:lnTo>
                  <a:pt x="3" y="7"/>
                </a:lnTo>
                <a:lnTo>
                  <a:pt x="0" y="3"/>
                </a:lnTo>
                <a:lnTo>
                  <a:pt x="0" y="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/>
          </a:p>
        </p:txBody>
      </p:sp>
      <p:sp>
        <p:nvSpPr>
          <p:cNvPr id="2255" name="Freeform 611"/>
          <p:cNvSpPr>
            <a:spLocks/>
          </p:cNvSpPr>
          <p:nvPr userDrawn="1"/>
        </p:nvSpPr>
        <p:spPr bwMode="auto">
          <a:xfrm>
            <a:off x="7948613" y="5938837"/>
            <a:ext cx="9525" cy="20638"/>
          </a:xfrm>
          <a:custGeom>
            <a:avLst/>
            <a:gdLst>
              <a:gd name="T0" fmla="*/ 3 w 6"/>
              <a:gd name="T1" fmla="*/ 0 h 13"/>
              <a:gd name="T2" fmla="*/ 0 w 6"/>
              <a:gd name="T3" fmla="*/ 3 h 13"/>
              <a:gd name="T4" fmla="*/ 0 w 6"/>
              <a:gd name="T5" fmla="*/ 10 h 13"/>
              <a:gd name="T6" fmla="*/ 2 w 6"/>
              <a:gd name="T7" fmla="*/ 13 h 13"/>
              <a:gd name="T8" fmla="*/ 6 w 6"/>
              <a:gd name="T9" fmla="*/ 9 h 13"/>
              <a:gd name="T10" fmla="*/ 6 w 6"/>
              <a:gd name="T11" fmla="*/ 3 h 13"/>
              <a:gd name="T12" fmla="*/ 3 w 6"/>
              <a:gd name="T13" fmla="*/ 0 h 13"/>
              <a:gd name="T14" fmla="*/ 3 w 6"/>
              <a:gd name="T15" fmla="*/ 0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6" h="13">
                <a:moveTo>
                  <a:pt x="3" y="0"/>
                </a:moveTo>
                <a:lnTo>
                  <a:pt x="0" y="3"/>
                </a:lnTo>
                <a:lnTo>
                  <a:pt x="0" y="10"/>
                </a:lnTo>
                <a:lnTo>
                  <a:pt x="2" y="13"/>
                </a:lnTo>
                <a:lnTo>
                  <a:pt x="6" y="9"/>
                </a:lnTo>
                <a:lnTo>
                  <a:pt x="6" y="3"/>
                </a:lnTo>
                <a:lnTo>
                  <a:pt x="3" y="0"/>
                </a:lnTo>
                <a:lnTo>
                  <a:pt x="3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/>
          </a:p>
        </p:txBody>
      </p:sp>
      <p:sp>
        <p:nvSpPr>
          <p:cNvPr id="2256" name="Freeform 612"/>
          <p:cNvSpPr>
            <a:spLocks/>
          </p:cNvSpPr>
          <p:nvPr userDrawn="1"/>
        </p:nvSpPr>
        <p:spPr bwMode="auto">
          <a:xfrm>
            <a:off x="7956551" y="5973762"/>
            <a:ext cx="19050" cy="19050"/>
          </a:xfrm>
          <a:custGeom>
            <a:avLst/>
            <a:gdLst>
              <a:gd name="T0" fmla="*/ 7 w 12"/>
              <a:gd name="T1" fmla="*/ 0 h 12"/>
              <a:gd name="T2" fmla="*/ 1 w 12"/>
              <a:gd name="T3" fmla="*/ 2 h 12"/>
              <a:gd name="T4" fmla="*/ 0 w 12"/>
              <a:gd name="T5" fmla="*/ 5 h 12"/>
              <a:gd name="T6" fmla="*/ 1 w 12"/>
              <a:gd name="T7" fmla="*/ 11 h 12"/>
              <a:gd name="T8" fmla="*/ 7 w 12"/>
              <a:gd name="T9" fmla="*/ 12 h 12"/>
              <a:gd name="T10" fmla="*/ 12 w 12"/>
              <a:gd name="T11" fmla="*/ 8 h 12"/>
              <a:gd name="T12" fmla="*/ 7 w 12"/>
              <a:gd name="T13" fmla="*/ 0 h 12"/>
              <a:gd name="T14" fmla="*/ 7 w 12"/>
              <a:gd name="T15" fmla="*/ 0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2" h="12">
                <a:moveTo>
                  <a:pt x="7" y="0"/>
                </a:moveTo>
                <a:lnTo>
                  <a:pt x="1" y="2"/>
                </a:lnTo>
                <a:lnTo>
                  <a:pt x="0" y="5"/>
                </a:lnTo>
                <a:lnTo>
                  <a:pt x="1" y="11"/>
                </a:lnTo>
                <a:lnTo>
                  <a:pt x="7" y="12"/>
                </a:lnTo>
                <a:lnTo>
                  <a:pt x="12" y="8"/>
                </a:lnTo>
                <a:lnTo>
                  <a:pt x="7" y="0"/>
                </a:lnTo>
                <a:lnTo>
                  <a:pt x="7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/>
          </a:p>
        </p:txBody>
      </p:sp>
      <p:sp>
        <p:nvSpPr>
          <p:cNvPr id="2257" name="Freeform 613"/>
          <p:cNvSpPr>
            <a:spLocks/>
          </p:cNvSpPr>
          <p:nvPr userDrawn="1"/>
        </p:nvSpPr>
        <p:spPr bwMode="auto">
          <a:xfrm>
            <a:off x="7980363" y="6000750"/>
            <a:ext cx="12700" cy="19050"/>
          </a:xfrm>
          <a:custGeom>
            <a:avLst/>
            <a:gdLst>
              <a:gd name="T0" fmla="*/ 1 w 8"/>
              <a:gd name="T1" fmla="*/ 0 h 12"/>
              <a:gd name="T2" fmla="*/ 6 w 8"/>
              <a:gd name="T3" fmla="*/ 4 h 12"/>
              <a:gd name="T4" fmla="*/ 8 w 8"/>
              <a:gd name="T5" fmla="*/ 9 h 12"/>
              <a:gd name="T6" fmla="*/ 1 w 8"/>
              <a:gd name="T7" fmla="*/ 12 h 12"/>
              <a:gd name="T8" fmla="*/ 0 w 8"/>
              <a:gd name="T9" fmla="*/ 9 h 12"/>
              <a:gd name="T10" fmla="*/ 1 w 8"/>
              <a:gd name="T11" fmla="*/ 0 h 12"/>
              <a:gd name="T12" fmla="*/ 1 w 8"/>
              <a:gd name="T13" fmla="*/ 0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8" h="12">
                <a:moveTo>
                  <a:pt x="1" y="0"/>
                </a:moveTo>
                <a:lnTo>
                  <a:pt x="6" y="4"/>
                </a:lnTo>
                <a:lnTo>
                  <a:pt x="8" y="9"/>
                </a:lnTo>
                <a:lnTo>
                  <a:pt x="1" y="12"/>
                </a:lnTo>
                <a:lnTo>
                  <a:pt x="0" y="9"/>
                </a:lnTo>
                <a:lnTo>
                  <a:pt x="1" y="0"/>
                </a:lnTo>
                <a:lnTo>
                  <a:pt x="1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/>
          </a:p>
        </p:txBody>
      </p:sp>
      <p:sp>
        <p:nvSpPr>
          <p:cNvPr id="2258" name="Freeform 614"/>
          <p:cNvSpPr>
            <a:spLocks/>
          </p:cNvSpPr>
          <p:nvPr userDrawn="1"/>
        </p:nvSpPr>
        <p:spPr bwMode="auto">
          <a:xfrm>
            <a:off x="7932738" y="6007100"/>
            <a:ext cx="28575" cy="34925"/>
          </a:xfrm>
          <a:custGeom>
            <a:avLst/>
            <a:gdLst>
              <a:gd name="T0" fmla="*/ 18 w 18"/>
              <a:gd name="T1" fmla="*/ 8 h 22"/>
              <a:gd name="T2" fmla="*/ 10 w 18"/>
              <a:gd name="T3" fmla="*/ 0 h 22"/>
              <a:gd name="T4" fmla="*/ 10 w 18"/>
              <a:gd name="T5" fmla="*/ 5 h 22"/>
              <a:gd name="T6" fmla="*/ 12 w 18"/>
              <a:gd name="T7" fmla="*/ 9 h 22"/>
              <a:gd name="T8" fmla="*/ 10 w 18"/>
              <a:gd name="T9" fmla="*/ 9 h 22"/>
              <a:gd name="T10" fmla="*/ 3 w 18"/>
              <a:gd name="T11" fmla="*/ 9 h 22"/>
              <a:gd name="T12" fmla="*/ 1 w 18"/>
              <a:gd name="T13" fmla="*/ 11 h 22"/>
              <a:gd name="T14" fmla="*/ 6 w 18"/>
              <a:gd name="T15" fmla="*/ 14 h 22"/>
              <a:gd name="T16" fmla="*/ 0 w 18"/>
              <a:gd name="T17" fmla="*/ 15 h 22"/>
              <a:gd name="T18" fmla="*/ 3 w 18"/>
              <a:gd name="T19" fmla="*/ 20 h 22"/>
              <a:gd name="T20" fmla="*/ 7 w 18"/>
              <a:gd name="T21" fmla="*/ 22 h 22"/>
              <a:gd name="T22" fmla="*/ 12 w 18"/>
              <a:gd name="T23" fmla="*/ 18 h 22"/>
              <a:gd name="T24" fmla="*/ 18 w 18"/>
              <a:gd name="T25" fmla="*/ 8 h 22"/>
              <a:gd name="T26" fmla="*/ 18 w 18"/>
              <a:gd name="T27" fmla="*/ 8 h 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18" h="22">
                <a:moveTo>
                  <a:pt x="18" y="8"/>
                </a:moveTo>
                <a:lnTo>
                  <a:pt x="10" y="0"/>
                </a:lnTo>
                <a:lnTo>
                  <a:pt x="10" y="5"/>
                </a:lnTo>
                <a:lnTo>
                  <a:pt x="12" y="9"/>
                </a:lnTo>
                <a:lnTo>
                  <a:pt x="10" y="9"/>
                </a:lnTo>
                <a:lnTo>
                  <a:pt x="3" y="9"/>
                </a:lnTo>
                <a:lnTo>
                  <a:pt x="1" y="11"/>
                </a:lnTo>
                <a:lnTo>
                  <a:pt x="6" y="14"/>
                </a:lnTo>
                <a:lnTo>
                  <a:pt x="0" y="15"/>
                </a:lnTo>
                <a:lnTo>
                  <a:pt x="3" y="20"/>
                </a:lnTo>
                <a:lnTo>
                  <a:pt x="7" y="22"/>
                </a:lnTo>
                <a:lnTo>
                  <a:pt x="12" y="18"/>
                </a:lnTo>
                <a:lnTo>
                  <a:pt x="18" y="8"/>
                </a:lnTo>
                <a:lnTo>
                  <a:pt x="18" y="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/>
          </a:p>
        </p:txBody>
      </p:sp>
      <p:sp>
        <p:nvSpPr>
          <p:cNvPr id="2259" name="Freeform 615"/>
          <p:cNvSpPr>
            <a:spLocks/>
          </p:cNvSpPr>
          <p:nvPr userDrawn="1"/>
        </p:nvSpPr>
        <p:spPr bwMode="auto">
          <a:xfrm>
            <a:off x="7967663" y="5861050"/>
            <a:ext cx="39687" cy="50800"/>
          </a:xfrm>
          <a:custGeom>
            <a:avLst/>
            <a:gdLst>
              <a:gd name="T0" fmla="*/ 6 w 25"/>
              <a:gd name="T1" fmla="*/ 0 h 32"/>
              <a:gd name="T2" fmla="*/ 2 w 25"/>
              <a:gd name="T3" fmla="*/ 3 h 32"/>
              <a:gd name="T4" fmla="*/ 0 w 25"/>
              <a:gd name="T5" fmla="*/ 11 h 32"/>
              <a:gd name="T6" fmla="*/ 5 w 25"/>
              <a:gd name="T7" fmla="*/ 17 h 32"/>
              <a:gd name="T8" fmla="*/ 12 w 25"/>
              <a:gd name="T9" fmla="*/ 20 h 32"/>
              <a:gd name="T10" fmla="*/ 12 w 25"/>
              <a:gd name="T11" fmla="*/ 26 h 32"/>
              <a:gd name="T12" fmla="*/ 22 w 25"/>
              <a:gd name="T13" fmla="*/ 32 h 32"/>
              <a:gd name="T14" fmla="*/ 25 w 25"/>
              <a:gd name="T15" fmla="*/ 32 h 32"/>
              <a:gd name="T16" fmla="*/ 23 w 25"/>
              <a:gd name="T17" fmla="*/ 29 h 32"/>
              <a:gd name="T18" fmla="*/ 23 w 25"/>
              <a:gd name="T19" fmla="*/ 20 h 32"/>
              <a:gd name="T20" fmla="*/ 19 w 25"/>
              <a:gd name="T21" fmla="*/ 15 h 32"/>
              <a:gd name="T22" fmla="*/ 19 w 25"/>
              <a:gd name="T23" fmla="*/ 11 h 32"/>
              <a:gd name="T24" fmla="*/ 12 w 25"/>
              <a:gd name="T25" fmla="*/ 6 h 32"/>
              <a:gd name="T26" fmla="*/ 9 w 25"/>
              <a:gd name="T27" fmla="*/ 8 h 32"/>
              <a:gd name="T28" fmla="*/ 6 w 25"/>
              <a:gd name="T29" fmla="*/ 0 h 32"/>
              <a:gd name="T30" fmla="*/ 6 w 25"/>
              <a:gd name="T31" fmla="*/ 0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25" h="32">
                <a:moveTo>
                  <a:pt x="6" y="0"/>
                </a:moveTo>
                <a:lnTo>
                  <a:pt x="2" y="3"/>
                </a:lnTo>
                <a:lnTo>
                  <a:pt x="0" y="11"/>
                </a:lnTo>
                <a:lnTo>
                  <a:pt x="5" y="17"/>
                </a:lnTo>
                <a:lnTo>
                  <a:pt x="12" y="20"/>
                </a:lnTo>
                <a:lnTo>
                  <a:pt x="12" y="26"/>
                </a:lnTo>
                <a:lnTo>
                  <a:pt x="22" y="32"/>
                </a:lnTo>
                <a:lnTo>
                  <a:pt x="25" y="32"/>
                </a:lnTo>
                <a:lnTo>
                  <a:pt x="23" y="29"/>
                </a:lnTo>
                <a:lnTo>
                  <a:pt x="23" y="20"/>
                </a:lnTo>
                <a:lnTo>
                  <a:pt x="19" y="15"/>
                </a:lnTo>
                <a:lnTo>
                  <a:pt x="19" y="11"/>
                </a:lnTo>
                <a:lnTo>
                  <a:pt x="12" y="6"/>
                </a:lnTo>
                <a:lnTo>
                  <a:pt x="9" y="8"/>
                </a:lnTo>
                <a:lnTo>
                  <a:pt x="6" y="0"/>
                </a:lnTo>
                <a:lnTo>
                  <a:pt x="6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/>
          </a:p>
        </p:txBody>
      </p:sp>
      <p:sp>
        <p:nvSpPr>
          <p:cNvPr id="2260" name="Freeform 616"/>
          <p:cNvSpPr>
            <a:spLocks/>
          </p:cNvSpPr>
          <p:nvPr userDrawn="1"/>
        </p:nvSpPr>
        <p:spPr bwMode="auto">
          <a:xfrm>
            <a:off x="8004176" y="5916612"/>
            <a:ext cx="26987" cy="17463"/>
          </a:xfrm>
          <a:custGeom>
            <a:avLst/>
            <a:gdLst>
              <a:gd name="T0" fmla="*/ 0 w 17"/>
              <a:gd name="T1" fmla="*/ 2 h 11"/>
              <a:gd name="T2" fmla="*/ 5 w 17"/>
              <a:gd name="T3" fmla="*/ 0 h 11"/>
              <a:gd name="T4" fmla="*/ 11 w 17"/>
              <a:gd name="T5" fmla="*/ 0 h 11"/>
              <a:gd name="T6" fmla="*/ 17 w 17"/>
              <a:gd name="T7" fmla="*/ 2 h 11"/>
              <a:gd name="T8" fmla="*/ 15 w 17"/>
              <a:gd name="T9" fmla="*/ 8 h 11"/>
              <a:gd name="T10" fmla="*/ 11 w 17"/>
              <a:gd name="T11" fmla="*/ 11 h 11"/>
              <a:gd name="T12" fmla="*/ 0 w 17"/>
              <a:gd name="T13" fmla="*/ 2 h 11"/>
              <a:gd name="T14" fmla="*/ 0 w 17"/>
              <a:gd name="T15" fmla="*/ 2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7" h="11">
                <a:moveTo>
                  <a:pt x="0" y="2"/>
                </a:moveTo>
                <a:lnTo>
                  <a:pt x="5" y="0"/>
                </a:lnTo>
                <a:lnTo>
                  <a:pt x="11" y="0"/>
                </a:lnTo>
                <a:lnTo>
                  <a:pt x="17" y="2"/>
                </a:lnTo>
                <a:lnTo>
                  <a:pt x="15" y="8"/>
                </a:lnTo>
                <a:lnTo>
                  <a:pt x="11" y="11"/>
                </a:lnTo>
                <a:lnTo>
                  <a:pt x="0" y="2"/>
                </a:lnTo>
                <a:lnTo>
                  <a:pt x="0" y="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/>
          </a:p>
        </p:txBody>
      </p:sp>
      <p:sp>
        <p:nvSpPr>
          <p:cNvPr id="2261" name="Freeform 617"/>
          <p:cNvSpPr>
            <a:spLocks/>
          </p:cNvSpPr>
          <p:nvPr userDrawn="1"/>
        </p:nvSpPr>
        <p:spPr bwMode="auto">
          <a:xfrm>
            <a:off x="8032751" y="5930900"/>
            <a:ext cx="22225" cy="12700"/>
          </a:xfrm>
          <a:custGeom>
            <a:avLst/>
            <a:gdLst>
              <a:gd name="T0" fmla="*/ 0 w 14"/>
              <a:gd name="T1" fmla="*/ 6 h 8"/>
              <a:gd name="T2" fmla="*/ 6 w 14"/>
              <a:gd name="T3" fmla="*/ 0 h 8"/>
              <a:gd name="T4" fmla="*/ 14 w 14"/>
              <a:gd name="T5" fmla="*/ 0 h 8"/>
              <a:gd name="T6" fmla="*/ 14 w 14"/>
              <a:gd name="T7" fmla="*/ 3 h 8"/>
              <a:gd name="T8" fmla="*/ 6 w 14"/>
              <a:gd name="T9" fmla="*/ 8 h 8"/>
              <a:gd name="T10" fmla="*/ 0 w 14"/>
              <a:gd name="T11" fmla="*/ 6 h 8"/>
              <a:gd name="T12" fmla="*/ 0 w 14"/>
              <a:gd name="T13" fmla="*/ 6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4" h="8">
                <a:moveTo>
                  <a:pt x="0" y="6"/>
                </a:moveTo>
                <a:lnTo>
                  <a:pt x="6" y="0"/>
                </a:lnTo>
                <a:lnTo>
                  <a:pt x="14" y="0"/>
                </a:lnTo>
                <a:lnTo>
                  <a:pt x="14" y="3"/>
                </a:lnTo>
                <a:lnTo>
                  <a:pt x="6" y="8"/>
                </a:lnTo>
                <a:lnTo>
                  <a:pt x="0" y="6"/>
                </a:lnTo>
                <a:lnTo>
                  <a:pt x="0" y="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/>
          </a:p>
        </p:txBody>
      </p:sp>
      <p:sp>
        <p:nvSpPr>
          <p:cNvPr id="2262" name="Freeform 618"/>
          <p:cNvSpPr>
            <a:spLocks/>
          </p:cNvSpPr>
          <p:nvPr userDrawn="1"/>
        </p:nvSpPr>
        <p:spPr bwMode="auto">
          <a:xfrm>
            <a:off x="7989888" y="5929312"/>
            <a:ext cx="14287" cy="19050"/>
          </a:xfrm>
          <a:custGeom>
            <a:avLst/>
            <a:gdLst>
              <a:gd name="T0" fmla="*/ 0 w 9"/>
              <a:gd name="T1" fmla="*/ 0 h 12"/>
              <a:gd name="T2" fmla="*/ 9 w 9"/>
              <a:gd name="T3" fmla="*/ 6 h 12"/>
              <a:gd name="T4" fmla="*/ 2 w 9"/>
              <a:gd name="T5" fmla="*/ 12 h 12"/>
              <a:gd name="T6" fmla="*/ 0 w 9"/>
              <a:gd name="T7" fmla="*/ 7 h 12"/>
              <a:gd name="T8" fmla="*/ 0 w 9"/>
              <a:gd name="T9" fmla="*/ 0 h 12"/>
              <a:gd name="T10" fmla="*/ 0 w 9"/>
              <a:gd name="T11" fmla="*/ 0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9" h="12">
                <a:moveTo>
                  <a:pt x="0" y="0"/>
                </a:moveTo>
                <a:lnTo>
                  <a:pt x="9" y="6"/>
                </a:lnTo>
                <a:lnTo>
                  <a:pt x="2" y="12"/>
                </a:lnTo>
                <a:lnTo>
                  <a:pt x="0" y="7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/>
          </a:p>
        </p:txBody>
      </p:sp>
      <p:sp>
        <p:nvSpPr>
          <p:cNvPr id="2263" name="Freeform 619"/>
          <p:cNvSpPr>
            <a:spLocks/>
          </p:cNvSpPr>
          <p:nvPr userDrawn="1"/>
        </p:nvSpPr>
        <p:spPr bwMode="auto">
          <a:xfrm>
            <a:off x="8012113" y="5967412"/>
            <a:ext cx="19050" cy="28575"/>
          </a:xfrm>
          <a:custGeom>
            <a:avLst/>
            <a:gdLst>
              <a:gd name="T0" fmla="*/ 10 w 12"/>
              <a:gd name="T1" fmla="*/ 0 h 18"/>
              <a:gd name="T2" fmla="*/ 1 w 12"/>
              <a:gd name="T3" fmla="*/ 3 h 18"/>
              <a:gd name="T4" fmla="*/ 0 w 12"/>
              <a:gd name="T5" fmla="*/ 12 h 18"/>
              <a:gd name="T6" fmla="*/ 4 w 12"/>
              <a:gd name="T7" fmla="*/ 18 h 18"/>
              <a:gd name="T8" fmla="*/ 10 w 12"/>
              <a:gd name="T9" fmla="*/ 13 h 18"/>
              <a:gd name="T10" fmla="*/ 12 w 12"/>
              <a:gd name="T11" fmla="*/ 9 h 18"/>
              <a:gd name="T12" fmla="*/ 10 w 12"/>
              <a:gd name="T13" fmla="*/ 0 h 18"/>
              <a:gd name="T14" fmla="*/ 10 w 12"/>
              <a:gd name="T15" fmla="*/ 0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2" h="18">
                <a:moveTo>
                  <a:pt x="10" y="0"/>
                </a:moveTo>
                <a:lnTo>
                  <a:pt x="1" y="3"/>
                </a:lnTo>
                <a:lnTo>
                  <a:pt x="0" y="12"/>
                </a:lnTo>
                <a:lnTo>
                  <a:pt x="4" y="18"/>
                </a:lnTo>
                <a:lnTo>
                  <a:pt x="10" y="13"/>
                </a:lnTo>
                <a:lnTo>
                  <a:pt x="12" y="9"/>
                </a:lnTo>
                <a:lnTo>
                  <a:pt x="10" y="0"/>
                </a:lnTo>
                <a:lnTo>
                  <a:pt x="1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/>
          </a:p>
        </p:txBody>
      </p:sp>
      <p:sp>
        <p:nvSpPr>
          <p:cNvPr id="2264" name="Freeform 620"/>
          <p:cNvSpPr>
            <a:spLocks/>
          </p:cNvSpPr>
          <p:nvPr userDrawn="1"/>
        </p:nvSpPr>
        <p:spPr bwMode="auto">
          <a:xfrm>
            <a:off x="8040688" y="5959475"/>
            <a:ext cx="25400" cy="41275"/>
          </a:xfrm>
          <a:custGeom>
            <a:avLst/>
            <a:gdLst>
              <a:gd name="T0" fmla="*/ 15 w 16"/>
              <a:gd name="T1" fmla="*/ 3 h 26"/>
              <a:gd name="T2" fmla="*/ 12 w 16"/>
              <a:gd name="T3" fmla="*/ 0 h 26"/>
              <a:gd name="T4" fmla="*/ 3 w 16"/>
              <a:gd name="T5" fmla="*/ 3 h 26"/>
              <a:gd name="T6" fmla="*/ 0 w 16"/>
              <a:gd name="T7" fmla="*/ 14 h 26"/>
              <a:gd name="T8" fmla="*/ 6 w 16"/>
              <a:gd name="T9" fmla="*/ 26 h 26"/>
              <a:gd name="T10" fmla="*/ 9 w 16"/>
              <a:gd name="T11" fmla="*/ 23 h 26"/>
              <a:gd name="T12" fmla="*/ 16 w 16"/>
              <a:gd name="T13" fmla="*/ 14 h 26"/>
              <a:gd name="T14" fmla="*/ 15 w 16"/>
              <a:gd name="T15" fmla="*/ 3 h 26"/>
              <a:gd name="T16" fmla="*/ 15 w 16"/>
              <a:gd name="T17" fmla="*/ 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6" h="26">
                <a:moveTo>
                  <a:pt x="15" y="3"/>
                </a:moveTo>
                <a:lnTo>
                  <a:pt x="12" y="0"/>
                </a:lnTo>
                <a:lnTo>
                  <a:pt x="3" y="3"/>
                </a:lnTo>
                <a:lnTo>
                  <a:pt x="0" y="14"/>
                </a:lnTo>
                <a:lnTo>
                  <a:pt x="6" y="26"/>
                </a:lnTo>
                <a:lnTo>
                  <a:pt x="9" y="23"/>
                </a:lnTo>
                <a:lnTo>
                  <a:pt x="16" y="14"/>
                </a:lnTo>
                <a:lnTo>
                  <a:pt x="15" y="3"/>
                </a:lnTo>
                <a:lnTo>
                  <a:pt x="15" y="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/>
          </a:p>
        </p:txBody>
      </p:sp>
      <p:sp>
        <p:nvSpPr>
          <p:cNvPr id="2265" name="Freeform 621"/>
          <p:cNvSpPr>
            <a:spLocks/>
          </p:cNvSpPr>
          <p:nvPr userDrawn="1"/>
        </p:nvSpPr>
        <p:spPr bwMode="auto">
          <a:xfrm>
            <a:off x="8026401" y="6007100"/>
            <a:ext cx="15875" cy="23813"/>
          </a:xfrm>
          <a:custGeom>
            <a:avLst/>
            <a:gdLst>
              <a:gd name="T0" fmla="*/ 10 w 10"/>
              <a:gd name="T1" fmla="*/ 8 h 15"/>
              <a:gd name="T2" fmla="*/ 7 w 10"/>
              <a:gd name="T3" fmla="*/ 0 h 15"/>
              <a:gd name="T4" fmla="*/ 0 w 10"/>
              <a:gd name="T5" fmla="*/ 3 h 15"/>
              <a:gd name="T6" fmla="*/ 0 w 10"/>
              <a:gd name="T7" fmla="*/ 8 h 15"/>
              <a:gd name="T8" fmla="*/ 7 w 10"/>
              <a:gd name="T9" fmla="*/ 15 h 15"/>
              <a:gd name="T10" fmla="*/ 10 w 10"/>
              <a:gd name="T11" fmla="*/ 8 h 15"/>
              <a:gd name="T12" fmla="*/ 10 w 10"/>
              <a:gd name="T13" fmla="*/ 8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0" h="15">
                <a:moveTo>
                  <a:pt x="10" y="8"/>
                </a:moveTo>
                <a:lnTo>
                  <a:pt x="7" y="0"/>
                </a:lnTo>
                <a:lnTo>
                  <a:pt x="0" y="3"/>
                </a:lnTo>
                <a:lnTo>
                  <a:pt x="0" y="8"/>
                </a:lnTo>
                <a:lnTo>
                  <a:pt x="7" y="15"/>
                </a:lnTo>
                <a:lnTo>
                  <a:pt x="10" y="8"/>
                </a:lnTo>
                <a:lnTo>
                  <a:pt x="10" y="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/>
          </a:p>
        </p:txBody>
      </p:sp>
      <p:sp>
        <p:nvSpPr>
          <p:cNvPr id="2266" name="Freeform 622"/>
          <p:cNvSpPr>
            <a:spLocks/>
          </p:cNvSpPr>
          <p:nvPr userDrawn="1"/>
        </p:nvSpPr>
        <p:spPr bwMode="auto">
          <a:xfrm>
            <a:off x="8078788" y="5986462"/>
            <a:ext cx="28575" cy="33338"/>
          </a:xfrm>
          <a:custGeom>
            <a:avLst/>
            <a:gdLst>
              <a:gd name="T0" fmla="*/ 0 w 18"/>
              <a:gd name="T1" fmla="*/ 21 h 21"/>
              <a:gd name="T2" fmla="*/ 9 w 18"/>
              <a:gd name="T3" fmla="*/ 18 h 21"/>
              <a:gd name="T4" fmla="*/ 13 w 18"/>
              <a:gd name="T5" fmla="*/ 12 h 21"/>
              <a:gd name="T6" fmla="*/ 15 w 18"/>
              <a:gd name="T7" fmla="*/ 3 h 21"/>
              <a:gd name="T8" fmla="*/ 18 w 18"/>
              <a:gd name="T9" fmla="*/ 0 h 21"/>
              <a:gd name="T10" fmla="*/ 12 w 18"/>
              <a:gd name="T11" fmla="*/ 1 h 21"/>
              <a:gd name="T12" fmla="*/ 10 w 18"/>
              <a:gd name="T13" fmla="*/ 9 h 21"/>
              <a:gd name="T14" fmla="*/ 1 w 18"/>
              <a:gd name="T15" fmla="*/ 13 h 21"/>
              <a:gd name="T16" fmla="*/ 0 w 18"/>
              <a:gd name="T17" fmla="*/ 21 h 21"/>
              <a:gd name="T18" fmla="*/ 0 w 18"/>
              <a:gd name="T19" fmla="*/ 21 h 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8" h="21">
                <a:moveTo>
                  <a:pt x="0" y="21"/>
                </a:moveTo>
                <a:lnTo>
                  <a:pt x="9" y="18"/>
                </a:lnTo>
                <a:lnTo>
                  <a:pt x="13" y="12"/>
                </a:lnTo>
                <a:lnTo>
                  <a:pt x="15" y="3"/>
                </a:lnTo>
                <a:lnTo>
                  <a:pt x="18" y="0"/>
                </a:lnTo>
                <a:lnTo>
                  <a:pt x="12" y="1"/>
                </a:lnTo>
                <a:lnTo>
                  <a:pt x="10" y="9"/>
                </a:lnTo>
                <a:lnTo>
                  <a:pt x="1" y="13"/>
                </a:lnTo>
                <a:lnTo>
                  <a:pt x="0" y="21"/>
                </a:lnTo>
                <a:lnTo>
                  <a:pt x="0" y="2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/>
          </a:p>
        </p:txBody>
      </p:sp>
      <p:sp>
        <p:nvSpPr>
          <p:cNvPr id="2267" name="Freeform 623"/>
          <p:cNvSpPr>
            <a:spLocks/>
          </p:cNvSpPr>
          <p:nvPr userDrawn="1"/>
        </p:nvSpPr>
        <p:spPr bwMode="auto">
          <a:xfrm>
            <a:off x="8032751" y="6061075"/>
            <a:ext cx="22225" cy="23813"/>
          </a:xfrm>
          <a:custGeom>
            <a:avLst/>
            <a:gdLst>
              <a:gd name="T0" fmla="*/ 0 w 14"/>
              <a:gd name="T1" fmla="*/ 1 h 15"/>
              <a:gd name="T2" fmla="*/ 6 w 14"/>
              <a:gd name="T3" fmla="*/ 0 h 15"/>
              <a:gd name="T4" fmla="*/ 14 w 14"/>
              <a:gd name="T5" fmla="*/ 9 h 15"/>
              <a:gd name="T6" fmla="*/ 6 w 14"/>
              <a:gd name="T7" fmla="*/ 15 h 15"/>
              <a:gd name="T8" fmla="*/ 8 w 14"/>
              <a:gd name="T9" fmla="*/ 7 h 15"/>
              <a:gd name="T10" fmla="*/ 5 w 14"/>
              <a:gd name="T11" fmla="*/ 4 h 15"/>
              <a:gd name="T12" fmla="*/ 0 w 14"/>
              <a:gd name="T13" fmla="*/ 4 h 15"/>
              <a:gd name="T14" fmla="*/ 0 w 14"/>
              <a:gd name="T15" fmla="*/ 1 h 15"/>
              <a:gd name="T16" fmla="*/ 0 w 14"/>
              <a:gd name="T17" fmla="*/ 1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4" h="15">
                <a:moveTo>
                  <a:pt x="0" y="1"/>
                </a:moveTo>
                <a:lnTo>
                  <a:pt x="6" y="0"/>
                </a:lnTo>
                <a:lnTo>
                  <a:pt x="14" y="9"/>
                </a:lnTo>
                <a:lnTo>
                  <a:pt x="6" y="15"/>
                </a:lnTo>
                <a:lnTo>
                  <a:pt x="8" y="7"/>
                </a:lnTo>
                <a:lnTo>
                  <a:pt x="5" y="4"/>
                </a:lnTo>
                <a:lnTo>
                  <a:pt x="0" y="4"/>
                </a:lnTo>
                <a:lnTo>
                  <a:pt x="0" y="1"/>
                </a:lnTo>
                <a:lnTo>
                  <a:pt x="0" y="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/>
          </a:p>
        </p:txBody>
      </p:sp>
      <p:sp>
        <p:nvSpPr>
          <p:cNvPr id="2268" name="Freeform 624"/>
          <p:cNvSpPr>
            <a:spLocks/>
          </p:cNvSpPr>
          <p:nvPr userDrawn="1"/>
        </p:nvSpPr>
        <p:spPr bwMode="auto">
          <a:xfrm>
            <a:off x="8131176" y="6034087"/>
            <a:ext cx="12700" cy="17463"/>
          </a:xfrm>
          <a:custGeom>
            <a:avLst/>
            <a:gdLst>
              <a:gd name="T0" fmla="*/ 1 w 8"/>
              <a:gd name="T1" fmla="*/ 11 h 11"/>
              <a:gd name="T2" fmla="*/ 0 w 8"/>
              <a:gd name="T3" fmla="*/ 8 h 11"/>
              <a:gd name="T4" fmla="*/ 5 w 8"/>
              <a:gd name="T5" fmla="*/ 0 h 11"/>
              <a:gd name="T6" fmla="*/ 8 w 8"/>
              <a:gd name="T7" fmla="*/ 1 h 11"/>
              <a:gd name="T8" fmla="*/ 1 w 8"/>
              <a:gd name="T9" fmla="*/ 11 h 11"/>
              <a:gd name="T10" fmla="*/ 1 w 8"/>
              <a:gd name="T11" fmla="*/ 11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" h="11">
                <a:moveTo>
                  <a:pt x="1" y="11"/>
                </a:moveTo>
                <a:lnTo>
                  <a:pt x="0" y="8"/>
                </a:lnTo>
                <a:lnTo>
                  <a:pt x="5" y="0"/>
                </a:lnTo>
                <a:lnTo>
                  <a:pt x="8" y="1"/>
                </a:lnTo>
                <a:lnTo>
                  <a:pt x="1" y="11"/>
                </a:lnTo>
                <a:lnTo>
                  <a:pt x="1" y="1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/>
          </a:p>
        </p:txBody>
      </p:sp>
      <p:sp>
        <p:nvSpPr>
          <p:cNvPr id="2269" name="Freeform 625"/>
          <p:cNvSpPr>
            <a:spLocks/>
          </p:cNvSpPr>
          <p:nvPr userDrawn="1"/>
        </p:nvSpPr>
        <p:spPr bwMode="auto">
          <a:xfrm>
            <a:off x="8280401" y="6035675"/>
            <a:ext cx="11112" cy="11113"/>
          </a:xfrm>
          <a:custGeom>
            <a:avLst/>
            <a:gdLst>
              <a:gd name="T0" fmla="*/ 6 w 7"/>
              <a:gd name="T1" fmla="*/ 5 h 7"/>
              <a:gd name="T2" fmla="*/ 0 w 7"/>
              <a:gd name="T3" fmla="*/ 7 h 7"/>
              <a:gd name="T4" fmla="*/ 4 w 7"/>
              <a:gd name="T5" fmla="*/ 0 h 7"/>
              <a:gd name="T6" fmla="*/ 7 w 7"/>
              <a:gd name="T7" fmla="*/ 2 h 7"/>
              <a:gd name="T8" fmla="*/ 6 w 7"/>
              <a:gd name="T9" fmla="*/ 5 h 7"/>
              <a:gd name="T10" fmla="*/ 6 w 7"/>
              <a:gd name="T11" fmla="*/ 5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7" h="7">
                <a:moveTo>
                  <a:pt x="6" y="5"/>
                </a:moveTo>
                <a:lnTo>
                  <a:pt x="0" y="7"/>
                </a:lnTo>
                <a:lnTo>
                  <a:pt x="4" y="0"/>
                </a:lnTo>
                <a:lnTo>
                  <a:pt x="7" y="2"/>
                </a:lnTo>
                <a:lnTo>
                  <a:pt x="6" y="5"/>
                </a:lnTo>
                <a:lnTo>
                  <a:pt x="6" y="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/>
          </a:p>
        </p:txBody>
      </p:sp>
      <p:sp>
        <p:nvSpPr>
          <p:cNvPr id="2270" name="Freeform 626"/>
          <p:cNvSpPr>
            <a:spLocks/>
          </p:cNvSpPr>
          <p:nvPr userDrawn="1"/>
        </p:nvSpPr>
        <p:spPr bwMode="auto">
          <a:xfrm>
            <a:off x="7851776" y="6151562"/>
            <a:ext cx="284162" cy="100013"/>
          </a:xfrm>
          <a:custGeom>
            <a:avLst/>
            <a:gdLst>
              <a:gd name="T0" fmla="*/ 13 w 179"/>
              <a:gd name="T1" fmla="*/ 15 h 63"/>
              <a:gd name="T2" fmla="*/ 4 w 179"/>
              <a:gd name="T3" fmla="*/ 6 h 63"/>
              <a:gd name="T4" fmla="*/ 1 w 179"/>
              <a:gd name="T5" fmla="*/ 7 h 63"/>
              <a:gd name="T6" fmla="*/ 3 w 179"/>
              <a:gd name="T7" fmla="*/ 18 h 63"/>
              <a:gd name="T8" fmla="*/ 4 w 179"/>
              <a:gd name="T9" fmla="*/ 32 h 63"/>
              <a:gd name="T10" fmla="*/ 16 w 179"/>
              <a:gd name="T11" fmla="*/ 36 h 63"/>
              <a:gd name="T12" fmla="*/ 34 w 179"/>
              <a:gd name="T13" fmla="*/ 36 h 63"/>
              <a:gd name="T14" fmla="*/ 48 w 179"/>
              <a:gd name="T15" fmla="*/ 41 h 63"/>
              <a:gd name="T16" fmla="*/ 63 w 179"/>
              <a:gd name="T17" fmla="*/ 45 h 63"/>
              <a:gd name="T18" fmla="*/ 78 w 179"/>
              <a:gd name="T19" fmla="*/ 48 h 63"/>
              <a:gd name="T20" fmla="*/ 81 w 179"/>
              <a:gd name="T21" fmla="*/ 62 h 63"/>
              <a:gd name="T22" fmla="*/ 87 w 179"/>
              <a:gd name="T23" fmla="*/ 60 h 63"/>
              <a:gd name="T24" fmla="*/ 102 w 179"/>
              <a:gd name="T25" fmla="*/ 59 h 63"/>
              <a:gd name="T26" fmla="*/ 122 w 179"/>
              <a:gd name="T27" fmla="*/ 51 h 63"/>
              <a:gd name="T28" fmla="*/ 138 w 179"/>
              <a:gd name="T29" fmla="*/ 51 h 63"/>
              <a:gd name="T30" fmla="*/ 155 w 179"/>
              <a:gd name="T31" fmla="*/ 54 h 63"/>
              <a:gd name="T32" fmla="*/ 167 w 179"/>
              <a:gd name="T33" fmla="*/ 54 h 63"/>
              <a:gd name="T34" fmla="*/ 177 w 179"/>
              <a:gd name="T35" fmla="*/ 44 h 63"/>
              <a:gd name="T36" fmla="*/ 179 w 179"/>
              <a:gd name="T37" fmla="*/ 36 h 63"/>
              <a:gd name="T38" fmla="*/ 176 w 179"/>
              <a:gd name="T39" fmla="*/ 24 h 63"/>
              <a:gd name="T40" fmla="*/ 173 w 179"/>
              <a:gd name="T41" fmla="*/ 32 h 63"/>
              <a:gd name="T42" fmla="*/ 162 w 179"/>
              <a:gd name="T43" fmla="*/ 35 h 63"/>
              <a:gd name="T44" fmla="*/ 153 w 179"/>
              <a:gd name="T45" fmla="*/ 41 h 63"/>
              <a:gd name="T46" fmla="*/ 144 w 179"/>
              <a:gd name="T47" fmla="*/ 33 h 63"/>
              <a:gd name="T48" fmla="*/ 144 w 179"/>
              <a:gd name="T49" fmla="*/ 24 h 63"/>
              <a:gd name="T50" fmla="*/ 132 w 179"/>
              <a:gd name="T51" fmla="*/ 27 h 63"/>
              <a:gd name="T52" fmla="*/ 120 w 179"/>
              <a:gd name="T53" fmla="*/ 23 h 63"/>
              <a:gd name="T54" fmla="*/ 102 w 179"/>
              <a:gd name="T55" fmla="*/ 26 h 63"/>
              <a:gd name="T56" fmla="*/ 93 w 179"/>
              <a:gd name="T57" fmla="*/ 18 h 63"/>
              <a:gd name="T58" fmla="*/ 78 w 179"/>
              <a:gd name="T59" fmla="*/ 23 h 63"/>
              <a:gd name="T60" fmla="*/ 61 w 179"/>
              <a:gd name="T61" fmla="*/ 27 h 63"/>
              <a:gd name="T62" fmla="*/ 51 w 179"/>
              <a:gd name="T63" fmla="*/ 20 h 63"/>
              <a:gd name="T64" fmla="*/ 39 w 179"/>
              <a:gd name="T65" fmla="*/ 20 h 63"/>
              <a:gd name="T66" fmla="*/ 45 w 179"/>
              <a:gd name="T67" fmla="*/ 12 h 63"/>
              <a:gd name="T68" fmla="*/ 37 w 179"/>
              <a:gd name="T69" fmla="*/ 4 h 63"/>
              <a:gd name="T70" fmla="*/ 24 w 179"/>
              <a:gd name="T71" fmla="*/ 13 h 63"/>
              <a:gd name="T72" fmla="*/ 18 w 179"/>
              <a:gd name="T73" fmla="*/ 0 h 63"/>
              <a:gd name="T74" fmla="*/ 10 w 179"/>
              <a:gd name="T75" fmla="*/ 6 h 63"/>
              <a:gd name="T76" fmla="*/ 16 w 179"/>
              <a:gd name="T77" fmla="*/ 12 h 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79" h="63">
                <a:moveTo>
                  <a:pt x="16" y="12"/>
                </a:moveTo>
                <a:lnTo>
                  <a:pt x="13" y="15"/>
                </a:lnTo>
                <a:lnTo>
                  <a:pt x="9" y="13"/>
                </a:lnTo>
                <a:lnTo>
                  <a:pt x="4" y="6"/>
                </a:lnTo>
                <a:lnTo>
                  <a:pt x="0" y="4"/>
                </a:lnTo>
                <a:lnTo>
                  <a:pt x="1" y="7"/>
                </a:lnTo>
                <a:lnTo>
                  <a:pt x="0" y="12"/>
                </a:lnTo>
                <a:lnTo>
                  <a:pt x="3" y="18"/>
                </a:lnTo>
                <a:lnTo>
                  <a:pt x="3" y="26"/>
                </a:lnTo>
                <a:lnTo>
                  <a:pt x="4" y="32"/>
                </a:lnTo>
                <a:lnTo>
                  <a:pt x="9" y="39"/>
                </a:lnTo>
                <a:lnTo>
                  <a:pt x="16" y="36"/>
                </a:lnTo>
                <a:lnTo>
                  <a:pt x="24" y="33"/>
                </a:lnTo>
                <a:lnTo>
                  <a:pt x="34" y="36"/>
                </a:lnTo>
                <a:lnTo>
                  <a:pt x="40" y="41"/>
                </a:lnTo>
                <a:lnTo>
                  <a:pt x="48" y="41"/>
                </a:lnTo>
                <a:lnTo>
                  <a:pt x="55" y="42"/>
                </a:lnTo>
                <a:lnTo>
                  <a:pt x="63" y="45"/>
                </a:lnTo>
                <a:lnTo>
                  <a:pt x="69" y="42"/>
                </a:lnTo>
                <a:lnTo>
                  <a:pt x="78" y="48"/>
                </a:lnTo>
                <a:lnTo>
                  <a:pt x="84" y="54"/>
                </a:lnTo>
                <a:lnTo>
                  <a:pt x="81" y="62"/>
                </a:lnTo>
                <a:lnTo>
                  <a:pt x="84" y="63"/>
                </a:lnTo>
                <a:lnTo>
                  <a:pt x="87" y="60"/>
                </a:lnTo>
                <a:lnTo>
                  <a:pt x="98" y="60"/>
                </a:lnTo>
                <a:lnTo>
                  <a:pt x="102" y="59"/>
                </a:lnTo>
                <a:lnTo>
                  <a:pt x="110" y="53"/>
                </a:lnTo>
                <a:lnTo>
                  <a:pt x="122" y="51"/>
                </a:lnTo>
                <a:lnTo>
                  <a:pt x="129" y="54"/>
                </a:lnTo>
                <a:lnTo>
                  <a:pt x="138" y="51"/>
                </a:lnTo>
                <a:lnTo>
                  <a:pt x="149" y="56"/>
                </a:lnTo>
                <a:lnTo>
                  <a:pt x="155" y="54"/>
                </a:lnTo>
                <a:lnTo>
                  <a:pt x="162" y="50"/>
                </a:lnTo>
                <a:lnTo>
                  <a:pt x="167" y="54"/>
                </a:lnTo>
                <a:lnTo>
                  <a:pt x="173" y="51"/>
                </a:lnTo>
                <a:lnTo>
                  <a:pt x="177" y="44"/>
                </a:lnTo>
                <a:lnTo>
                  <a:pt x="179" y="39"/>
                </a:lnTo>
                <a:lnTo>
                  <a:pt x="179" y="36"/>
                </a:lnTo>
                <a:lnTo>
                  <a:pt x="176" y="30"/>
                </a:lnTo>
                <a:lnTo>
                  <a:pt x="176" y="24"/>
                </a:lnTo>
                <a:lnTo>
                  <a:pt x="173" y="26"/>
                </a:lnTo>
                <a:lnTo>
                  <a:pt x="173" y="32"/>
                </a:lnTo>
                <a:lnTo>
                  <a:pt x="170" y="36"/>
                </a:lnTo>
                <a:lnTo>
                  <a:pt x="162" y="35"/>
                </a:lnTo>
                <a:lnTo>
                  <a:pt x="158" y="36"/>
                </a:lnTo>
                <a:lnTo>
                  <a:pt x="153" y="41"/>
                </a:lnTo>
                <a:lnTo>
                  <a:pt x="147" y="39"/>
                </a:lnTo>
                <a:lnTo>
                  <a:pt x="144" y="33"/>
                </a:lnTo>
                <a:lnTo>
                  <a:pt x="143" y="29"/>
                </a:lnTo>
                <a:lnTo>
                  <a:pt x="144" y="24"/>
                </a:lnTo>
                <a:lnTo>
                  <a:pt x="140" y="23"/>
                </a:lnTo>
                <a:lnTo>
                  <a:pt x="132" y="27"/>
                </a:lnTo>
                <a:lnTo>
                  <a:pt x="126" y="27"/>
                </a:lnTo>
                <a:lnTo>
                  <a:pt x="120" y="23"/>
                </a:lnTo>
                <a:lnTo>
                  <a:pt x="108" y="27"/>
                </a:lnTo>
                <a:lnTo>
                  <a:pt x="102" y="26"/>
                </a:lnTo>
                <a:lnTo>
                  <a:pt x="99" y="21"/>
                </a:lnTo>
                <a:lnTo>
                  <a:pt x="93" y="18"/>
                </a:lnTo>
                <a:lnTo>
                  <a:pt x="90" y="21"/>
                </a:lnTo>
                <a:lnTo>
                  <a:pt x="78" y="23"/>
                </a:lnTo>
                <a:lnTo>
                  <a:pt x="72" y="27"/>
                </a:lnTo>
                <a:lnTo>
                  <a:pt x="61" y="27"/>
                </a:lnTo>
                <a:lnTo>
                  <a:pt x="57" y="29"/>
                </a:lnTo>
                <a:lnTo>
                  <a:pt x="51" y="20"/>
                </a:lnTo>
                <a:lnTo>
                  <a:pt x="48" y="21"/>
                </a:lnTo>
                <a:lnTo>
                  <a:pt x="39" y="20"/>
                </a:lnTo>
                <a:lnTo>
                  <a:pt x="39" y="17"/>
                </a:lnTo>
                <a:lnTo>
                  <a:pt x="45" y="12"/>
                </a:lnTo>
                <a:lnTo>
                  <a:pt x="43" y="7"/>
                </a:lnTo>
                <a:lnTo>
                  <a:pt x="37" y="4"/>
                </a:lnTo>
                <a:lnTo>
                  <a:pt x="31" y="7"/>
                </a:lnTo>
                <a:lnTo>
                  <a:pt x="24" y="13"/>
                </a:lnTo>
                <a:lnTo>
                  <a:pt x="19" y="9"/>
                </a:lnTo>
                <a:lnTo>
                  <a:pt x="18" y="0"/>
                </a:lnTo>
                <a:lnTo>
                  <a:pt x="13" y="0"/>
                </a:lnTo>
                <a:lnTo>
                  <a:pt x="10" y="6"/>
                </a:lnTo>
                <a:lnTo>
                  <a:pt x="16" y="12"/>
                </a:lnTo>
                <a:lnTo>
                  <a:pt x="16" y="1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/>
          </a:p>
        </p:txBody>
      </p:sp>
      <p:sp>
        <p:nvSpPr>
          <p:cNvPr id="2271" name="Freeform 627"/>
          <p:cNvSpPr>
            <a:spLocks/>
          </p:cNvSpPr>
          <p:nvPr userDrawn="1"/>
        </p:nvSpPr>
        <p:spPr bwMode="auto">
          <a:xfrm>
            <a:off x="8191501" y="6178550"/>
            <a:ext cx="14287" cy="19050"/>
          </a:xfrm>
          <a:custGeom>
            <a:avLst/>
            <a:gdLst>
              <a:gd name="T0" fmla="*/ 1 w 9"/>
              <a:gd name="T1" fmla="*/ 12 h 12"/>
              <a:gd name="T2" fmla="*/ 0 w 9"/>
              <a:gd name="T3" fmla="*/ 7 h 12"/>
              <a:gd name="T4" fmla="*/ 3 w 9"/>
              <a:gd name="T5" fmla="*/ 1 h 12"/>
              <a:gd name="T6" fmla="*/ 6 w 9"/>
              <a:gd name="T7" fmla="*/ 3 h 12"/>
              <a:gd name="T8" fmla="*/ 9 w 9"/>
              <a:gd name="T9" fmla="*/ 0 h 12"/>
              <a:gd name="T10" fmla="*/ 9 w 9"/>
              <a:gd name="T11" fmla="*/ 4 h 12"/>
              <a:gd name="T12" fmla="*/ 1 w 9"/>
              <a:gd name="T13" fmla="*/ 12 h 12"/>
              <a:gd name="T14" fmla="*/ 1 w 9"/>
              <a:gd name="T15" fmla="*/ 12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9" h="12">
                <a:moveTo>
                  <a:pt x="1" y="12"/>
                </a:moveTo>
                <a:lnTo>
                  <a:pt x="0" y="7"/>
                </a:lnTo>
                <a:lnTo>
                  <a:pt x="3" y="1"/>
                </a:lnTo>
                <a:lnTo>
                  <a:pt x="6" y="3"/>
                </a:lnTo>
                <a:lnTo>
                  <a:pt x="9" y="0"/>
                </a:lnTo>
                <a:lnTo>
                  <a:pt x="9" y="4"/>
                </a:lnTo>
                <a:lnTo>
                  <a:pt x="1" y="12"/>
                </a:lnTo>
                <a:lnTo>
                  <a:pt x="1" y="1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/>
          </a:p>
        </p:txBody>
      </p:sp>
      <p:sp>
        <p:nvSpPr>
          <p:cNvPr id="2272" name="Freeform 628"/>
          <p:cNvSpPr>
            <a:spLocks/>
          </p:cNvSpPr>
          <p:nvPr userDrawn="1"/>
        </p:nvSpPr>
        <p:spPr bwMode="auto">
          <a:xfrm>
            <a:off x="8215313" y="6118225"/>
            <a:ext cx="19050" cy="61913"/>
          </a:xfrm>
          <a:custGeom>
            <a:avLst/>
            <a:gdLst>
              <a:gd name="T0" fmla="*/ 1 w 12"/>
              <a:gd name="T1" fmla="*/ 39 h 39"/>
              <a:gd name="T2" fmla="*/ 0 w 12"/>
              <a:gd name="T3" fmla="*/ 38 h 39"/>
              <a:gd name="T4" fmla="*/ 4 w 12"/>
              <a:gd name="T5" fmla="*/ 30 h 39"/>
              <a:gd name="T6" fmla="*/ 0 w 12"/>
              <a:gd name="T7" fmla="*/ 25 h 39"/>
              <a:gd name="T8" fmla="*/ 0 w 12"/>
              <a:gd name="T9" fmla="*/ 21 h 39"/>
              <a:gd name="T10" fmla="*/ 1 w 12"/>
              <a:gd name="T11" fmla="*/ 16 h 39"/>
              <a:gd name="T12" fmla="*/ 1 w 12"/>
              <a:gd name="T13" fmla="*/ 10 h 39"/>
              <a:gd name="T14" fmla="*/ 4 w 12"/>
              <a:gd name="T15" fmla="*/ 6 h 39"/>
              <a:gd name="T16" fmla="*/ 3 w 12"/>
              <a:gd name="T17" fmla="*/ 0 h 39"/>
              <a:gd name="T18" fmla="*/ 9 w 12"/>
              <a:gd name="T19" fmla="*/ 6 h 39"/>
              <a:gd name="T20" fmla="*/ 6 w 12"/>
              <a:gd name="T21" fmla="*/ 7 h 39"/>
              <a:gd name="T22" fmla="*/ 6 w 12"/>
              <a:gd name="T23" fmla="*/ 13 h 39"/>
              <a:gd name="T24" fmla="*/ 4 w 12"/>
              <a:gd name="T25" fmla="*/ 22 h 39"/>
              <a:gd name="T26" fmla="*/ 12 w 12"/>
              <a:gd name="T27" fmla="*/ 27 h 39"/>
              <a:gd name="T28" fmla="*/ 7 w 12"/>
              <a:gd name="T29" fmla="*/ 38 h 39"/>
              <a:gd name="T30" fmla="*/ 1 w 12"/>
              <a:gd name="T31" fmla="*/ 39 h 39"/>
              <a:gd name="T32" fmla="*/ 1 w 12"/>
              <a:gd name="T33" fmla="*/ 39 h 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2" h="39">
                <a:moveTo>
                  <a:pt x="1" y="39"/>
                </a:moveTo>
                <a:lnTo>
                  <a:pt x="0" y="38"/>
                </a:lnTo>
                <a:lnTo>
                  <a:pt x="4" y="30"/>
                </a:lnTo>
                <a:lnTo>
                  <a:pt x="0" y="25"/>
                </a:lnTo>
                <a:lnTo>
                  <a:pt x="0" y="21"/>
                </a:lnTo>
                <a:lnTo>
                  <a:pt x="1" y="16"/>
                </a:lnTo>
                <a:lnTo>
                  <a:pt x="1" y="10"/>
                </a:lnTo>
                <a:lnTo>
                  <a:pt x="4" y="6"/>
                </a:lnTo>
                <a:lnTo>
                  <a:pt x="3" y="0"/>
                </a:lnTo>
                <a:lnTo>
                  <a:pt x="9" y="6"/>
                </a:lnTo>
                <a:lnTo>
                  <a:pt x="6" y="7"/>
                </a:lnTo>
                <a:lnTo>
                  <a:pt x="6" y="13"/>
                </a:lnTo>
                <a:lnTo>
                  <a:pt x="4" y="22"/>
                </a:lnTo>
                <a:lnTo>
                  <a:pt x="12" y="27"/>
                </a:lnTo>
                <a:lnTo>
                  <a:pt x="7" y="38"/>
                </a:lnTo>
                <a:lnTo>
                  <a:pt x="1" y="39"/>
                </a:lnTo>
                <a:lnTo>
                  <a:pt x="1" y="3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/>
          </a:p>
        </p:txBody>
      </p:sp>
      <p:sp>
        <p:nvSpPr>
          <p:cNvPr id="2273" name="Freeform 629"/>
          <p:cNvSpPr>
            <a:spLocks/>
          </p:cNvSpPr>
          <p:nvPr userDrawn="1"/>
        </p:nvSpPr>
        <p:spPr bwMode="auto">
          <a:xfrm>
            <a:off x="8936038" y="4754562"/>
            <a:ext cx="6350" cy="12700"/>
          </a:xfrm>
          <a:custGeom>
            <a:avLst/>
            <a:gdLst>
              <a:gd name="T0" fmla="*/ 3 w 4"/>
              <a:gd name="T1" fmla="*/ 0 h 8"/>
              <a:gd name="T2" fmla="*/ 0 w 4"/>
              <a:gd name="T3" fmla="*/ 2 h 8"/>
              <a:gd name="T4" fmla="*/ 4 w 4"/>
              <a:gd name="T5" fmla="*/ 8 h 8"/>
              <a:gd name="T6" fmla="*/ 4 w 4"/>
              <a:gd name="T7" fmla="*/ 5 h 8"/>
              <a:gd name="T8" fmla="*/ 3 w 4"/>
              <a:gd name="T9" fmla="*/ 0 h 8"/>
              <a:gd name="T10" fmla="*/ 3 w 4"/>
              <a:gd name="T11" fmla="*/ 0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" h="8">
                <a:moveTo>
                  <a:pt x="3" y="0"/>
                </a:moveTo>
                <a:lnTo>
                  <a:pt x="0" y="2"/>
                </a:lnTo>
                <a:lnTo>
                  <a:pt x="4" y="8"/>
                </a:lnTo>
                <a:lnTo>
                  <a:pt x="4" y="5"/>
                </a:lnTo>
                <a:lnTo>
                  <a:pt x="3" y="0"/>
                </a:lnTo>
                <a:lnTo>
                  <a:pt x="3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/>
          </a:p>
        </p:txBody>
      </p:sp>
      <p:sp>
        <p:nvSpPr>
          <p:cNvPr id="2274" name="Freeform 630"/>
          <p:cNvSpPr>
            <a:spLocks/>
          </p:cNvSpPr>
          <p:nvPr userDrawn="1"/>
        </p:nvSpPr>
        <p:spPr bwMode="auto">
          <a:xfrm>
            <a:off x="9021763" y="4724400"/>
            <a:ext cx="26987" cy="38100"/>
          </a:xfrm>
          <a:custGeom>
            <a:avLst/>
            <a:gdLst>
              <a:gd name="T0" fmla="*/ 17 w 17"/>
              <a:gd name="T1" fmla="*/ 0 h 24"/>
              <a:gd name="T2" fmla="*/ 12 w 17"/>
              <a:gd name="T3" fmla="*/ 4 h 24"/>
              <a:gd name="T4" fmla="*/ 3 w 17"/>
              <a:gd name="T5" fmla="*/ 12 h 24"/>
              <a:gd name="T6" fmla="*/ 0 w 17"/>
              <a:gd name="T7" fmla="*/ 18 h 24"/>
              <a:gd name="T8" fmla="*/ 8 w 17"/>
              <a:gd name="T9" fmla="*/ 24 h 24"/>
              <a:gd name="T10" fmla="*/ 12 w 17"/>
              <a:gd name="T11" fmla="*/ 9 h 24"/>
              <a:gd name="T12" fmla="*/ 17 w 17"/>
              <a:gd name="T13" fmla="*/ 0 h 24"/>
              <a:gd name="T14" fmla="*/ 17 w 17"/>
              <a:gd name="T15" fmla="*/ 0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7" h="24">
                <a:moveTo>
                  <a:pt x="17" y="0"/>
                </a:moveTo>
                <a:lnTo>
                  <a:pt x="12" y="4"/>
                </a:lnTo>
                <a:lnTo>
                  <a:pt x="3" y="12"/>
                </a:lnTo>
                <a:lnTo>
                  <a:pt x="0" y="18"/>
                </a:lnTo>
                <a:lnTo>
                  <a:pt x="8" y="24"/>
                </a:lnTo>
                <a:lnTo>
                  <a:pt x="12" y="9"/>
                </a:lnTo>
                <a:lnTo>
                  <a:pt x="17" y="0"/>
                </a:lnTo>
                <a:lnTo>
                  <a:pt x="17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/>
          </a:p>
        </p:txBody>
      </p:sp>
      <p:sp>
        <p:nvSpPr>
          <p:cNvPr id="2275" name="Freeform 631"/>
          <p:cNvSpPr>
            <a:spLocks/>
          </p:cNvSpPr>
          <p:nvPr userDrawn="1"/>
        </p:nvSpPr>
        <p:spPr bwMode="auto">
          <a:xfrm>
            <a:off x="9124950" y="4692650"/>
            <a:ext cx="14287" cy="12700"/>
          </a:xfrm>
          <a:custGeom>
            <a:avLst/>
            <a:gdLst>
              <a:gd name="T0" fmla="*/ 3 w 9"/>
              <a:gd name="T1" fmla="*/ 2 h 8"/>
              <a:gd name="T2" fmla="*/ 9 w 9"/>
              <a:gd name="T3" fmla="*/ 0 h 8"/>
              <a:gd name="T4" fmla="*/ 0 w 9"/>
              <a:gd name="T5" fmla="*/ 8 h 8"/>
              <a:gd name="T6" fmla="*/ 3 w 9"/>
              <a:gd name="T7" fmla="*/ 2 h 8"/>
              <a:gd name="T8" fmla="*/ 3 w 9"/>
              <a:gd name="T9" fmla="*/ 2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" h="8">
                <a:moveTo>
                  <a:pt x="3" y="2"/>
                </a:moveTo>
                <a:lnTo>
                  <a:pt x="9" y="0"/>
                </a:lnTo>
                <a:lnTo>
                  <a:pt x="0" y="8"/>
                </a:lnTo>
                <a:lnTo>
                  <a:pt x="3" y="2"/>
                </a:lnTo>
                <a:lnTo>
                  <a:pt x="3" y="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/>
          </a:p>
        </p:txBody>
      </p:sp>
      <p:sp>
        <p:nvSpPr>
          <p:cNvPr id="2276" name="Freeform 632"/>
          <p:cNvSpPr>
            <a:spLocks/>
          </p:cNvSpPr>
          <p:nvPr userDrawn="1"/>
        </p:nvSpPr>
        <p:spPr bwMode="auto">
          <a:xfrm>
            <a:off x="8240713" y="5529262"/>
            <a:ext cx="22225" cy="11113"/>
          </a:xfrm>
          <a:custGeom>
            <a:avLst/>
            <a:gdLst>
              <a:gd name="T0" fmla="*/ 0 w 14"/>
              <a:gd name="T1" fmla="*/ 0 h 7"/>
              <a:gd name="T2" fmla="*/ 0 w 14"/>
              <a:gd name="T3" fmla="*/ 4 h 7"/>
              <a:gd name="T4" fmla="*/ 3 w 14"/>
              <a:gd name="T5" fmla="*/ 7 h 7"/>
              <a:gd name="T6" fmla="*/ 8 w 14"/>
              <a:gd name="T7" fmla="*/ 4 h 7"/>
              <a:gd name="T8" fmla="*/ 14 w 14"/>
              <a:gd name="T9" fmla="*/ 0 h 7"/>
              <a:gd name="T10" fmla="*/ 0 w 14"/>
              <a:gd name="T11" fmla="*/ 0 h 7"/>
              <a:gd name="T12" fmla="*/ 0 w 14"/>
              <a:gd name="T13" fmla="*/ 0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4" h="7">
                <a:moveTo>
                  <a:pt x="0" y="0"/>
                </a:moveTo>
                <a:lnTo>
                  <a:pt x="0" y="4"/>
                </a:lnTo>
                <a:lnTo>
                  <a:pt x="3" y="7"/>
                </a:lnTo>
                <a:lnTo>
                  <a:pt x="8" y="4"/>
                </a:lnTo>
                <a:lnTo>
                  <a:pt x="14" y="0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/>
          </a:p>
        </p:txBody>
      </p:sp>
      <p:sp>
        <p:nvSpPr>
          <p:cNvPr id="2277" name="Freeform 633"/>
          <p:cNvSpPr>
            <a:spLocks/>
          </p:cNvSpPr>
          <p:nvPr userDrawn="1"/>
        </p:nvSpPr>
        <p:spPr bwMode="auto">
          <a:xfrm>
            <a:off x="8250238" y="5543550"/>
            <a:ext cx="4762" cy="6350"/>
          </a:xfrm>
          <a:custGeom>
            <a:avLst/>
            <a:gdLst>
              <a:gd name="T0" fmla="*/ 3 w 3"/>
              <a:gd name="T1" fmla="*/ 0 h 4"/>
              <a:gd name="T2" fmla="*/ 0 w 3"/>
              <a:gd name="T3" fmla="*/ 3 h 4"/>
              <a:gd name="T4" fmla="*/ 3 w 3"/>
              <a:gd name="T5" fmla="*/ 4 h 4"/>
              <a:gd name="T6" fmla="*/ 3 w 3"/>
              <a:gd name="T7" fmla="*/ 0 h 4"/>
              <a:gd name="T8" fmla="*/ 3 w 3"/>
              <a:gd name="T9" fmla="*/ 0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" h="4">
                <a:moveTo>
                  <a:pt x="3" y="0"/>
                </a:moveTo>
                <a:lnTo>
                  <a:pt x="0" y="3"/>
                </a:lnTo>
                <a:lnTo>
                  <a:pt x="3" y="4"/>
                </a:lnTo>
                <a:lnTo>
                  <a:pt x="3" y="0"/>
                </a:lnTo>
                <a:lnTo>
                  <a:pt x="3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/>
          </a:p>
        </p:txBody>
      </p:sp>
      <p:sp>
        <p:nvSpPr>
          <p:cNvPr id="2278" name="Freeform 634"/>
          <p:cNvSpPr>
            <a:spLocks/>
          </p:cNvSpPr>
          <p:nvPr userDrawn="1"/>
        </p:nvSpPr>
        <p:spPr bwMode="auto">
          <a:xfrm>
            <a:off x="7947026" y="5502275"/>
            <a:ext cx="20637" cy="26988"/>
          </a:xfrm>
          <a:custGeom>
            <a:avLst/>
            <a:gdLst>
              <a:gd name="T0" fmla="*/ 13 w 13"/>
              <a:gd name="T1" fmla="*/ 3 h 17"/>
              <a:gd name="T2" fmla="*/ 9 w 13"/>
              <a:gd name="T3" fmla="*/ 0 h 17"/>
              <a:gd name="T4" fmla="*/ 1 w 13"/>
              <a:gd name="T5" fmla="*/ 6 h 17"/>
              <a:gd name="T6" fmla="*/ 0 w 13"/>
              <a:gd name="T7" fmla="*/ 12 h 17"/>
              <a:gd name="T8" fmla="*/ 7 w 13"/>
              <a:gd name="T9" fmla="*/ 17 h 17"/>
              <a:gd name="T10" fmla="*/ 13 w 13"/>
              <a:gd name="T11" fmla="*/ 12 h 17"/>
              <a:gd name="T12" fmla="*/ 13 w 13"/>
              <a:gd name="T13" fmla="*/ 3 h 17"/>
              <a:gd name="T14" fmla="*/ 13 w 13"/>
              <a:gd name="T15" fmla="*/ 3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3" h="17">
                <a:moveTo>
                  <a:pt x="13" y="3"/>
                </a:moveTo>
                <a:lnTo>
                  <a:pt x="9" y="0"/>
                </a:lnTo>
                <a:lnTo>
                  <a:pt x="1" y="6"/>
                </a:lnTo>
                <a:lnTo>
                  <a:pt x="0" y="12"/>
                </a:lnTo>
                <a:lnTo>
                  <a:pt x="7" y="17"/>
                </a:lnTo>
                <a:lnTo>
                  <a:pt x="13" y="12"/>
                </a:lnTo>
                <a:lnTo>
                  <a:pt x="13" y="3"/>
                </a:lnTo>
                <a:lnTo>
                  <a:pt x="13" y="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/>
          </a:p>
        </p:txBody>
      </p:sp>
      <p:sp>
        <p:nvSpPr>
          <p:cNvPr id="2279" name="Freeform 635"/>
          <p:cNvSpPr>
            <a:spLocks/>
          </p:cNvSpPr>
          <p:nvPr userDrawn="1"/>
        </p:nvSpPr>
        <p:spPr bwMode="auto">
          <a:xfrm>
            <a:off x="8037513" y="5540375"/>
            <a:ext cx="28575" cy="14288"/>
          </a:xfrm>
          <a:custGeom>
            <a:avLst/>
            <a:gdLst>
              <a:gd name="T0" fmla="*/ 2 w 18"/>
              <a:gd name="T1" fmla="*/ 3 h 9"/>
              <a:gd name="T2" fmla="*/ 9 w 18"/>
              <a:gd name="T3" fmla="*/ 0 h 9"/>
              <a:gd name="T4" fmla="*/ 18 w 18"/>
              <a:gd name="T5" fmla="*/ 3 h 9"/>
              <a:gd name="T6" fmla="*/ 17 w 18"/>
              <a:gd name="T7" fmla="*/ 9 h 9"/>
              <a:gd name="T8" fmla="*/ 9 w 18"/>
              <a:gd name="T9" fmla="*/ 8 h 9"/>
              <a:gd name="T10" fmla="*/ 0 w 18"/>
              <a:gd name="T11" fmla="*/ 8 h 9"/>
              <a:gd name="T12" fmla="*/ 2 w 18"/>
              <a:gd name="T13" fmla="*/ 3 h 9"/>
              <a:gd name="T14" fmla="*/ 2 w 18"/>
              <a:gd name="T15" fmla="*/ 3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8" h="9">
                <a:moveTo>
                  <a:pt x="2" y="3"/>
                </a:moveTo>
                <a:lnTo>
                  <a:pt x="9" y="0"/>
                </a:lnTo>
                <a:lnTo>
                  <a:pt x="18" y="3"/>
                </a:lnTo>
                <a:lnTo>
                  <a:pt x="17" y="9"/>
                </a:lnTo>
                <a:lnTo>
                  <a:pt x="9" y="8"/>
                </a:lnTo>
                <a:lnTo>
                  <a:pt x="0" y="8"/>
                </a:lnTo>
                <a:lnTo>
                  <a:pt x="2" y="3"/>
                </a:lnTo>
                <a:lnTo>
                  <a:pt x="2" y="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/>
          </a:p>
        </p:txBody>
      </p:sp>
      <p:sp>
        <p:nvSpPr>
          <p:cNvPr id="2280" name="Freeform 636"/>
          <p:cNvSpPr>
            <a:spLocks/>
          </p:cNvSpPr>
          <p:nvPr userDrawn="1"/>
        </p:nvSpPr>
        <p:spPr bwMode="auto">
          <a:xfrm>
            <a:off x="8059738" y="5567362"/>
            <a:ext cx="33337" cy="23813"/>
          </a:xfrm>
          <a:custGeom>
            <a:avLst/>
            <a:gdLst>
              <a:gd name="T0" fmla="*/ 0 w 21"/>
              <a:gd name="T1" fmla="*/ 13 h 15"/>
              <a:gd name="T2" fmla="*/ 3 w 21"/>
              <a:gd name="T3" fmla="*/ 7 h 15"/>
              <a:gd name="T4" fmla="*/ 15 w 21"/>
              <a:gd name="T5" fmla="*/ 0 h 15"/>
              <a:gd name="T6" fmla="*/ 19 w 21"/>
              <a:gd name="T7" fmla="*/ 1 h 15"/>
              <a:gd name="T8" fmla="*/ 21 w 21"/>
              <a:gd name="T9" fmla="*/ 9 h 15"/>
              <a:gd name="T10" fmla="*/ 16 w 21"/>
              <a:gd name="T11" fmla="*/ 15 h 15"/>
              <a:gd name="T12" fmla="*/ 0 w 21"/>
              <a:gd name="T13" fmla="*/ 13 h 15"/>
              <a:gd name="T14" fmla="*/ 0 w 21"/>
              <a:gd name="T15" fmla="*/ 13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1" h="15">
                <a:moveTo>
                  <a:pt x="0" y="13"/>
                </a:moveTo>
                <a:lnTo>
                  <a:pt x="3" y="7"/>
                </a:lnTo>
                <a:lnTo>
                  <a:pt x="15" y="0"/>
                </a:lnTo>
                <a:lnTo>
                  <a:pt x="19" y="1"/>
                </a:lnTo>
                <a:lnTo>
                  <a:pt x="21" y="9"/>
                </a:lnTo>
                <a:lnTo>
                  <a:pt x="16" y="15"/>
                </a:lnTo>
                <a:lnTo>
                  <a:pt x="0" y="13"/>
                </a:lnTo>
                <a:lnTo>
                  <a:pt x="0" y="1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/>
          </a:p>
        </p:txBody>
      </p:sp>
      <p:sp>
        <p:nvSpPr>
          <p:cNvPr id="2281" name="Freeform 637"/>
          <p:cNvSpPr>
            <a:spLocks/>
          </p:cNvSpPr>
          <p:nvPr userDrawn="1"/>
        </p:nvSpPr>
        <p:spPr bwMode="auto">
          <a:xfrm>
            <a:off x="7994651" y="5588000"/>
            <a:ext cx="47625" cy="50800"/>
          </a:xfrm>
          <a:custGeom>
            <a:avLst/>
            <a:gdLst>
              <a:gd name="T0" fmla="*/ 20 w 30"/>
              <a:gd name="T1" fmla="*/ 15 h 32"/>
              <a:gd name="T2" fmla="*/ 12 w 30"/>
              <a:gd name="T3" fmla="*/ 12 h 32"/>
              <a:gd name="T4" fmla="*/ 0 w 30"/>
              <a:gd name="T5" fmla="*/ 12 h 32"/>
              <a:gd name="T6" fmla="*/ 3 w 30"/>
              <a:gd name="T7" fmla="*/ 23 h 32"/>
              <a:gd name="T8" fmla="*/ 9 w 30"/>
              <a:gd name="T9" fmla="*/ 32 h 32"/>
              <a:gd name="T10" fmla="*/ 14 w 30"/>
              <a:gd name="T11" fmla="*/ 21 h 32"/>
              <a:gd name="T12" fmla="*/ 18 w 30"/>
              <a:gd name="T13" fmla="*/ 21 h 32"/>
              <a:gd name="T14" fmla="*/ 17 w 30"/>
              <a:gd name="T15" fmla="*/ 28 h 32"/>
              <a:gd name="T16" fmla="*/ 24 w 30"/>
              <a:gd name="T17" fmla="*/ 31 h 32"/>
              <a:gd name="T18" fmla="*/ 23 w 30"/>
              <a:gd name="T19" fmla="*/ 18 h 32"/>
              <a:gd name="T20" fmla="*/ 30 w 30"/>
              <a:gd name="T21" fmla="*/ 6 h 32"/>
              <a:gd name="T22" fmla="*/ 23 w 30"/>
              <a:gd name="T23" fmla="*/ 0 h 32"/>
              <a:gd name="T24" fmla="*/ 20 w 30"/>
              <a:gd name="T25" fmla="*/ 15 h 32"/>
              <a:gd name="T26" fmla="*/ 20 w 30"/>
              <a:gd name="T27" fmla="*/ 15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30" h="32">
                <a:moveTo>
                  <a:pt x="20" y="15"/>
                </a:moveTo>
                <a:lnTo>
                  <a:pt x="12" y="12"/>
                </a:lnTo>
                <a:lnTo>
                  <a:pt x="0" y="12"/>
                </a:lnTo>
                <a:lnTo>
                  <a:pt x="3" y="23"/>
                </a:lnTo>
                <a:lnTo>
                  <a:pt x="9" y="32"/>
                </a:lnTo>
                <a:lnTo>
                  <a:pt x="14" y="21"/>
                </a:lnTo>
                <a:lnTo>
                  <a:pt x="18" y="21"/>
                </a:lnTo>
                <a:lnTo>
                  <a:pt x="17" y="28"/>
                </a:lnTo>
                <a:lnTo>
                  <a:pt x="24" y="31"/>
                </a:lnTo>
                <a:lnTo>
                  <a:pt x="23" y="18"/>
                </a:lnTo>
                <a:lnTo>
                  <a:pt x="30" y="6"/>
                </a:lnTo>
                <a:lnTo>
                  <a:pt x="23" y="0"/>
                </a:lnTo>
                <a:lnTo>
                  <a:pt x="20" y="15"/>
                </a:lnTo>
                <a:lnTo>
                  <a:pt x="20" y="1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/>
          </a:p>
        </p:txBody>
      </p:sp>
      <p:sp>
        <p:nvSpPr>
          <p:cNvPr id="2282" name="Freeform 638"/>
          <p:cNvSpPr>
            <a:spLocks/>
          </p:cNvSpPr>
          <p:nvPr userDrawn="1"/>
        </p:nvSpPr>
        <p:spPr bwMode="auto">
          <a:xfrm>
            <a:off x="8088313" y="5686425"/>
            <a:ext cx="84137" cy="47625"/>
          </a:xfrm>
          <a:custGeom>
            <a:avLst/>
            <a:gdLst>
              <a:gd name="T0" fmla="*/ 30 w 53"/>
              <a:gd name="T1" fmla="*/ 0 h 30"/>
              <a:gd name="T2" fmla="*/ 24 w 53"/>
              <a:gd name="T3" fmla="*/ 3 h 30"/>
              <a:gd name="T4" fmla="*/ 15 w 53"/>
              <a:gd name="T5" fmla="*/ 3 h 30"/>
              <a:gd name="T6" fmla="*/ 13 w 53"/>
              <a:gd name="T7" fmla="*/ 9 h 30"/>
              <a:gd name="T8" fmla="*/ 0 w 53"/>
              <a:gd name="T9" fmla="*/ 8 h 30"/>
              <a:gd name="T10" fmla="*/ 0 w 53"/>
              <a:gd name="T11" fmla="*/ 17 h 30"/>
              <a:gd name="T12" fmla="*/ 13 w 53"/>
              <a:gd name="T13" fmla="*/ 21 h 30"/>
              <a:gd name="T14" fmla="*/ 19 w 53"/>
              <a:gd name="T15" fmla="*/ 14 h 30"/>
              <a:gd name="T16" fmla="*/ 28 w 53"/>
              <a:gd name="T17" fmla="*/ 15 h 30"/>
              <a:gd name="T18" fmla="*/ 16 w 53"/>
              <a:gd name="T19" fmla="*/ 23 h 30"/>
              <a:gd name="T20" fmla="*/ 24 w 53"/>
              <a:gd name="T21" fmla="*/ 30 h 30"/>
              <a:gd name="T22" fmla="*/ 36 w 53"/>
              <a:gd name="T23" fmla="*/ 30 h 30"/>
              <a:gd name="T24" fmla="*/ 39 w 53"/>
              <a:gd name="T25" fmla="*/ 26 h 30"/>
              <a:gd name="T26" fmla="*/ 36 w 53"/>
              <a:gd name="T27" fmla="*/ 15 h 30"/>
              <a:gd name="T28" fmla="*/ 42 w 53"/>
              <a:gd name="T29" fmla="*/ 20 h 30"/>
              <a:gd name="T30" fmla="*/ 53 w 53"/>
              <a:gd name="T31" fmla="*/ 15 h 30"/>
              <a:gd name="T32" fmla="*/ 38 w 53"/>
              <a:gd name="T33" fmla="*/ 9 h 30"/>
              <a:gd name="T34" fmla="*/ 38 w 53"/>
              <a:gd name="T35" fmla="*/ 2 h 30"/>
              <a:gd name="T36" fmla="*/ 30 w 53"/>
              <a:gd name="T37" fmla="*/ 0 h 30"/>
              <a:gd name="T38" fmla="*/ 30 w 53"/>
              <a:gd name="T39" fmla="*/ 0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53" h="30">
                <a:moveTo>
                  <a:pt x="30" y="0"/>
                </a:moveTo>
                <a:lnTo>
                  <a:pt x="24" y="3"/>
                </a:lnTo>
                <a:lnTo>
                  <a:pt x="15" y="3"/>
                </a:lnTo>
                <a:lnTo>
                  <a:pt x="13" y="9"/>
                </a:lnTo>
                <a:lnTo>
                  <a:pt x="0" y="8"/>
                </a:lnTo>
                <a:lnTo>
                  <a:pt x="0" y="17"/>
                </a:lnTo>
                <a:lnTo>
                  <a:pt x="13" y="21"/>
                </a:lnTo>
                <a:lnTo>
                  <a:pt x="19" y="14"/>
                </a:lnTo>
                <a:lnTo>
                  <a:pt x="28" y="15"/>
                </a:lnTo>
                <a:lnTo>
                  <a:pt x="16" y="23"/>
                </a:lnTo>
                <a:lnTo>
                  <a:pt x="24" y="30"/>
                </a:lnTo>
                <a:lnTo>
                  <a:pt x="36" y="30"/>
                </a:lnTo>
                <a:lnTo>
                  <a:pt x="39" y="26"/>
                </a:lnTo>
                <a:lnTo>
                  <a:pt x="36" y="15"/>
                </a:lnTo>
                <a:lnTo>
                  <a:pt x="42" y="20"/>
                </a:lnTo>
                <a:lnTo>
                  <a:pt x="53" y="15"/>
                </a:lnTo>
                <a:lnTo>
                  <a:pt x="38" y="9"/>
                </a:lnTo>
                <a:lnTo>
                  <a:pt x="38" y="2"/>
                </a:lnTo>
                <a:lnTo>
                  <a:pt x="30" y="0"/>
                </a:lnTo>
                <a:lnTo>
                  <a:pt x="3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/>
          </a:p>
        </p:txBody>
      </p:sp>
      <p:sp>
        <p:nvSpPr>
          <p:cNvPr id="2283" name="Freeform 639"/>
          <p:cNvSpPr>
            <a:spLocks/>
          </p:cNvSpPr>
          <p:nvPr userDrawn="1"/>
        </p:nvSpPr>
        <p:spPr bwMode="auto">
          <a:xfrm>
            <a:off x="8088313" y="5783262"/>
            <a:ext cx="30162" cy="49213"/>
          </a:xfrm>
          <a:custGeom>
            <a:avLst/>
            <a:gdLst>
              <a:gd name="T0" fmla="*/ 6 w 19"/>
              <a:gd name="T1" fmla="*/ 0 h 31"/>
              <a:gd name="T2" fmla="*/ 0 w 19"/>
              <a:gd name="T3" fmla="*/ 1 h 31"/>
              <a:gd name="T4" fmla="*/ 0 w 19"/>
              <a:gd name="T5" fmla="*/ 9 h 31"/>
              <a:gd name="T6" fmla="*/ 9 w 19"/>
              <a:gd name="T7" fmla="*/ 15 h 31"/>
              <a:gd name="T8" fmla="*/ 3 w 19"/>
              <a:gd name="T9" fmla="*/ 24 h 31"/>
              <a:gd name="T10" fmla="*/ 12 w 19"/>
              <a:gd name="T11" fmla="*/ 31 h 31"/>
              <a:gd name="T12" fmla="*/ 13 w 19"/>
              <a:gd name="T13" fmla="*/ 22 h 31"/>
              <a:gd name="T14" fmla="*/ 19 w 19"/>
              <a:gd name="T15" fmla="*/ 19 h 31"/>
              <a:gd name="T16" fmla="*/ 18 w 19"/>
              <a:gd name="T17" fmla="*/ 12 h 31"/>
              <a:gd name="T18" fmla="*/ 15 w 19"/>
              <a:gd name="T19" fmla="*/ 0 h 31"/>
              <a:gd name="T20" fmla="*/ 6 w 19"/>
              <a:gd name="T21" fmla="*/ 0 h 31"/>
              <a:gd name="T22" fmla="*/ 6 w 19"/>
              <a:gd name="T23" fmla="*/ 0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9" h="31">
                <a:moveTo>
                  <a:pt x="6" y="0"/>
                </a:moveTo>
                <a:lnTo>
                  <a:pt x="0" y="1"/>
                </a:lnTo>
                <a:lnTo>
                  <a:pt x="0" y="9"/>
                </a:lnTo>
                <a:lnTo>
                  <a:pt x="9" y="15"/>
                </a:lnTo>
                <a:lnTo>
                  <a:pt x="3" y="24"/>
                </a:lnTo>
                <a:lnTo>
                  <a:pt x="12" y="31"/>
                </a:lnTo>
                <a:lnTo>
                  <a:pt x="13" y="22"/>
                </a:lnTo>
                <a:lnTo>
                  <a:pt x="19" y="19"/>
                </a:lnTo>
                <a:lnTo>
                  <a:pt x="18" y="12"/>
                </a:lnTo>
                <a:lnTo>
                  <a:pt x="15" y="0"/>
                </a:lnTo>
                <a:lnTo>
                  <a:pt x="6" y="0"/>
                </a:lnTo>
                <a:lnTo>
                  <a:pt x="6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/>
          </a:p>
        </p:txBody>
      </p:sp>
      <p:sp>
        <p:nvSpPr>
          <p:cNvPr id="2284" name="Freeform 640"/>
          <p:cNvSpPr>
            <a:spLocks/>
          </p:cNvSpPr>
          <p:nvPr userDrawn="1"/>
        </p:nvSpPr>
        <p:spPr bwMode="auto">
          <a:xfrm>
            <a:off x="8104188" y="5897562"/>
            <a:ext cx="34925" cy="28575"/>
          </a:xfrm>
          <a:custGeom>
            <a:avLst/>
            <a:gdLst>
              <a:gd name="T0" fmla="*/ 0 w 22"/>
              <a:gd name="T1" fmla="*/ 18 h 18"/>
              <a:gd name="T2" fmla="*/ 3 w 22"/>
              <a:gd name="T3" fmla="*/ 8 h 18"/>
              <a:gd name="T4" fmla="*/ 9 w 22"/>
              <a:gd name="T5" fmla="*/ 6 h 18"/>
              <a:gd name="T6" fmla="*/ 22 w 22"/>
              <a:gd name="T7" fmla="*/ 0 h 18"/>
              <a:gd name="T8" fmla="*/ 17 w 22"/>
              <a:gd name="T9" fmla="*/ 11 h 18"/>
              <a:gd name="T10" fmla="*/ 9 w 22"/>
              <a:gd name="T11" fmla="*/ 11 h 18"/>
              <a:gd name="T12" fmla="*/ 0 w 22"/>
              <a:gd name="T13" fmla="*/ 18 h 18"/>
              <a:gd name="T14" fmla="*/ 0 w 22"/>
              <a:gd name="T15" fmla="*/ 18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2" h="18">
                <a:moveTo>
                  <a:pt x="0" y="18"/>
                </a:moveTo>
                <a:lnTo>
                  <a:pt x="3" y="8"/>
                </a:lnTo>
                <a:lnTo>
                  <a:pt x="9" y="6"/>
                </a:lnTo>
                <a:lnTo>
                  <a:pt x="22" y="0"/>
                </a:lnTo>
                <a:lnTo>
                  <a:pt x="17" y="11"/>
                </a:lnTo>
                <a:lnTo>
                  <a:pt x="9" y="11"/>
                </a:lnTo>
                <a:lnTo>
                  <a:pt x="0" y="18"/>
                </a:lnTo>
                <a:lnTo>
                  <a:pt x="0" y="1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/>
          </a:p>
        </p:txBody>
      </p:sp>
      <p:sp>
        <p:nvSpPr>
          <p:cNvPr id="2285" name="Freeform 641"/>
          <p:cNvSpPr>
            <a:spLocks/>
          </p:cNvSpPr>
          <p:nvPr userDrawn="1"/>
        </p:nvSpPr>
        <p:spPr bwMode="auto">
          <a:xfrm>
            <a:off x="8162926" y="5875337"/>
            <a:ext cx="42862" cy="25400"/>
          </a:xfrm>
          <a:custGeom>
            <a:avLst/>
            <a:gdLst>
              <a:gd name="T0" fmla="*/ 0 w 27"/>
              <a:gd name="T1" fmla="*/ 12 h 16"/>
              <a:gd name="T2" fmla="*/ 3 w 27"/>
              <a:gd name="T3" fmla="*/ 3 h 16"/>
              <a:gd name="T4" fmla="*/ 13 w 27"/>
              <a:gd name="T5" fmla="*/ 0 h 16"/>
              <a:gd name="T6" fmla="*/ 16 w 27"/>
              <a:gd name="T7" fmla="*/ 0 h 16"/>
              <a:gd name="T8" fmla="*/ 21 w 27"/>
              <a:gd name="T9" fmla="*/ 3 h 16"/>
              <a:gd name="T10" fmla="*/ 25 w 27"/>
              <a:gd name="T11" fmla="*/ 3 h 16"/>
              <a:gd name="T12" fmla="*/ 27 w 27"/>
              <a:gd name="T13" fmla="*/ 8 h 16"/>
              <a:gd name="T14" fmla="*/ 16 w 27"/>
              <a:gd name="T15" fmla="*/ 8 h 16"/>
              <a:gd name="T16" fmla="*/ 16 w 27"/>
              <a:gd name="T17" fmla="*/ 14 h 16"/>
              <a:gd name="T18" fmla="*/ 12 w 27"/>
              <a:gd name="T19" fmla="*/ 16 h 16"/>
              <a:gd name="T20" fmla="*/ 7 w 27"/>
              <a:gd name="T21" fmla="*/ 12 h 16"/>
              <a:gd name="T22" fmla="*/ 0 w 27"/>
              <a:gd name="T23" fmla="*/ 12 h 16"/>
              <a:gd name="T24" fmla="*/ 0 w 27"/>
              <a:gd name="T25" fmla="*/ 12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7" h="16">
                <a:moveTo>
                  <a:pt x="0" y="12"/>
                </a:moveTo>
                <a:lnTo>
                  <a:pt x="3" y="3"/>
                </a:lnTo>
                <a:lnTo>
                  <a:pt x="13" y="0"/>
                </a:lnTo>
                <a:lnTo>
                  <a:pt x="16" y="0"/>
                </a:lnTo>
                <a:lnTo>
                  <a:pt x="21" y="3"/>
                </a:lnTo>
                <a:lnTo>
                  <a:pt x="25" y="3"/>
                </a:lnTo>
                <a:lnTo>
                  <a:pt x="27" y="8"/>
                </a:lnTo>
                <a:lnTo>
                  <a:pt x="16" y="8"/>
                </a:lnTo>
                <a:lnTo>
                  <a:pt x="16" y="14"/>
                </a:lnTo>
                <a:lnTo>
                  <a:pt x="12" y="16"/>
                </a:lnTo>
                <a:lnTo>
                  <a:pt x="7" y="12"/>
                </a:lnTo>
                <a:lnTo>
                  <a:pt x="0" y="12"/>
                </a:lnTo>
                <a:lnTo>
                  <a:pt x="0" y="1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/>
          </a:p>
        </p:txBody>
      </p:sp>
      <p:sp>
        <p:nvSpPr>
          <p:cNvPr id="2286" name="Freeform 642"/>
          <p:cNvSpPr>
            <a:spLocks/>
          </p:cNvSpPr>
          <p:nvPr userDrawn="1"/>
        </p:nvSpPr>
        <p:spPr bwMode="auto">
          <a:xfrm>
            <a:off x="8202613" y="6000750"/>
            <a:ext cx="42862" cy="33338"/>
          </a:xfrm>
          <a:custGeom>
            <a:avLst/>
            <a:gdLst>
              <a:gd name="T0" fmla="*/ 27 w 27"/>
              <a:gd name="T1" fmla="*/ 1 h 21"/>
              <a:gd name="T2" fmla="*/ 21 w 27"/>
              <a:gd name="T3" fmla="*/ 0 h 21"/>
              <a:gd name="T4" fmla="*/ 18 w 27"/>
              <a:gd name="T5" fmla="*/ 0 h 21"/>
              <a:gd name="T6" fmla="*/ 8 w 27"/>
              <a:gd name="T7" fmla="*/ 1 h 21"/>
              <a:gd name="T8" fmla="*/ 0 w 27"/>
              <a:gd name="T9" fmla="*/ 9 h 21"/>
              <a:gd name="T10" fmla="*/ 0 w 27"/>
              <a:gd name="T11" fmla="*/ 16 h 21"/>
              <a:gd name="T12" fmla="*/ 5 w 27"/>
              <a:gd name="T13" fmla="*/ 21 h 21"/>
              <a:gd name="T14" fmla="*/ 3 w 27"/>
              <a:gd name="T15" fmla="*/ 10 h 21"/>
              <a:gd name="T16" fmla="*/ 12 w 27"/>
              <a:gd name="T17" fmla="*/ 6 h 21"/>
              <a:gd name="T18" fmla="*/ 20 w 27"/>
              <a:gd name="T19" fmla="*/ 7 h 21"/>
              <a:gd name="T20" fmla="*/ 23 w 27"/>
              <a:gd name="T21" fmla="*/ 4 h 21"/>
              <a:gd name="T22" fmla="*/ 27 w 27"/>
              <a:gd name="T23" fmla="*/ 1 h 21"/>
              <a:gd name="T24" fmla="*/ 27 w 27"/>
              <a:gd name="T25" fmla="*/ 1 h 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7" h="21">
                <a:moveTo>
                  <a:pt x="27" y="1"/>
                </a:moveTo>
                <a:lnTo>
                  <a:pt x="21" y="0"/>
                </a:lnTo>
                <a:lnTo>
                  <a:pt x="18" y="0"/>
                </a:lnTo>
                <a:lnTo>
                  <a:pt x="8" y="1"/>
                </a:lnTo>
                <a:lnTo>
                  <a:pt x="0" y="9"/>
                </a:lnTo>
                <a:lnTo>
                  <a:pt x="0" y="16"/>
                </a:lnTo>
                <a:lnTo>
                  <a:pt x="5" y="21"/>
                </a:lnTo>
                <a:lnTo>
                  <a:pt x="3" y="10"/>
                </a:lnTo>
                <a:lnTo>
                  <a:pt x="12" y="6"/>
                </a:lnTo>
                <a:lnTo>
                  <a:pt x="20" y="7"/>
                </a:lnTo>
                <a:lnTo>
                  <a:pt x="23" y="4"/>
                </a:lnTo>
                <a:lnTo>
                  <a:pt x="27" y="1"/>
                </a:lnTo>
                <a:lnTo>
                  <a:pt x="27" y="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/>
          </a:p>
        </p:txBody>
      </p:sp>
      <p:sp>
        <p:nvSpPr>
          <p:cNvPr id="2287" name="Freeform 643"/>
          <p:cNvSpPr>
            <a:spLocks/>
          </p:cNvSpPr>
          <p:nvPr userDrawn="1"/>
        </p:nvSpPr>
        <p:spPr bwMode="auto">
          <a:xfrm>
            <a:off x="8196263" y="5976937"/>
            <a:ext cx="15875" cy="19050"/>
          </a:xfrm>
          <a:custGeom>
            <a:avLst/>
            <a:gdLst>
              <a:gd name="T0" fmla="*/ 10 w 10"/>
              <a:gd name="T1" fmla="*/ 9 h 12"/>
              <a:gd name="T2" fmla="*/ 3 w 10"/>
              <a:gd name="T3" fmla="*/ 12 h 12"/>
              <a:gd name="T4" fmla="*/ 1 w 10"/>
              <a:gd name="T5" fmla="*/ 10 h 12"/>
              <a:gd name="T6" fmla="*/ 4 w 10"/>
              <a:gd name="T7" fmla="*/ 4 h 12"/>
              <a:gd name="T8" fmla="*/ 0 w 10"/>
              <a:gd name="T9" fmla="*/ 4 h 12"/>
              <a:gd name="T10" fmla="*/ 1 w 10"/>
              <a:gd name="T11" fmla="*/ 0 h 12"/>
              <a:gd name="T12" fmla="*/ 7 w 10"/>
              <a:gd name="T13" fmla="*/ 1 h 12"/>
              <a:gd name="T14" fmla="*/ 10 w 10"/>
              <a:gd name="T15" fmla="*/ 9 h 12"/>
              <a:gd name="T16" fmla="*/ 10 w 10"/>
              <a:gd name="T17" fmla="*/ 9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0" h="12">
                <a:moveTo>
                  <a:pt x="10" y="9"/>
                </a:moveTo>
                <a:lnTo>
                  <a:pt x="3" y="12"/>
                </a:lnTo>
                <a:lnTo>
                  <a:pt x="1" y="10"/>
                </a:lnTo>
                <a:lnTo>
                  <a:pt x="4" y="4"/>
                </a:lnTo>
                <a:lnTo>
                  <a:pt x="0" y="4"/>
                </a:lnTo>
                <a:lnTo>
                  <a:pt x="1" y="0"/>
                </a:lnTo>
                <a:lnTo>
                  <a:pt x="7" y="1"/>
                </a:lnTo>
                <a:lnTo>
                  <a:pt x="10" y="9"/>
                </a:lnTo>
                <a:lnTo>
                  <a:pt x="10" y="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/>
          </a:p>
        </p:txBody>
      </p:sp>
      <p:sp>
        <p:nvSpPr>
          <p:cNvPr id="2288" name="Freeform 644"/>
          <p:cNvSpPr>
            <a:spLocks/>
          </p:cNvSpPr>
          <p:nvPr userDrawn="1"/>
        </p:nvSpPr>
        <p:spPr bwMode="auto">
          <a:xfrm>
            <a:off x="8177213" y="5948362"/>
            <a:ext cx="9525" cy="14288"/>
          </a:xfrm>
          <a:custGeom>
            <a:avLst/>
            <a:gdLst>
              <a:gd name="T0" fmla="*/ 4 w 6"/>
              <a:gd name="T1" fmla="*/ 9 h 9"/>
              <a:gd name="T2" fmla="*/ 0 w 6"/>
              <a:gd name="T3" fmla="*/ 9 h 9"/>
              <a:gd name="T4" fmla="*/ 0 w 6"/>
              <a:gd name="T5" fmla="*/ 6 h 9"/>
              <a:gd name="T6" fmla="*/ 1 w 6"/>
              <a:gd name="T7" fmla="*/ 0 h 9"/>
              <a:gd name="T8" fmla="*/ 6 w 6"/>
              <a:gd name="T9" fmla="*/ 4 h 9"/>
              <a:gd name="T10" fmla="*/ 4 w 6"/>
              <a:gd name="T11" fmla="*/ 9 h 9"/>
              <a:gd name="T12" fmla="*/ 4 w 6"/>
              <a:gd name="T13" fmla="*/ 9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6" h="9">
                <a:moveTo>
                  <a:pt x="4" y="9"/>
                </a:moveTo>
                <a:lnTo>
                  <a:pt x="0" y="9"/>
                </a:lnTo>
                <a:lnTo>
                  <a:pt x="0" y="6"/>
                </a:lnTo>
                <a:lnTo>
                  <a:pt x="1" y="0"/>
                </a:lnTo>
                <a:lnTo>
                  <a:pt x="6" y="4"/>
                </a:lnTo>
                <a:lnTo>
                  <a:pt x="4" y="9"/>
                </a:lnTo>
                <a:lnTo>
                  <a:pt x="4" y="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/>
          </a:p>
        </p:txBody>
      </p:sp>
      <p:sp>
        <p:nvSpPr>
          <p:cNvPr id="2289" name="Freeform 645"/>
          <p:cNvSpPr>
            <a:spLocks/>
          </p:cNvSpPr>
          <p:nvPr userDrawn="1"/>
        </p:nvSpPr>
        <p:spPr bwMode="auto">
          <a:xfrm>
            <a:off x="8145463" y="5900737"/>
            <a:ext cx="12700" cy="6350"/>
          </a:xfrm>
          <a:custGeom>
            <a:avLst/>
            <a:gdLst>
              <a:gd name="T0" fmla="*/ 0 w 8"/>
              <a:gd name="T1" fmla="*/ 4 h 4"/>
              <a:gd name="T2" fmla="*/ 3 w 8"/>
              <a:gd name="T3" fmla="*/ 0 h 4"/>
              <a:gd name="T4" fmla="*/ 8 w 8"/>
              <a:gd name="T5" fmla="*/ 4 h 4"/>
              <a:gd name="T6" fmla="*/ 0 w 8"/>
              <a:gd name="T7" fmla="*/ 4 h 4"/>
              <a:gd name="T8" fmla="*/ 0 w 8"/>
              <a:gd name="T9" fmla="*/ 4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8" h="4">
                <a:moveTo>
                  <a:pt x="0" y="4"/>
                </a:moveTo>
                <a:lnTo>
                  <a:pt x="3" y="0"/>
                </a:lnTo>
                <a:lnTo>
                  <a:pt x="8" y="4"/>
                </a:lnTo>
                <a:lnTo>
                  <a:pt x="0" y="4"/>
                </a:lnTo>
                <a:lnTo>
                  <a:pt x="0" y="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/>
          </a:p>
        </p:txBody>
      </p:sp>
      <p:sp>
        <p:nvSpPr>
          <p:cNvPr id="2290" name="Freeform 646"/>
          <p:cNvSpPr>
            <a:spLocks/>
          </p:cNvSpPr>
          <p:nvPr userDrawn="1"/>
        </p:nvSpPr>
        <p:spPr bwMode="auto">
          <a:xfrm>
            <a:off x="8277226" y="6056312"/>
            <a:ext cx="60325" cy="68263"/>
          </a:xfrm>
          <a:custGeom>
            <a:avLst/>
            <a:gdLst>
              <a:gd name="T0" fmla="*/ 38 w 38"/>
              <a:gd name="T1" fmla="*/ 0 h 43"/>
              <a:gd name="T2" fmla="*/ 24 w 38"/>
              <a:gd name="T3" fmla="*/ 6 h 43"/>
              <a:gd name="T4" fmla="*/ 15 w 38"/>
              <a:gd name="T5" fmla="*/ 9 h 43"/>
              <a:gd name="T6" fmla="*/ 6 w 38"/>
              <a:gd name="T7" fmla="*/ 21 h 43"/>
              <a:gd name="T8" fmla="*/ 3 w 38"/>
              <a:gd name="T9" fmla="*/ 30 h 43"/>
              <a:gd name="T10" fmla="*/ 0 w 38"/>
              <a:gd name="T11" fmla="*/ 33 h 43"/>
              <a:gd name="T12" fmla="*/ 8 w 38"/>
              <a:gd name="T13" fmla="*/ 33 h 43"/>
              <a:gd name="T14" fmla="*/ 6 w 38"/>
              <a:gd name="T15" fmla="*/ 43 h 43"/>
              <a:gd name="T16" fmla="*/ 20 w 38"/>
              <a:gd name="T17" fmla="*/ 39 h 43"/>
              <a:gd name="T18" fmla="*/ 27 w 38"/>
              <a:gd name="T19" fmla="*/ 24 h 43"/>
              <a:gd name="T20" fmla="*/ 29 w 38"/>
              <a:gd name="T21" fmla="*/ 13 h 43"/>
              <a:gd name="T22" fmla="*/ 38 w 38"/>
              <a:gd name="T23" fmla="*/ 7 h 43"/>
              <a:gd name="T24" fmla="*/ 38 w 38"/>
              <a:gd name="T25" fmla="*/ 0 h 43"/>
              <a:gd name="T26" fmla="*/ 38 w 38"/>
              <a:gd name="T27" fmla="*/ 0 h 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38" h="43">
                <a:moveTo>
                  <a:pt x="38" y="0"/>
                </a:moveTo>
                <a:lnTo>
                  <a:pt x="24" y="6"/>
                </a:lnTo>
                <a:lnTo>
                  <a:pt x="15" y="9"/>
                </a:lnTo>
                <a:lnTo>
                  <a:pt x="6" y="21"/>
                </a:lnTo>
                <a:lnTo>
                  <a:pt x="3" y="30"/>
                </a:lnTo>
                <a:lnTo>
                  <a:pt x="0" y="33"/>
                </a:lnTo>
                <a:lnTo>
                  <a:pt x="8" y="33"/>
                </a:lnTo>
                <a:lnTo>
                  <a:pt x="6" y="43"/>
                </a:lnTo>
                <a:lnTo>
                  <a:pt x="20" y="39"/>
                </a:lnTo>
                <a:lnTo>
                  <a:pt x="27" y="24"/>
                </a:lnTo>
                <a:lnTo>
                  <a:pt x="29" y="13"/>
                </a:lnTo>
                <a:lnTo>
                  <a:pt x="38" y="7"/>
                </a:lnTo>
                <a:lnTo>
                  <a:pt x="38" y="0"/>
                </a:lnTo>
                <a:lnTo>
                  <a:pt x="38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/>
          </a:p>
        </p:txBody>
      </p:sp>
      <p:sp>
        <p:nvSpPr>
          <p:cNvPr id="2291" name="Freeform 647"/>
          <p:cNvSpPr>
            <a:spLocks/>
          </p:cNvSpPr>
          <p:nvPr userDrawn="1"/>
        </p:nvSpPr>
        <p:spPr bwMode="auto">
          <a:xfrm>
            <a:off x="8739188" y="6137275"/>
            <a:ext cx="239712" cy="142875"/>
          </a:xfrm>
          <a:custGeom>
            <a:avLst/>
            <a:gdLst>
              <a:gd name="T0" fmla="*/ 103 w 151"/>
              <a:gd name="T1" fmla="*/ 26 h 90"/>
              <a:gd name="T2" fmla="*/ 118 w 151"/>
              <a:gd name="T3" fmla="*/ 18 h 90"/>
              <a:gd name="T4" fmla="*/ 130 w 151"/>
              <a:gd name="T5" fmla="*/ 9 h 90"/>
              <a:gd name="T6" fmla="*/ 139 w 151"/>
              <a:gd name="T7" fmla="*/ 6 h 90"/>
              <a:gd name="T8" fmla="*/ 145 w 151"/>
              <a:gd name="T9" fmla="*/ 0 h 90"/>
              <a:gd name="T10" fmla="*/ 151 w 151"/>
              <a:gd name="T11" fmla="*/ 0 h 90"/>
              <a:gd name="T12" fmla="*/ 148 w 151"/>
              <a:gd name="T13" fmla="*/ 6 h 90"/>
              <a:gd name="T14" fmla="*/ 139 w 151"/>
              <a:gd name="T15" fmla="*/ 9 h 90"/>
              <a:gd name="T16" fmla="*/ 139 w 151"/>
              <a:gd name="T17" fmla="*/ 15 h 90"/>
              <a:gd name="T18" fmla="*/ 128 w 151"/>
              <a:gd name="T19" fmla="*/ 21 h 90"/>
              <a:gd name="T20" fmla="*/ 122 w 151"/>
              <a:gd name="T21" fmla="*/ 26 h 90"/>
              <a:gd name="T22" fmla="*/ 115 w 151"/>
              <a:gd name="T23" fmla="*/ 35 h 90"/>
              <a:gd name="T24" fmla="*/ 106 w 151"/>
              <a:gd name="T25" fmla="*/ 42 h 90"/>
              <a:gd name="T26" fmla="*/ 107 w 151"/>
              <a:gd name="T27" fmla="*/ 50 h 90"/>
              <a:gd name="T28" fmla="*/ 113 w 151"/>
              <a:gd name="T29" fmla="*/ 57 h 90"/>
              <a:gd name="T30" fmla="*/ 115 w 151"/>
              <a:gd name="T31" fmla="*/ 63 h 90"/>
              <a:gd name="T32" fmla="*/ 110 w 151"/>
              <a:gd name="T33" fmla="*/ 63 h 90"/>
              <a:gd name="T34" fmla="*/ 109 w 151"/>
              <a:gd name="T35" fmla="*/ 59 h 90"/>
              <a:gd name="T36" fmla="*/ 103 w 151"/>
              <a:gd name="T37" fmla="*/ 60 h 90"/>
              <a:gd name="T38" fmla="*/ 98 w 151"/>
              <a:gd name="T39" fmla="*/ 60 h 90"/>
              <a:gd name="T40" fmla="*/ 94 w 151"/>
              <a:gd name="T41" fmla="*/ 65 h 90"/>
              <a:gd name="T42" fmla="*/ 88 w 151"/>
              <a:gd name="T43" fmla="*/ 72 h 90"/>
              <a:gd name="T44" fmla="*/ 72 w 151"/>
              <a:gd name="T45" fmla="*/ 81 h 90"/>
              <a:gd name="T46" fmla="*/ 59 w 151"/>
              <a:gd name="T47" fmla="*/ 83 h 90"/>
              <a:gd name="T48" fmla="*/ 48 w 151"/>
              <a:gd name="T49" fmla="*/ 81 h 90"/>
              <a:gd name="T50" fmla="*/ 44 w 151"/>
              <a:gd name="T51" fmla="*/ 86 h 90"/>
              <a:gd name="T52" fmla="*/ 45 w 151"/>
              <a:gd name="T53" fmla="*/ 90 h 90"/>
              <a:gd name="T54" fmla="*/ 39 w 151"/>
              <a:gd name="T55" fmla="*/ 89 h 90"/>
              <a:gd name="T56" fmla="*/ 30 w 151"/>
              <a:gd name="T57" fmla="*/ 87 h 90"/>
              <a:gd name="T58" fmla="*/ 14 w 151"/>
              <a:gd name="T59" fmla="*/ 86 h 90"/>
              <a:gd name="T60" fmla="*/ 11 w 151"/>
              <a:gd name="T61" fmla="*/ 81 h 90"/>
              <a:gd name="T62" fmla="*/ 8 w 151"/>
              <a:gd name="T63" fmla="*/ 74 h 90"/>
              <a:gd name="T64" fmla="*/ 2 w 151"/>
              <a:gd name="T65" fmla="*/ 69 h 90"/>
              <a:gd name="T66" fmla="*/ 2 w 151"/>
              <a:gd name="T67" fmla="*/ 62 h 90"/>
              <a:gd name="T68" fmla="*/ 0 w 151"/>
              <a:gd name="T69" fmla="*/ 56 h 90"/>
              <a:gd name="T70" fmla="*/ 8 w 151"/>
              <a:gd name="T71" fmla="*/ 57 h 90"/>
              <a:gd name="T72" fmla="*/ 12 w 151"/>
              <a:gd name="T73" fmla="*/ 60 h 90"/>
              <a:gd name="T74" fmla="*/ 18 w 151"/>
              <a:gd name="T75" fmla="*/ 48 h 90"/>
              <a:gd name="T76" fmla="*/ 30 w 151"/>
              <a:gd name="T77" fmla="*/ 44 h 90"/>
              <a:gd name="T78" fmla="*/ 44 w 151"/>
              <a:gd name="T79" fmla="*/ 45 h 90"/>
              <a:gd name="T80" fmla="*/ 44 w 151"/>
              <a:gd name="T81" fmla="*/ 41 h 90"/>
              <a:gd name="T82" fmla="*/ 42 w 151"/>
              <a:gd name="T83" fmla="*/ 32 h 90"/>
              <a:gd name="T84" fmla="*/ 51 w 151"/>
              <a:gd name="T85" fmla="*/ 32 h 90"/>
              <a:gd name="T86" fmla="*/ 56 w 151"/>
              <a:gd name="T87" fmla="*/ 36 h 90"/>
              <a:gd name="T88" fmla="*/ 68 w 151"/>
              <a:gd name="T89" fmla="*/ 38 h 90"/>
              <a:gd name="T90" fmla="*/ 80 w 151"/>
              <a:gd name="T91" fmla="*/ 33 h 90"/>
              <a:gd name="T92" fmla="*/ 103 w 151"/>
              <a:gd name="T93" fmla="*/ 26 h 90"/>
              <a:gd name="T94" fmla="*/ 103 w 151"/>
              <a:gd name="T95" fmla="*/ 26 h 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51" h="90">
                <a:moveTo>
                  <a:pt x="103" y="26"/>
                </a:moveTo>
                <a:lnTo>
                  <a:pt x="118" y="18"/>
                </a:lnTo>
                <a:lnTo>
                  <a:pt x="130" y="9"/>
                </a:lnTo>
                <a:lnTo>
                  <a:pt x="139" y="6"/>
                </a:lnTo>
                <a:lnTo>
                  <a:pt x="145" y="0"/>
                </a:lnTo>
                <a:lnTo>
                  <a:pt x="151" y="0"/>
                </a:lnTo>
                <a:lnTo>
                  <a:pt x="148" y="6"/>
                </a:lnTo>
                <a:lnTo>
                  <a:pt x="139" y="9"/>
                </a:lnTo>
                <a:lnTo>
                  <a:pt x="139" y="15"/>
                </a:lnTo>
                <a:lnTo>
                  <a:pt x="128" y="21"/>
                </a:lnTo>
                <a:lnTo>
                  <a:pt x="122" y="26"/>
                </a:lnTo>
                <a:lnTo>
                  <a:pt x="115" y="35"/>
                </a:lnTo>
                <a:lnTo>
                  <a:pt x="106" y="42"/>
                </a:lnTo>
                <a:lnTo>
                  <a:pt x="107" y="50"/>
                </a:lnTo>
                <a:lnTo>
                  <a:pt x="113" y="57"/>
                </a:lnTo>
                <a:lnTo>
                  <a:pt x="115" y="63"/>
                </a:lnTo>
                <a:lnTo>
                  <a:pt x="110" y="63"/>
                </a:lnTo>
                <a:lnTo>
                  <a:pt x="109" y="59"/>
                </a:lnTo>
                <a:lnTo>
                  <a:pt x="103" y="60"/>
                </a:lnTo>
                <a:lnTo>
                  <a:pt x="98" y="60"/>
                </a:lnTo>
                <a:lnTo>
                  <a:pt x="94" y="65"/>
                </a:lnTo>
                <a:lnTo>
                  <a:pt x="88" y="72"/>
                </a:lnTo>
                <a:lnTo>
                  <a:pt x="72" y="81"/>
                </a:lnTo>
                <a:lnTo>
                  <a:pt x="59" y="83"/>
                </a:lnTo>
                <a:lnTo>
                  <a:pt x="48" y="81"/>
                </a:lnTo>
                <a:lnTo>
                  <a:pt x="44" y="86"/>
                </a:lnTo>
                <a:lnTo>
                  <a:pt x="45" y="90"/>
                </a:lnTo>
                <a:lnTo>
                  <a:pt x="39" y="89"/>
                </a:lnTo>
                <a:lnTo>
                  <a:pt x="30" y="87"/>
                </a:lnTo>
                <a:lnTo>
                  <a:pt x="14" y="86"/>
                </a:lnTo>
                <a:lnTo>
                  <a:pt x="11" y="81"/>
                </a:lnTo>
                <a:lnTo>
                  <a:pt x="8" y="74"/>
                </a:lnTo>
                <a:lnTo>
                  <a:pt x="2" y="69"/>
                </a:lnTo>
                <a:lnTo>
                  <a:pt x="2" y="62"/>
                </a:lnTo>
                <a:lnTo>
                  <a:pt x="0" y="56"/>
                </a:lnTo>
                <a:lnTo>
                  <a:pt x="8" y="57"/>
                </a:lnTo>
                <a:lnTo>
                  <a:pt x="12" y="60"/>
                </a:lnTo>
                <a:lnTo>
                  <a:pt x="18" y="48"/>
                </a:lnTo>
                <a:lnTo>
                  <a:pt x="30" y="44"/>
                </a:lnTo>
                <a:lnTo>
                  <a:pt x="44" y="45"/>
                </a:lnTo>
                <a:lnTo>
                  <a:pt x="44" y="41"/>
                </a:lnTo>
                <a:lnTo>
                  <a:pt x="42" y="32"/>
                </a:lnTo>
                <a:lnTo>
                  <a:pt x="51" y="32"/>
                </a:lnTo>
                <a:lnTo>
                  <a:pt x="56" y="36"/>
                </a:lnTo>
                <a:lnTo>
                  <a:pt x="68" y="38"/>
                </a:lnTo>
                <a:lnTo>
                  <a:pt x="80" y="33"/>
                </a:lnTo>
                <a:lnTo>
                  <a:pt x="103" y="26"/>
                </a:lnTo>
                <a:lnTo>
                  <a:pt x="103" y="2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/>
          </a:p>
        </p:txBody>
      </p:sp>
      <p:sp>
        <p:nvSpPr>
          <p:cNvPr id="2292" name="Freeform 648"/>
          <p:cNvSpPr>
            <a:spLocks/>
          </p:cNvSpPr>
          <p:nvPr userDrawn="1"/>
        </p:nvSpPr>
        <p:spPr bwMode="auto">
          <a:xfrm>
            <a:off x="4522789" y="-325439"/>
            <a:ext cx="7669211" cy="7180264"/>
          </a:xfrm>
          <a:custGeom>
            <a:avLst/>
            <a:gdLst>
              <a:gd name="T0" fmla="*/ 2778 w 4831"/>
              <a:gd name="T1" fmla="*/ 4006 h 4523"/>
              <a:gd name="T2" fmla="*/ 2392 w 4831"/>
              <a:gd name="T3" fmla="*/ 3982 h 4523"/>
              <a:gd name="T4" fmla="*/ 2312 w 4831"/>
              <a:gd name="T5" fmla="*/ 3858 h 4523"/>
              <a:gd name="T6" fmla="*/ 2442 w 4831"/>
              <a:gd name="T7" fmla="*/ 3695 h 4523"/>
              <a:gd name="T8" fmla="*/ 2989 w 4831"/>
              <a:gd name="T9" fmla="*/ 3641 h 4523"/>
              <a:gd name="T10" fmla="*/ 3018 w 4831"/>
              <a:gd name="T11" fmla="*/ 3217 h 4523"/>
              <a:gd name="T12" fmla="*/ 2911 w 4831"/>
              <a:gd name="T13" fmla="*/ 3158 h 4523"/>
              <a:gd name="T14" fmla="*/ 2869 w 4831"/>
              <a:gd name="T15" fmla="*/ 3273 h 4523"/>
              <a:gd name="T16" fmla="*/ 2688 w 4831"/>
              <a:gd name="T17" fmla="*/ 3253 h 4523"/>
              <a:gd name="T18" fmla="*/ 2630 w 4831"/>
              <a:gd name="T19" fmla="*/ 3140 h 4523"/>
              <a:gd name="T20" fmla="*/ 2487 w 4831"/>
              <a:gd name="T21" fmla="*/ 3291 h 4523"/>
              <a:gd name="T22" fmla="*/ 2353 w 4831"/>
              <a:gd name="T23" fmla="*/ 3528 h 4523"/>
              <a:gd name="T24" fmla="*/ 2190 w 4831"/>
              <a:gd name="T25" fmla="*/ 3645 h 4523"/>
              <a:gd name="T26" fmla="*/ 2086 w 4831"/>
              <a:gd name="T27" fmla="*/ 3793 h 4523"/>
              <a:gd name="T28" fmla="*/ 2009 w 4831"/>
              <a:gd name="T29" fmla="*/ 3866 h 4523"/>
              <a:gd name="T30" fmla="*/ 1834 w 4831"/>
              <a:gd name="T31" fmla="*/ 3642 h 4523"/>
              <a:gd name="T32" fmla="*/ 1569 w 4831"/>
              <a:gd name="T33" fmla="*/ 3366 h 4523"/>
              <a:gd name="T34" fmla="*/ 1621 w 4831"/>
              <a:gd name="T35" fmla="*/ 3584 h 4523"/>
              <a:gd name="T36" fmla="*/ 1492 w 4831"/>
              <a:gd name="T37" fmla="*/ 3659 h 4523"/>
              <a:gd name="T38" fmla="*/ 796 w 4831"/>
              <a:gd name="T39" fmla="*/ 3520 h 4523"/>
              <a:gd name="T40" fmla="*/ 238 w 4831"/>
              <a:gd name="T41" fmla="*/ 4047 h 4523"/>
              <a:gd name="T42" fmla="*/ 50 w 4831"/>
              <a:gd name="T43" fmla="*/ 3544 h 4523"/>
              <a:gd name="T44" fmla="*/ 495 w 4831"/>
              <a:gd name="T45" fmla="*/ 3451 h 4523"/>
              <a:gd name="T46" fmla="*/ 347 w 4831"/>
              <a:gd name="T47" fmla="*/ 3046 h 4523"/>
              <a:gd name="T48" fmla="*/ 519 w 4831"/>
              <a:gd name="T49" fmla="*/ 2874 h 4523"/>
              <a:gd name="T50" fmla="*/ 857 w 4831"/>
              <a:gd name="T51" fmla="*/ 2680 h 4523"/>
              <a:gd name="T52" fmla="*/ 922 w 4831"/>
              <a:gd name="T53" fmla="*/ 2546 h 4523"/>
              <a:gd name="T54" fmla="*/ 1054 w 4831"/>
              <a:gd name="T55" fmla="*/ 2484 h 4523"/>
              <a:gd name="T56" fmla="*/ 1133 w 4831"/>
              <a:gd name="T57" fmla="*/ 2327 h 4523"/>
              <a:gd name="T58" fmla="*/ 1244 w 4831"/>
              <a:gd name="T59" fmla="*/ 2122 h 4523"/>
              <a:gd name="T60" fmla="*/ 1208 w 4831"/>
              <a:gd name="T61" fmla="*/ 2340 h 4523"/>
              <a:gd name="T62" fmla="*/ 1508 w 4831"/>
              <a:gd name="T63" fmla="*/ 2455 h 4523"/>
              <a:gd name="T64" fmla="*/ 1908 w 4831"/>
              <a:gd name="T65" fmla="*/ 2306 h 4523"/>
              <a:gd name="T66" fmla="*/ 2101 w 4831"/>
              <a:gd name="T67" fmla="*/ 1933 h 4523"/>
              <a:gd name="T68" fmla="*/ 2440 w 4831"/>
              <a:gd name="T69" fmla="*/ 1707 h 4523"/>
              <a:gd name="T70" fmla="*/ 2047 w 4831"/>
              <a:gd name="T71" fmla="*/ 1695 h 4523"/>
              <a:gd name="T72" fmla="*/ 2107 w 4831"/>
              <a:gd name="T73" fmla="*/ 1151 h 4523"/>
              <a:gd name="T74" fmla="*/ 1941 w 4831"/>
              <a:gd name="T75" fmla="*/ 1050 h 4523"/>
              <a:gd name="T76" fmla="*/ 1673 w 4831"/>
              <a:gd name="T77" fmla="*/ 1547 h 4523"/>
              <a:gd name="T78" fmla="*/ 1677 w 4831"/>
              <a:gd name="T79" fmla="*/ 1821 h 4523"/>
              <a:gd name="T80" fmla="*/ 1522 w 4831"/>
              <a:gd name="T81" fmla="*/ 2205 h 4523"/>
              <a:gd name="T82" fmla="*/ 1270 w 4831"/>
              <a:gd name="T83" fmla="*/ 1773 h 4523"/>
              <a:gd name="T84" fmla="*/ 976 w 4831"/>
              <a:gd name="T85" fmla="*/ 1833 h 4523"/>
              <a:gd name="T86" fmla="*/ 944 w 4831"/>
              <a:gd name="T87" fmla="*/ 1672 h 4523"/>
              <a:gd name="T88" fmla="*/ 944 w 4831"/>
              <a:gd name="T89" fmla="*/ 1505 h 4523"/>
              <a:gd name="T90" fmla="*/ 1066 w 4831"/>
              <a:gd name="T91" fmla="*/ 1336 h 4523"/>
              <a:gd name="T92" fmla="*/ 1256 w 4831"/>
              <a:gd name="T93" fmla="*/ 1123 h 4523"/>
              <a:gd name="T94" fmla="*/ 1395 w 4831"/>
              <a:gd name="T95" fmla="*/ 907 h 4523"/>
              <a:gd name="T96" fmla="*/ 1514 w 4831"/>
              <a:gd name="T97" fmla="*/ 670 h 4523"/>
              <a:gd name="T98" fmla="*/ 1653 w 4831"/>
              <a:gd name="T99" fmla="*/ 445 h 4523"/>
              <a:gd name="T100" fmla="*/ 1903 w 4831"/>
              <a:gd name="T101" fmla="*/ 236 h 4523"/>
              <a:gd name="T102" fmla="*/ 2142 w 4831"/>
              <a:gd name="T103" fmla="*/ 76 h 4523"/>
              <a:gd name="T104" fmla="*/ 2394 w 4831"/>
              <a:gd name="T105" fmla="*/ 38 h 4523"/>
              <a:gd name="T106" fmla="*/ 2483 w 4831"/>
              <a:gd name="T107" fmla="*/ 228 h 4523"/>
              <a:gd name="T108" fmla="*/ 2679 w 4831"/>
              <a:gd name="T109" fmla="*/ 412 h 4523"/>
              <a:gd name="T110" fmla="*/ 2878 w 4831"/>
              <a:gd name="T111" fmla="*/ 824 h 4523"/>
              <a:gd name="T112" fmla="*/ 2804 w 4831"/>
              <a:gd name="T113" fmla="*/ 1103 h 4523"/>
              <a:gd name="T114" fmla="*/ 2929 w 4831"/>
              <a:gd name="T115" fmla="*/ 1019 h 4523"/>
              <a:gd name="T116" fmla="*/ 3362 w 4831"/>
              <a:gd name="T117" fmla="*/ 848 h 4523"/>
              <a:gd name="T118" fmla="*/ 3499 w 4831"/>
              <a:gd name="T119" fmla="*/ 731 h 4523"/>
              <a:gd name="T120" fmla="*/ 4000 w 4831"/>
              <a:gd name="T121" fmla="*/ 415 h 4523"/>
              <a:gd name="T122" fmla="*/ 4047 w 4831"/>
              <a:gd name="T123" fmla="*/ 504 h 4523"/>
              <a:gd name="T124" fmla="*/ 4451 w 4831"/>
              <a:gd name="T125" fmla="*/ 222 h 45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4831" h="4523">
                <a:moveTo>
                  <a:pt x="2686" y="4522"/>
                </a:moveTo>
                <a:lnTo>
                  <a:pt x="2685" y="4504"/>
                </a:lnTo>
                <a:lnTo>
                  <a:pt x="2661" y="4486"/>
                </a:lnTo>
                <a:lnTo>
                  <a:pt x="2655" y="4472"/>
                </a:lnTo>
                <a:lnTo>
                  <a:pt x="2647" y="4462"/>
                </a:lnTo>
                <a:lnTo>
                  <a:pt x="2638" y="4433"/>
                </a:lnTo>
                <a:lnTo>
                  <a:pt x="2635" y="4421"/>
                </a:lnTo>
                <a:lnTo>
                  <a:pt x="2647" y="4415"/>
                </a:lnTo>
                <a:lnTo>
                  <a:pt x="2649" y="4415"/>
                </a:lnTo>
                <a:lnTo>
                  <a:pt x="2649" y="4410"/>
                </a:lnTo>
                <a:lnTo>
                  <a:pt x="2680" y="4422"/>
                </a:lnTo>
                <a:lnTo>
                  <a:pt x="2689" y="4418"/>
                </a:lnTo>
                <a:lnTo>
                  <a:pt x="2692" y="4413"/>
                </a:lnTo>
                <a:lnTo>
                  <a:pt x="2706" y="4412"/>
                </a:lnTo>
                <a:lnTo>
                  <a:pt x="2706" y="4413"/>
                </a:lnTo>
                <a:lnTo>
                  <a:pt x="2692" y="4422"/>
                </a:lnTo>
                <a:lnTo>
                  <a:pt x="2700" y="4428"/>
                </a:lnTo>
                <a:lnTo>
                  <a:pt x="2706" y="4419"/>
                </a:lnTo>
                <a:lnTo>
                  <a:pt x="2718" y="4427"/>
                </a:lnTo>
                <a:lnTo>
                  <a:pt x="2724" y="4422"/>
                </a:lnTo>
                <a:lnTo>
                  <a:pt x="2725" y="4415"/>
                </a:lnTo>
                <a:lnTo>
                  <a:pt x="2747" y="4416"/>
                </a:lnTo>
                <a:lnTo>
                  <a:pt x="2763" y="4412"/>
                </a:lnTo>
                <a:lnTo>
                  <a:pt x="2775" y="4395"/>
                </a:lnTo>
                <a:lnTo>
                  <a:pt x="2780" y="4391"/>
                </a:lnTo>
                <a:lnTo>
                  <a:pt x="2801" y="4368"/>
                </a:lnTo>
                <a:lnTo>
                  <a:pt x="2805" y="4350"/>
                </a:lnTo>
                <a:lnTo>
                  <a:pt x="2814" y="4335"/>
                </a:lnTo>
                <a:lnTo>
                  <a:pt x="2819" y="4294"/>
                </a:lnTo>
                <a:lnTo>
                  <a:pt x="2833" y="4273"/>
                </a:lnTo>
                <a:lnTo>
                  <a:pt x="2837" y="4249"/>
                </a:lnTo>
                <a:lnTo>
                  <a:pt x="2845" y="4237"/>
                </a:lnTo>
                <a:lnTo>
                  <a:pt x="2846" y="4226"/>
                </a:lnTo>
                <a:lnTo>
                  <a:pt x="2864" y="4192"/>
                </a:lnTo>
                <a:lnTo>
                  <a:pt x="2867" y="4175"/>
                </a:lnTo>
                <a:lnTo>
                  <a:pt x="2881" y="4161"/>
                </a:lnTo>
                <a:lnTo>
                  <a:pt x="2887" y="4149"/>
                </a:lnTo>
                <a:lnTo>
                  <a:pt x="2879" y="4122"/>
                </a:lnTo>
                <a:lnTo>
                  <a:pt x="2881" y="4109"/>
                </a:lnTo>
                <a:lnTo>
                  <a:pt x="2884" y="4101"/>
                </a:lnTo>
                <a:lnTo>
                  <a:pt x="2882" y="4084"/>
                </a:lnTo>
                <a:lnTo>
                  <a:pt x="2872" y="4078"/>
                </a:lnTo>
                <a:lnTo>
                  <a:pt x="2875" y="4068"/>
                </a:lnTo>
                <a:lnTo>
                  <a:pt x="2882" y="4057"/>
                </a:lnTo>
                <a:lnTo>
                  <a:pt x="2881" y="4053"/>
                </a:lnTo>
                <a:lnTo>
                  <a:pt x="2890" y="4045"/>
                </a:lnTo>
                <a:lnTo>
                  <a:pt x="2885" y="4038"/>
                </a:lnTo>
                <a:lnTo>
                  <a:pt x="2879" y="4029"/>
                </a:lnTo>
                <a:lnTo>
                  <a:pt x="2885" y="4012"/>
                </a:lnTo>
                <a:lnTo>
                  <a:pt x="2903" y="3997"/>
                </a:lnTo>
                <a:lnTo>
                  <a:pt x="2903" y="3983"/>
                </a:lnTo>
                <a:lnTo>
                  <a:pt x="2891" y="3976"/>
                </a:lnTo>
                <a:lnTo>
                  <a:pt x="2878" y="3986"/>
                </a:lnTo>
                <a:lnTo>
                  <a:pt x="2872" y="3997"/>
                </a:lnTo>
                <a:lnTo>
                  <a:pt x="2863" y="4004"/>
                </a:lnTo>
                <a:lnTo>
                  <a:pt x="2839" y="4001"/>
                </a:lnTo>
                <a:lnTo>
                  <a:pt x="2830" y="3992"/>
                </a:lnTo>
                <a:lnTo>
                  <a:pt x="2807" y="3986"/>
                </a:lnTo>
                <a:lnTo>
                  <a:pt x="2792" y="3998"/>
                </a:lnTo>
                <a:lnTo>
                  <a:pt x="2778" y="4006"/>
                </a:lnTo>
                <a:lnTo>
                  <a:pt x="2771" y="4023"/>
                </a:lnTo>
                <a:lnTo>
                  <a:pt x="2757" y="4026"/>
                </a:lnTo>
                <a:lnTo>
                  <a:pt x="2751" y="4038"/>
                </a:lnTo>
                <a:lnTo>
                  <a:pt x="2721" y="4041"/>
                </a:lnTo>
                <a:lnTo>
                  <a:pt x="2706" y="4039"/>
                </a:lnTo>
                <a:lnTo>
                  <a:pt x="2698" y="4045"/>
                </a:lnTo>
                <a:lnTo>
                  <a:pt x="2683" y="4050"/>
                </a:lnTo>
                <a:lnTo>
                  <a:pt x="2665" y="4039"/>
                </a:lnTo>
                <a:lnTo>
                  <a:pt x="2649" y="4018"/>
                </a:lnTo>
                <a:lnTo>
                  <a:pt x="2633" y="4012"/>
                </a:lnTo>
                <a:lnTo>
                  <a:pt x="2621" y="4000"/>
                </a:lnTo>
                <a:lnTo>
                  <a:pt x="2609" y="3998"/>
                </a:lnTo>
                <a:lnTo>
                  <a:pt x="2593" y="3988"/>
                </a:lnTo>
                <a:lnTo>
                  <a:pt x="2567" y="3986"/>
                </a:lnTo>
                <a:lnTo>
                  <a:pt x="2557" y="3995"/>
                </a:lnTo>
                <a:lnTo>
                  <a:pt x="2554" y="4007"/>
                </a:lnTo>
                <a:lnTo>
                  <a:pt x="2552" y="4017"/>
                </a:lnTo>
                <a:lnTo>
                  <a:pt x="2537" y="4032"/>
                </a:lnTo>
                <a:lnTo>
                  <a:pt x="2528" y="4032"/>
                </a:lnTo>
                <a:lnTo>
                  <a:pt x="2529" y="4027"/>
                </a:lnTo>
                <a:lnTo>
                  <a:pt x="2525" y="4027"/>
                </a:lnTo>
                <a:lnTo>
                  <a:pt x="2520" y="4038"/>
                </a:lnTo>
                <a:lnTo>
                  <a:pt x="2511" y="4041"/>
                </a:lnTo>
                <a:lnTo>
                  <a:pt x="2501" y="4045"/>
                </a:lnTo>
                <a:lnTo>
                  <a:pt x="2483" y="4042"/>
                </a:lnTo>
                <a:lnTo>
                  <a:pt x="2469" y="4032"/>
                </a:lnTo>
                <a:lnTo>
                  <a:pt x="2452" y="4014"/>
                </a:lnTo>
                <a:lnTo>
                  <a:pt x="2451" y="4001"/>
                </a:lnTo>
                <a:lnTo>
                  <a:pt x="2440" y="3997"/>
                </a:lnTo>
                <a:lnTo>
                  <a:pt x="2443" y="4009"/>
                </a:lnTo>
                <a:lnTo>
                  <a:pt x="2431" y="4011"/>
                </a:lnTo>
                <a:lnTo>
                  <a:pt x="2422" y="4001"/>
                </a:lnTo>
                <a:lnTo>
                  <a:pt x="2418" y="3992"/>
                </a:lnTo>
                <a:lnTo>
                  <a:pt x="2412" y="3994"/>
                </a:lnTo>
                <a:lnTo>
                  <a:pt x="2404" y="3988"/>
                </a:lnTo>
                <a:lnTo>
                  <a:pt x="2400" y="3997"/>
                </a:lnTo>
                <a:lnTo>
                  <a:pt x="2401" y="4007"/>
                </a:lnTo>
                <a:lnTo>
                  <a:pt x="2394" y="4017"/>
                </a:lnTo>
                <a:lnTo>
                  <a:pt x="2389" y="4021"/>
                </a:lnTo>
                <a:lnTo>
                  <a:pt x="2385" y="4021"/>
                </a:lnTo>
                <a:lnTo>
                  <a:pt x="2391" y="4012"/>
                </a:lnTo>
                <a:lnTo>
                  <a:pt x="2386" y="4011"/>
                </a:lnTo>
                <a:lnTo>
                  <a:pt x="2382" y="4015"/>
                </a:lnTo>
                <a:lnTo>
                  <a:pt x="2382" y="4006"/>
                </a:lnTo>
                <a:lnTo>
                  <a:pt x="2388" y="4000"/>
                </a:lnTo>
                <a:lnTo>
                  <a:pt x="2385" y="3998"/>
                </a:lnTo>
                <a:lnTo>
                  <a:pt x="2373" y="4000"/>
                </a:lnTo>
                <a:lnTo>
                  <a:pt x="2362" y="4007"/>
                </a:lnTo>
                <a:lnTo>
                  <a:pt x="2351" y="4004"/>
                </a:lnTo>
                <a:lnTo>
                  <a:pt x="2348" y="4007"/>
                </a:lnTo>
                <a:lnTo>
                  <a:pt x="2345" y="4006"/>
                </a:lnTo>
                <a:lnTo>
                  <a:pt x="2345" y="4000"/>
                </a:lnTo>
                <a:lnTo>
                  <a:pt x="2351" y="3995"/>
                </a:lnTo>
                <a:lnTo>
                  <a:pt x="2362" y="3994"/>
                </a:lnTo>
                <a:lnTo>
                  <a:pt x="2371" y="3994"/>
                </a:lnTo>
                <a:lnTo>
                  <a:pt x="2382" y="3995"/>
                </a:lnTo>
                <a:lnTo>
                  <a:pt x="2386" y="3989"/>
                </a:lnTo>
                <a:lnTo>
                  <a:pt x="2382" y="3982"/>
                </a:lnTo>
                <a:lnTo>
                  <a:pt x="2388" y="3979"/>
                </a:lnTo>
                <a:lnTo>
                  <a:pt x="2392" y="3982"/>
                </a:lnTo>
                <a:lnTo>
                  <a:pt x="2398" y="3976"/>
                </a:lnTo>
                <a:lnTo>
                  <a:pt x="2407" y="3973"/>
                </a:lnTo>
                <a:lnTo>
                  <a:pt x="2407" y="3970"/>
                </a:lnTo>
                <a:lnTo>
                  <a:pt x="2386" y="3971"/>
                </a:lnTo>
                <a:lnTo>
                  <a:pt x="2379" y="3971"/>
                </a:lnTo>
                <a:lnTo>
                  <a:pt x="2373" y="3977"/>
                </a:lnTo>
                <a:lnTo>
                  <a:pt x="2370" y="3977"/>
                </a:lnTo>
                <a:lnTo>
                  <a:pt x="2365" y="3977"/>
                </a:lnTo>
                <a:lnTo>
                  <a:pt x="2357" y="3974"/>
                </a:lnTo>
                <a:lnTo>
                  <a:pt x="2351" y="3976"/>
                </a:lnTo>
                <a:lnTo>
                  <a:pt x="2345" y="3985"/>
                </a:lnTo>
                <a:lnTo>
                  <a:pt x="2339" y="3982"/>
                </a:lnTo>
                <a:lnTo>
                  <a:pt x="2336" y="3973"/>
                </a:lnTo>
                <a:lnTo>
                  <a:pt x="2341" y="3967"/>
                </a:lnTo>
                <a:lnTo>
                  <a:pt x="2351" y="3965"/>
                </a:lnTo>
                <a:lnTo>
                  <a:pt x="2354" y="3964"/>
                </a:lnTo>
                <a:lnTo>
                  <a:pt x="2354" y="3958"/>
                </a:lnTo>
                <a:lnTo>
                  <a:pt x="2356" y="3952"/>
                </a:lnTo>
                <a:lnTo>
                  <a:pt x="2348" y="3952"/>
                </a:lnTo>
                <a:lnTo>
                  <a:pt x="2345" y="3953"/>
                </a:lnTo>
                <a:lnTo>
                  <a:pt x="2338" y="3946"/>
                </a:lnTo>
                <a:lnTo>
                  <a:pt x="2336" y="3940"/>
                </a:lnTo>
                <a:lnTo>
                  <a:pt x="2335" y="3934"/>
                </a:lnTo>
                <a:lnTo>
                  <a:pt x="2324" y="3925"/>
                </a:lnTo>
                <a:lnTo>
                  <a:pt x="2327" y="3922"/>
                </a:lnTo>
                <a:lnTo>
                  <a:pt x="2333" y="3925"/>
                </a:lnTo>
                <a:lnTo>
                  <a:pt x="2338" y="3917"/>
                </a:lnTo>
                <a:lnTo>
                  <a:pt x="2335" y="3908"/>
                </a:lnTo>
                <a:lnTo>
                  <a:pt x="2330" y="3902"/>
                </a:lnTo>
                <a:lnTo>
                  <a:pt x="2318" y="3896"/>
                </a:lnTo>
                <a:lnTo>
                  <a:pt x="2308" y="3879"/>
                </a:lnTo>
                <a:lnTo>
                  <a:pt x="2299" y="3879"/>
                </a:lnTo>
                <a:lnTo>
                  <a:pt x="2296" y="3890"/>
                </a:lnTo>
                <a:lnTo>
                  <a:pt x="2291" y="3887"/>
                </a:lnTo>
                <a:lnTo>
                  <a:pt x="2281" y="3878"/>
                </a:lnTo>
                <a:lnTo>
                  <a:pt x="2271" y="3876"/>
                </a:lnTo>
                <a:lnTo>
                  <a:pt x="2274" y="3864"/>
                </a:lnTo>
                <a:lnTo>
                  <a:pt x="2281" y="3866"/>
                </a:lnTo>
                <a:lnTo>
                  <a:pt x="2279" y="3870"/>
                </a:lnTo>
                <a:lnTo>
                  <a:pt x="2282" y="3872"/>
                </a:lnTo>
                <a:lnTo>
                  <a:pt x="2288" y="3864"/>
                </a:lnTo>
                <a:lnTo>
                  <a:pt x="2285" y="3860"/>
                </a:lnTo>
                <a:lnTo>
                  <a:pt x="2279" y="3857"/>
                </a:lnTo>
                <a:lnTo>
                  <a:pt x="2276" y="3846"/>
                </a:lnTo>
                <a:lnTo>
                  <a:pt x="2282" y="3845"/>
                </a:lnTo>
                <a:lnTo>
                  <a:pt x="2290" y="3846"/>
                </a:lnTo>
                <a:lnTo>
                  <a:pt x="2291" y="3854"/>
                </a:lnTo>
                <a:lnTo>
                  <a:pt x="2291" y="3861"/>
                </a:lnTo>
                <a:lnTo>
                  <a:pt x="2294" y="3866"/>
                </a:lnTo>
                <a:lnTo>
                  <a:pt x="2300" y="3869"/>
                </a:lnTo>
                <a:lnTo>
                  <a:pt x="2299" y="3861"/>
                </a:lnTo>
                <a:lnTo>
                  <a:pt x="2300" y="3857"/>
                </a:lnTo>
                <a:lnTo>
                  <a:pt x="2303" y="3860"/>
                </a:lnTo>
                <a:lnTo>
                  <a:pt x="2303" y="3869"/>
                </a:lnTo>
                <a:lnTo>
                  <a:pt x="2311" y="3864"/>
                </a:lnTo>
                <a:lnTo>
                  <a:pt x="2320" y="3866"/>
                </a:lnTo>
                <a:lnTo>
                  <a:pt x="2332" y="3866"/>
                </a:lnTo>
                <a:lnTo>
                  <a:pt x="2327" y="3860"/>
                </a:lnTo>
                <a:lnTo>
                  <a:pt x="2318" y="3860"/>
                </a:lnTo>
                <a:lnTo>
                  <a:pt x="2312" y="3858"/>
                </a:lnTo>
                <a:lnTo>
                  <a:pt x="2308" y="3854"/>
                </a:lnTo>
                <a:lnTo>
                  <a:pt x="2302" y="3842"/>
                </a:lnTo>
                <a:lnTo>
                  <a:pt x="2306" y="3836"/>
                </a:lnTo>
                <a:lnTo>
                  <a:pt x="2311" y="3839"/>
                </a:lnTo>
                <a:lnTo>
                  <a:pt x="2317" y="3831"/>
                </a:lnTo>
                <a:lnTo>
                  <a:pt x="2320" y="3823"/>
                </a:lnTo>
                <a:lnTo>
                  <a:pt x="2318" y="3820"/>
                </a:lnTo>
                <a:lnTo>
                  <a:pt x="2309" y="3825"/>
                </a:lnTo>
                <a:lnTo>
                  <a:pt x="2306" y="3822"/>
                </a:lnTo>
                <a:lnTo>
                  <a:pt x="2305" y="3813"/>
                </a:lnTo>
                <a:lnTo>
                  <a:pt x="2309" y="3807"/>
                </a:lnTo>
                <a:lnTo>
                  <a:pt x="2305" y="3802"/>
                </a:lnTo>
                <a:lnTo>
                  <a:pt x="2299" y="3798"/>
                </a:lnTo>
                <a:lnTo>
                  <a:pt x="2296" y="3793"/>
                </a:lnTo>
                <a:lnTo>
                  <a:pt x="2291" y="3793"/>
                </a:lnTo>
                <a:lnTo>
                  <a:pt x="2291" y="3787"/>
                </a:lnTo>
                <a:lnTo>
                  <a:pt x="2297" y="3787"/>
                </a:lnTo>
                <a:lnTo>
                  <a:pt x="2306" y="3784"/>
                </a:lnTo>
                <a:lnTo>
                  <a:pt x="2306" y="3783"/>
                </a:lnTo>
                <a:lnTo>
                  <a:pt x="2314" y="3781"/>
                </a:lnTo>
                <a:lnTo>
                  <a:pt x="2318" y="3775"/>
                </a:lnTo>
                <a:lnTo>
                  <a:pt x="2315" y="3769"/>
                </a:lnTo>
                <a:lnTo>
                  <a:pt x="2297" y="3775"/>
                </a:lnTo>
                <a:lnTo>
                  <a:pt x="2288" y="3775"/>
                </a:lnTo>
                <a:lnTo>
                  <a:pt x="2279" y="3775"/>
                </a:lnTo>
                <a:lnTo>
                  <a:pt x="2271" y="3784"/>
                </a:lnTo>
                <a:lnTo>
                  <a:pt x="2261" y="3784"/>
                </a:lnTo>
                <a:lnTo>
                  <a:pt x="2262" y="3775"/>
                </a:lnTo>
                <a:lnTo>
                  <a:pt x="2265" y="3771"/>
                </a:lnTo>
                <a:lnTo>
                  <a:pt x="2265" y="3762"/>
                </a:lnTo>
                <a:lnTo>
                  <a:pt x="2262" y="3753"/>
                </a:lnTo>
                <a:lnTo>
                  <a:pt x="2267" y="3739"/>
                </a:lnTo>
                <a:lnTo>
                  <a:pt x="2281" y="3728"/>
                </a:lnTo>
                <a:lnTo>
                  <a:pt x="2281" y="3724"/>
                </a:lnTo>
                <a:lnTo>
                  <a:pt x="2287" y="3716"/>
                </a:lnTo>
                <a:lnTo>
                  <a:pt x="2296" y="3715"/>
                </a:lnTo>
                <a:lnTo>
                  <a:pt x="2303" y="3704"/>
                </a:lnTo>
                <a:lnTo>
                  <a:pt x="2312" y="3703"/>
                </a:lnTo>
                <a:lnTo>
                  <a:pt x="2321" y="3701"/>
                </a:lnTo>
                <a:lnTo>
                  <a:pt x="2326" y="3697"/>
                </a:lnTo>
                <a:lnTo>
                  <a:pt x="2336" y="3698"/>
                </a:lnTo>
                <a:lnTo>
                  <a:pt x="2341" y="3707"/>
                </a:lnTo>
                <a:lnTo>
                  <a:pt x="2347" y="3710"/>
                </a:lnTo>
                <a:lnTo>
                  <a:pt x="2362" y="3710"/>
                </a:lnTo>
                <a:lnTo>
                  <a:pt x="2368" y="3706"/>
                </a:lnTo>
                <a:lnTo>
                  <a:pt x="2356" y="3698"/>
                </a:lnTo>
                <a:lnTo>
                  <a:pt x="2357" y="3694"/>
                </a:lnTo>
                <a:lnTo>
                  <a:pt x="2368" y="3692"/>
                </a:lnTo>
                <a:lnTo>
                  <a:pt x="2380" y="3694"/>
                </a:lnTo>
                <a:lnTo>
                  <a:pt x="2380" y="3700"/>
                </a:lnTo>
                <a:lnTo>
                  <a:pt x="2373" y="3701"/>
                </a:lnTo>
                <a:lnTo>
                  <a:pt x="2389" y="3709"/>
                </a:lnTo>
                <a:lnTo>
                  <a:pt x="2406" y="3707"/>
                </a:lnTo>
                <a:lnTo>
                  <a:pt x="2425" y="3701"/>
                </a:lnTo>
                <a:lnTo>
                  <a:pt x="2440" y="3700"/>
                </a:lnTo>
                <a:lnTo>
                  <a:pt x="2446" y="3703"/>
                </a:lnTo>
                <a:lnTo>
                  <a:pt x="2455" y="3703"/>
                </a:lnTo>
                <a:lnTo>
                  <a:pt x="2454" y="3694"/>
                </a:lnTo>
                <a:lnTo>
                  <a:pt x="2451" y="3692"/>
                </a:lnTo>
                <a:lnTo>
                  <a:pt x="2442" y="3695"/>
                </a:lnTo>
                <a:lnTo>
                  <a:pt x="2436" y="3692"/>
                </a:lnTo>
                <a:lnTo>
                  <a:pt x="2430" y="3688"/>
                </a:lnTo>
                <a:lnTo>
                  <a:pt x="2442" y="3683"/>
                </a:lnTo>
                <a:lnTo>
                  <a:pt x="2443" y="3679"/>
                </a:lnTo>
                <a:lnTo>
                  <a:pt x="2463" y="3680"/>
                </a:lnTo>
                <a:lnTo>
                  <a:pt x="2471" y="3679"/>
                </a:lnTo>
                <a:lnTo>
                  <a:pt x="2472" y="3674"/>
                </a:lnTo>
                <a:lnTo>
                  <a:pt x="2484" y="3676"/>
                </a:lnTo>
                <a:lnTo>
                  <a:pt x="2499" y="3676"/>
                </a:lnTo>
                <a:lnTo>
                  <a:pt x="2495" y="3673"/>
                </a:lnTo>
                <a:lnTo>
                  <a:pt x="2484" y="3671"/>
                </a:lnTo>
                <a:lnTo>
                  <a:pt x="2475" y="3671"/>
                </a:lnTo>
                <a:lnTo>
                  <a:pt x="2472" y="3674"/>
                </a:lnTo>
                <a:lnTo>
                  <a:pt x="2463" y="3673"/>
                </a:lnTo>
                <a:lnTo>
                  <a:pt x="2460" y="3670"/>
                </a:lnTo>
                <a:lnTo>
                  <a:pt x="2460" y="3662"/>
                </a:lnTo>
                <a:lnTo>
                  <a:pt x="2454" y="3659"/>
                </a:lnTo>
                <a:lnTo>
                  <a:pt x="2448" y="3654"/>
                </a:lnTo>
                <a:lnTo>
                  <a:pt x="2449" y="3653"/>
                </a:lnTo>
                <a:lnTo>
                  <a:pt x="2446" y="3650"/>
                </a:lnTo>
                <a:lnTo>
                  <a:pt x="2449" y="3644"/>
                </a:lnTo>
                <a:lnTo>
                  <a:pt x="2452" y="3636"/>
                </a:lnTo>
                <a:lnTo>
                  <a:pt x="2463" y="3635"/>
                </a:lnTo>
                <a:lnTo>
                  <a:pt x="2474" y="3641"/>
                </a:lnTo>
                <a:lnTo>
                  <a:pt x="2481" y="3638"/>
                </a:lnTo>
                <a:lnTo>
                  <a:pt x="2495" y="3642"/>
                </a:lnTo>
                <a:lnTo>
                  <a:pt x="2510" y="3644"/>
                </a:lnTo>
                <a:lnTo>
                  <a:pt x="2534" y="3635"/>
                </a:lnTo>
                <a:lnTo>
                  <a:pt x="2560" y="3642"/>
                </a:lnTo>
                <a:lnTo>
                  <a:pt x="2570" y="3642"/>
                </a:lnTo>
                <a:lnTo>
                  <a:pt x="2590" y="3639"/>
                </a:lnTo>
                <a:lnTo>
                  <a:pt x="2594" y="3626"/>
                </a:lnTo>
                <a:lnTo>
                  <a:pt x="2630" y="3605"/>
                </a:lnTo>
                <a:lnTo>
                  <a:pt x="2667" y="3584"/>
                </a:lnTo>
                <a:lnTo>
                  <a:pt x="2688" y="3579"/>
                </a:lnTo>
                <a:lnTo>
                  <a:pt x="2707" y="3570"/>
                </a:lnTo>
                <a:lnTo>
                  <a:pt x="2713" y="3564"/>
                </a:lnTo>
                <a:lnTo>
                  <a:pt x="2768" y="3565"/>
                </a:lnTo>
                <a:lnTo>
                  <a:pt x="2804" y="3570"/>
                </a:lnTo>
                <a:lnTo>
                  <a:pt x="2816" y="3567"/>
                </a:lnTo>
                <a:lnTo>
                  <a:pt x="2824" y="3558"/>
                </a:lnTo>
                <a:lnTo>
                  <a:pt x="2833" y="3558"/>
                </a:lnTo>
                <a:lnTo>
                  <a:pt x="2843" y="3584"/>
                </a:lnTo>
                <a:lnTo>
                  <a:pt x="2854" y="3585"/>
                </a:lnTo>
                <a:lnTo>
                  <a:pt x="2863" y="3593"/>
                </a:lnTo>
                <a:lnTo>
                  <a:pt x="2875" y="3596"/>
                </a:lnTo>
                <a:lnTo>
                  <a:pt x="2890" y="3588"/>
                </a:lnTo>
                <a:lnTo>
                  <a:pt x="2894" y="3590"/>
                </a:lnTo>
                <a:lnTo>
                  <a:pt x="2900" y="3596"/>
                </a:lnTo>
                <a:lnTo>
                  <a:pt x="2911" y="3620"/>
                </a:lnTo>
                <a:lnTo>
                  <a:pt x="2923" y="3623"/>
                </a:lnTo>
                <a:lnTo>
                  <a:pt x="2928" y="3620"/>
                </a:lnTo>
                <a:lnTo>
                  <a:pt x="2934" y="3620"/>
                </a:lnTo>
                <a:lnTo>
                  <a:pt x="2941" y="3626"/>
                </a:lnTo>
                <a:lnTo>
                  <a:pt x="2947" y="3630"/>
                </a:lnTo>
                <a:lnTo>
                  <a:pt x="2964" y="3635"/>
                </a:lnTo>
                <a:lnTo>
                  <a:pt x="2974" y="3644"/>
                </a:lnTo>
                <a:lnTo>
                  <a:pt x="2982" y="3647"/>
                </a:lnTo>
                <a:lnTo>
                  <a:pt x="2983" y="3641"/>
                </a:lnTo>
                <a:lnTo>
                  <a:pt x="2989" y="3641"/>
                </a:lnTo>
                <a:lnTo>
                  <a:pt x="3008" y="3651"/>
                </a:lnTo>
                <a:lnTo>
                  <a:pt x="3027" y="3657"/>
                </a:lnTo>
                <a:lnTo>
                  <a:pt x="3051" y="3648"/>
                </a:lnTo>
                <a:lnTo>
                  <a:pt x="3095" y="3639"/>
                </a:lnTo>
                <a:lnTo>
                  <a:pt x="3143" y="3647"/>
                </a:lnTo>
                <a:lnTo>
                  <a:pt x="3158" y="3648"/>
                </a:lnTo>
                <a:lnTo>
                  <a:pt x="3190" y="3629"/>
                </a:lnTo>
                <a:lnTo>
                  <a:pt x="3201" y="3627"/>
                </a:lnTo>
                <a:lnTo>
                  <a:pt x="3213" y="3618"/>
                </a:lnTo>
                <a:lnTo>
                  <a:pt x="3247" y="3579"/>
                </a:lnTo>
                <a:lnTo>
                  <a:pt x="3247" y="3559"/>
                </a:lnTo>
                <a:lnTo>
                  <a:pt x="3238" y="3546"/>
                </a:lnTo>
                <a:lnTo>
                  <a:pt x="3234" y="3508"/>
                </a:lnTo>
                <a:lnTo>
                  <a:pt x="3216" y="3490"/>
                </a:lnTo>
                <a:lnTo>
                  <a:pt x="3213" y="3478"/>
                </a:lnTo>
                <a:lnTo>
                  <a:pt x="3204" y="3470"/>
                </a:lnTo>
                <a:lnTo>
                  <a:pt x="3178" y="3469"/>
                </a:lnTo>
                <a:lnTo>
                  <a:pt x="3161" y="3463"/>
                </a:lnTo>
                <a:lnTo>
                  <a:pt x="3154" y="3449"/>
                </a:lnTo>
                <a:lnTo>
                  <a:pt x="3155" y="3445"/>
                </a:lnTo>
                <a:lnTo>
                  <a:pt x="3149" y="3446"/>
                </a:lnTo>
                <a:lnTo>
                  <a:pt x="3136" y="3439"/>
                </a:lnTo>
                <a:lnTo>
                  <a:pt x="3131" y="3425"/>
                </a:lnTo>
                <a:lnTo>
                  <a:pt x="3116" y="3413"/>
                </a:lnTo>
                <a:lnTo>
                  <a:pt x="3094" y="3384"/>
                </a:lnTo>
                <a:lnTo>
                  <a:pt x="3063" y="3365"/>
                </a:lnTo>
                <a:lnTo>
                  <a:pt x="3045" y="3357"/>
                </a:lnTo>
                <a:lnTo>
                  <a:pt x="3029" y="3354"/>
                </a:lnTo>
                <a:lnTo>
                  <a:pt x="3015" y="3347"/>
                </a:lnTo>
                <a:lnTo>
                  <a:pt x="3015" y="3339"/>
                </a:lnTo>
                <a:lnTo>
                  <a:pt x="3006" y="3335"/>
                </a:lnTo>
                <a:lnTo>
                  <a:pt x="3003" y="3339"/>
                </a:lnTo>
                <a:lnTo>
                  <a:pt x="2995" y="3338"/>
                </a:lnTo>
                <a:lnTo>
                  <a:pt x="2985" y="3336"/>
                </a:lnTo>
                <a:lnTo>
                  <a:pt x="2979" y="3335"/>
                </a:lnTo>
                <a:lnTo>
                  <a:pt x="2968" y="3315"/>
                </a:lnTo>
                <a:lnTo>
                  <a:pt x="2956" y="3291"/>
                </a:lnTo>
                <a:lnTo>
                  <a:pt x="2944" y="3288"/>
                </a:lnTo>
                <a:lnTo>
                  <a:pt x="2934" y="3288"/>
                </a:lnTo>
                <a:lnTo>
                  <a:pt x="2929" y="3279"/>
                </a:lnTo>
                <a:lnTo>
                  <a:pt x="2950" y="3274"/>
                </a:lnTo>
                <a:lnTo>
                  <a:pt x="2949" y="3267"/>
                </a:lnTo>
                <a:lnTo>
                  <a:pt x="2941" y="3267"/>
                </a:lnTo>
                <a:lnTo>
                  <a:pt x="2938" y="3270"/>
                </a:lnTo>
                <a:lnTo>
                  <a:pt x="2940" y="3258"/>
                </a:lnTo>
                <a:lnTo>
                  <a:pt x="2953" y="3261"/>
                </a:lnTo>
                <a:lnTo>
                  <a:pt x="2961" y="3267"/>
                </a:lnTo>
                <a:lnTo>
                  <a:pt x="2959" y="3273"/>
                </a:lnTo>
                <a:lnTo>
                  <a:pt x="2971" y="3273"/>
                </a:lnTo>
                <a:lnTo>
                  <a:pt x="2965" y="3267"/>
                </a:lnTo>
                <a:lnTo>
                  <a:pt x="2977" y="3268"/>
                </a:lnTo>
                <a:lnTo>
                  <a:pt x="2982" y="3262"/>
                </a:lnTo>
                <a:lnTo>
                  <a:pt x="2983" y="3250"/>
                </a:lnTo>
                <a:lnTo>
                  <a:pt x="2989" y="3241"/>
                </a:lnTo>
                <a:lnTo>
                  <a:pt x="3000" y="3237"/>
                </a:lnTo>
                <a:lnTo>
                  <a:pt x="3002" y="3223"/>
                </a:lnTo>
                <a:lnTo>
                  <a:pt x="3015" y="3202"/>
                </a:lnTo>
                <a:lnTo>
                  <a:pt x="3021" y="3202"/>
                </a:lnTo>
                <a:lnTo>
                  <a:pt x="3017" y="3208"/>
                </a:lnTo>
                <a:lnTo>
                  <a:pt x="3018" y="3217"/>
                </a:lnTo>
                <a:lnTo>
                  <a:pt x="3027" y="3223"/>
                </a:lnTo>
                <a:lnTo>
                  <a:pt x="3033" y="3217"/>
                </a:lnTo>
                <a:lnTo>
                  <a:pt x="3033" y="3214"/>
                </a:lnTo>
                <a:lnTo>
                  <a:pt x="3030" y="3209"/>
                </a:lnTo>
                <a:lnTo>
                  <a:pt x="3030" y="3215"/>
                </a:lnTo>
                <a:lnTo>
                  <a:pt x="3026" y="3211"/>
                </a:lnTo>
                <a:lnTo>
                  <a:pt x="3024" y="3206"/>
                </a:lnTo>
                <a:lnTo>
                  <a:pt x="3027" y="3203"/>
                </a:lnTo>
                <a:lnTo>
                  <a:pt x="3033" y="3196"/>
                </a:lnTo>
                <a:lnTo>
                  <a:pt x="3036" y="3196"/>
                </a:lnTo>
                <a:lnTo>
                  <a:pt x="3042" y="3203"/>
                </a:lnTo>
                <a:lnTo>
                  <a:pt x="3048" y="3205"/>
                </a:lnTo>
                <a:lnTo>
                  <a:pt x="3054" y="3200"/>
                </a:lnTo>
                <a:lnTo>
                  <a:pt x="3044" y="3193"/>
                </a:lnTo>
                <a:lnTo>
                  <a:pt x="3042" y="3190"/>
                </a:lnTo>
                <a:lnTo>
                  <a:pt x="3021" y="3173"/>
                </a:lnTo>
                <a:lnTo>
                  <a:pt x="3018" y="3178"/>
                </a:lnTo>
                <a:lnTo>
                  <a:pt x="3011" y="3169"/>
                </a:lnTo>
                <a:lnTo>
                  <a:pt x="3005" y="3157"/>
                </a:lnTo>
                <a:lnTo>
                  <a:pt x="3002" y="3143"/>
                </a:lnTo>
                <a:lnTo>
                  <a:pt x="3014" y="3151"/>
                </a:lnTo>
                <a:lnTo>
                  <a:pt x="3026" y="3146"/>
                </a:lnTo>
                <a:lnTo>
                  <a:pt x="3027" y="3141"/>
                </a:lnTo>
                <a:lnTo>
                  <a:pt x="3033" y="3143"/>
                </a:lnTo>
                <a:lnTo>
                  <a:pt x="3039" y="3148"/>
                </a:lnTo>
                <a:lnTo>
                  <a:pt x="3053" y="3148"/>
                </a:lnTo>
                <a:lnTo>
                  <a:pt x="3053" y="3141"/>
                </a:lnTo>
                <a:lnTo>
                  <a:pt x="3044" y="3135"/>
                </a:lnTo>
                <a:lnTo>
                  <a:pt x="3039" y="3141"/>
                </a:lnTo>
                <a:lnTo>
                  <a:pt x="3036" y="3135"/>
                </a:lnTo>
                <a:lnTo>
                  <a:pt x="3038" y="3129"/>
                </a:lnTo>
                <a:lnTo>
                  <a:pt x="3041" y="3126"/>
                </a:lnTo>
                <a:lnTo>
                  <a:pt x="3057" y="3126"/>
                </a:lnTo>
                <a:lnTo>
                  <a:pt x="3065" y="3120"/>
                </a:lnTo>
                <a:lnTo>
                  <a:pt x="3072" y="3117"/>
                </a:lnTo>
                <a:lnTo>
                  <a:pt x="3101" y="3110"/>
                </a:lnTo>
                <a:lnTo>
                  <a:pt x="3101" y="3105"/>
                </a:lnTo>
                <a:lnTo>
                  <a:pt x="3094" y="3101"/>
                </a:lnTo>
                <a:lnTo>
                  <a:pt x="3095" y="3095"/>
                </a:lnTo>
                <a:lnTo>
                  <a:pt x="3092" y="3089"/>
                </a:lnTo>
                <a:lnTo>
                  <a:pt x="3077" y="3092"/>
                </a:lnTo>
                <a:lnTo>
                  <a:pt x="3068" y="3099"/>
                </a:lnTo>
                <a:lnTo>
                  <a:pt x="3050" y="3101"/>
                </a:lnTo>
                <a:lnTo>
                  <a:pt x="3035" y="3102"/>
                </a:lnTo>
                <a:lnTo>
                  <a:pt x="3026" y="3113"/>
                </a:lnTo>
                <a:lnTo>
                  <a:pt x="3021" y="3113"/>
                </a:lnTo>
                <a:lnTo>
                  <a:pt x="3024" y="3107"/>
                </a:lnTo>
                <a:lnTo>
                  <a:pt x="3005" y="3104"/>
                </a:lnTo>
                <a:lnTo>
                  <a:pt x="2986" y="3113"/>
                </a:lnTo>
                <a:lnTo>
                  <a:pt x="2982" y="3122"/>
                </a:lnTo>
                <a:lnTo>
                  <a:pt x="2976" y="3125"/>
                </a:lnTo>
                <a:lnTo>
                  <a:pt x="2974" y="3123"/>
                </a:lnTo>
                <a:lnTo>
                  <a:pt x="2953" y="3131"/>
                </a:lnTo>
                <a:lnTo>
                  <a:pt x="2946" y="3146"/>
                </a:lnTo>
                <a:lnTo>
                  <a:pt x="2938" y="3149"/>
                </a:lnTo>
                <a:lnTo>
                  <a:pt x="2934" y="3141"/>
                </a:lnTo>
                <a:lnTo>
                  <a:pt x="2925" y="3140"/>
                </a:lnTo>
                <a:lnTo>
                  <a:pt x="2916" y="3141"/>
                </a:lnTo>
                <a:lnTo>
                  <a:pt x="2914" y="3149"/>
                </a:lnTo>
                <a:lnTo>
                  <a:pt x="2911" y="3158"/>
                </a:lnTo>
                <a:lnTo>
                  <a:pt x="2903" y="3160"/>
                </a:lnTo>
                <a:lnTo>
                  <a:pt x="2903" y="3155"/>
                </a:lnTo>
                <a:lnTo>
                  <a:pt x="2893" y="3151"/>
                </a:lnTo>
                <a:lnTo>
                  <a:pt x="2882" y="3163"/>
                </a:lnTo>
                <a:lnTo>
                  <a:pt x="2869" y="3169"/>
                </a:lnTo>
                <a:lnTo>
                  <a:pt x="2852" y="3175"/>
                </a:lnTo>
                <a:lnTo>
                  <a:pt x="2849" y="3170"/>
                </a:lnTo>
                <a:lnTo>
                  <a:pt x="2846" y="3152"/>
                </a:lnTo>
                <a:lnTo>
                  <a:pt x="2843" y="3160"/>
                </a:lnTo>
                <a:lnTo>
                  <a:pt x="2845" y="3178"/>
                </a:lnTo>
                <a:lnTo>
                  <a:pt x="2849" y="3178"/>
                </a:lnTo>
                <a:lnTo>
                  <a:pt x="2843" y="3182"/>
                </a:lnTo>
                <a:lnTo>
                  <a:pt x="2842" y="3179"/>
                </a:lnTo>
                <a:lnTo>
                  <a:pt x="2842" y="3172"/>
                </a:lnTo>
                <a:lnTo>
                  <a:pt x="2837" y="3167"/>
                </a:lnTo>
                <a:lnTo>
                  <a:pt x="2834" y="3179"/>
                </a:lnTo>
                <a:lnTo>
                  <a:pt x="2837" y="3181"/>
                </a:lnTo>
                <a:lnTo>
                  <a:pt x="2828" y="3190"/>
                </a:lnTo>
                <a:lnTo>
                  <a:pt x="2817" y="3194"/>
                </a:lnTo>
                <a:lnTo>
                  <a:pt x="2814" y="3197"/>
                </a:lnTo>
                <a:lnTo>
                  <a:pt x="2807" y="3199"/>
                </a:lnTo>
                <a:lnTo>
                  <a:pt x="2804" y="3211"/>
                </a:lnTo>
                <a:lnTo>
                  <a:pt x="2798" y="3215"/>
                </a:lnTo>
                <a:lnTo>
                  <a:pt x="2795" y="3212"/>
                </a:lnTo>
                <a:lnTo>
                  <a:pt x="2792" y="3206"/>
                </a:lnTo>
                <a:lnTo>
                  <a:pt x="2798" y="3205"/>
                </a:lnTo>
                <a:lnTo>
                  <a:pt x="2798" y="3202"/>
                </a:lnTo>
                <a:lnTo>
                  <a:pt x="2792" y="3205"/>
                </a:lnTo>
                <a:lnTo>
                  <a:pt x="2784" y="3196"/>
                </a:lnTo>
                <a:lnTo>
                  <a:pt x="2777" y="3196"/>
                </a:lnTo>
                <a:lnTo>
                  <a:pt x="2775" y="3202"/>
                </a:lnTo>
                <a:lnTo>
                  <a:pt x="2769" y="3197"/>
                </a:lnTo>
                <a:lnTo>
                  <a:pt x="2765" y="3205"/>
                </a:lnTo>
                <a:lnTo>
                  <a:pt x="2760" y="3196"/>
                </a:lnTo>
                <a:lnTo>
                  <a:pt x="2756" y="3190"/>
                </a:lnTo>
                <a:lnTo>
                  <a:pt x="2747" y="3184"/>
                </a:lnTo>
                <a:lnTo>
                  <a:pt x="2744" y="3197"/>
                </a:lnTo>
                <a:lnTo>
                  <a:pt x="2750" y="3203"/>
                </a:lnTo>
                <a:lnTo>
                  <a:pt x="2754" y="3208"/>
                </a:lnTo>
                <a:lnTo>
                  <a:pt x="2760" y="3208"/>
                </a:lnTo>
                <a:lnTo>
                  <a:pt x="2768" y="3212"/>
                </a:lnTo>
                <a:lnTo>
                  <a:pt x="2771" y="3221"/>
                </a:lnTo>
                <a:lnTo>
                  <a:pt x="2775" y="3223"/>
                </a:lnTo>
                <a:lnTo>
                  <a:pt x="2774" y="3212"/>
                </a:lnTo>
                <a:lnTo>
                  <a:pt x="2775" y="3208"/>
                </a:lnTo>
                <a:lnTo>
                  <a:pt x="2789" y="3217"/>
                </a:lnTo>
                <a:lnTo>
                  <a:pt x="2795" y="3218"/>
                </a:lnTo>
                <a:lnTo>
                  <a:pt x="2799" y="3223"/>
                </a:lnTo>
                <a:lnTo>
                  <a:pt x="2792" y="3231"/>
                </a:lnTo>
                <a:lnTo>
                  <a:pt x="2790" y="3234"/>
                </a:lnTo>
                <a:lnTo>
                  <a:pt x="2804" y="3232"/>
                </a:lnTo>
                <a:lnTo>
                  <a:pt x="2808" y="3234"/>
                </a:lnTo>
                <a:lnTo>
                  <a:pt x="2804" y="3238"/>
                </a:lnTo>
                <a:lnTo>
                  <a:pt x="2814" y="3238"/>
                </a:lnTo>
                <a:lnTo>
                  <a:pt x="2822" y="3243"/>
                </a:lnTo>
                <a:lnTo>
                  <a:pt x="2830" y="3250"/>
                </a:lnTo>
                <a:lnTo>
                  <a:pt x="2827" y="3268"/>
                </a:lnTo>
                <a:lnTo>
                  <a:pt x="2839" y="3268"/>
                </a:lnTo>
                <a:lnTo>
                  <a:pt x="2866" y="3277"/>
                </a:lnTo>
                <a:lnTo>
                  <a:pt x="2869" y="3273"/>
                </a:lnTo>
                <a:lnTo>
                  <a:pt x="2851" y="3262"/>
                </a:lnTo>
                <a:lnTo>
                  <a:pt x="2836" y="3241"/>
                </a:lnTo>
                <a:lnTo>
                  <a:pt x="2824" y="3217"/>
                </a:lnTo>
                <a:lnTo>
                  <a:pt x="2819" y="3223"/>
                </a:lnTo>
                <a:lnTo>
                  <a:pt x="2814" y="3217"/>
                </a:lnTo>
                <a:lnTo>
                  <a:pt x="2811" y="3208"/>
                </a:lnTo>
                <a:lnTo>
                  <a:pt x="2817" y="3205"/>
                </a:lnTo>
                <a:lnTo>
                  <a:pt x="2816" y="3202"/>
                </a:lnTo>
                <a:lnTo>
                  <a:pt x="2817" y="3200"/>
                </a:lnTo>
                <a:lnTo>
                  <a:pt x="2840" y="3241"/>
                </a:lnTo>
                <a:lnTo>
                  <a:pt x="2854" y="3261"/>
                </a:lnTo>
                <a:lnTo>
                  <a:pt x="2867" y="3267"/>
                </a:lnTo>
                <a:lnTo>
                  <a:pt x="2872" y="3268"/>
                </a:lnTo>
                <a:lnTo>
                  <a:pt x="2878" y="3270"/>
                </a:lnTo>
                <a:lnTo>
                  <a:pt x="2881" y="3265"/>
                </a:lnTo>
                <a:lnTo>
                  <a:pt x="2887" y="3259"/>
                </a:lnTo>
                <a:lnTo>
                  <a:pt x="2893" y="3268"/>
                </a:lnTo>
                <a:lnTo>
                  <a:pt x="2899" y="3264"/>
                </a:lnTo>
                <a:lnTo>
                  <a:pt x="2902" y="3261"/>
                </a:lnTo>
                <a:lnTo>
                  <a:pt x="2914" y="3258"/>
                </a:lnTo>
                <a:lnTo>
                  <a:pt x="2923" y="3259"/>
                </a:lnTo>
                <a:lnTo>
                  <a:pt x="2935" y="3267"/>
                </a:lnTo>
                <a:lnTo>
                  <a:pt x="2932" y="3271"/>
                </a:lnTo>
                <a:lnTo>
                  <a:pt x="2922" y="3270"/>
                </a:lnTo>
                <a:lnTo>
                  <a:pt x="2920" y="3271"/>
                </a:lnTo>
                <a:lnTo>
                  <a:pt x="2919" y="3285"/>
                </a:lnTo>
                <a:lnTo>
                  <a:pt x="2916" y="3292"/>
                </a:lnTo>
                <a:lnTo>
                  <a:pt x="2911" y="3294"/>
                </a:lnTo>
                <a:lnTo>
                  <a:pt x="2903" y="3295"/>
                </a:lnTo>
                <a:lnTo>
                  <a:pt x="2893" y="3301"/>
                </a:lnTo>
                <a:lnTo>
                  <a:pt x="2878" y="3289"/>
                </a:lnTo>
                <a:lnTo>
                  <a:pt x="2863" y="3291"/>
                </a:lnTo>
                <a:lnTo>
                  <a:pt x="2857" y="3298"/>
                </a:lnTo>
                <a:lnTo>
                  <a:pt x="2852" y="3307"/>
                </a:lnTo>
                <a:lnTo>
                  <a:pt x="2837" y="3312"/>
                </a:lnTo>
                <a:lnTo>
                  <a:pt x="2833" y="3320"/>
                </a:lnTo>
                <a:lnTo>
                  <a:pt x="2824" y="3320"/>
                </a:lnTo>
                <a:lnTo>
                  <a:pt x="2817" y="3315"/>
                </a:lnTo>
                <a:lnTo>
                  <a:pt x="2811" y="3318"/>
                </a:lnTo>
                <a:lnTo>
                  <a:pt x="2796" y="3333"/>
                </a:lnTo>
                <a:lnTo>
                  <a:pt x="2777" y="3350"/>
                </a:lnTo>
                <a:lnTo>
                  <a:pt x="2759" y="3363"/>
                </a:lnTo>
                <a:lnTo>
                  <a:pt x="2741" y="3353"/>
                </a:lnTo>
                <a:lnTo>
                  <a:pt x="2722" y="3351"/>
                </a:lnTo>
                <a:lnTo>
                  <a:pt x="2721" y="3345"/>
                </a:lnTo>
                <a:lnTo>
                  <a:pt x="2733" y="3336"/>
                </a:lnTo>
                <a:lnTo>
                  <a:pt x="2732" y="3324"/>
                </a:lnTo>
                <a:lnTo>
                  <a:pt x="2736" y="3323"/>
                </a:lnTo>
                <a:lnTo>
                  <a:pt x="2739" y="3303"/>
                </a:lnTo>
                <a:lnTo>
                  <a:pt x="2728" y="3288"/>
                </a:lnTo>
                <a:lnTo>
                  <a:pt x="2718" y="3291"/>
                </a:lnTo>
                <a:lnTo>
                  <a:pt x="2716" y="3285"/>
                </a:lnTo>
                <a:lnTo>
                  <a:pt x="2703" y="3274"/>
                </a:lnTo>
                <a:lnTo>
                  <a:pt x="2694" y="3274"/>
                </a:lnTo>
                <a:lnTo>
                  <a:pt x="2689" y="3280"/>
                </a:lnTo>
                <a:lnTo>
                  <a:pt x="2680" y="3277"/>
                </a:lnTo>
                <a:lnTo>
                  <a:pt x="2671" y="3273"/>
                </a:lnTo>
                <a:lnTo>
                  <a:pt x="2670" y="3267"/>
                </a:lnTo>
                <a:lnTo>
                  <a:pt x="2674" y="3264"/>
                </a:lnTo>
                <a:lnTo>
                  <a:pt x="2688" y="3253"/>
                </a:lnTo>
                <a:lnTo>
                  <a:pt x="2706" y="3238"/>
                </a:lnTo>
                <a:lnTo>
                  <a:pt x="2709" y="3232"/>
                </a:lnTo>
                <a:lnTo>
                  <a:pt x="2712" y="3237"/>
                </a:lnTo>
                <a:lnTo>
                  <a:pt x="2727" y="3231"/>
                </a:lnTo>
                <a:lnTo>
                  <a:pt x="2745" y="3226"/>
                </a:lnTo>
                <a:lnTo>
                  <a:pt x="2753" y="3227"/>
                </a:lnTo>
                <a:lnTo>
                  <a:pt x="2748" y="3221"/>
                </a:lnTo>
                <a:lnTo>
                  <a:pt x="2756" y="3214"/>
                </a:lnTo>
                <a:lnTo>
                  <a:pt x="2744" y="3218"/>
                </a:lnTo>
                <a:lnTo>
                  <a:pt x="2742" y="3211"/>
                </a:lnTo>
                <a:lnTo>
                  <a:pt x="2739" y="3206"/>
                </a:lnTo>
                <a:lnTo>
                  <a:pt x="2738" y="3193"/>
                </a:lnTo>
                <a:lnTo>
                  <a:pt x="2733" y="3202"/>
                </a:lnTo>
                <a:lnTo>
                  <a:pt x="2728" y="3203"/>
                </a:lnTo>
                <a:lnTo>
                  <a:pt x="2733" y="3212"/>
                </a:lnTo>
                <a:lnTo>
                  <a:pt x="2730" y="3211"/>
                </a:lnTo>
                <a:lnTo>
                  <a:pt x="2724" y="3206"/>
                </a:lnTo>
                <a:lnTo>
                  <a:pt x="2719" y="3208"/>
                </a:lnTo>
                <a:lnTo>
                  <a:pt x="2713" y="3205"/>
                </a:lnTo>
                <a:lnTo>
                  <a:pt x="2713" y="3197"/>
                </a:lnTo>
                <a:lnTo>
                  <a:pt x="2709" y="3200"/>
                </a:lnTo>
                <a:lnTo>
                  <a:pt x="2701" y="3196"/>
                </a:lnTo>
                <a:lnTo>
                  <a:pt x="2700" y="3200"/>
                </a:lnTo>
                <a:lnTo>
                  <a:pt x="2697" y="3200"/>
                </a:lnTo>
                <a:lnTo>
                  <a:pt x="2688" y="3202"/>
                </a:lnTo>
                <a:lnTo>
                  <a:pt x="2679" y="3206"/>
                </a:lnTo>
                <a:lnTo>
                  <a:pt x="2679" y="3211"/>
                </a:lnTo>
                <a:lnTo>
                  <a:pt x="2692" y="3214"/>
                </a:lnTo>
                <a:lnTo>
                  <a:pt x="2688" y="3215"/>
                </a:lnTo>
                <a:lnTo>
                  <a:pt x="2673" y="3212"/>
                </a:lnTo>
                <a:lnTo>
                  <a:pt x="2665" y="3214"/>
                </a:lnTo>
                <a:lnTo>
                  <a:pt x="2617" y="3200"/>
                </a:lnTo>
                <a:lnTo>
                  <a:pt x="2615" y="3193"/>
                </a:lnTo>
                <a:lnTo>
                  <a:pt x="2618" y="3200"/>
                </a:lnTo>
                <a:lnTo>
                  <a:pt x="2659" y="3209"/>
                </a:lnTo>
                <a:lnTo>
                  <a:pt x="2667" y="3211"/>
                </a:lnTo>
                <a:lnTo>
                  <a:pt x="2647" y="3194"/>
                </a:lnTo>
                <a:lnTo>
                  <a:pt x="2635" y="3194"/>
                </a:lnTo>
                <a:lnTo>
                  <a:pt x="2633" y="3200"/>
                </a:lnTo>
                <a:lnTo>
                  <a:pt x="2624" y="3197"/>
                </a:lnTo>
                <a:lnTo>
                  <a:pt x="2624" y="3190"/>
                </a:lnTo>
                <a:lnTo>
                  <a:pt x="2643" y="3185"/>
                </a:lnTo>
                <a:lnTo>
                  <a:pt x="2647" y="3185"/>
                </a:lnTo>
                <a:lnTo>
                  <a:pt x="2641" y="3175"/>
                </a:lnTo>
                <a:lnTo>
                  <a:pt x="2627" y="3172"/>
                </a:lnTo>
                <a:lnTo>
                  <a:pt x="2620" y="3175"/>
                </a:lnTo>
                <a:lnTo>
                  <a:pt x="2609" y="3166"/>
                </a:lnTo>
                <a:lnTo>
                  <a:pt x="2608" y="3163"/>
                </a:lnTo>
                <a:lnTo>
                  <a:pt x="2618" y="3167"/>
                </a:lnTo>
                <a:lnTo>
                  <a:pt x="2623" y="3164"/>
                </a:lnTo>
                <a:lnTo>
                  <a:pt x="2635" y="3167"/>
                </a:lnTo>
                <a:lnTo>
                  <a:pt x="2647" y="3170"/>
                </a:lnTo>
                <a:lnTo>
                  <a:pt x="2658" y="3175"/>
                </a:lnTo>
                <a:lnTo>
                  <a:pt x="2688" y="3145"/>
                </a:lnTo>
                <a:lnTo>
                  <a:pt x="2661" y="3164"/>
                </a:lnTo>
                <a:lnTo>
                  <a:pt x="2646" y="3167"/>
                </a:lnTo>
                <a:lnTo>
                  <a:pt x="2640" y="3160"/>
                </a:lnTo>
                <a:lnTo>
                  <a:pt x="2633" y="3154"/>
                </a:lnTo>
                <a:lnTo>
                  <a:pt x="2632" y="3149"/>
                </a:lnTo>
                <a:lnTo>
                  <a:pt x="2630" y="3140"/>
                </a:lnTo>
                <a:lnTo>
                  <a:pt x="2636" y="3135"/>
                </a:lnTo>
                <a:lnTo>
                  <a:pt x="2633" y="3128"/>
                </a:lnTo>
                <a:lnTo>
                  <a:pt x="2632" y="3120"/>
                </a:lnTo>
                <a:lnTo>
                  <a:pt x="2629" y="3131"/>
                </a:lnTo>
                <a:lnTo>
                  <a:pt x="2632" y="3134"/>
                </a:lnTo>
                <a:lnTo>
                  <a:pt x="2626" y="3140"/>
                </a:lnTo>
                <a:lnTo>
                  <a:pt x="2627" y="3148"/>
                </a:lnTo>
                <a:lnTo>
                  <a:pt x="2630" y="3154"/>
                </a:lnTo>
                <a:lnTo>
                  <a:pt x="2629" y="3158"/>
                </a:lnTo>
                <a:lnTo>
                  <a:pt x="2621" y="3161"/>
                </a:lnTo>
                <a:lnTo>
                  <a:pt x="2617" y="3157"/>
                </a:lnTo>
                <a:lnTo>
                  <a:pt x="2612" y="3160"/>
                </a:lnTo>
                <a:lnTo>
                  <a:pt x="2605" y="3160"/>
                </a:lnTo>
                <a:lnTo>
                  <a:pt x="2612" y="3146"/>
                </a:lnTo>
                <a:lnTo>
                  <a:pt x="2605" y="3146"/>
                </a:lnTo>
                <a:lnTo>
                  <a:pt x="2602" y="3141"/>
                </a:lnTo>
                <a:lnTo>
                  <a:pt x="2603" y="3154"/>
                </a:lnTo>
                <a:lnTo>
                  <a:pt x="2600" y="3158"/>
                </a:lnTo>
                <a:lnTo>
                  <a:pt x="2590" y="3160"/>
                </a:lnTo>
                <a:lnTo>
                  <a:pt x="2582" y="3163"/>
                </a:lnTo>
                <a:lnTo>
                  <a:pt x="2563" y="3164"/>
                </a:lnTo>
                <a:lnTo>
                  <a:pt x="2560" y="3167"/>
                </a:lnTo>
                <a:lnTo>
                  <a:pt x="2561" y="3175"/>
                </a:lnTo>
                <a:lnTo>
                  <a:pt x="2557" y="3182"/>
                </a:lnTo>
                <a:lnTo>
                  <a:pt x="2555" y="3193"/>
                </a:lnTo>
                <a:lnTo>
                  <a:pt x="2547" y="3200"/>
                </a:lnTo>
                <a:lnTo>
                  <a:pt x="2541" y="3209"/>
                </a:lnTo>
                <a:lnTo>
                  <a:pt x="2541" y="3206"/>
                </a:lnTo>
                <a:lnTo>
                  <a:pt x="2544" y="3200"/>
                </a:lnTo>
                <a:lnTo>
                  <a:pt x="2538" y="3199"/>
                </a:lnTo>
                <a:lnTo>
                  <a:pt x="2532" y="3194"/>
                </a:lnTo>
                <a:lnTo>
                  <a:pt x="2531" y="3187"/>
                </a:lnTo>
                <a:lnTo>
                  <a:pt x="2528" y="3193"/>
                </a:lnTo>
                <a:lnTo>
                  <a:pt x="2526" y="3187"/>
                </a:lnTo>
                <a:lnTo>
                  <a:pt x="2520" y="3184"/>
                </a:lnTo>
                <a:lnTo>
                  <a:pt x="2519" y="3193"/>
                </a:lnTo>
                <a:lnTo>
                  <a:pt x="2526" y="3202"/>
                </a:lnTo>
                <a:lnTo>
                  <a:pt x="2532" y="3205"/>
                </a:lnTo>
                <a:lnTo>
                  <a:pt x="2535" y="3208"/>
                </a:lnTo>
                <a:lnTo>
                  <a:pt x="2537" y="3217"/>
                </a:lnTo>
                <a:lnTo>
                  <a:pt x="2534" y="3224"/>
                </a:lnTo>
                <a:lnTo>
                  <a:pt x="2526" y="3227"/>
                </a:lnTo>
                <a:lnTo>
                  <a:pt x="2520" y="3232"/>
                </a:lnTo>
                <a:lnTo>
                  <a:pt x="2517" y="3234"/>
                </a:lnTo>
                <a:lnTo>
                  <a:pt x="2508" y="3234"/>
                </a:lnTo>
                <a:lnTo>
                  <a:pt x="2498" y="3237"/>
                </a:lnTo>
                <a:lnTo>
                  <a:pt x="2504" y="3243"/>
                </a:lnTo>
                <a:lnTo>
                  <a:pt x="2492" y="3250"/>
                </a:lnTo>
                <a:lnTo>
                  <a:pt x="2487" y="3246"/>
                </a:lnTo>
                <a:lnTo>
                  <a:pt x="2486" y="3238"/>
                </a:lnTo>
                <a:lnTo>
                  <a:pt x="2489" y="3235"/>
                </a:lnTo>
                <a:lnTo>
                  <a:pt x="2489" y="3227"/>
                </a:lnTo>
                <a:lnTo>
                  <a:pt x="2484" y="3224"/>
                </a:lnTo>
                <a:lnTo>
                  <a:pt x="2478" y="3240"/>
                </a:lnTo>
                <a:lnTo>
                  <a:pt x="2478" y="3252"/>
                </a:lnTo>
                <a:lnTo>
                  <a:pt x="2486" y="3256"/>
                </a:lnTo>
                <a:lnTo>
                  <a:pt x="2487" y="3265"/>
                </a:lnTo>
                <a:lnTo>
                  <a:pt x="2481" y="3268"/>
                </a:lnTo>
                <a:lnTo>
                  <a:pt x="2483" y="3274"/>
                </a:lnTo>
                <a:lnTo>
                  <a:pt x="2487" y="3291"/>
                </a:lnTo>
                <a:lnTo>
                  <a:pt x="2486" y="3306"/>
                </a:lnTo>
                <a:lnTo>
                  <a:pt x="2483" y="3304"/>
                </a:lnTo>
                <a:lnTo>
                  <a:pt x="2486" y="3312"/>
                </a:lnTo>
                <a:lnTo>
                  <a:pt x="2486" y="3320"/>
                </a:lnTo>
                <a:lnTo>
                  <a:pt x="2474" y="3326"/>
                </a:lnTo>
                <a:lnTo>
                  <a:pt x="2466" y="3329"/>
                </a:lnTo>
                <a:lnTo>
                  <a:pt x="2457" y="3332"/>
                </a:lnTo>
                <a:lnTo>
                  <a:pt x="2448" y="3342"/>
                </a:lnTo>
                <a:lnTo>
                  <a:pt x="2436" y="3353"/>
                </a:lnTo>
                <a:lnTo>
                  <a:pt x="2439" y="3348"/>
                </a:lnTo>
                <a:lnTo>
                  <a:pt x="2445" y="3339"/>
                </a:lnTo>
                <a:lnTo>
                  <a:pt x="2445" y="3333"/>
                </a:lnTo>
                <a:lnTo>
                  <a:pt x="2452" y="3329"/>
                </a:lnTo>
                <a:lnTo>
                  <a:pt x="2459" y="3323"/>
                </a:lnTo>
                <a:lnTo>
                  <a:pt x="2459" y="3320"/>
                </a:lnTo>
                <a:lnTo>
                  <a:pt x="2448" y="3321"/>
                </a:lnTo>
                <a:lnTo>
                  <a:pt x="2451" y="3315"/>
                </a:lnTo>
                <a:lnTo>
                  <a:pt x="2448" y="3309"/>
                </a:lnTo>
                <a:lnTo>
                  <a:pt x="2442" y="3304"/>
                </a:lnTo>
                <a:lnTo>
                  <a:pt x="2434" y="3307"/>
                </a:lnTo>
                <a:lnTo>
                  <a:pt x="2433" y="3312"/>
                </a:lnTo>
                <a:lnTo>
                  <a:pt x="2424" y="3310"/>
                </a:lnTo>
                <a:lnTo>
                  <a:pt x="2424" y="3315"/>
                </a:lnTo>
                <a:lnTo>
                  <a:pt x="2437" y="3317"/>
                </a:lnTo>
                <a:lnTo>
                  <a:pt x="2439" y="3318"/>
                </a:lnTo>
                <a:lnTo>
                  <a:pt x="2442" y="3323"/>
                </a:lnTo>
                <a:lnTo>
                  <a:pt x="2434" y="3332"/>
                </a:lnTo>
                <a:lnTo>
                  <a:pt x="2433" y="3335"/>
                </a:lnTo>
                <a:lnTo>
                  <a:pt x="2430" y="3336"/>
                </a:lnTo>
                <a:lnTo>
                  <a:pt x="2427" y="3333"/>
                </a:lnTo>
                <a:lnTo>
                  <a:pt x="2425" y="3336"/>
                </a:lnTo>
                <a:lnTo>
                  <a:pt x="2430" y="3342"/>
                </a:lnTo>
                <a:lnTo>
                  <a:pt x="2430" y="3347"/>
                </a:lnTo>
                <a:lnTo>
                  <a:pt x="2422" y="3351"/>
                </a:lnTo>
                <a:lnTo>
                  <a:pt x="2424" y="3359"/>
                </a:lnTo>
                <a:lnTo>
                  <a:pt x="2427" y="3351"/>
                </a:lnTo>
                <a:lnTo>
                  <a:pt x="2436" y="3350"/>
                </a:lnTo>
                <a:lnTo>
                  <a:pt x="2436" y="3353"/>
                </a:lnTo>
                <a:lnTo>
                  <a:pt x="2421" y="3368"/>
                </a:lnTo>
                <a:lnTo>
                  <a:pt x="2422" y="3372"/>
                </a:lnTo>
                <a:lnTo>
                  <a:pt x="2422" y="3383"/>
                </a:lnTo>
                <a:lnTo>
                  <a:pt x="2422" y="3406"/>
                </a:lnTo>
                <a:lnTo>
                  <a:pt x="2427" y="3421"/>
                </a:lnTo>
                <a:lnTo>
                  <a:pt x="2425" y="3433"/>
                </a:lnTo>
                <a:lnTo>
                  <a:pt x="2416" y="3446"/>
                </a:lnTo>
                <a:lnTo>
                  <a:pt x="2415" y="3451"/>
                </a:lnTo>
                <a:lnTo>
                  <a:pt x="2400" y="3449"/>
                </a:lnTo>
                <a:lnTo>
                  <a:pt x="2394" y="3454"/>
                </a:lnTo>
                <a:lnTo>
                  <a:pt x="2380" y="3473"/>
                </a:lnTo>
                <a:lnTo>
                  <a:pt x="2371" y="3501"/>
                </a:lnTo>
                <a:lnTo>
                  <a:pt x="2370" y="3508"/>
                </a:lnTo>
                <a:lnTo>
                  <a:pt x="2365" y="3510"/>
                </a:lnTo>
                <a:lnTo>
                  <a:pt x="2359" y="3516"/>
                </a:lnTo>
                <a:lnTo>
                  <a:pt x="2359" y="3522"/>
                </a:lnTo>
                <a:lnTo>
                  <a:pt x="2354" y="3520"/>
                </a:lnTo>
                <a:lnTo>
                  <a:pt x="2348" y="3520"/>
                </a:lnTo>
                <a:lnTo>
                  <a:pt x="2347" y="3526"/>
                </a:lnTo>
                <a:lnTo>
                  <a:pt x="2344" y="3529"/>
                </a:lnTo>
                <a:lnTo>
                  <a:pt x="2347" y="3531"/>
                </a:lnTo>
                <a:lnTo>
                  <a:pt x="2353" y="3528"/>
                </a:lnTo>
                <a:lnTo>
                  <a:pt x="2360" y="3529"/>
                </a:lnTo>
                <a:lnTo>
                  <a:pt x="2367" y="3531"/>
                </a:lnTo>
                <a:lnTo>
                  <a:pt x="2368" y="3535"/>
                </a:lnTo>
                <a:lnTo>
                  <a:pt x="2370" y="3541"/>
                </a:lnTo>
                <a:lnTo>
                  <a:pt x="2371" y="3546"/>
                </a:lnTo>
                <a:lnTo>
                  <a:pt x="2379" y="3553"/>
                </a:lnTo>
                <a:lnTo>
                  <a:pt x="2382" y="3561"/>
                </a:lnTo>
                <a:lnTo>
                  <a:pt x="2386" y="3585"/>
                </a:lnTo>
                <a:lnTo>
                  <a:pt x="2395" y="3605"/>
                </a:lnTo>
                <a:lnTo>
                  <a:pt x="2412" y="3618"/>
                </a:lnTo>
                <a:lnTo>
                  <a:pt x="2434" y="3629"/>
                </a:lnTo>
                <a:lnTo>
                  <a:pt x="2443" y="3630"/>
                </a:lnTo>
                <a:lnTo>
                  <a:pt x="2448" y="3629"/>
                </a:lnTo>
                <a:lnTo>
                  <a:pt x="2451" y="3635"/>
                </a:lnTo>
                <a:lnTo>
                  <a:pt x="2449" y="3639"/>
                </a:lnTo>
                <a:lnTo>
                  <a:pt x="2448" y="3641"/>
                </a:lnTo>
                <a:lnTo>
                  <a:pt x="2449" y="3642"/>
                </a:lnTo>
                <a:lnTo>
                  <a:pt x="2446" y="3650"/>
                </a:lnTo>
                <a:lnTo>
                  <a:pt x="2445" y="3654"/>
                </a:lnTo>
                <a:lnTo>
                  <a:pt x="2434" y="3653"/>
                </a:lnTo>
                <a:lnTo>
                  <a:pt x="2427" y="3651"/>
                </a:lnTo>
                <a:lnTo>
                  <a:pt x="2416" y="3651"/>
                </a:lnTo>
                <a:lnTo>
                  <a:pt x="2400" y="3648"/>
                </a:lnTo>
                <a:lnTo>
                  <a:pt x="2391" y="3648"/>
                </a:lnTo>
                <a:lnTo>
                  <a:pt x="2374" y="3654"/>
                </a:lnTo>
                <a:lnTo>
                  <a:pt x="2357" y="3650"/>
                </a:lnTo>
                <a:lnTo>
                  <a:pt x="2348" y="3653"/>
                </a:lnTo>
                <a:lnTo>
                  <a:pt x="2342" y="3668"/>
                </a:lnTo>
                <a:lnTo>
                  <a:pt x="2336" y="3676"/>
                </a:lnTo>
                <a:lnTo>
                  <a:pt x="2318" y="3685"/>
                </a:lnTo>
                <a:lnTo>
                  <a:pt x="2300" y="3694"/>
                </a:lnTo>
                <a:lnTo>
                  <a:pt x="2290" y="3706"/>
                </a:lnTo>
                <a:lnTo>
                  <a:pt x="2278" y="3716"/>
                </a:lnTo>
                <a:lnTo>
                  <a:pt x="2278" y="3722"/>
                </a:lnTo>
                <a:lnTo>
                  <a:pt x="2265" y="3728"/>
                </a:lnTo>
                <a:lnTo>
                  <a:pt x="2262" y="3728"/>
                </a:lnTo>
                <a:lnTo>
                  <a:pt x="2265" y="3724"/>
                </a:lnTo>
                <a:lnTo>
                  <a:pt x="2267" y="3718"/>
                </a:lnTo>
                <a:lnTo>
                  <a:pt x="2262" y="3712"/>
                </a:lnTo>
                <a:lnTo>
                  <a:pt x="2267" y="3707"/>
                </a:lnTo>
                <a:lnTo>
                  <a:pt x="2274" y="3703"/>
                </a:lnTo>
                <a:lnTo>
                  <a:pt x="2287" y="3695"/>
                </a:lnTo>
                <a:lnTo>
                  <a:pt x="2302" y="3685"/>
                </a:lnTo>
                <a:lnTo>
                  <a:pt x="2306" y="3683"/>
                </a:lnTo>
                <a:lnTo>
                  <a:pt x="2306" y="3677"/>
                </a:lnTo>
                <a:lnTo>
                  <a:pt x="2300" y="3679"/>
                </a:lnTo>
                <a:lnTo>
                  <a:pt x="2285" y="3683"/>
                </a:lnTo>
                <a:lnTo>
                  <a:pt x="2273" y="3689"/>
                </a:lnTo>
                <a:lnTo>
                  <a:pt x="2262" y="3686"/>
                </a:lnTo>
                <a:lnTo>
                  <a:pt x="2259" y="3676"/>
                </a:lnTo>
                <a:lnTo>
                  <a:pt x="2258" y="3670"/>
                </a:lnTo>
                <a:lnTo>
                  <a:pt x="2250" y="3670"/>
                </a:lnTo>
                <a:lnTo>
                  <a:pt x="2241" y="3668"/>
                </a:lnTo>
                <a:lnTo>
                  <a:pt x="2232" y="3664"/>
                </a:lnTo>
                <a:lnTo>
                  <a:pt x="2216" y="3656"/>
                </a:lnTo>
                <a:lnTo>
                  <a:pt x="2204" y="3654"/>
                </a:lnTo>
                <a:lnTo>
                  <a:pt x="2198" y="3657"/>
                </a:lnTo>
                <a:lnTo>
                  <a:pt x="2195" y="3650"/>
                </a:lnTo>
                <a:lnTo>
                  <a:pt x="2199" y="3644"/>
                </a:lnTo>
                <a:lnTo>
                  <a:pt x="2190" y="3645"/>
                </a:lnTo>
                <a:lnTo>
                  <a:pt x="2190" y="3651"/>
                </a:lnTo>
                <a:lnTo>
                  <a:pt x="2187" y="3656"/>
                </a:lnTo>
                <a:lnTo>
                  <a:pt x="2179" y="3659"/>
                </a:lnTo>
                <a:lnTo>
                  <a:pt x="2172" y="3659"/>
                </a:lnTo>
                <a:lnTo>
                  <a:pt x="2169" y="3656"/>
                </a:lnTo>
                <a:lnTo>
                  <a:pt x="2149" y="3656"/>
                </a:lnTo>
                <a:lnTo>
                  <a:pt x="2149" y="3662"/>
                </a:lnTo>
                <a:lnTo>
                  <a:pt x="2143" y="3668"/>
                </a:lnTo>
                <a:lnTo>
                  <a:pt x="2133" y="3671"/>
                </a:lnTo>
                <a:lnTo>
                  <a:pt x="2130" y="3671"/>
                </a:lnTo>
                <a:lnTo>
                  <a:pt x="2118" y="3665"/>
                </a:lnTo>
                <a:lnTo>
                  <a:pt x="2110" y="3674"/>
                </a:lnTo>
                <a:lnTo>
                  <a:pt x="2112" y="3682"/>
                </a:lnTo>
                <a:lnTo>
                  <a:pt x="2119" y="3685"/>
                </a:lnTo>
                <a:lnTo>
                  <a:pt x="2115" y="3689"/>
                </a:lnTo>
                <a:lnTo>
                  <a:pt x="2118" y="3695"/>
                </a:lnTo>
                <a:lnTo>
                  <a:pt x="2127" y="3697"/>
                </a:lnTo>
                <a:lnTo>
                  <a:pt x="2127" y="3691"/>
                </a:lnTo>
                <a:lnTo>
                  <a:pt x="2134" y="3701"/>
                </a:lnTo>
                <a:lnTo>
                  <a:pt x="2145" y="3707"/>
                </a:lnTo>
                <a:lnTo>
                  <a:pt x="2151" y="3713"/>
                </a:lnTo>
                <a:lnTo>
                  <a:pt x="2143" y="3719"/>
                </a:lnTo>
                <a:lnTo>
                  <a:pt x="2131" y="3706"/>
                </a:lnTo>
                <a:lnTo>
                  <a:pt x="2127" y="3707"/>
                </a:lnTo>
                <a:lnTo>
                  <a:pt x="2121" y="3701"/>
                </a:lnTo>
                <a:lnTo>
                  <a:pt x="2107" y="3706"/>
                </a:lnTo>
                <a:lnTo>
                  <a:pt x="2107" y="3715"/>
                </a:lnTo>
                <a:lnTo>
                  <a:pt x="2125" y="3725"/>
                </a:lnTo>
                <a:lnTo>
                  <a:pt x="2125" y="3734"/>
                </a:lnTo>
                <a:lnTo>
                  <a:pt x="2115" y="3736"/>
                </a:lnTo>
                <a:lnTo>
                  <a:pt x="2106" y="3727"/>
                </a:lnTo>
                <a:lnTo>
                  <a:pt x="2104" y="3718"/>
                </a:lnTo>
                <a:lnTo>
                  <a:pt x="2098" y="3713"/>
                </a:lnTo>
                <a:lnTo>
                  <a:pt x="2090" y="3716"/>
                </a:lnTo>
                <a:lnTo>
                  <a:pt x="2089" y="3724"/>
                </a:lnTo>
                <a:lnTo>
                  <a:pt x="2110" y="3740"/>
                </a:lnTo>
                <a:lnTo>
                  <a:pt x="2101" y="3745"/>
                </a:lnTo>
                <a:lnTo>
                  <a:pt x="2092" y="3737"/>
                </a:lnTo>
                <a:lnTo>
                  <a:pt x="2089" y="3742"/>
                </a:lnTo>
                <a:lnTo>
                  <a:pt x="2083" y="3736"/>
                </a:lnTo>
                <a:lnTo>
                  <a:pt x="2086" y="3725"/>
                </a:lnTo>
                <a:lnTo>
                  <a:pt x="2083" y="3718"/>
                </a:lnTo>
                <a:lnTo>
                  <a:pt x="2071" y="3715"/>
                </a:lnTo>
                <a:lnTo>
                  <a:pt x="2068" y="3706"/>
                </a:lnTo>
                <a:lnTo>
                  <a:pt x="2059" y="3707"/>
                </a:lnTo>
                <a:lnTo>
                  <a:pt x="2057" y="3701"/>
                </a:lnTo>
                <a:lnTo>
                  <a:pt x="2056" y="3695"/>
                </a:lnTo>
                <a:lnTo>
                  <a:pt x="2059" y="3689"/>
                </a:lnTo>
                <a:lnTo>
                  <a:pt x="2060" y="3682"/>
                </a:lnTo>
                <a:lnTo>
                  <a:pt x="2050" y="3679"/>
                </a:lnTo>
                <a:lnTo>
                  <a:pt x="2048" y="3686"/>
                </a:lnTo>
                <a:lnTo>
                  <a:pt x="2042" y="3691"/>
                </a:lnTo>
                <a:lnTo>
                  <a:pt x="2036" y="3700"/>
                </a:lnTo>
                <a:lnTo>
                  <a:pt x="2039" y="3712"/>
                </a:lnTo>
                <a:lnTo>
                  <a:pt x="2036" y="3722"/>
                </a:lnTo>
                <a:lnTo>
                  <a:pt x="2041" y="3737"/>
                </a:lnTo>
                <a:lnTo>
                  <a:pt x="2056" y="3753"/>
                </a:lnTo>
                <a:lnTo>
                  <a:pt x="2057" y="3771"/>
                </a:lnTo>
                <a:lnTo>
                  <a:pt x="2066" y="3774"/>
                </a:lnTo>
                <a:lnTo>
                  <a:pt x="2086" y="3793"/>
                </a:lnTo>
                <a:lnTo>
                  <a:pt x="2084" y="3813"/>
                </a:lnTo>
                <a:lnTo>
                  <a:pt x="2071" y="3811"/>
                </a:lnTo>
                <a:lnTo>
                  <a:pt x="2071" y="3805"/>
                </a:lnTo>
                <a:lnTo>
                  <a:pt x="2080" y="3804"/>
                </a:lnTo>
                <a:lnTo>
                  <a:pt x="2074" y="3798"/>
                </a:lnTo>
                <a:lnTo>
                  <a:pt x="2063" y="3786"/>
                </a:lnTo>
                <a:lnTo>
                  <a:pt x="2056" y="3793"/>
                </a:lnTo>
                <a:lnTo>
                  <a:pt x="2059" y="3799"/>
                </a:lnTo>
                <a:lnTo>
                  <a:pt x="2056" y="3804"/>
                </a:lnTo>
                <a:lnTo>
                  <a:pt x="2060" y="3807"/>
                </a:lnTo>
                <a:lnTo>
                  <a:pt x="2069" y="3810"/>
                </a:lnTo>
                <a:lnTo>
                  <a:pt x="2062" y="3822"/>
                </a:lnTo>
                <a:lnTo>
                  <a:pt x="2054" y="3825"/>
                </a:lnTo>
                <a:lnTo>
                  <a:pt x="2045" y="3823"/>
                </a:lnTo>
                <a:lnTo>
                  <a:pt x="2035" y="3820"/>
                </a:lnTo>
                <a:lnTo>
                  <a:pt x="2033" y="3828"/>
                </a:lnTo>
                <a:lnTo>
                  <a:pt x="2047" y="3829"/>
                </a:lnTo>
                <a:lnTo>
                  <a:pt x="2057" y="3834"/>
                </a:lnTo>
                <a:lnTo>
                  <a:pt x="2057" y="3840"/>
                </a:lnTo>
                <a:lnTo>
                  <a:pt x="2066" y="3842"/>
                </a:lnTo>
                <a:lnTo>
                  <a:pt x="2066" y="3837"/>
                </a:lnTo>
                <a:lnTo>
                  <a:pt x="2081" y="3846"/>
                </a:lnTo>
                <a:lnTo>
                  <a:pt x="2086" y="3857"/>
                </a:lnTo>
                <a:lnTo>
                  <a:pt x="2090" y="3860"/>
                </a:lnTo>
                <a:lnTo>
                  <a:pt x="2101" y="3861"/>
                </a:lnTo>
                <a:lnTo>
                  <a:pt x="2107" y="3869"/>
                </a:lnTo>
                <a:lnTo>
                  <a:pt x="2122" y="3876"/>
                </a:lnTo>
                <a:lnTo>
                  <a:pt x="2128" y="3884"/>
                </a:lnTo>
                <a:lnTo>
                  <a:pt x="2125" y="3894"/>
                </a:lnTo>
                <a:lnTo>
                  <a:pt x="2127" y="3897"/>
                </a:lnTo>
                <a:lnTo>
                  <a:pt x="2125" y="3902"/>
                </a:lnTo>
                <a:lnTo>
                  <a:pt x="2131" y="3911"/>
                </a:lnTo>
                <a:lnTo>
                  <a:pt x="2137" y="3920"/>
                </a:lnTo>
                <a:lnTo>
                  <a:pt x="2125" y="3923"/>
                </a:lnTo>
                <a:lnTo>
                  <a:pt x="2119" y="3915"/>
                </a:lnTo>
                <a:lnTo>
                  <a:pt x="2113" y="3915"/>
                </a:lnTo>
                <a:lnTo>
                  <a:pt x="2106" y="3906"/>
                </a:lnTo>
                <a:lnTo>
                  <a:pt x="2100" y="3902"/>
                </a:lnTo>
                <a:lnTo>
                  <a:pt x="2101" y="3896"/>
                </a:lnTo>
                <a:lnTo>
                  <a:pt x="2092" y="3894"/>
                </a:lnTo>
                <a:lnTo>
                  <a:pt x="2081" y="3899"/>
                </a:lnTo>
                <a:lnTo>
                  <a:pt x="2084" y="3902"/>
                </a:lnTo>
                <a:lnTo>
                  <a:pt x="2068" y="3903"/>
                </a:lnTo>
                <a:lnTo>
                  <a:pt x="2063" y="3899"/>
                </a:lnTo>
                <a:lnTo>
                  <a:pt x="2057" y="3896"/>
                </a:lnTo>
                <a:lnTo>
                  <a:pt x="2065" y="3891"/>
                </a:lnTo>
                <a:lnTo>
                  <a:pt x="2072" y="3893"/>
                </a:lnTo>
                <a:lnTo>
                  <a:pt x="2080" y="3893"/>
                </a:lnTo>
                <a:lnTo>
                  <a:pt x="2077" y="3887"/>
                </a:lnTo>
                <a:lnTo>
                  <a:pt x="2068" y="3882"/>
                </a:lnTo>
                <a:lnTo>
                  <a:pt x="2062" y="3884"/>
                </a:lnTo>
                <a:lnTo>
                  <a:pt x="2057" y="3882"/>
                </a:lnTo>
                <a:lnTo>
                  <a:pt x="2047" y="3870"/>
                </a:lnTo>
                <a:lnTo>
                  <a:pt x="2048" y="3879"/>
                </a:lnTo>
                <a:lnTo>
                  <a:pt x="2038" y="3878"/>
                </a:lnTo>
                <a:lnTo>
                  <a:pt x="2036" y="3869"/>
                </a:lnTo>
                <a:lnTo>
                  <a:pt x="2033" y="3872"/>
                </a:lnTo>
                <a:lnTo>
                  <a:pt x="2026" y="3867"/>
                </a:lnTo>
                <a:lnTo>
                  <a:pt x="2017" y="3872"/>
                </a:lnTo>
                <a:lnTo>
                  <a:pt x="2009" y="3866"/>
                </a:lnTo>
                <a:lnTo>
                  <a:pt x="1992" y="3869"/>
                </a:lnTo>
                <a:lnTo>
                  <a:pt x="1992" y="3869"/>
                </a:lnTo>
                <a:lnTo>
                  <a:pt x="1979" y="3867"/>
                </a:lnTo>
                <a:lnTo>
                  <a:pt x="1979" y="3867"/>
                </a:lnTo>
                <a:lnTo>
                  <a:pt x="1974" y="3870"/>
                </a:lnTo>
                <a:lnTo>
                  <a:pt x="1971" y="3873"/>
                </a:lnTo>
                <a:lnTo>
                  <a:pt x="1961" y="3870"/>
                </a:lnTo>
                <a:lnTo>
                  <a:pt x="1953" y="3860"/>
                </a:lnTo>
                <a:lnTo>
                  <a:pt x="1949" y="3866"/>
                </a:lnTo>
                <a:lnTo>
                  <a:pt x="1947" y="3870"/>
                </a:lnTo>
                <a:lnTo>
                  <a:pt x="1943" y="3869"/>
                </a:lnTo>
                <a:lnTo>
                  <a:pt x="1941" y="3860"/>
                </a:lnTo>
                <a:lnTo>
                  <a:pt x="1935" y="3852"/>
                </a:lnTo>
                <a:lnTo>
                  <a:pt x="1935" y="3846"/>
                </a:lnTo>
                <a:lnTo>
                  <a:pt x="1929" y="3848"/>
                </a:lnTo>
                <a:lnTo>
                  <a:pt x="1928" y="3836"/>
                </a:lnTo>
                <a:lnTo>
                  <a:pt x="1917" y="3834"/>
                </a:lnTo>
                <a:lnTo>
                  <a:pt x="1916" y="3826"/>
                </a:lnTo>
                <a:lnTo>
                  <a:pt x="1919" y="3820"/>
                </a:lnTo>
                <a:lnTo>
                  <a:pt x="1929" y="3817"/>
                </a:lnTo>
                <a:lnTo>
                  <a:pt x="1935" y="3822"/>
                </a:lnTo>
                <a:lnTo>
                  <a:pt x="1940" y="3825"/>
                </a:lnTo>
                <a:lnTo>
                  <a:pt x="1938" y="3816"/>
                </a:lnTo>
                <a:lnTo>
                  <a:pt x="1935" y="3811"/>
                </a:lnTo>
                <a:lnTo>
                  <a:pt x="1925" y="3811"/>
                </a:lnTo>
                <a:lnTo>
                  <a:pt x="1920" y="3807"/>
                </a:lnTo>
                <a:lnTo>
                  <a:pt x="1917" y="3813"/>
                </a:lnTo>
                <a:lnTo>
                  <a:pt x="1916" y="3819"/>
                </a:lnTo>
                <a:lnTo>
                  <a:pt x="1912" y="3816"/>
                </a:lnTo>
                <a:lnTo>
                  <a:pt x="1911" y="3808"/>
                </a:lnTo>
                <a:lnTo>
                  <a:pt x="1905" y="3799"/>
                </a:lnTo>
                <a:lnTo>
                  <a:pt x="1894" y="3799"/>
                </a:lnTo>
                <a:lnTo>
                  <a:pt x="1885" y="3787"/>
                </a:lnTo>
                <a:lnTo>
                  <a:pt x="1888" y="3783"/>
                </a:lnTo>
                <a:lnTo>
                  <a:pt x="1882" y="3781"/>
                </a:lnTo>
                <a:lnTo>
                  <a:pt x="1881" y="3771"/>
                </a:lnTo>
                <a:lnTo>
                  <a:pt x="1876" y="3765"/>
                </a:lnTo>
                <a:lnTo>
                  <a:pt x="1878" y="3760"/>
                </a:lnTo>
                <a:lnTo>
                  <a:pt x="1872" y="3760"/>
                </a:lnTo>
                <a:lnTo>
                  <a:pt x="1870" y="3756"/>
                </a:lnTo>
                <a:lnTo>
                  <a:pt x="1867" y="3753"/>
                </a:lnTo>
                <a:lnTo>
                  <a:pt x="1869" y="3748"/>
                </a:lnTo>
                <a:lnTo>
                  <a:pt x="1866" y="3739"/>
                </a:lnTo>
                <a:lnTo>
                  <a:pt x="1855" y="3731"/>
                </a:lnTo>
                <a:lnTo>
                  <a:pt x="1842" y="3725"/>
                </a:lnTo>
                <a:lnTo>
                  <a:pt x="1836" y="3713"/>
                </a:lnTo>
                <a:lnTo>
                  <a:pt x="1834" y="3709"/>
                </a:lnTo>
                <a:lnTo>
                  <a:pt x="1828" y="3698"/>
                </a:lnTo>
                <a:lnTo>
                  <a:pt x="1830" y="3695"/>
                </a:lnTo>
                <a:lnTo>
                  <a:pt x="1836" y="3700"/>
                </a:lnTo>
                <a:lnTo>
                  <a:pt x="1836" y="3694"/>
                </a:lnTo>
                <a:lnTo>
                  <a:pt x="1836" y="3691"/>
                </a:lnTo>
                <a:lnTo>
                  <a:pt x="1831" y="3689"/>
                </a:lnTo>
                <a:lnTo>
                  <a:pt x="1827" y="3683"/>
                </a:lnTo>
                <a:lnTo>
                  <a:pt x="1827" y="3676"/>
                </a:lnTo>
                <a:lnTo>
                  <a:pt x="1833" y="3668"/>
                </a:lnTo>
                <a:lnTo>
                  <a:pt x="1836" y="3664"/>
                </a:lnTo>
                <a:lnTo>
                  <a:pt x="1837" y="3654"/>
                </a:lnTo>
                <a:lnTo>
                  <a:pt x="1839" y="3648"/>
                </a:lnTo>
                <a:lnTo>
                  <a:pt x="1834" y="3642"/>
                </a:lnTo>
                <a:lnTo>
                  <a:pt x="1839" y="3636"/>
                </a:lnTo>
                <a:lnTo>
                  <a:pt x="1834" y="3629"/>
                </a:lnTo>
                <a:lnTo>
                  <a:pt x="1833" y="3624"/>
                </a:lnTo>
                <a:lnTo>
                  <a:pt x="1837" y="3621"/>
                </a:lnTo>
                <a:lnTo>
                  <a:pt x="1834" y="3612"/>
                </a:lnTo>
                <a:lnTo>
                  <a:pt x="1836" y="3608"/>
                </a:lnTo>
                <a:lnTo>
                  <a:pt x="1845" y="3597"/>
                </a:lnTo>
                <a:lnTo>
                  <a:pt x="1842" y="3593"/>
                </a:lnTo>
                <a:lnTo>
                  <a:pt x="1836" y="3590"/>
                </a:lnTo>
                <a:lnTo>
                  <a:pt x="1828" y="3590"/>
                </a:lnTo>
                <a:lnTo>
                  <a:pt x="1827" y="3585"/>
                </a:lnTo>
                <a:lnTo>
                  <a:pt x="1825" y="3578"/>
                </a:lnTo>
                <a:lnTo>
                  <a:pt x="1813" y="3562"/>
                </a:lnTo>
                <a:lnTo>
                  <a:pt x="1798" y="3555"/>
                </a:lnTo>
                <a:lnTo>
                  <a:pt x="1792" y="3547"/>
                </a:lnTo>
                <a:lnTo>
                  <a:pt x="1781" y="3546"/>
                </a:lnTo>
                <a:lnTo>
                  <a:pt x="1780" y="3540"/>
                </a:lnTo>
                <a:lnTo>
                  <a:pt x="1784" y="3541"/>
                </a:lnTo>
                <a:lnTo>
                  <a:pt x="1787" y="3540"/>
                </a:lnTo>
                <a:lnTo>
                  <a:pt x="1787" y="3534"/>
                </a:lnTo>
                <a:lnTo>
                  <a:pt x="1781" y="3531"/>
                </a:lnTo>
                <a:lnTo>
                  <a:pt x="1783" y="3537"/>
                </a:lnTo>
                <a:lnTo>
                  <a:pt x="1778" y="3537"/>
                </a:lnTo>
                <a:lnTo>
                  <a:pt x="1778" y="3537"/>
                </a:lnTo>
                <a:lnTo>
                  <a:pt x="1775" y="3534"/>
                </a:lnTo>
                <a:lnTo>
                  <a:pt x="1769" y="3529"/>
                </a:lnTo>
                <a:lnTo>
                  <a:pt x="1769" y="3529"/>
                </a:lnTo>
                <a:lnTo>
                  <a:pt x="1765" y="3525"/>
                </a:lnTo>
                <a:lnTo>
                  <a:pt x="1747" y="3514"/>
                </a:lnTo>
                <a:lnTo>
                  <a:pt x="1738" y="3502"/>
                </a:lnTo>
                <a:lnTo>
                  <a:pt x="1728" y="3498"/>
                </a:lnTo>
                <a:lnTo>
                  <a:pt x="1731" y="3507"/>
                </a:lnTo>
                <a:lnTo>
                  <a:pt x="1722" y="3499"/>
                </a:lnTo>
                <a:lnTo>
                  <a:pt x="1706" y="3493"/>
                </a:lnTo>
                <a:lnTo>
                  <a:pt x="1698" y="3492"/>
                </a:lnTo>
                <a:lnTo>
                  <a:pt x="1686" y="3488"/>
                </a:lnTo>
                <a:lnTo>
                  <a:pt x="1680" y="3481"/>
                </a:lnTo>
                <a:lnTo>
                  <a:pt x="1698" y="3482"/>
                </a:lnTo>
                <a:lnTo>
                  <a:pt x="1707" y="3485"/>
                </a:lnTo>
                <a:lnTo>
                  <a:pt x="1719" y="3488"/>
                </a:lnTo>
                <a:lnTo>
                  <a:pt x="1722" y="3492"/>
                </a:lnTo>
                <a:lnTo>
                  <a:pt x="1721" y="3484"/>
                </a:lnTo>
                <a:lnTo>
                  <a:pt x="1715" y="3481"/>
                </a:lnTo>
                <a:lnTo>
                  <a:pt x="1721" y="3476"/>
                </a:lnTo>
                <a:lnTo>
                  <a:pt x="1712" y="3478"/>
                </a:lnTo>
                <a:lnTo>
                  <a:pt x="1703" y="3476"/>
                </a:lnTo>
                <a:lnTo>
                  <a:pt x="1679" y="3460"/>
                </a:lnTo>
                <a:lnTo>
                  <a:pt x="1674" y="3451"/>
                </a:lnTo>
                <a:lnTo>
                  <a:pt x="1661" y="3440"/>
                </a:lnTo>
                <a:lnTo>
                  <a:pt x="1643" y="3437"/>
                </a:lnTo>
                <a:lnTo>
                  <a:pt x="1633" y="3442"/>
                </a:lnTo>
                <a:lnTo>
                  <a:pt x="1617" y="3440"/>
                </a:lnTo>
                <a:lnTo>
                  <a:pt x="1609" y="3430"/>
                </a:lnTo>
                <a:lnTo>
                  <a:pt x="1611" y="3425"/>
                </a:lnTo>
                <a:lnTo>
                  <a:pt x="1591" y="3410"/>
                </a:lnTo>
                <a:lnTo>
                  <a:pt x="1563" y="3374"/>
                </a:lnTo>
                <a:lnTo>
                  <a:pt x="1563" y="3371"/>
                </a:lnTo>
                <a:lnTo>
                  <a:pt x="1569" y="3372"/>
                </a:lnTo>
                <a:lnTo>
                  <a:pt x="1573" y="3371"/>
                </a:lnTo>
                <a:lnTo>
                  <a:pt x="1569" y="3366"/>
                </a:lnTo>
                <a:lnTo>
                  <a:pt x="1569" y="3363"/>
                </a:lnTo>
                <a:lnTo>
                  <a:pt x="1579" y="3369"/>
                </a:lnTo>
                <a:lnTo>
                  <a:pt x="1587" y="3375"/>
                </a:lnTo>
                <a:lnTo>
                  <a:pt x="1588" y="3369"/>
                </a:lnTo>
                <a:lnTo>
                  <a:pt x="1582" y="3368"/>
                </a:lnTo>
                <a:lnTo>
                  <a:pt x="1567" y="3356"/>
                </a:lnTo>
                <a:lnTo>
                  <a:pt x="1560" y="3345"/>
                </a:lnTo>
                <a:lnTo>
                  <a:pt x="1555" y="3336"/>
                </a:lnTo>
                <a:lnTo>
                  <a:pt x="1552" y="3315"/>
                </a:lnTo>
                <a:lnTo>
                  <a:pt x="1547" y="3304"/>
                </a:lnTo>
                <a:lnTo>
                  <a:pt x="1531" y="3285"/>
                </a:lnTo>
                <a:lnTo>
                  <a:pt x="1520" y="3280"/>
                </a:lnTo>
                <a:lnTo>
                  <a:pt x="1516" y="3274"/>
                </a:lnTo>
                <a:lnTo>
                  <a:pt x="1505" y="3276"/>
                </a:lnTo>
                <a:lnTo>
                  <a:pt x="1502" y="3292"/>
                </a:lnTo>
                <a:lnTo>
                  <a:pt x="1504" y="3301"/>
                </a:lnTo>
                <a:lnTo>
                  <a:pt x="1498" y="3309"/>
                </a:lnTo>
                <a:lnTo>
                  <a:pt x="1496" y="3306"/>
                </a:lnTo>
                <a:lnTo>
                  <a:pt x="1493" y="3312"/>
                </a:lnTo>
                <a:lnTo>
                  <a:pt x="1490" y="3323"/>
                </a:lnTo>
                <a:lnTo>
                  <a:pt x="1489" y="3326"/>
                </a:lnTo>
                <a:lnTo>
                  <a:pt x="1480" y="3320"/>
                </a:lnTo>
                <a:lnTo>
                  <a:pt x="1478" y="3306"/>
                </a:lnTo>
                <a:lnTo>
                  <a:pt x="1469" y="3301"/>
                </a:lnTo>
                <a:lnTo>
                  <a:pt x="1466" y="3292"/>
                </a:lnTo>
                <a:lnTo>
                  <a:pt x="1468" y="3280"/>
                </a:lnTo>
                <a:lnTo>
                  <a:pt x="1462" y="3268"/>
                </a:lnTo>
                <a:lnTo>
                  <a:pt x="1462" y="3262"/>
                </a:lnTo>
                <a:lnTo>
                  <a:pt x="1469" y="3258"/>
                </a:lnTo>
                <a:lnTo>
                  <a:pt x="1472" y="3249"/>
                </a:lnTo>
                <a:lnTo>
                  <a:pt x="1471" y="3244"/>
                </a:lnTo>
                <a:lnTo>
                  <a:pt x="1458" y="3240"/>
                </a:lnTo>
                <a:lnTo>
                  <a:pt x="1448" y="3246"/>
                </a:lnTo>
                <a:lnTo>
                  <a:pt x="1437" y="3243"/>
                </a:lnTo>
                <a:lnTo>
                  <a:pt x="1415" y="3255"/>
                </a:lnTo>
                <a:lnTo>
                  <a:pt x="1394" y="3262"/>
                </a:lnTo>
                <a:lnTo>
                  <a:pt x="1388" y="3262"/>
                </a:lnTo>
                <a:lnTo>
                  <a:pt x="1380" y="3277"/>
                </a:lnTo>
                <a:lnTo>
                  <a:pt x="1382" y="3288"/>
                </a:lnTo>
                <a:lnTo>
                  <a:pt x="1394" y="3303"/>
                </a:lnTo>
                <a:lnTo>
                  <a:pt x="1394" y="3313"/>
                </a:lnTo>
                <a:lnTo>
                  <a:pt x="1386" y="3324"/>
                </a:lnTo>
                <a:lnTo>
                  <a:pt x="1385" y="3344"/>
                </a:lnTo>
                <a:lnTo>
                  <a:pt x="1391" y="3366"/>
                </a:lnTo>
                <a:lnTo>
                  <a:pt x="1413" y="3392"/>
                </a:lnTo>
                <a:lnTo>
                  <a:pt x="1448" y="3421"/>
                </a:lnTo>
                <a:lnTo>
                  <a:pt x="1471" y="3433"/>
                </a:lnTo>
                <a:lnTo>
                  <a:pt x="1487" y="3484"/>
                </a:lnTo>
                <a:lnTo>
                  <a:pt x="1510" y="3525"/>
                </a:lnTo>
                <a:lnTo>
                  <a:pt x="1532" y="3547"/>
                </a:lnTo>
                <a:lnTo>
                  <a:pt x="1557" y="3562"/>
                </a:lnTo>
                <a:lnTo>
                  <a:pt x="1576" y="3578"/>
                </a:lnTo>
                <a:lnTo>
                  <a:pt x="1594" y="3565"/>
                </a:lnTo>
                <a:lnTo>
                  <a:pt x="1594" y="3570"/>
                </a:lnTo>
                <a:lnTo>
                  <a:pt x="1599" y="3571"/>
                </a:lnTo>
                <a:lnTo>
                  <a:pt x="1603" y="3565"/>
                </a:lnTo>
                <a:lnTo>
                  <a:pt x="1611" y="3562"/>
                </a:lnTo>
                <a:lnTo>
                  <a:pt x="1618" y="3562"/>
                </a:lnTo>
                <a:lnTo>
                  <a:pt x="1627" y="3576"/>
                </a:lnTo>
                <a:lnTo>
                  <a:pt x="1621" y="3584"/>
                </a:lnTo>
                <a:lnTo>
                  <a:pt x="1614" y="3593"/>
                </a:lnTo>
                <a:lnTo>
                  <a:pt x="1612" y="3600"/>
                </a:lnTo>
                <a:lnTo>
                  <a:pt x="1620" y="3615"/>
                </a:lnTo>
                <a:lnTo>
                  <a:pt x="1633" y="3618"/>
                </a:lnTo>
                <a:lnTo>
                  <a:pt x="1667" y="3632"/>
                </a:lnTo>
                <a:lnTo>
                  <a:pt x="1700" y="3645"/>
                </a:lnTo>
                <a:lnTo>
                  <a:pt x="1722" y="3670"/>
                </a:lnTo>
                <a:lnTo>
                  <a:pt x="1745" y="3677"/>
                </a:lnTo>
                <a:lnTo>
                  <a:pt x="1754" y="3688"/>
                </a:lnTo>
                <a:lnTo>
                  <a:pt x="1771" y="3703"/>
                </a:lnTo>
                <a:lnTo>
                  <a:pt x="1780" y="3715"/>
                </a:lnTo>
                <a:lnTo>
                  <a:pt x="1775" y="3728"/>
                </a:lnTo>
                <a:lnTo>
                  <a:pt x="1771" y="3740"/>
                </a:lnTo>
                <a:lnTo>
                  <a:pt x="1750" y="3730"/>
                </a:lnTo>
                <a:lnTo>
                  <a:pt x="1741" y="3709"/>
                </a:lnTo>
                <a:lnTo>
                  <a:pt x="1704" y="3703"/>
                </a:lnTo>
                <a:lnTo>
                  <a:pt x="1704" y="3694"/>
                </a:lnTo>
                <a:lnTo>
                  <a:pt x="1709" y="3691"/>
                </a:lnTo>
                <a:lnTo>
                  <a:pt x="1701" y="3688"/>
                </a:lnTo>
                <a:lnTo>
                  <a:pt x="1676" y="3692"/>
                </a:lnTo>
                <a:lnTo>
                  <a:pt x="1659" y="3710"/>
                </a:lnTo>
                <a:lnTo>
                  <a:pt x="1665" y="3721"/>
                </a:lnTo>
                <a:lnTo>
                  <a:pt x="1652" y="3745"/>
                </a:lnTo>
                <a:lnTo>
                  <a:pt x="1664" y="3756"/>
                </a:lnTo>
                <a:lnTo>
                  <a:pt x="1685" y="3768"/>
                </a:lnTo>
                <a:lnTo>
                  <a:pt x="1689" y="3781"/>
                </a:lnTo>
                <a:lnTo>
                  <a:pt x="1694" y="3799"/>
                </a:lnTo>
                <a:lnTo>
                  <a:pt x="1694" y="3810"/>
                </a:lnTo>
                <a:lnTo>
                  <a:pt x="1680" y="3813"/>
                </a:lnTo>
                <a:lnTo>
                  <a:pt x="1659" y="3823"/>
                </a:lnTo>
                <a:lnTo>
                  <a:pt x="1661" y="3839"/>
                </a:lnTo>
                <a:lnTo>
                  <a:pt x="1659" y="3860"/>
                </a:lnTo>
                <a:lnTo>
                  <a:pt x="1632" y="3888"/>
                </a:lnTo>
                <a:lnTo>
                  <a:pt x="1623" y="3905"/>
                </a:lnTo>
                <a:lnTo>
                  <a:pt x="1611" y="3909"/>
                </a:lnTo>
                <a:lnTo>
                  <a:pt x="1602" y="3900"/>
                </a:lnTo>
                <a:lnTo>
                  <a:pt x="1594" y="3881"/>
                </a:lnTo>
                <a:lnTo>
                  <a:pt x="1594" y="3873"/>
                </a:lnTo>
                <a:lnTo>
                  <a:pt x="1608" y="3869"/>
                </a:lnTo>
                <a:lnTo>
                  <a:pt x="1614" y="3860"/>
                </a:lnTo>
                <a:lnTo>
                  <a:pt x="1606" y="3849"/>
                </a:lnTo>
                <a:lnTo>
                  <a:pt x="1609" y="3843"/>
                </a:lnTo>
                <a:lnTo>
                  <a:pt x="1621" y="3839"/>
                </a:lnTo>
                <a:lnTo>
                  <a:pt x="1630" y="3834"/>
                </a:lnTo>
                <a:lnTo>
                  <a:pt x="1632" y="3822"/>
                </a:lnTo>
                <a:lnTo>
                  <a:pt x="1632" y="3813"/>
                </a:lnTo>
                <a:lnTo>
                  <a:pt x="1623" y="3801"/>
                </a:lnTo>
                <a:lnTo>
                  <a:pt x="1611" y="3772"/>
                </a:lnTo>
                <a:lnTo>
                  <a:pt x="1603" y="3745"/>
                </a:lnTo>
                <a:lnTo>
                  <a:pt x="1591" y="3731"/>
                </a:lnTo>
                <a:lnTo>
                  <a:pt x="1573" y="3734"/>
                </a:lnTo>
                <a:lnTo>
                  <a:pt x="1557" y="3727"/>
                </a:lnTo>
                <a:lnTo>
                  <a:pt x="1549" y="3712"/>
                </a:lnTo>
                <a:lnTo>
                  <a:pt x="1551" y="3703"/>
                </a:lnTo>
                <a:lnTo>
                  <a:pt x="1538" y="3683"/>
                </a:lnTo>
                <a:lnTo>
                  <a:pt x="1520" y="3689"/>
                </a:lnTo>
                <a:lnTo>
                  <a:pt x="1514" y="3686"/>
                </a:lnTo>
                <a:lnTo>
                  <a:pt x="1520" y="3674"/>
                </a:lnTo>
                <a:lnTo>
                  <a:pt x="1508" y="3671"/>
                </a:lnTo>
                <a:lnTo>
                  <a:pt x="1492" y="3659"/>
                </a:lnTo>
                <a:lnTo>
                  <a:pt x="1474" y="3635"/>
                </a:lnTo>
                <a:lnTo>
                  <a:pt x="1454" y="3641"/>
                </a:lnTo>
                <a:lnTo>
                  <a:pt x="1440" y="3633"/>
                </a:lnTo>
                <a:lnTo>
                  <a:pt x="1428" y="3635"/>
                </a:lnTo>
                <a:lnTo>
                  <a:pt x="1394" y="3609"/>
                </a:lnTo>
                <a:lnTo>
                  <a:pt x="1368" y="3581"/>
                </a:lnTo>
                <a:lnTo>
                  <a:pt x="1354" y="3568"/>
                </a:lnTo>
                <a:lnTo>
                  <a:pt x="1345" y="3552"/>
                </a:lnTo>
                <a:lnTo>
                  <a:pt x="1329" y="3534"/>
                </a:lnTo>
                <a:lnTo>
                  <a:pt x="1312" y="3537"/>
                </a:lnTo>
                <a:lnTo>
                  <a:pt x="1306" y="3543"/>
                </a:lnTo>
                <a:lnTo>
                  <a:pt x="1302" y="3534"/>
                </a:lnTo>
                <a:lnTo>
                  <a:pt x="1309" y="3528"/>
                </a:lnTo>
                <a:lnTo>
                  <a:pt x="1299" y="3517"/>
                </a:lnTo>
                <a:lnTo>
                  <a:pt x="1287" y="3514"/>
                </a:lnTo>
                <a:lnTo>
                  <a:pt x="1291" y="3505"/>
                </a:lnTo>
                <a:lnTo>
                  <a:pt x="1277" y="3498"/>
                </a:lnTo>
                <a:lnTo>
                  <a:pt x="1270" y="3499"/>
                </a:lnTo>
                <a:lnTo>
                  <a:pt x="1268" y="3496"/>
                </a:lnTo>
                <a:lnTo>
                  <a:pt x="1273" y="3487"/>
                </a:lnTo>
                <a:lnTo>
                  <a:pt x="1270" y="3470"/>
                </a:lnTo>
                <a:lnTo>
                  <a:pt x="1258" y="3436"/>
                </a:lnTo>
                <a:lnTo>
                  <a:pt x="1253" y="3416"/>
                </a:lnTo>
                <a:lnTo>
                  <a:pt x="1252" y="3398"/>
                </a:lnTo>
                <a:lnTo>
                  <a:pt x="1237" y="3393"/>
                </a:lnTo>
                <a:lnTo>
                  <a:pt x="1214" y="3387"/>
                </a:lnTo>
                <a:lnTo>
                  <a:pt x="1193" y="3369"/>
                </a:lnTo>
                <a:lnTo>
                  <a:pt x="1178" y="3366"/>
                </a:lnTo>
                <a:lnTo>
                  <a:pt x="1167" y="3363"/>
                </a:lnTo>
                <a:lnTo>
                  <a:pt x="1145" y="3365"/>
                </a:lnTo>
                <a:lnTo>
                  <a:pt x="1136" y="3375"/>
                </a:lnTo>
                <a:lnTo>
                  <a:pt x="1121" y="3399"/>
                </a:lnTo>
                <a:lnTo>
                  <a:pt x="1112" y="3410"/>
                </a:lnTo>
                <a:lnTo>
                  <a:pt x="1098" y="3413"/>
                </a:lnTo>
                <a:lnTo>
                  <a:pt x="1095" y="3413"/>
                </a:lnTo>
                <a:lnTo>
                  <a:pt x="1084" y="3416"/>
                </a:lnTo>
                <a:lnTo>
                  <a:pt x="1075" y="3419"/>
                </a:lnTo>
                <a:lnTo>
                  <a:pt x="1054" y="3434"/>
                </a:lnTo>
                <a:lnTo>
                  <a:pt x="1038" y="3443"/>
                </a:lnTo>
                <a:lnTo>
                  <a:pt x="1023" y="3466"/>
                </a:lnTo>
                <a:lnTo>
                  <a:pt x="1003" y="3475"/>
                </a:lnTo>
                <a:lnTo>
                  <a:pt x="974" y="3475"/>
                </a:lnTo>
                <a:lnTo>
                  <a:pt x="944" y="3463"/>
                </a:lnTo>
                <a:lnTo>
                  <a:pt x="940" y="3454"/>
                </a:lnTo>
                <a:lnTo>
                  <a:pt x="916" y="3445"/>
                </a:lnTo>
                <a:lnTo>
                  <a:pt x="900" y="3454"/>
                </a:lnTo>
                <a:lnTo>
                  <a:pt x="890" y="3445"/>
                </a:lnTo>
                <a:lnTo>
                  <a:pt x="875" y="3442"/>
                </a:lnTo>
                <a:lnTo>
                  <a:pt x="858" y="3434"/>
                </a:lnTo>
                <a:lnTo>
                  <a:pt x="846" y="3437"/>
                </a:lnTo>
                <a:lnTo>
                  <a:pt x="836" y="3449"/>
                </a:lnTo>
                <a:lnTo>
                  <a:pt x="823" y="3457"/>
                </a:lnTo>
                <a:lnTo>
                  <a:pt x="798" y="3464"/>
                </a:lnTo>
                <a:lnTo>
                  <a:pt x="793" y="3487"/>
                </a:lnTo>
                <a:lnTo>
                  <a:pt x="787" y="3495"/>
                </a:lnTo>
                <a:lnTo>
                  <a:pt x="793" y="3499"/>
                </a:lnTo>
                <a:lnTo>
                  <a:pt x="793" y="3492"/>
                </a:lnTo>
                <a:lnTo>
                  <a:pt x="796" y="3501"/>
                </a:lnTo>
                <a:lnTo>
                  <a:pt x="793" y="3511"/>
                </a:lnTo>
                <a:lnTo>
                  <a:pt x="796" y="3520"/>
                </a:lnTo>
                <a:lnTo>
                  <a:pt x="804" y="3525"/>
                </a:lnTo>
                <a:lnTo>
                  <a:pt x="801" y="3535"/>
                </a:lnTo>
                <a:lnTo>
                  <a:pt x="811" y="3538"/>
                </a:lnTo>
                <a:lnTo>
                  <a:pt x="808" y="3544"/>
                </a:lnTo>
                <a:lnTo>
                  <a:pt x="802" y="3543"/>
                </a:lnTo>
                <a:lnTo>
                  <a:pt x="798" y="3547"/>
                </a:lnTo>
                <a:lnTo>
                  <a:pt x="796" y="3555"/>
                </a:lnTo>
                <a:lnTo>
                  <a:pt x="804" y="3564"/>
                </a:lnTo>
                <a:lnTo>
                  <a:pt x="802" y="3571"/>
                </a:lnTo>
                <a:lnTo>
                  <a:pt x="798" y="3581"/>
                </a:lnTo>
                <a:lnTo>
                  <a:pt x="772" y="3593"/>
                </a:lnTo>
                <a:lnTo>
                  <a:pt x="753" y="3603"/>
                </a:lnTo>
                <a:lnTo>
                  <a:pt x="733" y="3627"/>
                </a:lnTo>
                <a:lnTo>
                  <a:pt x="703" y="3636"/>
                </a:lnTo>
                <a:lnTo>
                  <a:pt x="658" y="3651"/>
                </a:lnTo>
                <a:lnTo>
                  <a:pt x="647" y="3667"/>
                </a:lnTo>
                <a:lnTo>
                  <a:pt x="658" y="3674"/>
                </a:lnTo>
                <a:lnTo>
                  <a:pt x="652" y="3683"/>
                </a:lnTo>
                <a:lnTo>
                  <a:pt x="649" y="3680"/>
                </a:lnTo>
                <a:lnTo>
                  <a:pt x="650" y="3676"/>
                </a:lnTo>
                <a:lnTo>
                  <a:pt x="639" y="3685"/>
                </a:lnTo>
                <a:lnTo>
                  <a:pt x="584" y="3763"/>
                </a:lnTo>
                <a:lnTo>
                  <a:pt x="584" y="3784"/>
                </a:lnTo>
                <a:lnTo>
                  <a:pt x="578" y="3787"/>
                </a:lnTo>
                <a:lnTo>
                  <a:pt x="585" y="3793"/>
                </a:lnTo>
                <a:lnTo>
                  <a:pt x="597" y="3822"/>
                </a:lnTo>
                <a:lnTo>
                  <a:pt x="608" y="3822"/>
                </a:lnTo>
                <a:lnTo>
                  <a:pt x="611" y="3831"/>
                </a:lnTo>
                <a:lnTo>
                  <a:pt x="617" y="3836"/>
                </a:lnTo>
                <a:lnTo>
                  <a:pt x="606" y="3840"/>
                </a:lnTo>
                <a:lnTo>
                  <a:pt x="593" y="3857"/>
                </a:lnTo>
                <a:lnTo>
                  <a:pt x="579" y="3861"/>
                </a:lnTo>
                <a:lnTo>
                  <a:pt x="576" y="3870"/>
                </a:lnTo>
                <a:lnTo>
                  <a:pt x="566" y="3882"/>
                </a:lnTo>
                <a:lnTo>
                  <a:pt x="563" y="3896"/>
                </a:lnTo>
                <a:lnTo>
                  <a:pt x="552" y="3917"/>
                </a:lnTo>
                <a:lnTo>
                  <a:pt x="558" y="3926"/>
                </a:lnTo>
                <a:lnTo>
                  <a:pt x="555" y="3931"/>
                </a:lnTo>
                <a:lnTo>
                  <a:pt x="544" y="3928"/>
                </a:lnTo>
                <a:lnTo>
                  <a:pt x="526" y="3932"/>
                </a:lnTo>
                <a:lnTo>
                  <a:pt x="511" y="3931"/>
                </a:lnTo>
                <a:lnTo>
                  <a:pt x="508" y="3943"/>
                </a:lnTo>
                <a:lnTo>
                  <a:pt x="493" y="3947"/>
                </a:lnTo>
                <a:lnTo>
                  <a:pt x="492" y="3965"/>
                </a:lnTo>
                <a:lnTo>
                  <a:pt x="484" y="3976"/>
                </a:lnTo>
                <a:lnTo>
                  <a:pt x="478" y="3992"/>
                </a:lnTo>
                <a:lnTo>
                  <a:pt x="472" y="3997"/>
                </a:lnTo>
                <a:lnTo>
                  <a:pt x="457" y="3991"/>
                </a:lnTo>
                <a:lnTo>
                  <a:pt x="431" y="4004"/>
                </a:lnTo>
                <a:lnTo>
                  <a:pt x="416" y="3997"/>
                </a:lnTo>
                <a:lnTo>
                  <a:pt x="389" y="4003"/>
                </a:lnTo>
                <a:lnTo>
                  <a:pt x="368" y="4000"/>
                </a:lnTo>
                <a:lnTo>
                  <a:pt x="329" y="3997"/>
                </a:lnTo>
                <a:lnTo>
                  <a:pt x="321" y="4007"/>
                </a:lnTo>
                <a:lnTo>
                  <a:pt x="308" y="4015"/>
                </a:lnTo>
                <a:lnTo>
                  <a:pt x="282" y="4017"/>
                </a:lnTo>
                <a:lnTo>
                  <a:pt x="261" y="4042"/>
                </a:lnTo>
                <a:lnTo>
                  <a:pt x="256" y="4054"/>
                </a:lnTo>
                <a:lnTo>
                  <a:pt x="249" y="4050"/>
                </a:lnTo>
                <a:lnTo>
                  <a:pt x="238" y="4047"/>
                </a:lnTo>
                <a:lnTo>
                  <a:pt x="234" y="4044"/>
                </a:lnTo>
                <a:lnTo>
                  <a:pt x="225" y="4041"/>
                </a:lnTo>
                <a:lnTo>
                  <a:pt x="219" y="4041"/>
                </a:lnTo>
                <a:lnTo>
                  <a:pt x="205" y="4018"/>
                </a:lnTo>
                <a:lnTo>
                  <a:pt x="207" y="4011"/>
                </a:lnTo>
                <a:lnTo>
                  <a:pt x="201" y="4004"/>
                </a:lnTo>
                <a:lnTo>
                  <a:pt x="204" y="3988"/>
                </a:lnTo>
                <a:lnTo>
                  <a:pt x="176" y="3964"/>
                </a:lnTo>
                <a:lnTo>
                  <a:pt x="158" y="3962"/>
                </a:lnTo>
                <a:lnTo>
                  <a:pt x="152" y="3956"/>
                </a:lnTo>
                <a:lnTo>
                  <a:pt x="148" y="3962"/>
                </a:lnTo>
                <a:lnTo>
                  <a:pt x="145" y="3958"/>
                </a:lnTo>
                <a:lnTo>
                  <a:pt x="133" y="3961"/>
                </a:lnTo>
                <a:lnTo>
                  <a:pt x="119" y="3971"/>
                </a:lnTo>
                <a:lnTo>
                  <a:pt x="104" y="3973"/>
                </a:lnTo>
                <a:lnTo>
                  <a:pt x="95" y="3968"/>
                </a:lnTo>
                <a:lnTo>
                  <a:pt x="80" y="3968"/>
                </a:lnTo>
                <a:lnTo>
                  <a:pt x="66" y="3964"/>
                </a:lnTo>
                <a:lnTo>
                  <a:pt x="50" y="3971"/>
                </a:lnTo>
                <a:lnTo>
                  <a:pt x="38" y="3974"/>
                </a:lnTo>
                <a:lnTo>
                  <a:pt x="32" y="3973"/>
                </a:lnTo>
                <a:lnTo>
                  <a:pt x="38" y="3967"/>
                </a:lnTo>
                <a:lnTo>
                  <a:pt x="44" y="3949"/>
                </a:lnTo>
                <a:lnTo>
                  <a:pt x="47" y="3934"/>
                </a:lnTo>
                <a:lnTo>
                  <a:pt x="42" y="3902"/>
                </a:lnTo>
                <a:lnTo>
                  <a:pt x="47" y="3876"/>
                </a:lnTo>
                <a:lnTo>
                  <a:pt x="41" y="3864"/>
                </a:lnTo>
                <a:lnTo>
                  <a:pt x="48" y="3858"/>
                </a:lnTo>
                <a:lnTo>
                  <a:pt x="54" y="3863"/>
                </a:lnTo>
                <a:lnTo>
                  <a:pt x="50" y="3854"/>
                </a:lnTo>
                <a:lnTo>
                  <a:pt x="38" y="3854"/>
                </a:lnTo>
                <a:lnTo>
                  <a:pt x="27" y="3863"/>
                </a:lnTo>
                <a:lnTo>
                  <a:pt x="20" y="3867"/>
                </a:lnTo>
                <a:lnTo>
                  <a:pt x="21" y="3851"/>
                </a:lnTo>
                <a:lnTo>
                  <a:pt x="17" y="3845"/>
                </a:lnTo>
                <a:lnTo>
                  <a:pt x="23" y="3845"/>
                </a:lnTo>
                <a:lnTo>
                  <a:pt x="33" y="3843"/>
                </a:lnTo>
                <a:lnTo>
                  <a:pt x="41" y="3828"/>
                </a:lnTo>
                <a:lnTo>
                  <a:pt x="48" y="3820"/>
                </a:lnTo>
                <a:lnTo>
                  <a:pt x="48" y="3816"/>
                </a:lnTo>
                <a:lnTo>
                  <a:pt x="36" y="3825"/>
                </a:lnTo>
                <a:lnTo>
                  <a:pt x="27" y="3829"/>
                </a:lnTo>
                <a:lnTo>
                  <a:pt x="21" y="3837"/>
                </a:lnTo>
                <a:lnTo>
                  <a:pt x="23" y="3842"/>
                </a:lnTo>
                <a:lnTo>
                  <a:pt x="11" y="3840"/>
                </a:lnTo>
                <a:lnTo>
                  <a:pt x="7" y="3842"/>
                </a:lnTo>
                <a:lnTo>
                  <a:pt x="1" y="3840"/>
                </a:lnTo>
                <a:lnTo>
                  <a:pt x="0" y="3837"/>
                </a:lnTo>
                <a:lnTo>
                  <a:pt x="11" y="3817"/>
                </a:lnTo>
                <a:lnTo>
                  <a:pt x="11" y="3793"/>
                </a:lnTo>
                <a:lnTo>
                  <a:pt x="27" y="3775"/>
                </a:lnTo>
                <a:lnTo>
                  <a:pt x="29" y="3765"/>
                </a:lnTo>
                <a:lnTo>
                  <a:pt x="36" y="3756"/>
                </a:lnTo>
                <a:lnTo>
                  <a:pt x="48" y="3691"/>
                </a:lnTo>
                <a:lnTo>
                  <a:pt x="53" y="3654"/>
                </a:lnTo>
                <a:lnTo>
                  <a:pt x="41" y="3600"/>
                </a:lnTo>
                <a:lnTo>
                  <a:pt x="41" y="3584"/>
                </a:lnTo>
                <a:lnTo>
                  <a:pt x="41" y="3571"/>
                </a:lnTo>
                <a:lnTo>
                  <a:pt x="42" y="3547"/>
                </a:lnTo>
                <a:lnTo>
                  <a:pt x="50" y="3544"/>
                </a:lnTo>
                <a:lnTo>
                  <a:pt x="42" y="3534"/>
                </a:lnTo>
                <a:lnTo>
                  <a:pt x="36" y="3529"/>
                </a:lnTo>
                <a:lnTo>
                  <a:pt x="39" y="3517"/>
                </a:lnTo>
                <a:lnTo>
                  <a:pt x="27" y="3519"/>
                </a:lnTo>
                <a:lnTo>
                  <a:pt x="30" y="3504"/>
                </a:lnTo>
                <a:lnTo>
                  <a:pt x="20" y="3504"/>
                </a:lnTo>
                <a:lnTo>
                  <a:pt x="20" y="3498"/>
                </a:lnTo>
                <a:lnTo>
                  <a:pt x="15" y="3492"/>
                </a:lnTo>
                <a:lnTo>
                  <a:pt x="11" y="3495"/>
                </a:lnTo>
                <a:lnTo>
                  <a:pt x="12" y="3485"/>
                </a:lnTo>
                <a:lnTo>
                  <a:pt x="23" y="3469"/>
                </a:lnTo>
                <a:lnTo>
                  <a:pt x="32" y="3469"/>
                </a:lnTo>
                <a:lnTo>
                  <a:pt x="33" y="3464"/>
                </a:lnTo>
                <a:lnTo>
                  <a:pt x="39" y="3457"/>
                </a:lnTo>
                <a:lnTo>
                  <a:pt x="51" y="3460"/>
                </a:lnTo>
                <a:lnTo>
                  <a:pt x="63" y="3454"/>
                </a:lnTo>
                <a:lnTo>
                  <a:pt x="72" y="3451"/>
                </a:lnTo>
                <a:lnTo>
                  <a:pt x="74" y="3455"/>
                </a:lnTo>
                <a:lnTo>
                  <a:pt x="83" y="3455"/>
                </a:lnTo>
                <a:lnTo>
                  <a:pt x="78" y="3449"/>
                </a:lnTo>
                <a:lnTo>
                  <a:pt x="83" y="3445"/>
                </a:lnTo>
                <a:lnTo>
                  <a:pt x="77" y="3448"/>
                </a:lnTo>
                <a:lnTo>
                  <a:pt x="74" y="3440"/>
                </a:lnTo>
                <a:lnTo>
                  <a:pt x="83" y="3434"/>
                </a:lnTo>
                <a:lnTo>
                  <a:pt x="96" y="3424"/>
                </a:lnTo>
                <a:lnTo>
                  <a:pt x="107" y="3421"/>
                </a:lnTo>
                <a:lnTo>
                  <a:pt x="112" y="3424"/>
                </a:lnTo>
                <a:lnTo>
                  <a:pt x="113" y="3419"/>
                </a:lnTo>
                <a:lnTo>
                  <a:pt x="122" y="3421"/>
                </a:lnTo>
                <a:lnTo>
                  <a:pt x="128" y="3428"/>
                </a:lnTo>
                <a:lnTo>
                  <a:pt x="148" y="3437"/>
                </a:lnTo>
                <a:lnTo>
                  <a:pt x="219" y="3436"/>
                </a:lnTo>
                <a:lnTo>
                  <a:pt x="229" y="3430"/>
                </a:lnTo>
                <a:lnTo>
                  <a:pt x="237" y="3431"/>
                </a:lnTo>
                <a:lnTo>
                  <a:pt x="238" y="3433"/>
                </a:lnTo>
                <a:lnTo>
                  <a:pt x="249" y="3437"/>
                </a:lnTo>
                <a:lnTo>
                  <a:pt x="267" y="3440"/>
                </a:lnTo>
                <a:lnTo>
                  <a:pt x="300" y="3446"/>
                </a:lnTo>
                <a:lnTo>
                  <a:pt x="332" y="3448"/>
                </a:lnTo>
                <a:lnTo>
                  <a:pt x="351" y="3445"/>
                </a:lnTo>
                <a:lnTo>
                  <a:pt x="360" y="3446"/>
                </a:lnTo>
                <a:lnTo>
                  <a:pt x="371" y="3440"/>
                </a:lnTo>
                <a:lnTo>
                  <a:pt x="376" y="3440"/>
                </a:lnTo>
                <a:lnTo>
                  <a:pt x="382" y="3449"/>
                </a:lnTo>
                <a:lnTo>
                  <a:pt x="389" y="3449"/>
                </a:lnTo>
                <a:lnTo>
                  <a:pt x="400" y="3452"/>
                </a:lnTo>
                <a:lnTo>
                  <a:pt x="412" y="3451"/>
                </a:lnTo>
                <a:lnTo>
                  <a:pt x="425" y="3449"/>
                </a:lnTo>
                <a:lnTo>
                  <a:pt x="436" y="3452"/>
                </a:lnTo>
                <a:lnTo>
                  <a:pt x="448" y="3457"/>
                </a:lnTo>
                <a:lnTo>
                  <a:pt x="454" y="3460"/>
                </a:lnTo>
                <a:lnTo>
                  <a:pt x="472" y="3460"/>
                </a:lnTo>
                <a:lnTo>
                  <a:pt x="480" y="3452"/>
                </a:lnTo>
                <a:lnTo>
                  <a:pt x="484" y="3451"/>
                </a:lnTo>
                <a:lnTo>
                  <a:pt x="483" y="3452"/>
                </a:lnTo>
                <a:lnTo>
                  <a:pt x="487" y="3454"/>
                </a:lnTo>
                <a:lnTo>
                  <a:pt x="489" y="3452"/>
                </a:lnTo>
                <a:lnTo>
                  <a:pt x="492" y="3449"/>
                </a:lnTo>
                <a:lnTo>
                  <a:pt x="492" y="3451"/>
                </a:lnTo>
                <a:lnTo>
                  <a:pt x="495" y="3451"/>
                </a:lnTo>
                <a:lnTo>
                  <a:pt x="495" y="3449"/>
                </a:lnTo>
                <a:lnTo>
                  <a:pt x="496" y="3449"/>
                </a:lnTo>
                <a:lnTo>
                  <a:pt x="502" y="3443"/>
                </a:lnTo>
                <a:lnTo>
                  <a:pt x="513" y="3421"/>
                </a:lnTo>
                <a:lnTo>
                  <a:pt x="522" y="3372"/>
                </a:lnTo>
                <a:lnTo>
                  <a:pt x="526" y="3339"/>
                </a:lnTo>
                <a:lnTo>
                  <a:pt x="531" y="3350"/>
                </a:lnTo>
                <a:lnTo>
                  <a:pt x="535" y="3345"/>
                </a:lnTo>
                <a:lnTo>
                  <a:pt x="532" y="3338"/>
                </a:lnTo>
                <a:lnTo>
                  <a:pt x="528" y="3336"/>
                </a:lnTo>
                <a:lnTo>
                  <a:pt x="535" y="3283"/>
                </a:lnTo>
                <a:lnTo>
                  <a:pt x="534" y="3270"/>
                </a:lnTo>
                <a:lnTo>
                  <a:pt x="535" y="3265"/>
                </a:lnTo>
                <a:lnTo>
                  <a:pt x="538" y="3265"/>
                </a:lnTo>
                <a:lnTo>
                  <a:pt x="540" y="3276"/>
                </a:lnTo>
                <a:lnTo>
                  <a:pt x="555" y="3294"/>
                </a:lnTo>
                <a:lnTo>
                  <a:pt x="560" y="3306"/>
                </a:lnTo>
                <a:lnTo>
                  <a:pt x="566" y="3310"/>
                </a:lnTo>
                <a:lnTo>
                  <a:pt x="561" y="3304"/>
                </a:lnTo>
                <a:lnTo>
                  <a:pt x="558" y="3292"/>
                </a:lnTo>
                <a:lnTo>
                  <a:pt x="554" y="3274"/>
                </a:lnTo>
                <a:lnTo>
                  <a:pt x="546" y="3264"/>
                </a:lnTo>
                <a:lnTo>
                  <a:pt x="543" y="3255"/>
                </a:lnTo>
                <a:lnTo>
                  <a:pt x="528" y="3246"/>
                </a:lnTo>
                <a:lnTo>
                  <a:pt x="528" y="3238"/>
                </a:lnTo>
                <a:lnTo>
                  <a:pt x="534" y="3232"/>
                </a:lnTo>
                <a:lnTo>
                  <a:pt x="537" y="3224"/>
                </a:lnTo>
                <a:lnTo>
                  <a:pt x="544" y="3221"/>
                </a:lnTo>
                <a:lnTo>
                  <a:pt x="532" y="3206"/>
                </a:lnTo>
                <a:lnTo>
                  <a:pt x="525" y="3202"/>
                </a:lnTo>
                <a:lnTo>
                  <a:pt x="529" y="3196"/>
                </a:lnTo>
                <a:lnTo>
                  <a:pt x="519" y="3194"/>
                </a:lnTo>
                <a:lnTo>
                  <a:pt x="490" y="3173"/>
                </a:lnTo>
                <a:lnTo>
                  <a:pt x="489" y="3167"/>
                </a:lnTo>
                <a:lnTo>
                  <a:pt x="477" y="3148"/>
                </a:lnTo>
                <a:lnTo>
                  <a:pt x="468" y="3140"/>
                </a:lnTo>
                <a:lnTo>
                  <a:pt x="477" y="3123"/>
                </a:lnTo>
                <a:lnTo>
                  <a:pt x="466" y="3119"/>
                </a:lnTo>
                <a:lnTo>
                  <a:pt x="474" y="3110"/>
                </a:lnTo>
                <a:lnTo>
                  <a:pt x="483" y="3113"/>
                </a:lnTo>
                <a:lnTo>
                  <a:pt x="489" y="3114"/>
                </a:lnTo>
                <a:lnTo>
                  <a:pt x="484" y="3107"/>
                </a:lnTo>
                <a:lnTo>
                  <a:pt x="474" y="3101"/>
                </a:lnTo>
                <a:lnTo>
                  <a:pt x="460" y="3105"/>
                </a:lnTo>
                <a:lnTo>
                  <a:pt x="445" y="3104"/>
                </a:lnTo>
                <a:lnTo>
                  <a:pt x="442" y="3095"/>
                </a:lnTo>
                <a:lnTo>
                  <a:pt x="452" y="3087"/>
                </a:lnTo>
                <a:lnTo>
                  <a:pt x="442" y="3083"/>
                </a:lnTo>
                <a:lnTo>
                  <a:pt x="430" y="3075"/>
                </a:lnTo>
                <a:lnTo>
                  <a:pt x="425" y="3081"/>
                </a:lnTo>
                <a:lnTo>
                  <a:pt x="422" y="3083"/>
                </a:lnTo>
                <a:lnTo>
                  <a:pt x="419" y="3074"/>
                </a:lnTo>
                <a:lnTo>
                  <a:pt x="413" y="3080"/>
                </a:lnTo>
                <a:lnTo>
                  <a:pt x="406" y="3081"/>
                </a:lnTo>
                <a:lnTo>
                  <a:pt x="391" y="3063"/>
                </a:lnTo>
                <a:lnTo>
                  <a:pt x="383" y="3063"/>
                </a:lnTo>
                <a:lnTo>
                  <a:pt x="373" y="3059"/>
                </a:lnTo>
                <a:lnTo>
                  <a:pt x="360" y="3057"/>
                </a:lnTo>
                <a:lnTo>
                  <a:pt x="354" y="3049"/>
                </a:lnTo>
                <a:lnTo>
                  <a:pt x="347" y="3046"/>
                </a:lnTo>
                <a:lnTo>
                  <a:pt x="333" y="3055"/>
                </a:lnTo>
                <a:lnTo>
                  <a:pt x="323" y="3057"/>
                </a:lnTo>
                <a:lnTo>
                  <a:pt x="320" y="3045"/>
                </a:lnTo>
                <a:lnTo>
                  <a:pt x="315" y="3042"/>
                </a:lnTo>
                <a:lnTo>
                  <a:pt x="302" y="3039"/>
                </a:lnTo>
                <a:lnTo>
                  <a:pt x="300" y="3036"/>
                </a:lnTo>
                <a:lnTo>
                  <a:pt x="311" y="3030"/>
                </a:lnTo>
                <a:lnTo>
                  <a:pt x="323" y="3030"/>
                </a:lnTo>
                <a:lnTo>
                  <a:pt x="327" y="3025"/>
                </a:lnTo>
                <a:lnTo>
                  <a:pt x="317" y="3018"/>
                </a:lnTo>
                <a:lnTo>
                  <a:pt x="309" y="3021"/>
                </a:lnTo>
                <a:lnTo>
                  <a:pt x="306" y="3027"/>
                </a:lnTo>
                <a:lnTo>
                  <a:pt x="305" y="3010"/>
                </a:lnTo>
                <a:lnTo>
                  <a:pt x="308" y="3007"/>
                </a:lnTo>
                <a:lnTo>
                  <a:pt x="312" y="3009"/>
                </a:lnTo>
                <a:lnTo>
                  <a:pt x="323" y="3012"/>
                </a:lnTo>
                <a:lnTo>
                  <a:pt x="329" y="3012"/>
                </a:lnTo>
                <a:lnTo>
                  <a:pt x="320" y="3003"/>
                </a:lnTo>
                <a:lnTo>
                  <a:pt x="312" y="3004"/>
                </a:lnTo>
                <a:lnTo>
                  <a:pt x="308" y="3000"/>
                </a:lnTo>
                <a:lnTo>
                  <a:pt x="302" y="3006"/>
                </a:lnTo>
                <a:lnTo>
                  <a:pt x="296" y="3003"/>
                </a:lnTo>
                <a:lnTo>
                  <a:pt x="294" y="2997"/>
                </a:lnTo>
                <a:lnTo>
                  <a:pt x="299" y="2992"/>
                </a:lnTo>
                <a:lnTo>
                  <a:pt x="305" y="2988"/>
                </a:lnTo>
                <a:lnTo>
                  <a:pt x="318" y="2976"/>
                </a:lnTo>
                <a:lnTo>
                  <a:pt x="333" y="2976"/>
                </a:lnTo>
                <a:lnTo>
                  <a:pt x="344" y="2973"/>
                </a:lnTo>
                <a:lnTo>
                  <a:pt x="354" y="2977"/>
                </a:lnTo>
                <a:lnTo>
                  <a:pt x="354" y="2973"/>
                </a:lnTo>
                <a:lnTo>
                  <a:pt x="362" y="2969"/>
                </a:lnTo>
                <a:lnTo>
                  <a:pt x="371" y="2971"/>
                </a:lnTo>
                <a:lnTo>
                  <a:pt x="374" y="2962"/>
                </a:lnTo>
                <a:lnTo>
                  <a:pt x="376" y="2957"/>
                </a:lnTo>
                <a:lnTo>
                  <a:pt x="386" y="2962"/>
                </a:lnTo>
                <a:lnTo>
                  <a:pt x="407" y="2962"/>
                </a:lnTo>
                <a:lnTo>
                  <a:pt x="413" y="2969"/>
                </a:lnTo>
                <a:lnTo>
                  <a:pt x="428" y="2986"/>
                </a:lnTo>
                <a:lnTo>
                  <a:pt x="442" y="2979"/>
                </a:lnTo>
                <a:lnTo>
                  <a:pt x="452" y="2974"/>
                </a:lnTo>
                <a:lnTo>
                  <a:pt x="463" y="2980"/>
                </a:lnTo>
                <a:lnTo>
                  <a:pt x="475" y="2973"/>
                </a:lnTo>
                <a:lnTo>
                  <a:pt x="486" y="2971"/>
                </a:lnTo>
                <a:lnTo>
                  <a:pt x="492" y="2980"/>
                </a:lnTo>
                <a:lnTo>
                  <a:pt x="502" y="2982"/>
                </a:lnTo>
                <a:lnTo>
                  <a:pt x="510" y="2983"/>
                </a:lnTo>
                <a:lnTo>
                  <a:pt x="511" y="2977"/>
                </a:lnTo>
                <a:lnTo>
                  <a:pt x="507" y="2974"/>
                </a:lnTo>
                <a:lnTo>
                  <a:pt x="501" y="2962"/>
                </a:lnTo>
                <a:lnTo>
                  <a:pt x="496" y="2918"/>
                </a:lnTo>
                <a:lnTo>
                  <a:pt x="495" y="2908"/>
                </a:lnTo>
                <a:lnTo>
                  <a:pt x="487" y="2902"/>
                </a:lnTo>
                <a:lnTo>
                  <a:pt x="483" y="2887"/>
                </a:lnTo>
                <a:lnTo>
                  <a:pt x="474" y="2873"/>
                </a:lnTo>
                <a:lnTo>
                  <a:pt x="474" y="2868"/>
                </a:lnTo>
                <a:lnTo>
                  <a:pt x="477" y="2870"/>
                </a:lnTo>
                <a:lnTo>
                  <a:pt x="486" y="2871"/>
                </a:lnTo>
                <a:lnTo>
                  <a:pt x="498" y="2879"/>
                </a:lnTo>
                <a:lnTo>
                  <a:pt x="505" y="2876"/>
                </a:lnTo>
                <a:lnTo>
                  <a:pt x="519" y="2874"/>
                </a:lnTo>
                <a:lnTo>
                  <a:pt x="520" y="2882"/>
                </a:lnTo>
                <a:lnTo>
                  <a:pt x="516" y="2890"/>
                </a:lnTo>
                <a:lnTo>
                  <a:pt x="525" y="2902"/>
                </a:lnTo>
                <a:lnTo>
                  <a:pt x="534" y="2906"/>
                </a:lnTo>
                <a:lnTo>
                  <a:pt x="547" y="2902"/>
                </a:lnTo>
                <a:lnTo>
                  <a:pt x="561" y="2908"/>
                </a:lnTo>
                <a:lnTo>
                  <a:pt x="572" y="2909"/>
                </a:lnTo>
                <a:lnTo>
                  <a:pt x="594" y="2908"/>
                </a:lnTo>
                <a:lnTo>
                  <a:pt x="606" y="2900"/>
                </a:lnTo>
                <a:lnTo>
                  <a:pt x="615" y="2894"/>
                </a:lnTo>
                <a:lnTo>
                  <a:pt x="635" y="2896"/>
                </a:lnTo>
                <a:lnTo>
                  <a:pt x="617" y="2890"/>
                </a:lnTo>
                <a:lnTo>
                  <a:pt x="606" y="2890"/>
                </a:lnTo>
                <a:lnTo>
                  <a:pt x="608" y="2882"/>
                </a:lnTo>
                <a:lnTo>
                  <a:pt x="612" y="2871"/>
                </a:lnTo>
                <a:lnTo>
                  <a:pt x="635" y="2858"/>
                </a:lnTo>
                <a:lnTo>
                  <a:pt x="653" y="2853"/>
                </a:lnTo>
                <a:lnTo>
                  <a:pt x="668" y="2849"/>
                </a:lnTo>
                <a:lnTo>
                  <a:pt x="688" y="2834"/>
                </a:lnTo>
                <a:lnTo>
                  <a:pt x="700" y="2820"/>
                </a:lnTo>
                <a:lnTo>
                  <a:pt x="706" y="2817"/>
                </a:lnTo>
                <a:lnTo>
                  <a:pt x="698" y="2811"/>
                </a:lnTo>
                <a:lnTo>
                  <a:pt x="697" y="2802"/>
                </a:lnTo>
                <a:lnTo>
                  <a:pt x="701" y="2796"/>
                </a:lnTo>
                <a:lnTo>
                  <a:pt x="700" y="2769"/>
                </a:lnTo>
                <a:lnTo>
                  <a:pt x="697" y="2764"/>
                </a:lnTo>
                <a:lnTo>
                  <a:pt x="709" y="2751"/>
                </a:lnTo>
                <a:lnTo>
                  <a:pt x="719" y="2746"/>
                </a:lnTo>
                <a:lnTo>
                  <a:pt x="731" y="2745"/>
                </a:lnTo>
                <a:lnTo>
                  <a:pt x="754" y="2740"/>
                </a:lnTo>
                <a:lnTo>
                  <a:pt x="768" y="2737"/>
                </a:lnTo>
                <a:lnTo>
                  <a:pt x="786" y="2727"/>
                </a:lnTo>
                <a:lnTo>
                  <a:pt x="805" y="2710"/>
                </a:lnTo>
                <a:lnTo>
                  <a:pt x="817" y="2702"/>
                </a:lnTo>
                <a:lnTo>
                  <a:pt x="825" y="2701"/>
                </a:lnTo>
                <a:lnTo>
                  <a:pt x="831" y="2705"/>
                </a:lnTo>
                <a:lnTo>
                  <a:pt x="833" y="2704"/>
                </a:lnTo>
                <a:lnTo>
                  <a:pt x="837" y="2704"/>
                </a:lnTo>
                <a:lnTo>
                  <a:pt x="836" y="2710"/>
                </a:lnTo>
                <a:lnTo>
                  <a:pt x="842" y="2710"/>
                </a:lnTo>
                <a:lnTo>
                  <a:pt x="845" y="2707"/>
                </a:lnTo>
                <a:lnTo>
                  <a:pt x="837" y="2698"/>
                </a:lnTo>
                <a:lnTo>
                  <a:pt x="836" y="2698"/>
                </a:lnTo>
                <a:lnTo>
                  <a:pt x="830" y="2699"/>
                </a:lnTo>
                <a:lnTo>
                  <a:pt x="822" y="2692"/>
                </a:lnTo>
                <a:lnTo>
                  <a:pt x="823" y="2687"/>
                </a:lnTo>
                <a:lnTo>
                  <a:pt x="830" y="2684"/>
                </a:lnTo>
                <a:lnTo>
                  <a:pt x="836" y="2681"/>
                </a:lnTo>
                <a:lnTo>
                  <a:pt x="837" y="2675"/>
                </a:lnTo>
                <a:lnTo>
                  <a:pt x="836" y="2669"/>
                </a:lnTo>
                <a:lnTo>
                  <a:pt x="842" y="2663"/>
                </a:lnTo>
                <a:lnTo>
                  <a:pt x="852" y="2660"/>
                </a:lnTo>
                <a:lnTo>
                  <a:pt x="860" y="2665"/>
                </a:lnTo>
                <a:lnTo>
                  <a:pt x="864" y="2660"/>
                </a:lnTo>
                <a:lnTo>
                  <a:pt x="866" y="2662"/>
                </a:lnTo>
                <a:lnTo>
                  <a:pt x="861" y="2666"/>
                </a:lnTo>
                <a:lnTo>
                  <a:pt x="863" y="2672"/>
                </a:lnTo>
                <a:lnTo>
                  <a:pt x="861" y="2678"/>
                </a:lnTo>
                <a:lnTo>
                  <a:pt x="858" y="2680"/>
                </a:lnTo>
                <a:lnTo>
                  <a:pt x="857" y="2680"/>
                </a:lnTo>
                <a:lnTo>
                  <a:pt x="852" y="2675"/>
                </a:lnTo>
                <a:lnTo>
                  <a:pt x="848" y="2666"/>
                </a:lnTo>
                <a:lnTo>
                  <a:pt x="840" y="2668"/>
                </a:lnTo>
                <a:lnTo>
                  <a:pt x="839" y="2674"/>
                </a:lnTo>
                <a:lnTo>
                  <a:pt x="848" y="2680"/>
                </a:lnTo>
                <a:lnTo>
                  <a:pt x="852" y="2677"/>
                </a:lnTo>
                <a:lnTo>
                  <a:pt x="848" y="2681"/>
                </a:lnTo>
                <a:lnTo>
                  <a:pt x="848" y="2687"/>
                </a:lnTo>
                <a:lnTo>
                  <a:pt x="845" y="2689"/>
                </a:lnTo>
                <a:lnTo>
                  <a:pt x="846" y="2686"/>
                </a:lnTo>
                <a:lnTo>
                  <a:pt x="837" y="2681"/>
                </a:lnTo>
                <a:lnTo>
                  <a:pt x="833" y="2687"/>
                </a:lnTo>
                <a:lnTo>
                  <a:pt x="843" y="2690"/>
                </a:lnTo>
                <a:lnTo>
                  <a:pt x="843" y="2696"/>
                </a:lnTo>
                <a:lnTo>
                  <a:pt x="846" y="2704"/>
                </a:lnTo>
                <a:lnTo>
                  <a:pt x="849" y="2702"/>
                </a:lnTo>
                <a:lnTo>
                  <a:pt x="852" y="2702"/>
                </a:lnTo>
                <a:lnTo>
                  <a:pt x="863" y="2707"/>
                </a:lnTo>
                <a:lnTo>
                  <a:pt x="866" y="2707"/>
                </a:lnTo>
                <a:lnTo>
                  <a:pt x="864" y="2701"/>
                </a:lnTo>
                <a:lnTo>
                  <a:pt x="846" y="2696"/>
                </a:lnTo>
                <a:lnTo>
                  <a:pt x="849" y="2692"/>
                </a:lnTo>
                <a:lnTo>
                  <a:pt x="855" y="2692"/>
                </a:lnTo>
                <a:lnTo>
                  <a:pt x="861" y="2693"/>
                </a:lnTo>
                <a:lnTo>
                  <a:pt x="863" y="2690"/>
                </a:lnTo>
                <a:lnTo>
                  <a:pt x="852" y="2689"/>
                </a:lnTo>
                <a:lnTo>
                  <a:pt x="849" y="2684"/>
                </a:lnTo>
                <a:lnTo>
                  <a:pt x="854" y="2681"/>
                </a:lnTo>
                <a:lnTo>
                  <a:pt x="861" y="2684"/>
                </a:lnTo>
                <a:lnTo>
                  <a:pt x="864" y="2680"/>
                </a:lnTo>
                <a:lnTo>
                  <a:pt x="872" y="2674"/>
                </a:lnTo>
                <a:lnTo>
                  <a:pt x="876" y="2674"/>
                </a:lnTo>
                <a:lnTo>
                  <a:pt x="888" y="2671"/>
                </a:lnTo>
                <a:lnTo>
                  <a:pt x="897" y="2675"/>
                </a:lnTo>
                <a:lnTo>
                  <a:pt x="906" y="2671"/>
                </a:lnTo>
                <a:lnTo>
                  <a:pt x="899" y="2671"/>
                </a:lnTo>
                <a:lnTo>
                  <a:pt x="905" y="2666"/>
                </a:lnTo>
                <a:lnTo>
                  <a:pt x="893" y="2669"/>
                </a:lnTo>
                <a:lnTo>
                  <a:pt x="896" y="2662"/>
                </a:lnTo>
                <a:lnTo>
                  <a:pt x="888" y="2668"/>
                </a:lnTo>
                <a:lnTo>
                  <a:pt x="885" y="2669"/>
                </a:lnTo>
                <a:lnTo>
                  <a:pt x="879" y="2669"/>
                </a:lnTo>
                <a:lnTo>
                  <a:pt x="872" y="2666"/>
                </a:lnTo>
                <a:lnTo>
                  <a:pt x="864" y="2660"/>
                </a:lnTo>
                <a:lnTo>
                  <a:pt x="854" y="2653"/>
                </a:lnTo>
                <a:lnTo>
                  <a:pt x="861" y="2647"/>
                </a:lnTo>
                <a:lnTo>
                  <a:pt x="872" y="2654"/>
                </a:lnTo>
                <a:lnTo>
                  <a:pt x="887" y="2650"/>
                </a:lnTo>
                <a:lnTo>
                  <a:pt x="872" y="2651"/>
                </a:lnTo>
                <a:lnTo>
                  <a:pt x="863" y="2642"/>
                </a:lnTo>
                <a:lnTo>
                  <a:pt x="869" y="2629"/>
                </a:lnTo>
                <a:lnTo>
                  <a:pt x="890" y="2603"/>
                </a:lnTo>
                <a:lnTo>
                  <a:pt x="894" y="2580"/>
                </a:lnTo>
                <a:lnTo>
                  <a:pt x="891" y="2562"/>
                </a:lnTo>
                <a:lnTo>
                  <a:pt x="896" y="2552"/>
                </a:lnTo>
                <a:lnTo>
                  <a:pt x="900" y="2543"/>
                </a:lnTo>
                <a:lnTo>
                  <a:pt x="906" y="2543"/>
                </a:lnTo>
                <a:lnTo>
                  <a:pt x="908" y="2547"/>
                </a:lnTo>
                <a:lnTo>
                  <a:pt x="912" y="2549"/>
                </a:lnTo>
                <a:lnTo>
                  <a:pt x="922" y="2546"/>
                </a:lnTo>
                <a:lnTo>
                  <a:pt x="923" y="2552"/>
                </a:lnTo>
                <a:lnTo>
                  <a:pt x="925" y="2555"/>
                </a:lnTo>
                <a:lnTo>
                  <a:pt x="935" y="2561"/>
                </a:lnTo>
                <a:lnTo>
                  <a:pt x="931" y="2571"/>
                </a:lnTo>
                <a:lnTo>
                  <a:pt x="925" y="2571"/>
                </a:lnTo>
                <a:lnTo>
                  <a:pt x="919" y="2580"/>
                </a:lnTo>
                <a:lnTo>
                  <a:pt x="925" y="2586"/>
                </a:lnTo>
                <a:lnTo>
                  <a:pt x="923" y="2592"/>
                </a:lnTo>
                <a:lnTo>
                  <a:pt x="926" y="2598"/>
                </a:lnTo>
                <a:lnTo>
                  <a:pt x="940" y="2606"/>
                </a:lnTo>
                <a:lnTo>
                  <a:pt x="952" y="2604"/>
                </a:lnTo>
                <a:lnTo>
                  <a:pt x="959" y="2589"/>
                </a:lnTo>
                <a:lnTo>
                  <a:pt x="950" y="2601"/>
                </a:lnTo>
                <a:lnTo>
                  <a:pt x="944" y="2604"/>
                </a:lnTo>
                <a:lnTo>
                  <a:pt x="937" y="2603"/>
                </a:lnTo>
                <a:lnTo>
                  <a:pt x="932" y="2600"/>
                </a:lnTo>
                <a:lnTo>
                  <a:pt x="929" y="2592"/>
                </a:lnTo>
                <a:lnTo>
                  <a:pt x="940" y="2589"/>
                </a:lnTo>
                <a:lnTo>
                  <a:pt x="943" y="2586"/>
                </a:lnTo>
                <a:lnTo>
                  <a:pt x="949" y="2583"/>
                </a:lnTo>
                <a:lnTo>
                  <a:pt x="959" y="2588"/>
                </a:lnTo>
                <a:lnTo>
                  <a:pt x="958" y="2582"/>
                </a:lnTo>
                <a:lnTo>
                  <a:pt x="962" y="2579"/>
                </a:lnTo>
                <a:lnTo>
                  <a:pt x="955" y="2580"/>
                </a:lnTo>
                <a:lnTo>
                  <a:pt x="950" y="2580"/>
                </a:lnTo>
                <a:lnTo>
                  <a:pt x="946" y="2576"/>
                </a:lnTo>
                <a:lnTo>
                  <a:pt x="947" y="2570"/>
                </a:lnTo>
                <a:lnTo>
                  <a:pt x="952" y="2558"/>
                </a:lnTo>
                <a:lnTo>
                  <a:pt x="959" y="2556"/>
                </a:lnTo>
                <a:lnTo>
                  <a:pt x="955" y="2555"/>
                </a:lnTo>
                <a:lnTo>
                  <a:pt x="941" y="2553"/>
                </a:lnTo>
                <a:lnTo>
                  <a:pt x="937" y="2550"/>
                </a:lnTo>
                <a:lnTo>
                  <a:pt x="940" y="2547"/>
                </a:lnTo>
                <a:lnTo>
                  <a:pt x="943" y="2532"/>
                </a:lnTo>
                <a:lnTo>
                  <a:pt x="950" y="2512"/>
                </a:lnTo>
                <a:lnTo>
                  <a:pt x="965" y="2502"/>
                </a:lnTo>
                <a:lnTo>
                  <a:pt x="985" y="2499"/>
                </a:lnTo>
                <a:lnTo>
                  <a:pt x="997" y="2500"/>
                </a:lnTo>
                <a:lnTo>
                  <a:pt x="1006" y="2494"/>
                </a:lnTo>
                <a:lnTo>
                  <a:pt x="1021" y="2491"/>
                </a:lnTo>
                <a:lnTo>
                  <a:pt x="1030" y="2493"/>
                </a:lnTo>
                <a:lnTo>
                  <a:pt x="1036" y="2500"/>
                </a:lnTo>
                <a:lnTo>
                  <a:pt x="1044" y="2506"/>
                </a:lnTo>
                <a:lnTo>
                  <a:pt x="1054" y="2506"/>
                </a:lnTo>
                <a:lnTo>
                  <a:pt x="1051" y="2509"/>
                </a:lnTo>
                <a:lnTo>
                  <a:pt x="1054" y="2514"/>
                </a:lnTo>
                <a:lnTo>
                  <a:pt x="1059" y="2515"/>
                </a:lnTo>
                <a:lnTo>
                  <a:pt x="1059" y="2508"/>
                </a:lnTo>
                <a:lnTo>
                  <a:pt x="1063" y="2505"/>
                </a:lnTo>
                <a:lnTo>
                  <a:pt x="1068" y="2505"/>
                </a:lnTo>
                <a:lnTo>
                  <a:pt x="1074" y="2509"/>
                </a:lnTo>
                <a:lnTo>
                  <a:pt x="1080" y="2517"/>
                </a:lnTo>
                <a:lnTo>
                  <a:pt x="1075" y="2506"/>
                </a:lnTo>
                <a:lnTo>
                  <a:pt x="1069" y="2497"/>
                </a:lnTo>
                <a:lnTo>
                  <a:pt x="1060" y="2497"/>
                </a:lnTo>
                <a:lnTo>
                  <a:pt x="1051" y="2499"/>
                </a:lnTo>
                <a:lnTo>
                  <a:pt x="1045" y="2499"/>
                </a:lnTo>
                <a:lnTo>
                  <a:pt x="1044" y="2487"/>
                </a:lnTo>
                <a:lnTo>
                  <a:pt x="1050" y="2482"/>
                </a:lnTo>
                <a:lnTo>
                  <a:pt x="1054" y="2484"/>
                </a:lnTo>
                <a:lnTo>
                  <a:pt x="1053" y="2478"/>
                </a:lnTo>
                <a:lnTo>
                  <a:pt x="1063" y="2466"/>
                </a:lnTo>
                <a:lnTo>
                  <a:pt x="1113" y="2463"/>
                </a:lnTo>
                <a:lnTo>
                  <a:pt x="1110" y="2470"/>
                </a:lnTo>
                <a:lnTo>
                  <a:pt x="1116" y="2493"/>
                </a:lnTo>
                <a:lnTo>
                  <a:pt x="1127" y="2494"/>
                </a:lnTo>
                <a:lnTo>
                  <a:pt x="1130" y="2488"/>
                </a:lnTo>
                <a:lnTo>
                  <a:pt x="1121" y="2479"/>
                </a:lnTo>
                <a:lnTo>
                  <a:pt x="1122" y="2475"/>
                </a:lnTo>
                <a:lnTo>
                  <a:pt x="1133" y="2478"/>
                </a:lnTo>
                <a:lnTo>
                  <a:pt x="1139" y="2488"/>
                </a:lnTo>
                <a:lnTo>
                  <a:pt x="1139" y="2494"/>
                </a:lnTo>
                <a:lnTo>
                  <a:pt x="1145" y="2488"/>
                </a:lnTo>
                <a:lnTo>
                  <a:pt x="1139" y="2484"/>
                </a:lnTo>
                <a:lnTo>
                  <a:pt x="1134" y="2469"/>
                </a:lnTo>
                <a:lnTo>
                  <a:pt x="1137" y="2457"/>
                </a:lnTo>
                <a:lnTo>
                  <a:pt x="1148" y="2446"/>
                </a:lnTo>
                <a:lnTo>
                  <a:pt x="1170" y="2449"/>
                </a:lnTo>
                <a:lnTo>
                  <a:pt x="1189" y="2450"/>
                </a:lnTo>
                <a:lnTo>
                  <a:pt x="1201" y="2463"/>
                </a:lnTo>
                <a:lnTo>
                  <a:pt x="1217" y="2484"/>
                </a:lnTo>
                <a:lnTo>
                  <a:pt x="1232" y="2485"/>
                </a:lnTo>
                <a:lnTo>
                  <a:pt x="1219" y="2478"/>
                </a:lnTo>
                <a:lnTo>
                  <a:pt x="1210" y="2472"/>
                </a:lnTo>
                <a:lnTo>
                  <a:pt x="1210" y="2461"/>
                </a:lnTo>
                <a:lnTo>
                  <a:pt x="1202" y="2450"/>
                </a:lnTo>
                <a:lnTo>
                  <a:pt x="1192" y="2447"/>
                </a:lnTo>
                <a:lnTo>
                  <a:pt x="1176" y="2444"/>
                </a:lnTo>
                <a:lnTo>
                  <a:pt x="1160" y="2437"/>
                </a:lnTo>
                <a:lnTo>
                  <a:pt x="1160" y="2428"/>
                </a:lnTo>
                <a:lnTo>
                  <a:pt x="1161" y="2425"/>
                </a:lnTo>
                <a:lnTo>
                  <a:pt x="1170" y="2429"/>
                </a:lnTo>
                <a:lnTo>
                  <a:pt x="1172" y="2425"/>
                </a:lnTo>
                <a:lnTo>
                  <a:pt x="1173" y="2422"/>
                </a:lnTo>
                <a:lnTo>
                  <a:pt x="1170" y="2414"/>
                </a:lnTo>
                <a:lnTo>
                  <a:pt x="1158" y="2414"/>
                </a:lnTo>
                <a:lnTo>
                  <a:pt x="1157" y="2405"/>
                </a:lnTo>
                <a:lnTo>
                  <a:pt x="1166" y="2396"/>
                </a:lnTo>
                <a:lnTo>
                  <a:pt x="1160" y="2390"/>
                </a:lnTo>
                <a:lnTo>
                  <a:pt x="1158" y="2396"/>
                </a:lnTo>
                <a:lnTo>
                  <a:pt x="1151" y="2398"/>
                </a:lnTo>
                <a:lnTo>
                  <a:pt x="1148" y="2390"/>
                </a:lnTo>
                <a:lnTo>
                  <a:pt x="1154" y="2384"/>
                </a:lnTo>
                <a:lnTo>
                  <a:pt x="1160" y="2381"/>
                </a:lnTo>
                <a:lnTo>
                  <a:pt x="1167" y="2383"/>
                </a:lnTo>
                <a:lnTo>
                  <a:pt x="1172" y="2374"/>
                </a:lnTo>
                <a:lnTo>
                  <a:pt x="1164" y="2368"/>
                </a:lnTo>
                <a:lnTo>
                  <a:pt x="1157" y="2360"/>
                </a:lnTo>
                <a:lnTo>
                  <a:pt x="1157" y="2354"/>
                </a:lnTo>
                <a:lnTo>
                  <a:pt x="1152" y="2346"/>
                </a:lnTo>
                <a:lnTo>
                  <a:pt x="1148" y="2342"/>
                </a:lnTo>
                <a:lnTo>
                  <a:pt x="1139" y="2343"/>
                </a:lnTo>
                <a:lnTo>
                  <a:pt x="1130" y="2339"/>
                </a:lnTo>
                <a:lnTo>
                  <a:pt x="1128" y="2346"/>
                </a:lnTo>
                <a:lnTo>
                  <a:pt x="1128" y="2349"/>
                </a:lnTo>
                <a:lnTo>
                  <a:pt x="1125" y="2340"/>
                </a:lnTo>
                <a:lnTo>
                  <a:pt x="1125" y="2330"/>
                </a:lnTo>
                <a:lnTo>
                  <a:pt x="1128" y="2321"/>
                </a:lnTo>
                <a:lnTo>
                  <a:pt x="1133" y="2321"/>
                </a:lnTo>
                <a:lnTo>
                  <a:pt x="1133" y="2327"/>
                </a:lnTo>
                <a:lnTo>
                  <a:pt x="1134" y="2334"/>
                </a:lnTo>
                <a:lnTo>
                  <a:pt x="1140" y="2340"/>
                </a:lnTo>
                <a:lnTo>
                  <a:pt x="1146" y="2339"/>
                </a:lnTo>
                <a:lnTo>
                  <a:pt x="1154" y="2336"/>
                </a:lnTo>
                <a:lnTo>
                  <a:pt x="1155" y="2330"/>
                </a:lnTo>
                <a:lnTo>
                  <a:pt x="1149" y="2313"/>
                </a:lnTo>
                <a:lnTo>
                  <a:pt x="1151" y="2306"/>
                </a:lnTo>
                <a:lnTo>
                  <a:pt x="1149" y="2292"/>
                </a:lnTo>
                <a:lnTo>
                  <a:pt x="1148" y="2277"/>
                </a:lnTo>
                <a:lnTo>
                  <a:pt x="1142" y="2269"/>
                </a:lnTo>
                <a:lnTo>
                  <a:pt x="1134" y="2269"/>
                </a:lnTo>
                <a:lnTo>
                  <a:pt x="1130" y="2263"/>
                </a:lnTo>
                <a:lnTo>
                  <a:pt x="1130" y="2251"/>
                </a:lnTo>
                <a:lnTo>
                  <a:pt x="1122" y="2253"/>
                </a:lnTo>
                <a:lnTo>
                  <a:pt x="1125" y="2262"/>
                </a:lnTo>
                <a:lnTo>
                  <a:pt x="1118" y="2262"/>
                </a:lnTo>
                <a:lnTo>
                  <a:pt x="1109" y="2253"/>
                </a:lnTo>
                <a:lnTo>
                  <a:pt x="1112" y="2244"/>
                </a:lnTo>
                <a:lnTo>
                  <a:pt x="1112" y="2214"/>
                </a:lnTo>
                <a:lnTo>
                  <a:pt x="1115" y="2214"/>
                </a:lnTo>
                <a:lnTo>
                  <a:pt x="1113" y="2229"/>
                </a:lnTo>
                <a:lnTo>
                  <a:pt x="1121" y="2232"/>
                </a:lnTo>
                <a:lnTo>
                  <a:pt x="1124" y="2224"/>
                </a:lnTo>
                <a:lnTo>
                  <a:pt x="1124" y="2212"/>
                </a:lnTo>
                <a:lnTo>
                  <a:pt x="1119" y="2202"/>
                </a:lnTo>
                <a:lnTo>
                  <a:pt x="1113" y="2203"/>
                </a:lnTo>
                <a:lnTo>
                  <a:pt x="1113" y="2171"/>
                </a:lnTo>
                <a:lnTo>
                  <a:pt x="1116" y="2179"/>
                </a:lnTo>
                <a:lnTo>
                  <a:pt x="1116" y="2168"/>
                </a:lnTo>
                <a:lnTo>
                  <a:pt x="1115" y="2165"/>
                </a:lnTo>
                <a:lnTo>
                  <a:pt x="1112" y="2146"/>
                </a:lnTo>
                <a:lnTo>
                  <a:pt x="1118" y="2131"/>
                </a:lnTo>
                <a:lnTo>
                  <a:pt x="1121" y="2134"/>
                </a:lnTo>
                <a:lnTo>
                  <a:pt x="1121" y="2140"/>
                </a:lnTo>
                <a:lnTo>
                  <a:pt x="1128" y="2149"/>
                </a:lnTo>
                <a:lnTo>
                  <a:pt x="1134" y="2147"/>
                </a:lnTo>
                <a:lnTo>
                  <a:pt x="1143" y="2150"/>
                </a:lnTo>
                <a:lnTo>
                  <a:pt x="1149" y="2162"/>
                </a:lnTo>
                <a:lnTo>
                  <a:pt x="1151" y="2150"/>
                </a:lnTo>
                <a:lnTo>
                  <a:pt x="1155" y="2149"/>
                </a:lnTo>
                <a:lnTo>
                  <a:pt x="1152" y="2147"/>
                </a:lnTo>
                <a:lnTo>
                  <a:pt x="1151" y="2137"/>
                </a:lnTo>
                <a:lnTo>
                  <a:pt x="1160" y="2128"/>
                </a:lnTo>
                <a:lnTo>
                  <a:pt x="1169" y="2123"/>
                </a:lnTo>
                <a:lnTo>
                  <a:pt x="1173" y="2131"/>
                </a:lnTo>
                <a:lnTo>
                  <a:pt x="1173" y="2141"/>
                </a:lnTo>
                <a:lnTo>
                  <a:pt x="1185" y="2149"/>
                </a:lnTo>
                <a:lnTo>
                  <a:pt x="1189" y="2135"/>
                </a:lnTo>
                <a:lnTo>
                  <a:pt x="1182" y="2131"/>
                </a:lnTo>
                <a:lnTo>
                  <a:pt x="1179" y="2131"/>
                </a:lnTo>
                <a:lnTo>
                  <a:pt x="1182" y="2123"/>
                </a:lnTo>
                <a:lnTo>
                  <a:pt x="1179" y="2116"/>
                </a:lnTo>
                <a:lnTo>
                  <a:pt x="1182" y="2102"/>
                </a:lnTo>
                <a:lnTo>
                  <a:pt x="1193" y="2099"/>
                </a:lnTo>
                <a:lnTo>
                  <a:pt x="1207" y="2102"/>
                </a:lnTo>
                <a:lnTo>
                  <a:pt x="1214" y="2096"/>
                </a:lnTo>
                <a:lnTo>
                  <a:pt x="1229" y="2093"/>
                </a:lnTo>
                <a:lnTo>
                  <a:pt x="1241" y="2099"/>
                </a:lnTo>
                <a:lnTo>
                  <a:pt x="1243" y="2105"/>
                </a:lnTo>
                <a:lnTo>
                  <a:pt x="1244" y="2122"/>
                </a:lnTo>
                <a:lnTo>
                  <a:pt x="1247" y="2125"/>
                </a:lnTo>
                <a:lnTo>
                  <a:pt x="1247" y="2132"/>
                </a:lnTo>
                <a:lnTo>
                  <a:pt x="1241" y="2135"/>
                </a:lnTo>
                <a:lnTo>
                  <a:pt x="1237" y="2137"/>
                </a:lnTo>
                <a:lnTo>
                  <a:pt x="1237" y="2144"/>
                </a:lnTo>
                <a:lnTo>
                  <a:pt x="1247" y="2137"/>
                </a:lnTo>
                <a:lnTo>
                  <a:pt x="1249" y="2140"/>
                </a:lnTo>
                <a:lnTo>
                  <a:pt x="1244" y="2147"/>
                </a:lnTo>
                <a:lnTo>
                  <a:pt x="1244" y="2147"/>
                </a:lnTo>
                <a:lnTo>
                  <a:pt x="1241" y="2149"/>
                </a:lnTo>
                <a:lnTo>
                  <a:pt x="1238" y="2153"/>
                </a:lnTo>
                <a:lnTo>
                  <a:pt x="1238" y="2153"/>
                </a:lnTo>
                <a:lnTo>
                  <a:pt x="1235" y="2161"/>
                </a:lnTo>
                <a:lnTo>
                  <a:pt x="1241" y="2158"/>
                </a:lnTo>
                <a:lnTo>
                  <a:pt x="1249" y="2150"/>
                </a:lnTo>
                <a:lnTo>
                  <a:pt x="1259" y="2153"/>
                </a:lnTo>
                <a:lnTo>
                  <a:pt x="1268" y="2150"/>
                </a:lnTo>
                <a:lnTo>
                  <a:pt x="1279" y="2149"/>
                </a:lnTo>
                <a:lnTo>
                  <a:pt x="1288" y="2161"/>
                </a:lnTo>
                <a:lnTo>
                  <a:pt x="1285" y="2182"/>
                </a:lnTo>
                <a:lnTo>
                  <a:pt x="1274" y="2188"/>
                </a:lnTo>
                <a:lnTo>
                  <a:pt x="1274" y="2194"/>
                </a:lnTo>
                <a:lnTo>
                  <a:pt x="1271" y="2194"/>
                </a:lnTo>
                <a:lnTo>
                  <a:pt x="1270" y="2183"/>
                </a:lnTo>
                <a:lnTo>
                  <a:pt x="1262" y="2185"/>
                </a:lnTo>
                <a:lnTo>
                  <a:pt x="1253" y="2196"/>
                </a:lnTo>
                <a:lnTo>
                  <a:pt x="1255" y="2179"/>
                </a:lnTo>
                <a:lnTo>
                  <a:pt x="1247" y="2185"/>
                </a:lnTo>
                <a:lnTo>
                  <a:pt x="1244" y="2193"/>
                </a:lnTo>
                <a:lnTo>
                  <a:pt x="1240" y="2203"/>
                </a:lnTo>
                <a:lnTo>
                  <a:pt x="1247" y="2209"/>
                </a:lnTo>
                <a:lnTo>
                  <a:pt x="1247" y="2217"/>
                </a:lnTo>
                <a:lnTo>
                  <a:pt x="1241" y="2226"/>
                </a:lnTo>
                <a:lnTo>
                  <a:pt x="1226" y="2215"/>
                </a:lnTo>
                <a:lnTo>
                  <a:pt x="1226" y="2218"/>
                </a:lnTo>
                <a:lnTo>
                  <a:pt x="1219" y="2223"/>
                </a:lnTo>
                <a:lnTo>
                  <a:pt x="1228" y="2227"/>
                </a:lnTo>
                <a:lnTo>
                  <a:pt x="1235" y="2232"/>
                </a:lnTo>
                <a:lnTo>
                  <a:pt x="1232" y="2238"/>
                </a:lnTo>
                <a:lnTo>
                  <a:pt x="1220" y="2239"/>
                </a:lnTo>
                <a:lnTo>
                  <a:pt x="1213" y="2230"/>
                </a:lnTo>
                <a:lnTo>
                  <a:pt x="1210" y="2241"/>
                </a:lnTo>
                <a:lnTo>
                  <a:pt x="1202" y="2242"/>
                </a:lnTo>
                <a:lnTo>
                  <a:pt x="1216" y="2248"/>
                </a:lnTo>
                <a:lnTo>
                  <a:pt x="1208" y="2257"/>
                </a:lnTo>
                <a:lnTo>
                  <a:pt x="1199" y="2265"/>
                </a:lnTo>
                <a:lnTo>
                  <a:pt x="1210" y="2265"/>
                </a:lnTo>
                <a:lnTo>
                  <a:pt x="1213" y="2272"/>
                </a:lnTo>
                <a:lnTo>
                  <a:pt x="1204" y="2280"/>
                </a:lnTo>
                <a:lnTo>
                  <a:pt x="1204" y="2300"/>
                </a:lnTo>
                <a:lnTo>
                  <a:pt x="1195" y="2307"/>
                </a:lnTo>
                <a:lnTo>
                  <a:pt x="1195" y="2319"/>
                </a:lnTo>
                <a:lnTo>
                  <a:pt x="1210" y="2319"/>
                </a:lnTo>
                <a:lnTo>
                  <a:pt x="1211" y="2330"/>
                </a:lnTo>
                <a:lnTo>
                  <a:pt x="1207" y="2336"/>
                </a:lnTo>
                <a:lnTo>
                  <a:pt x="1198" y="2331"/>
                </a:lnTo>
                <a:lnTo>
                  <a:pt x="1193" y="2339"/>
                </a:lnTo>
                <a:lnTo>
                  <a:pt x="1198" y="2340"/>
                </a:lnTo>
                <a:lnTo>
                  <a:pt x="1193" y="2348"/>
                </a:lnTo>
                <a:lnTo>
                  <a:pt x="1208" y="2340"/>
                </a:lnTo>
                <a:lnTo>
                  <a:pt x="1219" y="2345"/>
                </a:lnTo>
                <a:lnTo>
                  <a:pt x="1225" y="2343"/>
                </a:lnTo>
                <a:lnTo>
                  <a:pt x="1229" y="2351"/>
                </a:lnTo>
                <a:lnTo>
                  <a:pt x="1229" y="2357"/>
                </a:lnTo>
                <a:lnTo>
                  <a:pt x="1228" y="2365"/>
                </a:lnTo>
                <a:lnTo>
                  <a:pt x="1220" y="2375"/>
                </a:lnTo>
                <a:lnTo>
                  <a:pt x="1237" y="2378"/>
                </a:lnTo>
                <a:lnTo>
                  <a:pt x="1240" y="2390"/>
                </a:lnTo>
                <a:lnTo>
                  <a:pt x="1247" y="2378"/>
                </a:lnTo>
                <a:lnTo>
                  <a:pt x="1256" y="2384"/>
                </a:lnTo>
                <a:lnTo>
                  <a:pt x="1270" y="2396"/>
                </a:lnTo>
                <a:lnTo>
                  <a:pt x="1277" y="2390"/>
                </a:lnTo>
                <a:lnTo>
                  <a:pt x="1297" y="2386"/>
                </a:lnTo>
                <a:lnTo>
                  <a:pt x="1299" y="2392"/>
                </a:lnTo>
                <a:lnTo>
                  <a:pt x="1290" y="2408"/>
                </a:lnTo>
                <a:lnTo>
                  <a:pt x="1284" y="2413"/>
                </a:lnTo>
                <a:lnTo>
                  <a:pt x="1274" y="2419"/>
                </a:lnTo>
                <a:lnTo>
                  <a:pt x="1277" y="2438"/>
                </a:lnTo>
                <a:lnTo>
                  <a:pt x="1282" y="2440"/>
                </a:lnTo>
                <a:lnTo>
                  <a:pt x="1291" y="2431"/>
                </a:lnTo>
                <a:lnTo>
                  <a:pt x="1308" y="2428"/>
                </a:lnTo>
                <a:lnTo>
                  <a:pt x="1324" y="2437"/>
                </a:lnTo>
                <a:lnTo>
                  <a:pt x="1321" y="2425"/>
                </a:lnTo>
                <a:lnTo>
                  <a:pt x="1330" y="2425"/>
                </a:lnTo>
                <a:lnTo>
                  <a:pt x="1332" y="2417"/>
                </a:lnTo>
                <a:lnTo>
                  <a:pt x="1356" y="2404"/>
                </a:lnTo>
                <a:lnTo>
                  <a:pt x="1363" y="2407"/>
                </a:lnTo>
                <a:lnTo>
                  <a:pt x="1362" y="2411"/>
                </a:lnTo>
                <a:lnTo>
                  <a:pt x="1371" y="2407"/>
                </a:lnTo>
                <a:lnTo>
                  <a:pt x="1374" y="2396"/>
                </a:lnTo>
                <a:lnTo>
                  <a:pt x="1386" y="2381"/>
                </a:lnTo>
                <a:lnTo>
                  <a:pt x="1406" y="2381"/>
                </a:lnTo>
                <a:lnTo>
                  <a:pt x="1406" y="2384"/>
                </a:lnTo>
                <a:lnTo>
                  <a:pt x="1392" y="2384"/>
                </a:lnTo>
                <a:lnTo>
                  <a:pt x="1389" y="2395"/>
                </a:lnTo>
                <a:lnTo>
                  <a:pt x="1383" y="2398"/>
                </a:lnTo>
                <a:lnTo>
                  <a:pt x="1383" y="2402"/>
                </a:lnTo>
                <a:lnTo>
                  <a:pt x="1388" y="2405"/>
                </a:lnTo>
                <a:lnTo>
                  <a:pt x="1400" y="2393"/>
                </a:lnTo>
                <a:lnTo>
                  <a:pt x="1412" y="2390"/>
                </a:lnTo>
                <a:lnTo>
                  <a:pt x="1415" y="2386"/>
                </a:lnTo>
                <a:lnTo>
                  <a:pt x="1418" y="2384"/>
                </a:lnTo>
                <a:lnTo>
                  <a:pt x="1428" y="2393"/>
                </a:lnTo>
                <a:lnTo>
                  <a:pt x="1436" y="2405"/>
                </a:lnTo>
                <a:lnTo>
                  <a:pt x="1440" y="2410"/>
                </a:lnTo>
                <a:lnTo>
                  <a:pt x="1446" y="2408"/>
                </a:lnTo>
                <a:lnTo>
                  <a:pt x="1452" y="2417"/>
                </a:lnTo>
                <a:lnTo>
                  <a:pt x="1454" y="2413"/>
                </a:lnTo>
                <a:lnTo>
                  <a:pt x="1462" y="2413"/>
                </a:lnTo>
                <a:lnTo>
                  <a:pt x="1465" y="2422"/>
                </a:lnTo>
                <a:lnTo>
                  <a:pt x="1469" y="2423"/>
                </a:lnTo>
                <a:lnTo>
                  <a:pt x="1465" y="2426"/>
                </a:lnTo>
                <a:lnTo>
                  <a:pt x="1472" y="2434"/>
                </a:lnTo>
                <a:lnTo>
                  <a:pt x="1469" y="2438"/>
                </a:lnTo>
                <a:lnTo>
                  <a:pt x="1463" y="2443"/>
                </a:lnTo>
                <a:lnTo>
                  <a:pt x="1483" y="2452"/>
                </a:lnTo>
                <a:lnTo>
                  <a:pt x="1492" y="2452"/>
                </a:lnTo>
                <a:lnTo>
                  <a:pt x="1499" y="2452"/>
                </a:lnTo>
                <a:lnTo>
                  <a:pt x="1502" y="2461"/>
                </a:lnTo>
                <a:lnTo>
                  <a:pt x="1508" y="2455"/>
                </a:lnTo>
                <a:lnTo>
                  <a:pt x="1513" y="2461"/>
                </a:lnTo>
                <a:lnTo>
                  <a:pt x="1517" y="2463"/>
                </a:lnTo>
                <a:lnTo>
                  <a:pt x="1520" y="2455"/>
                </a:lnTo>
                <a:lnTo>
                  <a:pt x="1523" y="2449"/>
                </a:lnTo>
                <a:lnTo>
                  <a:pt x="1519" y="2447"/>
                </a:lnTo>
                <a:lnTo>
                  <a:pt x="1514" y="2438"/>
                </a:lnTo>
                <a:lnTo>
                  <a:pt x="1520" y="2431"/>
                </a:lnTo>
                <a:lnTo>
                  <a:pt x="1528" y="2434"/>
                </a:lnTo>
                <a:lnTo>
                  <a:pt x="1535" y="2426"/>
                </a:lnTo>
                <a:lnTo>
                  <a:pt x="1543" y="2417"/>
                </a:lnTo>
                <a:lnTo>
                  <a:pt x="1579" y="2404"/>
                </a:lnTo>
                <a:lnTo>
                  <a:pt x="1611" y="2398"/>
                </a:lnTo>
                <a:lnTo>
                  <a:pt x="1627" y="2383"/>
                </a:lnTo>
                <a:lnTo>
                  <a:pt x="1644" y="2363"/>
                </a:lnTo>
                <a:lnTo>
                  <a:pt x="1667" y="2360"/>
                </a:lnTo>
                <a:lnTo>
                  <a:pt x="1686" y="2345"/>
                </a:lnTo>
                <a:lnTo>
                  <a:pt x="1710" y="2340"/>
                </a:lnTo>
                <a:lnTo>
                  <a:pt x="1742" y="2331"/>
                </a:lnTo>
                <a:lnTo>
                  <a:pt x="1772" y="2334"/>
                </a:lnTo>
                <a:lnTo>
                  <a:pt x="1789" y="2345"/>
                </a:lnTo>
                <a:lnTo>
                  <a:pt x="1793" y="2358"/>
                </a:lnTo>
                <a:lnTo>
                  <a:pt x="1792" y="2363"/>
                </a:lnTo>
                <a:lnTo>
                  <a:pt x="1789" y="2355"/>
                </a:lnTo>
                <a:lnTo>
                  <a:pt x="1781" y="2345"/>
                </a:lnTo>
                <a:lnTo>
                  <a:pt x="1777" y="2342"/>
                </a:lnTo>
                <a:lnTo>
                  <a:pt x="1769" y="2348"/>
                </a:lnTo>
                <a:lnTo>
                  <a:pt x="1772" y="2358"/>
                </a:lnTo>
                <a:lnTo>
                  <a:pt x="1774" y="2374"/>
                </a:lnTo>
                <a:lnTo>
                  <a:pt x="1790" y="2380"/>
                </a:lnTo>
                <a:lnTo>
                  <a:pt x="1795" y="2386"/>
                </a:lnTo>
                <a:lnTo>
                  <a:pt x="1808" y="2384"/>
                </a:lnTo>
                <a:lnTo>
                  <a:pt x="1824" y="2380"/>
                </a:lnTo>
                <a:lnTo>
                  <a:pt x="1848" y="2361"/>
                </a:lnTo>
                <a:lnTo>
                  <a:pt x="1852" y="2348"/>
                </a:lnTo>
                <a:lnTo>
                  <a:pt x="1855" y="2349"/>
                </a:lnTo>
                <a:lnTo>
                  <a:pt x="1854" y="2361"/>
                </a:lnTo>
                <a:lnTo>
                  <a:pt x="1843" y="2372"/>
                </a:lnTo>
                <a:lnTo>
                  <a:pt x="1825" y="2384"/>
                </a:lnTo>
                <a:lnTo>
                  <a:pt x="1817" y="2384"/>
                </a:lnTo>
                <a:lnTo>
                  <a:pt x="1822" y="2399"/>
                </a:lnTo>
                <a:lnTo>
                  <a:pt x="1828" y="2395"/>
                </a:lnTo>
                <a:lnTo>
                  <a:pt x="1840" y="2386"/>
                </a:lnTo>
                <a:lnTo>
                  <a:pt x="1849" y="2377"/>
                </a:lnTo>
                <a:lnTo>
                  <a:pt x="1858" y="2366"/>
                </a:lnTo>
                <a:lnTo>
                  <a:pt x="1863" y="2355"/>
                </a:lnTo>
                <a:lnTo>
                  <a:pt x="1875" y="2355"/>
                </a:lnTo>
                <a:lnTo>
                  <a:pt x="1890" y="2355"/>
                </a:lnTo>
                <a:lnTo>
                  <a:pt x="1888" y="2342"/>
                </a:lnTo>
                <a:lnTo>
                  <a:pt x="1882" y="2348"/>
                </a:lnTo>
                <a:lnTo>
                  <a:pt x="1875" y="2343"/>
                </a:lnTo>
                <a:lnTo>
                  <a:pt x="1870" y="2340"/>
                </a:lnTo>
                <a:lnTo>
                  <a:pt x="1860" y="2349"/>
                </a:lnTo>
                <a:lnTo>
                  <a:pt x="1855" y="2345"/>
                </a:lnTo>
                <a:lnTo>
                  <a:pt x="1861" y="2337"/>
                </a:lnTo>
                <a:lnTo>
                  <a:pt x="1863" y="2327"/>
                </a:lnTo>
                <a:lnTo>
                  <a:pt x="1863" y="2322"/>
                </a:lnTo>
                <a:lnTo>
                  <a:pt x="1869" y="2318"/>
                </a:lnTo>
                <a:lnTo>
                  <a:pt x="1875" y="2321"/>
                </a:lnTo>
                <a:lnTo>
                  <a:pt x="1891" y="2318"/>
                </a:lnTo>
                <a:lnTo>
                  <a:pt x="1908" y="2306"/>
                </a:lnTo>
                <a:lnTo>
                  <a:pt x="1920" y="2289"/>
                </a:lnTo>
                <a:lnTo>
                  <a:pt x="1929" y="2268"/>
                </a:lnTo>
                <a:lnTo>
                  <a:pt x="1931" y="2247"/>
                </a:lnTo>
                <a:lnTo>
                  <a:pt x="1931" y="2236"/>
                </a:lnTo>
                <a:lnTo>
                  <a:pt x="1937" y="2247"/>
                </a:lnTo>
                <a:lnTo>
                  <a:pt x="1934" y="2263"/>
                </a:lnTo>
                <a:lnTo>
                  <a:pt x="1931" y="2283"/>
                </a:lnTo>
                <a:lnTo>
                  <a:pt x="1920" y="2300"/>
                </a:lnTo>
                <a:lnTo>
                  <a:pt x="1905" y="2315"/>
                </a:lnTo>
                <a:lnTo>
                  <a:pt x="1914" y="2321"/>
                </a:lnTo>
                <a:lnTo>
                  <a:pt x="1922" y="2319"/>
                </a:lnTo>
                <a:lnTo>
                  <a:pt x="1929" y="2325"/>
                </a:lnTo>
                <a:lnTo>
                  <a:pt x="1934" y="2327"/>
                </a:lnTo>
                <a:lnTo>
                  <a:pt x="1941" y="2319"/>
                </a:lnTo>
                <a:lnTo>
                  <a:pt x="1941" y="2291"/>
                </a:lnTo>
                <a:lnTo>
                  <a:pt x="1953" y="2286"/>
                </a:lnTo>
                <a:lnTo>
                  <a:pt x="1943" y="2275"/>
                </a:lnTo>
                <a:lnTo>
                  <a:pt x="1947" y="2254"/>
                </a:lnTo>
                <a:lnTo>
                  <a:pt x="1946" y="2239"/>
                </a:lnTo>
                <a:lnTo>
                  <a:pt x="1935" y="2224"/>
                </a:lnTo>
                <a:lnTo>
                  <a:pt x="1934" y="2189"/>
                </a:lnTo>
                <a:lnTo>
                  <a:pt x="1922" y="2164"/>
                </a:lnTo>
                <a:lnTo>
                  <a:pt x="1920" y="2134"/>
                </a:lnTo>
                <a:lnTo>
                  <a:pt x="1931" y="2111"/>
                </a:lnTo>
                <a:lnTo>
                  <a:pt x="1949" y="2082"/>
                </a:lnTo>
                <a:lnTo>
                  <a:pt x="1949" y="2055"/>
                </a:lnTo>
                <a:lnTo>
                  <a:pt x="1956" y="2040"/>
                </a:lnTo>
                <a:lnTo>
                  <a:pt x="1982" y="2017"/>
                </a:lnTo>
                <a:lnTo>
                  <a:pt x="1998" y="2017"/>
                </a:lnTo>
                <a:lnTo>
                  <a:pt x="2015" y="2008"/>
                </a:lnTo>
                <a:lnTo>
                  <a:pt x="2024" y="2002"/>
                </a:lnTo>
                <a:lnTo>
                  <a:pt x="2027" y="2007"/>
                </a:lnTo>
                <a:lnTo>
                  <a:pt x="2029" y="2019"/>
                </a:lnTo>
                <a:lnTo>
                  <a:pt x="2035" y="2028"/>
                </a:lnTo>
                <a:lnTo>
                  <a:pt x="2057" y="2046"/>
                </a:lnTo>
                <a:lnTo>
                  <a:pt x="2054" y="2063"/>
                </a:lnTo>
                <a:lnTo>
                  <a:pt x="2060" y="2067"/>
                </a:lnTo>
                <a:lnTo>
                  <a:pt x="2057" y="2054"/>
                </a:lnTo>
                <a:lnTo>
                  <a:pt x="2059" y="2049"/>
                </a:lnTo>
                <a:lnTo>
                  <a:pt x="2065" y="2058"/>
                </a:lnTo>
                <a:lnTo>
                  <a:pt x="2066" y="2063"/>
                </a:lnTo>
                <a:lnTo>
                  <a:pt x="2069" y="2070"/>
                </a:lnTo>
                <a:lnTo>
                  <a:pt x="2072" y="2076"/>
                </a:lnTo>
                <a:lnTo>
                  <a:pt x="2078" y="2085"/>
                </a:lnTo>
                <a:lnTo>
                  <a:pt x="2100" y="2093"/>
                </a:lnTo>
                <a:lnTo>
                  <a:pt x="2116" y="2087"/>
                </a:lnTo>
                <a:lnTo>
                  <a:pt x="2122" y="2088"/>
                </a:lnTo>
                <a:lnTo>
                  <a:pt x="2124" y="2079"/>
                </a:lnTo>
                <a:lnTo>
                  <a:pt x="2139" y="2067"/>
                </a:lnTo>
                <a:lnTo>
                  <a:pt x="2140" y="2049"/>
                </a:lnTo>
                <a:lnTo>
                  <a:pt x="2137" y="1983"/>
                </a:lnTo>
                <a:lnTo>
                  <a:pt x="2145" y="1954"/>
                </a:lnTo>
                <a:lnTo>
                  <a:pt x="2149" y="1945"/>
                </a:lnTo>
                <a:lnTo>
                  <a:pt x="2152" y="1932"/>
                </a:lnTo>
                <a:lnTo>
                  <a:pt x="2148" y="1924"/>
                </a:lnTo>
                <a:lnTo>
                  <a:pt x="2136" y="1933"/>
                </a:lnTo>
                <a:lnTo>
                  <a:pt x="2133" y="1941"/>
                </a:lnTo>
                <a:lnTo>
                  <a:pt x="2125" y="1944"/>
                </a:lnTo>
                <a:lnTo>
                  <a:pt x="2110" y="1927"/>
                </a:lnTo>
                <a:lnTo>
                  <a:pt x="2101" y="1933"/>
                </a:lnTo>
                <a:lnTo>
                  <a:pt x="2098" y="1930"/>
                </a:lnTo>
                <a:lnTo>
                  <a:pt x="2097" y="1928"/>
                </a:lnTo>
                <a:lnTo>
                  <a:pt x="2095" y="1910"/>
                </a:lnTo>
                <a:lnTo>
                  <a:pt x="2083" y="1900"/>
                </a:lnTo>
                <a:lnTo>
                  <a:pt x="2083" y="1895"/>
                </a:lnTo>
                <a:lnTo>
                  <a:pt x="2092" y="1888"/>
                </a:lnTo>
                <a:lnTo>
                  <a:pt x="2104" y="1883"/>
                </a:lnTo>
                <a:lnTo>
                  <a:pt x="2103" y="1880"/>
                </a:lnTo>
                <a:lnTo>
                  <a:pt x="2089" y="1876"/>
                </a:lnTo>
                <a:lnTo>
                  <a:pt x="2084" y="1871"/>
                </a:lnTo>
                <a:lnTo>
                  <a:pt x="2084" y="1856"/>
                </a:lnTo>
                <a:lnTo>
                  <a:pt x="2090" y="1852"/>
                </a:lnTo>
                <a:lnTo>
                  <a:pt x="2080" y="1842"/>
                </a:lnTo>
                <a:lnTo>
                  <a:pt x="2083" y="1830"/>
                </a:lnTo>
                <a:lnTo>
                  <a:pt x="2107" y="1818"/>
                </a:lnTo>
                <a:lnTo>
                  <a:pt x="2119" y="1814"/>
                </a:lnTo>
                <a:lnTo>
                  <a:pt x="2119" y="1803"/>
                </a:lnTo>
                <a:lnTo>
                  <a:pt x="2133" y="1802"/>
                </a:lnTo>
                <a:lnTo>
                  <a:pt x="2142" y="1796"/>
                </a:lnTo>
                <a:lnTo>
                  <a:pt x="2163" y="1796"/>
                </a:lnTo>
                <a:lnTo>
                  <a:pt x="2170" y="1787"/>
                </a:lnTo>
                <a:lnTo>
                  <a:pt x="2178" y="1791"/>
                </a:lnTo>
                <a:lnTo>
                  <a:pt x="2184" y="1790"/>
                </a:lnTo>
                <a:lnTo>
                  <a:pt x="2213" y="1787"/>
                </a:lnTo>
                <a:lnTo>
                  <a:pt x="2205" y="1781"/>
                </a:lnTo>
                <a:lnTo>
                  <a:pt x="2210" y="1776"/>
                </a:lnTo>
                <a:lnTo>
                  <a:pt x="2216" y="1778"/>
                </a:lnTo>
                <a:lnTo>
                  <a:pt x="2220" y="1775"/>
                </a:lnTo>
                <a:lnTo>
                  <a:pt x="2231" y="1779"/>
                </a:lnTo>
                <a:lnTo>
                  <a:pt x="2241" y="1773"/>
                </a:lnTo>
                <a:lnTo>
                  <a:pt x="2264" y="1782"/>
                </a:lnTo>
                <a:lnTo>
                  <a:pt x="2282" y="1784"/>
                </a:lnTo>
                <a:lnTo>
                  <a:pt x="2305" y="1799"/>
                </a:lnTo>
                <a:lnTo>
                  <a:pt x="2336" y="1797"/>
                </a:lnTo>
                <a:lnTo>
                  <a:pt x="2348" y="1802"/>
                </a:lnTo>
                <a:lnTo>
                  <a:pt x="2351" y="1802"/>
                </a:lnTo>
                <a:lnTo>
                  <a:pt x="2363" y="1799"/>
                </a:lnTo>
                <a:lnTo>
                  <a:pt x="2371" y="1788"/>
                </a:lnTo>
                <a:lnTo>
                  <a:pt x="2377" y="1781"/>
                </a:lnTo>
                <a:lnTo>
                  <a:pt x="2368" y="1761"/>
                </a:lnTo>
                <a:lnTo>
                  <a:pt x="2376" y="1755"/>
                </a:lnTo>
                <a:lnTo>
                  <a:pt x="2389" y="1769"/>
                </a:lnTo>
                <a:lnTo>
                  <a:pt x="2397" y="1756"/>
                </a:lnTo>
                <a:lnTo>
                  <a:pt x="2407" y="1752"/>
                </a:lnTo>
                <a:lnTo>
                  <a:pt x="2419" y="1756"/>
                </a:lnTo>
                <a:lnTo>
                  <a:pt x="2439" y="1728"/>
                </a:lnTo>
                <a:lnTo>
                  <a:pt x="2448" y="1734"/>
                </a:lnTo>
                <a:lnTo>
                  <a:pt x="2475" y="1734"/>
                </a:lnTo>
                <a:lnTo>
                  <a:pt x="2505" y="1737"/>
                </a:lnTo>
                <a:lnTo>
                  <a:pt x="2513" y="1735"/>
                </a:lnTo>
                <a:lnTo>
                  <a:pt x="2513" y="1732"/>
                </a:lnTo>
                <a:lnTo>
                  <a:pt x="2511" y="1729"/>
                </a:lnTo>
                <a:lnTo>
                  <a:pt x="2517" y="1726"/>
                </a:lnTo>
                <a:lnTo>
                  <a:pt x="2517" y="1723"/>
                </a:lnTo>
                <a:lnTo>
                  <a:pt x="2492" y="1719"/>
                </a:lnTo>
                <a:lnTo>
                  <a:pt x="2499" y="1714"/>
                </a:lnTo>
                <a:lnTo>
                  <a:pt x="2495" y="1708"/>
                </a:lnTo>
                <a:lnTo>
                  <a:pt x="2465" y="1701"/>
                </a:lnTo>
                <a:lnTo>
                  <a:pt x="2446" y="1707"/>
                </a:lnTo>
                <a:lnTo>
                  <a:pt x="2440" y="1707"/>
                </a:lnTo>
                <a:lnTo>
                  <a:pt x="2418" y="1681"/>
                </a:lnTo>
                <a:lnTo>
                  <a:pt x="2409" y="1684"/>
                </a:lnTo>
                <a:lnTo>
                  <a:pt x="2400" y="1675"/>
                </a:lnTo>
                <a:lnTo>
                  <a:pt x="2403" y="1666"/>
                </a:lnTo>
                <a:lnTo>
                  <a:pt x="2397" y="1664"/>
                </a:lnTo>
                <a:lnTo>
                  <a:pt x="2400" y="1660"/>
                </a:lnTo>
                <a:lnTo>
                  <a:pt x="2415" y="1670"/>
                </a:lnTo>
                <a:lnTo>
                  <a:pt x="2419" y="1667"/>
                </a:lnTo>
                <a:lnTo>
                  <a:pt x="2410" y="1646"/>
                </a:lnTo>
                <a:lnTo>
                  <a:pt x="2418" y="1633"/>
                </a:lnTo>
                <a:lnTo>
                  <a:pt x="2415" y="1631"/>
                </a:lnTo>
                <a:lnTo>
                  <a:pt x="2404" y="1643"/>
                </a:lnTo>
                <a:lnTo>
                  <a:pt x="2389" y="1646"/>
                </a:lnTo>
                <a:lnTo>
                  <a:pt x="2383" y="1655"/>
                </a:lnTo>
                <a:lnTo>
                  <a:pt x="2368" y="1660"/>
                </a:lnTo>
                <a:lnTo>
                  <a:pt x="2356" y="1651"/>
                </a:lnTo>
                <a:lnTo>
                  <a:pt x="2348" y="1652"/>
                </a:lnTo>
                <a:lnTo>
                  <a:pt x="2341" y="1660"/>
                </a:lnTo>
                <a:lnTo>
                  <a:pt x="2324" y="1661"/>
                </a:lnTo>
                <a:lnTo>
                  <a:pt x="2315" y="1658"/>
                </a:lnTo>
                <a:lnTo>
                  <a:pt x="2294" y="1661"/>
                </a:lnTo>
                <a:lnTo>
                  <a:pt x="2282" y="1669"/>
                </a:lnTo>
                <a:lnTo>
                  <a:pt x="2267" y="1666"/>
                </a:lnTo>
                <a:lnTo>
                  <a:pt x="2262" y="1675"/>
                </a:lnTo>
                <a:lnTo>
                  <a:pt x="2243" y="1678"/>
                </a:lnTo>
                <a:lnTo>
                  <a:pt x="2241" y="1661"/>
                </a:lnTo>
                <a:lnTo>
                  <a:pt x="2237" y="1666"/>
                </a:lnTo>
                <a:lnTo>
                  <a:pt x="2240" y="1680"/>
                </a:lnTo>
                <a:lnTo>
                  <a:pt x="2232" y="1677"/>
                </a:lnTo>
                <a:lnTo>
                  <a:pt x="2223" y="1686"/>
                </a:lnTo>
                <a:lnTo>
                  <a:pt x="2217" y="1678"/>
                </a:lnTo>
                <a:lnTo>
                  <a:pt x="2211" y="1687"/>
                </a:lnTo>
                <a:lnTo>
                  <a:pt x="2198" y="1692"/>
                </a:lnTo>
                <a:lnTo>
                  <a:pt x="2189" y="1702"/>
                </a:lnTo>
                <a:lnTo>
                  <a:pt x="2172" y="1702"/>
                </a:lnTo>
                <a:lnTo>
                  <a:pt x="2154" y="1708"/>
                </a:lnTo>
                <a:lnTo>
                  <a:pt x="2148" y="1723"/>
                </a:lnTo>
                <a:lnTo>
                  <a:pt x="2130" y="1719"/>
                </a:lnTo>
                <a:lnTo>
                  <a:pt x="2110" y="1731"/>
                </a:lnTo>
                <a:lnTo>
                  <a:pt x="2098" y="1723"/>
                </a:lnTo>
                <a:lnTo>
                  <a:pt x="2092" y="1728"/>
                </a:lnTo>
                <a:lnTo>
                  <a:pt x="2089" y="1740"/>
                </a:lnTo>
                <a:lnTo>
                  <a:pt x="2080" y="1735"/>
                </a:lnTo>
                <a:lnTo>
                  <a:pt x="2086" y="1732"/>
                </a:lnTo>
                <a:lnTo>
                  <a:pt x="2089" y="1725"/>
                </a:lnTo>
                <a:lnTo>
                  <a:pt x="2081" y="1719"/>
                </a:lnTo>
                <a:lnTo>
                  <a:pt x="2065" y="1740"/>
                </a:lnTo>
                <a:lnTo>
                  <a:pt x="2062" y="1747"/>
                </a:lnTo>
                <a:lnTo>
                  <a:pt x="2047" y="1747"/>
                </a:lnTo>
                <a:lnTo>
                  <a:pt x="2053" y="1740"/>
                </a:lnTo>
                <a:lnTo>
                  <a:pt x="2062" y="1738"/>
                </a:lnTo>
                <a:lnTo>
                  <a:pt x="2062" y="1732"/>
                </a:lnTo>
                <a:lnTo>
                  <a:pt x="2056" y="1726"/>
                </a:lnTo>
                <a:lnTo>
                  <a:pt x="2048" y="1731"/>
                </a:lnTo>
                <a:lnTo>
                  <a:pt x="2038" y="1731"/>
                </a:lnTo>
                <a:lnTo>
                  <a:pt x="2030" y="1726"/>
                </a:lnTo>
                <a:lnTo>
                  <a:pt x="2027" y="1719"/>
                </a:lnTo>
                <a:lnTo>
                  <a:pt x="2033" y="1708"/>
                </a:lnTo>
                <a:lnTo>
                  <a:pt x="2041" y="1704"/>
                </a:lnTo>
                <a:lnTo>
                  <a:pt x="2047" y="1695"/>
                </a:lnTo>
                <a:lnTo>
                  <a:pt x="2054" y="1686"/>
                </a:lnTo>
                <a:lnTo>
                  <a:pt x="2056" y="1677"/>
                </a:lnTo>
                <a:lnTo>
                  <a:pt x="2044" y="1684"/>
                </a:lnTo>
                <a:lnTo>
                  <a:pt x="2029" y="1690"/>
                </a:lnTo>
                <a:lnTo>
                  <a:pt x="2020" y="1687"/>
                </a:lnTo>
                <a:lnTo>
                  <a:pt x="2021" y="1678"/>
                </a:lnTo>
                <a:lnTo>
                  <a:pt x="1991" y="1666"/>
                </a:lnTo>
                <a:lnTo>
                  <a:pt x="1971" y="1648"/>
                </a:lnTo>
                <a:lnTo>
                  <a:pt x="1949" y="1649"/>
                </a:lnTo>
                <a:lnTo>
                  <a:pt x="1943" y="1640"/>
                </a:lnTo>
                <a:lnTo>
                  <a:pt x="1950" y="1631"/>
                </a:lnTo>
                <a:lnTo>
                  <a:pt x="1944" y="1622"/>
                </a:lnTo>
                <a:lnTo>
                  <a:pt x="1947" y="1607"/>
                </a:lnTo>
                <a:lnTo>
                  <a:pt x="1940" y="1592"/>
                </a:lnTo>
                <a:lnTo>
                  <a:pt x="1950" y="1581"/>
                </a:lnTo>
                <a:lnTo>
                  <a:pt x="1952" y="1554"/>
                </a:lnTo>
                <a:lnTo>
                  <a:pt x="1947" y="1535"/>
                </a:lnTo>
                <a:lnTo>
                  <a:pt x="1956" y="1521"/>
                </a:lnTo>
                <a:lnTo>
                  <a:pt x="1964" y="1532"/>
                </a:lnTo>
                <a:lnTo>
                  <a:pt x="1967" y="1530"/>
                </a:lnTo>
                <a:lnTo>
                  <a:pt x="1952" y="1508"/>
                </a:lnTo>
                <a:lnTo>
                  <a:pt x="1953" y="1483"/>
                </a:lnTo>
                <a:lnTo>
                  <a:pt x="1934" y="1467"/>
                </a:lnTo>
                <a:lnTo>
                  <a:pt x="1934" y="1455"/>
                </a:lnTo>
                <a:lnTo>
                  <a:pt x="1943" y="1435"/>
                </a:lnTo>
                <a:lnTo>
                  <a:pt x="1938" y="1417"/>
                </a:lnTo>
                <a:lnTo>
                  <a:pt x="1935" y="1422"/>
                </a:lnTo>
                <a:lnTo>
                  <a:pt x="1928" y="1419"/>
                </a:lnTo>
                <a:lnTo>
                  <a:pt x="1931" y="1396"/>
                </a:lnTo>
                <a:lnTo>
                  <a:pt x="1925" y="1378"/>
                </a:lnTo>
                <a:lnTo>
                  <a:pt x="1931" y="1351"/>
                </a:lnTo>
                <a:lnTo>
                  <a:pt x="1943" y="1348"/>
                </a:lnTo>
                <a:lnTo>
                  <a:pt x="1952" y="1333"/>
                </a:lnTo>
                <a:lnTo>
                  <a:pt x="1962" y="1328"/>
                </a:lnTo>
                <a:lnTo>
                  <a:pt x="1953" y="1317"/>
                </a:lnTo>
                <a:lnTo>
                  <a:pt x="1958" y="1307"/>
                </a:lnTo>
                <a:lnTo>
                  <a:pt x="1967" y="1301"/>
                </a:lnTo>
                <a:lnTo>
                  <a:pt x="1977" y="1310"/>
                </a:lnTo>
                <a:lnTo>
                  <a:pt x="1971" y="1298"/>
                </a:lnTo>
                <a:lnTo>
                  <a:pt x="1985" y="1304"/>
                </a:lnTo>
                <a:lnTo>
                  <a:pt x="1983" y="1310"/>
                </a:lnTo>
                <a:lnTo>
                  <a:pt x="1995" y="1301"/>
                </a:lnTo>
                <a:lnTo>
                  <a:pt x="2003" y="1292"/>
                </a:lnTo>
                <a:lnTo>
                  <a:pt x="2012" y="1289"/>
                </a:lnTo>
                <a:lnTo>
                  <a:pt x="2006" y="1271"/>
                </a:lnTo>
                <a:lnTo>
                  <a:pt x="2006" y="1259"/>
                </a:lnTo>
                <a:lnTo>
                  <a:pt x="2018" y="1268"/>
                </a:lnTo>
                <a:lnTo>
                  <a:pt x="2018" y="1254"/>
                </a:lnTo>
                <a:lnTo>
                  <a:pt x="2033" y="1237"/>
                </a:lnTo>
                <a:lnTo>
                  <a:pt x="2041" y="1237"/>
                </a:lnTo>
                <a:lnTo>
                  <a:pt x="2047" y="1224"/>
                </a:lnTo>
                <a:lnTo>
                  <a:pt x="2053" y="1222"/>
                </a:lnTo>
                <a:lnTo>
                  <a:pt x="2057" y="1213"/>
                </a:lnTo>
                <a:lnTo>
                  <a:pt x="2065" y="1213"/>
                </a:lnTo>
                <a:lnTo>
                  <a:pt x="2074" y="1200"/>
                </a:lnTo>
                <a:lnTo>
                  <a:pt x="2077" y="1182"/>
                </a:lnTo>
                <a:lnTo>
                  <a:pt x="2084" y="1185"/>
                </a:lnTo>
                <a:lnTo>
                  <a:pt x="2090" y="1171"/>
                </a:lnTo>
                <a:lnTo>
                  <a:pt x="2104" y="1164"/>
                </a:lnTo>
                <a:lnTo>
                  <a:pt x="2107" y="1151"/>
                </a:lnTo>
                <a:lnTo>
                  <a:pt x="2116" y="1147"/>
                </a:lnTo>
                <a:lnTo>
                  <a:pt x="2113" y="1138"/>
                </a:lnTo>
                <a:lnTo>
                  <a:pt x="2127" y="1123"/>
                </a:lnTo>
                <a:lnTo>
                  <a:pt x="2146" y="1090"/>
                </a:lnTo>
                <a:lnTo>
                  <a:pt x="2151" y="1069"/>
                </a:lnTo>
                <a:lnTo>
                  <a:pt x="2161" y="1070"/>
                </a:lnTo>
                <a:lnTo>
                  <a:pt x="2170" y="1059"/>
                </a:lnTo>
                <a:lnTo>
                  <a:pt x="2184" y="1058"/>
                </a:lnTo>
                <a:lnTo>
                  <a:pt x="2189" y="1059"/>
                </a:lnTo>
                <a:lnTo>
                  <a:pt x="2195" y="1073"/>
                </a:lnTo>
                <a:lnTo>
                  <a:pt x="2199" y="1073"/>
                </a:lnTo>
                <a:lnTo>
                  <a:pt x="2198" y="1067"/>
                </a:lnTo>
                <a:lnTo>
                  <a:pt x="2198" y="1053"/>
                </a:lnTo>
                <a:lnTo>
                  <a:pt x="2189" y="1041"/>
                </a:lnTo>
                <a:lnTo>
                  <a:pt x="2187" y="1034"/>
                </a:lnTo>
                <a:lnTo>
                  <a:pt x="2190" y="1034"/>
                </a:lnTo>
                <a:lnTo>
                  <a:pt x="2198" y="1043"/>
                </a:lnTo>
                <a:lnTo>
                  <a:pt x="2205" y="1043"/>
                </a:lnTo>
                <a:lnTo>
                  <a:pt x="2208" y="1035"/>
                </a:lnTo>
                <a:lnTo>
                  <a:pt x="2198" y="1020"/>
                </a:lnTo>
                <a:lnTo>
                  <a:pt x="2198" y="1002"/>
                </a:lnTo>
                <a:lnTo>
                  <a:pt x="2205" y="993"/>
                </a:lnTo>
                <a:lnTo>
                  <a:pt x="2201" y="979"/>
                </a:lnTo>
                <a:lnTo>
                  <a:pt x="2182" y="967"/>
                </a:lnTo>
                <a:lnTo>
                  <a:pt x="2181" y="948"/>
                </a:lnTo>
                <a:lnTo>
                  <a:pt x="2170" y="945"/>
                </a:lnTo>
                <a:lnTo>
                  <a:pt x="2158" y="934"/>
                </a:lnTo>
                <a:lnTo>
                  <a:pt x="2152" y="909"/>
                </a:lnTo>
                <a:lnTo>
                  <a:pt x="2145" y="913"/>
                </a:lnTo>
                <a:lnTo>
                  <a:pt x="2137" y="919"/>
                </a:lnTo>
                <a:lnTo>
                  <a:pt x="2125" y="913"/>
                </a:lnTo>
                <a:lnTo>
                  <a:pt x="2124" y="907"/>
                </a:lnTo>
                <a:lnTo>
                  <a:pt x="2118" y="909"/>
                </a:lnTo>
                <a:lnTo>
                  <a:pt x="2112" y="918"/>
                </a:lnTo>
                <a:lnTo>
                  <a:pt x="2093" y="907"/>
                </a:lnTo>
                <a:lnTo>
                  <a:pt x="2071" y="912"/>
                </a:lnTo>
                <a:lnTo>
                  <a:pt x="2063" y="909"/>
                </a:lnTo>
                <a:lnTo>
                  <a:pt x="2054" y="925"/>
                </a:lnTo>
                <a:lnTo>
                  <a:pt x="2036" y="918"/>
                </a:lnTo>
                <a:lnTo>
                  <a:pt x="2036" y="907"/>
                </a:lnTo>
                <a:lnTo>
                  <a:pt x="2030" y="904"/>
                </a:lnTo>
                <a:lnTo>
                  <a:pt x="2021" y="921"/>
                </a:lnTo>
                <a:lnTo>
                  <a:pt x="2011" y="904"/>
                </a:lnTo>
                <a:lnTo>
                  <a:pt x="2005" y="910"/>
                </a:lnTo>
                <a:lnTo>
                  <a:pt x="2006" y="924"/>
                </a:lnTo>
                <a:lnTo>
                  <a:pt x="2000" y="931"/>
                </a:lnTo>
                <a:lnTo>
                  <a:pt x="1992" y="943"/>
                </a:lnTo>
                <a:lnTo>
                  <a:pt x="1968" y="934"/>
                </a:lnTo>
                <a:lnTo>
                  <a:pt x="1991" y="951"/>
                </a:lnTo>
                <a:lnTo>
                  <a:pt x="1986" y="957"/>
                </a:lnTo>
                <a:lnTo>
                  <a:pt x="1974" y="958"/>
                </a:lnTo>
                <a:lnTo>
                  <a:pt x="1982" y="975"/>
                </a:lnTo>
                <a:lnTo>
                  <a:pt x="1971" y="976"/>
                </a:lnTo>
                <a:lnTo>
                  <a:pt x="1961" y="967"/>
                </a:lnTo>
                <a:lnTo>
                  <a:pt x="1956" y="983"/>
                </a:lnTo>
                <a:lnTo>
                  <a:pt x="1940" y="990"/>
                </a:lnTo>
                <a:lnTo>
                  <a:pt x="1956" y="1013"/>
                </a:lnTo>
                <a:lnTo>
                  <a:pt x="1955" y="1037"/>
                </a:lnTo>
                <a:lnTo>
                  <a:pt x="1947" y="1041"/>
                </a:lnTo>
                <a:lnTo>
                  <a:pt x="1941" y="1050"/>
                </a:lnTo>
                <a:lnTo>
                  <a:pt x="1932" y="1050"/>
                </a:lnTo>
                <a:lnTo>
                  <a:pt x="1923" y="1070"/>
                </a:lnTo>
                <a:lnTo>
                  <a:pt x="1935" y="1082"/>
                </a:lnTo>
                <a:lnTo>
                  <a:pt x="1932" y="1090"/>
                </a:lnTo>
                <a:lnTo>
                  <a:pt x="1923" y="1085"/>
                </a:lnTo>
                <a:lnTo>
                  <a:pt x="1937" y="1105"/>
                </a:lnTo>
                <a:lnTo>
                  <a:pt x="1950" y="1108"/>
                </a:lnTo>
                <a:lnTo>
                  <a:pt x="1952" y="1117"/>
                </a:lnTo>
                <a:lnTo>
                  <a:pt x="1947" y="1123"/>
                </a:lnTo>
                <a:lnTo>
                  <a:pt x="1947" y="1130"/>
                </a:lnTo>
                <a:lnTo>
                  <a:pt x="1958" y="1126"/>
                </a:lnTo>
                <a:lnTo>
                  <a:pt x="1961" y="1129"/>
                </a:lnTo>
                <a:lnTo>
                  <a:pt x="1953" y="1135"/>
                </a:lnTo>
                <a:lnTo>
                  <a:pt x="1947" y="1136"/>
                </a:lnTo>
                <a:lnTo>
                  <a:pt x="1940" y="1138"/>
                </a:lnTo>
                <a:lnTo>
                  <a:pt x="1932" y="1153"/>
                </a:lnTo>
                <a:lnTo>
                  <a:pt x="1919" y="1186"/>
                </a:lnTo>
                <a:lnTo>
                  <a:pt x="1869" y="1241"/>
                </a:lnTo>
                <a:lnTo>
                  <a:pt x="1863" y="1230"/>
                </a:lnTo>
                <a:lnTo>
                  <a:pt x="1849" y="1245"/>
                </a:lnTo>
                <a:lnTo>
                  <a:pt x="1848" y="1259"/>
                </a:lnTo>
                <a:lnTo>
                  <a:pt x="1839" y="1268"/>
                </a:lnTo>
                <a:lnTo>
                  <a:pt x="1825" y="1253"/>
                </a:lnTo>
                <a:lnTo>
                  <a:pt x="1820" y="1263"/>
                </a:lnTo>
                <a:lnTo>
                  <a:pt x="1817" y="1260"/>
                </a:lnTo>
                <a:lnTo>
                  <a:pt x="1810" y="1265"/>
                </a:lnTo>
                <a:lnTo>
                  <a:pt x="1807" y="1284"/>
                </a:lnTo>
                <a:lnTo>
                  <a:pt x="1796" y="1292"/>
                </a:lnTo>
                <a:lnTo>
                  <a:pt x="1777" y="1292"/>
                </a:lnTo>
                <a:lnTo>
                  <a:pt x="1771" y="1314"/>
                </a:lnTo>
                <a:lnTo>
                  <a:pt x="1763" y="1319"/>
                </a:lnTo>
                <a:lnTo>
                  <a:pt x="1753" y="1333"/>
                </a:lnTo>
                <a:lnTo>
                  <a:pt x="1757" y="1346"/>
                </a:lnTo>
                <a:lnTo>
                  <a:pt x="1751" y="1354"/>
                </a:lnTo>
                <a:lnTo>
                  <a:pt x="1739" y="1351"/>
                </a:lnTo>
                <a:lnTo>
                  <a:pt x="1738" y="1363"/>
                </a:lnTo>
                <a:lnTo>
                  <a:pt x="1731" y="1364"/>
                </a:lnTo>
                <a:lnTo>
                  <a:pt x="1730" y="1357"/>
                </a:lnTo>
                <a:lnTo>
                  <a:pt x="1724" y="1355"/>
                </a:lnTo>
                <a:lnTo>
                  <a:pt x="1716" y="1346"/>
                </a:lnTo>
                <a:lnTo>
                  <a:pt x="1718" y="1361"/>
                </a:lnTo>
                <a:lnTo>
                  <a:pt x="1724" y="1375"/>
                </a:lnTo>
                <a:lnTo>
                  <a:pt x="1719" y="1396"/>
                </a:lnTo>
                <a:lnTo>
                  <a:pt x="1707" y="1402"/>
                </a:lnTo>
                <a:lnTo>
                  <a:pt x="1703" y="1411"/>
                </a:lnTo>
                <a:lnTo>
                  <a:pt x="1691" y="1400"/>
                </a:lnTo>
                <a:lnTo>
                  <a:pt x="1685" y="1408"/>
                </a:lnTo>
                <a:lnTo>
                  <a:pt x="1686" y="1423"/>
                </a:lnTo>
                <a:lnTo>
                  <a:pt x="1703" y="1434"/>
                </a:lnTo>
                <a:lnTo>
                  <a:pt x="1703" y="1444"/>
                </a:lnTo>
                <a:lnTo>
                  <a:pt x="1694" y="1455"/>
                </a:lnTo>
                <a:lnTo>
                  <a:pt x="1688" y="1474"/>
                </a:lnTo>
                <a:lnTo>
                  <a:pt x="1683" y="1482"/>
                </a:lnTo>
                <a:lnTo>
                  <a:pt x="1688" y="1492"/>
                </a:lnTo>
                <a:lnTo>
                  <a:pt x="1688" y="1506"/>
                </a:lnTo>
                <a:lnTo>
                  <a:pt x="1695" y="1512"/>
                </a:lnTo>
                <a:lnTo>
                  <a:pt x="1692" y="1520"/>
                </a:lnTo>
                <a:lnTo>
                  <a:pt x="1688" y="1509"/>
                </a:lnTo>
                <a:lnTo>
                  <a:pt x="1673" y="1509"/>
                </a:lnTo>
                <a:lnTo>
                  <a:pt x="1673" y="1547"/>
                </a:lnTo>
                <a:lnTo>
                  <a:pt x="1679" y="1559"/>
                </a:lnTo>
                <a:lnTo>
                  <a:pt x="1673" y="1566"/>
                </a:lnTo>
                <a:lnTo>
                  <a:pt x="1680" y="1595"/>
                </a:lnTo>
                <a:lnTo>
                  <a:pt x="1676" y="1607"/>
                </a:lnTo>
                <a:lnTo>
                  <a:pt x="1689" y="1631"/>
                </a:lnTo>
                <a:lnTo>
                  <a:pt x="1689" y="1637"/>
                </a:lnTo>
                <a:lnTo>
                  <a:pt x="1679" y="1637"/>
                </a:lnTo>
                <a:lnTo>
                  <a:pt x="1676" y="1645"/>
                </a:lnTo>
                <a:lnTo>
                  <a:pt x="1689" y="1648"/>
                </a:lnTo>
                <a:lnTo>
                  <a:pt x="1685" y="1660"/>
                </a:lnTo>
                <a:lnTo>
                  <a:pt x="1689" y="1666"/>
                </a:lnTo>
                <a:lnTo>
                  <a:pt x="1697" y="1654"/>
                </a:lnTo>
                <a:lnTo>
                  <a:pt x="1704" y="1651"/>
                </a:lnTo>
                <a:lnTo>
                  <a:pt x="1712" y="1661"/>
                </a:lnTo>
                <a:lnTo>
                  <a:pt x="1722" y="1658"/>
                </a:lnTo>
                <a:lnTo>
                  <a:pt x="1728" y="1667"/>
                </a:lnTo>
                <a:lnTo>
                  <a:pt x="1741" y="1678"/>
                </a:lnTo>
                <a:lnTo>
                  <a:pt x="1745" y="1687"/>
                </a:lnTo>
                <a:lnTo>
                  <a:pt x="1753" y="1686"/>
                </a:lnTo>
                <a:lnTo>
                  <a:pt x="1757" y="1689"/>
                </a:lnTo>
                <a:lnTo>
                  <a:pt x="1762" y="1696"/>
                </a:lnTo>
                <a:lnTo>
                  <a:pt x="1754" y="1702"/>
                </a:lnTo>
                <a:lnTo>
                  <a:pt x="1759" y="1707"/>
                </a:lnTo>
                <a:lnTo>
                  <a:pt x="1774" y="1714"/>
                </a:lnTo>
                <a:lnTo>
                  <a:pt x="1780" y="1728"/>
                </a:lnTo>
                <a:lnTo>
                  <a:pt x="1783" y="1752"/>
                </a:lnTo>
                <a:lnTo>
                  <a:pt x="1778" y="1758"/>
                </a:lnTo>
                <a:lnTo>
                  <a:pt x="1781" y="1764"/>
                </a:lnTo>
                <a:lnTo>
                  <a:pt x="1774" y="1773"/>
                </a:lnTo>
                <a:lnTo>
                  <a:pt x="1771" y="1782"/>
                </a:lnTo>
                <a:lnTo>
                  <a:pt x="1756" y="1793"/>
                </a:lnTo>
                <a:lnTo>
                  <a:pt x="1739" y="1797"/>
                </a:lnTo>
                <a:lnTo>
                  <a:pt x="1733" y="1797"/>
                </a:lnTo>
                <a:lnTo>
                  <a:pt x="1725" y="1806"/>
                </a:lnTo>
                <a:lnTo>
                  <a:pt x="1719" y="1802"/>
                </a:lnTo>
                <a:lnTo>
                  <a:pt x="1719" y="1770"/>
                </a:lnTo>
                <a:lnTo>
                  <a:pt x="1709" y="1770"/>
                </a:lnTo>
                <a:lnTo>
                  <a:pt x="1697" y="1755"/>
                </a:lnTo>
                <a:lnTo>
                  <a:pt x="1692" y="1764"/>
                </a:lnTo>
                <a:lnTo>
                  <a:pt x="1710" y="1782"/>
                </a:lnTo>
                <a:lnTo>
                  <a:pt x="1713" y="1797"/>
                </a:lnTo>
                <a:lnTo>
                  <a:pt x="1707" y="1803"/>
                </a:lnTo>
                <a:lnTo>
                  <a:pt x="1704" y="1800"/>
                </a:lnTo>
                <a:lnTo>
                  <a:pt x="1688" y="1779"/>
                </a:lnTo>
                <a:lnTo>
                  <a:pt x="1692" y="1796"/>
                </a:lnTo>
                <a:lnTo>
                  <a:pt x="1685" y="1797"/>
                </a:lnTo>
                <a:lnTo>
                  <a:pt x="1667" y="1781"/>
                </a:lnTo>
                <a:lnTo>
                  <a:pt x="1653" y="1788"/>
                </a:lnTo>
                <a:lnTo>
                  <a:pt x="1639" y="1784"/>
                </a:lnTo>
                <a:lnTo>
                  <a:pt x="1638" y="1793"/>
                </a:lnTo>
                <a:lnTo>
                  <a:pt x="1615" y="1788"/>
                </a:lnTo>
                <a:lnTo>
                  <a:pt x="1605" y="1793"/>
                </a:lnTo>
                <a:lnTo>
                  <a:pt x="1617" y="1802"/>
                </a:lnTo>
                <a:lnTo>
                  <a:pt x="1643" y="1799"/>
                </a:lnTo>
                <a:lnTo>
                  <a:pt x="1650" y="1796"/>
                </a:lnTo>
                <a:lnTo>
                  <a:pt x="1656" y="1803"/>
                </a:lnTo>
                <a:lnTo>
                  <a:pt x="1673" y="1809"/>
                </a:lnTo>
                <a:lnTo>
                  <a:pt x="1674" y="1802"/>
                </a:lnTo>
                <a:lnTo>
                  <a:pt x="1680" y="1812"/>
                </a:lnTo>
                <a:lnTo>
                  <a:pt x="1677" y="1821"/>
                </a:lnTo>
                <a:lnTo>
                  <a:pt x="1683" y="1827"/>
                </a:lnTo>
                <a:lnTo>
                  <a:pt x="1691" y="1820"/>
                </a:lnTo>
                <a:lnTo>
                  <a:pt x="1710" y="1823"/>
                </a:lnTo>
                <a:lnTo>
                  <a:pt x="1725" y="1820"/>
                </a:lnTo>
                <a:lnTo>
                  <a:pt x="1738" y="1814"/>
                </a:lnTo>
                <a:lnTo>
                  <a:pt x="1747" y="1820"/>
                </a:lnTo>
                <a:lnTo>
                  <a:pt x="1745" y="1827"/>
                </a:lnTo>
                <a:lnTo>
                  <a:pt x="1751" y="1833"/>
                </a:lnTo>
                <a:lnTo>
                  <a:pt x="1759" y="1842"/>
                </a:lnTo>
                <a:lnTo>
                  <a:pt x="1759" y="1849"/>
                </a:lnTo>
                <a:lnTo>
                  <a:pt x="1754" y="1856"/>
                </a:lnTo>
                <a:lnTo>
                  <a:pt x="1750" y="1853"/>
                </a:lnTo>
                <a:lnTo>
                  <a:pt x="1742" y="1847"/>
                </a:lnTo>
                <a:lnTo>
                  <a:pt x="1745" y="1841"/>
                </a:lnTo>
                <a:lnTo>
                  <a:pt x="1741" y="1833"/>
                </a:lnTo>
                <a:lnTo>
                  <a:pt x="1739" y="1847"/>
                </a:lnTo>
                <a:lnTo>
                  <a:pt x="1731" y="1849"/>
                </a:lnTo>
                <a:lnTo>
                  <a:pt x="1727" y="1865"/>
                </a:lnTo>
                <a:lnTo>
                  <a:pt x="1716" y="1865"/>
                </a:lnTo>
                <a:lnTo>
                  <a:pt x="1715" y="1855"/>
                </a:lnTo>
                <a:lnTo>
                  <a:pt x="1710" y="1850"/>
                </a:lnTo>
                <a:lnTo>
                  <a:pt x="1704" y="1867"/>
                </a:lnTo>
                <a:lnTo>
                  <a:pt x="1691" y="1880"/>
                </a:lnTo>
                <a:lnTo>
                  <a:pt x="1673" y="1883"/>
                </a:lnTo>
                <a:lnTo>
                  <a:pt x="1671" y="1895"/>
                </a:lnTo>
                <a:lnTo>
                  <a:pt x="1661" y="1900"/>
                </a:lnTo>
                <a:lnTo>
                  <a:pt x="1623" y="1894"/>
                </a:lnTo>
                <a:lnTo>
                  <a:pt x="1614" y="1900"/>
                </a:lnTo>
                <a:lnTo>
                  <a:pt x="1621" y="1909"/>
                </a:lnTo>
                <a:lnTo>
                  <a:pt x="1652" y="1907"/>
                </a:lnTo>
                <a:lnTo>
                  <a:pt x="1658" y="1921"/>
                </a:lnTo>
                <a:lnTo>
                  <a:pt x="1650" y="1925"/>
                </a:lnTo>
                <a:lnTo>
                  <a:pt x="1633" y="1919"/>
                </a:lnTo>
                <a:lnTo>
                  <a:pt x="1633" y="1924"/>
                </a:lnTo>
                <a:lnTo>
                  <a:pt x="1655" y="1938"/>
                </a:lnTo>
                <a:lnTo>
                  <a:pt x="1656" y="1951"/>
                </a:lnTo>
                <a:lnTo>
                  <a:pt x="1647" y="1953"/>
                </a:lnTo>
                <a:lnTo>
                  <a:pt x="1653" y="1963"/>
                </a:lnTo>
                <a:lnTo>
                  <a:pt x="1644" y="1972"/>
                </a:lnTo>
                <a:lnTo>
                  <a:pt x="1653" y="1981"/>
                </a:lnTo>
                <a:lnTo>
                  <a:pt x="1646" y="1989"/>
                </a:lnTo>
                <a:lnTo>
                  <a:pt x="1636" y="1981"/>
                </a:lnTo>
                <a:lnTo>
                  <a:pt x="1632" y="1995"/>
                </a:lnTo>
                <a:lnTo>
                  <a:pt x="1647" y="2004"/>
                </a:lnTo>
                <a:lnTo>
                  <a:pt x="1649" y="2013"/>
                </a:lnTo>
                <a:lnTo>
                  <a:pt x="1639" y="2024"/>
                </a:lnTo>
                <a:lnTo>
                  <a:pt x="1647" y="2030"/>
                </a:lnTo>
                <a:lnTo>
                  <a:pt x="1647" y="2043"/>
                </a:lnTo>
                <a:lnTo>
                  <a:pt x="1633" y="2055"/>
                </a:lnTo>
                <a:lnTo>
                  <a:pt x="1633" y="2066"/>
                </a:lnTo>
                <a:lnTo>
                  <a:pt x="1638" y="2081"/>
                </a:lnTo>
                <a:lnTo>
                  <a:pt x="1630" y="2097"/>
                </a:lnTo>
                <a:lnTo>
                  <a:pt x="1630" y="2117"/>
                </a:lnTo>
                <a:lnTo>
                  <a:pt x="1621" y="2152"/>
                </a:lnTo>
                <a:lnTo>
                  <a:pt x="1600" y="2196"/>
                </a:lnTo>
                <a:lnTo>
                  <a:pt x="1584" y="2188"/>
                </a:lnTo>
                <a:lnTo>
                  <a:pt x="1561" y="2191"/>
                </a:lnTo>
                <a:lnTo>
                  <a:pt x="1555" y="2183"/>
                </a:lnTo>
                <a:lnTo>
                  <a:pt x="1529" y="2188"/>
                </a:lnTo>
                <a:lnTo>
                  <a:pt x="1522" y="2205"/>
                </a:lnTo>
                <a:lnTo>
                  <a:pt x="1510" y="2202"/>
                </a:lnTo>
                <a:lnTo>
                  <a:pt x="1507" y="2218"/>
                </a:lnTo>
                <a:lnTo>
                  <a:pt x="1492" y="2236"/>
                </a:lnTo>
                <a:lnTo>
                  <a:pt x="1502" y="2257"/>
                </a:lnTo>
                <a:lnTo>
                  <a:pt x="1501" y="2274"/>
                </a:lnTo>
                <a:lnTo>
                  <a:pt x="1492" y="2275"/>
                </a:lnTo>
                <a:lnTo>
                  <a:pt x="1471" y="2271"/>
                </a:lnTo>
                <a:lnTo>
                  <a:pt x="1439" y="2285"/>
                </a:lnTo>
                <a:lnTo>
                  <a:pt x="1431" y="2280"/>
                </a:lnTo>
                <a:lnTo>
                  <a:pt x="1407" y="2282"/>
                </a:lnTo>
                <a:lnTo>
                  <a:pt x="1409" y="2269"/>
                </a:lnTo>
                <a:lnTo>
                  <a:pt x="1419" y="2266"/>
                </a:lnTo>
                <a:lnTo>
                  <a:pt x="1415" y="2259"/>
                </a:lnTo>
                <a:lnTo>
                  <a:pt x="1421" y="2242"/>
                </a:lnTo>
                <a:lnTo>
                  <a:pt x="1388" y="2193"/>
                </a:lnTo>
                <a:lnTo>
                  <a:pt x="1391" y="2185"/>
                </a:lnTo>
                <a:lnTo>
                  <a:pt x="1398" y="2191"/>
                </a:lnTo>
                <a:lnTo>
                  <a:pt x="1403" y="2189"/>
                </a:lnTo>
                <a:lnTo>
                  <a:pt x="1407" y="2182"/>
                </a:lnTo>
                <a:lnTo>
                  <a:pt x="1397" y="2165"/>
                </a:lnTo>
                <a:lnTo>
                  <a:pt x="1397" y="2158"/>
                </a:lnTo>
                <a:lnTo>
                  <a:pt x="1413" y="2159"/>
                </a:lnTo>
                <a:lnTo>
                  <a:pt x="1415" y="2146"/>
                </a:lnTo>
                <a:lnTo>
                  <a:pt x="1366" y="2096"/>
                </a:lnTo>
                <a:lnTo>
                  <a:pt x="1360" y="2057"/>
                </a:lnTo>
                <a:lnTo>
                  <a:pt x="1350" y="2051"/>
                </a:lnTo>
                <a:lnTo>
                  <a:pt x="1344" y="2025"/>
                </a:lnTo>
                <a:lnTo>
                  <a:pt x="1335" y="2013"/>
                </a:lnTo>
                <a:lnTo>
                  <a:pt x="1345" y="2010"/>
                </a:lnTo>
                <a:lnTo>
                  <a:pt x="1348" y="2004"/>
                </a:lnTo>
                <a:lnTo>
                  <a:pt x="1339" y="1995"/>
                </a:lnTo>
                <a:lnTo>
                  <a:pt x="1336" y="1984"/>
                </a:lnTo>
                <a:lnTo>
                  <a:pt x="1339" y="1977"/>
                </a:lnTo>
                <a:lnTo>
                  <a:pt x="1339" y="1968"/>
                </a:lnTo>
                <a:lnTo>
                  <a:pt x="1332" y="1966"/>
                </a:lnTo>
                <a:lnTo>
                  <a:pt x="1324" y="1969"/>
                </a:lnTo>
                <a:lnTo>
                  <a:pt x="1312" y="1966"/>
                </a:lnTo>
                <a:lnTo>
                  <a:pt x="1314" y="1959"/>
                </a:lnTo>
                <a:lnTo>
                  <a:pt x="1339" y="1944"/>
                </a:lnTo>
                <a:lnTo>
                  <a:pt x="1329" y="1933"/>
                </a:lnTo>
                <a:lnTo>
                  <a:pt x="1329" y="1933"/>
                </a:lnTo>
                <a:lnTo>
                  <a:pt x="1321" y="1933"/>
                </a:lnTo>
                <a:lnTo>
                  <a:pt x="1321" y="1933"/>
                </a:lnTo>
                <a:lnTo>
                  <a:pt x="1320" y="1936"/>
                </a:lnTo>
                <a:lnTo>
                  <a:pt x="1320" y="1939"/>
                </a:lnTo>
                <a:lnTo>
                  <a:pt x="1320" y="1944"/>
                </a:lnTo>
                <a:lnTo>
                  <a:pt x="1317" y="1941"/>
                </a:lnTo>
                <a:lnTo>
                  <a:pt x="1317" y="1930"/>
                </a:lnTo>
                <a:lnTo>
                  <a:pt x="1309" y="1922"/>
                </a:lnTo>
                <a:lnTo>
                  <a:pt x="1306" y="1912"/>
                </a:lnTo>
                <a:lnTo>
                  <a:pt x="1300" y="1883"/>
                </a:lnTo>
                <a:lnTo>
                  <a:pt x="1299" y="1844"/>
                </a:lnTo>
                <a:lnTo>
                  <a:pt x="1290" y="1835"/>
                </a:lnTo>
                <a:lnTo>
                  <a:pt x="1273" y="1832"/>
                </a:lnTo>
                <a:lnTo>
                  <a:pt x="1273" y="1827"/>
                </a:lnTo>
                <a:lnTo>
                  <a:pt x="1264" y="1821"/>
                </a:lnTo>
                <a:lnTo>
                  <a:pt x="1271" y="1796"/>
                </a:lnTo>
                <a:lnTo>
                  <a:pt x="1264" y="1782"/>
                </a:lnTo>
                <a:lnTo>
                  <a:pt x="1265" y="1763"/>
                </a:lnTo>
                <a:lnTo>
                  <a:pt x="1270" y="1773"/>
                </a:lnTo>
                <a:lnTo>
                  <a:pt x="1271" y="1758"/>
                </a:lnTo>
                <a:lnTo>
                  <a:pt x="1270" y="1743"/>
                </a:lnTo>
                <a:lnTo>
                  <a:pt x="1256" y="1746"/>
                </a:lnTo>
                <a:lnTo>
                  <a:pt x="1250" y="1755"/>
                </a:lnTo>
                <a:lnTo>
                  <a:pt x="1259" y="1781"/>
                </a:lnTo>
                <a:lnTo>
                  <a:pt x="1258" y="1790"/>
                </a:lnTo>
                <a:lnTo>
                  <a:pt x="1252" y="1793"/>
                </a:lnTo>
                <a:lnTo>
                  <a:pt x="1250" y="1781"/>
                </a:lnTo>
                <a:lnTo>
                  <a:pt x="1247" y="1775"/>
                </a:lnTo>
                <a:lnTo>
                  <a:pt x="1249" y="1770"/>
                </a:lnTo>
                <a:lnTo>
                  <a:pt x="1240" y="1770"/>
                </a:lnTo>
                <a:lnTo>
                  <a:pt x="1244" y="1784"/>
                </a:lnTo>
                <a:lnTo>
                  <a:pt x="1241" y="1802"/>
                </a:lnTo>
                <a:lnTo>
                  <a:pt x="1253" y="1811"/>
                </a:lnTo>
                <a:lnTo>
                  <a:pt x="1250" y="1829"/>
                </a:lnTo>
                <a:lnTo>
                  <a:pt x="1243" y="1830"/>
                </a:lnTo>
                <a:lnTo>
                  <a:pt x="1241" y="1847"/>
                </a:lnTo>
                <a:lnTo>
                  <a:pt x="1235" y="1855"/>
                </a:lnTo>
                <a:lnTo>
                  <a:pt x="1219" y="1853"/>
                </a:lnTo>
                <a:lnTo>
                  <a:pt x="1210" y="1858"/>
                </a:lnTo>
                <a:lnTo>
                  <a:pt x="1201" y="1847"/>
                </a:lnTo>
                <a:lnTo>
                  <a:pt x="1204" y="1865"/>
                </a:lnTo>
                <a:lnTo>
                  <a:pt x="1185" y="1877"/>
                </a:lnTo>
                <a:lnTo>
                  <a:pt x="1182" y="1891"/>
                </a:lnTo>
                <a:lnTo>
                  <a:pt x="1172" y="1889"/>
                </a:lnTo>
                <a:lnTo>
                  <a:pt x="1169" y="1894"/>
                </a:lnTo>
                <a:lnTo>
                  <a:pt x="1176" y="1900"/>
                </a:lnTo>
                <a:lnTo>
                  <a:pt x="1172" y="1906"/>
                </a:lnTo>
                <a:lnTo>
                  <a:pt x="1172" y="1906"/>
                </a:lnTo>
                <a:lnTo>
                  <a:pt x="1164" y="1907"/>
                </a:lnTo>
                <a:lnTo>
                  <a:pt x="1155" y="1910"/>
                </a:lnTo>
                <a:lnTo>
                  <a:pt x="1155" y="1910"/>
                </a:lnTo>
                <a:lnTo>
                  <a:pt x="1154" y="1912"/>
                </a:lnTo>
                <a:lnTo>
                  <a:pt x="1152" y="1916"/>
                </a:lnTo>
                <a:lnTo>
                  <a:pt x="1152" y="1922"/>
                </a:lnTo>
                <a:lnTo>
                  <a:pt x="1139" y="1944"/>
                </a:lnTo>
                <a:lnTo>
                  <a:pt x="1121" y="1948"/>
                </a:lnTo>
                <a:lnTo>
                  <a:pt x="1109" y="1959"/>
                </a:lnTo>
                <a:lnTo>
                  <a:pt x="1095" y="1960"/>
                </a:lnTo>
                <a:lnTo>
                  <a:pt x="1090" y="1972"/>
                </a:lnTo>
                <a:lnTo>
                  <a:pt x="1059" y="1974"/>
                </a:lnTo>
                <a:lnTo>
                  <a:pt x="1036" y="1968"/>
                </a:lnTo>
                <a:lnTo>
                  <a:pt x="1014" y="1965"/>
                </a:lnTo>
                <a:lnTo>
                  <a:pt x="1018" y="1948"/>
                </a:lnTo>
                <a:lnTo>
                  <a:pt x="998" y="1951"/>
                </a:lnTo>
                <a:lnTo>
                  <a:pt x="971" y="1922"/>
                </a:lnTo>
                <a:lnTo>
                  <a:pt x="952" y="1919"/>
                </a:lnTo>
                <a:lnTo>
                  <a:pt x="947" y="1906"/>
                </a:lnTo>
                <a:lnTo>
                  <a:pt x="940" y="1900"/>
                </a:lnTo>
                <a:lnTo>
                  <a:pt x="946" y="1888"/>
                </a:lnTo>
                <a:lnTo>
                  <a:pt x="952" y="1868"/>
                </a:lnTo>
                <a:lnTo>
                  <a:pt x="964" y="1877"/>
                </a:lnTo>
                <a:lnTo>
                  <a:pt x="970" y="1871"/>
                </a:lnTo>
                <a:lnTo>
                  <a:pt x="989" y="1880"/>
                </a:lnTo>
                <a:lnTo>
                  <a:pt x="982" y="1873"/>
                </a:lnTo>
                <a:lnTo>
                  <a:pt x="982" y="1864"/>
                </a:lnTo>
                <a:lnTo>
                  <a:pt x="1009" y="1853"/>
                </a:lnTo>
                <a:lnTo>
                  <a:pt x="977" y="1861"/>
                </a:lnTo>
                <a:lnTo>
                  <a:pt x="970" y="1847"/>
                </a:lnTo>
                <a:lnTo>
                  <a:pt x="976" y="1833"/>
                </a:lnTo>
                <a:lnTo>
                  <a:pt x="986" y="1830"/>
                </a:lnTo>
                <a:lnTo>
                  <a:pt x="992" y="1823"/>
                </a:lnTo>
                <a:lnTo>
                  <a:pt x="982" y="1818"/>
                </a:lnTo>
                <a:lnTo>
                  <a:pt x="983" y="1812"/>
                </a:lnTo>
                <a:lnTo>
                  <a:pt x="994" y="1803"/>
                </a:lnTo>
                <a:lnTo>
                  <a:pt x="994" y="1800"/>
                </a:lnTo>
                <a:lnTo>
                  <a:pt x="983" y="1794"/>
                </a:lnTo>
                <a:lnTo>
                  <a:pt x="974" y="1811"/>
                </a:lnTo>
                <a:lnTo>
                  <a:pt x="962" y="1803"/>
                </a:lnTo>
                <a:lnTo>
                  <a:pt x="961" y="1820"/>
                </a:lnTo>
                <a:lnTo>
                  <a:pt x="952" y="1815"/>
                </a:lnTo>
                <a:lnTo>
                  <a:pt x="950" y="1806"/>
                </a:lnTo>
                <a:lnTo>
                  <a:pt x="947" y="1800"/>
                </a:lnTo>
                <a:lnTo>
                  <a:pt x="956" y="1782"/>
                </a:lnTo>
                <a:lnTo>
                  <a:pt x="968" y="1788"/>
                </a:lnTo>
                <a:lnTo>
                  <a:pt x="970" y="1772"/>
                </a:lnTo>
                <a:lnTo>
                  <a:pt x="970" y="1772"/>
                </a:lnTo>
                <a:lnTo>
                  <a:pt x="976" y="1767"/>
                </a:lnTo>
                <a:lnTo>
                  <a:pt x="979" y="1763"/>
                </a:lnTo>
                <a:lnTo>
                  <a:pt x="980" y="1760"/>
                </a:lnTo>
                <a:lnTo>
                  <a:pt x="980" y="1760"/>
                </a:lnTo>
                <a:lnTo>
                  <a:pt x="982" y="1760"/>
                </a:lnTo>
                <a:lnTo>
                  <a:pt x="985" y="1763"/>
                </a:lnTo>
                <a:lnTo>
                  <a:pt x="991" y="1766"/>
                </a:lnTo>
                <a:lnTo>
                  <a:pt x="995" y="1753"/>
                </a:lnTo>
                <a:lnTo>
                  <a:pt x="992" y="1749"/>
                </a:lnTo>
                <a:lnTo>
                  <a:pt x="982" y="1758"/>
                </a:lnTo>
                <a:lnTo>
                  <a:pt x="974" y="1753"/>
                </a:lnTo>
                <a:lnTo>
                  <a:pt x="964" y="1761"/>
                </a:lnTo>
                <a:lnTo>
                  <a:pt x="961" y="1753"/>
                </a:lnTo>
                <a:lnTo>
                  <a:pt x="970" y="1741"/>
                </a:lnTo>
                <a:lnTo>
                  <a:pt x="977" y="1726"/>
                </a:lnTo>
                <a:lnTo>
                  <a:pt x="992" y="1720"/>
                </a:lnTo>
                <a:lnTo>
                  <a:pt x="995" y="1711"/>
                </a:lnTo>
                <a:lnTo>
                  <a:pt x="983" y="1711"/>
                </a:lnTo>
                <a:lnTo>
                  <a:pt x="995" y="1698"/>
                </a:lnTo>
                <a:lnTo>
                  <a:pt x="1003" y="1681"/>
                </a:lnTo>
                <a:lnTo>
                  <a:pt x="1004" y="1680"/>
                </a:lnTo>
                <a:lnTo>
                  <a:pt x="1012" y="1677"/>
                </a:lnTo>
                <a:lnTo>
                  <a:pt x="1011" y="1705"/>
                </a:lnTo>
                <a:lnTo>
                  <a:pt x="1015" y="1711"/>
                </a:lnTo>
                <a:lnTo>
                  <a:pt x="1018" y="1674"/>
                </a:lnTo>
                <a:lnTo>
                  <a:pt x="1038" y="1664"/>
                </a:lnTo>
                <a:lnTo>
                  <a:pt x="1030" y="1661"/>
                </a:lnTo>
                <a:lnTo>
                  <a:pt x="1014" y="1667"/>
                </a:lnTo>
                <a:lnTo>
                  <a:pt x="1015" y="1657"/>
                </a:lnTo>
                <a:lnTo>
                  <a:pt x="1004" y="1667"/>
                </a:lnTo>
                <a:lnTo>
                  <a:pt x="986" y="1677"/>
                </a:lnTo>
                <a:lnTo>
                  <a:pt x="980" y="1696"/>
                </a:lnTo>
                <a:lnTo>
                  <a:pt x="962" y="1708"/>
                </a:lnTo>
                <a:lnTo>
                  <a:pt x="958" y="1716"/>
                </a:lnTo>
                <a:lnTo>
                  <a:pt x="943" y="1707"/>
                </a:lnTo>
                <a:lnTo>
                  <a:pt x="932" y="1714"/>
                </a:lnTo>
                <a:lnTo>
                  <a:pt x="920" y="1695"/>
                </a:lnTo>
                <a:lnTo>
                  <a:pt x="920" y="1689"/>
                </a:lnTo>
                <a:lnTo>
                  <a:pt x="931" y="1690"/>
                </a:lnTo>
                <a:lnTo>
                  <a:pt x="932" y="1675"/>
                </a:lnTo>
                <a:lnTo>
                  <a:pt x="943" y="1686"/>
                </a:lnTo>
                <a:lnTo>
                  <a:pt x="964" y="1670"/>
                </a:lnTo>
                <a:lnTo>
                  <a:pt x="944" y="1672"/>
                </a:lnTo>
                <a:lnTo>
                  <a:pt x="940" y="1669"/>
                </a:lnTo>
                <a:lnTo>
                  <a:pt x="938" y="1658"/>
                </a:lnTo>
                <a:lnTo>
                  <a:pt x="955" y="1649"/>
                </a:lnTo>
                <a:lnTo>
                  <a:pt x="940" y="1651"/>
                </a:lnTo>
                <a:lnTo>
                  <a:pt x="941" y="1642"/>
                </a:lnTo>
                <a:lnTo>
                  <a:pt x="932" y="1634"/>
                </a:lnTo>
                <a:lnTo>
                  <a:pt x="940" y="1624"/>
                </a:lnTo>
                <a:lnTo>
                  <a:pt x="935" y="1624"/>
                </a:lnTo>
                <a:lnTo>
                  <a:pt x="926" y="1628"/>
                </a:lnTo>
                <a:lnTo>
                  <a:pt x="914" y="1621"/>
                </a:lnTo>
                <a:lnTo>
                  <a:pt x="920" y="1613"/>
                </a:lnTo>
                <a:lnTo>
                  <a:pt x="912" y="1613"/>
                </a:lnTo>
                <a:lnTo>
                  <a:pt x="916" y="1601"/>
                </a:lnTo>
                <a:lnTo>
                  <a:pt x="926" y="1600"/>
                </a:lnTo>
                <a:lnTo>
                  <a:pt x="943" y="1604"/>
                </a:lnTo>
                <a:lnTo>
                  <a:pt x="959" y="1594"/>
                </a:lnTo>
                <a:lnTo>
                  <a:pt x="988" y="1600"/>
                </a:lnTo>
                <a:lnTo>
                  <a:pt x="1003" y="1592"/>
                </a:lnTo>
                <a:lnTo>
                  <a:pt x="1032" y="1610"/>
                </a:lnTo>
                <a:lnTo>
                  <a:pt x="1029" y="1624"/>
                </a:lnTo>
                <a:lnTo>
                  <a:pt x="1039" y="1616"/>
                </a:lnTo>
                <a:lnTo>
                  <a:pt x="1047" y="1625"/>
                </a:lnTo>
                <a:lnTo>
                  <a:pt x="1051" y="1616"/>
                </a:lnTo>
                <a:lnTo>
                  <a:pt x="1039" y="1607"/>
                </a:lnTo>
                <a:lnTo>
                  <a:pt x="1038" y="1598"/>
                </a:lnTo>
                <a:lnTo>
                  <a:pt x="1077" y="1583"/>
                </a:lnTo>
                <a:lnTo>
                  <a:pt x="1075" y="1571"/>
                </a:lnTo>
                <a:lnTo>
                  <a:pt x="1056" y="1578"/>
                </a:lnTo>
                <a:lnTo>
                  <a:pt x="1060" y="1569"/>
                </a:lnTo>
                <a:lnTo>
                  <a:pt x="1060" y="1553"/>
                </a:lnTo>
                <a:lnTo>
                  <a:pt x="1075" y="1532"/>
                </a:lnTo>
                <a:lnTo>
                  <a:pt x="1050" y="1553"/>
                </a:lnTo>
                <a:lnTo>
                  <a:pt x="1050" y="1578"/>
                </a:lnTo>
                <a:lnTo>
                  <a:pt x="1039" y="1584"/>
                </a:lnTo>
                <a:lnTo>
                  <a:pt x="1033" y="1577"/>
                </a:lnTo>
                <a:lnTo>
                  <a:pt x="1029" y="1581"/>
                </a:lnTo>
                <a:lnTo>
                  <a:pt x="1001" y="1581"/>
                </a:lnTo>
                <a:lnTo>
                  <a:pt x="1001" y="1574"/>
                </a:lnTo>
                <a:lnTo>
                  <a:pt x="1011" y="1559"/>
                </a:lnTo>
                <a:lnTo>
                  <a:pt x="995" y="1571"/>
                </a:lnTo>
                <a:lnTo>
                  <a:pt x="995" y="1583"/>
                </a:lnTo>
                <a:lnTo>
                  <a:pt x="983" y="1584"/>
                </a:lnTo>
                <a:lnTo>
                  <a:pt x="961" y="1583"/>
                </a:lnTo>
                <a:lnTo>
                  <a:pt x="937" y="1598"/>
                </a:lnTo>
                <a:lnTo>
                  <a:pt x="922" y="1594"/>
                </a:lnTo>
                <a:lnTo>
                  <a:pt x="917" y="1584"/>
                </a:lnTo>
                <a:lnTo>
                  <a:pt x="928" y="1580"/>
                </a:lnTo>
                <a:lnTo>
                  <a:pt x="911" y="1574"/>
                </a:lnTo>
                <a:lnTo>
                  <a:pt x="938" y="1560"/>
                </a:lnTo>
                <a:lnTo>
                  <a:pt x="932" y="1559"/>
                </a:lnTo>
                <a:lnTo>
                  <a:pt x="935" y="1550"/>
                </a:lnTo>
                <a:lnTo>
                  <a:pt x="946" y="1547"/>
                </a:lnTo>
                <a:lnTo>
                  <a:pt x="925" y="1535"/>
                </a:lnTo>
                <a:lnTo>
                  <a:pt x="931" y="1529"/>
                </a:lnTo>
                <a:lnTo>
                  <a:pt x="909" y="1515"/>
                </a:lnTo>
                <a:lnTo>
                  <a:pt x="925" y="1514"/>
                </a:lnTo>
                <a:lnTo>
                  <a:pt x="923" y="1503"/>
                </a:lnTo>
                <a:lnTo>
                  <a:pt x="928" y="1503"/>
                </a:lnTo>
                <a:lnTo>
                  <a:pt x="935" y="1494"/>
                </a:lnTo>
                <a:lnTo>
                  <a:pt x="944" y="1505"/>
                </a:lnTo>
                <a:lnTo>
                  <a:pt x="953" y="1509"/>
                </a:lnTo>
                <a:lnTo>
                  <a:pt x="955" y="1502"/>
                </a:lnTo>
                <a:lnTo>
                  <a:pt x="971" y="1495"/>
                </a:lnTo>
                <a:lnTo>
                  <a:pt x="988" y="1505"/>
                </a:lnTo>
                <a:lnTo>
                  <a:pt x="997" y="1495"/>
                </a:lnTo>
                <a:lnTo>
                  <a:pt x="997" y="1489"/>
                </a:lnTo>
                <a:lnTo>
                  <a:pt x="962" y="1494"/>
                </a:lnTo>
                <a:lnTo>
                  <a:pt x="952" y="1491"/>
                </a:lnTo>
                <a:lnTo>
                  <a:pt x="956" y="1486"/>
                </a:lnTo>
                <a:lnTo>
                  <a:pt x="976" y="1483"/>
                </a:lnTo>
                <a:lnTo>
                  <a:pt x="989" y="1480"/>
                </a:lnTo>
                <a:lnTo>
                  <a:pt x="977" y="1473"/>
                </a:lnTo>
                <a:lnTo>
                  <a:pt x="986" y="1467"/>
                </a:lnTo>
                <a:lnTo>
                  <a:pt x="983" y="1462"/>
                </a:lnTo>
                <a:lnTo>
                  <a:pt x="973" y="1458"/>
                </a:lnTo>
                <a:lnTo>
                  <a:pt x="979" y="1443"/>
                </a:lnTo>
                <a:lnTo>
                  <a:pt x="994" y="1432"/>
                </a:lnTo>
                <a:lnTo>
                  <a:pt x="1006" y="1455"/>
                </a:lnTo>
                <a:lnTo>
                  <a:pt x="1011" y="1452"/>
                </a:lnTo>
                <a:lnTo>
                  <a:pt x="1006" y="1443"/>
                </a:lnTo>
                <a:lnTo>
                  <a:pt x="1008" y="1425"/>
                </a:lnTo>
                <a:lnTo>
                  <a:pt x="1020" y="1423"/>
                </a:lnTo>
                <a:lnTo>
                  <a:pt x="1029" y="1432"/>
                </a:lnTo>
                <a:lnTo>
                  <a:pt x="1024" y="1462"/>
                </a:lnTo>
                <a:lnTo>
                  <a:pt x="1032" y="1462"/>
                </a:lnTo>
                <a:lnTo>
                  <a:pt x="1039" y="1438"/>
                </a:lnTo>
                <a:lnTo>
                  <a:pt x="1057" y="1438"/>
                </a:lnTo>
                <a:lnTo>
                  <a:pt x="1060" y="1429"/>
                </a:lnTo>
                <a:lnTo>
                  <a:pt x="1035" y="1428"/>
                </a:lnTo>
                <a:lnTo>
                  <a:pt x="1033" y="1416"/>
                </a:lnTo>
                <a:lnTo>
                  <a:pt x="1018" y="1408"/>
                </a:lnTo>
                <a:lnTo>
                  <a:pt x="1011" y="1416"/>
                </a:lnTo>
                <a:lnTo>
                  <a:pt x="1004" y="1411"/>
                </a:lnTo>
                <a:lnTo>
                  <a:pt x="1009" y="1405"/>
                </a:lnTo>
                <a:lnTo>
                  <a:pt x="1018" y="1399"/>
                </a:lnTo>
                <a:lnTo>
                  <a:pt x="1027" y="1399"/>
                </a:lnTo>
                <a:lnTo>
                  <a:pt x="1038" y="1394"/>
                </a:lnTo>
                <a:lnTo>
                  <a:pt x="1050" y="1400"/>
                </a:lnTo>
                <a:lnTo>
                  <a:pt x="1054" y="1397"/>
                </a:lnTo>
                <a:lnTo>
                  <a:pt x="1068" y="1411"/>
                </a:lnTo>
                <a:lnTo>
                  <a:pt x="1078" y="1408"/>
                </a:lnTo>
                <a:lnTo>
                  <a:pt x="1080" y="1399"/>
                </a:lnTo>
                <a:lnTo>
                  <a:pt x="1062" y="1397"/>
                </a:lnTo>
                <a:lnTo>
                  <a:pt x="1062" y="1390"/>
                </a:lnTo>
                <a:lnTo>
                  <a:pt x="1081" y="1381"/>
                </a:lnTo>
                <a:lnTo>
                  <a:pt x="1060" y="1375"/>
                </a:lnTo>
                <a:lnTo>
                  <a:pt x="1050" y="1378"/>
                </a:lnTo>
                <a:lnTo>
                  <a:pt x="1033" y="1378"/>
                </a:lnTo>
                <a:lnTo>
                  <a:pt x="1045" y="1366"/>
                </a:lnTo>
                <a:lnTo>
                  <a:pt x="1033" y="1363"/>
                </a:lnTo>
                <a:lnTo>
                  <a:pt x="1032" y="1352"/>
                </a:lnTo>
                <a:lnTo>
                  <a:pt x="1051" y="1340"/>
                </a:lnTo>
                <a:lnTo>
                  <a:pt x="1062" y="1349"/>
                </a:lnTo>
                <a:lnTo>
                  <a:pt x="1071" y="1355"/>
                </a:lnTo>
                <a:lnTo>
                  <a:pt x="1080" y="1346"/>
                </a:lnTo>
                <a:lnTo>
                  <a:pt x="1083" y="1351"/>
                </a:lnTo>
                <a:lnTo>
                  <a:pt x="1101" y="1343"/>
                </a:lnTo>
                <a:lnTo>
                  <a:pt x="1087" y="1331"/>
                </a:lnTo>
                <a:lnTo>
                  <a:pt x="1075" y="1340"/>
                </a:lnTo>
                <a:lnTo>
                  <a:pt x="1066" y="1336"/>
                </a:lnTo>
                <a:lnTo>
                  <a:pt x="1068" y="1322"/>
                </a:lnTo>
                <a:lnTo>
                  <a:pt x="1083" y="1317"/>
                </a:lnTo>
                <a:lnTo>
                  <a:pt x="1092" y="1310"/>
                </a:lnTo>
                <a:lnTo>
                  <a:pt x="1103" y="1311"/>
                </a:lnTo>
                <a:lnTo>
                  <a:pt x="1103" y="1302"/>
                </a:lnTo>
                <a:lnTo>
                  <a:pt x="1112" y="1304"/>
                </a:lnTo>
                <a:lnTo>
                  <a:pt x="1116" y="1310"/>
                </a:lnTo>
                <a:lnTo>
                  <a:pt x="1127" y="1295"/>
                </a:lnTo>
                <a:lnTo>
                  <a:pt x="1140" y="1275"/>
                </a:lnTo>
                <a:lnTo>
                  <a:pt x="1154" y="1275"/>
                </a:lnTo>
                <a:lnTo>
                  <a:pt x="1166" y="1271"/>
                </a:lnTo>
                <a:lnTo>
                  <a:pt x="1172" y="1286"/>
                </a:lnTo>
                <a:lnTo>
                  <a:pt x="1189" y="1278"/>
                </a:lnTo>
                <a:lnTo>
                  <a:pt x="1181" y="1268"/>
                </a:lnTo>
                <a:lnTo>
                  <a:pt x="1178" y="1257"/>
                </a:lnTo>
                <a:lnTo>
                  <a:pt x="1210" y="1242"/>
                </a:lnTo>
                <a:lnTo>
                  <a:pt x="1225" y="1260"/>
                </a:lnTo>
                <a:lnTo>
                  <a:pt x="1222" y="1275"/>
                </a:lnTo>
                <a:lnTo>
                  <a:pt x="1225" y="1283"/>
                </a:lnTo>
                <a:lnTo>
                  <a:pt x="1240" y="1281"/>
                </a:lnTo>
                <a:lnTo>
                  <a:pt x="1232" y="1272"/>
                </a:lnTo>
                <a:lnTo>
                  <a:pt x="1237" y="1266"/>
                </a:lnTo>
                <a:lnTo>
                  <a:pt x="1262" y="1266"/>
                </a:lnTo>
                <a:lnTo>
                  <a:pt x="1271" y="1259"/>
                </a:lnTo>
                <a:lnTo>
                  <a:pt x="1262" y="1247"/>
                </a:lnTo>
                <a:lnTo>
                  <a:pt x="1276" y="1233"/>
                </a:lnTo>
                <a:lnTo>
                  <a:pt x="1312" y="1216"/>
                </a:lnTo>
                <a:lnTo>
                  <a:pt x="1305" y="1228"/>
                </a:lnTo>
                <a:lnTo>
                  <a:pt x="1323" y="1221"/>
                </a:lnTo>
                <a:lnTo>
                  <a:pt x="1324" y="1210"/>
                </a:lnTo>
                <a:lnTo>
                  <a:pt x="1308" y="1210"/>
                </a:lnTo>
                <a:lnTo>
                  <a:pt x="1315" y="1203"/>
                </a:lnTo>
                <a:lnTo>
                  <a:pt x="1315" y="1197"/>
                </a:lnTo>
                <a:lnTo>
                  <a:pt x="1309" y="1194"/>
                </a:lnTo>
                <a:lnTo>
                  <a:pt x="1320" y="1191"/>
                </a:lnTo>
                <a:lnTo>
                  <a:pt x="1318" y="1188"/>
                </a:lnTo>
                <a:lnTo>
                  <a:pt x="1308" y="1191"/>
                </a:lnTo>
                <a:lnTo>
                  <a:pt x="1302" y="1200"/>
                </a:lnTo>
                <a:lnTo>
                  <a:pt x="1256" y="1212"/>
                </a:lnTo>
                <a:lnTo>
                  <a:pt x="1253" y="1213"/>
                </a:lnTo>
                <a:lnTo>
                  <a:pt x="1302" y="1204"/>
                </a:lnTo>
                <a:lnTo>
                  <a:pt x="1302" y="1204"/>
                </a:lnTo>
                <a:lnTo>
                  <a:pt x="1303" y="1210"/>
                </a:lnTo>
                <a:lnTo>
                  <a:pt x="1268" y="1224"/>
                </a:lnTo>
                <a:lnTo>
                  <a:pt x="1252" y="1247"/>
                </a:lnTo>
                <a:lnTo>
                  <a:pt x="1229" y="1257"/>
                </a:lnTo>
                <a:lnTo>
                  <a:pt x="1217" y="1237"/>
                </a:lnTo>
                <a:lnTo>
                  <a:pt x="1225" y="1221"/>
                </a:lnTo>
                <a:lnTo>
                  <a:pt x="1211" y="1230"/>
                </a:lnTo>
                <a:lnTo>
                  <a:pt x="1205" y="1228"/>
                </a:lnTo>
                <a:lnTo>
                  <a:pt x="1204" y="1207"/>
                </a:lnTo>
                <a:lnTo>
                  <a:pt x="1219" y="1204"/>
                </a:lnTo>
                <a:lnTo>
                  <a:pt x="1234" y="1189"/>
                </a:lnTo>
                <a:lnTo>
                  <a:pt x="1219" y="1186"/>
                </a:lnTo>
                <a:lnTo>
                  <a:pt x="1217" y="1179"/>
                </a:lnTo>
                <a:lnTo>
                  <a:pt x="1237" y="1173"/>
                </a:lnTo>
                <a:lnTo>
                  <a:pt x="1232" y="1168"/>
                </a:lnTo>
                <a:lnTo>
                  <a:pt x="1237" y="1156"/>
                </a:lnTo>
                <a:lnTo>
                  <a:pt x="1249" y="1150"/>
                </a:lnTo>
                <a:lnTo>
                  <a:pt x="1256" y="1123"/>
                </a:lnTo>
                <a:lnTo>
                  <a:pt x="1267" y="1124"/>
                </a:lnTo>
                <a:lnTo>
                  <a:pt x="1270" y="1114"/>
                </a:lnTo>
                <a:lnTo>
                  <a:pt x="1282" y="1102"/>
                </a:lnTo>
                <a:lnTo>
                  <a:pt x="1288" y="1105"/>
                </a:lnTo>
                <a:lnTo>
                  <a:pt x="1300" y="1117"/>
                </a:lnTo>
                <a:lnTo>
                  <a:pt x="1309" y="1117"/>
                </a:lnTo>
                <a:lnTo>
                  <a:pt x="1299" y="1106"/>
                </a:lnTo>
                <a:lnTo>
                  <a:pt x="1300" y="1100"/>
                </a:lnTo>
                <a:lnTo>
                  <a:pt x="1317" y="1106"/>
                </a:lnTo>
                <a:lnTo>
                  <a:pt x="1318" y="1103"/>
                </a:lnTo>
                <a:lnTo>
                  <a:pt x="1315" y="1094"/>
                </a:lnTo>
                <a:lnTo>
                  <a:pt x="1314" y="1082"/>
                </a:lnTo>
                <a:lnTo>
                  <a:pt x="1320" y="1079"/>
                </a:lnTo>
                <a:lnTo>
                  <a:pt x="1333" y="1067"/>
                </a:lnTo>
                <a:lnTo>
                  <a:pt x="1327" y="1061"/>
                </a:lnTo>
                <a:lnTo>
                  <a:pt x="1314" y="1072"/>
                </a:lnTo>
                <a:lnTo>
                  <a:pt x="1308" y="1073"/>
                </a:lnTo>
                <a:lnTo>
                  <a:pt x="1306" y="1069"/>
                </a:lnTo>
                <a:lnTo>
                  <a:pt x="1314" y="1052"/>
                </a:lnTo>
                <a:lnTo>
                  <a:pt x="1320" y="1053"/>
                </a:lnTo>
                <a:lnTo>
                  <a:pt x="1332" y="1047"/>
                </a:lnTo>
                <a:lnTo>
                  <a:pt x="1329" y="1032"/>
                </a:lnTo>
                <a:lnTo>
                  <a:pt x="1338" y="1022"/>
                </a:lnTo>
                <a:lnTo>
                  <a:pt x="1351" y="1019"/>
                </a:lnTo>
                <a:lnTo>
                  <a:pt x="1356" y="1011"/>
                </a:lnTo>
                <a:lnTo>
                  <a:pt x="1360" y="1005"/>
                </a:lnTo>
                <a:lnTo>
                  <a:pt x="1365" y="1022"/>
                </a:lnTo>
                <a:lnTo>
                  <a:pt x="1373" y="1028"/>
                </a:lnTo>
                <a:lnTo>
                  <a:pt x="1380" y="1013"/>
                </a:lnTo>
                <a:lnTo>
                  <a:pt x="1377" y="1010"/>
                </a:lnTo>
                <a:lnTo>
                  <a:pt x="1389" y="1004"/>
                </a:lnTo>
                <a:lnTo>
                  <a:pt x="1395" y="996"/>
                </a:lnTo>
                <a:lnTo>
                  <a:pt x="1392" y="990"/>
                </a:lnTo>
                <a:lnTo>
                  <a:pt x="1383" y="1002"/>
                </a:lnTo>
                <a:lnTo>
                  <a:pt x="1374" y="1008"/>
                </a:lnTo>
                <a:lnTo>
                  <a:pt x="1371" y="986"/>
                </a:lnTo>
                <a:lnTo>
                  <a:pt x="1365" y="990"/>
                </a:lnTo>
                <a:lnTo>
                  <a:pt x="1356" y="1005"/>
                </a:lnTo>
                <a:lnTo>
                  <a:pt x="1348" y="1002"/>
                </a:lnTo>
                <a:lnTo>
                  <a:pt x="1353" y="992"/>
                </a:lnTo>
                <a:lnTo>
                  <a:pt x="1362" y="979"/>
                </a:lnTo>
                <a:lnTo>
                  <a:pt x="1371" y="976"/>
                </a:lnTo>
                <a:lnTo>
                  <a:pt x="1366" y="969"/>
                </a:lnTo>
                <a:lnTo>
                  <a:pt x="1370" y="958"/>
                </a:lnTo>
                <a:lnTo>
                  <a:pt x="1374" y="961"/>
                </a:lnTo>
                <a:lnTo>
                  <a:pt x="1374" y="973"/>
                </a:lnTo>
                <a:lnTo>
                  <a:pt x="1379" y="978"/>
                </a:lnTo>
                <a:lnTo>
                  <a:pt x="1394" y="989"/>
                </a:lnTo>
                <a:lnTo>
                  <a:pt x="1392" y="983"/>
                </a:lnTo>
                <a:lnTo>
                  <a:pt x="1389" y="961"/>
                </a:lnTo>
                <a:lnTo>
                  <a:pt x="1377" y="954"/>
                </a:lnTo>
                <a:lnTo>
                  <a:pt x="1374" y="940"/>
                </a:lnTo>
                <a:lnTo>
                  <a:pt x="1383" y="937"/>
                </a:lnTo>
                <a:lnTo>
                  <a:pt x="1388" y="951"/>
                </a:lnTo>
                <a:lnTo>
                  <a:pt x="1395" y="949"/>
                </a:lnTo>
                <a:lnTo>
                  <a:pt x="1398" y="936"/>
                </a:lnTo>
                <a:lnTo>
                  <a:pt x="1385" y="928"/>
                </a:lnTo>
                <a:lnTo>
                  <a:pt x="1389" y="919"/>
                </a:lnTo>
                <a:lnTo>
                  <a:pt x="1401" y="918"/>
                </a:lnTo>
                <a:lnTo>
                  <a:pt x="1395" y="907"/>
                </a:lnTo>
                <a:lnTo>
                  <a:pt x="1401" y="898"/>
                </a:lnTo>
                <a:lnTo>
                  <a:pt x="1418" y="907"/>
                </a:lnTo>
                <a:lnTo>
                  <a:pt x="1422" y="904"/>
                </a:lnTo>
                <a:lnTo>
                  <a:pt x="1410" y="892"/>
                </a:lnTo>
                <a:lnTo>
                  <a:pt x="1410" y="881"/>
                </a:lnTo>
                <a:lnTo>
                  <a:pt x="1395" y="892"/>
                </a:lnTo>
                <a:lnTo>
                  <a:pt x="1382" y="912"/>
                </a:lnTo>
                <a:lnTo>
                  <a:pt x="1376" y="904"/>
                </a:lnTo>
                <a:lnTo>
                  <a:pt x="1389" y="897"/>
                </a:lnTo>
                <a:lnTo>
                  <a:pt x="1386" y="887"/>
                </a:lnTo>
                <a:lnTo>
                  <a:pt x="1371" y="884"/>
                </a:lnTo>
                <a:lnTo>
                  <a:pt x="1376" y="872"/>
                </a:lnTo>
                <a:lnTo>
                  <a:pt x="1386" y="881"/>
                </a:lnTo>
                <a:lnTo>
                  <a:pt x="1410" y="872"/>
                </a:lnTo>
                <a:lnTo>
                  <a:pt x="1412" y="853"/>
                </a:lnTo>
                <a:lnTo>
                  <a:pt x="1418" y="853"/>
                </a:lnTo>
                <a:lnTo>
                  <a:pt x="1436" y="848"/>
                </a:lnTo>
                <a:lnTo>
                  <a:pt x="1443" y="857"/>
                </a:lnTo>
                <a:lnTo>
                  <a:pt x="1449" y="871"/>
                </a:lnTo>
                <a:lnTo>
                  <a:pt x="1454" y="860"/>
                </a:lnTo>
                <a:lnTo>
                  <a:pt x="1469" y="853"/>
                </a:lnTo>
                <a:lnTo>
                  <a:pt x="1475" y="842"/>
                </a:lnTo>
                <a:lnTo>
                  <a:pt x="1455" y="845"/>
                </a:lnTo>
                <a:lnTo>
                  <a:pt x="1449" y="851"/>
                </a:lnTo>
                <a:lnTo>
                  <a:pt x="1436" y="829"/>
                </a:lnTo>
                <a:lnTo>
                  <a:pt x="1431" y="826"/>
                </a:lnTo>
                <a:lnTo>
                  <a:pt x="1433" y="814"/>
                </a:lnTo>
                <a:lnTo>
                  <a:pt x="1442" y="815"/>
                </a:lnTo>
                <a:lnTo>
                  <a:pt x="1446" y="801"/>
                </a:lnTo>
                <a:lnTo>
                  <a:pt x="1424" y="798"/>
                </a:lnTo>
                <a:lnTo>
                  <a:pt x="1424" y="789"/>
                </a:lnTo>
                <a:lnTo>
                  <a:pt x="1445" y="789"/>
                </a:lnTo>
                <a:lnTo>
                  <a:pt x="1431" y="783"/>
                </a:lnTo>
                <a:lnTo>
                  <a:pt x="1436" y="777"/>
                </a:lnTo>
                <a:lnTo>
                  <a:pt x="1448" y="783"/>
                </a:lnTo>
                <a:lnTo>
                  <a:pt x="1451" y="776"/>
                </a:lnTo>
                <a:lnTo>
                  <a:pt x="1446" y="770"/>
                </a:lnTo>
                <a:lnTo>
                  <a:pt x="1448" y="762"/>
                </a:lnTo>
                <a:lnTo>
                  <a:pt x="1465" y="761"/>
                </a:lnTo>
                <a:lnTo>
                  <a:pt x="1454" y="755"/>
                </a:lnTo>
                <a:lnTo>
                  <a:pt x="1446" y="746"/>
                </a:lnTo>
                <a:lnTo>
                  <a:pt x="1449" y="740"/>
                </a:lnTo>
                <a:lnTo>
                  <a:pt x="1462" y="743"/>
                </a:lnTo>
                <a:lnTo>
                  <a:pt x="1465" y="734"/>
                </a:lnTo>
                <a:lnTo>
                  <a:pt x="1475" y="738"/>
                </a:lnTo>
                <a:lnTo>
                  <a:pt x="1483" y="729"/>
                </a:lnTo>
                <a:lnTo>
                  <a:pt x="1492" y="731"/>
                </a:lnTo>
                <a:lnTo>
                  <a:pt x="1495" y="711"/>
                </a:lnTo>
                <a:lnTo>
                  <a:pt x="1504" y="708"/>
                </a:lnTo>
                <a:lnTo>
                  <a:pt x="1508" y="703"/>
                </a:lnTo>
                <a:lnTo>
                  <a:pt x="1526" y="702"/>
                </a:lnTo>
                <a:lnTo>
                  <a:pt x="1540" y="697"/>
                </a:lnTo>
                <a:lnTo>
                  <a:pt x="1555" y="711"/>
                </a:lnTo>
                <a:lnTo>
                  <a:pt x="1566" y="697"/>
                </a:lnTo>
                <a:lnTo>
                  <a:pt x="1554" y="687"/>
                </a:lnTo>
                <a:lnTo>
                  <a:pt x="1541" y="687"/>
                </a:lnTo>
                <a:lnTo>
                  <a:pt x="1535" y="679"/>
                </a:lnTo>
                <a:lnTo>
                  <a:pt x="1523" y="687"/>
                </a:lnTo>
                <a:lnTo>
                  <a:pt x="1520" y="675"/>
                </a:lnTo>
                <a:lnTo>
                  <a:pt x="1514" y="670"/>
                </a:lnTo>
                <a:lnTo>
                  <a:pt x="1517" y="649"/>
                </a:lnTo>
                <a:lnTo>
                  <a:pt x="1534" y="632"/>
                </a:lnTo>
                <a:lnTo>
                  <a:pt x="1538" y="646"/>
                </a:lnTo>
                <a:lnTo>
                  <a:pt x="1547" y="649"/>
                </a:lnTo>
                <a:lnTo>
                  <a:pt x="1551" y="654"/>
                </a:lnTo>
                <a:lnTo>
                  <a:pt x="1558" y="651"/>
                </a:lnTo>
                <a:lnTo>
                  <a:pt x="1569" y="658"/>
                </a:lnTo>
                <a:lnTo>
                  <a:pt x="1579" y="654"/>
                </a:lnTo>
                <a:lnTo>
                  <a:pt x="1575" y="646"/>
                </a:lnTo>
                <a:lnTo>
                  <a:pt x="1585" y="632"/>
                </a:lnTo>
                <a:lnTo>
                  <a:pt x="1570" y="640"/>
                </a:lnTo>
                <a:lnTo>
                  <a:pt x="1557" y="642"/>
                </a:lnTo>
                <a:lnTo>
                  <a:pt x="1552" y="636"/>
                </a:lnTo>
                <a:lnTo>
                  <a:pt x="1566" y="628"/>
                </a:lnTo>
                <a:lnTo>
                  <a:pt x="1576" y="614"/>
                </a:lnTo>
                <a:lnTo>
                  <a:pt x="1569" y="610"/>
                </a:lnTo>
                <a:lnTo>
                  <a:pt x="1576" y="602"/>
                </a:lnTo>
                <a:lnTo>
                  <a:pt x="1569" y="598"/>
                </a:lnTo>
                <a:lnTo>
                  <a:pt x="1563" y="592"/>
                </a:lnTo>
                <a:lnTo>
                  <a:pt x="1572" y="578"/>
                </a:lnTo>
                <a:lnTo>
                  <a:pt x="1579" y="565"/>
                </a:lnTo>
                <a:lnTo>
                  <a:pt x="1590" y="560"/>
                </a:lnTo>
                <a:lnTo>
                  <a:pt x="1597" y="539"/>
                </a:lnTo>
                <a:lnTo>
                  <a:pt x="1605" y="537"/>
                </a:lnTo>
                <a:lnTo>
                  <a:pt x="1602" y="545"/>
                </a:lnTo>
                <a:lnTo>
                  <a:pt x="1605" y="560"/>
                </a:lnTo>
                <a:lnTo>
                  <a:pt x="1611" y="571"/>
                </a:lnTo>
                <a:lnTo>
                  <a:pt x="1612" y="580"/>
                </a:lnTo>
                <a:lnTo>
                  <a:pt x="1618" y="569"/>
                </a:lnTo>
                <a:lnTo>
                  <a:pt x="1630" y="574"/>
                </a:lnTo>
                <a:lnTo>
                  <a:pt x="1635" y="568"/>
                </a:lnTo>
                <a:lnTo>
                  <a:pt x="1630" y="562"/>
                </a:lnTo>
                <a:lnTo>
                  <a:pt x="1612" y="566"/>
                </a:lnTo>
                <a:lnTo>
                  <a:pt x="1615" y="557"/>
                </a:lnTo>
                <a:lnTo>
                  <a:pt x="1624" y="557"/>
                </a:lnTo>
                <a:lnTo>
                  <a:pt x="1629" y="553"/>
                </a:lnTo>
                <a:lnTo>
                  <a:pt x="1621" y="540"/>
                </a:lnTo>
                <a:lnTo>
                  <a:pt x="1630" y="536"/>
                </a:lnTo>
                <a:lnTo>
                  <a:pt x="1624" y="525"/>
                </a:lnTo>
                <a:lnTo>
                  <a:pt x="1612" y="519"/>
                </a:lnTo>
                <a:lnTo>
                  <a:pt x="1621" y="507"/>
                </a:lnTo>
                <a:lnTo>
                  <a:pt x="1643" y="498"/>
                </a:lnTo>
                <a:lnTo>
                  <a:pt x="1656" y="506"/>
                </a:lnTo>
                <a:lnTo>
                  <a:pt x="1667" y="498"/>
                </a:lnTo>
                <a:lnTo>
                  <a:pt x="1677" y="518"/>
                </a:lnTo>
                <a:lnTo>
                  <a:pt x="1688" y="518"/>
                </a:lnTo>
                <a:lnTo>
                  <a:pt x="1682" y="506"/>
                </a:lnTo>
                <a:lnTo>
                  <a:pt x="1695" y="497"/>
                </a:lnTo>
                <a:lnTo>
                  <a:pt x="1703" y="488"/>
                </a:lnTo>
                <a:lnTo>
                  <a:pt x="1694" y="483"/>
                </a:lnTo>
                <a:lnTo>
                  <a:pt x="1698" y="471"/>
                </a:lnTo>
                <a:lnTo>
                  <a:pt x="1691" y="470"/>
                </a:lnTo>
                <a:lnTo>
                  <a:pt x="1673" y="489"/>
                </a:lnTo>
                <a:lnTo>
                  <a:pt x="1664" y="486"/>
                </a:lnTo>
                <a:lnTo>
                  <a:pt x="1661" y="474"/>
                </a:lnTo>
                <a:lnTo>
                  <a:pt x="1650" y="474"/>
                </a:lnTo>
                <a:lnTo>
                  <a:pt x="1649" y="486"/>
                </a:lnTo>
                <a:lnTo>
                  <a:pt x="1632" y="482"/>
                </a:lnTo>
                <a:lnTo>
                  <a:pt x="1630" y="473"/>
                </a:lnTo>
                <a:lnTo>
                  <a:pt x="1653" y="445"/>
                </a:lnTo>
                <a:lnTo>
                  <a:pt x="1659" y="424"/>
                </a:lnTo>
                <a:lnTo>
                  <a:pt x="1674" y="420"/>
                </a:lnTo>
                <a:lnTo>
                  <a:pt x="1673" y="411"/>
                </a:lnTo>
                <a:lnTo>
                  <a:pt x="1694" y="400"/>
                </a:lnTo>
                <a:lnTo>
                  <a:pt x="1700" y="387"/>
                </a:lnTo>
                <a:lnTo>
                  <a:pt x="1735" y="368"/>
                </a:lnTo>
                <a:lnTo>
                  <a:pt x="1730" y="361"/>
                </a:lnTo>
                <a:lnTo>
                  <a:pt x="1728" y="341"/>
                </a:lnTo>
                <a:lnTo>
                  <a:pt x="1741" y="308"/>
                </a:lnTo>
                <a:lnTo>
                  <a:pt x="1750" y="319"/>
                </a:lnTo>
                <a:lnTo>
                  <a:pt x="1739" y="335"/>
                </a:lnTo>
                <a:lnTo>
                  <a:pt x="1747" y="340"/>
                </a:lnTo>
                <a:lnTo>
                  <a:pt x="1748" y="332"/>
                </a:lnTo>
                <a:lnTo>
                  <a:pt x="1757" y="334"/>
                </a:lnTo>
                <a:lnTo>
                  <a:pt x="1762" y="347"/>
                </a:lnTo>
                <a:lnTo>
                  <a:pt x="1765" y="335"/>
                </a:lnTo>
                <a:lnTo>
                  <a:pt x="1777" y="343"/>
                </a:lnTo>
                <a:lnTo>
                  <a:pt x="1784" y="334"/>
                </a:lnTo>
                <a:lnTo>
                  <a:pt x="1766" y="323"/>
                </a:lnTo>
                <a:lnTo>
                  <a:pt x="1766" y="311"/>
                </a:lnTo>
                <a:lnTo>
                  <a:pt x="1763" y="302"/>
                </a:lnTo>
                <a:lnTo>
                  <a:pt x="1780" y="302"/>
                </a:lnTo>
                <a:lnTo>
                  <a:pt x="1792" y="334"/>
                </a:lnTo>
                <a:lnTo>
                  <a:pt x="1810" y="340"/>
                </a:lnTo>
                <a:lnTo>
                  <a:pt x="1811" y="353"/>
                </a:lnTo>
                <a:lnTo>
                  <a:pt x="1828" y="361"/>
                </a:lnTo>
                <a:lnTo>
                  <a:pt x="1830" y="350"/>
                </a:lnTo>
                <a:lnTo>
                  <a:pt x="1810" y="323"/>
                </a:lnTo>
                <a:lnTo>
                  <a:pt x="1802" y="323"/>
                </a:lnTo>
                <a:lnTo>
                  <a:pt x="1795" y="313"/>
                </a:lnTo>
                <a:lnTo>
                  <a:pt x="1798" y="298"/>
                </a:lnTo>
                <a:lnTo>
                  <a:pt x="1789" y="289"/>
                </a:lnTo>
                <a:lnTo>
                  <a:pt x="1804" y="263"/>
                </a:lnTo>
                <a:lnTo>
                  <a:pt x="1817" y="263"/>
                </a:lnTo>
                <a:lnTo>
                  <a:pt x="1820" y="257"/>
                </a:lnTo>
                <a:lnTo>
                  <a:pt x="1831" y="257"/>
                </a:lnTo>
                <a:lnTo>
                  <a:pt x="1827" y="269"/>
                </a:lnTo>
                <a:lnTo>
                  <a:pt x="1833" y="279"/>
                </a:lnTo>
                <a:lnTo>
                  <a:pt x="1833" y="319"/>
                </a:lnTo>
                <a:lnTo>
                  <a:pt x="1845" y="296"/>
                </a:lnTo>
                <a:lnTo>
                  <a:pt x="1848" y="258"/>
                </a:lnTo>
                <a:lnTo>
                  <a:pt x="1858" y="251"/>
                </a:lnTo>
                <a:lnTo>
                  <a:pt x="1858" y="239"/>
                </a:lnTo>
                <a:lnTo>
                  <a:pt x="1869" y="233"/>
                </a:lnTo>
                <a:lnTo>
                  <a:pt x="1875" y="227"/>
                </a:lnTo>
                <a:lnTo>
                  <a:pt x="1873" y="254"/>
                </a:lnTo>
                <a:lnTo>
                  <a:pt x="1866" y="272"/>
                </a:lnTo>
                <a:lnTo>
                  <a:pt x="1875" y="289"/>
                </a:lnTo>
                <a:lnTo>
                  <a:pt x="1875" y="305"/>
                </a:lnTo>
                <a:lnTo>
                  <a:pt x="1861" y="331"/>
                </a:lnTo>
                <a:lnTo>
                  <a:pt x="1861" y="338"/>
                </a:lnTo>
                <a:lnTo>
                  <a:pt x="1878" y="320"/>
                </a:lnTo>
                <a:lnTo>
                  <a:pt x="1882" y="298"/>
                </a:lnTo>
                <a:lnTo>
                  <a:pt x="1888" y="295"/>
                </a:lnTo>
                <a:lnTo>
                  <a:pt x="1897" y="307"/>
                </a:lnTo>
                <a:lnTo>
                  <a:pt x="1902" y="298"/>
                </a:lnTo>
                <a:lnTo>
                  <a:pt x="1891" y="287"/>
                </a:lnTo>
                <a:lnTo>
                  <a:pt x="1888" y="264"/>
                </a:lnTo>
                <a:lnTo>
                  <a:pt x="1902" y="254"/>
                </a:lnTo>
                <a:lnTo>
                  <a:pt x="1903" y="236"/>
                </a:lnTo>
                <a:lnTo>
                  <a:pt x="1912" y="227"/>
                </a:lnTo>
                <a:lnTo>
                  <a:pt x="1920" y="230"/>
                </a:lnTo>
                <a:lnTo>
                  <a:pt x="1912" y="246"/>
                </a:lnTo>
                <a:lnTo>
                  <a:pt x="1926" y="254"/>
                </a:lnTo>
                <a:lnTo>
                  <a:pt x="1931" y="234"/>
                </a:lnTo>
                <a:lnTo>
                  <a:pt x="1944" y="236"/>
                </a:lnTo>
                <a:lnTo>
                  <a:pt x="1931" y="222"/>
                </a:lnTo>
                <a:lnTo>
                  <a:pt x="1935" y="213"/>
                </a:lnTo>
                <a:lnTo>
                  <a:pt x="1946" y="219"/>
                </a:lnTo>
                <a:lnTo>
                  <a:pt x="1953" y="237"/>
                </a:lnTo>
                <a:lnTo>
                  <a:pt x="1964" y="239"/>
                </a:lnTo>
                <a:lnTo>
                  <a:pt x="1970" y="254"/>
                </a:lnTo>
                <a:lnTo>
                  <a:pt x="1982" y="266"/>
                </a:lnTo>
                <a:lnTo>
                  <a:pt x="1979" y="233"/>
                </a:lnTo>
                <a:lnTo>
                  <a:pt x="1988" y="221"/>
                </a:lnTo>
                <a:lnTo>
                  <a:pt x="1979" y="209"/>
                </a:lnTo>
                <a:lnTo>
                  <a:pt x="1986" y="201"/>
                </a:lnTo>
                <a:lnTo>
                  <a:pt x="1973" y="192"/>
                </a:lnTo>
                <a:lnTo>
                  <a:pt x="1965" y="206"/>
                </a:lnTo>
                <a:lnTo>
                  <a:pt x="1952" y="192"/>
                </a:lnTo>
                <a:lnTo>
                  <a:pt x="1953" y="177"/>
                </a:lnTo>
                <a:lnTo>
                  <a:pt x="1937" y="181"/>
                </a:lnTo>
                <a:lnTo>
                  <a:pt x="1931" y="171"/>
                </a:lnTo>
                <a:lnTo>
                  <a:pt x="1943" y="168"/>
                </a:lnTo>
                <a:lnTo>
                  <a:pt x="1950" y="174"/>
                </a:lnTo>
                <a:lnTo>
                  <a:pt x="1952" y="159"/>
                </a:lnTo>
                <a:lnTo>
                  <a:pt x="1962" y="171"/>
                </a:lnTo>
                <a:lnTo>
                  <a:pt x="1964" y="181"/>
                </a:lnTo>
                <a:lnTo>
                  <a:pt x="1974" y="184"/>
                </a:lnTo>
                <a:lnTo>
                  <a:pt x="1971" y="178"/>
                </a:lnTo>
                <a:lnTo>
                  <a:pt x="1980" y="159"/>
                </a:lnTo>
                <a:lnTo>
                  <a:pt x="1998" y="163"/>
                </a:lnTo>
                <a:lnTo>
                  <a:pt x="1997" y="192"/>
                </a:lnTo>
                <a:lnTo>
                  <a:pt x="2014" y="195"/>
                </a:lnTo>
                <a:lnTo>
                  <a:pt x="2006" y="181"/>
                </a:lnTo>
                <a:lnTo>
                  <a:pt x="2011" y="175"/>
                </a:lnTo>
                <a:lnTo>
                  <a:pt x="2017" y="178"/>
                </a:lnTo>
                <a:lnTo>
                  <a:pt x="2045" y="184"/>
                </a:lnTo>
                <a:lnTo>
                  <a:pt x="2036" y="198"/>
                </a:lnTo>
                <a:lnTo>
                  <a:pt x="2054" y="198"/>
                </a:lnTo>
                <a:lnTo>
                  <a:pt x="2044" y="212"/>
                </a:lnTo>
                <a:lnTo>
                  <a:pt x="2054" y="230"/>
                </a:lnTo>
                <a:lnTo>
                  <a:pt x="2065" y="225"/>
                </a:lnTo>
                <a:lnTo>
                  <a:pt x="2060" y="203"/>
                </a:lnTo>
                <a:lnTo>
                  <a:pt x="2071" y="190"/>
                </a:lnTo>
                <a:lnTo>
                  <a:pt x="2059" y="187"/>
                </a:lnTo>
                <a:lnTo>
                  <a:pt x="2062" y="171"/>
                </a:lnTo>
                <a:lnTo>
                  <a:pt x="2074" y="172"/>
                </a:lnTo>
                <a:lnTo>
                  <a:pt x="2078" y="160"/>
                </a:lnTo>
                <a:lnTo>
                  <a:pt x="2080" y="151"/>
                </a:lnTo>
                <a:lnTo>
                  <a:pt x="2087" y="150"/>
                </a:lnTo>
                <a:lnTo>
                  <a:pt x="2104" y="127"/>
                </a:lnTo>
                <a:lnTo>
                  <a:pt x="2113" y="126"/>
                </a:lnTo>
                <a:lnTo>
                  <a:pt x="2128" y="135"/>
                </a:lnTo>
                <a:lnTo>
                  <a:pt x="2134" y="127"/>
                </a:lnTo>
                <a:lnTo>
                  <a:pt x="2124" y="117"/>
                </a:lnTo>
                <a:lnTo>
                  <a:pt x="2133" y="89"/>
                </a:lnTo>
                <a:lnTo>
                  <a:pt x="2146" y="98"/>
                </a:lnTo>
                <a:lnTo>
                  <a:pt x="2151" y="88"/>
                </a:lnTo>
                <a:lnTo>
                  <a:pt x="2142" y="76"/>
                </a:lnTo>
                <a:lnTo>
                  <a:pt x="2124" y="73"/>
                </a:lnTo>
                <a:lnTo>
                  <a:pt x="2124" y="58"/>
                </a:lnTo>
                <a:lnTo>
                  <a:pt x="2128" y="55"/>
                </a:lnTo>
                <a:lnTo>
                  <a:pt x="2148" y="70"/>
                </a:lnTo>
                <a:lnTo>
                  <a:pt x="2154" y="67"/>
                </a:lnTo>
                <a:lnTo>
                  <a:pt x="2149" y="55"/>
                </a:lnTo>
                <a:lnTo>
                  <a:pt x="2152" y="32"/>
                </a:lnTo>
                <a:lnTo>
                  <a:pt x="2157" y="35"/>
                </a:lnTo>
                <a:lnTo>
                  <a:pt x="2164" y="50"/>
                </a:lnTo>
                <a:lnTo>
                  <a:pt x="2169" y="31"/>
                </a:lnTo>
                <a:lnTo>
                  <a:pt x="2173" y="29"/>
                </a:lnTo>
                <a:lnTo>
                  <a:pt x="2178" y="47"/>
                </a:lnTo>
                <a:lnTo>
                  <a:pt x="2187" y="49"/>
                </a:lnTo>
                <a:lnTo>
                  <a:pt x="2193" y="65"/>
                </a:lnTo>
                <a:lnTo>
                  <a:pt x="2204" y="55"/>
                </a:lnTo>
                <a:lnTo>
                  <a:pt x="2220" y="47"/>
                </a:lnTo>
                <a:lnTo>
                  <a:pt x="2223" y="59"/>
                </a:lnTo>
                <a:lnTo>
                  <a:pt x="2190" y="106"/>
                </a:lnTo>
                <a:lnTo>
                  <a:pt x="2178" y="160"/>
                </a:lnTo>
                <a:lnTo>
                  <a:pt x="2169" y="177"/>
                </a:lnTo>
                <a:lnTo>
                  <a:pt x="2173" y="195"/>
                </a:lnTo>
                <a:lnTo>
                  <a:pt x="2181" y="196"/>
                </a:lnTo>
                <a:lnTo>
                  <a:pt x="2189" y="186"/>
                </a:lnTo>
                <a:lnTo>
                  <a:pt x="2205" y="165"/>
                </a:lnTo>
                <a:lnTo>
                  <a:pt x="2193" y="166"/>
                </a:lnTo>
                <a:lnTo>
                  <a:pt x="2193" y="156"/>
                </a:lnTo>
                <a:lnTo>
                  <a:pt x="2234" y="104"/>
                </a:lnTo>
                <a:lnTo>
                  <a:pt x="2244" y="77"/>
                </a:lnTo>
                <a:lnTo>
                  <a:pt x="2261" y="62"/>
                </a:lnTo>
                <a:lnTo>
                  <a:pt x="2264" y="47"/>
                </a:lnTo>
                <a:lnTo>
                  <a:pt x="2276" y="37"/>
                </a:lnTo>
                <a:lnTo>
                  <a:pt x="2274" y="53"/>
                </a:lnTo>
                <a:lnTo>
                  <a:pt x="2282" y="64"/>
                </a:lnTo>
                <a:lnTo>
                  <a:pt x="2281" y="73"/>
                </a:lnTo>
                <a:lnTo>
                  <a:pt x="2270" y="79"/>
                </a:lnTo>
                <a:lnTo>
                  <a:pt x="2264" y="95"/>
                </a:lnTo>
                <a:lnTo>
                  <a:pt x="2282" y="89"/>
                </a:lnTo>
                <a:lnTo>
                  <a:pt x="2274" y="135"/>
                </a:lnTo>
                <a:lnTo>
                  <a:pt x="2284" y="136"/>
                </a:lnTo>
                <a:lnTo>
                  <a:pt x="2299" y="127"/>
                </a:lnTo>
                <a:lnTo>
                  <a:pt x="2309" y="97"/>
                </a:lnTo>
                <a:lnTo>
                  <a:pt x="2314" y="106"/>
                </a:lnTo>
                <a:lnTo>
                  <a:pt x="2317" y="97"/>
                </a:lnTo>
                <a:lnTo>
                  <a:pt x="2308" y="86"/>
                </a:lnTo>
                <a:lnTo>
                  <a:pt x="2311" y="73"/>
                </a:lnTo>
                <a:lnTo>
                  <a:pt x="2323" y="70"/>
                </a:lnTo>
                <a:lnTo>
                  <a:pt x="2326" y="64"/>
                </a:lnTo>
                <a:lnTo>
                  <a:pt x="2335" y="52"/>
                </a:lnTo>
                <a:lnTo>
                  <a:pt x="2329" y="44"/>
                </a:lnTo>
                <a:lnTo>
                  <a:pt x="2333" y="29"/>
                </a:lnTo>
                <a:lnTo>
                  <a:pt x="2341" y="24"/>
                </a:lnTo>
                <a:lnTo>
                  <a:pt x="2335" y="15"/>
                </a:lnTo>
                <a:lnTo>
                  <a:pt x="2341" y="0"/>
                </a:lnTo>
                <a:lnTo>
                  <a:pt x="2354" y="20"/>
                </a:lnTo>
                <a:lnTo>
                  <a:pt x="2357" y="14"/>
                </a:lnTo>
                <a:lnTo>
                  <a:pt x="2363" y="0"/>
                </a:lnTo>
                <a:lnTo>
                  <a:pt x="2380" y="15"/>
                </a:lnTo>
                <a:lnTo>
                  <a:pt x="2371" y="29"/>
                </a:lnTo>
                <a:lnTo>
                  <a:pt x="2392" y="21"/>
                </a:lnTo>
                <a:lnTo>
                  <a:pt x="2394" y="38"/>
                </a:lnTo>
                <a:lnTo>
                  <a:pt x="2371" y="62"/>
                </a:lnTo>
                <a:lnTo>
                  <a:pt x="2353" y="58"/>
                </a:lnTo>
                <a:lnTo>
                  <a:pt x="2365" y="71"/>
                </a:lnTo>
                <a:lnTo>
                  <a:pt x="2362" y="77"/>
                </a:lnTo>
                <a:lnTo>
                  <a:pt x="2347" y="88"/>
                </a:lnTo>
                <a:lnTo>
                  <a:pt x="2342" y="97"/>
                </a:lnTo>
                <a:lnTo>
                  <a:pt x="2371" y="82"/>
                </a:lnTo>
                <a:lnTo>
                  <a:pt x="2380" y="80"/>
                </a:lnTo>
                <a:lnTo>
                  <a:pt x="2373" y="110"/>
                </a:lnTo>
                <a:lnTo>
                  <a:pt x="2357" y="124"/>
                </a:lnTo>
                <a:lnTo>
                  <a:pt x="2360" y="130"/>
                </a:lnTo>
                <a:lnTo>
                  <a:pt x="2371" y="123"/>
                </a:lnTo>
                <a:lnTo>
                  <a:pt x="2376" y="124"/>
                </a:lnTo>
                <a:lnTo>
                  <a:pt x="2374" y="148"/>
                </a:lnTo>
                <a:lnTo>
                  <a:pt x="2362" y="192"/>
                </a:lnTo>
                <a:lnTo>
                  <a:pt x="2336" y="201"/>
                </a:lnTo>
                <a:lnTo>
                  <a:pt x="2336" y="204"/>
                </a:lnTo>
                <a:lnTo>
                  <a:pt x="2353" y="198"/>
                </a:lnTo>
                <a:lnTo>
                  <a:pt x="2367" y="193"/>
                </a:lnTo>
                <a:lnTo>
                  <a:pt x="2373" y="169"/>
                </a:lnTo>
                <a:lnTo>
                  <a:pt x="2389" y="124"/>
                </a:lnTo>
                <a:lnTo>
                  <a:pt x="2401" y="126"/>
                </a:lnTo>
                <a:lnTo>
                  <a:pt x="2388" y="107"/>
                </a:lnTo>
                <a:lnTo>
                  <a:pt x="2403" y="68"/>
                </a:lnTo>
                <a:lnTo>
                  <a:pt x="2412" y="64"/>
                </a:lnTo>
                <a:lnTo>
                  <a:pt x="2413" y="44"/>
                </a:lnTo>
                <a:lnTo>
                  <a:pt x="2430" y="56"/>
                </a:lnTo>
                <a:lnTo>
                  <a:pt x="2440" y="55"/>
                </a:lnTo>
                <a:lnTo>
                  <a:pt x="2449" y="68"/>
                </a:lnTo>
                <a:lnTo>
                  <a:pt x="2442" y="80"/>
                </a:lnTo>
                <a:lnTo>
                  <a:pt x="2451" y="86"/>
                </a:lnTo>
                <a:lnTo>
                  <a:pt x="2455" y="82"/>
                </a:lnTo>
                <a:lnTo>
                  <a:pt x="2471" y="76"/>
                </a:lnTo>
                <a:lnTo>
                  <a:pt x="2475" y="97"/>
                </a:lnTo>
                <a:lnTo>
                  <a:pt x="2487" y="88"/>
                </a:lnTo>
                <a:lnTo>
                  <a:pt x="2487" y="76"/>
                </a:lnTo>
                <a:lnTo>
                  <a:pt x="2498" y="92"/>
                </a:lnTo>
                <a:lnTo>
                  <a:pt x="2510" y="95"/>
                </a:lnTo>
                <a:lnTo>
                  <a:pt x="2510" y="101"/>
                </a:lnTo>
                <a:lnTo>
                  <a:pt x="2492" y="109"/>
                </a:lnTo>
                <a:lnTo>
                  <a:pt x="2502" y="117"/>
                </a:lnTo>
                <a:lnTo>
                  <a:pt x="2517" y="109"/>
                </a:lnTo>
                <a:lnTo>
                  <a:pt x="2535" y="110"/>
                </a:lnTo>
                <a:lnTo>
                  <a:pt x="2538" y="126"/>
                </a:lnTo>
                <a:lnTo>
                  <a:pt x="2549" y="124"/>
                </a:lnTo>
                <a:lnTo>
                  <a:pt x="2554" y="153"/>
                </a:lnTo>
                <a:lnTo>
                  <a:pt x="2532" y="157"/>
                </a:lnTo>
                <a:lnTo>
                  <a:pt x="2507" y="183"/>
                </a:lnTo>
                <a:lnTo>
                  <a:pt x="2495" y="184"/>
                </a:lnTo>
                <a:lnTo>
                  <a:pt x="2480" y="193"/>
                </a:lnTo>
                <a:lnTo>
                  <a:pt x="2451" y="186"/>
                </a:lnTo>
                <a:lnTo>
                  <a:pt x="2425" y="183"/>
                </a:lnTo>
                <a:lnTo>
                  <a:pt x="2401" y="175"/>
                </a:lnTo>
                <a:lnTo>
                  <a:pt x="2406" y="186"/>
                </a:lnTo>
                <a:lnTo>
                  <a:pt x="2400" y="193"/>
                </a:lnTo>
                <a:lnTo>
                  <a:pt x="2418" y="193"/>
                </a:lnTo>
                <a:lnTo>
                  <a:pt x="2440" y="201"/>
                </a:lnTo>
                <a:lnTo>
                  <a:pt x="2460" y="216"/>
                </a:lnTo>
                <a:lnTo>
                  <a:pt x="2455" y="227"/>
                </a:lnTo>
                <a:lnTo>
                  <a:pt x="2483" y="228"/>
                </a:lnTo>
                <a:lnTo>
                  <a:pt x="2489" y="245"/>
                </a:lnTo>
                <a:lnTo>
                  <a:pt x="2477" y="255"/>
                </a:lnTo>
                <a:lnTo>
                  <a:pt x="2490" y="266"/>
                </a:lnTo>
                <a:lnTo>
                  <a:pt x="2492" y="284"/>
                </a:lnTo>
                <a:lnTo>
                  <a:pt x="2484" y="308"/>
                </a:lnTo>
                <a:lnTo>
                  <a:pt x="2446" y="331"/>
                </a:lnTo>
                <a:lnTo>
                  <a:pt x="2437" y="323"/>
                </a:lnTo>
                <a:lnTo>
                  <a:pt x="2443" y="335"/>
                </a:lnTo>
                <a:lnTo>
                  <a:pt x="2440" y="343"/>
                </a:lnTo>
                <a:lnTo>
                  <a:pt x="2446" y="335"/>
                </a:lnTo>
                <a:lnTo>
                  <a:pt x="2487" y="316"/>
                </a:lnTo>
                <a:lnTo>
                  <a:pt x="2499" y="293"/>
                </a:lnTo>
                <a:lnTo>
                  <a:pt x="2502" y="269"/>
                </a:lnTo>
                <a:lnTo>
                  <a:pt x="2516" y="276"/>
                </a:lnTo>
                <a:lnTo>
                  <a:pt x="2517" y="261"/>
                </a:lnTo>
                <a:lnTo>
                  <a:pt x="2511" y="254"/>
                </a:lnTo>
                <a:lnTo>
                  <a:pt x="2505" y="255"/>
                </a:lnTo>
                <a:lnTo>
                  <a:pt x="2505" y="239"/>
                </a:lnTo>
                <a:lnTo>
                  <a:pt x="2520" y="254"/>
                </a:lnTo>
                <a:lnTo>
                  <a:pt x="2534" y="252"/>
                </a:lnTo>
                <a:lnTo>
                  <a:pt x="2540" y="260"/>
                </a:lnTo>
                <a:lnTo>
                  <a:pt x="2555" y="258"/>
                </a:lnTo>
                <a:lnTo>
                  <a:pt x="2576" y="264"/>
                </a:lnTo>
                <a:lnTo>
                  <a:pt x="2581" y="275"/>
                </a:lnTo>
                <a:lnTo>
                  <a:pt x="2570" y="287"/>
                </a:lnTo>
                <a:lnTo>
                  <a:pt x="2573" y="292"/>
                </a:lnTo>
                <a:lnTo>
                  <a:pt x="2590" y="275"/>
                </a:lnTo>
                <a:lnTo>
                  <a:pt x="2603" y="273"/>
                </a:lnTo>
                <a:lnTo>
                  <a:pt x="2596" y="266"/>
                </a:lnTo>
                <a:lnTo>
                  <a:pt x="2600" y="246"/>
                </a:lnTo>
                <a:lnTo>
                  <a:pt x="2611" y="251"/>
                </a:lnTo>
                <a:lnTo>
                  <a:pt x="2617" y="237"/>
                </a:lnTo>
                <a:lnTo>
                  <a:pt x="2612" y="227"/>
                </a:lnTo>
                <a:lnTo>
                  <a:pt x="2614" y="219"/>
                </a:lnTo>
                <a:lnTo>
                  <a:pt x="2644" y="231"/>
                </a:lnTo>
                <a:lnTo>
                  <a:pt x="2659" y="251"/>
                </a:lnTo>
                <a:lnTo>
                  <a:pt x="2670" y="251"/>
                </a:lnTo>
                <a:lnTo>
                  <a:pt x="2676" y="260"/>
                </a:lnTo>
                <a:lnTo>
                  <a:pt x="2685" y="260"/>
                </a:lnTo>
                <a:lnTo>
                  <a:pt x="2668" y="289"/>
                </a:lnTo>
                <a:lnTo>
                  <a:pt x="2643" y="284"/>
                </a:lnTo>
                <a:lnTo>
                  <a:pt x="2623" y="267"/>
                </a:lnTo>
                <a:lnTo>
                  <a:pt x="2611" y="282"/>
                </a:lnTo>
                <a:lnTo>
                  <a:pt x="2615" y="298"/>
                </a:lnTo>
                <a:lnTo>
                  <a:pt x="2627" y="289"/>
                </a:lnTo>
                <a:lnTo>
                  <a:pt x="2632" y="295"/>
                </a:lnTo>
                <a:lnTo>
                  <a:pt x="2643" y="298"/>
                </a:lnTo>
                <a:lnTo>
                  <a:pt x="2627" y="310"/>
                </a:lnTo>
                <a:lnTo>
                  <a:pt x="2635" y="317"/>
                </a:lnTo>
                <a:lnTo>
                  <a:pt x="2650" y="307"/>
                </a:lnTo>
                <a:lnTo>
                  <a:pt x="2682" y="310"/>
                </a:lnTo>
                <a:lnTo>
                  <a:pt x="2671" y="331"/>
                </a:lnTo>
                <a:lnTo>
                  <a:pt x="2674" y="337"/>
                </a:lnTo>
                <a:lnTo>
                  <a:pt x="2692" y="319"/>
                </a:lnTo>
                <a:lnTo>
                  <a:pt x="2694" y="337"/>
                </a:lnTo>
                <a:lnTo>
                  <a:pt x="2709" y="352"/>
                </a:lnTo>
                <a:lnTo>
                  <a:pt x="2703" y="368"/>
                </a:lnTo>
                <a:lnTo>
                  <a:pt x="2688" y="375"/>
                </a:lnTo>
                <a:lnTo>
                  <a:pt x="2680" y="382"/>
                </a:lnTo>
                <a:lnTo>
                  <a:pt x="2679" y="412"/>
                </a:lnTo>
                <a:lnTo>
                  <a:pt x="2662" y="427"/>
                </a:lnTo>
                <a:lnTo>
                  <a:pt x="2668" y="439"/>
                </a:lnTo>
                <a:lnTo>
                  <a:pt x="2683" y="430"/>
                </a:lnTo>
                <a:lnTo>
                  <a:pt x="2691" y="387"/>
                </a:lnTo>
                <a:lnTo>
                  <a:pt x="2715" y="376"/>
                </a:lnTo>
                <a:lnTo>
                  <a:pt x="2721" y="346"/>
                </a:lnTo>
                <a:lnTo>
                  <a:pt x="2733" y="344"/>
                </a:lnTo>
                <a:lnTo>
                  <a:pt x="2741" y="338"/>
                </a:lnTo>
                <a:lnTo>
                  <a:pt x="2775" y="347"/>
                </a:lnTo>
                <a:lnTo>
                  <a:pt x="2804" y="353"/>
                </a:lnTo>
                <a:lnTo>
                  <a:pt x="2810" y="365"/>
                </a:lnTo>
                <a:lnTo>
                  <a:pt x="2817" y="359"/>
                </a:lnTo>
                <a:lnTo>
                  <a:pt x="2821" y="347"/>
                </a:lnTo>
                <a:lnTo>
                  <a:pt x="2845" y="355"/>
                </a:lnTo>
                <a:lnTo>
                  <a:pt x="2858" y="365"/>
                </a:lnTo>
                <a:lnTo>
                  <a:pt x="2861" y="359"/>
                </a:lnTo>
                <a:lnTo>
                  <a:pt x="2867" y="373"/>
                </a:lnTo>
                <a:lnTo>
                  <a:pt x="2885" y="371"/>
                </a:lnTo>
                <a:lnTo>
                  <a:pt x="2899" y="381"/>
                </a:lnTo>
                <a:lnTo>
                  <a:pt x="2911" y="393"/>
                </a:lnTo>
                <a:lnTo>
                  <a:pt x="2925" y="399"/>
                </a:lnTo>
                <a:lnTo>
                  <a:pt x="2935" y="412"/>
                </a:lnTo>
                <a:lnTo>
                  <a:pt x="2953" y="418"/>
                </a:lnTo>
                <a:lnTo>
                  <a:pt x="2956" y="429"/>
                </a:lnTo>
                <a:lnTo>
                  <a:pt x="2976" y="442"/>
                </a:lnTo>
                <a:lnTo>
                  <a:pt x="3023" y="491"/>
                </a:lnTo>
                <a:lnTo>
                  <a:pt x="3027" y="504"/>
                </a:lnTo>
                <a:lnTo>
                  <a:pt x="3036" y="509"/>
                </a:lnTo>
                <a:lnTo>
                  <a:pt x="3045" y="518"/>
                </a:lnTo>
                <a:lnTo>
                  <a:pt x="3050" y="515"/>
                </a:lnTo>
                <a:lnTo>
                  <a:pt x="3039" y="504"/>
                </a:lnTo>
                <a:lnTo>
                  <a:pt x="3039" y="494"/>
                </a:lnTo>
                <a:lnTo>
                  <a:pt x="3059" y="510"/>
                </a:lnTo>
                <a:lnTo>
                  <a:pt x="3059" y="519"/>
                </a:lnTo>
                <a:lnTo>
                  <a:pt x="3068" y="531"/>
                </a:lnTo>
                <a:lnTo>
                  <a:pt x="3103" y="545"/>
                </a:lnTo>
                <a:lnTo>
                  <a:pt x="3113" y="554"/>
                </a:lnTo>
                <a:lnTo>
                  <a:pt x="3112" y="539"/>
                </a:lnTo>
                <a:lnTo>
                  <a:pt x="3142" y="569"/>
                </a:lnTo>
                <a:lnTo>
                  <a:pt x="3143" y="577"/>
                </a:lnTo>
                <a:lnTo>
                  <a:pt x="3152" y="583"/>
                </a:lnTo>
                <a:lnTo>
                  <a:pt x="3149" y="595"/>
                </a:lnTo>
                <a:lnTo>
                  <a:pt x="3157" y="605"/>
                </a:lnTo>
                <a:lnTo>
                  <a:pt x="3166" y="595"/>
                </a:lnTo>
                <a:lnTo>
                  <a:pt x="3179" y="607"/>
                </a:lnTo>
                <a:lnTo>
                  <a:pt x="3196" y="613"/>
                </a:lnTo>
                <a:lnTo>
                  <a:pt x="3190" y="643"/>
                </a:lnTo>
                <a:lnTo>
                  <a:pt x="3201" y="655"/>
                </a:lnTo>
                <a:lnTo>
                  <a:pt x="3198" y="688"/>
                </a:lnTo>
                <a:lnTo>
                  <a:pt x="3201" y="699"/>
                </a:lnTo>
                <a:lnTo>
                  <a:pt x="3213" y="691"/>
                </a:lnTo>
                <a:lnTo>
                  <a:pt x="3216" y="712"/>
                </a:lnTo>
                <a:lnTo>
                  <a:pt x="3189" y="768"/>
                </a:lnTo>
                <a:lnTo>
                  <a:pt x="3146" y="830"/>
                </a:lnTo>
                <a:lnTo>
                  <a:pt x="3100" y="853"/>
                </a:lnTo>
                <a:lnTo>
                  <a:pt x="3053" y="871"/>
                </a:lnTo>
                <a:lnTo>
                  <a:pt x="2994" y="865"/>
                </a:lnTo>
                <a:lnTo>
                  <a:pt x="2947" y="841"/>
                </a:lnTo>
                <a:lnTo>
                  <a:pt x="2905" y="836"/>
                </a:lnTo>
                <a:lnTo>
                  <a:pt x="2878" y="824"/>
                </a:lnTo>
                <a:lnTo>
                  <a:pt x="2869" y="829"/>
                </a:lnTo>
                <a:lnTo>
                  <a:pt x="2846" y="815"/>
                </a:lnTo>
                <a:lnTo>
                  <a:pt x="2840" y="821"/>
                </a:lnTo>
                <a:lnTo>
                  <a:pt x="2833" y="804"/>
                </a:lnTo>
                <a:lnTo>
                  <a:pt x="2816" y="806"/>
                </a:lnTo>
                <a:lnTo>
                  <a:pt x="2796" y="788"/>
                </a:lnTo>
                <a:lnTo>
                  <a:pt x="2786" y="804"/>
                </a:lnTo>
                <a:lnTo>
                  <a:pt x="2769" y="791"/>
                </a:lnTo>
                <a:lnTo>
                  <a:pt x="2775" y="774"/>
                </a:lnTo>
                <a:lnTo>
                  <a:pt x="2762" y="771"/>
                </a:lnTo>
                <a:lnTo>
                  <a:pt x="2759" y="764"/>
                </a:lnTo>
                <a:lnTo>
                  <a:pt x="2748" y="765"/>
                </a:lnTo>
                <a:lnTo>
                  <a:pt x="2739" y="779"/>
                </a:lnTo>
                <a:lnTo>
                  <a:pt x="2719" y="762"/>
                </a:lnTo>
                <a:lnTo>
                  <a:pt x="2718" y="768"/>
                </a:lnTo>
                <a:lnTo>
                  <a:pt x="2695" y="761"/>
                </a:lnTo>
                <a:lnTo>
                  <a:pt x="2692" y="752"/>
                </a:lnTo>
                <a:lnTo>
                  <a:pt x="2679" y="749"/>
                </a:lnTo>
                <a:lnTo>
                  <a:pt x="2671" y="717"/>
                </a:lnTo>
                <a:lnTo>
                  <a:pt x="2655" y="705"/>
                </a:lnTo>
                <a:lnTo>
                  <a:pt x="2623" y="705"/>
                </a:lnTo>
                <a:lnTo>
                  <a:pt x="2620" y="708"/>
                </a:lnTo>
                <a:lnTo>
                  <a:pt x="2627" y="711"/>
                </a:lnTo>
                <a:lnTo>
                  <a:pt x="2640" y="726"/>
                </a:lnTo>
                <a:lnTo>
                  <a:pt x="2650" y="723"/>
                </a:lnTo>
                <a:lnTo>
                  <a:pt x="2647" y="740"/>
                </a:lnTo>
                <a:lnTo>
                  <a:pt x="2655" y="759"/>
                </a:lnTo>
                <a:lnTo>
                  <a:pt x="2664" y="762"/>
                </a:lnTo>
                <a:lnTo>
                  <a:pt x="2674" y="777"/>
                </a:lnTo>
                <a:lnTo>
                  <a:pt x="2691" y="785"/>
                </a:lnTo>
                <a:lnTo>
                  <a:pt x="2682" y="792"/>
                </a:lnTo>
                <a:lnTo>
                  <a:pt x="2682" y="803"/>
                </a:lnTo>
                <a:lnTo>
                  <a:pt x="2697" y="803"/>
                </a:lnTo>
                <a:lnTo>
                  <a:pt x="2724" y="821"/>
                </a:lnTo>
                <a:lnTo>
                  <a:pt x="2721" y="830"/>
                </a:lnTo>
                <a:lnTo>
                  <a:pt x="2703" y="833"/>
                </a:lnTo>
                <a:lnTo>
                  <a:pt x="2710" y="842"/>
                </a:lnTo>
                <a:lnTo>
                  <a:pt x="2727" y="839"/>
                </a:lnTo>
                <a:lnTo>
                  <a:pt x="2748" y="845"/>
                </a:lnTo>
                <a:lnTo>
                  <a:pt x="2757" y="854"/>
                </a:lnTo>
                <a:lnTo>
                  <a:pt x="2754" y="866"/>
                </a:lnTo>
                <a:lnTo>
                  <a:pt x="2766" y="865"/>
                </a:lnTo>
                <a:lnTo>
                  <a:pt x="2786" y="875"/>
                </a:lnTo>
                <a:lnTo>
                  <a:pt x="2792" y="895"/>
                </a:lnTo>
                <a:lnTo>
                  <a:pt x="2798" y="901"/>
                </a:lnTo>
                <a:lnTo>
                  <a:pt x="2784" y="924"/>
                </a:lnTo>
                <a:lnTo>
                  <a:pt x="2792" y="942"/>
                </a:lnTo>
                <a:lnTo>
                  <a:pt x="2786" y="948"/>
                </a:lnTo>
                <a:lnTo>
                  <a:pt x="2784" y="973"/>
                </a:lnTo>
                <a:lnTo>
                  <a:pt x="2768" y="972"/>
                </a:lnTo>
                <a:lnTo>
                  <a:pt x="2762" y="984"/>
                </a:lnTo>
                <a:lnTo>
                  <a:pt x="2774" y="990"/>
                </a:lnTo>
                <a:lnTo>
                  <a:pt x="2774" y="1001"/>
                </a:lnTo>
                <a:lnTo>
                  <a:pt x="2781" y="1005"/>
                </a:lnTo>
                <a:lnTo>
                  <a:pt x="2793" y="1055"/>
                </a:lnTo>
                <a:lnTo>
                  <a:pt x="2805" y="1050"/>
                </a:lnTo>
                <a:lnTo>
                  <a:pt x="2807" y="1067"/>
                </a:lnTo>
                <a:lnTo>
                  <a:pt x="2799" y="1079"/>
                </a:lnTo>
                <a:lnTo>
                  <a:pt x="2813" y="1096"/>
                </a:lnTo>
                <a:lnTo>
                  <a:pt x="2804" y="1103"/>
                </a:lnTo>
                <a:lnTo>
                  <a:pt x="2781" y="1115"/>
                </a:lnTo>
                <a:lnTo>
                  <a:pt x="2765" y="1158"/>
                </a:lnTo>
                <a:lnTo>
                  <a:pt x="2768" y="1192"/>
                </a:lnTo>
                <a:lnTo>
                  <a:pt x="2768" y="1219"/>
                </a:lnTo>
                <a:lnTo>
                  <a:pt x="2762" y="1230"/>
                </a:lnTo>
                <a:lnTo>
                  <a:pt x="2775" y="1241"/>
                </a:lnTo>
                <a:lnTo>
                  <a:pt x="2775" y="1228"/>
                </a:lnTo>
                <a:lnTo>
                  <a:pt x="2780" y="1225"/>
                </a:lnTo>
                <a:lnTo>
                  <a:pt x="2792" y="1268"/>
                </a:lnTo>
                <a:lnTo>
                  <a:pt x="2802" y="1268"/>
                </a:lnTo>
                <a:lnTo>
                  <a:pt x="2805" y="1304"/>
                </a:lnTo>
                <a:lnTo>
                  <a:pt x="2811" y="1311"/>
                </a:lnTo>
                <a:lnTo>
                  <a:pt x="2817" y="1301"/>
                </a:lnTo>
                <a:lnTo>
                  <a:pt x="2814" y="1286"/>
                </a:lnTo>
                <a:lnTo>
                  <a:pt x="2813" y="1263"/>
                </a:lnTo>
                <a:lnTo>
                  <a:pt x="2822" y="1268"/>
                </a:lnTo>
                <a:lnTo>
                  <a:pt x="2848" y="1262"/>
                </a:lnTo>
                <a:lnTo>
                  <a:pt x="2842" y="1254"/>
                </a:lnTo>
                <a:lnTo>
                  <a:pt x="2819" y="1251"/>
                </a:lnTo>
                <a:lnTo>
                  <a:pt x="2817" y="1233"/>
                </a:lnTo>
                <a:lnTo>
                  <a:pt x="2810" y="1231"/>
                </a:lnTo>
                <a:lnTo>
                  <a:pt x="2804" y="1222"/>
                </a:lnTo>
                <a:lnTo>
                  <a:pt x="2780" y="1195"/>
                </a:lnTo>
                <a:lnTo>
                  <a:pt x="2772" y="1191"/>
                </a:lnTo>
                <a:lnTo>
                  <a:pt x="2769" y="1185"/>
                </a:lnTo>
                <a:lnTo>
                  <a:pt x="2768" y="1158"/>
                </a:lnTo>
                <a:lnTo>
                  <a:pt x="2783" y="1117"/>
                </a:lnTo>
                <a:lnTo>
                  <a:pt x="2810" y="1118"/>
                </a:lnTo>
                <a:lnTo>
                  <a:pt x="2813" y="1127"/>
                </a:lnTo>
                <a:lnTo>
                  <a:pt x="2822" y="1133"/>
                </a:lnTo>
                <a:lnTo>
                  <a:pt x="2836" y="1145"/>
                </a:lnTo>
                <a:lnTo>
                  <a:pt x="2846" y="1141"/>
                </a:lnTo>
                <a:lnTo>
                  <a:pt x="2852" y="1130"/>
                </a:lnTo>
                <a:lnTo>
                  <a:pt x="2863" y="1139"/>
                </a:lnTo>
                <a:lnTo>
                  <a:pt x="2872" y="1158"/>
                </a:lnTo>
                <a:lnTo>
                  <a:pt x="2885" y="1162"/>
                </a:lnTo>
                <a:lnTo>
                  <a:pt x="2890" y="1185"/>
                </a:lnTo>
                <a:lnTo>
                  <a:pt x="2906" y="1189"/>
                </a:lnTo>
                <a:lnTo>
                  <a:pt x="2914" y="1195"/>
                </a:lnTo>
                <a:lnTo>
                  <a:pt x="2935" y="1204"/>
                </a:lnTo>
                <a:lnTo>
                  <a:pt x="2955" y="1204"/>
                </a:lnTo>
                <a:lnTo>
                  <a:pt x="2964" y="1213"/>
                </a:lnTo>
                <a:lnTo>
                  <a:pt x="2973" y="1210"/>
                </a:lnTo>
                <a:lnTo>
                  <a:pt x="2979" y="1198"/>
                </a:lnTo>
                <a:lnTo>
                  <a:pt x="3003" y="1195"/>
                </a:lnTo>
                <a:lnTo>
                  <a:pt x="3012" y="1206"/>
                </a:lnTo>
                <a:lnTo>
                  <a:pt x="3024" y="1198"/>
                </a:lnTo>
                <a:lnTo>
                  <a:pt x="3009" y="1189"/>
                </a:lnTo>
                <a:lnTo>
                  <a:pt x="2998" y="1159"/>
                </a:lnTo>
                <a:lnTo>
                  <a:pt x="3005" y="1147"/>
                </a:lnTo>
                <a:lnTo>
                  <a:pt x="2992" y="1133"/>
                </a:lnTo>
                <a:lnTo>
                  <a:pt x="2991" y="1118"/>
                </a:lnTo>
                <a:lnTo>
                  <a:pt x="2980" y="1118"/>
                </a:lnTo>
                <a:lnTo>
                  <a:pt x="2959" y="1129"/>
                </a:lnTo>
                <a:lnTo>
                  <a:pt x="2946" y="1124"/>
                </a:lnTo>
                <a:lnTo>
                  <a:pt x="2923" y="1085"/>
                </a:lnTo>
                <a:lnTo>
                  <a:pt x="2908" y="1078"/>
                </a:lnTo>
                <a:lnTo>
                  <a:pt x="2906" y="1056"/>
                </a:lnTo>
                <a:lnTo>
                  <a:pt x="2928" y="1041"/>
                </a:lnTo>
                <a:lnTo>
                  <a:pt x="2929" y="1019"/>
                </a:lnTo>
                <a:lnTo>
                  <a:pt x="2941" y="1011"/>
                </a:lnTo>
                <a:lnTo>
                  <a:pt x="2982" y="1031"/>
                </a:lnTo>
                <a:lnTo>
                  <a:pt x="2983" y="1043"/>
                </a:lnTo>
                <a:lnTo>
                  <a:pt x="2992" y="1056"/>
                </a:lnTo>
                <a:lnTo>
                  <a:pt x="3003" y="1052"/>
                </a:lnTo>
                <a:lnTo>
                  <a:pt x="3021" y="1059"/>
                </a:lnTo>
                <a:lnTo>
                  <a:pt x="3024" y="1067"/>
                </a:lnTo>
                <a:lnTo>
                  <a:pt x="3002" y="1072"/>
                </a:lnTo>
                <a:lnTo>
                  <a:pt x="3006" y="1079"/>
                </a:lnTo>
                <a:lnTo>
                  <a:pt x="3005" y="1088"/>
                </a:lnTo>
                <a:lnTo>
                  <a:pt x="3012" y="1088"/>
                </a:lnTo>
                <a:lnTo>
                  <a:pt x="3021" y="1076"/>
                </a:lnTo>
                <a:lnTo>
                  <a:pt x="3032" y="1073"/>
                </a:lnTo>
                <a:lnTo>
                  <a:pt x="3032" y="1064"/>
                </a:lnTo>
                <a:lnTo>
                  <a:pt x="3039" y="1070"/>
                </a:lnTo>
                <a:lnTo>
                  <a:pt x="3057" y="1073"/>
                </a:lnTo>
                <a:lnTo>
                  <a:pt x="3080" y="1088"/>
                </a:lnTo>
                <a:lnTo>
                  <a:pt x="3092" y="1088"/>
                </a:lnTo>
                <a:lnTo>
                  <a:pt x="3104" y="1097"/>
                </a:lnTo>
                <a:lnTo>
                  <a:pt x="3115" y="1097"/>
                </a:lnTo>
                <a:lnTo>
                  <a:pt x="3119" y="1087"/>
                </a:lnTo>
                <a:lnTo>
                  <a:pt x="3134" y="1100"/>
                </a:lnTo>
                <a:lnTo>
                  <a:pt x="3169" y="1105"/>
                </a:lnTo>
                <a:lnTo>
                  <a:pt x="3189" y="1124"/>
                </a:lnTo>
                <a:lnTo>
                  <a:pt x="3201" y="1136"/>
                </a:lnTo>
                <a:lnTo>
                  <a:pt x="3217" y="1144"/>
                </a:lnTo>
                <a:lnTo>
                  <a:pt x="3232" y="1162"/>
                </a:lnTo>
                <a:lnTo>
                  <a:pt x="3229" y="1185"/>
                </a:lnTo>
                <a:lnTo>
                  <a:pt x="3241" y="1179"/>
                </a:lnTo>
                <a:lnTo>
                  <a:pt x="3243" y="1170"/>
                </a:lnTo>
                <a:lnTo>
                  <a:pt x="3253" y="1168"/>
                </a:lnTo>
                <a:lnTo>
                  <a:pt x="3253" y="1133"/>
                </a:lnTo>
                <a:lnTo>
                  <a:pt x="3243" y="1129"/>
                </a:lnTo>
                <a:lnTo>
                  <a:pt x="3231" y="1135"/>
                </a:lnTo>
                <a:lnTo>
                  <a:pt x="3223" y="1132"/>
                </a:lnTo>
                <a:lnTo>
                  <a:pt x="3205" y="1121"/>
                </a:lnTo>
                <a:lnTo>
                  <a:pt x="3190" y="1115"/>
                </a:lnTo>
                <a:lnTo>
                  <a:pt x="3172" y="1093"/>
                </a:lnTo>
                <a:lnTo>
                  <a:pt x="3170" y="1076"/>
                </a:lnTo>
                <a:lnTo>
                  <a:pt x="3164" y="1070"/>
                </a:lnTo>
                <a:lnTo>
                  <a:pt x="3161" y="1058"/>
                </a:lnTo>
                <a:lnTo>
                  <a:pt x="3152" y="1035"/>
                </a:lnTo>
                <a:lnTo>
                  <a:pt x="3140" y="1032"/>
                </a:lnTo>
                <a:lnTo>
                  <a:pt x="3134" y="1025"/>
                </a:lnTo>
                <a:lnTo>
                  <a:pt x="3113" y="948"/>
                </a:lnTo>
                <a:lnTo>
                  <a:pt x="3160" y="913"/>
                </a:lnTo>
                <a:lnTo>
                  <a:pt x="3163" y="901"/>
                </a:lnTo>
                <a:lnTo>
                  <a:pt x="3181" y="884"/>
                </a:lnTo>
                <a:lnTo>
                  <a:pt x="3211" y="878"/>
                </a:lnTo>
                <a:lnTo>
                  <a:pt x="3259" y="830"/>
                </a:lnTo>
                <a:lnTo>
                  <a:pt x="3256" y="823"/>
                </a:lnTo>
                <a:lnTo>
                  <a:pt x="3268" y="817"/>
                </a:lnTo>
                <a:lnTo>
                  <a:pt x="3271" y="803"/>
                </a:lnTo>
                <a:lnTo>
                  <a:pt x="3285" y="804"/>
                </a:lnTo>
                <a:lnTo>
                  <a:pt x="3294" y="821"/>
                </a:lnTo>
                <a:lnTo>
                  <a:pt x="3315" y="815"/>
                </a:lnTo>
                <a:lnTo>
                  <a:pt x="3327" y="827"/>
                </a:lnTo>
                <a:lnTo>
                  <a:pt x="3335" y="821"/>
                </a:lnTo>
                <a:lnTo>
                  <a:pt x="3341" y="832"/>
                </a:lnTo>
                <a:lnTo>
                  <a:pt x="3362" y="848"/>
                </a:lnTo>
                <a:lnTo>
                  <a:pt x="3338" y="859"/>
                </a:lnTo>
                <a:lnTo>
                  <a:pt x="3341" y="878"/>
                </a:lnTo>
                <a:lnTo>
                  <a:pt x="3347" y="868"/>
                </a:lnTo>
                <a:lnTo>
                  <a:pt x="3368" y="857"/>
                </a:lnTo>
                <a:lnTo>
                  <a:pt x="3382" y="868"/>
                </a:lnTo>
                <a:lnTo>
                  <a:pt x="3377" y="880"/>
                </a:lnTo>
                <a:lnTo>
                  <a:pt x="3389" y="907"/>
                </a:lnTo>
                <a:lnTo>
                  <a:pt x="3410" y="943"/>
                </a:lnTo>
                <a:lnTo>
                  <a:pt x="3416" y="937"/>
                </a:lnTo>
                <a:lnTo>
                  <a:pt x="3395" y="910"/>
                </a:lnTo>
                <a:lnTo>
                  <a:pt x="3398" y="862"/>
                </a:lnTo>
                <a:lnTo>
                  <a:pt x="3388" y="848"/>
                </a:lnTo>
                <a:lnTo>
                  <a:pt x="3394" y="833"/>
                </a:lnTo>
                <a:lnTo>
                  <a:pt x="3403" y="803"/>
                </a:lnTo>
                <a:lnTo>
                  <a:pt x="3412" y="795"/>
                </a:lnTo>
                <a:lnTo>
                  <a:pt x="3415" y="731"/>
                </a:lnTo>
                <a:lnTo>
                  <a:pt x="3394" y="696"/>
                </a:lnTo>
                <a:lnTo>
                  <a:pt x="3386" y="702"/>
                </a:lnTo>
                <a:lnTo>
                  <a:pt x="3370" y="699"/>
                </a:lnTo>
                <a:lnTo>
                  <a:pt x="3371" y="654"/>
                </a:lnTo>
                <a:lnTo>
                  <a:pt x="3385" y="629"/>
                </a:lnTo>
                <a:lnTo>
                  <a:pt x="3386" y="581"/>
                </a:lnTo>
                <a:lnTo>
                  <a:pt x="3394" y="556"/>
                </a:lnTo>
                <a:lnTo>
                  <a:pt x="3389" y="543"/>
                </a:lnTo>
                <a:lnTo>
                  <a:pt x="3395" y="536"/>
                </a:lnTo>
                <a:lnTo>
                  <a:pt x="3388" y="525"/>
                </a:lnTo>
                <a:lnTo>
                  <a:pt x="3392" y="503"/>
                </a:lnTo>
                <a:lnTo>
                  <a:pt x="3382" y="488"/>
                </a:lnTo>
                <a:lnTo>
                  <a:pt x="3370" y="488"/>
                </a:lnTo>
                <a:lnTo>
                  <a:pt x="3326" y="450"/>
                </a:lnTo>
                <a:lnTo>
                  <a:pt x="3324" y="444"/>
                </a:lnTo>
                <a:lnTo>
                  <a:pt x="3348" y="444"/>
                </a:lnTo>
                <a:lnTo>
                  <a:pt x="3386" y="470"/>
                </a:lnTo>
                <a:lnTo>
                  <a:pt x="3431" y="464"/>
                </a:lnTo>
                <a:lnTo>
                  <a:pt x="3463" y="468"/>
                </a:lnTo>
                <a:lnTo>
                  <a:pt x="3501" y="479"/>
                </a:lnTo>
                <a:lnTo>
                  <a:pt x="3502" y="503"/>
                </a:lnTo>
                <a:lnTo>
                  <a:pt x="3516" y="510"/>
                </a:lnTo>
                <a:lnTo>
                  <a:pt x="3519" y="528"/>
                </a:lnTo>
                <a:lnTo>
                  <a:pt x="3535" y="528"/>
                </a:lnTo>
                <a:lnTo>
                  <a:pt x="3541" y="543"/>
                </a:lnTo>
                <a:lnTo>
                  <a:pt x="3537" y="554"/>
                </a:lnTo>
                <a:lnTo>
                  <a:pt x="3549" y="566"/>
                </a:lnTo>
                <a:lnTo>
                  <a:pt x="3551" y="587"/>
                </a:lnTo>
                <a:lnTo>
                  <a:pt x="3531" y="587"/>
                </a:lnTo>
                <a:lnTo>
                  <a:pt x="3522" y="595"/>
                </a:lnTo>
                <a:lnTo>
                  <a:pt x="3510" y="592"/>
                </a:lnTo>
                <a:lnTo>
                  <a:pt x="3499" y="598"/>
                </a:lnTo>
                <a:lnTo>
                  <a:pt x="3480" y="595"/>
                </a:lnTo>
                <a:lnTo>
                  <a:pt x="3472" y="604"/>
                </a:lnTo>
                <a:lnTo>
                  <a:pt x="3462" y="605"/>
                </a:lnTo>
                <a:lnTo>
                  <a:pt x="3462" y="629"/>
                </a:lnTo>
                <a:lnTo>
                  <a:pt x="3443" y="632"/>
                </a:lnTo>
                <a:lnTo>
                  <a:pt x="3448" y="646"/>
                </a:lnTo>
                <a:lnTo>
                  <a:pt x="3442" y="655"/>
                </a:lnTo>
                <a:lnTo>
                  <a:pt x="3456" y="660"/>
                </a:lnTo>
                <a:lnTo>
                  <a:pt x="3475" y="684"/>
                </a:lnTo>
                <a:lnTo>
                  <a:pt x="3480" y="709"/>
                </a:lnTo>
                <a:lnTo>
                  <a:pt x="3490" y="712"/>
                </a:lnTo>
                <a:lnTo>
                  <a:pt x="3499" y="731"/>
                </a:lnTo>
                <a:lnTo>
                  <a:pt x="3508" y="747"/>
                </a:lnTo>
                <a:lnTo>
                  <a:pt x="3543" y="743"/>
                </a:lnTo>
                <a:lnTo>
                  <a:pt x="3541" y="755"/>
                </a:lnTo>
                <a:lnTo>
                  <a:pt x="3546" y="774"/>
                </a:lnTo>
                <a:lnTo>
                  <a:pt x="3551" y="770"/>
                </a:lnTo>
                <a:lnTo>
                  <a:pt x="3557" y="747"/>
                </a:lnTo>
                <a:lnTo>
                  <a:pt x="3578" y="750"/>
                </a:lnTo>
                <a:lnTo>
                  <a:pt x="3581" y="743"/>
                </a:lnTo>
                <a:lnTo>
                  <a:pt x="3596" y="741"/>
                </a:lnTo>
                <a:lnTo>
                  <a:pt x="3609" y="734"/>
                </a:lnTo>
                <a:lnTo>
                  <a:pt x="3617" y="703"/>
                </a:lnTo>
                <a:lnTo>
                  <a:pt x="3612" y="694"/>
                </a:lnTo>
                <a:lnTo>
                  <a:pt x="3623" y="684"/>
                </a:lnTo>
                <a:lnTo>
                  <a:pt x="3615" y="670"/>
                </a:lnTo>
                <a:lnTo>
                  <a:pt x="3627" y="657"/>
                </a:lnTo>
                <a:lnTo>
                  <a:pt x="3629" y="636"/>
                </a:lnTo>
                <a:lnTo>
                  <a:pt x="3635" y="625"/>
                </a:lnTo>
                <a:lnTo>
                  <a:pt x="3644" y="628"/>
                </a:lnTo>
                <a:lnTo>
                  <a:pt x="3652" y="617"/>
                </a:lnTo>
                <a:lnTo>
                  <a:pt x="3674" y="614"/>
                </a:lnTo>
                <a:lnTo>
                  <a:pt x="3677" y="607"/>
                </a:lnTo>
                <a:lnTo>
                  <a:pt x="3689" y="616"/>
                </a:lnTo>
                <a:lnTo>
                  <a:pt x="3691" y="607"/>
                </a:lnTo>
                <a:lnTo>
                  <a:pt x="3682" y="592"/>
                </a:lnTo>
                <a:lnTo>
                  <a:pt x="3683" y="584"/>
                </a:lnTo>
                <a:lnTo>
                  <a:pt x="3698" y="586"/>
                </a:lnTo>
                <a:lnTo>
                  <a:pt x="3772" y="531"/>
                </a:lnTo>
                <a:lnTo>
                  <a:pt x="3781" y="530"/>
                </a:lnTo>
                <a:lnTo>
                  <a:pt x="3781" y="521"/>
                </a:lnTo>
                <a:lnTo>
                  <a:pt x="3842" y="485"/>
                </a:lnTo>
                <a:lnTo>
                  <a:pt x="3869" y="479"/>
                </a:lnTo>
                <a:lnTo>
                  <a:pt x="3863" y="471"/>
                </a:lnTo>
                <a:lnTo>
                  <a:pt x="3896" y="465"/>
                </a:lnTo>
                <a:lnTo>
                  <a:pt x="3906" y="473"/>
                </a:lnTo>
                <a:lnTo>
                  <a:pt x="3905" y="483"/>
                </a:lnTo>
                <a:lnTo>
                  <a:pt x="3917" y="492"/>
                </a:lnTo>
                <a:lnTo>
                  <a:pt x="3932" y="471"/>
                </a:lnTo>
                <a:lnTo>
                  <a:pt x="3925" y="465"/>
                </a:lnTo>
                <a:lnTo>
                  <a:pt x="3928" y="451"/>
                </a:lnTo>
                <a:lnTo>
                  <a:pt x="3913" y="454"/>
                </a:lnTo>
                <a:lnTo>
                  <a:pt x="3908" y="451"/>
                </a:lnTo>
                <a:lnTo>
                  <a:pt x="3947" y="420"/>
                </a:lnTo>
                <a:lnTo>
                  <a:pt x="3941" y="435"/>
                </a:lnTo>
                <a:lnTo>
                  <a:pt x="3952" y="435"/>
                </a:lnTo>
                <a:lnTo>
                  <a:pt x="3952" y="454"/>
                </a:lnTo>
                <a:lnTo>
                  <a:pt x="3974" y="450"/>
                </a:lnTo>
                <a:lnTo>
                  <a:pt x="3973" y="433"/>
                </a:lnTo>
                <a:lnTo>
                  <a:pt x="3976" y="427"/>
                </a:lnTo>
                <a:lnTo>
                  <a:pt x="3965" y="414"/>
                </a:lnTo>
                <a:lnTo>
                  <a:pt x="3977" y="414"/>
                </a:lnTo>
                <a:lnTo>
                  <a:pt x="3977" y="403"/>
                </a:lnTo>
                <a:lnTo>
                  <a:pt x="4002" y="388"/>
                </a:lnTo>
                <a:lnTo>
                  <a:pt x="4039" y="385"/>
                </a:lnTo>
                <a:lnTo>
                  <a:pt x="4045" y="384"/>
                </a:lnTo>
                <a:lnTo>
                  <a:pt x="4048" y="390"/>
                </a:lnTo>
                <a:lnTo>
                  <a:pt x="4041" y="388"/>
                </a:lnTo>
                <a:lnTo>
                  <a:pt x="4020" y="394"/>
                </a:lnTo>
                <a:lnTo>
                  <a:pt x="4002" y="393"/>
                </a:lnTo>
                <a:lnTo>
                  <a:pt x="3994" y="402"/>
                </a:lnTo>
                <a:lnTo>
                  <a:pt x="4000" y="415"/>
                </a:lnTo>
                <a:lnTo>
                  <a:pt x="4005" y="415"/>
                </a:lnTo>
                <a:lnTo>
                  <a:pt x="4008" y="409"/>
                </a:lnTo>
                <a:lnTo>
                  <a:pt x="4017" y="414"/>
                </a:lnTo>
                <a:lnTo>
                  <a:pt x="4011" y="417"/>
                </a:lnTo>
                <a:lnTo>
                  <a:pt x="4012" y="423"/>
                </a:lnTo>
                <a:lnTo>
                  <a:pt x="4018" y="442"/>
                </a:lnTo>
                <a:lnTo>
                  <a:pt x="4006" y="451"/>
                </a:lnTo>
                <a:lnTo>
                  <a:pt x="4005" y="462"/>
                </a:lnTo>
                <a:lnTo>
                  <a:pt x="4012" y="465"/>
                </a:lnTo>
                <a:lnTo>
                  <a:pt x="4011" y="477"/>
                </a:lnTo>
                <a:lnTo>
                  <a:pt x="4021" y="485"/>
                </a:lnTo>
                <a:lnTo>
                  <a:pt x="4006" y="489"/>
                </a:lnTo>
                <a:lnTo>
                  <a:pt x="3997" y="482"/>
                </a:lnTo>
                <a:lnTo>
                  <a:pt x="3989" y="492"/>
                </a:lnTo>
                <a:lnTo>
                  <a:pt x="3973" y="495"/>
                </a:lnTo>
                <a:lnTo>
                  <a:pt x="3971" y="506"/>
                </a:lnTo>
                <a:lnTo>
                  <a:pt x="3965" y="513"/>
                </a:lnTo>
                <a:lnTo>
                  <a:pt x="3971" y="522"/>
                </a:lnTo>
                <a:lnTo>
                  <a:pt x="3962" y="524"/>
                </a:lnTo>
                <a:lnTo>
                  <a:pt x="3952" y="533"/>
                </a:lnTo>
                <a:lnTo>
                  <a:pt x="3955" y="545"/>
                </a:lnTo>
                <a:lnTo>
                  <a:pt x="3928" y="572"/>
                </a:lnTo>
                <a:lnTo>
                  <a:pt x="3925" y="581"/>
                </a:lnTo>
                <a:lnTo>
                  <a:pt x="3941" y="583"/>
                </a:lnTo>
                <a:lnTo>
                  <a:pt x="3932" y="590"/>
                </a:lnTo>
                <a:lnTo>
                  <a:pt x="3929" y="607"/>
                </a:lnTo>
                <a:lnTo>
                  <a:pt x="3900" y="626"/>
                </a:lnTo>
                <a:lnTo>
                  <a:pt x="3890" y="661"/>
                </a:lnTo>
                <a:lnTo>
                  <a:pt x="3897" y="679"/>
                </a:lnTo>
                <a:lnTo>
                  <a:pt x="3894" y="684"/>
                </a:lnTo>
                <a:lnTo>
                  <a:pt x="3905" y="697"/>
                </a:lnTo>
                <a:lnTo>
                  <a:pt x="3905" y="697"/>
                </a:lnTo>
                <a:lnTo>
                  <a:pt x="3905" y="723"/>
                </a:lnTo>
                <a:lnTo>
                  <a:pt x="3911" y="731"/>
                </a:lnTo>
                <a:lnTo>
                  <a:pt x="3913" y="777"/>
                </a:lnTo>
                <a:lnTo>
                  <a:pt x="3913" y="777"/>
                </a:lnTo>
                <a:lnTo>
                  <a:pt x="3914" y="829"/>
                </a:lnTo>
                <a:lnTo>
                  <a:pt x="3914" y="829"/>
                </a:lnTo>
                <a:lnTo>
                  <a:pt x="3919" y="842"/>
                </a:lnTo>
                <a:lnTo>
                  <a:pt x="3922" y="853"/>
                </a:lnTo>
                <a:lnTo>
                  <a:pt x="3922" y="838"/>
                </a:lnTo>
                <a:lnTo>
                  <a:pt x="3919" y="804"/>
                </a:lnTo>
                <a:lnTo>
                  <a:pt x="3917" y="780"/>
                </a:lnTo>
                <a:lnTo>
                  <a:pt x="3913" y="743"/>
                </a:lnTo>
                <a:lnTo>
                  <a:pt x="3917" y="720"/>
                </a:lnTo>
                <a:lnTo>
                  <a:pt x="3916" y="702"/>
                </a:lnTo>
                <a:lnTo>
                  <a:pt x="3908" y="685"/>
                </a:lnTo>
                <a:lnTo>
                  <a:pt x="3902" y="663"/>
                </a:lnTo>
                <a:lnTo>
                  <a:pt x="3911" y="632"/>
                </a:lnTo>
                <a:lnTo>
                  <a:pt x="3946" y="619"/>
                </a:lnTo>
                <a:lnTo>
                  <a:pt x="3950" y="608"/>
                </a:lnTo>
                <a:lnTo>
                  <a:pt x="3962" y="596"/>
                </a:lnTo>
                <a:lnTo>
                  <a:pt x="3974" y="605"/>
                </a:lnTo>
                <a:lnTo>
                  <a:pt x="4009" y="556"/>
                </a:lnTo>
                <a:lnTo>
                  <a:pt x="4003" y="556"/>
                </a:lnTo>
                <a:lnTo>
                  <a:pt x="4000" y="551"/>
                </a:lnTo>
                <a:lnTo>
                  <a:pt x="4029" y="504"/>
                </a:lnTo>
                <a:lnTo>
                  <a:pt x="4038" y="512"/>
                </a:lnTo>
                <a:lnTo>
                  <a:pt x="4047" y="504"/>
                </a:lnTo>
                <a:lnTo>
                  <a:pt x="4047" y="504"/>
                </a:lnTo>
                <a:lnTo>
                  <a:pt x="4054" y="521"/>
                </a:lnTo>
                <a:lnTo>
                  <a:pt x="4054" y="521"/>
                </a:lnTo>
                <a:lnTo>
                  <a:pt x="4062" y="527"/>
                </a:lnTo>
                <a:lnTo>
                  <a:pt x="4075" y="519"/>
                </a:lnTo>
                <a:lnTo>
                  <a:pt x="4081" y="479"/>
                </a:lnTo>
                <a:lnTo>
                  <a:pt x="4107" y="456"/>
                </a:lnTo>
                <a:lnTo>
                  <a:pt x="4118" y="457"/>
                </a:lnTo>
                <a:lnTo>
                  <a:pt x="4145" y="441"/>
                </a:lnTo>
                <a:lnTo>
                  <a:pt x="4157" y="448"/>
                </a:lnTo>
                <a:lnTo>
                  <a:pt x="4186" y="445"/>
                </a:lnTo>
                <a:lnTo>
                  <a:pt x="4201" y="453"/>
                </a:lnTo>
                <a:lnTo>
                  <a:pt x="4208" y="451"/>
                </a:lnTo>
                <a:lnTo>
                  <a:pt x="4219" y="467"/>
                </a:lnTo>
                <a:lnTo>
                  <a:pt x="4244" y="448"/>
                </a:lnTo>
                <a:lnTo>
                  <a:pt x="4243" y="421"/>
                </a:lnTo>
                <a:lnTo>
                  <a:pt x="4235" y="421"/>
                </a:lnTo>
                <a:lnTo>
                  <a:pt x="4234" y="420"/>
                </a:lnTo>
                <a:lnTo>
                  <a:pt x="4252" y="409"/>
                </a:lnTo>
                <a:lnTo>
                  <a:pt x="4265" y="421"/>
                </a:lnTo>
                <a:lnTo>
                  <a:pt x="4272" y="403"/>
                </a:lnTo>
                <a:lnTo>
                  <a:pt x="4287" y="402"/>
                </a:lnTo>
                <a:lnTo>
                  <a:pt x="4293" y="415"/>
                </a:lnTo>
                <a:lnTo>
                  <a:pt x="4273" y="424"/>
                </a:lnTo>
                <a:lnTo>
                  <a:pt x="4288" y="430"/>
                </a:lnTo>
                <a:lnTo>
                  <a:pt x="4300" y="418"/>
                </a:lnTo>
                <a:lnTo>
                  <a:pt x="4291" y="402"/>
                </a:lnTo>
                <a:lnTo>
                  <a:pt x="4293" y="393"/>
                </a:lnTo>
                <a:lnTo>
                  <a:pt x="4324" y="376"/>
                </a:lnTo>
                <a:lnTo>
                  <a:pt x="4338" y="382"/>
                </a:lnTo>
                <a:lnTo>
                  <a:pt x="4332" y="391"/>
                </a:lnTo>
                <a:lnTo>
                  <a:pt x="4360" y="421"/>
                </a:lnTo>
                <a:lnTo>
                  <a:pt x="4357" y="429"/>
                </a:lnTo>
                <a:lnTo>
                  <a:pt x="4347" y="430"/>
                </a:lnTo>
                <a:lnTo>
                  <a:pt x="4345" y="444"/>
                </a:lnTo>
                <a:lnTo>
                  <a:pt x="4336" y="442"/>
                </a:lnTo>
                <a:lnTo>
                  <a:pt x="4341" y="453"/>
                </a:lnTo>
                <a:lnTo>
                  <a:pt x="4344" y="482"/>
                </a:lnTo>
                <a:lnTo>
                  <a:pt x="4371" y="492"/>
                </a:lnTo>
                <a:lnTo>
                  <a:pt x="4395" y="468"/>
                </a:lnTo>
                <a:lnTo>
                  <a:pt x="4394" y="456"/>
                </a:lnTo>
                <a:lnTo>
                  <a:pt x="4386" y="444"/>
                </a:lnTo>
                <a:lnTo>
                  <a:pt x="4391" y="424"/>
                </a:lnTo>
                <a:lnTo>
                  <a:pt x="4406" y="429"/>
                </a:lnTo>
                <a:lnTo>
                  <a:pt x="4416" y="426"/>
                </a:lnTo>
                <a:lnTo>
                  <a:pt x="4427" y="427"/>
                </a:lnTo>
                <a:lnTo>
                  <a:pt x="4453" y="390"/>
                </a:lnTo>
                <a:lnTo>
                  <a:pt x="4454" y="367"/>
                </a:lnTo>
                <a:lnTo>
                  <a:pt x="4462" y="362"/>
                </a:lnTo>
                <a:lnTo>
                  <a:pt x="4460" y="350"/>
                </a:lnTo>
                <a:lnTo>
                  <a:pt x="4453" y="344"/>
                </a:lnTo>
                <a:lnTo>
                  <a:pt x="4449" y="358"/>
                </a:lnTo>
                <a:lnTo>
                  <a:pt x="4440" y="349"/>
                </a:lnTo>
                <a:lnTo>
                  <a:pt x="4442" y="331"/>
                </a:lnTo>
                <a:lnTo>
                  <a:pt x="4413" y="267"/>
                </a:lnTo>
                <a:lnTo>
                  <a:pt x="4440" y="258"/>
                </a:lnTo>
                <a:lnTo>
                  <a:pt x="4454" y="282"/>
                </a:lnTo>
                <a:lnTo>
                  <a:pt x="4456" y="276"/>
                </a:lnTo>
                <a:lnTo>
                  <a:pt x="4442" y="254"/>
                </a:lnTo>
                <a:lnTo>
                  <a:pt x="4451" y="243"/>
                </a:lnTo>
                <a:lnTo>
                  <a:pt x="4451" y="222"/>
                </a:lnTo>
                <a:lnTo>
                  <a:pt x="4489" y="233"/>
                </a:lnTo>
                <a:lnTo>
                  <a:pt x="4492" y="237"/>
                </a:lnTo>
                <a:lnTo>
                  <a:pt x="4545" y="245"/>
                </a:lnTo>
                <a:lnTo>
                  <a:pt x="4576" y="245"/>
                </a:lnTo>
                <a:lnTo>
                  <a:pt x="4590" y="260"/>
                </a:lnTo>
                <a:lnTo>
                  <a:pt x="4597" y="255"/>
                </a:lnTo>
                <a:lnTo>
                  <a:pt x="4629" y="263"/>
                </a:lnTo>
                <a:lnTo>
                  <a:pt x="4646" y="276"/>
                </a:lnTo>
                <a:lnTo>
                  <a:pt x="4661" y="276"/>
                </a:lnTo>
                <a:lnTo>
                  <a:pt x="4677" y="302"/>
                </a:lnTo>
                <a:lnTo>
                  <a:pt x="4700" y="313"/>
                </a:lnTo>
                <a:lnTo>
                  <a:pt x="4712" y="317"/>
                </a:lnTo>
                <a:lnTo>
                  <a:pt x="4718" y="326"/>
                </a:lnTo>
                <a:lnTo>
                  <a:pt x="4710" y="329"/>
                </a:lnTo>
                <a:lnTo>
                  <a:pt x="4719" y="338"/>
                </a:lnTo>
                <a:lnTo>
                  <a:pt x="4732" y="329"/>
                </a:lnTo>
                <a:lnTo>
                  <a:pt x="4739" y="340"/>
                </a:lnTo>
                <a:lnTo>
                  <a:pt x="4786" y="340"/>
                </a:lnTo>
                <a:lnTo>
                  <a:pt x="4786" y="346"/>
                </a:lnTo>
                <a:lnTo>
                  <a:pt x="4778" y="353"/>
                </a:lnTo>
                <a:lnTo>
                  <a:pt x="4798" y="364"/>
                </a:lnTo>
                <a:lnTo>
                  <a:pt x="4808" y="376"/>
                </a:lnTo>
                <a:lnTo>
                  <a:pt x="4830" y="387"/>
                </a:lnTo>
                <a:lnTo>
                  <a:pt x="4831" y="782"/>
                </a:lnTo>
                <a:lnTo>
                  <a:pt x="4828" y="791"/>
                </a:lnTo>
                <a:lnTo>
                  <a:pt x="4787" y="836"/>
                </a:lnTo>
                <a:lnTo>
                  <a:pt x="4821" y="818"/>
                </a:lnTo>
                <a:lnTo>
                  <a:pt x="4830" y="798"/>
                </a:lnTo>
                <a:lnTo>
                  <a:pt x="4831" y="4522"/>
                </a:lnTo>
                <a:lnTo>
                  <a:pt x="3808" y="4523"/>
                </a:lnTo>
                <a:lnTo>
                  <a:pt x="3795" y="4517"/>
                </a:lnTo>
                <a:lnTo>
                  <a:pt x="3787" y="4487"/>
                </a:lnTo>
                <a:lnTo>
                  <a:pt x="3769" y="4484"/>
                </a:lnTo>
                <a:lnTo>
                  <a:pt x="3757" y="4490"/>
                </a:lnTo>
                <a:lnTo>
                  <a:pt x="3744" y="4487"/>
                </a:lnTo>
                <a:lnTo>
                  <a:pt x="3741" y="4480"/>
                </a:lnTo>
                <a:lnTo>
                  <a:pt x="3733" y="4480"/>
                </a:lnTo>
                <a:lnTo>
                  <a:pt x="3727" y="4471"/>
                </a:lnTo>
                <a:lnTo>
                  <a:pt x="3725" y="4451"/>
                </a:lnTo>
                <a:lnTo>
                  <a:pt x="3706" y="4447"/>
                </a:lnTo>
                <a:lnTo>
                  <a:pt x="3701" y="4451"/>
                </a:lnTo>
                <a:lnTo>
                  <a:pt x="3712" y="4459"/>
                </a:lnTo>
                <a:lnTo>
                  <a:pt x="3703" y="4465"/>
                </a:lnTo>
                <a:lnTo>
                  <a:pt x="3704" y="4477"/>
                </a:lnTo>
                <a:lnTo>
                  <a:pt x="3695" y="4475"/>
                </a:lnTo>
                <a:lnTo>
                  <a:pt x="3695" y="4483"/>
                </a:lnTo>
                <a:lnTo>
                  <a:pt x="3685" y="4484"/>
                </a:lnTo>
                <a:lnTo>
                  <a:pt x="3688" y="4492"/>
                </a:lnTo>
                <a:lnTo>
                  <a:pt x="3682" y="4498"/>
                </a:lnTo>
                <a:lnTo>
                  <a:pt x="3667" y="4487"/>
                </a:lnTo>
                <a:lnTo>
                  <a:pt x="3652" y="4490"/>
                </a:lnTo>
                <a:lnTo>
                  <a:pt x="3655" y="4498"/>
                </a:lnTo>
                <a:lnTo>
                  <a:pt x="3673" y="4505"/>
                </a:lnTo>
                <a:lnTo>
                  <a:pt x="3673" y="4516"/>
                </a:lnTo>
                <a:lnTo>
                  <a:pt x="3661" y="4522"/>
                </a:lnTo>
                <a:lnTo>
                  <a:pt x="2686" y="4522"/>
                </a:lnTo>
                <a:lnTo>
                  <a:pt x="2686" y="452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/>
          </a:p>
        </p:txBody>
      </p:sp>
      <p:pic>
        <p:nvPicPr>
          <p:cNvPr id="637" name="Graphic 636">
            <a:extLst>
              <a:ext uri="{FF2B5EF4-FFF2-40B4-BE49-F238E27FC236}">
                <a16:creationId xmlns:a16="http://schemas.microsoft.com/office/drawing/2014/main" id="{0F0D5F07-4B43-4F07-9255-F218DBA31B3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752600" y="6339508"/>
            <a:ext cx="1080000" cy="3410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37489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ootprin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27089" y="1208078"/>
            <a:ext cx="10741024" cy="307777"/>
          </a:xfrm>
        </p:spPr>
        <p:txBody>
          <a:bodyPr>
            <a:sp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2pPr>
            <a:lvl3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5pPr>
            <a:lvl6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6pPr>
            <a:lvl7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7pPr>
            <a:lvl8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8pPr>
            <a:lvl9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9pPr>
          </a:lstStyle>
          <a:p>
            <a:r>
              <a:rPr lang="da-DK" err="1"/>
              <a:t>Enter</a:t>
            </a:r>
            <a:r>
              <a:rPr lang="da-DK"/>
              <a:t> </a:t>
            </a:r>
            <a:r>
              <a:rPr lang="da-DK" err="1"/>
              <a:t>subtitle</a:t>
            </a:r>
            <a:endParaRPr lang="da-DK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 err="1"/>
              <a:t>Enter</a:t>
            </a:r>
            <a:r>
              <a:rPr lang="da-DK"/>
              <a:t> </a:t>
            </a:r>
            <a:r>
              <a:rPr lang="da-DK" err="1"/>
              <a:t>title</a:t>
            </a:r>
            <a:endParaRPr lang="da-DK"/>
          </a:p>
        </p:txBody>
      </p:sp>
      <p:grpSp>
        <p:nvGrpSpPr>
          <p:cNvPr id="642" name="Group 4"/>
          <p:cNvGrpSpPr>
            <a:grpSpLocks noChangeAspect="1"/>
          </p:cNvGrpSpPr>
          <p:nvPr userDrawn="1"/>
        </p:nvGrpSpPr>
        <p:grpSpPr bwMode="auto">
          <a:xfrm>
            <a:off x="1200464" y="1515855"/>
            <a:ext cx="9474625" cy="5308541"/>
            <a:chOff x="439" y="672"/>
            <a:chExt cx="6336" cy="3550"/>
          </a:xfrm>
        </p:grpSpPr>
        <p:sp>
          <p:nvSpPr>
            <p:cNvPr id="643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439" y="672"/>
              <a:ext cx="6336" cy="3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grpSp>
          <p:nvGrpSpPr>
            <p:cNvPr id="688" name="Group 205"/>
            <p:cNvGrpSpPr>
              <a:grpSpLocks/>
            </p:cNvGrpSpPr>
            <p:nvPr userDrawn="1"/>
          </p:nvGrpSpPr>
          <p:grpSpPr bwMode="auto">
            <a:xfrm>
              <a:off x="439" y="923"/>
              <a:ext cx="6335" cy="3299"/>
              <a:chOff x="439" y="923"/>
              <a:chExt cx="6335" cy="3299"/>
            </a:xfrm>
          </p:grpSpPr>
          <p:sp>
            <p:nvSpPr>
              <p:cNvPr id="2003" name="Freeform 5"/>
              <p:cNvSpPr>
                <a:spLocks noEditPoints="1"/>
              </p:cNvSpPr>
              <p:nvPr userDrawn="1"/>
            </p:nvSpPr>
            <p:spPr bwMode="auto">
              <a:xfrm>
                <a:off x="439" y="957"/>
                <a:ext cx="988" cy="727"/>
              </a:xfrm>
              <a:custGeom>
                <a:avLst/>
                <a:gdLst>
                  <a:gd name="T0" fmla="*/ 905 w 1034"/>
                  <a:gd name="T1" fmla="*/ 612 h 761"/>
                  <a:gd name="T2" fmla="*/ 1017 w 1034"/>
                  <a:gd name="T3" fmla="*/ 128 h 761"/>
                  <a:gd name="T4" fmla="*/ 951 w 1034"/>
                  <a:gd name="T5" fmla="*/ 97 h 761"/>
                  <a:gd name="T6" fmla="*/ 907 w 1034"/>
                  <a:gd name="T7" fmla="*/ 46 h 761"/>
                  <a:gd name="T8" fmla="*/ 858 w 1034"/>
                  <a:gd name="T9" fmla="*/ 29 h 761"/>
                  <a:gd name="T10" fmla="*/ 811 w 1034"/>
                  <a:gd name="T11" fmla="*/ 9 h 761"/>
                  <a:gd name="T12" fmla="*/ 727 w 1034"/>
                  <a:gd name="T13" fmla="*/ 39 h 761"/>
                  <a:gd name="T14" fmla="*/ 632 w 1034"/>
                  <a:gd name="T15" fmla="*/ 167 h 761"/>
                  <a:gd name="T16" fmla="*/ 618 w 1034"/>
                  <a:gd name="T17" fmla="*/ 205 h 761"/>
                  <a:gd name="T18" fmla="*/ 586 w 1034"/>
                  <a:gd name="T19" fmla="*/ 182 h 761"/>
                  <a:gd name="T20" fmla="*/ 520 w 1034"/>
                  <a:gd name="T21" fmla="*/ 232 h 761"/>
                  <a:gd name="T22" fmla="*/ 551 w 1034"/>
                  <a:gd name="T23" fmla="*/ 275 h 761"/>
                  <a:gd name="T24" fmla="*/ 563 w 1034"/>
                  <a:gd name="T25" fmla="*/ 324 h 761"/>
                  <a:gd name="T26" fmla="*/ 452 w 1034"/>
                  <a:gd name="T27" fmla="*/ 361 h 761"/>
                  <a:gd name="T28" fmla="*/ 453 w 1034"/>
                  <a:gd name="T29" fmla="*/ 409 h 761"/>
                  <a:gd name="T30" fmla="*/ 437 w 1034"/>
                  <a:gd name="T31" fmla="*/ 467 h 761"/>
                  <a:gd name="T32" fmla="*/ 450 w 1034"/>
                  <a:gd name="T33" fmla="*/ 504 h 761"/>
                  <a:gd name="T34" fmla="*/ 486 w 1034"/>
                  <a:gd name="T35" fmla="*/ 524 h 761"/>
                  <a:gd name="T36" fmla="*/ 478 w 1034"/>
                  <a:gd name="T37" fmla="*/ 575 h 761"/>
                  <a:gd name="T38" fmla="*/ 389 w 1034"/>
                  <a:gd name="T39" fmla="*/ 623 h 761"/>
                  <a:gd name="T40" fmla="*/ 367 w 1034"/>
                  <a:gd name="T41" fmla="*/ 649 h 761"/>
                  <a:gd name="T42" fmla="*/ 423 w 1034"/>
                  <a:gd name="T43" fmla="*/ 633 h 761"/>
                  <a:gd name="T44" fmla="*/ 479 w 1034"/>
                  <a:gd name="T45" fmla="*/ 606 h 761"/>
                  <a:gd name="T46" fmla="*/ 551 w 1034"/>
                  <a:gd name="T47" fmla="*/ 565 h 761"/>
                  <a:gd name="T48" fmla="*/ 599 w 1034"/>
                  <a:gd name="T49" fmla="*/ 515 h 761"/>
                  <a:gd name="T50" fmla="*/ 691 w 1034"/>
                  <a:gd name="T51" fmla="*/ 460 h 761"/>
                  <a:gd name="T52" fmla="*/ 622 w 1034"/>
                  <a:gd name="T53" fmla="*/ 529 h 761"/>
                  <a:gd name="T54" fmla="*/ 669 w 1034"/>
                  <a:gd name="T55" fmla="*/ 520 h 761"/>
                  <a:gd name="T56" fmla="*/ 713 w 1034"/>
                  <a:gd name="T57" fmla="*/ 495 h 761"/>
                  <a:gd name="T58" fmla="*/ 733 w 1034"/>
                  <a:gd name="T59" fmla="*/ 512 h 761"/>
                  <a:gd name="T60" fmla="*/ 798 w 1034"/>
                  <a:gd name="T61" fmla="*/ 548 h 761"/>
                  <a:gd name="T62" fmla="*/ 844 w 1034"/>
                  <a:gd name="T63" fmla="*/ 581 h 761"/>
                  <a:gd name="T64" fmla="*/ 864 w 1034"/>
                  <a:gd name="T65" fmla="*/ 600 h 761"/>
                  <a:gd name="T66" fmla="*/ 891 w 1034"/>
                  <a:gd name="T67" fmla="*/ 608 h 761"/>
                  <a:gd name="T68" fmla="*/ 896 w 1034"/>
                  <a:gd name="T69" fmla="*/ 675 h 761"/>
                  <a:gd name="T70" fmla="*/ 915 w 1034"/>
                  <a:gd name="T71" fmla="*/ 721 h 761"/>
                  <a:gd name="T72" fmla="*/ 876 w 1034"/>
                  <a:gd name="T73" fmla="*/ 746 h 761"/>
                  <a:gd name="T74" fmla="*/ 866 w 1034"/>
                  <a:gd name="T75" fmla="*/ 747 h 761"/>
                  <a:gd name="T76" fmla="*/ 875 w 1034"/>
                  <a:gd name="T77" fmla="*/ 713 h 761"/>
                  <a:gd name="T78" fmla="*/ 880 w 1034"/>
                  <a:gd name="T79" fmla="*/ 757 h 761"/>
                  <a:gd name="T80" fmla="*/ 897 w 1034"/>
                  <a:gd name="T81" fmla="*/ 718 h 761"/>
                  <a:gd name="T82" fmla="*/ 892 w 1034"/>
                  <a:gd name="T83" fmla="*/ 693 h 761"/>
                  <a:gd name="T84" fmla="*/ 871 w 1034"/>
                  <a:gd name="T85" fmla="*/ 697 h 761"/>
                  <a:gd name="T86" fmla="*/ 863 w 1034"/>
                  <a:gd name="T87" fmla="*/ 669 h 761"/>
                  <a:gd name="T88" fmla="*/ 885 w 1034"/>
                  <a:gd name="T89" fmla="*/ 666 h 761"/>
                  <a:gd name="T90" fmla="*/ 854 w 1034"/>
                  <a:gd name="T91" fmla="*/ 657 h 761"/>
                  <a:gd name="T92" fmla="*/ 478 w 1034"/>
                  <a:gd name="T93" fmla="*/ 345 h 761"/>
                  <a:gd name="T94" fmla="*/ 751 w 1034"/>
                  <a:gd name="T95" fmla="*/ 537 h 761"/>
                  <a:gd name="T96" fmla="*/ 693 w 1034"/>
                  <a:gd name="T97" fmla="*/ 532 h 761"/>
                  <a:gd name="T98" fmla="*/ 391 w 1034"/>
                  <a:gd name="T99" fmla="*/ 285 h 761"/>
                  <a:gd name="T100" fmla="*/ 397 w 1034"/>
                  <a:gd name="T101" fmla="*/ 436 h 761"/>
                  <a:gd name="T102" fmla="*/ 581 w 1034"/>
                  <a:gd name="T103" fmla="*/ 559 h 761"/>
                  <a:gd name="T104" fmla="*/ 552 w 1034"/>
                  <a:gd name="T105" fmla="*/ 583 h 761"/>
                  <a:gd name="T106" fmla="*/ 562 w 1034"/>
                  <a:gd name="T107" fmla="*/ 592 h 761"/>
                  <a:gd name="T108" fmla="*/ 524 w 1034"/>
                  <a:gd name="T109" fmla="*/ 622 h 761"/>
                  <a:gd name="T110" fmla="*/ 403 w 1034"/>
                  <a:gd name="T111" fmla="*/ 655 h 761"/>
                  <a:gd name="T112" fmla="*/ 12 w 1034"/>
                  <a:gd name="T113" fmla="*/ 719 h 761"/>
                  <a:gd name="T114" fmla="*/ 96 w 1034"/>
                  <a:gd name="T115" fmla="*/ 719 h 761"/>
                  <a:gd name="T116" fmla="*/ 181 w 1034"/>
                  <a:gd name="T117" fmla="*/ 711 h 761"/>
                  <a:gd name="T118" fmla="*/ 259 w 1034"/>
                  <a:gd name="T119" fmla="*/ 686 h 761"/>
                  <a:gd name="T120" fmla="*/ 297 w 1034"/>
                  <a:gd name="T121" fmla="*/ 678 h 761"/>
                  <a:gd name="T122" fmla="*/ 313 w 1034"/>
                  <a:gd name="T123" fmla="*/ 655 h 7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034" h="761">
                    <a:moveTo>
                      <a:pt x="931" y="727"/>
                    </a:moveTo>
                    <a:cubicBezTo>
                      <a:pt x="932" y="726"/>
                      <a:pt x="932" y="726"/>
                      <a:pt x="932" y="726"/>
                    </a:cubicBezTo>
                    <a:cubicBezTo>
                      <a:pt x="932" y="723"/>
                      <a:pt x="932" y="723"/>
                      <a:pt x="932" y="723"/>
                    </a:cubicBezTo>
                    <a:cubicBezTo>
                      <a:pt x="933" y="723"/>
                      <a:pt x="933" y="723"/>
                      <a:pt x="933" y="723"/>
                    </a:cubicBezTo>
                    <a:cubicBezTo>
                      <a:pt x="933" y="721"/>
                      <a:pt x="933" y="721"/>
                      <a:pt x="933" y="721"/>
                    </a:cubicBezTo>
                    <a:cubicBezTo>
                      <a:pt x="934" y="720"/>
                      <a:pt x="934" y="720"/>
                      <a:pt x="934" y="720"/>
                    </a:cubicBezTo>
                    <a:cubicBezTo>
                      <a:pt x="933" y="718"/>
                      <a:pt x="933" y="718"/>
                      <a:pt x="933" y="718"/>
                    </a:cubicBezTo>
                    <a:cubicBezTo>
                      <a:pt x="931" y="717"/>
                      <a:pt x="931" y="717"/>
                      <a:pt x="931" y="717"/>
                    </a:cubicBezTo>
                    <a:cubicBezTo>
                      <a:pt x="931" y="713"/>
                      <a:pt x="931" y="713"/>
                      <a:pt x="931" y="713"/>
                    </a:cubicBezTo>
                    <a:cubicBezTo>
                      <a:pt x="929" y="709"/>
                      <a:pt x="929" y="709"/>
                      <a:pt x="929" y="709"/>
                    </a:cubicBezTo>
                    <a:cubicBezTo>
                      <a:pt x="925" y="707"/>
                      <a:pt x="925" y="707"/>
                      <a:pt x="925" y="707"/>
                    </a:cubicBezTo>
                    <a:cubicBezTo>
                      <a:pt x="922" y="705"/>
                      <a:pt x="922" y="705"/>
                      <a:pt x="922" y="705"/>
                    </a:cubicBezTo>
                    <a:cubicBezTo>
                      <a:pt x="921" y="702"/>
                      <a:pt x="921" y="702"/>
                      <a:pt x="921" y="702"/>
                    </a:cubicBezTo>
                    <a:cubicBezTo>
                      <a:pt x="918" y="698"/>
                      <a:pt x="918" y="698"/>
                      <a:pt x="918" y="698"/>
                    </a:cubicBezTo>
                    <a:cubicBezTo>
                      <a:pt x="915" y="697"/>
                      <a:pt x="915" y="697"/>
                      <a:pt x="915" y="697"/>
                    </a:cubicBezTo>
                    <a:cubicBezTo>
                      <a:pt x="912" y="697"/>
                      <a:pt x="912" y="697"/>
                      <a:pt x="912" y="697"/>
                    </a:cubicBezTo>
                    <a:cubicBezTo>
                      <a:pt x="912" y="695"/>
                      <a:pt x="912" y="695"/>
                      <a:pt x="912" y="695"/>
                    </a:cubicBezTo>
                    <a:cubicBezTo>
                      <a:pt x="913" y="693"/>
                      <a:pt x="913" y="693"/>
                      <a:pt x="913" y="693"/>
                    </a:cubicBezTo>
                    <a:cubicBezTo>
                      <a:pt x="912" y="691"/>
                      <a:pt x="912" y="691"/>
                      <a:pt x="912" y="691"/>
                    </a:cubicBezTo>
                    <a:cubicBezTo>
                      <a:pt x="911" y="689"/>
                      <a:pt x="911" y="689"/>
                      <a:pt x="911" y="689"/>
                    </a:cubicBezTo>
                    <a:cubicBezTo>
                      <a:pt x="910" y="687"/>
                      <a:pt x="910" y="687"/>
                      <a:pt x="910" y="687"/>
                    </a:cubicBezTo>
                    <a:cubicBezTo>
                      <a:pt x="912" y="685"/>
                      <a:pt x="912" y="685"/>
                      <a:pt x="912" y="685"/>
                    </a:cubicBezTo>
                    <a:cubicBezTo>
                      <a:pt x="913" y="685"/>
                      <a:pt x="913" y="685"/>
                      <a:pt x="913" y="685"/>
                    </a:cubicBezTo>
                    <a:cubicBezTo>
                      <a:pt x="913" y="683"/>
                      <a:pt x="913" y="683"/>
                      <a:pt x="913" y="683"/>
                    </a:cubicBezTo>
                    <a:cubicBezTo>
                      <a:pt x="911" y="682"/>
                      <a:pt x="911" y="682"/>
                      <a:pt x="911" y="682"/>
                    </a:cubicBezTo>
                    <a:cubicBezTo>
                      <a:pt x="909" y="682"/>
                      <a:pt x="909" y="682"/>
                      <a:pt x="909" y="682"/>
                    </a:cubicBezTo>
                    <a:cubicBezTo>
                      <a:pt x="909" y="679"/>
                      <a:pt x="909" y="679"/>
                      <a:pt x="909" y="679"/>
                    </a:cubicBezTo>
                    <a:cubicBezTo>
                      <a:pt x="912" y="677"/>
                      <a:pt x="912" y="677"/>
                      <a:pt x="912" y="677"/>
                    </a:cubicBezTo>
                    <a:cubicBezTo>
                      <a:pt x="911" y="664"/>
                      <a:pt x="911" y="664"/>
                      <a:pt x="911" y="664"/>
                    </a:cubicBezTo>
                    <a:cubicBezTo>
                      <a:pt x="911" y="651"/>
                      <a:pt x="911" y="651"/>
                      <a:pt x="911" y="651"/>
                    </a:cubicBezTo>
                    <a:cubicBezTo>
                      <a:pt x="913" y="640"/>
                      <a:pt x="913" y="640"/>
                      <a:pt x="913" y="640"/>
                    </a:cubicBezTo>
                    <a:cubicBezTo>
                      <a:pt x="911" y="637"/>
                      <a:pt x="911" y="637"/>
                      <a:pt x="911" y="637"/>
                    </a:cubicBezTo>
                    <a:cubicBezTo>
                      <a:pt x="911" y="634"/>
                      <a:pt x="911" y="634"/>
                      <a:pt x="911" y="634"/>
                    </a:cubicBezTo>
                    <a:cubicBezTo>
                      <a:pt x="913" y="630"/>
                      <a:pt x="913" y="630"/>
                      <a:pt x="913" y="630"/>
                    </a:cubicBezTo>
                    <a:cubicBezTo>
                      <a:pt x="912" y="627"/>
                      <a:pt x="912" y="627"/>
                      <a:pt x="912" y="627"/>
                    </a:cubicBezTo>
                    <a:cubicBezTo>
                      <a:pt x="910" y="624"/>
                      <a:pt x="910" y="624"/>
                      <a:pt x="910" y="624"/>
                    </a:cubicBezTo>
                    <a:cubicBezTo>
                      <a:pt x="910" y="617"/>
                      <a:pt x="910" y="617"/>
                      <a:pt x="910" y="617"/>
                    </a:cubicBezTo>
                    <a:cubicBezTo>
                      <a:pt x="905" y="612"/>
                      <a:pt x="905" y="612"/>
                      <a:pt x="905" y="612"/>
                    </a:cubicBezTo>
                    <a:cubicBezTo>
                      <a:pt x="904" y="606"/>
                      <a:pt x="904" y="606"/>
                      <a:pt x="904" y="606"/>
                    </a:cubicBezTo>
                    <a:cubicBezTo>
                      <a:pt x="905" y="602"/>
                      <a:pt x="905" y="602"/>
                      <a:pt x="905" y="602"/>
                    </a:cubicBezTo>
                    <a:cubicBezTo>
                      <a:pt x="901" y="592"/>
                      <a:pt x="901" y="592"/>
                      <a:pt x="901" y="592"/>
                    </a:cubicBezTo>
                    <a:cubicBezTo>
                      <a:pt x="902" y="589"/>
                      <a:pt x="902" y="589"/>
                      <a:pt x="902" y="589"/>
                    </a:cubicBezTo>
                    <a:cubicBezTo>
                      <a:pt x="905" y="584"/>
                      <a:pt x="905" y="584"/>
                      <a:pt x="905" y="584"/>
                    </a:cubicBezTo>
                    <a:cubicBezTo>
                      <a:pt x="904" y="581"/>
                      <a:pt x="904" y="581"/>
                      <a:pt x="904" y="581"/>
                    </a:cubicBezTo>
                    <a:cubicBezTo>
                      <a:pt x="904" y="578"/>
                      <a:pt x="904" y="578"/>
                      <a:pt x="904" y="578"/>
                    </a:cubicBezTo>
                    <a:cubicBezTo>
                      <a:pt x="900" y="575"/>
                      <a:pt x="900" y="575"/>
                      <a:pt x="900" y="575"/>
                    </a:cubicBezTo>
                    <a:cubicBezTo>
                      <a:pt x="894" y="575"/>
                      <a:pt x="894" y="575"/>
                      <a:pt x="894" y="575"/>
                    </a:cubicBezTo>
                    <a:cubicBezTo>
                      <a:pt x="887" y="577"/>
                      <a:pt x="887" y="577"/>
                      <a:pt x="887" y="577"/>
                    </a:cubicBezTo>
                    <a:cubicBezTo>
                      <a:pt x="886" y="578"/>
                      <a:pt x="886" y="578"/>
                      <a:pt x="886" y="578"/>
                    </a:cubicBezTo>
                    <a:cubicBezTo>
                      <a:pt x="879" y="580"/>
                      <a:pt x="879" y="580"/>
                      <a:pt x="879" y="580"/>
                    </a:cubicBezTo>
                    <a:cubicBezTo>
                      <a:pt x="874" y="584"/>
                      <a:pt x="874" y="584"/>
                      <a:pt x="874" y="584"/>
                    </a:cubicBezTo>
                    <a:cubicBezTo>
                      <a:pt x="869" y="592"/>
                      <a:pt x="869" y="592"/>
                      <a:pt x="869" y="592"/>
                    </a:cubicBezTo>
                    <a:cubicBezTo>
                      <a:pt x="864" y="595"/>
                      <a:pt x="864" y="595"/>
                      <a:pt x="864" y="595"/>
                    </a:cubicBezTo>
                    <a:cubicBezTo>
                      <a:pt x="858" y="595"/>
                      <a:pt x="858" y="595"/>
                      <a:pt x="858" y="595"/>
                    </a:cubicBezTo>
                    <a:cubicBezTo>
                      <a:pt x="851" y="597"/>
                      <a:pt x="851" y="597"/>
                      <a:pt x="851" y="597"/>
                    </a:cubicBezTo>
                    <a:cubicBezTo>
                      <a:pt x="849" y="597"/>
                      <a:pt x="849" y="597"/>
                      <a:pt x="849" y="597"/>
                    </a:cubicBezTo>
                    <a:cubicBezTo>
                      <a:pt x="850" y="594"/>
                      <a:pt x="850" y="594"/>
                      <a:pt x="850" y="594"/>
                    </a:cubicBezTo>
                    <a:cubicBezTo>
                      <a:pt x="853" y="589"/>
                      <a:pt x="853" y="589"/>
                      <a:pt x="853" y="589"/>
                    </a:cubicBezTo>
                    <a:cubicBezTo>
                      <a:pt x="851" y="584"/>
                      <a:pt x="851" y="584"/>
                      <a:pt x="851" y="584"/>
                    </a:cubicBezTo>
                    <a:cubicBezTo>
                      <a:pt x="845" y="563"/>
                      <a:pt x="845" y="563"/>
                      <a:pt x="845" y="563"/>
                    </a:cubicBezTo>
                    <a:cubicBezTo>
                      <a:pt x="842" y="553"/>
                      <a:pt x="842" y="553"/>
                      <a:pt x="842" y="553"/>
                    </a:cubicBezTo>
                    <a:cubicBezTo>
                      <a:pt x="840" y="549"/>
                      <a:pt x="840" y="549"/>
                      <a:pt x="840" y="549"/>
                    </a:cubicBezTo>
                    <a:cubicBezTo>
                      <a:pt x="845" y="541"/>
                      <a:pt x="845" y="541"/>
                      <a:pt x="845" y="541"/>
                    </a:cubicBezTo>
                    <a:cubicBezTo>
                      <a:pt x="835" y="539"/>
                      <a:pt x="835" y="539"/>
                      <a:pt x="835" y="539"/>
                    </a:cubicBezTo>
                    <a:cubicBezTo>
                      <a:pt x="828" y="543"/>
                      <a:pt x="828" y="543"/>
                      <a:pt x="828" y="543"/>
                    </a:cubicBezTo>
                    <a:cubicBezTo>
                      <a:pt x="824" y="541"/>
                      <a:pt x="824" y="541"/>
                      <a:pt x="824" y="541"/>
                    </a:cubicBezTo>
                    <a:cubicBezTo>
                      <a:pt x="811" y="541"/>
                      <a:pt x="811" y="541"/>
                      <a:pt x="811" y="541"/>
                    </a:cubicBezTo>
                    <a:cubicBezTo>
                      <a:pt x="1034" y="149"/>
                      <a:pt x="1034" y="149"/>
                      <a:pt x="1034" y="149"/>
                    </a:cubicBezTo>
                    <a:cubicBezTo>
                      <a:pt x="1033" y="148"/>
                      <a:pt x="1033" y="148"/>
                      <a:pt x="1033" y="148"/>
                    </a:cubicBezTo>
                    <a:cubicBezTo>
                      <a:pt x="1029" y="146"/>
                      <a:pt x="1029" y="146"/>
                      <a:pt x="1029" y="146"/>
                    </a:cubicBezTo>
                    <a:cubicBezTo>
                      <a:pt x="1026" y="147"/>
                      <a:pt x="1026" y="147"/>
                      <a:pt x="1026" y="147"/>
                    </a:cubicBezTo>
                    <a:cubicBezTo>
                      <a:pt x="1024" y="145"/>
                      <a:pt x="1024" y="145"/>
                      <a:pt x="1024" y="145"/>
                    </a:cubicBezTo>
                    <a:cubicBezTo>
                      <a:pt x="1023" y="137"/>
                      <a:pt x="1023" y="137"/>
                      <a:pt x="1023" y="137"/>
                    </a:cubicBezTo>
                    <a:cubicBezTo>
                      <a:pt x="1021" y="134"/>
                      <a:pt x="1021" y="134"/>
                      <a:pt x="1021" y="134"/>
                    </a:cubicBezTo>
                    <a:cubicBezTo>
                      <a:pt x="1018" y="132"/>
                      <a:pt x="1018" y="132"/>
                      <a:pt x="1018" y="132"/>
                    </a:cubicBezTo>
                    <a:cubicBezTo>
                      <a:pt x="1017" y="128"/>
                      <a:pt x="1017" y="128"/>
                      <a:pt x="1017" y="128"/>
                    </a:cubicBezTo>
                    <a:cubicBezTo>
                      <a:pt x="1015" y="123"/>
                      <a:pt x="1015" y="123"/>
                      <a:pt x="1015" y="123"/>
                    </a:cubicBezTo>
                    <a:cubicBezTo>
                      <a:pt x="1013" y="122"/>
                      <a:pt x="1013" y="122"/>
                      <a:pt x="1013" y="122"/>
                    </a:cubicBezTo>
                    <a:cubicBezTo>
                      <a:pt x="1006" y="121"/>
                      <a:pt x="1006" y="121"/>
                      <a:pt x="1006" y="121"/>
                    </a:cubicBezTo>
                    <a:cubicBezTo>
                      <a:pt x="1005" y="122"/>
                      <a:pt x="1005" y="122"/>
                      <a:pt x="1005" y="122"/>
                    </a:cubicBezTo>
                    <a:cubicBezTo>
                      <a:pt x="1000" y="122"/>
                      <a:pt x="1000" y="122"/>
                      <a:pt x="1000" y="122"/>
                    </a:cubicBezTo>
                    <a:cubicBezTo>
                      <a:pt x="995" y="123"/>
                      <a:pt x="995" y="123"/>
                      <a:pt x="995" y="123"/>
                    </a:cubicBezTo>
                    <a:cubicBezTo>
                      <a:pt x="993" y="121"/>
                      <a:pt x="993" y="121"/>
                      <a:pt x="993" y="121"/>
                    </a:cubicBezTo>
                    <a:cubicBezTo>
                      <a:pt x="991" y="122"/>
                      <a:pt x="991" y="122"/>
                      <a:pt x="991" y="122"/>
                    </a:cubicBezTo>
                    <a:cubicBezTo>
                      <a:pt x="989" y="121"/>
                      <a:pt x="989" y="121"/>
                      <a:pt x="989" y="121"/>
                    </a:cubicBezTo>
                    <a:cubicBezTo>
                      <a:pt x="988" y="122"/>
                      <a:pt x="988" y="122"/>
                      <a:pt x="988" y="122"/>
                    </a:cubicBezTo>
                    <a:cubicBezTo>
                      <a:pt x="986" y="121"/>
                      <a:pt x="986" y="121"/>
                      <a:pt x="986" y="121"/>
                    </a:cubicBezTo>
                    <a:cubicBezTo>
                      <a:pt x="986" y="121"/>
                      <a:pt x="986" y="121"/>
                      <a:pt x="986" y="121"/>
                    </a:cubicBezTo>
                    <a:cubicBezTo>
                      <a:pt x="987" y="120"/>
                      <a:pt x="987" y="120"/>
                      <a:pt x="987" y="120"/>
                    </a:cubicBezTo>
                    <a:cubicBezTo>
                      <a:pt x="988" y="118"/>
                      <a:pt x="988" y="118"/>
                      <a:pt x="988" y="118"/>
                    </a:cubicBezTo>
                    <a:cubicBezTo>
                      <a:pt x="984" y="116"/>
                      <a:pt x="984" y="116"/>
                      <a:pt x="984" y="116"/>
                    </a:cubicBezTo>
                    <a:cubicBezTo>
                      <a:pt x="982" y="117"/>
                      <a:pt x="982" y="117"/>
                      <a:pt x="982" y="117"/>
                    </a:cubicBezTo>
                    <a:cubicBezTo>
                      <a:pt x="980" y="117"/>
                      <a:pt x="980" y="117"/>
                      <a:pt x="980" y="117"/>
                    </a:cubicBezTo>
                    <a:cubicBezTo>
                      <a:pt x="980" y="115"/>
                      <a:pt x="980" y="115"/>
                      <a:pt x="980" y="115"/>
                    </a:cubicBezTo>
                    <a:cubicBezTo>
                      <a:pt x="982" y="114"/>
                      <a:pt x="982" y="114"/>
                      <a:pt x="982" y="114"/>
                    </a:cubicBezTo>
                    <a:cubicBezTo>
                      <a:pt x="981" y="113"/>
                      <a:pt x="981" y="113"/>
                      <a:pt x="981" y="113"/>
                    </a:cubicBezTo>
                    <a:cubicBezTo>
                      <a:pt x="978" y="113"/>
                      <a:pt x="978" y="113"/>
                      <a:pt x="978" y="113"/>
                    </a:cubicBezTo>
                    <a:cubicBezTo>
                      <a:pt x="975" y="112"/>
                      <a:pt x="975" y="112"/>
                      <a:pt x="975" y="112"/>
                    </a:cubicBezTo>
                    <a:cubicBezTo>
                      <a:pt x="976" y="111"/>
                      <a:pt x="976" y="111"/>
                      <a:pt x="976" y="111"/>
                    </a:cubicBezTo>
                    <a:cubicBezTo>
                      <a:pt x="973" y="108"/>
                      <a:pt x="973" y="108"/>
                      <a:pt x="973" y="108"/>
                    </a:cubicBezTo>
                    <a:cubicBezTo>
                      <a:pt x="967" y="104"/>
                      <a:pt x="967" y="104"/>
                      <a:pt x="967" y="104"/>
                    </a:cubicBezTo>
                    <a:cubicBezTo>
                      <a:pt x="966" y="104"/>
                      <a:pt x="966" y="104"/>
                      <a:pt x="966" y="104"/>
                    </a:cubicBezTo>
                    <a:cubicBezTo>
                      <a:pt x="964" y="103"/>
                      <a:pt x="964" y="103"/>
                      <a:pt x="964" y="103"/>
                    </a:cubicBezTo>
                    <a:cubicBezTo>
                      <a:pt x="963" y="103"/>
                      <a:pt x="963" y="103"/>
                      <a:pt x="963" y="103"/>
                    </a:cubicBezTo>
                    <a:cubicBezTo>
                      <a:pt x="961" y="105"/>
                      <a:pt x="961" y="105"/>
                      <a:pt x="961" y="105"/>
                    </a:cubicBezTo>
                    <a:cubicBezTo>
                      <a:pt x="961" y="103"/>
                      <a:pt x="961" y="103"/>
                      <a:pt x="961" y="103"/>
                    </a:cubicBezTo>
                    <a:cubicBezTo>
                      <a:pt x="961" y="102"/>
                      <a:pt x="961" y="102"/>
                      <a:pt x="961" y="102"/>
                    </a:cubicBezTo>
                    <a:cubicBezTo>
                      <a:pt x="958" y="101"/>
                      <a:pt x="958" y="101"/>
                      <a:pt x="958" y="101"/>
                    </a:cubicBezTo>
                    <a:cubicBezTo>
                      <a:pt x="956" y="104"/>
                      <a:pt x="956" y="104"/>
                      <a:pt x="956" y="104"/>
                    </a:cubicBezTo>
                    <a:cubicBezTo>
                      <a:pt x="954" y="103"/>
                      <a:pt x="954" y="103"/>
                      <a:pt x="954" y="103"/>
                    </a:cubicBezTo>
                    <a:cubicBezTo>
                      <a:pt x="954" y="100"/>
                      <a:pt x="954" y="100"/>
                      <a:pt x="954" y="100"/>
                    </a:cubicBezTo>
                    <a:cubicBezTo>
                      <a:pt x="955" y="99"/>
                      <a:pt x="955" y="99"/>
                      <a:pt x="955" y="99"/>
                    </a:cubicBezTo>
                    <a:cubicBezTo>
                      <a:pt x="954" y="98"/>
                      <a:pt x="954" y="98"/>
                      <a:pt x="954" y="98"/>
                    </a:cubicBezTo>
                    <a:cubicBezTo>
                      <a:pt x="951" y="97"/>
                      <a:pt x="951" y="97"/>
                      <a:pt x="951" y="97"/>
                    </a:cubicBezTo>
                    <a:cubicBezTo>
                      <a:pt x="949" y="97"/>
                      <a:pt x="949" y="97"/>
                      <a:pt x="949" y="97"/>
                    </a:cubicBezTo>
                    <a:cubicBezTo>
                      <a:pt x="950" y="96"/>
                      <a:pt x="950" y="96"/>
                      <a:pt x="950" y="96"/>
                    </a:cubicBezTo>
                    <a:cubicBezTo>
                      <a:pt x="949" y="94"/>
                      <a:pt x="949" y="94"/>
                      <a:pt x="949" y="94"/>
                    </a:cubicBezTo>
                    <a:cubicBezTo>
                      <a:pt x="946" y="92"/>
                      <a:pt x="946" y="92"/>
                      <a:pt x="946" y="92"/>
                    </a:cubicBezTo>
                    <a:cubicBezTo>
                      <a:pt x="943" y="89"/>
                      <a:pt x="943" y="89"/>
                      <a:pt x="943" y="89"/>
                    </a:cubicBezTo>
                    <a:cubicBezTo>
                      <a:pt x="944" y="88"/>
                      <a:pt x="944" y="88"/>
                      <a:pt x="944" y="88"/>
                    </a:cubicBezTo>
                    <a:cubicBezTo>
                      <a:pt x="943" y="87"/>
                      <a:pt x="943" y="87"/>
                      <a:pt x="943" y="87"/>
                    </a:cubicBezTo>
                    <a:cubicBezTo>
                      <a:pt x="940" y="86"/>
                      <a:pt x="940" y="86"/>
                      <a:pt x="940" y="86"/>
                    </a:cubicBezTo>
                    <a:cubicBezTo>
                      <a:pt x="939" y="87"/>
                      <a:pt x="939" y="87"/>
                      <a:pt x="939" y="87"/>
                    </a:cubicBezTo>
                    <a:cubicBezTo>
                      <a:pt x="931" y="94"/>
                      <a:pt x="931" y="94"/>
                      <a:pt x="931" y="94"/>
                    </a:cubicBezTo>
                    <a:cubicBezTo>
                      <a:pt x="923" y="98"/>
                      <a:pt x="923" y="98"/>
                      <a:pt x="923" y="98"/>
                    </a:cubicBezTo>
                    <a:cubicBezTo>
                      <a:pt x="930" y="93"/>
                      <a:pt x="930" y="93"/>
                      <a:pt x="930" y="93"/>
                    </a:cubicBezTo>
                    <a:cubicBezTo>
                      <a:pt x="935" y="87"/>
                      <a:pt x="935" y="87"/>
                      <a:pt x="935" y="87"/>
                    </a:cubicBezTo>
                    <a:cubicBezTo>
                      <a:pt x="939" y="83"/>
                      <a:pt x="939" y="83"/>
                      <a:pt x="939" y="83"/>
                    </a:cubicBezTo>
                    <a:cubicBezTo>
                      <a:pt x="940" y="78"/>
                      <a:pt x="940" y="78"/>
                      <a:pt x="940" y="78"/>
                    </a:cubicBezTo>
                    <a:cubicBezTo>
                      <a:pt x="937" y="77"/>
                      <a:pt x="937" y="77"/>
                      <a:pt x="937" y="77"/>
                    </a:cubicBezTo>
                    <a:cubicBezTo>
                      <a:pt x="932" y="73"/>
                      <a:pt x="932" y="73"/>
                      <a:pt x="932" y="73"/>
                    </a:cubicBezTo>
                    <a:cubicBezTo>
                      <a:pt x="927" y="73"/>
                      <a:pt x="927" y="73"/>
                      <a:pt x="927" y="73"/>
                    </a:cubicBezTo>
                    <a:cubicBezTo>
                      <a:pt x="923" y="75"/>
                      <a:pt x="923" y="75"/>
                      <a:pt x="923" y="75"/>
                    </a:cubicBezTo>
                    <a:cubicBezTo>
                      <a:pt x="920" y="75"/>
                      <a:pt x="920" y="75"/>
                      <a:pt x="920" y="75"/>
                    </a:cubicBezTo>
                    <a:cubicBezTo>
                      <a:pt x="918" y="76"/>
                      <a:pt x="918" y="76"/>
                      <a:pt x="918" y="76"/>
                    </a:cubicBezTo>
                    <a:cubicBezTo>
                      <a:pt x="913" y="77"/>
                      <a:pt x="913" y="77"/>
                      <a:pt x="913" y="77"/>
                    </a:cubicBezTo>
                    <a:cubicBezTo>
                      <a:pt x="908" y="82"/>
                      <a:pt x="908" y="82"/>
                      <a:pt x="908" y="82"/>
                    </a:cubicBezTo>
                    <a:cubicBezTo>
                      <a:pt x="903" y="86"/>
                      <a:pt x="903" y="86"/>
                      <a:pt x="903" y="86"/>
                    </a:cubicBezTo>
                    <a:cubicBezTo>
                      <a:pt x="907" y="82"/>
                      <a:pt x="907" y="82"/>
                      <a:pt x="907" y="82"/>
                    </a:cubicBezTo>
                    <a:cubicBezTo>
                      <a:pt x="906" y="77"/>
                      <a:pt x="906" y="77"/>
                      <a:pt x="906" y="77"/>
                    </a:cubicBezTo>
                    <a:cubicBezTo>
                      <a:pt x="907" y="72"/>
                      <a:pt x="907" y="72"/>
                      <a:pt x="907" y="72"/>
                    </a:cubicBezTo>
                    <a:cubicBezTo>
                      <a:pt x="907" y="69"/>
                      <a:pt x="907" y="69"/>
                      <a:pt x="907" y="69"/>
                    </a:cubicBezTo>
                    <a:cubicBezTo>
                      <a:pt x="901" y="66"/>
                      <a:pt x="901" y="66"/>
                      <a:pt x="901" y="66"/>
                    </a:cubicBezTo>
                    <a:cubicBezTo>
                      <a:pt x="901" y="64"/>
                      <a:pt x="901" y="64"/>
                      <a:pt x="901" y="64"/>
                    </a:cubicBezTo>
                    <a:cubicBezTo>
                      <a:pt x="904" y="63"/>
                      <a:pt x="904" y="63"/>
                      <a:pt x="904" y="63"/>
                    </a:cubicBezTo>
                    <a:cubicBezTo>
                      <a:pt x="907" y="63"/>
                      <a:pt x="907" y="63"/>
                      <a:pt x="907" y="63"/>
                    </a:cubicBezTo>
                    <a:cubicBezTo>
                      <a:pt x="907" y="61"/>
                      <a:pt x="907" y="61"/>
                      <a:pt x="907" y="61"/>
                    </a:cubicBezTo>
                    <a:cubicBezTo>
                      <a:pt x="898" y="56"/>
                      <a:pt x="898" y="56"/>
                      <a:pt x="898" y="56"/>
                    </a:cubicBezTo>
                    <a:cubicBezTo>
                      <a:pt x="897" y="54"/>
                      <a:pt x="897" y="54"/>
                      <a:pt x="897" y="54"/>
                    </a:cubicBezTo>
                    <a:cubicBezTo>
                      <a:pt x="899" y="51"/>
                      <a:pt x="899" y="51"/>
                      <a:pt x="899" y="51"/>
                    </a:cubicBezTo>
                    <a:cubicBezTo>
                      <a:pt x="904" y="49"/>
                      <a:pt x="904" y="49"/>
                      <a:pt x="904" y="49"/>
                    </a:cubicBezTo>
                    <a:cubicBezTo>
                      <a:pt x="907" y="46"/>
                      <a:pt x="907" y="46"/>
                      <a:pt x="907" y="46"/>
                    </a:cubicBezTo>
                    <a:cubicBezTo>
                      <a:pt x="905" y="44"/>
                      <a:pt x="905" y="44"/>
                      <a:pt x="905" y="44"/>
                    </a:cubicBezTo>
                    <a:cubicBezTo>
                      <a:pt x="902" y="40"/>
                      <a:pt x="902" y="40"/>
                      <a:pt x="902" y="40"/>
                    </a:cubicBezTo>
                    <a:cubicBezTo>
                      <a:pt x="901" y="40"/>
                      <a:pt x="901" y="40"/>
                      <a:pt x="901" y="40"/>
                    </a:cubicBezTo>
                    <a:cubicBezTo>
                      <a:pt x="899" y="41"/>
                      <a:pt x="899" y="41"/>
                      <a:pt x="899" y="41"/>
                    </a:cubicBezTo>
                    <a:cubicBezTo>
                      <a:pt x="897" y="38"/>
                      <a:pt x="897" y="38"/>
                      <a:pt x="897" y="38"/>
                    </a:cubicBezTo>
                    <a:cubicBezTo>
                      <a:pt x="894" y="37"/>
                      <a:pt x="894" y="37"/>
                      <a:pt x="894" y="37"/>
                    </a:cubicBezTo>
                    <a:cubicBezTo>
                      <a:pt x="891" y="37"/>
                      <a:pt x="891" y="37"/>
                      <a:pt x="891" y="37"/>
                    </a:cubicBezTo>
                    <a:cubicBezTo>
                      <a:pt x="886" y="35"/>
                      <a:pt x="886" y="35"/>
                      <a:pt x="886" y="35"/>
                    </a:cubicBezTo>
                    <a:cubicBezTo>
                      <a:pt x="884" y="35"/>
                      <a:pt x="884" y="35"/>
                      <a:pt x="884" y="35"/>
                    </a:cubicBezTo>
                    <a:cubicBezTo>
                      <a:pt x="881" y="36"/>
                      <a:pt x="881" y="36"/>
                      <a:pt x="881" y="36"/>
                    </a:cubicBezTo>
                    <a:cubicBezTo>
                      <a:pt x="877" y="36"/>
                      <a:pt x="877" y="36"/>
                      <a:pt x="877" y="36"/>
                    </a:cubicBezTo>
                    <a:cubicBezTo>
                      <a:pt x="875" y="39"/>
                      <a:pt x="875" y="39"/>
                      <a:pt x="875" y="39"/>
                    </a:cubicBezTo>
                    <a:cubicBezTo>
                      <a:pt x="875" y="40"/>
                      <a:pt x="875" y="40"/>
                      <a:pt x="875" y="40"/>
                    </a:cubicBezTo>
                    <a:cubicBezTo>
                      <a:pt x="873" y="37"/>
                      <a:pt x="873" y="37"/>
                      <a:pt x="873" y="37"/>
                    </a:cubicBezTo>
                    <a:cubicBezTo>
                      <a:pt x="874" y="34"/>
                      <a:pt x="874" y="34"/>
                      <a:pt x="874" y="34"/>
                    </a:cubicBezTo>
                    <a:cubicBezTo>
                      <a:pt x="876" y="33"/>
                      <a:pt x="876" y="33"/>
                      <a:pt x="876" y="33"/>
                    </a:cubicBezTo>
                    <a:cubicBezTo>
                      <a:pt x="875" y="30"/>
                      <a:pt x="875" y="30"/>
                      <a:pt x="875" y="30"/>
                    </a:cubicBezTo>
                    <a:cubicBezTo>
                      <a:pt x="877" y="28"/>
                      <a:pt x="877" y="28"/>
                      <a:pt x="877" y="28"/>
                    </a:cubicBezTo>
                    <a:cubicBezTo>
                      <a:pt x="879" y="26"/>
                      <a:pt x="879" y="26"/>
                      <a:pt x="879" y="26"/>
                    </a:cubicBezTo>
                    <a:cubicBezTo>
                      <a:pt x="879" y="23"/>
                      <a:pt x="879" y="23"/>
                      <a:pt x="879" y="23"/>
                    </a:cubicBezTo>
                    <a:cubicBezTo>
                      <a:pt x="880" y="20"/>
                      <a:pt x="880" y="20"/>
                      <a:pt x="880" y="20"/>
                    </a:cubicBezTo>
                    <a:cubicBezTo>
                      <a:pt x="879" y="18"/>
                      <a:pt x="879" y="18"/>
                      <a:pt x="879" y="18"/>
                    </a:cubicBezTo>
                    <a:cubicBezTo>
                      <a:pt x="878" y="18"/>
                      <a:pt x="878" y="18"/>
                      <a:pt x="878" y="18"/>
                    </a:cubicBezTo>
                    <a:cubicBezTo>
                      <a:pt x="873" y="22"/>
                      <a:pt x="873" y="22"/>
                      <a:pt x="873" y="22"/>
                    </a:cubicBezTo>
                    <a:cubicBezTo>
                      <a:pt x="872" y="25"/>
                      <a:pt x="872" y="25"/>
                      <a:pt x="872" y="25"/>
                    </a:cubicBezTo>
                    <a:cubicBezTo>
                      <a:pt x="871" y="25"/>
                      <a:pt x="871" y="25"/>
                      <a:pt x="871" y="25"/>
                    </a:cubicBezTo>
                    <a:cubicBezTo>
                      <a:pt x="869" y="23"/>
                      <a:pt x="869" y="23"/>
                      <a:pt x="869" y="23"/>
                    </a:cubicBezTo>
                    <a:cubicBezTo>
                      <a:pt x="865" y="25"/>
                      <a:pt x="865" y="25"/>
                      <a:pt x="865" y="25"/>
                    </a:cubicBezTo>
                    <a:cubicBezTo>
                      <a:pt x="864" y="26"/>
                      <a:pt x="864" y="26"/>
                      <a:pt x="864" y="26"/>
                    </a:cubicBezTo>
                    <a:cubicBezTo>
                      <a:pt x="865" y="30"/>
                      <a:pt x="865" y="30"/>
                      <a:pt x="865" y="30"/>
                    </a:cubicBezTo>
                    <a:cubicBezTo>
                      <a:pt x="862" y="33"/>
                      <a:pt x="862" y="33"/>
                      <a:pt x="862" y="33"/>
                    </a:cubicBezTo>
                    <a:cubicBezTo>
                      <a:pt x="861" y="33"/>
                      <a:pt x="861" y="33"/>
                      <a:pt x="861" y="33"/>
                    </a:cubicBezTo>
                    <a:cubicBezTo>
                      <a:pt x="860" y="32"/>
                      <a:pt x="860" y="32"/>
                      <a:pt x="860" y="32"/>
                    </a:cubicBezTo>
                    <a:cubicBezTo>
                      <a:pt x="858" y="36"/>
                      <a:pt x="858" y="36"/>
                      <a:pt x="858" y="36"/>
                    </a:cubicBezTo>
                    <a:cubicBezTo>
                      <a:pt x="857" y="40"/>
                      <a:pt x="857" y="40"/>
                      <a:pt x="857" y="40"/>
                    </a:cubicBezTo>
                    <a:cubicBezTo>
                      <a:pt x="856" y="36"/>
                      <a:pt x="856" y="36"/>
                      <a:pt x="856" y="36"/>
                    </a:cubicBezTo>
                    <a:cubicBezTo>
                      <a:pt x="856" y="32"/>
                      <a:pt x="856" y="32"/>
                      <a:pt x="856" y="32"/>
                    </a:cubicBezTo>
                    <a:cubicBezTo>
                      <a:pt x="858" y="29"/>
                      <a:pt x="858" y="29"/>
                      <a:pt x="858" y="29"/>
                    </a:cubicBezTo>
                    <a:cubicBezTo>
                      <a:pt x="856" y="29"/>
                      <a:pt x="856" y="29"/>
                      <a:pt x="856" y="29"/>
                    </a:cubicBezTo>
                    <a:cubicBezTo>
                      <a:pt x="854" y="31"/>
                      <a:pt x="854" y="31"/>
                      <a:pt x="854" y="31"/>
                    </a:cubicBezTo>
                    <a:cubicBezTo>
                      <a:pt x="853" y="34"/>
                      <a:pt x="853" y="34"/>
                      <a:pt x="853" y="34"/>
                    </a:cubicBezTo>
                    <a:cubicBezTo>
                      <a:pt x="850" y="34"/>
                      <a:pt x="850" y="34"/>
                      <a:pt x="850" y="34"/>
                    </a:cubicBezTo>
                    <a:cubicBezTo>
                      <a:pt x="852" y="29"/>
                      <a:pt x="852" y="29"/>
                      <a:pt x="852" y="29"/>
                    </a:cubicBezTo>
                    <a:cubicBezTo>
                      <a:pt x="850" y="25"/>
                      <a:pt x="850" y="25"/>
                      <a:pt x="850" y="25"/>
                    </a:cubicBezTo>
                    <a:cubicBezTo>
                      <a:pt x="846" y="26"/>
                      <a:pt x="846" y="26"/>
                      <a:pt x="846" y="26"/>
                    </a:cubicBezTo>
                    <a:cubicBezTo>
                      <a:pt x="847" y="23"/>
                      <a:pt x="847" y="23"/>
                      <a:pt x="847" y="23"/>
                    </a:cubicBezTo>
                    <a:cubicBezTo>
                      <a:pt x="851" y="20"/>
                      <a:pt x="851" y="20"/>
                      <a:pt x="851" y="20"/>
                    </a:cubicBezTo>
                    <a:cubicBezTo>
                      <a:pt x="855" y="19"/>
                      <a:pt x="855" y="19"/>
                      <a:pt x="855" y="19"/>
                    </a:cubicBezTo>
                    <a:cubicBezTo>
                      <a:pt x="859" y="22"/>
                      <a:pt x="859" y="22"/>
                      <a:pt x="859" y="22"/>
                    </a:cubicBezTo>
                    <a:cubicBezTo>
                      <a:pt x="864" y="20"/>
                      <a:pt x="864" y="20"/>
                      <a:pt x="864" y="20"/>
                    </a:cubicBezTo>
                    <a:cubicBezTo>
                      <a:pt x="868" y="19"/>
                      <a:pt x="868" y="19"/>
                      <a:pt x="868" y="19"/>
                    </a:cubicBezTo>
                    <a:cubicBezTo>
                      <a:pt x="872" y="15"/>
                      <a:pt x="872" y="15"/>
                      <a:pt x="872" y="15"/>
                    </a:cubicBezTo>
                    <a:cubicBezTo>
                      <a:pt x="872" y="14"/>
                      <a:pt x="872" y="14"/>
                      <a:pt x="872" y="14"/>
                    </a:cubicBezTo>
                    <a:cubicBezTo>
                      <a:pt x="873" y="12"/>
                      <a:pt x="873" y="12"/>
                      <a:pt x="873" y="12"/>
                    </a:cubicBezTo>
                    <a:cubicBezTo>
                      <a:pt x="872" y="10"/>
                      <a:pt x="872" y="10"/>
                      <a:pt x="872" y="10"/>
                    </a:cubicBezTo>
                    <a:cubicBezTo>
                      <a:pt x="868" y="9"/>
                      <a:pt x="868" y="9"/>
                      <a:pt x="868" y="9"/>
                    </a:cubicBezTo>
                    <a:cubicBezTo>
                      <a:pt x="866" y="9"/>
                      <a:pt x="866" y="9"/>
                      <a:pt x="866" y="9"/>
                    </a:cubicBezTo>
                    <a:cubicBezTo>
                      <a:pt x="866" y="6"/>
                      <a:pt x="866" y="6"/>
                      <a:pt x="866" y="6"/>
                    </a:cubicBezTo>
                    <a:cubicBezTo>
                      <a:pt x="865" y="4"/>
                      <a:pt x="865" y="4"/>
                      <a:pt x="865" y="4"/>
                    </a:cubicBezTo>
                    <a:cubicBezTo>
                      <a:pt x="863" y="3"/>
                      <a:pt x="863" y="3"/>
                      <a:pt x="863" y="3"/>
                    </a:cubicBezTo>
                    <a:cubicBezTo>
                      <a:pt x="864" y="2"/>
                      <a:pt x="864" y="2"/>
                      <a:pt x="864" y="2"/>
                    </a:cubicBezTo>
                    <a:cubicBezTo>
                      <a:pt x="866" y="1"/>
                      <a:pt x="866" y="1"/>
                      <a:pt x="866" y="1"/>
                    </a:cubicBezTo>
                    <a:cubicBezTo>
                      <a:pt x="867" y="0"/>
                      <a:pt x="867" y="0"/>
                      <a:pt x="867" y="0"/>
                    </a:cubicBezTo>
                    <a:cubicBezTo>
                      <a:pt x="865" y="0"/>
                      <a:pt x="865" y="0"/>
                      <a:pt x="865" y="0"/>
                    </a:cubicBezTo>
                    <a:cubicBezTo>
                      <a:pt x="858" y="3"/>
                      <a:pt x="858" y="3"/>
                      <a:pt x="858" y="3"/>
                    </a:cubicBezTo>
                    <a:cubicBezTo>
                      <a:pt x="856" y="5"/>
                      <a:pt x="856" y="5"/>
                      <a:pt x="856" y="5"/>
                    </a:cubicBezTo>
                    <a:cubicBezTo>
                      <a:pt x="851" y="5"/>
                      <a:pt x="851" y="5"/>
                      <a:pt x="851" y="5"/>
                    </a:cubicBezTo>
                    <a:cubicBezTo>
                      <a:pt x="847" y="7"/>
                      <a:pt x="847" y="7"/>
                      <a:pt x="847" y="7"/>
                    </a:cubicBezTo>
                    <a:cubicBezTo>
                      <a:pt x="839" y="14"/>
                      <a:pt x="839" y="14"/>
                      <a:pt x="839" y="14"/>
                    </a:cubicBezTo>
                    <a:cubicBezTo>
                      <a:pt x="834" y="15"/>
                      <a:pt x="834" y="15"/>
                      <a:pt x="834" y="15"/>
                    </a:cubicBezTo>
                    <a:cubicBezTo>
                      <a:pt x="825" y="15"/>
                      <a:pt x="825" y="15"/>
                      <a:pt x="825" y="15"/>
                    </a:cubicBezTo>
                    <a:cubicBezTo>
                      <a:pt x="820" y="12"/>
                      <a:pt x="820" y="12"/>
                      <a:pt x="820" y="12"/>
                    </a:cubicBezTo>
                    <a:cubicBezTo>
                      <a:pt x="818" y="11"/>
                      <a:pt x="818" y="11"/>
                      <a:pt x="818" y="11"/>
                    </a:cubicBezTo>
                    <a:cubicBezTo>
                      <a:pt x="817" y="13"/>
                      <a:pt x="817" y="13"/>
                      <a:pt x="817" y="13"/>
                    </a:cubicBezTo>
                    <a:cubicBezTo>
                      <a:pt x="815" y="12"/>
                      <a:pt x="815" y="12"/>
                      <a:pt x="815" y="12"/>
                    </a:cubicBezTo>
                    <a:cubicBezTo>
                      <a:pt x="811" y="9"/>
                      <a:pt x="811" y="9"/>
                      <a:pt x="811" y="9"/>
                    </a:cubicBezTo>
                    <a:cubicBezTo>
                      <a:pt x="808" y="11"/>
                      <a:pt x="808" y="11"/>
                      <a:pt x="808" y="11"/>
                    </a:cubicBezTo>
                    <a:cubicBezTo>
                      <a:pt x="807" y="14"/>
                      <a:pt x="807" y="14"/>
                      <a:pt x="807" y="14"/>
                    </a:cubicBezTo>
                    <a:cubicBezTo>
                      <a:pt x="805" y="14"/>
                      <a:pt x="805" y="14"/>
                      <a:pt x="805" y="14"/>
                    </a:cubicBezTo>
                    <a:cubicBezTo>
                      <a:pt x="804" y="11"/>
                      <a:pt x="804" y="11"/>
                      <a:pt x="804" y="11"/>
                    </a:cubicBezTo>
                    <a:cubicBezTo>
                      <a:pt x="804" y="9"/>
                      <a:pt x="804" y="9"/>
                      <a:pt x="804" y="9"/>
                    </a:cubicBezTo>
                    <a:cubicBezTo>
                      <a:pt x="808" y="8"/>
                      <a:pt x="808" y="8"/>
                      <a:pt x="808" y="8"/>
                    </a:cubicBezTo>
                    <a:cubicBezTo>
                      <a:pt x="806" y="6"/>
                      <a:pt x="806" y="6"/>
                      <a:pt x="806" y="6"/>
                    </a:cubicBezTo>
                    <a:cubicBezTo>
                      <a:pt x="801" y="8"/>
                      <a:pt x="801" y="8"/>
                      <a:pt x="801" y="8"/>
                    </a:cubicBezTo>
                    <a:cubicBezTo>
                      <a:pt x="794" y="11"/>
                      <a:pt x="794" y="11"/>
                      <a:pt x="794" y="11"/>
                    </a:cubicBezTo>
                    <a:cubicBezTo>
                      <a:pt x="789" y="14"/>
                      <a:pt x="789" y="14"/>
                      <a:pt x="789" y="14"/>
                    </a:cubicBezTo>
                    <a:cubicBezTo>
                      <a:pt x="787" y="18"/>
                      <a:pt x="787" y="18"/>
                      <a:pt x="787" y="18"/>
                    </a:cubicBezTo>
                    <a:cubicBezTo>
                      <a:pt x="788" y="21"/>
                      <a:pt x="788" y="21"/>
                      <a:pt x="788" y="21"/>
                    </a:cubicBezTo>
                    <a:cubicBezTo>
                      <a:pt x="792" y="22"/>
                      <a:pt x="792" y="22"/>
                      <a:pt x="792" y="22"/>
                    </a:cubicBezTo>
                    <a:cubicBezTo>
                      <a:pt x="790" y="24"/>
                      <a:pt x="790" y="24"/>
                      <a:pt x="790" y="24"/>
                    </a:cubicBezTo>
                    <a:cubicBezTo>
                      <a:pt x="785" y="24"/>
                      <a:pt x="785" y="24"/>
                      <a:pt x="785" y="24"/>
                    </a:cubicBezTo>
                    <a:cubicBezTo>
                      <a:pt x="780" y="28"/>
                      <a:pt x="780" y="28"/>
                      <a:pt x="780" y="28"/>
                    </a:cubicBezTo>
                    <a:cubicBezTo>
                      <a:pt x="776" y="36"/>
                      <a:pt x="776" y="36"/>
                      <a:pt x="776" y="36"/>
                    </a:cubicBezTo>
                    <a:cubicBezTo>
                      <a:pt x="774" y="43"/>
                      <a:pt x="774" y="43"/>
                      <a:pt x="774" y="43"/>
                    </a:cubicBezTo>
                    <a:cubicBezTo>
                      <a:pt x="772" y="43"/>
                      <a:pt x="772" y="43"/>
                      <a:pt x="772" y="43"/>
                    </a:cubicBezTo>
                    <a:cubicBezTo>
                      <a:pt x="771" y="41"/>
                      <a:pt x="771" y="41"/>
                      <a:pt x="771" y="41"/>
                    </a:cubicBezTo>
                    <a:cubicBezTo>
                      <a:pt x="773" y="35"/>
                      <a:pt x="773" y="35"/>
                      <a:pt x="773" y="35"/>
                    </a:cubicBezTo>
                    <a:cubicBezTo>
                      <a:pt x="778" y="27"/>
                      <a:pt x="778" y="27"/>
                      <a:pt x="778" y="27"/>
                    </a:cubicBezTo>
                    <a:cubicBezTo>
                      <a:pt x="779" y="25"/>
                      <a:pt x="779" y="25"/>
                      <a:pt x="779" y="25"/>
                    </a:cubicBezTo>
                    <a:cubicBezTo>
                      <a:pt x="777" y="24"/>
                      <a:pt x="777" y="24"/>
                      <a:pt x="777" y="24"/>
                    </a:cubicBezTo>
                    <a:cubicBezTo>
                      <a:pt x="767" y="28"/>
                      <a:pt x="767" y="28"/>
                      <a:pt x="767" y="28"/>
                    </a:cubicBezTo>
                    <a:cubicBezTo>
                      <a:pt x="763" y="28"/>
                      <a:pt x="763" y="28"/>
                      <a:pt x="763" y="28"/>
                    </a:cubicBezTo>
                    <a:cubicBezTo>
                      <a:pt x="761" y="27"/>
                      <a:pt x="761" y="27"/>
                      <a:pt x="761" y="27"/>
                    </a:cubicBezTo>
                    <a:cubicBezTo>
                      <a:pt x="758" y="23"/>
                      <a:pt x="758" y="23"/>
                      <a:pt x="758" y="23"/>
                    </a:cubicBezTo>
                    <a:cubicBezTo>
                      <a:pt x="753" y="22"/>
                      <a:pt x="753" y="22"/>
                      <a:pt x="753" y="22"/>
                    </a:cubicBezTo>
                    <a:cubicBezTo>
                      <a:pt x="751" y="23"/>
                      <a:pt x="751" y="23"/>
                      <a:pt x="751" y="23"/>
                    </a:cubicBezTo>
                    <a:cubicBezTo>
                      <a:pt x="751" y="24"/>
                      <a:pt x="751" y="24"/>
                      <a:pt x="751" y="24"/>
                    </a:cubicBezTo>
                    <a:cubicBezTo>
                      <a:pt x="757" y="26"/>
                      <a:pt x="757" y="26"/>
                      <a:pt x="757" y="26"/>
                    </a:cubicBezTo>
                    <a:cubicBezTo>
                      <a:pt x="759" y="29"/>
                      <a:pt x="759" y="29"/>
                      <a:pt x="759" y="29"/>
                    </a:cubicBezTo>
                    <a:cubicBezTo>
                      <a:pt x="757" y="30"/>
                      <a:pt x="757" y="30"/>
                      <a:pt x="757" y="30"/>
                    </a:cubicBezTo>
                    <a:cubicBezTo>
                      <a:pt x="751" y="28"/>
                      <a:pt x="751" y="28"/>
                      <a:pt x="751" y="28"/>
                    </a:cubicBezTo>
                    <a:cubicBezTo>
                      <a:pt x="745" y="27"/>
                      <a:pt x="745" y="27"/>
                      <a:pt x="745" y="27"/>
                    </a:cubicBezTo>
                    <a:cubicBezTo>
                      <a:pt x="737" y="31"/>
                      <a:pt x="737" y="31"/>
                      <a:pt x="737" y="31"/>
                    </a:cubicBezTo>
                    <a:cubicBezTo>
                      <a:pt x="727" y="39"/>
                      <a:pt x="727" y="39"/>
                      <a:pt x="727" y="39"/>
                    </a:cubicBezTo>
                    <a:cubicBezTo>
                      <a:pt x="716" y="44"/>
                      <a:pt x="716" y="44"/>
                      <a:pt x="716" y="44"/>
                    </a:cubicBezTo>
                    <a:cubicBezTo>
                      <a:pt x="708" y="50"/>
                      <a:pt x="708" y="50"/>
                      <a:pt x="708" y="50"/>
                    </a:cubicBezTo>
                    <a:cubicBezTo>
                      <a:pt x="700" y="57"/>
                      <a:pt x="700" y="57"/>
                      <a:pt x="700" y="57"/>
                    </a:cubicBezTo>
                    <a:cubicBezTo>
                      <a:pt x="691" y="65"/>
                      <a:pt x="691" y="65"/>
                      <a:pt x="691" y="65"/>
                    </a:cubicBezTo>
                    <a:cubicBezTo>
                      <a:pt x="684" y="68"/>
                      <a:pt x="684" y="68"/>
                      <a:pt x="684" y="68"/>
                    </a:cubicBezTo>
                    <a:cubicBezTo>
                      <a:pt x="681" y="68"/>
                      <a:pt x="681" y="68"/>
                      <a:pt x="681" y="68"/>
                    </a:cubicBezTo>
                    <a:cubicBezTo>
                      <a:pt x="675" y="71"/>
                      <a:pt x="675" y="71"/>
                      <a:pt x="675" y="71"/>
                    </a:cubicBezTo>
                    <a:cubicBezTo>
                      <a:pt x="671" y="72"/>
                      <a:pt x="671" y="72"/>
                      <a:pt x="671" y="72"/>
                    </a:cubicBezTo>
                    <a:cubicBezTo>
                      <a:pt x="665" y="75"/>
                      <a:pt x="665" y="75"/>
                      <a:pt x="665" y="75"/>
                    </a:cubicBezTo>
                    <a:cubicBezTo>
                      <a:pt x="659" y="76"/>
                      <a:pt x="659" y="76"/>
                      <a:pt x="659" y="76"/>
                    </a:cubicBezTo>
                    <a:cubicBezTo>
                      <a:pt x="656" y="73"/>
                      <a:pt x="656" y="73"/>
                      <a:pt x="656" y="73"/>
                    </a:cubicBezTo>
                    <a:cubicBezTo>
                      <a:pt x="650" y="73"/>
                      <a:pt x="650" y="73"/>
                      <a:pt x="650" y="73"/>
                    </a:cubicBezTo>
                    <a:cubicBezTo>
                      <a:pt x="645" y="70"/>
                      <a:pt x="645" y="70"/>
                      <a:pt x="645" y="70"/>
                    </a:cubicBezTo>
                    <a:cubicBezTo>
                      <a:pt x="641" y="68"/>
                      <a:pt x="641" y="68"/>
                      <a:pt x="641" y="68"/>
                    </a:cubicBezTo>
                    <a:cubicBezTo>
                      <a:pt x="635" y="65"/>
                      <a:pt x="635" y="65"/>
                      <a:pt x="635" y="65"/>
                    </a:cubicBezTo>
                    <a:cubicBezTo>
                      <a:pt x="633" y="66"/>
                      <a:pt x="633" y="66"/>
                      <a:pt x="633" y="66"/>
                    </a:cubicBezTo>
                    <a:cubicBezTo>
                      <a:pt x="629" y="70"/>
                      <a:pt x="629" y="70"/>
                      <a:pt x="629" y="70"/>
                    </a:cubicBezTo>
                    <a:cubicBezTo>
                      <a:pt x="622" y="77"/>
                      <a:pt x="622" y="77"/>
                      <a:pt x="622" y="77"/>
                    </a:cubicBezTo>
                    <a:cubicBezTo>
                      <a:pt x="620" y="81"/>
                      <a:pt x="620" y="81"/>
                      <a:pt x="620" y="81"/>
                    </a:cubicBezTo>
                    <a:cubicBezTo>
                      <a:pt x="616" y="85"/>
                      <a:pt x="616" y="85"/>
                      <a:pt x="616" y="85"/>
                    </a:cubicBezTo>
                    <a:cubicBezTo>
                      <a:pt x="614" y="89"/>
                      <a:pt x="614" y="89"/>
                      <a:pt x="614" y="89"/>
                    </a:cubicBezTo>
                    <a:cubicBezTo>
                      <a:pt x="611" y="89"/>
                      <a:pt x="611" y="89"/>
                      <a:pt x="611" y="89"/>
                    </a:cubicBezTo>
                    <a:cubicBezTo>
                      <a:pt x="609" y="87"/>
                      <a:pt x="609" y="87"/>
                      <a:pt x="609" y="87"/>
                    </a:cubicBezTo>
                    <a:cubicBezTo>
                      <a:pt x="607" y="88"/>
                      <a:pt x="607" y="88"/>
                      <a:pt x="607" y="88"/>
                    </a:cubicBezTo>
                    <a:cubicBezTo>
                      <a:pt x="610" y="96"/>
                      <a:pt x="610" y="96"/>
                      <a:pt x="610" y="96"/>
                    </a:cubicBezTo>
                    <a:cubicBezTo>
                      <a:pt x="615" y="113"/>
                      <a:pt x="615" y="113"/>
                      <a:pt x="615" y="113"/>
                    </a:cubicBezTo>
                    <a:cubicBezTo>
                      <a:pt x="620" y="125"/>
                      <a:pt x="620" y="125"/>
                      <a:pt x="620" y="125"/>
                    </a:cubicBezTo>
                    <a:cubicBezTo>
                      <a:pt x="622" y="136"/>
                      <a:pt x="622" y="136"/>
                      <a:pt x="622" y="136"/>
                    </a:cubicBezTo>
                    <a:cubicBezTo>
                      <a:pt x="620" y="147"/>
                      <a:pt x="620" y="147"/>
                      <a:pt x="620" y="147"/>
                    </a:cubicBezTo>
                    <a:cubicBezTo>
                      <a:pt x="616" y="154"/>
                      <a:pt x="616" y="154"/>
                      <a:pt x="616" y="154"/>
                    </a:cubicBezTo>
                    <a:cubicBezTo>
                      <a:pt x="613" y="159"/>
                      <a:pt x="613" y="159"/>
                      <a:pt x="613" y="159"/>
                    </a:cubicBezTo>
                    <a:cubicBezTo>
                      <a:pt x="613" y="161"/>
                      <a:pt x="613" y="161"/>
                      <a:pt x="613" y="161"/>
                    </a:cubicBezTo>
                    <a:cubicBezTo>
                      <a:pt x="620" y="169"/>
                      <a:pt x="620" y="169"/>
                      <a:pt x="620" y="169"/>
                    </a:cubicBezTo>
                    <a:cubicBezTo>
                      <a:pt x="624" y="171"/>
                      <a:pt x="624" y="171"/>
                      <a:pt x="624" y="171"/>
                    </a:cubicBezTo>
                    <a:cubicBezTo>
                      <a:pt x="624" y="167"/>
                      <a:pt x="624" y="167"/>
                      <a:pt x="624" y="167"/>
                    </a:cubicBezTo>
                    <a:cubicBezTo>
                      <a:pt x="626" y="169"/>
                      <a:pt x="626" y="169"/>
                      <a:pt x="626" y="169"/>
                    </a:cubicBezTo>
                    <a:cubicBezTo>
                      <a:pt x="629" y="167"/>
                      <a:pt x="629" y="167"/>
                      <a:pt x="629" y="167"/>
                    </a:cubicBezTo>
                    <a:cubicBezTo>
                      <a:pt x="632" y="167"/>
                      <a:pt x="632" y="167"/>
                      <a:pt x="632" y="167"/>
                    </a:cubicBezTo>
                    <a:cubicBezTo>
                      <a:pt x="629" y="169"/>
                      <a:pt x="629" y="169"/>
                      <a:pt x="629" y="169"/>
                    </a:cubicBezTo>
                    <a:cubicBezTo>
                      <a:pt x="629" y="172"/>
                      <a:pt x="629" y="172"/>
                      <a:pt x="629" y="172"/>
                    </a:cubicBezTo>
                    <a:cubicBezTo>
                      <a:pt x="638" y="179"/>
                      <a:pt x="638" y="179"/>
                      <a:pt x="638" y="179"/>
                    </a:cubicBezTo>
                    <a:cubicBezTo>
                      <a:pt x="636" y="180"/>
                      <a:pt x="636" y="180"/>
                      <a:pt x="636" y="180"/>
                    </a:cubicBezTo>
                    <a:cubicBezTo>
                      <a:pt x="632" y="180"/>
                      <a:pt x="632" y="180"/>
                      <a:pt x="632" y="180"/>
                    </a:cubicBezTo>
                    <a:cubicBezTo>
                      <a:pt x="631" y="183"/>
                      <a:pt x="631" y="183"/>
                      <a:pt x="631" y="183"/>
                    </a:cubicBezTo>
                    <a:cubicBezTo>
                      <a:pt x="630" y="192"/>
                      <a:pt x="630" y="192"/>
                      <a:pt x="630" y="192"/>
                    </a:cubicBezTo>
                    <a:cubicBezTo>
                      <a:pt x="630" y="196"/>
                      <a:pt x="630" y="196"/>
                      <a:pt x="630" y="196"/>
                    </a:cubicBezTo>
                    <a:cubicBezTo>
                      <a:pt x="632" y="198"/>
                      <a:pt x="632" y="198"/>
                      <a:pt x="632" y="198"/>
                    </a:cubicBezTo>
                    <a:cubicBezTo>
                      <a:pt x="635" y="196"/>
                      <a:pt x="635" y="196"/>
                      <a:pt x="635" y="196"/>
                    </a:cubicBezTo>
                    <a:cubicBezTo>
                      <a:pt x="639" y="194"/>
                      <a:pt x="639" y="194"/>
                      <a:pt x="639" y="194"/>
                    </a:cubicBezTo>
                    <a:cubicBezTo>
                      <a:pt x="643" y="196"/>
                      <a:pt x="643" y="196"/>
                      <a:pt x="643" y="196"/>
                    </a:cubicBezTo>
                    <a:cubicBezTo>
                      <a:pt x="644" y="198"/>
                      <a:pt x="644" y="198"/>
                      <a:pt x="644" y="198"/>
                    </a:cubicBezTo>
                    <a:cubicBezTo>
                      <a:pt x="649" y="197"/>
                      <a:pt x="649" y="197"/>
                      <a:pt x="649" y="197"/>
                    </a:cubicBezTo>
                    <a:cubicBezTo>
                      <a:pt x="655" y="198"/>
                      <a:pt x="655" y="198"/>
                      <a:pt x="655" y="198"/>
                    </a:cubicBezTo>
                    <a:cubicBezTo>
                      <a:pt x="660" y="201"/>
                      <a:pt x="660" y="201"/>
                      <a:pt x="660" y="201"/>
                    </a:cubicBezTo>
                    <a:cubicBezTo>
                      <a:pt x="655" y="204"/>
                      <a:pt x="655" y="204"/>
                      <a:pt x="655" y="204"/>
                    </a:cubicBezTo>
                    <a:cubicBezTo>
                      <a:pt x="656" y="208"/>
                      <a:pt x="656" y="208"/>
                      <a:pt x="656" y="208"/>
                    </a:cubicBezTo>
                    <a:cubicBezTo>
                      <a:pt x="655" y="212"/>
                      <a:pt x="655" y="212"/>
                      <a:pt x="655" y="212"/>
                    </a:cubicBezTo>
                    <a:cubicBezTo>
                      <a:pt x="648" y="212"/>
                      <a:pt x="648" y="212"/>
                      <a:pt x="648" y="212"/>
                    </a:cubicBezTo>
                    <a:cubicBezTo>
                      <a:pt x="649" y="210"/>
                      <a:pt x="649" y="210"/>
                      <a:pt x="649" y="210"/>
                    </a:cubicBezTo>
                    <a:cubicBezTo>
                      <a:pt x="645" y="208"/>
                      <a:pt x="645" y="208"/>
                      <a:pt x="645" y="208"/>
                    </a:cubicBezTo>
                    <a:cubicBezTo>
                      <a:pt x="643" y="209"/>
                      <a:pt x="643" y="209"/>
                      <a:pt x="643" y="209"/>
                    </a:cubicBezTo>
                    <a:cubicBezTo>
                      <a:pt x="638" y="208"/>
                      <a:pt x="638" y="208"/>
                      <a:pt x="638" y="208"/>
                    </a:cubicBezTo>
                    <a:cubicBezTo>
                      <a:pt x="636" y="206"/>
                      <a:pt x="636" y="206"/>
                      <a:pt x="636" y="206"/>
                    </a:cubicBezTo>
                    <a:cubicBezTo>
                      <a:pt x="634" y="201"/>
                      <a:pt x="634" y="201"/>
                      <a:pt x="634" y="201"/>
                    </a:cubicBezTo>
                    <a:cubicBezTo>
                      <a:pt x="631" y="200"/>
                      <a:pt x="631" y="200"/>
                      <a:pt x="631" y="200"/>
                    </a:cubicBezTo>
                    <a:cubicBezTo>
                      <a:pt x="629" y="200"/>
                      <a:pt x="629" y="200"/>
                      <a:pt x="629" y="200"/>
                    </a:cubicBezTo>
                    <a:cubicBezTo>
                      <a:pt x="624" y="197"/>
                      <a:pt x="624" y="197"/>
                      <a:pt x="624" y="197"/>
                    </a:cubicBezTo>
                    <a:cubicBezTo>
                      <a:pt x="625" y="191"/>
                      <a:pt x="625" y="191"/>
                      <a:pt x="625" y="191"/>
                    </a:cubicBezTo>
                    <a:cubicBezTo>
                      <a:pt x="629" y="180"/>
                      <a:pt x="629" y="180"/>
                      <a:pt x="629" y="180"/>
                    </a:cubicBezTo>
                    <a:cubicBezTo>
                      <a:pt x="628" y="177"/>
                      <a:pt x="628" y="177"/>
                      <a:pt x="628" y="177"/>
                    </a:cubicBezTo>
                    <a:cubicBezTo>
                      <a:pt x="627" y="177"/>
                      <a:pt x="627" y="177"/>
                      <a:pt x="627" y="177"/>
                    </a:cubicBezTo>
                    <a:cubicBezTo>
                      <a:pt x="624" y="180"/>
                      <a:pt x="624" y="180"/>
                      <a:pt x="624" y="180"/>
                    </a:cubicBezTo>
                    <a:cubicBezTo>
                      <a:pt x="623" y="191"/>
                      <a:pt x="623" y="191"/>
                      <a:pt x="623" y="191"/>
                    </a:cubicBezTo>
                    <a:cubicBezTo>
                      <a:pt x="621" y="198"/>
                      <a:pt x="621" y="198"/>
                      <a:pt x="621" y="198"/>
                    </a:cubicBezTo>
                    <a:cubicBezTo>
                      <a:pt x="618" y="202"/>
                      <a:pt x="618" y="202"/>
                      <a:pt x="618" y="202"/>
                    </a:cubicBezTo>
                    <a:cubicBezTo>
                      <a:pt x="618" y="205"/>
                      <a:pt x="618" y="205"/>
                      <a:pt x="618" y="205"/>
                    </a:cubicBezTo>
                    <a:cubicBezTo>
                      <a:pt x="620" y="201"/>
                      <a:pt x="620" y="201"/>
                      <a:pt x="620" y="201"/>
                    </a:cubicBezTo>
                    <a:cubicBezTo>
                      <a:pt x="623" y="201"/>
                      <a:pt x="623" y="201"/>
                      <a:pt x="623" y="201"/>
                    </a:cubicBezTo>
                    <a:cubicBezTo>
                      <a:pt x="625" y="202"/>
                      <a:pt x="625" y="202"/>
                      <a:pt x="625" y="202"/>
                    </a:cubicBezTo>
                    <a:cubicBezTo>
                      <a:pt x="630" y="202"/>
                      <a:pt x="630" y="202"/>
                      <a:pt x="630" y="202"/>
                    </a:cubicBezTo>
                    <a:cubicBezTo>
                      <a:pt x="631" y="207"/>
                      <a:pt x="631" y="207"/>
                      <a:pt x="631" y="207"/>
                    </a:cubicBezTo>
                    <a:cubicBezTo>
                      <a:pt x="631" y="213"/>
                      <a:pt x="631" y="213"/>
                      <a:pt x="631" y="213"/>
                    </a:cubicBezTo>
                    <a:cubicBezTo>
                      <a:pt x="627" y="217"/>
                      <a:pt x="627" y="217"/>
                      <a:pt x="627" y="217"/>
                    </a:cubicBezTo>
                    <a:cubicBezTo>
                      <a:pt x="622" y="219"/>
                      <a:pt x="622" y="219"/>
                      <a:pt x="622" y="219"/>
                    </a:cubicBezTo>
                    <a:cubicBezTo>
                      <a:pt x="627" y="213"/>
                      <a:pt x="627" y="213"/>
                      <a:pt x="627" y="213"/>
                    </a:cubicBezTo>
                    <a:cubicBezTo>
                      <a:pt x="626" y="211"/>
                      <a:pt x="626" y="211"/>
                      <a:pt x="626" y="211"/>
                    </a:cubicBezTo>
                    <a:cubicBezTo>
                      <a:pt x="624" y="210"/>
                      <a:pt x="624" y="210"/>
                      <a:pt x="624" y="210"/>
                    </a:cubicBezTo>
                    <a:cubicBezTo>
                      <a:pt x="622" y="209"/>
                      <a:pt x="622" y="209"/>
                      <a:pt x="622" y="209"/>
                    </a:cubicBezTo>
                    <a:cubicBezTo>
                      <a:pt x="620" y="210"/>
                      <a:pt x="620" y="210"/>
                      <a:pt x="620" y="210"/>
                    </a:cubicBezTo>
                    <a:cubicBezTo>
                      <a:pt x="614" y="215"/>
                      <a:pt x="614" y="215"/>
                      <a:pt x="614" y="215"/>
                    </a:cubicBezTo>
                    <a:cubicBezTo>
                      <a:pt x="614" y="218"/>
                      <a:pt x="614" y="218"/>
                      <a:pt x="614" y="218"/>
                    </a:cubicBezTo>
                    <a:cubicBezTo>
                      <a:pt x="611" y="219"/>
                      <a:pt x="611" y="219"/>
                      <a:pt x="611" y="219"/>
                    </a:cubicBezTo>
                    <a:cubicBezTo>
                      <a:pt x="607" y="221"/>
                      <a:pt x="607" y="221"/>
                      <a:pt x="607" y="221"/>
                    </a:cubicBezTo>
                    <a:cubicBezTo>
                      <a:pt x="606" y="217"/>
                      <a:pt x="606" y="217"/>
                      <a:pt x="606" y="217"/>
                    </a:cubicBezTo>
                    <a:cubicBezTo>
                      <a:pt x="605" y="217"/>
                      <a:pt x="605" y="217"/>
                      <a:pt x="605" y="217"/>
                    </a:cubicBezTo>
                    <a:cubicBezTo>
                      <a:pt x="600" y="217"/>
                      <a:pt x="600" y="217"/>
                      <a:pt x="600" y="217"/>
                    </a:cubicBezTo>
                    <a:cubicBezTo>
                      <a:pt x="597" y="216"/>
                      <a:pt x="597" y="216"/>
                      <a:pt x="597" y="216"/>
                    </a:cubicBezTo>
                    <a:cubicBezTo>
                      <a:pt x="597" y="212"/>
                      <a:pt x="597" y="212"/>
                      <a:pt x="597" y="212"/>
                    </a:cubicBezTo>
                    <a:cubicBezTo>
                      <a:pt x="594" y="211"/>
                      <a:pt x="594" y="211"/>
                      <a:pt x="594" y="211"/>
                    </a:cubicBezTo>
                    <a:cubicBezTo>
                      <a:pt x="592" y="212"/>
                      <a:pt x="592" y="212"/>
                      <a:pt x="592" y="212"/>
                    </a:cubicBezTo>
                    <a:cubicBezTo>
                      <a:pt x="589" y="212"/>
                      <a:pt x="589" y="212"/>
                      <a:pt x="589" y="212"/>
                    </a:cubicBezTo>
                    <a:cubicBezTo>
                      <a:pt x="588" y="209"/>
                      <a:pt x="588" y="209"/>
                      <a:pt x="588" y="209"/>
                    </a:cubicBezTo>
                    <a:cubicBezTo>
                      <a:pt x="586" y="207"/>
                      <a:pt x="586" y="207"/>
                      <a:pt x="586" y="207"/>
                    </a:cubicBezTo>
                    <a:cubicBezTo>
                      <a:pt x="583" y="209"/>
                      <a:pt x="583" y="209"/>
                      <a:pt x="583" y="209"/>
                    </a:cubicBezTo>
                    <a:cubicBezTo>
                      <a:pt x="581" y="208"/>
                      <a:pt x="581" y="208"/>
                      <a:pt x="581" y="208"/>
                    </a:cubicBezTo>
                    <a:cubicBezTo>
                      <a:pt x="581" y="204"/>
                      <a:pt x="581" y="204"/>
                      <a:pt x="581" y="204"/>
                    </a:cubicBezTo>
                    <a:cubicBezTo>
                      <a:pt x="580" y="201"/>
                      <a:pt x="580" y="201"/>
                      <a:pt x="580" y="201"/>
                    </a:cubicBezTo>
                    <a:cubicBezTo>
                      <a:pt x="580" y="199"/>
                      <a:pt x="580" y="199"/>
                      <a:pt x="580" y="199"/>
                    </a:cubicBezTo>
                    <a:cubicBezTo>
                      <a:pt x="583" y="198"/>
                      <a:pt x="583" y="198"/>
                      <a:pt x="583" y="198"/>
                    </a:cubicBezTo>
                    <a:cubicBezTo>
                      <a:pt x="587" y="193"/>
                      <a:pt x="587" y="193"/>
                      <a:pt x="587" y="193"/>
                    </a:cubicBezTo>
                    <a:cubicBezTo>
                      <a:pt x="589" y="192"/>
                      <a:pt x="589" y="192"/>
                      <a:pt x="589" y="192"/>
                    </a:cubicBezTo>
                    <a:cubicBezTo>
                      <a:pt x="592" y="189"/>
                      <a:pt x="592" y="189"/>
                      <a:pt x="592" y="189"/>
                    </a:cubicBezTo>
                    <a:cubicBezTo>
                      <a:pt x="591" y="187"/>
                      <a:pt x="591" y="187"/>
                      <a:pt x="591" y="187"/>
                    </a:cubicBezTo>
                    <a:cubicBezTo>
                      <a:pt x="586" y="182"/>
                      <a:pt x="586" y="182"/>
                      <a:pt x="586" y="182"/>
                    </a:cubicBezTo>
                    <a:cubicBezTo>
                      <a:pt x="583" y="181"/>
                      <a:pt x="583" y="181"/>
                      <a:pt x="583" y="181"/>
                    </a:cubicBezTo>
                    <a:cubicBezTo>
                      <a:pt x="580" y="181"/>
                      <a:pt x="580" y="181"/>
                      <a:pt x="580" y="181"/>
                    </a:cubicBezTo>
                    <a:cubicBezTo>
                      <a:pt x="574" y="184"/>
                      <a:pt x="574" y="184"/>
                      <a:pt x="574" y="184"/>
                    </a:cubicBezTo>
                    <a:cubicBezTo>
                      <a:pt x="570" y="184"/>
                      <a:pt x="570" y="184"/>
                      <a:pt x="570" y="184"/>
                    </a:cubicBezTo>
                    <a:cubicBezTo>
                      <a:pt x="567" y="182"/>
                      <a:pt x="567" y="182"/>
                      <a:pt x="567" y="182"/>
                    </a:cubicBezTo>
                    <a:cubicBezTo>
                      <a:pt x="564" y="182"/>
                      <a:pt x="564" y="182"/>
                      <a:pt x="564" y="182"/>
                    </a:cubicBezTo>
                    <a:cubicBezTo>
                      <a:pt x="552" y="187"/>
                      <a:pt x="552" y="187"/>
                      <a:pt x="552" y="187"/>
                    </a:cubicBezTo>
                    <a:cubicBezTo>
                      <a:pt x="551" y="188"/>
                      <a:pt x="551" y="188"/>
                      <a:pt x="551" y="188"/>
                    </a:cubicBezTo>
                    <a:cubicBezTo>
                      <a:pt x="553" y="190"/>
                      <a:pt x="553" y="190"/>
                      <a:pt x="553" y="190"/>
                    </a:cubicBezTo>
                    <a:cubicBezTo>
                      <a:pt x="557" y="194"/>
                      <a:pt x="557" y="194"/>
                      <a:pt x="557" y="194"/>
                    </a:cubicBezTo>
                    <a:cubicBezTo>
                      <a:pt x="557" y="195"/>
                      <a:pt x="557" y="195"/>
                      <a:pt x="557" y="195"/>
                    </a:cubicBezTo>
                    <a:cubicBezTo>
                      <a:pt x="553" y="195"/>
                      <a:pt x="553" y="195"/>
                      <a:pt x="553" y="195"/>
                    </a:cubicBezTo>
                    <a:cubicBezTo>
                      <a:pt x="550" y="195"/>
                      <a:pt x="550" y="195"/>
                      <a:pt x="550" y="195"/>
                    </a:cubicBezTo>
                    <a:cubicBezTo>
                      <a:pt x="549" y="193"/>
                      <a:pt x="549" y="193"/>
                      <a:pt x="549" y="193"/>
                    </a:cubicBezTo>
                    <a:cubicBezTo>
                      <a:pt x="545" y="192"/>
                      <a:pt x="545" y="192"/>
                      <a:pt x="545" y="192"/>
                    </a:cubicBezTo>
                    <a:cubicBezTo>
                      <a:pt x="538" y="191"/>
                      <a:pt x="538" y="191"/>
                      <a:pt x="538" y="191"/>
                    </a:cubicBezTo>
                    <a:cubicBezTo>
                      <a:pt x="531" y="192"/>
                      <a:pt x="531" y="192"/>
                      <a:pt x="531" y="192"/>
                    </a:cubicBezTo>
                    <a:cubicBezTo>
                      <a:pt x="529" y="194"/>
                      <a:pt x="529" y="194"/>
                      <a:pt x="529" y="194"/>
                    </a:cubicBezTo>
                    <a:cubicBezTo>
                      <a:pt x="528" y="195"/>
                      <a:pt x="528" y="195"/>
                      <a:pt x="528" y="195"/>
                    </a:cubicBezTo>
                    <a:cubicBezTo>
                      <a:pt x="524" y="196"/>
                      <a:pt x="524" y="196"/>
                      <a:pt x="524" y="196"/>
                    </a:cubicBezTo>
                    <a:cubicBezTo>
                      <a:pt x="524" y="194"/>
                      <a:pt x="524" y="194"/>
                      <a:pt x="524" y="194"/>
                    </a:cubicBezTo>
                    <a:cubicBezTo>
                      <a:pt x="521" y="194"/>
                      <a:pt x="521" y="194"/>
                      <a:pt x="521" y="194"/>
                    </a:cubicBezTo>
                    <a:cubicBezTo>
                      <a:pt x="515" y="197"/>
                      <a:pt x="515" y="197"/>
                      <a:pt x="515" y="197"/>
                    </a:cubicBezTo>
                    <a:cubicBezTo>
                      <a:pt x="515" y="200"/>
                      <a:pt x="515" y="200"/>
                      <a:pt x="515" y="200"/>
                    </a:cubicBezTo>
                    <a:cubicBezTo>
                      <a:pt x="512" y="201"/>
                      <a:pt x="512" y="201"/>
                      <a:pt x="512" y="201"/>
                    </a:cubicBezTo>
                    <a:cubicBezTo>
                      <a:pt x="506" y="203"/>
                      <a:pt x="506" y="203"/>
                      <a:pt x="506" y="203"/>
                    </a:cubicBezTo>
                    <a:cubicBezTo>
                      <a:pt x="502" y="206"/>
                      <a:pt x="502" y="206"/>
                      <a:pt x="502" y="206"/>
                    </a:cubicBezTo>
                    <a:cubicBezTo>
                      <a:pt x="500" y="206"/>
                      <a:pt x="500" y="206"/>
                      <a:pt x="500" y="206"/>
                    </a:cubicBezTo>
                    <a:cubicBezTo>
                      <a:pt x="501" y="205"/>
                      <a:pt x="501" y="205"/>
                      <a:pt x="501" y="205"/>
                    </a:cubicBezTo>
                    <a:cubicBezTo>
                      <a:pt x="502" y="202"/>
                      <a:pt x="502" y="202"/>
                      <a:pt x="502" y="202"/>
                    </a:cubicBezTo>
                    <a:cubicBezTo>
                      <a:pt x="499" y="204"/>
                      <a:pt x="499" y="204"/>
                      <a:pt x="499" y="204"/>
                    </a:cubicBezTo>
                    <a:cubicBezTo>
                      <a:pt x="496" y="208"/>
                      <a:pt x="496" y="208"/>
                      <a:pt x="496" y="208"/>
                    </a:cubicBezTo>
                    <a:cubicBezTo>
                      <a:pt x="496" y="210"/>
                      <a:pt x="496" y="210"/>
                      <a:pt x="496" y="210"/>
                    </a:cubicBezTo>
                    <a:cubicBezTo>
                      <a:pt x="501" y="216"/>
                      <a:pt x="501" y="216"/>
                      <a:pt x="501" y="216"/>
                    </a:cubicBezTo>
                    <a:cubicBezTo>
                      <a:pt x="506" y="223"/>
                      <a:pt x="506" y="223"/>
                      <a:pt x="506" y="223"/>
                    </a:cubicBezTo>
                    <a:cubicBezTo>
                      <a:pt x="511" y="225"/>
                      <a:pt x="511" y="225"/>
                      <a:pt x="511" y="225"/>
                    </a:cubicBezTo>
                    <a:cubicBezTo>
                      <a:pt x="515" y="230"/>
                      <a:pt x="515" y="230"/>
                      <a:pt x="515" y="230"/>
                    </a:cubicBezTo>
                    <a:cubicBezTo>
                      <a:pt x="520" y="232"/>
                      <a:pt x="520" y="232"/>
                      <a:pt x="520" y="232"/>
                    </a:cubicBezTo>
                    <a:cubicBezTo>
                      <a:pt x="521" y="236"/>
                      <a:pt x="521" y="236"/>
                      <a:pt x="521" y="236"/>
                    </a:cubicBezTo>
                    <a:cubicBezTo>
                      <a:pt x="525" y="237"/>
                      <a:pt x="525" y="237"/>
                      <a:pt x="525" y="237"/>
                    </a:cubicBezTo>
                    <a:cubicBezTo>
                      <a:pt x="529" y="240"/>
                      <a:pt x="529" y="240"/>
                      <a:pt x="529" y="240"/>
                    </a:cubicBezTo>
                    <a:cubicBezTo>
                      <a:pt x="528" y="241"/>
                      <a:pt x="528" y="241"/>
                      <a:pt x="528" y="241"/>
                    </a:cubicBezTo>
                    <a:cubicBezTo>
                      <a:pt x="522" y="241"/>
                      <a:pt x="522" y="241"/>
                      <a:pt x="522" y="241"/>
                    </a:cubicBezTo>
                    <a:cubicBezTo>
                      <a:pt x="521" y="237"/>
                      <a:pt x="521" y="237"/>
                      <a:pt x="521" y="237"/>
                    </a:cubicBezTo>
                    <a:cubicBezTo>
                      <a:pt x="516" y="234"/>
                      <a:pt x="516" y="234"/>
                      <a:pt x="516" y="234"/>
                    </a:cubicBezTo>
                    <a:cubicBezTo>
                      <a:pt x="514" y="232"/>
                      <a:pt x="514" y="232"/>
                      <a:pt x="514" y="232"/>
                    </a:cubicBezTo>
                    <a:cubicBezTo>
                      <a:pt x="512" y="232"/>
                      <a:pt x="512" y="232"/>
                      <a:pt x="512" y="232"/>
                    </a:cubicBezTo>
                    <a:cubicBezTo>
                      <a:pt x="508" y="237"/>
                      <a:pt x="508" y="237"/>
                      <a:pt x="508" y="237"/>
                    </a:cubicBezTo>
                    <a:cubicBezTo>
                      <a:pt x="505" y="237"/>
                      <a:pt x="505" y="237"/>
                      <a:pt x="505" y="237"/>
                    </a:cubicBezTo>
                    <a:cubicBezTo>
                      <a:pt x="503" y="233"/>
                      <a:pt x="503" y="233"/>
                      <a:pt x="503" y="233"/>
                    </a:cubicBezTo>
                    <a:cubicBezTo>
                      <a:pt x="506" y="230"/>
                      <a:pt x="506" y="230"/>
                      <a:pt x="506" y="230"/>
                    </a:cubicBezTo>
                    <a:cubicBezTo>
                      <a:pt x="506" y="228"/>
                      <a:pt x="506" y="228"/>
                      <a:pt x="506" y="228"/>
                    </a:cubicBezTo>
                    <a:cubicBezTo>
                      <a:pt x="503" y="228"/>
                      <a:pt x="503" y="228"/>
                      <a:pt x="503" y="228"/>
                    </a:cubicBezTo>
                    <a:cubicBezTo>
                      <a:pt x="500" y="232"/>
                      <a:pt x="500" y="232"/>
                      <a:pt x="500" y="232"/>
                    </a:cubicBezTo>
                    <a:cubicBezTo>
                      <a:pt x="501" y="240"/>
                      <a:pt x="501" y="240"/>
                      <a:pt x="501" y="240"/>
                    </a:cubicBezTo>
                    <a:cubicBezTo>
                      <a:pt x="502" y="241"/>
                      <a:pt x="502" y="241"/>
                      <a:pt x="502" y="241"/>
                    </a:cubicBezTo>
                    <a:cubicBezTo>
                      <a:pt x="502" y="244"/>
                      <a:pt x="502" y="244"/>
                      <a:pt x="502" y="244"/>
                    </a:cubicBezTo>
                    <a:cubicBezTo>
                      <a:pt x="498" y="248"/>
                      <a:pt x="498" y="248"/>
                      <a:pt x="498" y="248"/>
                    </a:cubicBezTo>
                    <a:cubicBezTo>
                      <a:pt x="495" y="252"/>
                      <a:pt x="495" y="252"/>
                      <a:pt x="495" y="252"/>
                    </a:cubicBezTo>
                    <a:cubicBezTo>
                      <a:pt x="494" y="258"/>
                      <a:pt x="494" y="258"/>
                      <a:pt x="494" y="258"/>
                    </a:cubicBezTo>
                    <a:cubicBezTo>
                      <a:pt x="495" y="263"/>
                      <a:pt x="495" y="263"/>
                      <a:pt x="495" y="263"/>
                    </a:cubicBezTo>
                    <a:cubicBezTo>
                      <a:pt x="501" y="270"/>
                      <a:pt x="501" y="270"/>
                      <a:pt x="501" y="270"/>
                    </a:cubicBezTo>
                    <a:cubicBezTo>
                      <a:pt x="508" y="272"/>
                      <a:pt x="508" y="272"/>
                      <a:pt x="508" y="272"/>
                    </a:cubicBezTo>
                    <a:cubicBezTo>
                      <a:pt x="512" y="277"/>
                      <a:pt x="512" y="277"/>
                      <a:pt x="512" y="277"/>
                    </a:cubicBezTo>
                    <a:cubicBezTo>
                      <a:pt x="514" y="277"/>
                      <a:pt x="514" y="277"/>
                      <a:pt x="514" y="277"/>
                    </a:cubicBezTo>
                    <a:cubicBezTo>
                      <a:pt x="519" y="273"/>
                      <a:pt x="519" y="273"/>
                      <a:pt x="519" y="273"/>
                    </a:cubicBezTo>
                    <a:cubicBezTo>
                      <a:pt x="525" y="271"/>
                      <a:pt x="525" y="271"/>
                      <a:pt x="525" y="271"/>
                    </a:cubicBezTo>
                    <a:cubicBezTo>
                      <a:pt x="529" y="274"/>
                      <a:pt x="529" y="274"/>
                      <a:pt x="529" y="274"/>
                    </a:cubicBezTo>
                    <a:cubicBezTo>
                      <a:pt x="538" y="275"/>
                      <a:pt x="538" y="275"/>
                      <a:pt x="538" y="275"/>
                    </a:cubicBezTo>
                    <a:cubicBezTo>
                      <a:pt x="541" y="277"/>
                      <a:pt x="541" y="277"/>
                      <a:pt x="541" y="277"/>
                    </a:cubicBezTo>
                    <a:cubicBezTo>
                      <a:pt x="542" y="282"/>
                      <a:pt x="542" y="282"/>
                      <a:pt x="542" y="282"/>
                    </a:cubicBezTo>
                    <a:cubicBezTo>
                      <a:pt x="544" y="283"/>
                      <a:pt x="544" y="283"/>
                      <a:pt x="544" y="283"/>
                    </a:cubicBezTo>
                    <a:cubicBezTo>
                      <a:pt x="546" y="281"/>
                      <a:pt x="546" y="281"/>
                      <a:pt x="546" y="281"/>
                    </a:cubicBezTo>
                    <a:cubicBezTo>
                      <a:pt x="546" y="276"/>
                      <a:pt x="546" y="276"/>
                      <a:pt x="546" y="276"/>
                    </a:cubicBezTo>
                    <a:cubicBezTo>
                      <a:pt x="547" y="274"/>
                      <a:pt x="547" y="274"/>
                      <a:pt x="547" y="274"/>
                    </a:cubicBezTo>
                    <a:cubicBezTo>
                      <a:pt x="551" y="275"/>
                      <a:pt x="551" y="275"/>
                      <a:pt x="551" y="275"/>
                    </a:cubicBezTo>
                    <a:cubicBezTo>
                      <a:pt x="551" y="278"/>
                      <a:pt x="551" y="278"/>
                      <a:pt x="551" y="278"/>
                    </a:cubicBezTo>
                    <a:cubicBezTo>
                      <a:pt x="547" y="282"/>
                      <a:pt x="547" y="282"/>
                      <a:pt x="547" y="282"/>
                    </a:cubicBezTo>
                    <a:cubicBezTo>
                      <a:pt x="547" y="286"/>
                      <a:pt x="547" y="286"/>
                      <a:pt x="547" y="286"/>
                    </a:cubicBezTo>
                    <a:cubicBezTo>
                      <a:pt x="549" y="286"/>
                      <a:pt x="549" y="286"/>
                      <a:pt x="549" y="286"/>
                    </a:cubicBezTo>
                    <a:cubicBezTo>
                      <a:pt x="554" y="282"/>
                      <a:pt x="554" y="282"/>
                      <a:pt x="554" y="282"/>
                    </a:cubicBezTo>
                    <a:cubicBezTo>
                      <a:pt x="555" y="279"/>
                      <a:pt x="555" y="279"/>
                      <a:pt x="555" y="279"/>
                    </a:cubicBezTo>
                    <a:cubicBezTo>
                      <a:pt x="561" y="278"/>
                      <a:pt x="561" y="278"/>
                      <a:pt x="561" y="278"/>
                    </a:cubicBezTo>
                    <a:cubicBezTo>
                      <a:pt x="569" y="273"/>
                      <a:pt x="569" y="273"/>
                      <a:pt x="569" y="273"/>
                    </a:cubicBezTo>
                    <a:cubicBezTo>
                      <a:pt x="575" y="273"/>
                      <a:pt x="575" y="273"/>
                      <a:pt x="575" y="273"/>
                    </a:cubicBezTo>
                    <a:cubicBezTo>
                      <a:pt x="577" y="269"/>
                      <a:pt x="577" y="269"/>
                      <a:pt x="577" y="269"/>
                    </a:cubicBezTo>
                    <a:cubicBezTo>
                      <a:pt x="579" y="269"/>
                      <a:pt x="579" y="269"/>
                      <a:pt x="579" y="269"/>
                    </a:cubicBezTo>
                    <a:cubicBezTo>
                      <a:pt x="580" y="271"/>
                      <a:pt x="580" y="271"/>
                      <a:pt x="580" y="271"/>
                    </a:cubicBezTo>
                    <a:cubicBezTo>
                      <a:pt x="582" y="272"/>
                      <a:pt x="582" y="272"/>
                      <a:pt x="582" y="272"/>
                    </a:cubicBezTo>
                    <a:cubicBezTo>
                      <a:pt x="588" y="268"/>
                      <a:pt x="588" y="268"/>
                      <a:pt x="588" y="268"/>
                    </a:cubicBezTo>
                    <a:cubicBezTo>
                      <a:pt x="593" y="268"/>
                      <a:pt x="593" y="268"/>
                      <a:pt x="593" y="268"/>
                    </a:cubicBezTo>
                    <a:cubicBezTo>
                      <a:pt x="595" y="267"/>
                      <a:pt x="595" y="267"/>
                      <a:pt x="595" y="267"/>
                    </a:cubicBezTo>
                    <a:cubicBezTo>
                      <a:pt x="593" y="269"/>
                      <a:pt x="593" y="269"/>
                      <a:pt x="593" y="269"/>
                    </a:cubicBezTo>
                    <a:cubicBezTo>
                      <a:pt x="589" y="272"/>
                      <a:pt x="589" y="272"/>
                      <a:pt x="589" y="272"/>
                    </a:cubicBezTo>
                    <a:cubicBezTo>
                      <a:pt x="589" y="274"/>
                      <a:pt x="589" y="274"/>
                      <a:pt x="589" y="274"/>
                    </a:cubicBezTo>
                    <a:cubicBezTo>
                      <a:pt x="591" y="275"/>
                      <a:pt x="591" y="275"/>
                      <a:pt x="591" y="275"/>
                    </a:cubicBezTo>
                    <a:cubicBezTo>
                      <a:pt x="588" y="281"/>
                      <a:pt x="588" y="281"/>
                      <a:pt x="588" y="281"/>
                    </a:cubicBezTo>
                    <a:cubicBezTo>
                      <a:pt x="582" y="282"/>
                      <a:pt x="582" y="282"/>
                      <a:pt x="582" y="282"/>
                    </a:cubicBezTo>
                    <a:cubicBezTo>
                      <a:pt x="580" y="280"/>
                      <a:pt x="580" y="280"/>
                      <a:pt x="580" y="280"/>
                    </a:cubicBezTo>
                    <a:cubicBezTo>
                      <a:pt x="578" y="280"/>
                      <a:pt x="578" y="280"/>
                      <a:pt x="578" y="280"/>
                    </a:cubicBezTo>
                    <a:cubicBezTo>
                      <a:pt x="573" y="284"/>
                      <a:pt x="573" y="284"/>
                      <a:pt x="573" y="284"/>
                    </a:cubicBezTo>
                    <a:cubicBezTo>
                      <a:pt x="573" y="284"/>
                      <a:pt x="573" y="284"/>
                      <a:pt x="573" y="284"/>
                    </a:cubicBezTo>
                    <a:cubicBezTo>
                      <a:pt x="578" y="285"/>
                      <a:pt x="578" y="285"/>
                      <a:pt x="578" y="285"/>
                    </a:cubicBezTo>
                    <a:cubicBezTo>
                      <a:pt x="580" y="288"/>
                      <a:pt x="580" y="288"/>
                      <a:pt x="580" y="288"/>
                    </a:cubicBezTo>
                    <a:cubicBezTo>
                      <a:pt x="580" y="293"/>
                      <a:pt x="580" y="293"/>
                      <a:pt x="580" y="293"/>
                    </a:cubicBezTo>
                    <a:cubicBezTo>
                      <a:pt x="573" y="299"/>
                      <a:pt x="573" y="299"/>
                      <a:pt x="573" y="299"/>
                    </a:cubicBezTo>
                    <a:cubicBezTo>
                      <a:pt x="572" y="303"/>
                      <a:pt x="572" y="303"/>
                      <a:pt x="572" y="303"/>
                    </a:cubicBezTo>
                    <a:cubicBezTo>
                      <a:pt x="571" y="306"/>
                      <a:pt x="571" y="306"/>
                      <a:pt x="571" y="306"/>
                    </a:cubicBezTo>
                    <a:cubicBezTo>
                      <a:pt x="570" y="308"/>
                      <a:pt x="570" y="308"/>
                      <a:pt x="570" y="308"/>
                    </a:cubicBezTo>
                    <a:cubicBezTo>
                      <a:pt x="571" y="310"/>
                      <a:pt x="571" y="310"/>
                      <a:pt x="571" y="310"/>
                    </a:cubicBezTo>
                    <a:cubicBezTo>
                      <a:pt x="571" y="313"/>
                      <a:pt x="571" y="313"/>
                      <a:pt x="571" y="313"/>
                    </a:cubicBezTo>
                    <a:cubicBezTo>
                      <a:pt x="570" y="317"/>
                      <a:pt x="570" y="317"/>
                      <a:pt x="570" y="317"/>
                    </a:cubicBezTo>
                    <a:cubicBezTo>
                      <a:pt x="566" y="321"/>
                      <a:pt x="566" y="321"/>
                      <a:pt x="566" y="321"/>
                    </a:cubicBezTo>
                    <a:cubicBezTo>
                      <a:pt x="563" y="324"/>
                      <a:pt x="563" y="324"/>
                      <a:pt x="563" y="324"/>
                    </a:cubicBezTo>
                    <a:cubicBezTo>
                      <a:pt x="559" y="323"/>
                      <a:pt x="559" y="323"/>
                      <a:pt x="559" y="323"/>
                    </a:cubicBezTo>
                    <a:cubicBezTo>
                      <a:pt x="557" y="324"/>
                      <a:pt x="557" y="324"/>
                      <a:pt x="557" y="324"/>
                    </a:cubicBezTo>
                    <a:cubicBezTo>
                      <a:pt x="553" y="328"/>
                      <a:pt x="553" y="328"/>
                      <a:pt x="553" y="328"/>
                    </a:cubicBezTo>
                    <a:cubicBezTo>
                      <a:pt x="550" y="329"/>
                      <a:pt x="550" y="329"/>
                      <a:pt x="550" y="329"/>
                    </a:cubicBezTo>
                    <a:cubicBezTo>
                      <a:pt x="546" y="328"/>
                      <a:pt x="546" y="328"/>
                      <a:pt x="546" y="328"/>
                    </a:cubicBezTo>
                    <a:cubicBezTo>
                      <a:pt x="540" y="325"/>
                      <a:pt x="540" y="325"/>
                      <a:pt x="540" y="325"/>
                    </a:cubicBezTo>
                    <a:cubicBezTo>
                      <a:pt x="539" y="326"/>
                      <a:pt x="539" y="326"/>
                      <a:pt x="539" y="326"/>
                    </a:cubicBezTo>
                    <a:cubicBezTo>
                      <a:pt x="537" y="324"/>
                      <a:pt x="537" y="324"/>
                      <a:pt x="537" y="324"/>
                    </a:cubicBezTo>
                    <a:cubicBezTo>
                      <a:pt x="534" y="321"/>
                      <a:pt x="534" y="321"/>
                      <a:pt x="534" y="321"/>
                    </a:cubicBezTo>
                    <a:cubicBezTo>
                      <a:pt x="533" y="321"/>
                      <a:pt x="533" y="321"/>
                      <a:pt x="533" y="321"/>
                    </a:cubicBezTo>
                    <a:cubicBezTo>
                      <a:pt x="529" y="326"/>
                      <a:pt x="529" y="326"/>
                      <a:pt x="529" y="326"/>
                    </a:cubicBezTo>
                    <a:cubicBezTo>
                      <a:pt x="525" y="329"/>
                      <a:pt x="525" y="329"/>
                      <a:pt x="525" y="329"/>
                    </a:cubicBezTo>
                    <a:cubicBezTo>
                      <a:pt x="522" y="333"/>
                      <a:pt x="522" y="333"/>
                      <a:pt x="522" y="333"/>
                    </a:cubicBezTo>
                    <a:cubicBezTo>
                      <a:pt x="514" y="335"/>
                      <a:pt x="514" y="335"/>
                      <a:pt x="514" y="335"/>
                    </a:cubicBezTo>
                    <a:cubicBezTo>
                      <a:pt x="512" y="337"/>
                      <a:pt x="512" y="337"/>
                      <a:pt x="512" y="337"/>
                    </a:cubicBezTo>
                    <a:cubicBezTo>
                      <a:pt x="509" y="337"/>
                      <a:pt x="509" y="337"/>
                      <a:pt x="509" y="337"/>
                    </a:cubicBezTo>
                    <a:cubicBezTo>
                      <a:pt x="505" y="336"/>
                      <a:pt x="505" y="336"/>
                      <a:pt x="505" y="336"/>
                    </a:cubicBezTo>
                    <a:cubicBezTo>
                      <a:pt x="499" y="336"/>
                      <a:pt x="499" y="336"/>
                      <a:pt x="499" y="336"/>
                    </a:cubicBezTo>
                    <a:cubicBezTo>
                      <a:pt x="494" y="340"/>
                      <a:pt x="494" y="340"/>
                      <a:pt x="494" y="340"/>
                    </a:cubicBezTo>
                    <a:cubicBezTo>
                      <a:pt x="490" y="340"/>
                      <a:pt x="490" y="340"/>
                      <a:pt x="490" y="340"/>
                    </a:cubicBezTo>
                    <a:cubicBezTo>
                      <a:pt x="487" y="342"/>
                      <a:pt x="487" y="342"/>
                      <a:pt x="487" y="342"/>
                    </a:cubicBezTo>
                    <a:cubicBezTo>
                      <a:pt x="487" y="346"/>
                      <a:pt x="487" y="346"/>
                      <a:pt x="487" y="346"/>
                    </a:cubicBezTo>
                    <a:cubicBezTo>
                      <a:pt x="485" y="353"/>
                      <a:pt x="485" y="353"/>
                      <a:pt x="485" y="353"/>
                    </a:cubicBezTo>
                    <a:cubicBezTo>
                      <a:pt x="482" y="355"/>
                      <a:pt x="482" y="355"/>
                      <a:pt x="482" y="355"/>
                    </a:cubicBezTo>
                    <a:cubicBezTo>
                      <a:pt x="482" y="353"/>
                      <a:pt x="482" y="353"/>
                      <a:pt x="482" y="353"/>
                    </a:cubicBezTo>
                    <a:cubicBezTo>
                      <a:pt x="477" y="348"/>
                      <a:pt x="477" y="348"/>
                      <a:pt x="477" y="348"/>
                    </a:cubicBezTo>
                    <a:cubicBezTo>
                      <a:pt x="472" y="348"/>
                      <a:pt x="472" y="348"/>
                      <a:pt x="472" y="348"/>
                    </a:cubicBezTo>
                    <a:cubicBezTo>
                      <a:pt x="469" y="349"/>
                      <a:pt x="469" y="349"/>
                      <a:pt x="469" y="349"/>
                    </a:cubicBezTo>
                    <a:cubicBezTo>
                      <a:pt x="470" y="352"/>
                      <a:pt x="470" y="352"/>
                      <a:pt x="470" y="352"/>
                    </a:cubicBezTo>
                    <a:cubicBezTo>
                      <a:pt x="472" y="354"/>
                      <a:pt x="472" y="354"/>
                      <a:pt x="472" y="354"/>
                    </a:cubicBezTo>
                    <a:cubicBezTo>
                      <a:pt x="470" y="357"/>
                      <a:pt x="470" y="357"/>
                      <a:pt x="470" y="357"/>
                    </a:cubicBezTo>
                    <a:cubicBezTo>
                      <a:pt x="469" y="357"/>
                      <a:pt x="469" y="357"/>
                      <a:pt x="469" y="357"/>
                    </a:cubicBezTo>
                    <a:cubicBezTo>
                      <a:pt x="467" y="354"/>
                      <a:pt x="467" y="354"/>
                      <a:pt x="467" y="354"/>
                    </a:cubicBezTo>
                    <a:cubicBezTo>
                      <a:pt x="464" y="350"/>
                      <a:pt x="464" y="350"/>
                      <a:pt x="464" y="350"/>
                    </a:cubicBezTo>
                    <a:cubicBezTo>
                      <a:pt x="462" y="350"/>
                      <a:pt x="462" y="350"/>
                      <a:pt x="462" y="350"/>
                    </a:cubicBezTo>
                    <a:cubicBezTo>
                      <a:pt x="457" y="355"/>
                      <a:pt x="457" y="355"/>
                      <a:pt x="457" y="355"/>
                    </a:cubicBezTo>
                    <a:cubicBezTo>
                      <a:pt x="455" y="360"/>
                      <a:pt x="455" y="360"/>
                      <a:pt x="455" y="360"/>
                    </a:cubicBezTo>
                    <a:cubicBezTo>
                      <a:pt x="452" y="361"/>
                      <a:pt x="452" y="361"/>
                      <a:pt x="452" y="361"/>
                    </a:cubicBezTo>
                    <a:cubicBezTo>
                      <a:pt x="450" y="361"/>
                      <a:pt x="450" y="361"/>
                      <a:pt x="450" y="361"/>
                    </a:cubicBezTo>
                    <a:cubicBezTo>
                      <a:pt x="442" y="368"/>
                      <a:pt x="442" y="368"/>
                      <a:pt x="442" y="368"/>
                    </a:cubicBezTo>
                    <a:cubicBezTo>
                      <a:pt x="440" y="374"/>
                      <a:pt x="440" y="374"/>
                      <a:pt x="440" y="374"/>
                    </a:cubicBezTo>
                    <a:cubicBezTo>
                      <a:pt x="438" y="375"/>
                      <a:pt x="438" y="375"/>
                      <a:pt x="438" y="375"/>
                    </a:cubicBezTo>
                    <a:cubicBezTo>
                      <a:pt x="434" y="376"/>
                      <a:pt x="434" y="376"/>
                      <a:pt x="434" y="376"/>
                    </a:cubicBezTo>
                    <a:cubicBezTo>
                      <a:pt x="431" y="375"/>
                      <a:pt x="431" y="375"/>
                      <a:pt x="431" y="375"/>
                    </a:cubicBezTo>
                    <a:cubicBezTo>
                      <a:pt x="430" y="376"/>
                      <a:pt x="430" y="376"/>
                      <a:pt x="430" y="376"/>
                    </a:cubicBezTo>
                    <a:cubicBezTo>
                      <a:pt x="434" y="380"/>
                      <a:pt x="434" y="380"/>
                      <a:pt x="434" y="380"/>
                    </a:cubicBezTo>
                    <a:cubicBezTo>
                      <a:pt x="433" y="383"/>
                      <a:pt x="433" y="383"/>
                      <a:pt x="433" y="383"/>
                    </a:cubicBezTo>
                    <a:cubicBezTo>
                      <a:pt x="430" y="383"/>
                      <a:pt x="430" y="383"/>
                      <a:pt x="430" y="383"/>
                    </a:cubicBezTo>
                    <a:cubicBezTo>
                      <a:pt x="428" y="380"/>
                      <a:pt x="428" y="380"/>
                      <a:pt x="428" y="380"/>
                    </a:cubicBezTo>
                    <a:cubicBezTo>
                      <a:pt x="427" y="380"/>
                      <a:pt x="427" y="380"/>
                      <a:pt x="427" y="380"/>
                    </a:cubicBezTo>
                    <a:cubicBezTo>
                      <a:pt x="425" y="384"/>
                      <a:pt x="425" y="384"/>
                      <a:pt x="425" y="384"/>
                    </a:cubicBezTo>
                    <a:cubicBezTo>
                      <a:pt x="420" y="389"/>
                      <a:pt x="420" y="389"/>
                      <a:pt x="420" y="389"/>
                    </a:cubicBezTo>
                    <a:cubicBezTo>
                      <a:pt x="420" y="391"/>
                      <a:pt x="420" y="391"/>
                      <a:pt x="420" y="391"/>
                    </a:cubicBezTo>
                    <a:cubicBezTo>
                      <a:pt x="424" y="396"/>
                      <a:pt x="424" y="396"/>
                      <a:pt x="424" y="396"/>
                    </a:cubicBezTo>
                    <a:cubicBezTo>
                      <a:pt x="424" y="400"/>
                      <a:pt x="424" y="400"/>
                      <a:pt x="424" y="400"/>
                    </a:cubicBezTo>
                    <a:cubicBezTo>
                      <a:pt x="424" y="403"/>
                      <a:pt x="424" y="403"/>
                      <a:pt x="424" y="403"/>
                    </a:cubicBezTo>
                    <a:cubicBezTo>
                      <a:pt x="422" y="407"/>
                      <a:pt x="422" y="407"/>
                      <a:pt x="422" y="407"/>
                    </a:cubicBezTo>
                    <a:cubicBezTo>
                      <a:pt x="423" y="410"/>
                      <a:pt x="423" y="410"/>
                      <a:pt x="423" y="410"/>
                    </a:cubicBezTo>
                    <a:cubicBezTo>
                      <a:pt x="425" y="409"/>
                      <a:pt x="425" y="409"/>
                      <a:pt x="425" y="409"/>
                    </a:cubicBezTo>
                    <a:cubicBezTo>
                      <a:pt x="427" y="406"/>
                      <a:pt x="427" y="406"/>
                      <a:pt x="427" y="406"/>
                    </a:cubicBezTo>
                    <a:cubicBezTo>
                      <a:pt x="428" y="408"/>
                      <a:pt x="428" y="408"/>
                      <a:pt x="428" y="408"/>
                    </a:cubicBezTo>
                    <a:cubicBezTo>
                      <a:pt x="429" y="414"/>
                      <a:pt x="429" y="414"/>
                      <a:pt x="429" y="414"/>
                    </a:cubicBezTo>
                    <a:cubicBezTo>
                      <a:pt x="427" y="415"/>
                      <a:pt x="427" y="415"/>
                      <a:pt x="427" y="415"/>
                    </a:cubicBezTo>
                    <a:cubicBezTo>
                      <a:pt x="425" y="416"/>
                      <a:pt x="425" y="416"/>
                      <a:pt x="425" y="416"/>
                    </a:cubicBezTo>
                    <a:cubicBezTo>
                      <a:pt x="426" y="418"/>
                      <a:pt x="426" y="418"/>
                      <a:pt x="426" y="418"/>
                    </a:cubicBezTo>
                    <a:cubicBezTo>
                      <a:pt x="429" y="417"/>
                      <a:pt x="429" y="417"/>
                      <a:pt x="429" y="417"/>
                    </a:cubicBezTo>
                    <a:cubicBezTo>
                      <a:pt x="431" y="416"/>
                      <a:pt x="431" y="416"/>
                      <a:pt x="431" y="416"/>
                    </a:cubicBezTo>
                    <a:cubicBezTo>
                      <a:pt x="433" y="416"/>
                      <a:pt x="433" y="416"/>
                      <a:pt x="433" y="416"/>
                    </a:cubicBezTo>
                    <a:cubicBezTo>
                      <a:pt x="434" y="417"/>
                      <a:pt x="434" y="417"/>
                      <a:pt x="434" y="417"/>
                    </a:cubicBezTo>
                    <a:cubicBezTo>
                      <a:pt x="435" y="419"/>
                      <a:pt x="435" y="419"/>
                      <a:pt x="435" y="419"/>
                    </a:cubicBezTo>
                    <a:cubicBezTo>
                      <a:pt x="439" y="420"/>
                      <a:pt x="439" y="420"/>
                      <a:pt x="439" y="420"/>
                    </a:cubicBezTo>
                    <a:cubicBezTo>
                      <a:pt x="442" y="422"/>
                      <a:pt x="442" y="422"/>
                      <a:pt x="442" y="422"/>
                    </a:cubicBezTo>
                    <a:cubicBezTo>
                      <a:pt x="446" y="421"/>
                      <a:pt x="446" y="421"/>
                      <a:pt x="446" y="421"/>
                    </a:cubicBezTo>
                    <a:cubicBezTo>
                      <a:pt x="449" y="419"/>
                      <a:pt x="449" y="419"/>
                      <a:pt x="449" y="419"/>
                    </a:cubicBezTo>
                    <a:cubicBezTo>
                      <a:pt x="451" y="412"/>
                      <a:pt x="451" y="412"/>
                      <a:pt x="451" y="412"/>
                    </a:cubicBezTo>
                    <a:cubicBezTo>
                      <a:pt x="453" y="409"/>
                      <a:pt x="453" y="409"/>
                      <a:pt x="453" y="409"/>
                    </a:cubicBezTo>
                    <a:cubicBezTo>
                      <a:pt x="460" y="409"/>
                      <a:pt x="460" y="409"/>
                      <a:pt x="460" y="409"/>
                    </a:cubicBezTo>
                    <a:cubicBezTo>
                      <a:pt x="463" y="407"/>
                      <a:pt x="463" y="407"/>
                      <a:pt x="463" y="407"/>
                    </a:cubicBezTo>
                    <a:cubicBezTo>
                      <a:pt x="459" y="411"/>
                      <a:pt x="459" y="411"/>
                      <a:pt x="459" y="411"/>
                    </a:cubicBezTo>
                    <a:cubicBezTo>
                      <a:pt x="456" y="412"/>
                      <a:pt x="456" y="412"/>
                      <a:pt x="456" y="412"/>
                    </a:cubicBezTo>
                    <a:cubicBezTo>
                      <a:pt x="450" y="417"/>
                      <a:pt x="450" y="417"/>
                      <a:pt x="450" y="417"/>
                    </a:cubicBezTo>
                    <a:cubicBezTo>
                      <a:pt x="450" y="421"/>
                      <a:pt x="450" y="421"/>
                      <a:pt x="450" y="421"/>
                    </a:cubicBezTo>
                    <a:cubicBezTo>
                      <a:pt x="447" y="423"/>
                      <a:pt x="447" y="423"/>
                      <a:pt x="447" y="423"/>
                    </a:cubicBezTo>
                    <a:cubicBezTo>
                      <a:pt x="451" y="427"/>
                      <a:pt x="451" y="427"/>
                      <a:pt x="451" y="427"/>
                    </a:cubicBezTo>
                    <a:cubicBezTo>
                      <a:pt x="451" y="430"/>
                      <a:pt x="451" y="430"/>
                      <a:pt x="451" y="430"/>
                    </a:cubicBezTo>
                    <a:cubicBezTo>
                      <a:pt x="446" y="431"/>
                      <a:pt x="446" y="431"/>
                      <a:pt x="446" y="431"/>
                    </a:cubicBezTo>
                    <a:cubicBezTo>
                      <a:pt x="444" y="430"/>
                      <a:pt x="444" y="430"/>
                      <a:pt x="444" y="430"/>
                    </a:cubicBezTo>
                    <a:cubicBezTo>
                      <a:pt x="444" y="427"/>
                      <a:pt x="444" y="427"/>
                      <a:pt x="444" y="427"/>
                    </a:cubicBezTo>
                    <a:cubicBezTo>
                      <a:pt x="443" y="425"/>
                      <a:pt x="443" y="425"/>
                      <a:pt x="443" y="425"/>
                    </a:cubicBezTo>
                    <a:cubicBezTo>
                      <a:pt x="439" y="426"/>
                      <a:pt x="439" y="426"/>
                      <a:pt x="439" y="426"/>
                    </a:cubicBezTo>
                    <a:cubicBezTo>
                      <a:pt x="437" y="423"/>
                      <a:pt x="437" y="423"/>
                      <a:pt x="437" y="423"/>
                    </a:cubicBezTo>
                    <a:cubicBezTo>
                      <a:pt x="432" y="422"/>
                      <a:pt x="432" y="422"/>
                      <a:pt x="432" y="422"/>
                    </a:cubicBezTo>
                    <a:cubicBezTo>
                      <a:pt x="430" y="419"/>
                      <a:pt x="430" y="419"/>
                      <a:pt x="430" y="419"/>
                    </a:cubicBezTo>
                    <a:cubicBezTo>
                      <a:pt x="427" y="421"/>
                      <a:pt x="427" y="421"/>
                      <a:pt x="427" y="421"/>
                    </a:cubicBezTo>
                    <a:cubicBezTo>
                      <a:pt x="424" y="422"/>
                      <a:pt x="424" y="422"/>
                      <a:pt x="424" y="422"/>
                    </a:cubicBezTo>
                    <a:cubicBezTo>
                      <a:pt x="423" y="425"/>
                      <a:pt x="423" y="425"/>
                      <a:pt x="423" y="425"/>
                    </a:cubicBezTo>
                    <a:cubicBezTo>
                      <a:pt x="420" y="427"/>
                      <a:pt x="420" y="427"/>
                      <a:pt x="420" y="427"/>
                    </a:cubicBezTo>
                    <a:cubicBezTo>
                      <a:pt x="416" y="426"/>
                      <a:pt x="416" y="426"/>
                      <a:pt x="416" y="426"/>
                    </a:cubicBezTo>
                    <a:cubicBezTo>
                      <a:pt x="415" y="429"/>
                      <a:pt x="415" y="429"/>
                      <a:pt x="415" y="429"/>
                    </a:cubicBezTo>
                    <a:cubicBezTo>
                      <a:pt x="417" y="432"/>
                      <a:pt x="417" y="432"/>
                      <a:pt x="417" y="432"/>
                    </a:cubicBezTo>
                    <a:cubicBezTo>
                      <a:pt x="419" y="432"/>
                      <a:pt x="419" y="432"/>
                      <a:pt x="419" y="432"/>
                    </a:cubicBezTo>
                    <a:cubicBezTo>
                      <a:pt x="417" y="435"/>
                      <a:pt x="417" y="435"/>
                      <a:pt x="417" y="435"/>
                    </a:cubicBezTo>
                    <a:cubicBezTo>
                      <a:pt x="416" y="440"/>
                      <a:pt x="416" y="440"/>
                      <a:pt x="416" y="440"/>
                    </a:cubicBezTo>
                    <a:cubicBezTo>
                      <a:pt x="417" y="443"/>
                      <a:pt x="417" y="443"/>
                      <a:pt x="417" y="443"/>
                    </a:cubicBezTo>
                    <a:cubicBezTo>
                      <a:pt x="420" y="443"/>
                      <a:pt x="420" y="443"/>
                      <a:pt x="420" y="443"/>
                    </a:cubicBezTo>
                    <a:cubicBezTo>
                      <a:pt x="420" y="449"/>
                      <a:pt x="420" y="449"/>
                      <a:pt x="420" y="449"/>
                    </a:cubicBezTo>
                    <a:cubicBezTo>
                      <a:pt x="421" y="451"/>
                      <a:pt x="421" y="451"/>
                      <a:pt x="421" y="451"/>
                    </a:cubicBezTo>
                    <a:cubicBezTo>
                      <a:pt x="421" y="454"/>
                      <a:pt x="421" y="454"/>
                      <a:pt x="421" y="454"/>
                    </a:cubicBezTo>
                    <a:cubicBezTo>
                      <a:pt x="424" y="457"/>
                      <a:pt x="424" y="457"/>
                      <a:pt x="424" y="457"/>
                    </a:cubicBezTo>
                    <a:cubicBezTo>
                      <a:pt x="424" y="459"/>
                      <a:pt x="424" y="459"/>
                      <a:pt x="424" y="459"/>
                    </a:cubicBezTo>
                    <a:cubicBezTo>
                      <a:pt x="420" y="459"/>
                      <a:pt x="420" y="459"/>
                      <a:pt x="420" y="459"/>
                    </a:cubicBezTo>
                    <a:cubicBezTo>
                      <a:pt x="419" y="461"/>
                      <a:pt x="419" y="461"/>
                      <a:pt x="419" y="461"/>
                    </a:cubicBezTo>
                    <a:cubicBezTo>
                      <a:pt x="432" y="467"/>
                      <a:pt x="432" y="467"/>
                      <a:pt x="432" y="467"/>
                    </a:cubicBezTo>
                    <a:cubicBezTo>
                      <a:pt x="437" y="467"/>
                      <a:pt x="437" y="467"/>
                      <a:pt x="437" y="467"/>
                    </a:cubicBezTo>
                    <a:cubicBezTo>
                      <a:pt x="442" y="464"/>
                      <a:pt x="442" y="464"/>
                      <a:pt x="442" y="464"/>
                    </a:cubicBezTo>
                    <a:cubicBezTo>
                      <a:pt x="445" y="463"/>
                      <a:pt x="445" y="463"/>
                      <a:pt x="445" y="463"/>
                    </a:cubicBezTo>
                    <a:cubicBezTo>
                      <a:pt x="447" y="464"/>
                      <a:pt x="447" y="464"/>
                      <a:pt x="447" y="464"/>
                    </a:cubicBezTo>
                    <a:cubicBezTo>
                      <a:pt x="450" y="464"/>
                      <a:pt x="450" y="464"/>
                      <a:pt x="450" y="464"/>
                    </a:cubicBezTo>
                    <a:cubicBezTo>
                      <a:pt x="455" y="458"/>
                      <a:pt x="455" y="458"/>
                      <a:pt x="455" y="458"/>
                    </a:cubicBezTo>
                    <a:cubicBezTo>
                      <a:pt x="455" y="454"/>
                      <a:pt x="455" y="454"/>
                      <a:pt x="455" y="454"/>
                    </a:cubicBezTo>
                    <a:cubicBezTo>
                      <a:pt x="453" y="452"/>
                      <a:pt x="453" y="452"/>
                      <a:pt x="453" y="452"/>
                    </a:cubicBezTo>
                    <a:cubicBezTo>
                      <a:pt x="453" y="450"/>
                      <a:pt x="453" y="450"/>
                      <a:pt x="453" y="450"/>
                    </a:cubicBezTo>
                    <a:cubicBezTo>
                      <a:pt x="458" y="448"/>
                      <a:pt x="458" y="448"/>
                      <a:pt x="458" y="448"/>
                    </a:cubicBezTo>
                    <a:cubicBezTo>
                      <a:pt x="464" y="443"/>
                      <a:pt x="464" y="443"/>
                      <a:pt x="464" y="443"/>
                    </a:cubicBezTo>
                    <a:cubicBezTo>
                      <a:pt x="472" y="438"/>
                      <a:pt x="472" y="438"/>
                      <a:pt x="472" y="438"/>
                    </a:cubicBezTo>
                    <a:cubicBezTo>
                      <a:pt x="476" y="439"/>
                      <a:pt x="476" y="439"/>
                      <a:pt x="476" y="439"/>
                    </a:cubicBezTo>
                    <a:cubicBezTo>
                      <a:pt x="472" y="439"/>
                      <a:pt x="472" y="439"/>
                      <a:pt x="472" y="439"/>
                    </a:cubicBezTo>
                    <a:cubicBezTo>
                      <a:pt x="464" y="447"/>
                      <a:pt x="464" y="447"/>
                      <a:pt x="464" y="447"/>
                    </a:cubicBezTo>
                    <a:cubicBezTo>
                      <a:pt x="459" y="450"/>
                      <a:pt x="459" y="450"/>
                      <a:pt x="459" y="450"/>
                    </a:cubicBezTo>
                    <a:cubicBezTo>
                      <a:pt x="459" y="452"/>
                      <a:pt x="459" y="452"/>
                      <a:pt x="459" y="452"/>
                    </a:cubicBezTo>
                    <a:cubicBezTo>
                      <a:pt x="462" y="454"/>
                      <a:pt x="462" y="454"/>
                      <a:pt x="462" y="454"/>
                    </a:cubicBezTo>
                    <a:cubicBezTo>
                      <a:pt x="462" y="457"/>
                      <a:pt x="462" y="457"/>
                      <a:pt x="462" y="457"/>
                    </a:cubicBezTo>
                    <a:cubicBezTo>
                      <a:pt x="459" y="462"/>
                      <a:pt x="459" y="462"/>
                      <a:pt x="459" y="462"/>
                    </a:cubicBezTo>
                    <a:cubicBezTo>
                      <a:pt x="454" y="464"/>
                      <a:pt x="454" y="464"/>
                      <a:pt x="454" y="464"/>
                    </a:cubicBezTo>
                    <a:cubicBezTo>
                      <a:pt x="454" y="468"/>
                      <a:pt x="454" y="468"/>
                      <a:pt x="454" y="468"/>
                    </a:cubicBezTo>
                    <a:cubicBezTo>
                      <a:pt x="455" y="473"/>
                      <a:pt x="455" y="473"/>
                      <a:pt x="455" y="473"/>
                    </a:cubicBezTo>
                    <a:cubicBezTo>
                      <a:pt x="454" y="477"/>
                      <a:pt x="454" y="477"/>
                      <a:pt x="454" y="477"/>
                    </a:cubicBezTo>
                    <a:cubicBezTo>
                      <a:pt x="454" y="478"/>
                      <a:pt x="454" y="478"/>
                      <a:pt x="454" y="478"/>
                    </a:cubicBezTo>
                    <a:cubicBezTo>
                      <a:pt x="454" y="482"/>
                      <a:pt x="454" y="482"/>
                      <a:pt x="454" y="482"/>
                    </a:cubicBezTo>
                    <a:cubicBezTo>
                      <a:pt x="454" y="486"/>
                      <a:pt x="454" y="486"/>
                      <a:pt x="454" y="486"/>
                    </a:cubicBezTo>
                    <a:cubicBezTo>
                      <a:pt x="449" y="487"/>
                      <a:pt x="449" y="487"/>
                      <a:pt x="449" y="487"/>
                    </a:cubicBezTo>
                    <a:cubicBezTo>
                      <a:pt x="447" y="489"/>
                      <a:pt x="447" y="489"/>
                      <a:pt x="447" y="489"/>
                    </a:cubicBezTo>
                    <a:cubicBezTo>
                      <a:pt x="446" y="492"/>
                      <a:pt x="446" y="492"/>
                      <a:pt x="446" y="492"/>
                    </a:cubicBezTo>
                    <a:cubicBezTo>
                      <a:pt x="444" y="491"/>
                      <a:pt x="444" y="491"/>
                      <a:pt x="444" y="491"/>
                    </a:cubicBezTo>
                    <a:cubicBezTo>
                      <a:pt x="442" y="492"/>
                      <a:pt x="442" y="492"/>
                      <a:pt x="442" y="492"/>
                    </a:cubicBezTo>
                    <a:cubicBezTo>
                      <a:pt x="444" y="496"/>
                      <a:pt x="444" y="496"/>
                      <a:pt x="444" y="496"/>
                    </a:cubicBezTo>
                    <a:cubicBezTo>
                      <a:pt x="444" y="500"/>
                      <a:pt x="444" y="500"/>
                      <a:pt x="444" y="500"/>
                    </a:cubicBezTo>
                    <a:cubicBezTo>
                      <a:pt x="446" y="501"/>
                      <a:pt x="446" y="501"/>
                      <a:pt x="446" y="501"/>
                    </a:cubicBezTo>
                    <a:cubicBezTo>
                      <a:pt x="449" y="500"/>
                      <a:pt x="449" y="500"/>
                      <a:pt x="449" y="500"/>
                    </a:cubicBezTo>
                    <a:cubicBezTo>
                      <a:pt x="452" y="499"/>
                      <a:pt x="452" y="499"/>
                      <a:pt x="452" y="499"/>
                    </a:cubicBezTo>
                    <a:cubicBezTo>
                      <a:pt x="452" y="501"/>
                      <a:pt x="452" y="501"/>
                      <a:pt x="452" y="501"/>
                    </a:cubicBezTo>
                    <a:cubicBezTo>
                      <a:pt x="450" y="504"/>
                      <a:pt x="450" y="504"/>
                      <a:pt x="450" y="504"/>
                    </a:cubicBezTo>
                    <a:cubicBezTo>
                      <a:pt x="446" y="504"/>
                      <a:pt x="446" y="504"/>
                      <a:pt x="446" y="504"/>
                    </a:cubicBezTo>
                    <a:cubicBezTo>
                      <a:pt x="444" y="505"/>
                      <a:pt x="444" y="505"/>
                      <a:pt x="444" y="505"/>
                    </a:cubicBezTo>
                    <a:cubicBezTo>
                      <a:pt x="445" y="507"/>
                      <a:pt x="445" y="507"/>
                      <a:pt x="445" y="507"/>
                    </a:cubicBezTo>
                    <a:cubicBezTo>
                      <a:pt x="445" y="509"/>
                      <a:pt x="445" y="509"/>
                      <a:pt x="445" y="509"/>
                    </a:cubicBezTo>
                    <a:cubicBezTo>
                      <a:pt x="446" y="512"/>
                      <a:pt x="446" y="512"/>
                      <a:pt x="446" y="512"/>
                    </a:cubicBezTo>
                    <a:cubicBezTo>
                      <a:pt x="444" y="513"/>
                      <a:pt x="444" y="513"/>
                      <a:pt x="444" y="513"/>
                    </a:cubicBezTo>
                    <a:cubicBezTo>
                      <a:pt x="441" y="514"/>
                      <a:pt x="441" y="514"/>
                      <a:pt x="441" y="514"/>
                    </a:cubicBezTo>
                    <a:cubicBezTo>
                      <a:pt x="437" y="516"/>
                      <a:pt x="437" y="516"/>
                      <a:pt x="437" y="516"/>
                    </a:cubicBezTo>
                    <a:cubicBezTo>
                      <a:pt x="435" y="515"/>
                      <a:pt x="435" y="515"/>
                      <a:pt x="435" y="515"/>
                    </a:cubicBezTo>
                    <a:cubicBezTo>
                      <a:pt x="433" y="516"/>
                      <a:pt x="433" y="516"/>
                      <a:pt x="433" y="516"/>
                    </a:cubicBezTo>
                    <a:cubicBezTo>
                      <a:pt x="435" y="518"/>
                      <a:pt x="435" y="518"/>
                      <a:pt x="435" y="518"/>
                    </a:cubicBezTo>
                    <a:cubicBezTo>
                      <a:pt x="439" y="518"/>
                      <a:pt x="439" y="518"/>
                      <a:pt x="439" y="518"/>
                    </a:cubicBezTo>
                    <a:cubicBezTo>
                      <a:pt x="441" y="520"/>
                      <a:pt x="441" y="520"/>
                      <a:pt x="441" y="520"/>
                    </a:cubicBezTo>
                    <a:cubicBezTo>
                      <a:pt x="446" y="516"/>
                      <a:pt x="446" y="516"/>
                      <a:pt x="446" y="516"/>
                    </a:cubicBezTo>
                    <a:cubicBezTo>
                      <a:pt x="453" y="511"/>
                      <a:pt x="453" y="511"/>
                      <a:pt x="453" y="511"/>
                    </a:cubicBezTo>
                    <a:cubicBezTo>
                      <a:pt x="455" y="512"/>
                      <a:pt x="455" y="512"/>
                      <a:pt x="455" y="512"/>
                    </a:cubicBezTo>
                    <a:cubicBezTo>
                      <a:pt x="458" y="512"/>
                      <a:pt x="458" y="512"/>
                      <a:pt x="458" y="512"/>
                    </a:cubicBezTo>
                    <a:cubicBezTo>
                      <a:pt x="461" y="509"/>
                      <a:pt x="461" y="509"/>
                      <a:pt x="461" y="509"/>
                    </a:cubicBezTo>
                    <a:cubicBezTo>
                      <a:pt x="467" y="507"/>
                      <a:pt x="467" y="507"/>
                      <a:pt x="467" y="507"/>
                    </a:cubicBezTo>
                    <a:cubicBezTo>
                      <a:pt x="466" y="510"/>
                      <a:pt x="466" y="510"/>
                      <a:pt x="466" y="510"/>
                    </a:cubicBezTo>
                    <a:cubicBezTo>
                      <a:pt x="463" y="511"/>
                      <a:pt x="463" y="511"/>
                      <a:pt x="463" y="511"/>
                    </a:cubicBezTo>
                    <a:cubicBezTo>
                      <a:pt x="463" y="512"/>
                      <a:pt x="463" y="512"/>
                      <a:pt x="463" y="512"/>
                    </a:cubicBezTo>
                    <a:cubicBezTo>
                      <a:pt x="466" y="514"/>
                      <a:pt x="466" y="514"/>
                      <a:pt x="466" y="514"/>
                    </a:cubicBezTo>
                    <a:cubicBezTo>
                      <a:pt x="467" y="517"/>
                      <a:pt x="467" y="517"/>
                      <a:pt x="467" y="517"/>
                    </a:cubicBezTo>
                    <a:cubicBezTo>
                      <a:pt x="466" y="519"/>
                      <a:pt x="466" y="519"/>
                      <a:pt x="466" y="519"/>
                    </a:cubicBezTo>
                    <a:cubicBezTo>
                      <a:pt x="469" y="521"/>
                      <a:pt x="469" y="521"/>
                      <a:pt x="469" y="521"/>
                    </a:cubicBezTo>
                    <a:cubicBezTo>
                      <a:pt x="472" y="518"/>
                      <a:pt x="472" y="518"/>
                      <a:pt x="472" y="518"/>
                    </a:cubicBezTo>
                    <a:cubicBezTo>
                      <a:pt x="474" y="516"/>
                      <a:pt x="474" y="516"/>
                      <a:pt x="474" y="516"/>
                    </a:cubicBezTo>
                    <a:cubicBezTo>
                      <a:pt x="476" y="517"/>
                      <a:pt x="476" y="517"/>
                      <a:pt x="476" y="517"/>
                    </a:cubicBezTo>
                    <a:cubicBezTo>
                      <a:pt x="474" y="519"/>
                      <a:pt x="474" y="519"/>
                      <a:pt x="474" y="519"/>
                    </a:cubicBezTo>
                    <a:cubicBezTo>
                      <a:pt x="477" y="523"/>
                      <a:pt x="477" y="523"/>
                      <a:pt x="477" y="523"/>
                    </a:cubicBezTo>
                    <a:cubicBezTo>
                      <a:pt x="478" y="529"/>
                      <a:pt x="478" y="529"/>
                      <a:pt x="478" y="529"/>
                    </a:cubicBezTo>
                    <a:cubicBezTo>
                      <a:pt x="477" y="533"/>
                      <a:pt x="477" y="533"/>
                      <a:pt x="477" y="533"/>
                    </a:cubicBezTo>
                    <a:cubicBezTo>
                      <a:pt x="479" y="537"/>
                      <a:pt x="479" y="537"/>
                      <a:pt x="479" y="537"/>
                    </a:cubicBezTo>
                    <a:cubicBezTo>
                      <a:pt x="481" y="538"/>
                      <a:pt x="481" y="538"/>
                      <a:pt x="481" y="538"/>
                    </a:cubicBezTo>
                    <a:cubicBezTo>
                      <a:pt x="483" y="533"/>
                      <a:pt x="483" y="533"/>
                      <a:pt x="483" y="533"/>
                    </a:cubicBezTo>
                    <a:cubicBezTo>
                      <a:pt x="482" y="529"/>
                      <a:pt x="482" y="529"/>
                      <a:pt x="482" y="529"/>
                    </a:cubicBezTo>
                    <a:cubicBezTo>
                      <a:pt x="486" y="524"/>
                      <a:pt x="486" y="524"/>
                      <a:pt x="486" y="524"/>
                    </a:cubicBezTo>
                    <a:cubicBezTo>
                      <a:pt x="487" y="521"/>
                      <a:pt x="487" y="521"/>
                      <a:pt x="487" y="521"/>
                    </a:cubicBezTo>
                    <a:cubicBezTo>
                      <a:pt x="491" y="518"/>
                      <a:pt x="491" y="518"/>
                      <a:pt x="491" y="518"/>
                    </a:cubicBezTo>
                    <a:cubicBezTo>
                      <a:pt x="492" y="518"/>
                      <a:pt x="492" y="518"/>
                      <a:pt x="492" y="518"/>
                    </a:cubicBezTo>
                    <a:cubicBezTo>
                      <a:pt x="496" y="515"/>
                      <a:pt x="496" y="515"/>
                      <a:pt x="496" y="515"/>
                    </a:cubicBezTo>
                    <a:cubicBezTo>
                      <a:pt x="501" y="515"/>
                      <a:pt x="501" y="515"/>
                      <a:pt x="501" y="515"/>
                    </a:cubicBezTo>
                    <a:cubicBezTo>
                      <a:pt x="496" y="517"/>
                      <a:pt x="496" y="517"/>
                      <a:pt x="496" y="517"/>
                    </a:cubicBezTo>
                    <a:cubicBezTo>
                      <a:pt x="491" y="522"/>
                      <a:pt x="491" y="522"/>
                      <a:pt x="491" y="522"/>
                    </a:cubicBezTo>
                    <a:cubicBezTo>
                      <a:pt x="491" y="524"/>
                      <a:pt x="491" y="524"/>
                      <a:pt x="491" y="524"/>
                    </a:cubicBezTo>
                    <a:cubicBezTo>
                      <a:pt x="496" y="530"/>
                      <a:pt x="496" y="530"/>
                      <a:pt x="496" y="530"/>
                    </a:cubicBezTo>
                    <a:cubicBezTo>
                      <a:pt x="498" y="530"/>
                      <a:pt x="498" y="530"/>
                      <a:pt x="498" y="530"/>
                    </a:cubicBezTo>
                    <a:cubicBezTo>
                      <a:pt x="504" y="528"/>
                      <a:pt x="504" y="528"/>
                      <a:pt x="504" y="528"/>
                    </a:cubicBezTo>
                    <a:cubicBezTo>
                      <a:pt x="511" y="527"/>
                      <a:pt x="511" y="527"/>
                      <a:pt x="511" y="527"/>
                    </a:cubicBezTo>
                    <a:cubicBezTo>
                      <a:pt x="515" y="524"/>
                      <a:pt x="515" y="524"/>
                      <a:pt x="515" y="524"/>
                    </a:cubicBezTo>
                    <a:cubicBezTo>
                      <a:pt x="517" y="524"/>
                      <a:pt x="517" y="524"/>
                      <a:pt x="517" y="524"/>
                    </a:cubicBezTo>
                    <a:cubicBezTo>
                      <a:pt x="524" y="521"/>
                      <a:pt x="524" y="521"/>
                      <a:pt x="524" y="521"/>
                    </a:cubicBezTo>
                    <a:cubicBezTo>
                      <a:pt x="526" y="521"/>
                      <a:pt x="526" y="521"/>
                      <a:pt x="526" y="521"/>
                    </a:cubicBezTo>
                    <a:cubicBezTo>
                      <a:pt x="524" y="522"/>
                      <a:pt x="524" y="522"/>
                      <a:pt x="524" y="522"/>
                    </a:cubicBezTo>
                    <a:cubicBezTo>
                      <a:pt x="520" y="526"/>
                      <a:pt x="520" y="526"/>
                      <a:pt x="520" y="526"/>
                    </a:cubicBezTo>
                    <a:cubicBezTo>
                      <a:pt x="520" y="528"/>
                      <a:pt x="520" y="528"/>
                      <a:pt x="520" y="528"/>
                    </a:cubicBezTo>
                    <a:cubicBezTo>
                      <a:pt x="517" y="531"/>
                      <a:pt x="517" y="531"/>
                      <a:pt x="517" y="531"/>
                    </a:cubicBezTo>
                    <a:cubicBezTo>
                      <a:pt x="506" y="536"/>
                      <a:pt x="506" y="536"/>
                      <a:pt x="506" y="536"/>
                    </a:cubicBezTo>
                    <a:cubicBezTo>
                      <a:pt x="502" y="540"/>
                      <a:pt x="502" y="540"/>
                      <a:pt x="502" y="540"/>
                    </a:cubicBezTo>
                    <a:cubicBezTo>
                      <a:pt x="498" y="546"/>
                      <a:pt x="498" y="546"/>
                      <a:pt x="498" y="546"/>
                    </a:cubicBezTo>
                    <a:cubicBezTo>
                      <a:pt x="498" y="550"/>
                      <a:pt x="498" y="550"/>
                      <a:pt x="498" y="550"/>
                    </a:cubicBezTo>
                    <a:cubicBezTo>
                      <a:pt x="499" y="553"/>
                      <a:pt x="499" y="553"/>
                      <a:pt x="499" y="553"/>
                    </a:cubicBezTo>
                    <a:cubicBezTo>
                      <a:pt x="503" y="555"/>
                      <a:pt x="503" y="555"/>
                      <a:pt x="503" y="555"/>
                    </a:cubicBezTo>
                    <a:cubicBezTo>
                      <a:pt x="496" y="554"/>
                      <a:pt x="496" y="554"/>
                      <a:pt x="496" y="554"/>
                    </a:cubicBezTo>
                    <a:cubicBezTo>
                      <a:pt x="494" y="555"/>
                      <a:pt x="494" y="555"/>
                      <a:pt x="494" y="555"/>
                    </a:cubicBezTo>
                    <a:cubicBezTo>
                      <a:pt x="491" y="559"/>
                      <a:pt x="491" y="559"/>
                      <a:pt x="491" y="559"/>
                    </a:cubicBezTo>
                    <a:cubicBezTo>
                      <a:pt x="489" y="564"/>
                      <a:pt x="489" y="564"/>
                      <a:pt x="489" y="564"/>
                    </a:cubicBezTo>
                    <a:cubicBezTo>
                      <a:pt x="484" y="569"/>
                      <a:pt x="484" y="569"/>
                      <a:pt x="484" y="569"/>
                    </a:cubicBezTo>
                    <a:cubicBezTo>
                      <a:pt x="482" y="572"/>
                      <a:pt x="482" y="572"/>
                      <a:pt x="482" y="572"/>
                    </a:cubicBezTo>
                    <a:cubicBezTo>
                      <a:pt x="483" y="574"/>
                      <a:pt x="483" y="574"/>
                      <a:pt x="483" y="574"/>
                    </a:cubicBezTo>
                    <a:cubicBezTo>
                      <a:pt x="485" y="576"/>
                      <a:pt x="485" y="576"/>
                      <a:pt x="485" y="576"/>
                    </a:cubicBezTo>
                    <a:cubicBezTo>
                      <a:pt x="484" y="578"/>
                      <a:pt x="484" y="578"/>
                      <a:pt x="484" y="578"/>
                    </a:cubicBezTo>
                    <a:cubicBezTo>
                      <a:pt x="482" y="578"/>
                      <a:pt x="482" y="578"/>
                      <a:pt x="482" y="578"/>
                    </a:cubicBezTo>
                    <a:cubicBezTo>
                      <a:pt x="480" y="575"/>
                      <a:pt x="480" y="575"/>
                      <a:pt x="480" y="575"/>
                    </a:cubicBezTo>
                    <a:cubicBezTo>
                      <a:pt x="478" y="575"/>
                      <a:pt x="478" y="575"/>
                      <a:pt x="478" y="575"/>
                    </a:cubicBezTo>
                    <a:cubicBezTo>
                      <a:pt x="475" y="578"/>
                      <a:pt x="475" y="578"/>
                      <a:pt x="475" y="578"/>
                    </a:cubicBezTo>
                    <a:cubicBezTo>
                      <a:pt x="470" y="581"/>
                      <a:pt x="470" y="581"/>
                      <a:pt x="470" y="581"/>
                    </a:cubicBezTo>
                    <a:cubicBezTo>
                      <a:pt x="471" y="583"/>
                      <a:pt x="471" y="583"/>
                      <a:pt x="471" y="583"/>
                    </a:cubicBezTo>
                    <a:cubicBezTo>
                      <a:pt x="470" y="586"/>
                      <a:pt x="470" y="586"/>
                      <a:pt x="470" y="586"/>
                    </a:cubicBezTo>
                    <a:cubicBezTo>
                      <a:pt x="467" y="586"/>
                      <a:pt x="467" y="586"/>
                      <a:pt x="467" y="586"/>
                    </a:cubicBezTo>
                    <a:cubicBezTo>
                      <a:pt x="466" y="584"/>
                      <a:pt x="466" y="584"/>
                      <a:pt x="466" y="584"/>
                    </a:cubicBezTo>
                    <a:cubicBezTo>
                      <a:pt x="464" y="585"/>
                      <a:pt x="464" y="585"/>
                      <a:pt x="464" y="585"/>
                    </a:cubicBezTo>
                    <a:cubicBezTo>
                      <a:pt x="456" y="591"/>
                      <a:pt x="456" y="591"/>
                      <a:pt x="456" y="591"/>
                    </a:cubicBezTo>
                    <a:cubicBezTo>
                      <a:pt x="454" y="595"/>
                      <a:pt x="454" y="595"/>
                      <a:pt x="454" y="595"/>
                    </a:cubicBezTo>
                    <a:cubicBezTo>
                      <a:pt x="454" y="597"/>
                      <a:pt x="454" y="597"/>
                      <a:pt x="454" y="597"/>
                    </a:cubicBezTo>
                    <a:cubicBezTo>
                      <a:pt x="453" y="599"/>
                      <a:pt x="453" y="599"/>
                      <a:pt x="453" y="599"/>
                    </a:cubicBezTo>
                    <a:cubicBezTo>
                      <a:pt x="450" y="598"/>
                      <a:pt x="450" y="598"/>
                      <a:pt x="450" y="598"/>
                    </a:cubicBezTo>
                    <a:cubicBezTo>
                      <a:pt x="450" y="594"/>
                      <a:pt x="450" y="594"/>
                      <a:pt x="450" y="594"/>
                    </a:cubicBezTo>
                    <a:cubicBezTo>
                      <a:pt x="444" y="597"/>
                      <a:pt x="444" y="597"/>
                      <a:pt x="444" y="597"/>
                    </a:cubicBezTo>
                    <a:cubicBezTo>
                      <a:pt x="440" y="599"/>
                      <a:pt x="440" y="599"/>
                      <a:pt x="440" y="599"/>
                    </a:cubicBezTo>
                    <a:cubicBezTo>
                      <a:pt x="436" y="601"/>
                      <a:pt x="436" y="601"/>
                      <a:pt x="436" y="601"/>
                    </a:cubicBezTo>
                    <a:cubicBezTo>
                      <a:pt x="436" y="603"/>
                      <a:pt x="436" y="603"/>
                      <a:pt x="436" y="603"/>
                    </a:cubicBezTo>
                    <a:cubicBezTo>
                      <a:pt x="433" y="605"/>
                      <a:pt x="433" y="605"/>
                      <a:pt x="433" y="605"/>
                    </a:cubicBezTo>
                    <a:cubicBezTo>
                      <a:pt x="427" y="605"/>
                      <a:pt x="427" y="605"/>
                      <a:pt x="427" y="605"/>
                    </a:cubicBezTo>
                    <a:cubicBezTo>
                      <a:pt x="422" y="610"/>
                      <a:pt x="422" y="610"/>
                      <a:pt x="422" y="610"/>
                    </a:cubicBezTo>
                    <a:cubicBezTo>
                      <a:pt x="413" y="613"/>
                      <a:pt x="413" y="613"/>
                      <a:pt x="413" y="613"/>
                    </a:cubicBezTo>
                    <a:cubicBezTo>
                      <a:pt x="407" y="617"/>
                      <a:pt x="407" y="617"/>
                      <a:pt x="407" y="617"/>
                    </a:cubicBezTo>
                    <a:cubicBezTo>
                      <a:pt x="405" y="623"/>
                      <a:pt x="405" y="623"/>
                      <a:pt x="405" y="623"/>
                    </a:cubicBezTo>
                    <a:cubicBezTo>
                      <a:pt x="404" y="624"/>
                      <a:pt x="404" y="624"/>
                      <a:pt x="404" y="624"/>
                    </a:cubicBezTo>
                    <a:cubicBezTo>
                      <a:pt x="406" y="627"/>
                      <a:pt x="406" y="627"/>
                      <a:pt x="406" y="627"/>
                    </a:cubicBezTo>
                    <a:cubicBezTo>
                      <a:pt x="406" y="630"/>
                      <a:pt x="406" y="630"/>
                      <a:pt x="406" y="630"/>
                    </a:cubicBezTo>
                    <a:cubicBezTo>
                      <a:pt x="405" y="631"/>
                      <a:pt x="405" y="631"/>
                      <a:pt x="405" y="631"/>
                    </a:cubicBezTo>
                    <a:cubicBezTo>
                      <a:pt x="402" y="628"/>
                      <a:pt x="402" y="628"/>
                      <a:pt x="402" y="628"/>
                    </a:cubicBezTo>
                    <a:cubicBezTo>
                      <a:pt x="400" y="628"/>
                      <a:pt x="400" y="628"/>
                      <a:pt x="400" y="628"/>
                    </a:cubicBezTo>
                    <a:cubicBezTo>
                      <a:pt x="400" y="629"/>
                      <a:pt x="400" y="629"/>
                      <a:pt x="400" y="629"/>
                    </a:cubicBezTo>
                    <a:cubicBezTo>
                      <a:pt x="400" y="632"/>
                      <a:pt x="400" y="632"/>
                      <a:pt x="400" y="632"/>
                    </a:cubicBezTo>
                    <a:cubicBezTo>
                      <a:pt x="398" y="633"/>
                      <a:pt x="398" y="633"/>
                      <a:pt x="398" y="633"/>
                    </a:cubicBezTo>
                    <a:cubicBezTo>
                      <a:pt x="396" y="631"/>
                      <a:pt x="396" y="631"/>
                      <a:pt x="396" y="631"/>
                    </a:cubicBezTo>
                    <a:cubicBezTo>
                      <a:pt x="396" y="627"/>
                      <a:pt x="396" y="627"/>
                      <a:pt x="396" y="627"/>
                    </a:cubicBezTo>
                    <a:cubicBezTo>
                      <a:pt x="398" y="625"/>
                      <a:pt x="398" y="625"/>
                      <a:pt x="398" y="625"/>
                    </a:cubicBezTo>
                    <a:cubicBezTo>
                      <a:pt x="395" y="624"/>
                      <a:pt x="395" y="624"/>
                      <a:pt x="395" y="624"/>
                    </a:cubicBezTo>
                    <a:cubicBezTo>
                      <a:pt x="391" y="624"/>
                      <a:pt x="391" y="624"/>
                      <a:pt x="391" y="624"/>
                    </a:cubicBezTo>
                    <a:cubicBezTo>
                      <a:pt x="389" y="623"/>
                      <a:pt x="389" y="623"/>
                      <a:pt x="389" y="623"/>
                    </a:cubicBezTo>
                    <a:cubicBezTo>
                      <a:pt x="386" y="624"/>
                      <a:pt x="386" y="624"/>
                      <a:pt x="386" y="624"/>
                    </a:cubicBezTo>
                    <a:cubicBezTo>
                      <a:pt x="380" y="625"/>
                      <a:pt x="380" y="625"/>
                      <a:pt x="380" y="625"/>
                    </a:cubicBezTo>
                    <a:cubicBezTo>
                      <a:pt x="376" y="626"/>
                      <a:pt x="376" y="626"/>
                      <a:pt x="376" y="626"/>
                    </a:cubicBezTo>
                    <a:cubicBezTo>
                      <a:pt x="374" y="629"/>
                      <a:pt x="374" y="629"/>
                      <a:pt x="374" y="629"/>
                    </a:cubicBezTo>
                    <a:cubicBezTo>
                      <a:pt x="369" y="631"/>
                      <a:pt x="369" y="631"/>
                      <a:pt x="369" y="631"/>
                    </a:cubicBezTo>
                    <a:cubicBezTo>
                      <a:pt x="365" y="634"/>
                      <a:pt x="365" y="634"/>
                      <a:pt x="365" y="634"/>
                    </a:cubicBezTo>
                    <a:cubicBezTo>
                      <a:pt x="360" y="639"/>
                      <a:pt x="360" y="639"/>
                      <a:pt x="360" y="639"/>
                    </a:cubicBezTo>
                    <a:cubicBezTo>
                      <a:pt x="361" y="640"/>
                      <a:pt x="361" y="640"/>
                      <a:pt x="361" y="640"/>
                    </a:cubicBezTo>
                    <a:cubicBezTo>
                      <a:pt x="360" y="642"/>
                      <a:pt x="360" y="642"/>
                      <a:pt x="360" y="642"/>
                    </a:cubicBezTo>
                    <a:cubicBezTo>
                      <a:pt x="358" y="642"/>
                      <a:pt x="358" y="642"/>
                      <a:pt x="358" y="642"/>
                    </a:cubicBezTo>
                    <a:cubicBezTo>
                      <a:pt x="353" y="643"/>
                      <a:pt x="353" y="643"/>
                      <a:pt x="353" y="643"/>
                    </a:cubicBezTo>
                    <a:cubicBezTo>
                      <a:pt x="351" y="645"/>
                      <a:pt x="351" y="645"/>
                      <a:pt x="351" y="645"/>
                    </a:cubicBezTo>
                    <a:cubicBezTo>
                      <a:pt x="350" y="647"/>
                      <a:pt x="350" y="647"/>
                      <a:pt x="350" y="647"/>
                    </a:cubicBezTo>
                    <a:cubicBezTo>
                      <a:pt x="349" y="648"/>
                      <a:pt x="349" y="648"/>
                      <a:pt x="349" y="648"/>
                    </a:cubicBezTo>
                    <a:cubicBezTo>
                      <a:pt x="345" y="647"/>
                      <a:pt x="345" y="647"/>
                      <a:pt x="345" y="647"/>
                    </a:cubicBezTo>
                    <a:cubicBezTo>
                      <a:pt x="341" y="648"/>
                      <a:pt x="341" y="648"/>
                      <a:pt x="341" y="648"/>
                    </a:cubicBezTo>
                    <a:cubicBezTo>
                      <a:pt x="340" y="650"/>
                      <a:pt x="340" y="650"/>
                      <a:pt x="340" y="650"/>
                    </a:cubicBezTo>
                    <a:cubicBezTo>
                      <a:pt x="339" y="654"/>
                      <a:pt x="339" y="654"/>
                      <a:pt x="339" y="654"/>
                    </a:cubicBezTo>
                    <a:cubicBezTo>
                      <a:pt x="340" y="656"/>
                      <a:pt x="340" y="656"/>
                      <a:pt x="340" y="656"/>
                    </a:cubicBezTo>
                    <a:cubicBezTo>
                      <a:pt x="343" y="655"/>
                      <a:pt x="343" y="655"/>
                      <a:pt x="343" y="655"/>
                    </a:cubicBezTo>
                    <a:cubicBezTo>
                      <a:pt x="344" y="653"/>
                      <a:pt x="344" y="653"/>
                      <a:pt x="344" y="653"/>
                    </a:cubicBezTo>
                    <a:cubicBezTo>
                      <a:pt x="344" y="651"/>
                      <a:pt x="344" y="651"/>
                      <a:pt x="344" y="651"/>
                    </a:cubicBezTo>
                    <a:cubicBezTo>
                      <a:pt x="346" y="649"/>
                      <a:pt x="346" y="649"/>
                      <a:pt x="346" y="649"/>
                    </a:cubicBezTo>
                    <a:cubicBezTo>
                      <a:pt x="347" y="651"/>
                      <a:pt x="347" y="651"/>
                      <a:pt x="347" y="651"/>
                    </a:cubicBezTo>
                    <a:cubicBezTo>
                      <a:pt x="347" y="653"/>
                      <a:pt x="347" y="653"/>
                      <a:pt x="347" y="653"/>
                    </a:cubicBezTo>
                    <a:cubicBezTo>
                      <a:pt x="347" y="654"/>
                      <a:pt x="347" y="654"/>
                      <a:pt x="347" y="654"/>
                    </a:cubicBezTo>
                    <a:cubicBezTo>
                      <a:pt x="351" y="654"/>
                      <a:pt x="351" y="654"/>
                      <a:pt x="351" y="654"/>
                    </a:cubicBezTo>
                    <a:cubicBezTo>
                      <a:pt x="354" y="648"/>
                      <a:pt x="354" y="648"/>
                      <a:pt x="354" y="648"/>
                    </a:cubicBezTo>
                    <a:cubicBezTo>
                      <a:pt x="355" y="648"/>
                      <a:pt x="355" y="648"/>
                      <a:pt x="355" y="648"/>
                    </a:cubicBezTo>
                    <a:cubicBezTo>
                      <a:pt x="357" y="650"/>
                      <a:pt x="357" y="650"/>
                      <a:pt x="357" y="650"/>
                    </a:cubicBezTo>
                    <a:cubicBezTo>
                      <a:pt x="356" y="652"/>
                      <a:pt x="356" y="652"/>
                      <a:pt x="356" y="652"/>
                    </a:cubicBezTo>
                    <a:cubicBezTo>
                      <a:pt x="357" y="654"/>
                      <a:pt x="357" y="654"/>
                      <a:pt x="357" y="654"/>
                    </a:cubicBezTo>
                    <a:cubicBezTo>
                      <a:pt x="360" y="653"/>
                      <a:pt x="360" y="653"/>
                      <a:pt x="360" y="653"/>
                    </a:cubicBezTo>
                    <a:cubicBezTo>
                      <a:pt x="362" y="650"/>
                      <a:pt x="362" y="650"/>
                      <a:pt x="362" y="650"/>
                    </a:cubicBezTo>
                    <a:cubicBezTo>
                      <a:pt x="362" y="652"/>
                      <a:pt x="362" y="652"/>
                      <a:pt x="362" y="652"/>
                    </a:cubicBezTo>
                    <a:cubicBezTo>
                      <a:pt x="364" y="653"/>
                      <a:pt x="364" y="653"/>
                      <a:pt x="364" y="653"/>
                    </a:cubicBezTo>
                    <a:cubicBezTo>
                      <a:pt x="364" y="650"/>
                      <a:pt x="364" y="650"/>
                      <a:pt x="364" y="650"/>
                    </a:cubicBezTo>
                    <a:cubicBezTo>
                      <a:pt x="367" y="649"/>
                      <a:pt x="367" y="649"/>
                      <a:pt x="367" y="649"/>
                    </a:cubicBezTo>
                    <a:cubicBezTo>
                      <a:pt x="370" y="649"/>
                      <a:pt x="370" y="649"/>
                      <a:pt x="370" y="649"/>
                    </a:cubicBezTo>
                    <a:cubicBezTo>
                      <a:pt x="374" y="647"/>
                      <a:pt x="374" y="647"/>
                      <a:pt x="374" y="647"/>
                    </a:cubicBezTo>
                    <a:cubicBezTo>
                      <a:pt x="376" y="642"/>
                      <a:pt x="376" y="642"/>
                      <a:pt x="376" y="642"/>
                    </a:cubicBezTo>
                    <a:cubicBezTo>
                      <a:pt x="376" y="639"/>
                      <a:pt x="376" y="639"/>
                      <a:pt x="376" y="639"/>
                    </a:cubicBezTo>
                    <a:cubicBezTo>
                      <a:pt x="379" y="638"/>
                      <a:pt x="379" y="638"/>
                      <a:pt x="379" y="638"/>
                    </a:cubicBezTo>
                    <a:cubicBezTo>
                      <a:pt x="382" y="634"/>
                      <a:pt x="382" y="634"/>
                      <a:pt x="382" y="634"/>
                    </a:cubicBezTo>
                    <a:cubicBezTo>
                      <a:pt x="384" y="634"/>
                      <a:pt x="384" y="634"/>
                      <a:pt x="384" y="634"/>
                    </a:cubicBezTo>
                    <a:cubicBezTo>
                      <a:pt x="388" y="637"/>
                      <a:pt x="388" y="637"/>
                      <a:pt x="388" y="637"/>
                    </a:cubicBezTo>
                    <a:cubicBezTo>
                      <a:pt x="387" y="639"/>
                      <a:pt x="387" y="639"/>
                      <a:pt x="387" y="639"/>
                    </a:cubicBezTo>
                    <a:cubicBezTo>
                      <a:pt x="384" y="639"/>
                      <a:pt x="384" y="639"/>
                      <a:pt x="384" y="639"/>
                    </a:cubicBezTo>
                    <a:cubicBezTo>
                      <a:pt x="382" y="642"/>
                      <a:pt x="382" y="642"/>
                      <a:pt x="382" y="642"/>
                    </a:cubicBezTo>
                    <a:cubicBezTo>
                      <a:pt x="382" y="645"/>
                      <a:pt x="382" y="645"/>
                      <a:pt x="382" y="645"/>
                    </a:cubicBezTo>
                    <a:cubicBezTo>
                      <a:pt x="383" y="646"/>
                      <a:pt x="383" y="646"/>
                      <a:pt x="383" y="646"/>
                    </a:cubicBezTo>
                    <a:cubicBezTo>
                      <a:pt x="388" y="643"/>
                      <a:pt x="388" y="643"/>
                      <a:pt x="388" y="643"/>
                    </a:cubicBezTo>
                    <a:cubicBezTo>
                      <a:pt x="389" y="640"/>
                      <a:pt x="389" y="640"/>
                      <a:pt x="389" y="640"/>
                    </a:cubicBezTo>
                    <a:cubicBezTo>
                      <a:pt x="391" y="639"/>
                      <a:pt x="391" y="639"/>
                      <a:pt x="391" y="639"/>
                    </a:cubicBezTo>
                    <a:cubicBezTo>
                      <a:pt x="392" y="641"/>
                      <a:pt x="392" y="641"/>
                      <a:pt x="392" y="641"/>
                    </a:cubicBezTo>
                    <a:cubicBezTo>
                      <a:pt x="393" y="639"/>
                      <a:pt x="393" y="639"/>
                      <a:pt x="393" y="639"/>
                    </a:cubicBezTo>
                    <a:cubicBezTo>
                      <a:pt x="395" y="639"/>
                      <a:pt x="395" y="639"/>
                      <a:pt x="395" y="639"/>
                    </a:cubicBezTo>
                    <a:cubicBezTo>
                      <a:pt x="396" y="641"/>
                      <a:pt x="396" y="641"/>
                      <a:pt x="396" y="641"/>
                    </a:cubicBezTo>
                    <a:cubicBezTo>
                      <a:pt x="395" y="643"/>
                      <a:pt x="395" y="643"/>
                      <a:pt x="395" y="643"/>
                    </a:cubicBezTo>
                    <a:cubicBezTo>
                      <a:pt x="396" y="644"/>
                      <a:pt x="396" y="644"/>
                      <a:pt x="396" y="644"/>
                    </a:cubicBezTo>
                    <a:cubicBezTo>
                      <a:pt x="399" y="640"/>
                      <a:pt x="399" y="640"/>
                      <a:pt x="399" y="640"/>
                    </a:cubicBezTo>
                    <a:cubicBezTo>
                      <a:pt x="402" y="640"/>
                      <a:pt x="402" y="640"/>
                      <a:pt x="402" y="640"/>
                    </a:cubicBezTo>
                    <a:cubicBezTo>
                      <a:pt x="405" y="638"/>
                      <a:pt x="405" y="638"/>
                      <a:pt x="405" y="638"/>
                    </a:cubicBezTo>
                    <a:cubicBezTo>
                      <a:pt x="408" y="638"/>
                      <a:pt x="408" y="638"/>
                      <a:pt x="408" y="638"/>
                    </a:cubicBezTo>
                    <a:cubicBezTo>
                      <a:pt x="411" y="633"/>
                      <a:pt x="411" y="633"/>
                      <a:pt x="411" y="633"/>
                    </a:cubicBezTo>
                    <a:cubicBezTo>
                      <a:pt x="415" y="631"/>
                      <a:pt x="415" y="631"/>
                      <a:pt x="415" y="631"/>
                    </a:cubicBezTo>
                    <a:cubicBezTo>
                      <a:pt x="417" y="632"/>
                      <a:pt x="417" y="632"/>
                      <a:pt x="417" y="632"/>
                    </a:cubicBezTo>
                    <a:cubicBezTo>
                      <a:pt x="417" y="634"/>
                      <a:pt x="417" y="634"/>
                      <a:pt x="417" y="634"/>
                    </a:cubicBezTo>
                    <a:cubicBezTo>
                      <a:pt x="415" y="638"/>
                      <a:pt x="415" y="638"/>
                      <a:pt x="415" y="638"/>
                    </a:cubicBezTo>
                    <a:cubicBezTo>
                      <a:pt x="412" y="642"/>
                      <a:pt x="412" y="642"/>
                      <a:pt x="412" y="642"/>
                    </a:cubicBezTo>
                    <a:cubicBezTo>
                      <a:pt x="413" y="643"/>
                      <a:pt x="413" y="643"/>
                      <a:pt x="413" y="643"/>
                    </a:cubicBezTo>
                    <a:cubicBezTo>
                      <a:pt x="414" y="643"/>
                      <a:pt x="414" y="643"/>
                      <a:pt x="414" y="643"/>
                    </a:cubicBezTo>
                    <a:cubicBezTo>
                      <a:pt x="420" y="638"/>
                      <a:pt x="420" y="638"/>
                      <a:pt x="420" y="638"/>
                    </a:cubicBezTo>
                    <a:cubicBezTo>
                      <a:pt x="420" y="632"/>
                      <a:pt x="420" y="632"/>
                      <a:pt x="420" y="632"/>
                    </a:cubicBezTo>
                    <a:cubicBezTo>
                      <a:pt x="420" y="631"/>
                      <a:pt x="420" y="631"/>
                      <a:pt x="420" y="631"/>
                    </a:cubicBezTo>
                    <a:cubicBezTo>
                      <a:pt x="423" y="633"/>
                      <a:pt x="423" y="633"/>
                      <a:pt x="423" y="633"/>
                    </a:cubicBezTo>
                    <a:cubicBezTo>
                      <a:pt x="425" y="632"/>
                      <a:pt x="425" y="632"/>
                      <a:pt x="425" y="632"/>
                    </a:cubicBezTo>
                    <a:cubicBezTo>
                      <a:pt x="428" y="633"/>
                      <a:pt x="428" y="633"/>
                      <a:pt x="428" y="633"/>
                    </a:cubicBezTo>
                    <a:cubicBezTo>
                      <a:pt x="432" y="633"/>
                      <a:pt x="432" y="633"/>
                      <a:pt x="432" y="633"/>
                    </a:cubicBezTo>
                    <a:cubicBezTo>
                      <a:pt x="435" y="629"/>
                      <a:pt x="435" y="629"/>
                      <a:pt x="435" y="629"/>
                    </a:cubicBezTo>
                    <a:cubicBezTo>
                      <a:pt x="436" y="628"/>
                      <a:pt x="436" y="628"/>
                      <a:pt x="436" y="628"/>
                    </a:cubicBezTo>
                    <a:cubicBezTo>
                      <a:pt x="437" y="629"/>
                      <a:pt x="437" y="629"/>
                      <a:pt x="437" y="629"/>
                    </a:cubicBezTo>
                    <a:cubicBezTo>
                      <a:pt x="439" y="625"/>
                      <a:pt x="439" y="625"/>
                      <a:pt x="439" y="625"/>
                    </a:cubicBezTo>
                    <a:cubicBezTo>
                      <a:pt x="441" y="623"/>
                      <a:pt x="441" y="623"/>
                      <a:pt x="441" y="623"/>
                    </a:cubicBezTo>
                    <a:cubicBezTo>
                      <a:pt x="442" y="624"/>
                      <a:pt x="442" y="624"/>
                      <a:pt x="442" y="624"/>
                    </a:cubicBezTo>
                    <a:cubicBezTo>
                      <a:pt x="441" y="627"/>
                      <a:pt x="441" y="627"/>
                      <a:pt x="441" y="627"/>
                    </a:cubicBezTo>
                    <a:cubicBezTo>
                      <a:pt x="441" y="630"/>
                      <a:pt x="441" y="630"/>
                      <a:pt x="441" y="630"/>
                    </a:cubicBezTo>
                    <a:cubicBezTo>
                      <a:pt x="444" y="629"/>
                      <a:pt x="444" y="629"/>
                      <a:pt x="444" y="629"/>
                    </a:cubicBezTo>
                    <a:cubicBezTo>
                      <a:pt x="447" y="626"/>
                      <a:pt x="447" y="626"/>
                      <a:pt x="447" y="626"/>
                    </a:cubicBezTo>
                    <a:cubicBezTo>
                      <a:pt x="445" y="625"/>
                      <a:pt x="445" y="625"/>
                      <a:pt x="445" y="625"/>
                    </a:cubicBezTo>
                    <a:cubicBezTo>
                      <a:pt x="448" y="623"/>
                      <a:pt x="448" y="623"/>
                      <a:pt x="448" y="623"/>
                    </a:cubicBezTo>
                    <a:cubicBezTo>
                      <a:pt x="448" y="622"/>
                      <a:pt x="448" y="622"/>
                      <a:pt x="448" y="622"/>
                    </a:cubicBezTo>
                    <a:cubicBezTo>
                      <a:pt x="442" y="622"/>
                      <a:pt x="442" y="622"/>
                      <a:pt x="442" y="622"/>
                    </a:cubicBezTo>
                    <a:cubicBezTo>
                      <a:pt x="441" y="620"/>
                      <a:pt x="441" y="620"/>
                      <a:pt x="441" y="620"/>
                    </a:cubicBezTo>
                    <a:cubicBezTo>
                      <a:pt x="445" y="619"/>
                      <a:pt x="445" y="619"/>
                      <a:pt x="445" y="619"/>
                    </a:cubicBezTo>
                    <a:cubicBezTo>
                      <a:pt x="451" y="616"/>
                      <a:pt x="451" y="616"/>
                      <a:pt x="451" y="616"/>
                    </a:cubicBezTo>
                    <a:cubicBezTo>
                      <a:pt x="459" y="616"/>
                      <a:pt x="459" y="616"/>
                      <a:pt x="459" y="616"/>
                    </a:cubicBezTo>
                    <a:cubicBezTo>
                      <a:pt x="461" y="614"/>
                      <a:pt x="461" y="614"/>
                      <a:pt x="461" y="614"/>
                    </a:cubicBezTo>
                    <a:cubicBezTo>
                      <a:pt x="460" y="612"/>
                      <a:pt x="460" y="612"/>
                      <a:pt x="460" y="612"/>
                    </a:cubicBezTo>
                    <a:cubicBezTo>
                      <a:pt x="459" y="611"/>
                      <a:pt x="459" y="611"/>
                      <a:pt x="459" y="611"/>
                    </a:cubicBezTo>
                    <a:cubicBezTo>
                      <a:pt x="461" y="610"/>
                      <a:pt x="461" y="610"/>
                      <a:pt x="461" y="610"/>
                    </a:cubicBezTo>
                    <a:cubicBezTo>
                      <a:pt x="463" y="610"/>
                      <a:pt x="463" y="610"/>
                      <a:pt x="463" y="610"/>
                    </a:cubicBezTo>
                    <a:cubicBezTo>
                      <a:pt x="466" y="608"/>
                      <a:pt x="466" y="608"/>
                      <a:pt x="466" y="608"/>
                    </a:cubicBezTo>
                    <a:cubicBezTo>
                      <a:pt x="468" y="608"/>
                      <a:pt x="468" y="608"/>
                      <a:pt x="468" y="608"/>
                    </a:cubicBezTo>
                    <a:cubicBezTo>
                      <a:pt x="469" y="611"/>
                      <a:pt x="469" y="611"/>
                      <a:pt x="469" y="611"/>
                    </a:cubicBezTo>
                    <a:cubicBezTo>
                      <a:pt x="470" y="611"/>
                      <a:pt x="470" y="611"/>
                      <a:pt x="470" y="611"/>
                    </a:cubicBezTo>
                    <a:cubicBezTo>
                      <a:pt x="472" y="609"/>
                      <a:pt x="472" y="609"/>
                      <a:pt x="472" y="609"/>
                    </a:cubicBezTo>
                    <a:cubicBezTo>
                      <a:pt x="471" y="608"/>
                      <a:pt x="471" y="608"/>
                      <a:pt x="471" y="608"/>
                    </a:cubicBezTo>
                    <a:cubicBezTo>
                      <a:pt x="474" y="606"/>
                      <a:pt x="474" y="606"/>
                      <a:pt x="474" y="606"/>
                    </a:cubicBezTo>
                    <a:cubicBezTo>
                      <a:pt x="474" y="602"/>
                      <a:pt x="474" y="602"/>
                      <a:pt x="474" y="602"/>
                    </a:cubicBezTo>
                    <a:cubicBezTo>
                      <a:pt x="476" y="601"/>
                      <a:pt x="476" y="601"/>
                      <a:pt x="476" y="601"/>
                    </a:cubicBezTo>
                    <a:cubicBezTo>
                      <a:pt x="477" y="603"/>
                      <a:pt x="477" y="603"/>
                      <a:pt x="477" y="603"/>
                    </a:cubicBezTo>
                    <a:cubicBezTo>
                      <a:pt x="477" y="605"/>
                      <a:pt x="477" y="605"/>
                      <a:pt x="477" y="605"/>
                    </a:cubicBezTo>
                    <a:cubicBezTo>
                      <a:pt x="479" y="606"/>
                      <a:pt x="479" y="606"/>
                      <a:pt x="479" y="606"/>
                    </a:cubicBezTo>
                    <a:cubicBezTo>
                      <a:pt x="484" y="604"/>
                      <a:pt x="484" y="604"/>
                      <a:pt x="484" y="604"/>
                    </a:cubicBezTo>
                    <a:cubicBezTo>
                      <a:pt x="485" y="601"/>
                      <a:pt x="485" y="601"/>
                      <a:pt x="485" y="601"/>
                    </a:cubicBezTo>
                    <a:cubicBezTo>
                      <a:pt x="488" y="601"/>
                      <a:pt x="488" y="601"/>
                      <a:pt x="488" y="601"/>
                    </a:cubicBezTo>
                    <a:cubicBezTo>
                      <a:pt x="490" y="598"/>
                      <a:pt x="490" y="598"/>
                      <a:pt x="490" y="598"/>
                    </a:cubicBezTo>
                    <a:cubicBezTo>
                      <a:pt x="491" y="597"/>
                      <a:pt x="491" y="597"/>
                      <a:pt x="491" y="597"/>
                    </a:cubicBezTo>
                    <a:cubicBezTo>
                      <a:pt x="493" y="599"/>
                      <a:pt x="493" y="599"/>
                      <a:pt x="493" y="599"/>
                    </a:cubicBezTo>
                    <a:cubicBezTo>
                      <a:pt x="496" y="598"/>
                      <a:pt x="496" y="598"/>
                      <a:pt x="496" y="598"/>
                    </a:cubicBezTo>
                    <a:cubicBezTo>
                      <a:pt x="500" y="594"/>
                      <a:pt x="500" y="594"/>
                      <a:pt x="500" y="594"/>
                    </a:cubicBezTo>
                    <a:cubicBezTo>
                      <a:pt x="501" y="591"/>
                      <a:pt x="501" y="591"/>
                      <a:pt x="501" y="591"/>
                    </a:cubicBezTo>
                    <a:cubicBezTo>
                      <a:pt x="499" y="591"/>
                      <a:pt x="499" y="591"/>
                      <a:pt x="499" y="591"/>
                    </a:cubicBezTo>
                    <a:cubicBezTo>
                      <a:pt x="497" y="591"/>
                      <a:pt x="497" y="591"/>
                      <a:pt x="497" y="591"/>
                    </a:cubicBezTo>
                    <a:cubicBezTo>
                      <a:pt x="496" y="590"/>
                      <a:pt x="496" y="590"/>
                      <a:pt x="496" y="590"/>
                    </a:cubicBezTo>
                    <a:cubicBezTo>
                      <a:pt x="501" y="586"/>
                      <a:pt x="501" y="586"/>
                      <a:pt x="501" y="586"/>
                    </a:cubicBezTo>
                    <a:cubicBezTo>
                      <a:pt x="505" y="585"/>
                      <a:pt x="505" y="585"/>
                      <a:pt x="505" y="585"/>
                    </a:cubicBezTo>
                    <a:cubicBezTo>
                      <a:pt x="508" y="582"/>
                      <a:pt x="508" y="582"/>
                      <a:pt x="508" y="582"/>
                    </a:cubicBezTo>
                    <a:cubicBezTo>
                      <a:pt x="509" y="582"/>
                      <a:pt x="509" y="582"/>
                      <a:pt x="509" y="582"/>
                    </a:cubicBezTo>
                    <a:cubicBezTo>
                      <a:pt x="510" y="584"/>
                      <a:pt x="510" y="584"/>
                      <a:pt x="510" y="584"/>
                    </a:cubicBezTo>
                    <a:cubicBezTo>
                      <a:pt x="514" y="580"/>
                      <a:pt x="514" y="580"/>
                      <a:pt x="514" y="580"/>
                    </a:cubicBezTo>
                    <a:cubicBezTo>
                      <a:pt x="518" y="578"/>
                      <a:pt x="518" y="578"/>
                      <a:pt x="518" y="578"/>
                    </a:cubicBezTo>
                    <a:cubicBezTo>
                      <a:pt x="519" y="576"/>
                      <a:pt x="519" y="576"/>
                      <a:pt x="519" y="576"/>
                    </a:cubicBezTo>
                    <a:cubicBezTo>
                      <a:pt x="521" y="575"/>
                      <a:pt x="521" y="575"/>
                      <a:pt x="521" y="575"/>
                    </a:cubicBezTo>
                    <a:cubicBezTo>
                      <a:pt x="522" y="573"/>
                      <a:pt x="522" y="573"/>
                      <a:pt x="522" y="573"/>
                    </a:cubicBezTo>
                    <a:cubicBezTo>
                      <a:pt x="525" y="573"/>
                      <a:pt x="525" y="573"/>
                      <a:pt x="525" y="573"/>
                    </a:cubicBezTo>
                    <a:cubicBezTo>
                      <a:pt x="526" y="575"/>
                      <a:pt x="526" y="575"/>
                      <a:pt x="526" y="575"/>
                    </a:cubicBezTo>
                    <a:cubicBezTo>
                      <a:pt x="528" y="576"/>
                      <a:pt x="528" y="576"/>
                      <a:pt x="528" y="576"/>
                    </a:cubicBezTo>
                    <a:cubicBezTo>
                      <a:pt x="529" y="573"/>
                      <a:pt x="529" y="573"/>
                      <a:pt x="529" y="573"/>
                    </a:cubicBezTo>
                    <a:cubicBezTo>
                      <a:pt x="532" y="573"/>
                      <a:pt x="532" y="573"/>
                      <a:pt x="532" y="573"/>
                    </a:cubicBezTo>
                    <a:cubicBezTo>
                      <a:pt x="534" y="572"/>
                      <a:pt x="534" y="572"/>
                      <a:pt x="534" y="572"/>
                    </a:cubicBezTo>
                    <a:cubicBezTo>
                      <a:pt x="533" y="569"/>
                      <a:pt x="533" y="569"/>
                      <a:pt x="533" y="569"/>
                    </a:cubicBezTo>
                    <a:cubicBezTo>
                      <a:pt x="537" y="569"/>
                      <a:pt x="537" y="569"/>
                      <a:pt x="537" y="569"/>
                    </a:cubicBezTo>
                    <a:cubicBezTo>
                      <a:pt x="538" y="567"/>
                      <a:pt x="538" y="567"/>
                      <a:pt x="538" y="567"/>
                    </a:cubicBezTo>
                    <a:cubicBezTo>
                      <a:pt x="539" y="568"/>
                      <a:pt x="539" y="568"/>
                      <a:pt x="539" y="568"/>
                    </a:cubicBezTo>
                    <a:cubicBezTo>
                      <a:pt x="544" y="569"/>
                      <a:pt x="544" y="569"/>
                      <a:pt x="544" y="569"/>
                    </a:cubicBezTo>
                    <a:cubicBezTo>
                      <a:pt x="545" y="565"/>
                      <a:pt x="545" y="565"/>
                      <a:pt x="545" y="565"/>
                    </a:cubicBezTo>
                    <a:cubicBezTo>
                      <a:pt x="547" y="565"/>
                      <a:pt x="547" y="565"/>
                      <a:pt x="547" y="565"/>
                    </a:cubicBezTo>
                    <a:cubicBezTo>
                      <a:pt x="547" y="567"/>
                      <a:pt x="547" y="567"/>
                      <a:pt x="547" y="567"/>
                    </a:cubicBezTo>
                    <a:cubicBezTo>
                      <a:pt x="549" y="567"/>
                      <a:pt x="549" y="567"/>
                      <a:pt x="549" y="567"/>
                    </a:cubicBezTo>
                    <a:cubicBezTo>
                      <a:pt x="551" y="565"/>
                      <a:pt x="551" y="565"/>
                      <a:pt x="551" y="565"/>
                    </a:cubicBezTo>
                    <a:cubicBezTo>
                      <a:pt x="552" y="567"/>
                      <a:pt x="552" y="567"/>
                      <a:pt x="552" y="567"/>
                    </a:cubicBezTo>
                    <a:cubicBezTo>
                      <a:pt x="554" y="566"/>
                      <a:pt x="554" y="566"/>
                      <a:pt x="554" y="566"/>
                    </a:cubicBezTo>
                    <a:cubicBezTo>
                      <a:pt x="556" y="561"/>
                      <a:pt x="556" y="561"/>
                      <a:pt x="556" y="561"/>
                    </a:cubicBezTo>
                    <a:cubicBezTo>
                      <a:pt x="554" y="561"/>
                      <a:pt x="554" y="561"/>
                      <a:pt x="554" y="561"/>
                    </a:cubicBezTo>
                    <a:cubicBezTo>
                      <a:pt x="552" y="562"/>
                      <a:pt x="552" y="562"/>
                      <a:pt x="552" y="562"/>
                    </a:cubicBezTo>
                    <a:cubicBezTo>
                      <a:pt x="553" y="559"/>
                      <a:pt x="553" y="559"/>
                      <a:pt x="553" y="559"/>
                    </a:cubicBezTo>
                    <a:cubicBezTo>
                      <a:pt x="557" y="556"/>
                      <a:pt x="557" y="556"/>
                      <a:pt x="557" y="556"/>
                    </a:cubicBezTo>
                    <a:cubicBezTo>
                      <a:pt x="559" y="556"/>
                      <a:pt x="559" y="556"/>
                      <a:pt x="559" y="556"/>
                    </a:cubicBezTo>
                    <a:cubicBezTo>
                      <a:pt x="560" y="557"/>
                      <a:pt x="560" y="557"/>
                      <a:pt x="560" y="557"/>
                    </a:cubicBezTo>
                    <a:cubicBezTo>
                      <a:pt x="561" y="556"/>
                      <a:pt x="561" y="556"/>
                      <a:pt x="561" y="556"/>
                    </a:cubicBezTo>
                    <a:cubicBezTo>
                      <a:pt x="560" y="554"/>
                      <a:pt x="560" y="554"/>
                      <a:pt x="560" y="554"/>
                    </a:cubicBezTo>
                    <a:cubicBezTo>
                      <a:pt x="557" y="553"/>
                      <a:pt x="557" y="553"/>
                      <a:pt x="557" y="553"/>
                    </a:cubicBezTo>
                    <a:cubicBezTo>
                      <a:pt x="559" y="552"/>
                      <a:pt x="559" y="552"/>
                      <a:pt x="559" y="552"/>
                    </a:cubicBezTo>
                    <a:cubicBezTo>
                      <a:pt x="563" y="553"/>
                      <a:pt x="563" y="553"/>
                      <a:pt x="563" y="553"/>
                    </a:cubicBezTo>
                    <a:cubicBezTo>
                      <a:pt x="567" y="549"/>
                      <a:pt x="567" y="549"/>
                      <a:pt x="567" y="549"/>
                    </a:cubicBezTo>
                    <a:cubicBezTo>
                      <a:pt x="571" y="549"/>
                      <a:pt x="571" y="549"/>
                      <a:pt x="571" y="549"/>
                    </a:cubicBezTo>
                    <a:cubicBezTo>
                      <a:pt x="575" y="546"/>
                      <a:pt x="575" y="546"/>
                      <a:pt x="575" y="546"/>
                    </a:cubicBezTo>
                    <a:cubicBezTo>
                      <a:pt x="578" y="546"/>
                      <a:pt x="578" y="546"/>
                      <a:pt x="578" y="546"/>
                    </a:cubicBezTo>
                    <a:cubicBezTo>
                      <a:pt x="583" y="541"/>
                      <a:pt x="583" y="541"/>
                      <a:pt x="583" y="541"/>
                    </a:cubicBezTo>
                    <a:cubicBezTo>
                      <a:pt x="583" y="536"/>
                      <a:pt x="583" y="536"/>
                      <a:pt x="583" y="536"/>
                    </a:cubicBezTo>
                    <a:cubicBezTo>
                      <a:pt x="581" y="535"/>
                      <a:pt x="581" y="535"/>
                      <a:pt x="581" y="535"/>
                    </a:cubicBezTo>
                    <a:cubicBezTo>
                      <a:pt x="580" y="535"/>
                      <a:pt x="580" y="535"/>
                      <a:pt x="580" y="535"/>
                    </a:cubicBezTo>
                    <a:cubicBezTo>
                      <a:pt x="579" y="531"/>
                      <a:pt x="579" y="531"/>
                      <a:pt x="579" y="531"/>
                    </a:cubicBezTo>
                    <a:cubicBezTo>
                      <a:pt x="577" y="529"/>
                      <a:pt x="577" y="529"/>
                      <a:pt x="577" y="529"/>
                    </a:cubicBezTo>
                    <a:cubicBezTo>
                      <a:pt x="571" y="530"/>
                      <a:pt x="571" y="530"/>
                      <a:pt x="571" y="530"/>
                    </a:cubicBezTo>
                    <a:cubicBezTo>
                      <a:pt x="572" y="526"/>
                      <a:pt x="572" y="526"/>
                      <a:pt x="572" y="526"/>
                    </a:cubicBezTo>
                    <a:cubicBezTo>
                      <a:pt x="572" y="523"/>
                      <a:pt x="572" y="523"/>
                      <a:pt x="572" y="523"/>
                    </a:cubicBezTo>
                    <a:cubicBezTo>
                      <a:pt x="577" y="521"/>
                      <a:pt x="577" y="521"/>
                      <a:pt x="577" y="521"/>
                    </a:cubicBezTo>
                    <a:cubicBezTo>
                      <a:pt x="578" y="519"/>
                      <a:pt x="578" y="519"/>
                      <a:pt x="578" y="519"/>
                    </a:cubicBezTo>
                    <a:cubicBezTo>
                      <a:pt x="581" y="518"/>
                      <a:pt x="581" y="518"/>
                      <a:pt x="581" y="518"/>
                    </a:cubicBezTo>
                    <a:cubicBezTo>
                      <a:pt x="582" y="516"/>
                      <a:pt x="582" y="516"/>
                      <a:pt x="582" y="516"/>
                    </a:cubicBezTo>
                    <a:cubicBezTo>
                      <a:pt x="581" y="516"/>
                      <a:pt x="581" y="516"/>
                      <a:pt x="581" y="516"/>
                    </a:cubicBezTo>
                    <a:cubicBezTo>
                      <a:pt x="583" y="514"/>
                      <a:pt x="583" y="514"/>
                      <a:pt x="583" y="514"/>
                    </a:cubicBezTo>
                    <a:cubicBezTo>
                      <a:pt x="587" y="515"/>
                      <a:pt x="587" y="515"/>
                      <a:pt x="587" y="515"/>
                    </a:cubicBezTo>
                    <a:cubicBezTo>
                      <a:pt x="592" y="512"/>
                      <a:pt x="592" y="512"/>
                      <a:pt x="592" y="512"/>
                    </a:cubicBezTo>
                    <a:cubicBezTo>
                      <a:pt x="595" y="514"/>
                      <a:pt x="595" y="514"/>
                      <a:pt x="595" y="514"/>
                    </a:cubicBezTo>
                    <a:cubicBezTo>
                      <a:pt x="600" y="512"/>
                      <a:pt x="600" y="512"/>
                      <a:pt x="600" y="512"/>
                    </a:cubicBezTo>
                    <a:cubicBezTo>
                      <a:pt x="599" y="515"/>
                      <a:pt x="599" y="515"/>
                      <a:pt x="599" y="515"/>
                    </a:cubicBezTo>
                    <a:cubicBezTo>
                      <a:pt x="600" y="517"/>
                      <a:pt x="600" y="517"/>
                      <a:pt x="600" y="517"/>
                    </a:cubicBezTo>
                    <a:cubicBezTo>
                      <a:pt x="602" y="516"/>
                      <a:pt x="602" y="516"/>
                      <a:pt x="602" y="516"/>
                    </a:cubicBezTo>
                    <a:cubicBezTo>
                      <a:pt x="607" y="512"/>
                      <a:pt x="607" y="512"/>
                      <a:pt x="607" y="512"/>
                    </a:cubicBezTo>
                    <a:cubicBezTo>
                      <a:pt x="605" y="510"/>
                      <a:pt x="605" y="510"/>
                      <a:pt x="605" y="510"/>
                    </a:cubicBezTo>
                    <a:cubicBezTo>
                      <a:pt x="603" y="510"/>
                      <a:pt x="603" y="510"/>
                      <a:pt x="603" y="510"/>
                    </a:cubicBezTo>
                    <a:cubicBezTo>
                      <a:pt x="603" y="508"/>
                      <a:pt x="603" y="508"/>
                      <a:pt x="603" y="508"/>
                    </a:cubicBezTo>
                    <a:cubicBezTo>
                      <a:pt x="605" y="507"/>
                      <a:pt x="605" y="507"/>
                      <a:pt x="605" y="507"/>
                    </a:cubicBezTo>
                    <a:cubicBezTo>
                      <a:pt x="608" y="509"/>
                      <a:pt x="608" y="509"/>
                      <a:pt x="608" y="509"/>
                    </a:cubicBezTo>
                    <a:cubicBezTo>
                      <a:pt x="615" y="507"/>
                      <a:pt x="615" y="507"/>
                      <a:pt x="615" y="507"/>
                    </a:cubicBezTo>
                    <a:cubicBezTo>
                      <a:pt x="616" y="502"/>
                      <a:pt x="616" y="502"/>
                      <a:pt x="616" y="502"/>
                    </a:cubicBezTo>
                    <a:cubicBezTo>
                      <a:pt x="615" y="498"/>
                      <a:pt x="615" y="498"/>
                      <a:pt x="615" y="498"/>
                    </a:cubicBezTo>
                    <a:cubicBezTo>
                      <a:pt x="609" y="494"/>
                      <a:pt x="609" y="494"/>
                      <a:pt x="609" y="494"/>
                    </a:cubicBezTo>
                    <a:cubicBezTo>
                      <a:pt x="607" y="494"/>
                      <a:pt x="607" y="494"/>
                      <a:pt x="607" y="494"/>
                    </a:cubicBezTo>
                    <a:cubicBezTo>
                      <a:pt x="605" y="496"/>
                      <a:pt x="605" y="496"/>
                      <a:pt x="605" y="496"/>
                    </a:cubicBezTo>
                    <a:cubicBezTo>
                      <a:pt x="605" y="495"/>
                      <a:pt x="605" y="495"/>
                      <a:pt x="605" y="495"/>
                    </a:cubicBezTo>
                    <a:cubicBezTo>
                      <a:pt x="608" y="493"/>
                      <a:pt x="608" y="493"/>
                      <a:pt x="608" y="493"/>
                    </a:cubicBezTo>
                    <a:cubicBezTo>
                      <a:pt x="612" y="492"/>
                      <a:pt x="612" y="492"/>
                      <a:pt x="612" y="492"/>
                    </a:cubicBezTo>
                    <a:cubicBezTo>
                      <a:pt x="615" y="495"/>
                      <a:pt x="615" y="495"/>
                      <a:pt x="615" y="495"/>
                    </a:cubicBezTo>
                    <a:cubicBezTo>
                      <a:pt x="620" y="494"/>
                      <a:pt x="620" y="494"/>
                      <a:pt x="620" y="494"/>
                    </a:cubicBezTo>
                    <a:cubicBezTo>
                      <a:pt x="624" y="491"/>
                      <a:pt x="624" y="491"/>
                      <a:pt x="624" y="491"/>
                    </a:cubicBezTo>
                    <a:cubicBezTo>
                      <a:pt x="624" y="489"/>
                      <a:pt x="624" y="489"/>
                      <a:pt x="624" y="489"/>
                    </a:cubicBezTo>
                    <a:cubicBezTo>
                      <a:pt x="633" y="485"/>
                      <a:pt x="633" y="485"/>
                      <a:pt x="633" y="485"/>
                    </a:cubicBezTo>
                    <a:cubicBezTo>
                      <a:pt x="637" y="481"/>
                      <a:pt x="637" y="481"/>
                      <a:pt x="637" y="481"/>
                    </a:cubicBezTo>
                    <a:cubicBezTo>
                      <a:pt x="641" y="481"/>
                      <a:pt x="641" y="481"/>
                      <a:pt x="641" y="481"/>
                    </a:cubicBezTo>
                    <a:cubicBezTo>
                      <a:pt x="643" y="479"/>
                      <a:pt x="643" y="479"/>
                      <a:pt x="643" y="479"/>
                    </a:cubicBezTo>
                    <a:cubicBezTo>
                      <a:pt x="643" y="477"/>
                      <a:pt x="643" y="477"/>
                      <a:pt x="643" y="477"/>
                    </a:cubicBezTo>
                    <a:cubicBezTo>
                      <a:pt x="651" y="471"/>
                      <a:pt x="651" y="471"/>
                      <a:pt x="651" y="471"/>
                    </a:cubicBezTo>
                    <a:cubicBezTo>
                      <a:pt x="658" y="470"/>
                      <a:pt x="658" y="470"/>
                      <a:pt x="658" y="470"/>
                    </a:cubicBezTo>
                    <a:cubicBezTo>
                      <a:pt x="666" y="463"/>
                      <a:pt x="666" y="463"/>
                      <a:pt x="666" y="463"/>
                    </a:cubicBezTo>
                    <a:cubicBezTo>
                      <a:pt x="672" y="463"/>
                      <a:pt x="672" y="463"/>
                      <a:pt x="672" y="463"/>
                    </a:cubicBezTo>
                    <a:cubicBezTo>
                      <a:pt x="678" y="455"/>
                      <a:pt x="678" y="455"/>
                      <a:pt x="678" y="455"/>
                    </a:cubicBezTo>
                    <a:cubicBezTo>
                      <a:pt x="676" y="460"/>
                      <a:pt x="676" y="460"/>
                      <a:pt x="676" y="460"/>
                    </a:cubicBezTo>
                    <a:cubicBezTo>
                      <a:pt x="676" y="464"/>
                      <a:pt x="676" y="464"/>
                      <a:pt x="676" y="464"/>
                    </a:cubicBezTo>
                    <a:cubicBezTo>
                      <a:pt x="678" y="465"/>
                      <a:pt x="678" y="465"/>
                      <a:pt x="678" y="465"/>
                    </a:cubicBezTo>
                    <a:cubicBezTo>
                      <a:pt x="681" y="465"/>
                      <a:pt x="681" y="465"/>
                      <a:pt x="681" y="465"/>
                    </a:cubicBezTo>
                    <a:cubicBezTo>
                      <a:pt x="682" y="467"/>
                      <a:pt x="682" y="467"/>
                      <a:pt x="682" y="467"/>
                    </a:cubicBezTo>
                    <a:cubicBezTo>
                      <a:pt x="687" y="462"/>
                      <a:pt x="687" y="462"/>
                      <a:pt x="687" y="462"/>
                    </a:cubicBezTo>
                    <a:cubicBezTo>
                      <a:pt x="691" y="460"/>
                      <a:pt x="691" y="460"/>
                      <a:pt x="691" y="460"/>
                    </a:cubicBezTo>
                    <a:cubicBezTo>
                      <a:pt x="699" y="458"/>
                      <a:pt x="699" y="458"/>
                      <a:pt x="699" y="458"/>
                    </a:cubicBezTo>
                    <a:cubicBezTo>
                      <a:pt x="701" y="455"/>
                      <a:pt x="701" y="455"/>
                      <a:pt x="701" y="455"/>
                    </a:cubicBezTo>
                    <a:cubicBezTo>
                      <a:pt x="700" y="459"/>
                      <a:pt x="700" y="459"/>
                      <a:pt x="700" y="459"/>
                    </a:cubicBezTo>
                    <a:cubicBezTo>
                      <a:pt x="694" y="463"/>
                      <a:pt x="694" y="463"/>
                      <a:pt x="694" y="463"/>
                    </a:cubicBezTo>
                    <a:cubicBezTo>
                      <a:pt x="689" y="463"/>
                      <a:pt x="689" y="463"/>
                      <a:pt x="689" y="463"/>
                    </a:cubicBezTo>
                    <a:cubicBezTo>
                      <a:pt x="681" y="471"/>
                      <a:pt x="681" y="471"/>
                      <a:pt x="681" y="471"/>
                    </a:cubicBezTo>
                    <a:cubicBezTo>
                      <a:pt x="680" y="475"/>
                      <a:pt x="680" y="475"/>
                      <a:pt x="680" y="475"/>
                    </a:cubicBezTo>
                    <a:cubicBezTo>
                      <a:pt x="684" y="481"/>
                      <a:pt x="684" y="481"/>
                      <a:pt x="684" y="481"/>
                    </a:cubicBezTo>
                    <a:cubicBezTo>
                      <a:pt x="685" y="485"/>
                      <a:pt x="685" y="485"/>
                      <a:pt x="685" y="485"/>
                    </a:cubicBezTo>
                    <a:cubicBezTo>
                      <a:pt x="681" y="482"/>
                      <a:pt x="681" y="482"/>
                      <a:pt x="681" y="482"/>
                    </a:cubicBezTo>
                    <a:cubicBezTo>
                      <a:pt x="678" y="481"/>
                      <a:pt x="678" y="481"/>
                      <a:pt x="678" y="481"/>
                    </a:cubicBezTo>
                    <a:cubicBezTo>
                      <a:pt x="677" y="482"/>
                      <a:pt x="677" y="482"/>
                      <a:pt x="677" y="482"/>
                    </a:cubicBezTo>
                    <a:cubicBezTo>
                      <a:pt x="674" y="482"/>
                      <a:pt x="674" y="482"/>
                      <a:pt x="674" y="482"/>
                    </a:cubicBezTo>
                    <a:cubicBezTo>
                      <a:pt x="670" y="480"/>
                      <a:pt x="670" y="480"/>
                      <a:pt x="670" y="480"/>
                    </a:cubicBezTo>
                    <a:cubicBezTo>
                      <a:pt x="669" y="475"/>
                      <a:pt x="669" y="475"/>
                      <a:pt x="669" y="475"/>
                    </a:cubicBezTo>
                    <a:cubicBezTo>
                      <a:pt x="663" y="478"/>
                      <a:pt x="663" y="478"/>
                      <a:pt x="663" y="478"/>
                    </a:cubicBezTo>
                    <a:cubicBezTo>
                      <a:pt x="660" y="478"/>
                      <a:pt x="660" y="478"/>
                      <a:pt x="660" y="478"/>
                    </a:cubicBezTo>
                    <a:cubicBezTo>
                      <a:pt x="654" y="482"/>
                      <a:pt x="654" y="482"/>
                      <a:pt x="654" y="482"/>
                    </a:cubicBezTo>
                    <a:cubicBezTo>
                      <a:pt x="649" y="482"/>
                      <a:pt x="649" y="482"/>
                      <a:pt x="649" y="482"/>
                    </a:cubicBezTo>
                    <a:cubicBezTo>
                      <a:pt x="645" y="485"/>
                      <a:pt x="645" y="485"/>
                      <a:pt x="645" y="485"/>
                    </a:cubicBezTo>
                    <a:cubicBezTo>
                      <a:pt x="645" y="489"/>
                      <a:pt x="645" y="489"/>
                      <a:pt x="645" y="489"/>
                    </a:cubicBezTo>
                    <a:cubicBezTo>
                      <a:pt x="646" y="491"/>
                      <a:pt x="646" y="491"/>
                      <a:pt x="646" y="491"/>
                    </a:cubicBezTo>
                    <a:cubicBezTo>
                      <a:pt x="643" y="496"/>
                      <a:pt x="643" y="496"/>
                      <a:pt x="643" y="496"/>
                    </a:cubicBezTo>
                    <a:cubicBezTo>
                      <a:pt x="638" y="499"/>
                      <a:pt x="638" y="499"/>
                      <a:pt x="638" y="499"/>
                    </a:cubicBezTo>
                    <a:cubicBezTo>
                      <a:pt x="636" y="504"/>
                      <a:pt x="636" y="504"/>
                      <a:pt x="636" y="504"/>
                    </a:cubicBezTo>
                    <a:cubicBezTo>
                      <a:pt x="625" y="513"/>
                      <a:pt x="625" y="513"/>
                      <a:pt x="625" y="513"/>
                    </a:cubicBezTo>
                    <a:cubicBezTo>
                      <a:pt x="622" y="517"/>
                      <a:pt x="622" y="517"/>
                      <a:pt x="622" y="517"/>
                    </a:cubicBezTo>
                    <a:cubicBezTo>
                      <a:pt x="623" y="520"/>
                      <a:pt x="623" y="520"/>
                      <a:pt x="623" y="520"/>
                    </a:cubicBezTo>
                    <a:cubicBezTo>
                      <a:pt x="626" y="525"/>
                      <a:pt x="626" y="525"/>
                      <a:pt x="626" y="525"/>
                    </a:cubicBezTo>
                    <a:cubicBezTo>
                      <a:pt x="629" y="522"/>
                      <a:pt x="629" y="522"/>
                      <a:pt x="629" y="522"/>
                    </a:cubicBezTo>
                    <a:cubicBezTo>
                      <a:pt x="630" y="522"/>
                      <a:pt x="630" y="522"/>
                      <a:pt x="630" y="522"/>
                    </a:cubicBezTo>
                    <a:cubicBezTo>
                      <a:pt x="634" y="520"/>
                      <a:pt x="634" y="520"/>
                      <a:pt x="634" y="520"/>
                    </a:cubicBezTo>
                    <a:cubicBezTo>
                      <a:pt x="637" y="520"/>
                      <a:pt x="637" y="520"/>
                      <a:pt x="637" y="520"/>
                    </a:cubicBezTo>
                    <a:cubicBezTo>
                      <a:pt x="637" y="522"/>
                      <a:pt x="637" y="522"/>
                      <a:pt x="637" y="522"/>
                    </a:cubicBezTo>
                    <a:cubicBezTo>
                      <a:pt x="630" y="527"/>
                      <a:pt x="630" y="527"/>
                      <a:pt x="630" y="527"/>
                    </a:cubicBezTo>
                    <a:cubicBezTo>
                      <a:pt x="627" y="527"/>
                      <a:pt x="627" y="527"/>
                      <a:pt x="627" y="527"/>
                    </a:cubicBezTo>
                    <a:cubicBezTo>
                      <a:pt x="625" y="531"/>
                      <a:pt x="625" y="531"/>
                      <a:pt x="625" y="531"/>
                    </a:cubicBezTo>
                    <a:cubicBezTo>
                      <a:pt x="622" y="529"/>
                      <a:pt x="622" y="529"/>
                      <a:pt x="622" y="529"/>
                    </a:cubicBezTo>
                    <a:cubicBezTo>
                      <a:pt x="619" y="529"/>
                      <a:pt x="619" y="529"/>
                      <a:pt x="619" y="529"/>
                    </a:cubicBezTo>
                    <a:cubicBezTo>
                      <a:pt x="616" y="530"/>
                      <a:pt x="616" y="530"/>
                      <a:pt x="616" y="530"/>
                    </a:cubicBezTo>
                    <a:cubicBezTo>
                      <a:pt x="616" y="533"/>
                      <a:pt x="616" y="533"/>
                      <a:pt x="616" y="533"/>
                    </a:cubicBezTo>
                    <a:cubicBezTo>
                      <a:pt x="613" y="533"/>
                      <a:pt x="613" y="533"/>
                      <a:pt x="613" y="533"/>
                    </a:cubicBezTo>
                    <a:cubicBezTo>
                      <a:pt x="610" y="533"/>
                      <a:pt x="610" y="533"/>
                      <a:pt x="610" y="533"/>
                    </a:cubicBezTo>
                    <a:cubicBezTo>
                      <a:pt x="611" y="538"/>
                      <a:pt x="611" y="538"/>
                      <a:pt x="611" y="538"/>
                    </a:cubicBezTo>
                    <a:cubicBezTo>
                      <a:pt x="616" y="544"/>
                      <a:pt x="616" y="544"/>
                      <a:pt x="616" y="544"/>
                    </a:cubicBezTo>
                    <a:cubicBezTo>
                      <a:pt x="617" y="543"/>
                      <a:pt x="617" y="543"/>
                      <a:pt x="617" y="543"/>
                    </a:cubicBezTo>
                    <a:cubicBezTo>
                      <a:pt x="619" y="540"/>
                      <a:pt x="619" y="540"/>
                      <a:pt x="619" y="540"/>
                    </a:cubicBezTo>
                    <a:cubicBezTo>
                      <a:pt x="621" y="542"/>
                      <a:pt x="621" y="542"/>
                      <a:pt x="621" y="542"/>
                    </a:cubicBezTo>
                    <a:cubicBezTo>
                      <a:pt x="623" y="538"/>
                      <a:pt x="623" y="538"/>
                      <a:pt x="623" y="538"/>
                    </a:cubicBezTo>
                    <a:cubicBezTo>
                      <a:pt x="625" y="538"/>
                      <a:pt x="625" y="538"/>
                      <a:pt x="625" y="538"/>
                    </a:cubicBezTo>
                    <a:cubicBezTo>
                      <a:pt x="625" y="541"/>
                      <a:pt x="625" y="541"/>
                      <a:pt x="625" y="541"/>
                    </a:cubicBezTo>
                    <a:cubicBezTo>
                      <a:pt x="628" y="540"/>
                      <a:pt x="628" y="540"/>
                      <a:pt x="628" y="540"/>
                    </a:cubicBezTo>
                    <a:cubicBezTo>
                      <a:pt x="628" y="538"/>
                      <a:pt x="628" y="538"/>
                      <a:pt x="628" y="538"/>
                    </a:cubicBezTo>
                    <a:cubicBezTo>
                      <a:pt x="631" y="537"/>
                      <a:pt x="631" y="537"/>
                      <a:pt x="631" y="537"/>
                    </a:cubicBezTo>
                    <a:cubicBezTo>
                      <a:pt x="635" y="534"/>
                      <a:pt x="635" y="534"/>
                      <a:pt x="635" y="534"/>
                    </a:cubicBezTo>
                    <a:cubicBezTo>
                      <a:pt x="635" y="530"/>
                      <a:pt x="635" y="530"/>
                      <a:pt x="635" y="530"/>
                    </a:cubicBezTo>
                    <a:cubicBezTo>
                      <a:pt x="638" y="527"/>
                      <a:pt x="638" y="527"/>
                      <a:pt x="638" y="527"/>
                    </a:cubicBezTo>
                    <a:cubicBezTo>
                      <a:pt x="639" y="529"/>
                      <a:pt x="639" y="529"/>
                      <a:pt x="639" y="529"/>
                    </a:cubicBezTo>
                    <a:cubicBezTo>
                      <a:pt x="637" y="531"/>
                      <a:pt x="637" y="531"/>
                      <a:pt x="637" y="531"/>
                    </a:cubicBezTo>
                    <a:cubicBezTo>
                      <a:pt x="639" y="533"/>
                      <a:pt x="639" y="533"/>
                      <a:pt x="639" y="533"/>
                    </a:cubicBezTo>
                    <a:cubicBezTo>
                      <a:pt x="643" y="533"/>
                      <a:pt x="643" y="533"/>
                      <a:pt x="643" y="533"/>
                    </a:cubicBezTo>
                    <a:cubicBezTo>
                      <a:pt x="649" y="529"/>
                      <a:pt x="649" y="529"/>
                      <a:pt x="649" y="529"/>
                    </a:cubicBezTo>
                    <a:cubicBezTo>
                      <a:pt x="653" y="528"/>
                      <a:pt x="653" y="528"/>
                      <a:pt x="653" y="528"/>
                    </a:cubicBezTo>
                    <a:cubicBezTo>
                      <a:pt x="654" y="531"/>
                      <a:pt x="654" y="531"/>
                      <a:pt x="654" y="531"/>
                    </a:cubicBezTo>
                    <a:cubicBezTo>
                      <a:pt x="656" y="529"/>
                      <a:pt x="656" y="529"/>
                      <a:pt x="656" y="529"/>
                    </a:cubicBezTo>
                    <a:cubicBezTo>
                      <a:pt x="658" y="522"/>
                      <a:pt x="658" y="522"/>
                      <a:pt x="658" y="522"/>
                    </a:cubicBezTo>
                    <a:cubicBezTo>
                      <a:pt x="662" y="520"/>
                      <a:pt x="662" y="520"/>
                      <a:pt x="662" y="520"/>
                    </a:cubicBezTo>
                    <a:cubicBezTo>
                      <a:pt x="664" y="520"/>
                      <a:pt x="664" y="520"/>
                      <a:pt x="664" y="520"/>
                    </a:cubicBezTo>
                    <a:cubicBezTo>
                      <a:pt x="660" y="525"/>
                      <a:pt x="660" y="525"/>
                      <a:pt x="660" y="525"/>
                    </a:cubicBezTo>
                    <a:cubicBezTo>
                      <a:pt x="660" y="528"/>
                      <a:pt x="660" y="528"/>
                      <a:pt x="660" y="528"/>
                    </a:cubicBezTo>
                    <a:cubicBezTo>
                      <a:pt x="662" y="526"/>
                      <a:pt x="662" y="526"/>
                      <a:pt x="662" y="526"/>
                    </a:cubicBezTo>
                    <a:cubicBezTo>
                      <a:pt x="666" y="521"/>
                      <a:pt x="666" y="521"/>
                      <a:pt x="666" y="521"/>
                    </a:cubicBezTo>
                    <a:cubicBezTo>
                      <a:pt x="669" y="515"/>
                      <a:pt x="669" y="515"/>
                      <a:pt x="669" y="515"/>
                    </a:cubicBezTo>
                    <a:cubicBezTo>
                      <a:pt x="671" y="513"/>
                      <a:pt x="671" y="513"/>
                      <a:pt x="671" y="513"/>
                    </a:cubicBezTo>
                    <a:cubicBezTo>
                      <a:pt x="671" y="516"/>
                      <a:pt x="671" y="516"/>
                      <a:pt x="671" y="516"/>
                    </a:cubicBezTo>
                    <a:cubicBezTo>
                      <a:pt x="669" y="520"/>
                      <a:pt x="669" y="520"/>
                      <a:pt x="669" y="520"/>
                    </a:cubicBezTo>
                    <a:cubicBezTo>
                      <a:pt x="669" y="522"/>
                      <a:pt x="669" y="522"/>
                      <a:pt x="669" y="522"/>
                    </a:cubicBezTo>
                    <a:cubicBezTo>
                      <a:pt x="674" y="517"/>
                      <a:pt x="674" y="517"/>
                      <a:pt x="674" y="517"/>
                    </a:cubicBezTo>
                    <a:cubicBezTo>
                      <a:pt x="675" y="520"/>
                      <a:pt x="675" y="520"/>
                      <a:pt x="675" y="520"/>
                    </a:cubicBezTo>
                    <a:cubicBezTo>
                      <a:pt x="675" y="522"/>
                      <a:pt x="675" y="522"/>
                      <a:pt x="675" y="522"/>
                    </a:cubicBezTo>
                    <a:cubicBezTo>
                      <a:pt x="679" y="522"/>
                      <a:pt x="679" y="522"/>
                      <a:pt x="679" y="522"/>
                    </a:cubicBezTo>
                    <a:cubicBezTo>
                      <a:pt x="681" y="524"/>
                      <a:pt x="681" y="524"/>
                      <a:pt x="681" y="524"/>
                    </a:cubicBezTo>
                    <a:cubicBezTo>
                      <a:pt x="684" y="521"/>
                      <a:pt x="684" y="521"/>
                      <a:pt x="684" y="521"/>
                    </a:cubicBezTo>
                    <a:cubicBezTo>
                      <a:pt x="685" y="517"/>
                      <a:pt x="685" y="517"/>
                      <a:pt x="685" y="517"/>
                    </a:cubicBezTo>
                    <a:cubicBezTo>
                      <a:pt x="690" y="517"/>
                      <a:pt x="690" y="517"/>
                      <a:pt x="690" y="517"/>
                    </a:cubicBezTo>
                    <a:cubicBezTo>
                      <a:pt x="694" y="515"/>
                      <a:pt x="694" y="515"/>
                      <a:pt x="694" y="515"/>
                    </a:cubicBezTo>
                    <a:cubicBezTo>
                      <a:pt x="691" y="513"/>
                      <a:pt x="691" y="513"/>
                      <a:pt x="691" y="513"/>
                    </a:cubicBezTo>
                    <a:cubicBezTo>
                      <a:pt x="693" y="510"/>
                      <a:pt x="693" y="510"/>
                      <a:pt x="693" y="510"/>
                    </a:cubicBezTo>
                    <a:cubicBezTo>
                      <a:pt x="700" y="507"/>
                      <a:pt x="700" y="507"/>
                      <a:pt x="700" y="507"/>
                    </a:cubicBezTo>
                    <a:cubicBezTo>
                      <a:pt x="701" y="505"/>
                      <a:pt x="701" y="505"/>
                      <a:pt x="701" y="505"/>
                    </a:cubicBezTo>
                    <a:cubicBezTo>
                      <a:pt x="701" y="501"/>
                      <a:pt x="701" y="501"/>
                      <a:pt x="701" y="501"/>
                    </a:cubicBezTo>
                    <a:cubicBezTo>
                      <a:pt x="698" y="502"/>
                      <a:pt x="698" y="502"/>
                      <a:pt x="698" y="502"/>
                    </a:cubicBezTo>
                    <a:cubicBezTo>
                      <a:pt x="695" y="500"/>
                      <a:pt x="695" y="500"/>
                      <a:pt x="695" y="500"/>
                    </a:cubicBezTo>
                    <a:cubicBezTo>
                      <a:pt x="691" y="499"/>
                      <a:pt x="691" y="499"/>
                      <a:pt x="691" y="499"/>
                    </a:cubicBezTo>
                    <a:cubicBezTo>
                      <a:pt x="692" y="497"/>
                      <a:pt x="692" y="497"/>
                      <a:pt x="692" y="497"/>
                    </a:cubicBezTo>
                    <a:cubicBezTo>
                      <a:pt x="696" y="497"/>
                      <a:pt x="696" y="497"/>
                      <a:pt x="696" y="497"/>
                    </a:cubicBezTo>
                    <a:cubicBezTo>
                      <a:pt x="698" y="498"/>
                      <a:pt x="698" y="498"/>
                      <a:pt x="698" y="498"/>
                    </a:cubicBezTo>
                    <a:cubicBezTo>
                      <a:pt x="700" y="496"/>
                      <a:pt x="700" y="496"/>
                      <a:pt x="700" y="496"/>
                    </a:cubicBezTo>
                    <a:cubicBezTo>
                      <a:pt x="700" y="493"/>
                      <a:pt x="700" y="493"/>
                      <a:pt x="700" y="493"/>
                    </a:cubicBezTo>
                    <a:cubicBezTo>
                      <a:pt x="697" y="494"/>
                      <a:pt x="697" y="494"/>
                      <a:pt x="697" y="494"/>
                    </a:cubicBezTo>
                    <a:cubicBezTo>
                      <a:pt x="693" y="491"/>
                      <a:pt x="693" y="491"/>
                      <a:pt x="693" y="491"/>
                    </a:cubicBezTo>
                    <a:cubicBezTo>
                      <a:pt x="693" y="488"/>
                      <a:pt x="693" y="488"/>
                      <a:pt x="693" y="488"/>
                    </a:cubicBezTo>
                    <a:cubicBezTo>
                      <a:pt x="698" y="488"/>
                      <a:pt x="698" y="488"/>
                      <a:pt x="698" y="488"/>
                    </a:cubicBezTo>
                    <a:cubicBezTo>
                      <a:pt x="700" y="487"/>
                      <a:pt x="700" y="487"/>
                      <a:pt x="700" y="487"/>
                    </a:cubicBezTo>
                    <a:cubicBezTo>
                      <a:pt x="702" y="488"/>
                      <a:pt x="702" y="488"/>
                      <a:pt x="702" y="488"/>
                    </a:cubicBezTo>
                    <a:cubicBezTo>
                      <a:pt x="702" y="486"/>
                      <a:pt x="702" y="486"/>
                      <a:pt x="702" y="486"/>
                    </a:cubicBezTo>
                    <a:cubicBezTo>
                      <a:pt x="701" y="482"/>
                      <a:pt x="701" y="482"/>
                      <a:pt x="701" y="482"/>
                    </a:cubicBezTo>
                    <a:cubicBezTo>
                      <a:pt x="707" y="479"/>
                      <a:pt x="707" y="479"/>
                      <a:pt x="707" y="479"/>
                    </a:cubicBezTo>
                    <a:cubicBezTo>
                      <a:pt x="711" y="482"/>
                      <a:pt x="711" y="482"/>
                      <a:pt x="711" y="482"/>
                    </a:cubicBezTo>
                    <a:cubicBezTo>
                      <a:pt x="713" y="481"/>
                      <a:pt x="713" y="481"/>
                      <a:pt x="713" y="481"/>
                    </a:cubicBezTo>
                    <a:cubicBezTo>
                      <a:pt x="718" y="481"/>
                      <a:pt x="718" y="481"/>
                      <a:pt x="718" y="481"/>
                    </a:cubicBezTo>
                    <a:cubicBezTo>
                      <a:pt x="711" y="486"/>
                      <a:pt x="711" y="486"/>
                      <a:pt x="711" y="486"/>
                    </a:cubicBezTo>
                    <a:cubicBezTo>
                      <a:pt x="711" y="489"/>
                      <a:pt x="711" y="489"/>
                      <a:pt x="711" y="489"/>
                    </a:cubicBezTo>
                    <a:cubicBezTo>
                      <a:pt x="713" y="495"/>
                      <a:pt x="713" y="495"/>
                      <a:pt x="713" y="495"/>
                    </a:cubicBezTo>
                    <a:cubicBezTo>
                      <a:pt x="714" y="494"/>
                      <a:pt x="714" y="494"/>
                      <a:pt x="714" y="494"/>
                    </a:cubicBezTo>
                    <a:cubicBezTo>
                      <a:pt x="717" y="487"/>
                      <a:pt x="717" y="487"/>
                      <a:pt x="717" y="487"/>
                    </a:cubicBezTo>
                    <a:cubicBezTo>
                      <a:pt x="720" y="485"/>
                      <a:pt x="720" y="485"/>
                      <a:pt x="720" y="485"/>
                    </a:cubicBezTo>
                    <a:cubicBezTo>
                      <a:pt x="721" y="485"/>
                      <a:pt x="721" y="485"/>
                      <a:pt x="721" y="485"/>
                    </a:cubicBezTo>
                    <a:cubicBezTo>
                      <a:pt x="720" y="488"/>
                      <a:pt x="720" y="488"/>
                      <a:pt x="720" y="488"/>
                    </a:cubicBezTo>
                    <a:cubicBezTo>
                      <a:pt x="718" y="491"/>
                      <a:pt x="718" y="491"/>
                      <a:pt x="718" y="491"/>
                    </a:cubicBezTo>
                    <a:cubicBezTo>
                      <a:pt x="719" y="493"/>
                      <a:pt x="719" y="493"/>
                      <a:pt x="719" y="493"/>
                    </a:cubicBezTo>
                    <a:cubicBezTo>
                      <a:pt x="723" y="490"/>
                      <a:pt x="723" y="490"/>
                      <a:pt x="723" y="490"/>
                    </a:cubicBezTo>
                    <a:cubicBezTo>
                      <a:pt x="724" y="488"/>
                      <a:pt x="724" y="488"/>
                      <a:pt x="724" y="488"/>
                    </a:cubicBezTo>
                    <a:cubicBezTo>
                      <a:pt x="727" y="490"/>
                      <a:pt x="727" y="490"/>
                      <a:pt x="727" y="490"/>
                    </a:cubicBezTo>
                    <a:cubicBezTo>
                      <a:pt x="731" y="487"/>
                      <a:pt x="731" y="487"/>
                      <a:pt x="731" y="487"/>
                    </a:cubicBezTo>
                    <a:cubicBezTo>
                      <a:pt x="733" y="487"/>
                      <a:pt x="733" y="487"/>
                      <a:pt x="733" y="487"/>
                    </a:cubicBezTo>
                    <a:cubicBezTo>
                      <a:pt x="736" y="484"/>
                      <a:pt x="736" y="484"/>
                      <a:pt x="736" y="484"/>
                    </a:cubicBezTo>
                    <a:cubicBezTo>
                      <a:pt x="741" y="484"/>
                      <a:pt x="741" y="484"/>
                      <a:pt x="741" y="484"/>
                    </a:cubicBezTo>
                    <a:cubicBezTo>
                      <a:pt x="744" y="485"/>
                      <a:pt x="744" y="485"/>
                      <a:pt x="744" y="485"/>
                    </a:cubicBezTo>
                    <a:cubicBezTo>
                      <a:pt x="743" y="486"/>
                      <a:pt x="743" y="486"/>
                      <a:pt x="743" y="486"/>
                    </a:cubicBezTo>
                    <a:cubicBezTo>
                      <a:pt x="739" y="486"/>
                      <a:pt x="739" y="486"/>
                      <a:pt x="739" y="486"/>
                    </a:cubicBezTo>
                    <a:cubicBezTo>
                      <a:pt x="735" y="490"/>
                      <a:pt x="735" y="490"/>
                      <a:pt x="735" y="490"/>
                    </a:cubicBezTo>
                    <a:cubicBezTo>
                      <a:pt x="732" y="490"/>
                      <a:pt x="732" y="490"/>
                      <a:pt x="732" y="490"/>
                    </a:cubicBezTo>
                    <a:cubicBezTo>
                      <a:pt x="730" y="493"/>
                      <a:pt x="730" y="493"/>
                      <a:pt x="730" y="493"/>
                    </a:cubicBezTo>
                    <a:cubicBezTo>
                      <a:pt x="732" y="495"/>
                      <a:pt x="732" y="495"/>
                      <a:pt x="732" y="495"/>
                    </a:cubicBezTo>
                    <a:cubicBezTo>
                      <a:pt x="739" y="496"/>
                      <a:pt x="739" y="496"/>
                      <a:pt x="739" y="496"/>
                    </a:cubicBezTo>
                    <a:cubicBezTo>
                      <a:pt x="742" y="499"/>
                      <a:pt x="742" y="499"/>
                      <a:pt x="742" y="499"/>
                    </a:cubicBezTo>
                    <a:cubicBezTo>
                      <a:pt x="741" y="500"/>
                      <a:pt x="741" y="500"/>
                      <a:pt x="741" y="500"/>
                    </a:cubicBezTo>
                    <a:cubicBezTo>
                      <a:pt x="737" y="497"/>
                      <a:pt x="737" y="497"/>
                      <a:pt x="737" y="497"/>
                    </a:cubicBezTo>
                    <a:cubicBezTo>
                      <a:pt x="732" y="497"/>
                      <a:pt x="732" y="497"/>
                      <a:pt x="732" y="497"/>
                    </a:cubicBezTo>
                    <a:cubicBezTo>
                      <a:pt x="729" y="498"/>
                      <a:pt x="729" y="498"/>
                      <a:pt x="729" y="498"/>
                    </a:cubicBezTo>
                    <a:cubicBezTo>
                      <a:pt x="728" y="501"/>
                      <a:pt x="728" y="501"/>
                      <a:pt x="728" y="501"/>
                    </a:cubicBezTo>
                    <a:cubicBezTo>
                      <a:pt x="731" y="502"/>
                      <a:pt x="731" y="502"/>
                      <a:pt x="731" y="502"/>
                    </a:cubicBezTo>
                    <a:cubicBezTo>
                      <a:pt x="734" y="500"/>
                      <a:pt x="734" y="500"/>
                      <a:pt x="734" y="500"/>
                    </a:cubicBezTo>
                    <a:cubicBezTo>
                      <a:pt x="737" y="502"/>
                      <a:pt x="737" y="502"/>
                      <a:pt x="737" y="502"/>
                    </a:cubicBezTo>
                    <a:cubicBezTo>
                      <a:pt x="736" y="503"/>
                      <a:pt x="736" y="503"/>
                      <a:pt x="736" y="503"/>
                    </a:cubicBezTo>
                    <a:cubicBezTo>
                      <a:pt x="732" y="504"/>
                      <a:pt x="732" y="504"/>
                      <a:pt x="732" y="504"/>
                    </a:cubicBezTo>
                    <a:cubicBezTo>
                      <a:pt x="732" y="506"/>
                      <a:pt x="732" y="506"/>
                      <a:pt x="732" y="506"/>
                    </a:cubicBezTo>
                    <a:cubicBezTo>
                      <a:pt x="737" y="508"/>
                      <a:pt x="737" y="508"/>
                      <a:pt x="737" y="508"/>
                    </a:cubicBezTo>
                    <a:cubicBezTo>
                      <a:pt x="739" y="510"/>
                      <a:pt x="739" y="510"/>
                      <a:pt x="739" y="510"/>
                    </a:cubicBezTo>
                    <a:cubicBezTo>
                      <a:pt x="736" y="511"/>
                      <a:pt x="736" y="511"/>
                      <a:pt x="736" y="511"/>
                    </a:cubicBezTo>
                    <a:cubicBezTo>
                      <a:pt x="733" y="512"/>
                      <a:pt x="733" y="512"/>
                      <a:pt x="733" y="512"/>
                    </a:cubicBezTo>
                    <a:cubicBezTo>
                      <a:pt x="734" y="514"/>
                      <a:pt x="734" y="514"/>
                      <a:pt x="734" y="514"/>
                    </a:cubicBezTo>
                    <a:cubicBezTo>
                      <a:pt x="737" y="514"/>
                      <a:pt x="737" y="514"/>
                      <a:pt x="737" y="514"/>
                    </a:cubicBezTo>
                    <a:cubicBezTo>
                      <a:pt x="741" y="512"/>
                      <a:pt x="741" y="512"/>
                      <a:pt x="741" y="512"/>
                    </a:cubicBezTo>
                    <a:cubicBezTo>
                      <a:pt x="744" y="515"/>
                      <a:pt x="744" y="515"/>
                      <a:pt x="744" y="515"/>
                    </a:cubicBezTo>
                    <a:cubicBezTo>
                      <a:pt x="748" y="517"/>
                      <a:pt x="748" y="517"/>
                      <a:pt x="748" y="517"/>
                    </a:cubicBezTo>
                    <a:cubicBezTo>
                      <a:pt x="753" y="515"/>
                      <a:pt x="753" y="515"/>
                      <a:pt x="753" y="515"/>
                    </a:cubicBezTo>
                    <a:cubicBezTo>
                      <a:pt x="755" y="517"/>
                      <a:pt x="755" y="517"/>
                      <a:pt x="755" y="517"/>
                    </a:cubicBezTo>
                    <a:cubicBezTo>
                      <a:pt x="755" y="519"/>
                      <a:pt x="755" y="519"/>
                      <a:pt x="755" y="519"/>
                    </a:cubicBezTo>
                    <a:cubicBezTo>
                      <a:pt x="752" y="520"/>
                      <a:pt x="752" y="520"/>
                      <a:pt x="752" y="520"/>
                    </a:cubicBezTo>
                    <a:cubicBezTo>
                      <a:pt x="753" y="522"/>
                      <a:pt x="753" y="522"/>
                      <a:pt x="753" y="522"/>
                    </a:cubicBezTo>
                    <a:cubicBezTo>
                      <a:pt x="755" y="523"/>
                      <a:pt x="755" y="523"/>
                      <a:pt x="755" y="523"/>
                    </a:cubicBezTo>
                    <a:cubicBezTo>
                      <a:pt x="755" y="525"/>
                      <a:pt x="755" y="525"/>
                      <a:pt x="755" y="525"/>
                    </a:cubicBezTo>
                    <a:cubicBezTo>
                      <a:pt x="758" y="526"/>
                      <a:pt x="758" y="526"/>
                      <a:pt x="758" y="526"/>
                    </a:cubicBezTo>
                    <a:cubicBezTo>
                      <a:pt x="761" y="522"/>
                      <a:pt x="761" y="522"/>
                      <a:pt x="761" y="522"/>
                    </a:cubicBezTo>
                    <a:cubicBezTo>
                      <a:pt x="760" y="521"/>
                      <a:pt x="760" y="521"/>
                      <a:pt x="760" y="521"/>
                    </a:cubicBezTo>
                    <a:cubicBezTo>
                      <a:pt x="761" y="519"/>
                      <a:pt x="761" y="519"/>
                      <a:pt x="761" y="519"/>
                    </a:cubicBezTo>
                    <a:cubicBezTo>
                      <a:pt x="765" y="519"/>
                      <a:pt x="765" y="519"/>
                      <a:pt x="765" y="519"/>
                    </a:cubicBezTo>
                    <a:cubicBezTo>
                      <a:pt x="763" y="523"/>
                      <a:pt x="763" y="523"/>
                      <a:pt x="763" y="523"/>
                    </a:cubicBezTo>
                    <a:cubicBezTo>
                      <a:pt x="763" y="525"/>
                      <a:pt x="763" y="525"/>
                      <a:pt x="763" y="525"/>
                    </a:cubicBezTo>
                    <a:cubicBezTo>
                      <a:pt x="758" y="530"/>
                      <a:pt x="758" y="530"/>
                      <a:pt x="758" y="530"/>
                    </a:cubicBezTo>
                    <a:cubicBezTo>
                      <a:pt x="762" y="533"/>
                      <a:pt x="762" y="533"/>
                      <a:pt x="762" y="533"/>
                    </a:cubicBezTo>
                    <a:cubicBezTo>
                      <a:pt x="760" y="534"/>
                      <a:pt x="760" y="534"/>
                      <a:pt x="760" y="534"/>
                    </a:cubicBezTo>
                    <a:cubicBezTo>
                      <a:pt x="758" y="533"/>
                      <a:pt x="758" y="533"/>
                      <a:pt x="758" y="533"/>
                    </a:cubicBezTo>
                    <a:cubicBezTo>
                      <a:pt x="756" y="534"/>
                      <a:pt x="756" y="534"/>
                      <a:pt x="756" y="534"/>
                    </a:cubicBezTo>
                    <a:cubicBezTo>
                      <a:pt x="757" y="536"/>
                      <a:pt x="757" y="536"/>
                      <a:pt x="757" y="536"/>
                    </a:cubicBezTo>
                    <a:cubicBezTo>
                      <a:pt x="766" y="538"/>
                      <a:pt x="766" y="538"/>
                      <a:pt x="766" y="538"/>
                    </a:cubicBezTo>
                    <a:cubicBezTo>
                      <a:pt x="769" y="537"/>
                      <a:pt x="769" y="537"/>
                      <a:pt x="769" y="537"/>
                    </a:cubicBezTo>
                    <a:cubicBezTo>
                      <a:pt x="772" y="538"/>
                      <a:pt x="772" y="538"/>
                      <a:pt x="772" y="538"/>
                    </a:cubicBezTo>
                    <a:cubicBezTo>
                      <a:pt x="776" y="537"/>
                      <a:pt x="776" y="537"/>
                      <a:pt x="776" y="537"/>
                    </a:cubicBezTo>
                    <a:cubicBezTo>
                      <a:pt x="780" y="538"/>
                      <a:pt x="780" y="538"/>
                      <a:pt x="780" y="538"/>
                    </a:cubicBezTo>
                    <a:cubicBezTo>
                      <a:pt x="785" y="537"/>
                      <a:pt x="785" y="537"/>
                      <a:pt x="785" y="537"/>
                    </a:cubicBezTo>
                    <a:cubicBezTo>
                      <a:pt x="787" y="538"/>
                      <a:pt x="787" y="538"/>
                      <a:pt x="787" y="538"/>
                    </a:cubicBezTo>
                    <a:cubicBezTo>
                      <a:pt x="786" y="540"/>
                      <a:pt x="786" y="540"/>
                      <a:pt x="786" y="540"/>
                    </a:cubicBezTo>
                    <a:cubicBezTo>
                      <a:pt x="789" y="541"/>
                      <a:pt x="789" y="541"/>
                      <a:pt x="789" y="541"/>
                    </a:cubicBezTo>
                    <a:cubicBezTo>
                      <a:pt x="792" y="543"/>
                      <a:pt x="792" y="543"/>
                      <a:pt x="792" y="543"/>
                    </a:cubicBezTo>
                    <a:cubicBezTo>
                      <a:pt x="794" y="545"/>
                      <a:pt x="794" y="545"/>
                      <a:pt x="794" y="545"/>
                    </a:cubicBezTo>
                    <a:cubicBezTo>
                      <a:pt x="795" y="548"/>
                      <a:pt x="795" y="548"/>
                      <a:pt x="795" y="548"/>
                    </a:cubicBezTo>
                    <a:cubicBezTo>
                      <a:pt x="798" y="548"/>
                      <a:pt x="798" y="548"/>
                      <a:pt x="798" y="548"/>
                    </a:cubicBezTo>
                    <a:cubicBezTo>
                      <a:pt x="804" y="545"/>
                      <a:pt x="804" y="545"/>
                      <a:pt x="804" y="545"/>
                    </a:cubicBezTo>
                    <a:cubicBezTo>
                      <a:pt x="805" y="544"/>
                      <a:pt x="805" y="544"/>
                      <a:pt x="805" y="544"/>
                    </a:cubicBezTo>
                    <a:cubicBezTo>
                      <a:pt x="807" y="545"/>
                      <a:pt x="807" y="545"/>
                      <a:pt x="807" y="545"/>
                    </a:cubicBezTo>
                    <a:cubicBezTo>
                      <a:pt x="806" y="548"/>
                      <a:pt x="806" y="548"/>
                      <a:pt x="806" y="548"/>
                    </a:cubicBezTo>
                    <a:cubicBezTo>
                      <a:pt x="804" y="550"/>
                      <a:pt x="804" y="550"/>
                      <a:pt x="804" y="550"/>
                    </a:cubicBezTo>
                    <a:cubicBezTo>
                      <a:pt x="800" y="551"/>
                      <a:pt x="800" y="551"/>
                      <a:pt x="800" y="551"/>
                    </a:cubicBezTo>
                    <a:cubicBezTo>
                      <a:pt x="801" y="552"/>
                      <a:pt x="801" y="552"/>
                      <a:pt x="801" y="552"/>
                    </a:cubicBezTo>
                    <a:cubicBezTo>
                      <a:pt x="806" y="554"/>
                      <a:pt x="806" y="554"/>
                      <a:pt x="806" y="554"/>
                    </a:cubicBezTo>
                    <a:cubicBezTo>
                      <a:pt x="807" y="557"/>
                      <a:pt x="807" y="557"/>
                      <a:pt x="807" y="557"/>
                    </a:cubicBezTo>
                    <a:cubicBezTo>
                      <a:pt x="810" y="559"/>
                      <a:pt x="810" y="559"/>
                      <a:pt x="810" y="559"/>
                    </a:cubicBezTo>
                    <a:cubicBezTo>
                      <a:pt x="815" y="561"/>
                      <a:pt x="815" y="561"/>
                      <a:pt x="815" y="561"/>
                    </a:cubicBezTo>
                    <a:cubicBezTo>
                      <a:pt x="822" y="559"/>
                      <a:pt x="822" y="559"/>
                      <a:pt x="822" y="559"/>
                    </a:cubicBezTo>
                    <a:cubicBezTo>
                      <a:pt x="825" y="558"/>
                      <a:pt x="825" y="558"/>
                      <a:pt x="825" y="558"/>
                    </a:cubicBezTo>
                    <a:cubicBezTo>
                      <a:pt x="826" y="560"/>
                      <a:pt x="826" y="560"/>
                      <a:pt x="826" y="560"/>
                    </a:cubicBezTo>
                    <a:cubicBezTo>
                      <a:pt x="829" y="557"/>
                      <a:pt x="829" y="557"/>
                      <a:pt x="829" y="557"/>
                    </a:cubicBezTo>
                    <a:cubicBezTo>
                      <a:pt x="834" y="554"/>
                      <a:pt x="834" y="554"/>
                      <a:pt x="834" y="554"/>
                    </a:cubicBezTo>
                    <a:cubicBezTo>
                      <a:pt x="835" y="554"/>
                      <a:pt x="835" y="554"/>
                      <a:pt x="835" y="554"/>
                    </a:cubicBezTo>
                    <a:cubicBezTo>
                      <a:pt x="834" y="556"/>
                      <a:pt x="834" y="556"/>
                      <a:pt x="834" y="556"/>
                    </a:cubicBezTo>
                    <a:cubicBezTo>
                      <a:pt x="830" y="559"/>
                      <a:pt x="830" y="559"/>
                      <a:pt x="830" y="559"/>
                    </a:cubicBezTo>
                    <a:cubicBezTo>
                      <a:pt x="830" y="565"/>
                      <a:pt x="830" y="565"/>
                      <a:pt x="830" y="565"/>
                    </a:cubicBezTo>
                    <a:cubicBezTo>
                      <a:pt x="828" y="569"/>
                      <a:pt x="828" y="569"/>
                      <a:pt x="828" y="569"/>
                    </a:cubicBezTo>
                    <a:cubicBezTo>
                      <a:pt x="826" y="570"/>
                      <a:pt x="826" y="570"/>
                      <a:pt x="826" y="570"/>
                    </a:cubicBezTo>
                    <a:cubicBezTo>
                      <a:pt x="822" y="567"/>
                      <a:pt x="822" y="567"/>
                      <a:pt x="822" y="567"/>
                    </a:cubicBezTo>
                    <a:cubicBezTo>
                      <a:pt x="820" y="568"/>
                      <a:pt x="820" y="568"/>
                      <a:pt x="820" y="568"/>
                    </a:cubicBezTo>
                    <a:cubicBezTo>
                      <a:pt x="823" y="572"/>
                      <a:pt x="823" y="572"/>
                      <a:pt x="823" y="572"/>
                    </a:cubicBezTo>
                    <a:cubicBezTo>
                      <a:pt x="824" y="576"/>
                      <a:pt x="824" y="576"/>
                      <a:pt x="824" y="576"/>
                    </a:cubicBezTo>
                    <a:cubicBezTo>
                      <a:pt x="826" y="578"/>
                      <a:pt x="826" y="578"/>
                      <a:pt x="826" y="578"/>
                    </a:cubicBezTo>
                    <a:cubicBezTo>
                      <a:pt x="829" y="577"/>
                      <a:pt x="829" y="577"/>
                      <a:pt x="829" y="577"/>
                    </a:cubicBezTo>
                    <a:cubicBezTo>
                      <a:pt x="831" y="578"/>
                      <a:pt x="831" y="578"/>
                      <a:pt x="831" y="578"/>
                    </a:cubicBezTo>
                    <a:cubicBezTo>
                      <a:pt x="830" y="580"/>
                      <a:pt x="830" y="580"/>
                      <a:pt x="830" y="580"/>
                    </a:cubicBezTo>
                    <a:cubicBezTo>
                      <a:pt x="828" y="580"/>
                      <a:pt x="828" y="580"/>
                      <a:pt x="828" y="580"/>
                    </a:cubicBezTo>
                    <a:cubicBezTo>
                      <a:pt x="828" y="582"/>
                      <a:pt x="828" y="582"/>
                      <a:pt x="828" y="582"/>
                    </a:cubicBezTo>
                    <a:cubicBezTo>
                      <a:pt x="834" y="587"/>
                      <a:pt x="834" y="587"/>
                      <a:pt x="834" y="587"/>
                    </a:cubicBezTo>
                    <a:cubicBezTo>
                      <a:pt x="835" y="586"/>
                      <a:pt x="835" y="586"/>
                      <a:pt x="835" y="586"/>
                    </a:cubicBezTo>
                    <a:cubicBezTo>
                      <a:pt x="840" y="586"/>
                      <a:pt x="840" y="586"/>
                      <a:pt x="840" y="586"/>
                    </a:cubicBezTo>
                    <a:cubicBezTo>
                      <a:pt x="842" y="583"/>
                      <a:pt x="842" y="583"/>
                      <a:pt x="842" y="583"/>
                    </a:cubicBezTo>
                    <a:cubicBezTo>
                      <a:pt x="846" y="575"/>
                      <a:pt x="846" y="575"/>
                      <a:pt x="846" y="575"/>
                    </a:cubicBezTo>
                    <a:cubicBezTo>
                      <a:pt x="844" y="581"/>
                      <a:pt x="844" y="581"/>
                      <a:pt x="844" y="581"/>
                    </a:cubicBezTo>
                    <a:cubicBezTo>
                      <a:pt x="844" y="585"/>
                      <a:pt x="844" y="585"/>
                      <a:pt x="844" y="585"/>
                    </a:cubicBezTo>
                    <a:cubicBezTo>
                      <a:pt x="843" y="588"/>
                      <a:pt x="843" y="588"/>
                      <a:pt x="843" y="588"/>
                    </a:cubicBezTo>
                    <a:cubicBezTo>
                      <a:pt x="841" y="589"/>
                      <a:pt x="841" y="589"/>
                      <a:pt x="841" y="589"/>
                    </a:cubicBezTo>
                    <a:cubicBezTo>
                      <a:pt x="838" y="592"/>
                      <a:pt x="838" y="592"/>
                      <a:pt x="838" y="592"/>
                    </a:cubicBezTo>
                    <a:cubicBezTo>
                      <a:pt x="839" y="594"/>
                      <a:pt x="839" y="594"/>
                      <a:pt x="839" y="594"/>
                    </a:cubicBezTo>
                    <a:cubicBezTo>
                      <a:pt x="842" y="596"/>
                      <a:pt x="842" y="596"/>
                      <a:pt x="842" y="596"/>
                    </a:cubicBezTo>
                    <a:cubicBezTo>
                      <a:pt x="840" y="598"/>
                      <a:pt x="840" y="598"/>
                      <a:pt x="840" y="598"/>
                    </a:cubicBezTo>
                    <a:cubicBezTo>
                      <a:pt x="840" y="606"/>
                      <a:pt x="840" y="606"/>
                      <a:pt x="840" y="606"/>
                    </a:cubicBezTo>
                    <a:cubicBezTo>
                      <a:pt x="842" y="608"/>
                      <a:pt x="842" y="608"/>
                      <a:pt x="842" y="608"/>
                    </a:cubicBezTo>
                    <a:cubicBezTo>
                      <a:pt x="845" y="608"/>
                      <a:pt x="845" y="608"/>
                      <a:pt x="845" y="608"/>
                    </a:cubicBezTo>
                    <a:cubicBezTo>
                      <a:pt x="844" y="611"/>
                      <a:pt x="844" y="611"/>
                      <a:pt x="844" y="611"/>
                    </a:cubicBezTo>
                    <a:cubicBezTo>
                      <a:pt x="845" y="615"/>
                      <a:pt x="845" y="615"/>
                      <a:pt x="845" y="615"/>
                    </a:cubicBezTo>
                    <a:cubicBezTo>
                      <a:pt x="851" y="621"/>
                      <a:pt x="851" y="621"/>
                      <a:pt x="851" y="621"/>
                    </a:cubicBezTo>
                    <a:cubicBezTo>
                      <a:pt x="853" y="622"/>
                      <a:pt x="853" y="622"/>
                      <a:pt x="853" y="622"/>
                    </a:cubicBezTo>
                    <a:cubicBezTo>
                      <a:pt x="853" y="624"/>
                      <a:pt x="853" y="624"/>
                      <a:pt x="853" y="624"/>
                    </a:cubicBezTo>
                    <a:cubicBezTo>
                      <a:pt x="855" y="622"/>
                      <a:pt x="855" y="622"/>
                      <a:pt x="855" y="622"/>
                    </a:cubicBezTo>
                    <a:cubicBezTo>
                      <a:pt x="857" y="625"/>
                      <a:pt x="857" y="625"/>
                      <a:pt x="857" y="625"/>
                    </a:cubicBezTo>
                    <a:cubicBezTo>
                      <a:pt x="860" y="624"/>
                      <a:pt x="860" y="624"/>
                      <a:pt x="860" y="624"/>
                    </a:cubicBezTo>
                    <a:cubicBezTo>
                      <a:pt x="859" y="622"/>
                      <a:pt x="859" y="622"/>
                      <a:pt x="859" y="622"/>
                    </a:cubicBezTo>
                    <a:cubicBezTo>
                      <a:pt x="860" y="621"/>
                      <a:pt x="860" y="621"/>
                      <a:pt x="860" y="621"/>
                    </a:cubicBezTo>
                    <a:cubicBezTo>
                      <a:pt x="861" y="622"/>
                      <a:pt x="861" y="622"/>
                      <a:pt x="861" y="622"/>
                    </a:cubicBezTo>
                    <a:cubicBezTo>
                      <a:pt x="864" y="623"/>
                      <a:pt x="864" y="623"/>
                      <a:pt x="864" y="623"/>
                    </a:cubicBezTo>
                    <a:cubicBezTo>
                      <a:pt x="865" y="620"/>
                      <a:pt x="865" y="620"/>
                      <a:pt x="865" y="620"/>
                    </a:cubicBezTo>
                    <a:cubicBezTo>
                      <a:pt x="863" y="615"/>
                      <a:pt x="863" y="615"/>
                      <a:pt x="863" y="615"/>
                    </a:cubicBezTo>
                    <a:cubicBezTo>
                      <a:pt x="861" y="615"/>
                      <a:pt x="861" y="615"/>
                      <a:pt x="861" y="615"/>
                    </a:cubicBezTo>
                    <a:cubicBezTo>
                      <a:pt x="859" y="616"/>
                      <a:pt x="859" y="616"/>
                      <a:pt x="859" y="616"/>
                    </a:cubicBezTo>
                    <a:cubicBezTo>
                      <a:pt x="858" y="615"/>
                      <a:pt x="858" y="615"/>
                      <a:pt x="858" y="615"/>
                    </a:cubicBezTo>
                    <a:cubicBezTo>
                      <a:pt x="861" y="611"/>
                      <a:pt x="861" y="611"/>
                      <a:pt x="861" y="611"/>
                    </a:cubicBezTo>
                    <a:cubicBezTo>
                      <a:pt x="860" y="609"/>
                      <a:pt x="860" y="609"/>
                      <a:pt x="860" y="609"/>
                    </a:cubicBezTo>
                    <a:cubicBezTo>
                      <a:pt x="859" y="606"/>
                      <a:pt x="859" y="606"/>
                      <a:pt x="859" y="606"/>
                    </a:cubicBezTo>
                    <a:cubicBezTo>
                      <a:pt x="857" y="605"/>
                      <a:pt x="857" y="605"/>
                      <a:pt x="857" y="605"/>
                    </a:cubicBezTo>
                    <a:cubicBezTo>
                      <a:pt x="857" y="603"/>
                      <a:pt x="857" y="603"/>
                      <a:pt x="857" y="603"/>
                    </a:cubicBezTo>
                    <a:cubicBezTo>
                      <a:pt x="858" y="602"/>
                      <a:pt x="858" y="602"/>
                      <a:pt x="858" y="602"/>
                    </a:cubicBezTo>
                    <a:cubicBezTo>
                      <a:pt x="858" y="597"/>
                      <a:pt x="858" y="597"/>
                      <a:pt x="858" y="597"/>
                    </a:cubicBezTo>
                    <a:cubicBezTo>
                      <a:pt x="861" y="598"/>
                      <a:pt x="861" y="598"/>
                      <a:pt x="861" y="598"/>
                    </a:cubicBezTo>
                    <a:cubicBezTo>
                      <a:pt x="861" y="601"/>
                      <a:pt x="861" y="601"/>
                      <a:pt x="861" y="601"/>
                    </a:cubicBezTo>
                    <a:cubicBezTo>
                      <a:pt x="862" y="604"/>
                      <a:pt x="862" y="604"/>
                      <a:pt x="862" y="604"/>
                    </a:cubicBezTo>
                    <a:cubicBezTo>
                      <a:pt x="864" y="600"/>
                      <a:pt x="864" y="600"/>
                      <a:pt x="864" y="600"/>
                    </a:cubicBezTo>
                    <a:cubicBezTo>
                      <a:pt x="866" y="602"/>
                      <a:pt x="866" y="602"/>
                      <a:pt x="866" y="602"/>
                    </a:cubicBezTo>
                    <a:cubicBezTo>
                      <a:pt x="867" y="605"/>
                      <a:pt x="867" y="605"/>
                      <a:pt x="867" y="605"/>
                    </a:cubicBezTo>
                    <a:cubicBezTo>
                      <a:pt x="866" y="609"/>
                      <a:pt x="866" y="609"/>
                      <a:pt x="866" y="609"/>
                    </a:cubicBezTo>
                    <a:cubicBezTo>
                      <a:pt x="866" y="611"/>
                      <a:pt x="866" y="611"/>
                      <a:pt x="866" y="611"/>
                    </a:cubicBezTo>
                    <a:cubicBezTo>
                      <a:pt x="868" y="612"/>
                      <a:pt x="868" y="612"/>
                      <a:pt x="868" y="612"/>
                    </a:cubicBezTo>
                    <a:cubicBezTo>
                      <a:pt x="872" y="609"/>
                      <a:pt x="872" y="609"/>
                      <a:pt x="872" y="609"/>
                    </a:cubicBezTo>
                    <a:cubicBezTo>
                      <a:pt x="873" y="609"/>
                      <a:pt x="873" y="609"/>
                      <a:pt x="873" y="609"/>
                    </a:cubicBezTo>
                    <a:cubicBezTo>
                      <a:pt x="872" y="611"/>
                      <a:pt x="872" y="611"/>
                      <a:pt x="872" y="611"/>
                    </a:cubicBezTo>
                    <a:cubicBezTo>
                      <a:pt x="870" y="614"/>
                      <a:pt x="870" y="614"/>
                      <a:pt x="870" y="614"/>
                    </a:cubicBezTo>
                    <a:cubicBezTo>
                      <a:pt x="870" y="617"/>
                      <a:pt x="870" y="617"/>
                      <a:pt x="870" y="617"/>
                    </a:cubicBezTo>
                    <a:cubicBezTo>
                      <a:pt x="871" y="620"/>
                      <a:pt x="871" y="620"/>
                      <a:pt x="871" y="620"/>
                    </a:cubicBezTo>
                    <a:cubicBezTo>
                      <a:pt x="869" y="624"/>
                      <a:pt x="869" y="624"/>
                      <a:pt x="869" y="624"/>
                    </a:cubicBezTo>
                    <a:cubicBezTo>
                      <a:pt x="870" y="626"/>
                      <a:pt x="870" y="626"/>
                      <a:pt x="870" y="626"/>
                    </a:cubicBezTo>
                    <a:cubicBezTo>
                      <a:pt x="874" y="627"/>
                      <a:pt x="874" y="627"/>
                      <a:pt x="874" y="627"/>
                    </a:cubicBezTo>
                    <a:cubicBezTo>
                      <a:pt x="875" y="625"/>
                      <a:pt x="875" y="625"/>
                      <a:pt x="875" y="625"/>
                    </a:cubicBezTo>
                    <a:cubicBezTo>
                      <a:pt x="877" y="622"/>
                      <a:pt x="877" y="622"/>
                      <a:pt x="877" y="622"/>
                    </a:cubicBezTo>
                    <a:cubicBezTo>
                      <a:pt x="877" y="625"/>
                      <a:pt x="877" y="625"/>
                      <a:pt x="877" y="625"/>
                    </a:cubicBezTo>
                    <a:cubicBezTo>
                      <a:pt x="876" y="626"/>
                      <a:pt x="876" y="626"/>
                      <a:pt x="876" y="626"/>
                    </a:cubicBezTo>
                    <a:cubicBezTo>
                      <a:pt x="877" y="631"/>
                      <a:pt x="877" y="631"/>
                      <a:pt x="877" y="631"/>
                    </a:cubicBezTo>
                    <a:cubicBezTo>
                      <a:pt x="880" y="633"/>
                      <a:pt x="880" y="633"/>
                      <a:pt x="880" y="633"/>
                    </a:cubicBezTo>
                    <a:cubicBezTo>
                      <a:pt x="883" y="627"/>
                      <a:pt x="883" y="627"/>
                      <a:pt x="883" y="627"/>
                    </a:cubicBezTo>
                    <a:cubicBezTo>
                      <a:pt x="884" y="622"/>
                      <a:pt x="884" y="622"/>
                      <a:pt x="884" y="622"/>
                    </a:cubicBezTo>
                    <a:cubicBezTo>
                      <a:pt x="885" y="619"/>
                      <a:pt x="885" y="619"/>
                      <a:pt x="885" y="619"/>
                    </a:cubicBezTo>
                    <a:cubicBezTo>
                      <a:pt x="886" y="610"/>
                      <a:pt x="886" y="610"/>
                      <a:pt x="886" y="610"/>
                    </a:cubicBezTo>
                    <a:cubicBezTo>
                      <a:pt x="889" y="602"/>
                      <a:pt x="889" y="602"/>
                      <a:pt x="889" y="602"/>
                    </a:cubicBezTo>
                    <a:cubicBezTo>
                      <a:pt x="889" y="595"/>
                      <a:pt x="889" y="595"/>
                      <a:pt x="889" y="595"/>
                    </a:cubicBezTo>
                    <a:cubicBezTo>
                      <a:pt x="888" y="589"/>
                      <a:pt x="888" y="589"/>
                      <a:pt x="888" y="589"/>
                    </a:cubicBezTo>
                    <a:cubicBezTo>
                      <a:pt x="886" y="587"/>
                      <a:pt x="886" y="587"/>
                      <a:pt x="886" y="587"/>
                    </a:cubicBezTo>
                    <a:cubicBezTo>
                      <a:pt x="886" y="586"/>
                      <a:pt x="886" y="586"/>
                      <a:pt x="886" y="586"/>
                    </a:cubicBezTo>
                    <a:cubicBezTo>
                      <a:pt x="888" y="587"/>
                      <a:pt x="888" y="587"/>
                      <a:pt x="888" y="587"/>
                    </a:cubicBezTo>
                    <a:cubicBezTo>
                      <a:pt x="890" y="591"/>
                      <a:pt x="890" y="591"/>
                      <a:pt x="890" y="591"/>
                    </a:cubicBezTo>
                    <a:cubicBezTo>
                      <a:pt x="892" y="592"/>
                      <a:pt x="892" y="592"/>
                      <a:pt x="892" y="592"/>
                    </a:cubicBezTo>
                    <a:cubicBezTo>
                      <a:pt x="894" y="587"/>
                      <a:pt x="894" y="587"/>
                      <a:pt x="894" y="587"/>
                    </a:cubicBezTo>
                    <a:cubicBezTo>
                      <a:pt x="898" y="585"/>
                      <a:pt x="898" y="585"/>
                      <a:pt x="898" y="585"/>
                    </a:cubicBezTo>
                    <a:cubicBezTo>
                      <a:pt x="895" y="590"/>
                      <a:pt x="895" y="590"/>
                      <a:pt x="895" y="590"/>
                    </a:cubicBezTo>
                    <a:cubicBezTo>
                      <a:pt x="894" y="596"/>
                      <a:pt x="894" y="596"/>
                      <a:pt x="894" y="596"/>
                    </a:cubicBezTo>
                    <a:cubicBezTo>
                      <a:pt x="895" y="601"/>
                      <a:pt x="895" y="601"/>
                      <a:pt x="895" y="601"/>
                    </a:cubicBezTo>
                    <a:cubicBezTo>
                      <a:pt x="891" y="608"/>
                      <a:pt x="891" y="608"/>
                      <a:pt x="891" y="608"/>
                    </a:cubicBezTo>
                    <a:cubicBezTo>
                      <a:pt x="891" y="613"/>
                      <a:pt x="891" y="613"/>
                      <a:pt x="891" y="613"/>
                    </a:cubicBezTo>
                    <a:cubicBezTo>
                      <a:pt x="892" y="615"/>
                      <a:pt x="892" y="615"/>
                      <a:pt x="892" y="615"/>
                    </a:cubicBezTo>
                    <a:cubicBezTo>
                      <a:pt x="889" y="617"/>
                      <a:pt x="889" y="617"/>
                      <a:pt x="889" y="617"/>
                    </a:cubicBezTo>
                    <a:cubicBezTo>
                      <a:pt x="889" y="622"/>
                      <a:pt x="889" y="622"/>
                      <a:pt x="889" y="622"/>
                    </a:cubicBezTo>
                    <a:cubicBezTo>
                      <a:pt x="890" y="625"/>
                      <a:pt x="890" y="625"/>
                      <a:pt x="890" y="625"/>
                    </a:cubicBezTo>
                    <a:cubicBezTo>
                      <a:pt x="891" y="629"/>
                      <a:pt x="891" y="629"/>
                      <a:pt x="891" y="629"/>
                    </a:cubicBezTo>
                    <a:cubicBezTo>
                      <a:pt x="894" y="632"/>
                      <a:pt x="894" y="632"/>
                      <a:pt x="894" y="632"/>
                    </a:cubicBezTo>
                    <a:cubicBezTo>
                      <a:pt x="895" y="637"/>
                      <a:pt x="895" y="637"/>
                      <a:pt x="895" y="637"/>
                    </a:cubicBezTo>
                    <a:cubicBezTo>
                      <a:pt x="896" y="637"/>
                      <a:pt x="896" y="637"/>
                      <a:pt x="896" y="637"/>
                    </a:cubicBezTo>
                    <a:cubicBezTo>
                      <a:pt x="897" y="641"/>
                      <a:pt x="897" y="641"/>
                      <a:pt x="897" y="641"/>
                    </a:cubicBezTo>
                    <a:cubicBezTo>
                      <a:pt x="899" y="643"/>
                      <a:pt x="899" y="643"/>
                      <a:pt x="899" y="643"/>
                    </a:cubicBezTo>
                    <a:cubicBezTo>
                      <a:pt x="901" y="641"/>
                      <a:pt x="901" y="641"/>
                      <a:pt x="901" y="641"/>
                    </a:cubicBezTo>
                    <a:cubicBezTo>
                      <a:pt x="904" y="643"/>
                      <a:pt x="904" y="643"/>
                      <a:pt x="904" y="643"/>
                    </a:cubicBezTo>
                    <a:cubicBezTo>
                      <a:pt x="907" y="641"/>
                      <a:pt x="907" y="641"/>
                      <a:pt x="907" y="641"/>
                    </a:cubicBezTo>
                    <a:cubicBezTo>
                      <a:pt x="911" y="641"/>
                      <a:pt x="911" y="641"/>
                      <a:pt x="911" y="641"/>
                    </a:cubicBezTo>
                    <a:cubicBezTo>
                      <a:pt x="911" y="642"/>
                      <a:pt x="911" y="642"/>
                      <a:pt x="911" y="642"/>
                    </a:cubicBezTo>
                    <a:cubicBezTo>
                      <a:pt x="906" y="645"/>
                      <a:pt x="906" y="645"/>
                      <a:pt x="906" y="645"/>
                    </a:cubicBezTo>
                    <a:cubicBezTo>
                      <a:pt x="904" y="646"/>
                      <a:pt x="904" y="646"/>
                      <a:pt x="904" y="646"/>
                    </a:cubicBezTo>
                    <a:cubicBezTo>
                      <a:pt x="904" y="648"/>
                      <a:pt x="904" y="648"/>
                      <a:pt x="904" y="648"/>
                    </a:cubicBezTo>
                    <a:cubicBezTo>
                      <a:pt x="907" y="650"/>
                      <a:pt x="907" y="650"/>
                      <a:pt x="907" y="650"/>
                    </a:cubicBezTo>
                    <a:cubicBezTo>
                      <a:pt x="905" y="651"/>
                      <a:pt x="905" y="651"/>
                      <a:pt x="905" y="651"/>
                    </a:cubicBezTo>
                    <a:cubicBezTo>
                      <a:pt x="902" y="651"/>
                      <a:pt x="902" y="651"/>
                      <a:pt x="902" y="651"/>
                    </a:cubicBezTo>
                    <a:cubicBezTo>
                      <a:pt x="902" y="653"/>
                      <a:pt x="902" y="653"/>
                      <a:pt x="902" y="653"/>
                    </a:cubicBezTo>
                    <a:cubicBezTo>
                      <a:pt x="905" y="657"/>
                      <a:pt x="905" y="657"/>
                      <a:pt x="905" y="657"/>
                    </a:cubicBezTo>
                    <a:cubicBezTo>
                      <a:pt x="905" y="661"/>
                      <a:pt x="905" y="661"/>
                      <a:pt x="905" y="661"/>
                    </a:cubicBezTo>
                    <a:cubicBezTo>
                      <a:pt x="904" y="662"/>
                      <a:pt x="904" y="662"/>
                      <a:pt x="904" y="662"/>
                    </a:cubicBezTo>
                    <a:cubicBezTo>
                      <a:pt x="901" y="660"/>
                      <a:pt x="901" y="660"/>
                      <a:pt x="901" y="660"/>
                    </a:cubicBezTo>
                    <a:cubicBezTo>
                      <a:pt x="899" y="657"/>
                      <a:pt x="899" y="657"/>
                      <a:pt x="899" y="657"/>
                    </a:cubicBezTo>
                    <a:cubicBezTo>
                      <a:pt x="898" y="658"/>
                      <a:pt x="898" y="658"/>
                      <a:pt x="898" y="658"/>
                    </a:cubicBezTo>
                    <a:cubicBezTo>
                      <a:pt x="899" y="660"/>
                      <a:pt x="899" y="660"/>
                      <a:pt x="899" y="660"/>
                    </a:cubicBezTo>
                    <a:cubicBezTo>
                      <a:pt x="897" y="663"/>
                      <a:pt x="897" y="663"/>
                      <a:pt x="897" y="663"/>
                    </a:cubicBezTo>
                    <a:cubicBezTo>
                      <a:pt x="897" y="667"/>
                      <a:pt x="897" y="667"/>
                      <a:pt x="897" y="667"/>
                    </a:cubicBezTo>
                    <a:cubicBezTo>
                      <a:pt x="898" y="668"/>
                      <a:pt x="898" y="668"/>
                      <a:pt x="898" y="668"/>
                    </a:cubicBezTo>
                    <a:cubicBezTo>
                      <a:pt x="897" y="670"/>
                      <a:pt x="897" y="670"/>
                      <a:pt x="897" y="670"/>
                    </a:cubicBezTo>
                    <a:cubicBezTo>
                      <a:pt x="895" y="671"/>
                      <a:pt x="895" y="671"/>
                      <a:pt x="895" y="671"/>
                    </a:cubicBezTo>
                    <a:cubicBezTo>
                      <a:pt x="893" y="673"/>
                      <a:pt x="893" y="673"/>
                      <a:pt x="893" y="673"/>
                    </a:cubicBezTo>
                    <a:cubicBezTo>
                      <a:pt x="893" y="675"/>
                      <a:pt x="893" y="675"/>
                      <a:pt x="893" y="675"/>
                    </a:cubicBezTo>
                    <a:cubicBezTo>
                      <a:pt x="896" y="675"/>
                      <a:pt x="896" y="675"/>
                      <a:pt x="896" y="675"/>
                    </a:cubicBezTo>
                    <a:cubicBezTo>
                      <a:pt x="898" y="675"/>
                      <a:pt x="898" y="675"/>
                      <a:pt x="898" y="675"/>
                    </a:cubicBezTo>
                    <a:cubicBezTo>
                      <a:pt x="899" y="678"/>
                      <a:pt x="899" y="678"/>
                      <a:pt x="899" y="678"/>
                    </a:cubicBezTo>
                    <a:cubicBezTo>
                      <a:pt x="901" y="680"/>
                      <a:pt x="901" y="680"/>
                      <a:pt x="901" y="680"/>
                    </a:cubicBezTo>
                    <a:cubicBezTo>
                      <a:pt x="904" y="680"/>
                      <a:pt x="904" y="680"/>
                      <a:pt x="904" y="680"/>
                    </a:cubicBezTo>
                    <a:cubicBezTo>
                      <a:pt x="906" y="681"/>
                      <a:pt x="906" y="681"/>
                      <a:pt x="906" y="681"/>
                    </a:cubicBezTo>
                    <a:cubicBezTo>
                      <a:pt x="906" y="683"/>
                      <a:pt x="906" y="683"/>
                      <a:pt x="906" y="683"/>
                    </a:cubicBezTo>
                    <a:cubicBezTo>
                      <a:pt x="903" y="682"/>
                      <a:pt x="903" y="682"/>
                      <a:pt x="903" y="682"/>
                    </a:cubicBezTo>
                    <a:cubicBezTo>
                      <a:pt x="901" y="683"/>
                      <a:pt x="901" y="683"/>
                      <a:pt x="901" y="683"/>
                    </a:cubicBezTo>
                    <a:cubicBezTo>
                      <a:pt x="902" y="685"/>
                      <a:pt x="902" y="685"/>
                      <a:pt x="902" y="685"/>
                    </a:cubicBezTo>
                    <a:cubicBezTo>
                      <a:pt x="905" y="687"/>
                      <a:pt x="905" y="687"/>
                      <a:pt x="905" y="687"/>
                    </a:cubicBezTo>
                    <a:cubicBezTo>
                      <a:pt x="906" y="690"/>
                      <a:pt x="906" y="690"/>
                      <a:pt x="906" y="690"/>
                    </a:cubicBezTo>
                    <a:cubicBezTo>
                      <a:pt x="909" y="693"/>
                      <a:pt x="909" y="693"/>
                      <a:pt x="909" y="693"/>
                    </a:cubicBezTo>
                    <a:cubicBezTo>
                      <a:pt x="911" y="693"/>
                      <a:pt x="911" y="693"/>
                      <a:pt x="911" y="693"/>
                    </a:cubicBezTo>
                    <a:cubicBezTo>
                      <a:pt x="909" y="694"/>
                      <a:pt x="909" y="694"/>
                      <a:pt x="909" y="694"/>
                    </a:cubicBezTo>
                    <a:cubicBezTo>
                      <a:pt x="907" y="694"/>
                      <a:pt x="907" y="694"/>
                      <a:pt x="907" y="694"/>
                    </a:cubicBezTo>
                    <a:cubicBezTo>
                      <a:pt x="904" y="697"/>
                      <a:pt x="904" y="697"/>
                      <a:pt x="904" y="697"/>
                    </a:cubicBezTo>
                    <a:cubicBezTo>
                      <a:pt x="905" y="701"/>
                      <a:pt x="905" y="701"/>
                      <a:pt x="905" y="701"/>
                    </a:cubicBezTo>
                    <a:cubicBezTo>
                      <a:pt x="908" y="707"/>
                      <a:pt x="908" y="707"/>
                      <a:pt x="908" y="707"/>
                    </a:cubicBezTo>
                    <a:cubicBezTo>
                      <a:pt x="911" y="709"/>
                      <a:pt x="911" y="709"/>
                      <a:pt x="911" y="709"/>
                    </a:cubicBezTo>
                    <a:cubicBezTo>
                      <a:pt x="915" y="708"/>
                      <a:pt x="915" y="708"/>
                      <a:pt x="915" y="708"/>
                    </a:cubicBezTo>
                    <a:cubicBezTo>
                      <a:pt x="917" y="709"/>
                      <a:pt x="917" y="709"/>
                      <a:pt x="917" y="709"/>
                    </a:cubicBezTo>
                    <a:cubicBezTo>
                      <a:pt x="913" y="711"/>
                      <a:pt x="913" y="711"/>
                      <a:pt x="913" y="711"/>
                    </a:cubicBezTo>
                    <a:cubicBezTo>
                      <a:pt x="909" y="711"/>
                      <a:pt x="909" y="711"/>
                      <a:pt x="909" y="711"/>
                    </a:cubicBezTo>
                    <a:cubicBezTo>
                      <a:pt x="906" y="711"/>
                      <a:pt x="906" y="711"/>
                      <a:pt x="906" y="711"/>
                    </a:cubicBezTo>
                    <a:cubicBezTo>
                      <a:pt x="904" y="716"/>
                      <a:pt x="904" y="716"/>
                      <a:pt x="904" y="716"/>
                    </a:cubicBezTo>
                    <a:cubicBezTo>
                      <a:pt x="898" y="722"/>
                      <a:pt x="898" y="722"/>
                      <a:pt x="898" y="722"/>
                    </a:cubicBezTo>
                    <a:cubicBezTo>
                      <a:pt x="894" y="725"/>
                      <a:pt x="894" y="725"/>
                      <a:pt x="894" y="725"/>
                    </a:cubicBezTo>
                    <a:cubicBezTo>
                      <a:pt x="894" y="729"/>
                      <a:pt x="894" y="729"/>
                      <a:pt x="894" y="729"/>
                    </a:cubicBezTo>
                    <a:cubicBezTo>
                      <a:pt x="895" y="732"/>
                      <a:pt x="895" y="732"/>
                      <a:pt x="895" y="732"/>
                    </a:cubicBezTo>
                    <a:cubicBezTo>
                      <a:pt x="899" y="729"/>
                      <a:pt x="899" y="729"/>
                      <a:pt x="899" y="729"/>
                    </a:cubicBezTo>
                    <a:cubicBezTo>
                      <a:pt x="902" y="724"/>
                      <a:pt x="902" y="724"/>
                      <a:pt x="902" y="724"/>
                    </a:cubicBezTo>
                    <a:cubicBezTo>
                      <a:pt x="902" y="722"/>
                      <a:pt x="902" y="722"/>
                      <a:pt x="902" y="722"/>
                    </a:cubicBezTo>
                    <a:cubicBezTo>
                      <a:pt x="905" y="722"/>
                      <a:pt x="905" y="722"/>
                      <a:pt x="905" y="722"/>
                    </a:cubicBezTo>
                    <a:cubicBezTo>
                      <a:pt x="910" y="717"/>
                      <a:pt x="910" y="717"/>
                      <a:pt x="910" y="717"/>
                    </a:cubicBezTo>
                    <a:cubicBezTo>
                      <a:pt x="910" y="719"/>
                      <a:pt x="910" y="719"/>
                      <a:pt x="910" y="719"/>
                    </a:cubicBezTo>
                    <a:cubicBezTo>
                      <a:pt x="913" y="719"/>
                      <a:pt x="913" y="719"/>
                      <a:pt x="913" y="719"/>
                    </a:cubicBezTo>
                    <a:cubicBezTo>
                      <a:pt x="918" y="718"/>
                      <a:pt x="918" y="718"/>
                      <a:pt x="918" y="718"/>
                    </a:cubicBezTo>
                    <a:cubicBezTo>
                      <a:pt x="915" y="721"/>
                      <a:pt x="915" y="721"/>
                      <a:pt x="915" y="721"/>
                    </a:cubicBezTo>
                    <a:cubicBezTo>
                      <a:pt x="916" y="723"/>
                      <a:pt x="916" y="723"/>
                      <a:pt x="916" y="723"/>
                    </a:cubicBezTo>
                    <a:cubicBezTo>
                      <a:pt x="920" y="723"/>
                      <a:pt x="920" y="723"/>
                      <a:pt x="920" y="723"/>
                    </a:cubicBezTo>
                    <a:cubicBezTo>
                      <a:pt x="920" y="724"/>
                      <a:pt x="920" y="724"/>
                      <a:pt x="920" y="724"/>
                    </a:cubicBezTo>
                    <a:cubicBezTo>
                      <a:pt x="916" y="728"/>
                      <a:pt x="916" y="728"/>
                      <a:pt x="916" y="728"/>
                    </a:cubicBezTo>
                    <a:cubicBezTo>
                      <a:pt x="916" y="731"/>
                      <a:pt x="916" y="731"/>
                      <a:pt x="916" y="731"/>
                    </a:cubicBezTo>
                    <a:cubicBezTo>
                      <a:pt x="917" y="733"/>
                      <a:pt x="917" y="733"/>
                      <a:pt x="917" y="733"/>
                    </a:cubicBezTo>
                    <a:cubicBezTo>
                      <a:pt x="914" y="738"/>
                      <a:pt x="914" y="738"/>
                      <a:pt x="914" y="738"/>
                    </a:cubicBezTo>
                    <a:cubicBezTo>
                      <a:pt x="913" y="740"/>
                      <a:pt x="913" y="740"/>
                      <a:pt x="913" y="740"/>
                    </a:cubicBezTo>
                    <a:cubicBezTo>
                      <a:pt x="914" y="742"/>
                      <a:pt x="914" y="742"/>
                      <a:pt x="914" y="742"/>
                    </a:cubicBezTo>
                    <a:cubicBezTo>
                      <a:pt x="915" y="744"/>
                      <a:pt x="915" y="744"/>
                      <a:pt x="915" y="744"/>
                    </a:cubicBezTo>
                    <a:cubicBezTo>
                      <a:pt x="912" y="743"/>
                      <a:pt x="912" y="743"/>
                      <a:pt x="912" y="743"/>
                    </a:cubicBezTo>
                    <a:cubicBezTo>
                      <a:pt x="909" y="744"/>
                      <a:pt x="909" y="744"/>
                      <a:pt x="909" y="744"/>
                    </a:cubicBezTo>
                    <a:cubicBezTo>
                      <a:pt x="906" y="747"/>
                      <a:pt x="906" y="747"/>
                      <a:pt x="906" y="747"/>
                    </a:cubicBezTo>
                    <a:cubicBezTo>
                      <a:pt x="906" y="748"/>
                      <a:pt x="906" y="748"/>
                      <a:pt x="906" y="748"/>
                    </a:cubicBezTo>
                    <a:cubicBezTo>
                      <a:pt x="909" y="748"/>
                      <a:pt x="909" y="748"/>
                      <a:pt x="909" y="748"/>
                    </a:cubicBezTo>
                    <a:cubicBezTo>
                      <a:pt x="911" y="748"/>
                      <a:pt x="911" y="748"/>
                      <a:pt x="911" y="748"/>
                    </a:cubicBezTo>
                    <a:cubicBezTo>
                      <a:pt x="915" y="748"/>
                      <a:pt x="915" y="748"/>
                      <a:pt x="915" y="748"/>
                    </a:cubicBezTo>
                    <a:cubicBezTo>
                      <a:pt x="915" y="749"/>
                      <a:pt x="915" y="749"/>
                      <a:pt x="915" y="749"/>
                    </a:cubicBezTo>
                    <a:cubicBezTo>
                      <a:pt x="912" y="751"/>
                      <a:pt x="912" y="751"/>
                      <a:pt x="912" y="751"/>
                    </a:cubicBezTo>
                    <a:cubicBezTo>
                      <a:pt x="909" y="751"/>
                      <a:pt x="909" y="751"/>
                      <a:pt x="909" y="751"/>
                    </a:cubicBezTo>
                    <a:cubicBezTo>
                      <a:pt x="907" y="751"/>
                      <a:pt x="907" y="751"/>
                      <a:pt x="907" y="751"/>
                    </a:cubicBezTo>
                    <a:cubicBezTo>
                      <a:pt x="905" y="753"/>
                      <a:pt x="905" y="753"/>
                      <a:pt x="905" y="753"/>
                    </a:cubicBezTo>
                    <a:cubicBezTo>
                      <a:pt x="904" y="757"/>
                      <a:pt x="904" y="757"/>
                      <a:pt x="904" y="757"/>
                    </a:cubicBezTo>
                    <a:cubicBezTo>
                      <a:pt x="906" y="761"/>
                      <a:pt x="906" y="761"/>
                      <a:pt x="906" y="761"/>
                    </a:cubicBezTo>
                    <a:cubicBezTo>
                      <a:pt x="909" y="759"/>
                      <a:pt x="909" y="759"/>
                      <a:pt x="909" y="759"/>
                    </a:cubicBezTo>
                    <a:cubicBezTo>
                      <a:pt x="909" y="757"/>
                      <a:pt x="909" y="757"/>
                      <a:pt x="909" y="757"/>
                    </a:cubicBezTo>
                    <a:cubicBezTo>
                      <a:pt x="912" y="757"/>
                      <a:pt x="912" y="757"/>
                      <a:pt x="912" y="757"/>
                    </a:cubicBezTo>
                    <a:cubicBezTo>
                      <a:pt x="915" y="756"/>
                      <a:pt x="915" y="756"/>
                      <a:pt x="915" y="756"/>
                    </a:cubicBezTo>
                    <a:cubicBezTo>
                      <a:pt x="920" y="751"/>
                      <a:pt x="920" y="751"/>
                      <a:pt x="920" y="751"/>
                    </a:cubicBezTo>
                    <a:cubicBezTo>
                      <a:pt x="924" y="745"/>
                      <a:pt x="924" y="745"/>
                      <a:pt x="924" y="745"/>
                    </a:cubicBezTo>
                    <a:cubicBezTo>
                      <a:pt x="926" y="737"/>
                      <a:pt x="926" y="737"/>
                      <a:pt x="926" y="737"/>
                    </a:cubicBezTo>
                    <a:cubicBezTo>
                      <a:pt x="930" y="729"/>
                      <a:pt x="930" y="729"/>
                      <a:pt x="930" y="729"/>
                    </a:cubicBezTo>
                    <a:cubicBezTo>
                      <a:pt x="931" y="727"/>
                      <a:pt x="931" y="727"/>
                      <a:pt x="931" y="727"/>
                    </a:cubicBezTo>
                    <a:cubicBezTo>
                      <a:pt x="931" y="727"/>
                      <a:pt x="931" y="727"/>
                      <a:pt x="931" y="727"/>
                    </a:cubicBezTo>
                    <a:close/>
                    <a:moveTo>
                      <a:pt x="875" y="748"/>
                    </a:moveTo>
                    <a:cubicBezTo>
                      <a:pt x="873" y="746"/>
                      <a:pt x="873" y="746"/>
                      <a:pt x="873" y="746"/>
                    </a:cubicBezTo>
                    <a:cubicBezTo>
                      <a:pt x="874" y="744"/>
                      <a:pt x="874" y="744"/>
                      <a:pt x="874" y="744"/>
                    </a:cubicBezTo>
                    <a:cubicBezTo>
                      <a:pt x="876" y="746"/>
                      <a:pt x="876" y="746"/>
                      <a:pt x="876" y="746"/>
                    </a:cubicBezTo>
                    <a:cubicBezTo>
                      <a:pt x="875" y="748"/>
                      <a:pt x="875" y="748"/>
                      <a:pt x="875" y="748"/>
                    </a:cubicBezTo>
                    <a:close/>
                    <a:moveTo>
                      <a:pt x="896" y="754"/>
                    </a:moveTo>
                    <a:cubicBezTo>
                      <a:pt x="899" y="752"/>
                      <a:pt x="899" y="752"/>
                      <a:pt x="899" y="752"/>
                    </a:cubicBezTo>
                    <a:cubicBezTo>
                      <a:pt x="902" y="754"/>
                      <a:pt x="902" y="754"/>
                      <a:pt x="902" y="754"/>
                    </a:cubicBezTo>
                    <a:cubicBezTo>
                      <a:pt x="899" y="757"/>
                      <a:pt x="899" y="757"/>
                      <a:pt x="899" y="757"/>
                    </a:cubicBezTo>
                    <a:cubicBezTo>
                      <a:pt x="896" y="754"/>
                      <a:pt x="896" y="754"/>
                      <a:pt x="896" y="754"/>
                    </a:cubicBezTo>
                    <a:close/>
                    <a:moveTo>
                      <a:pt x="897" y="744"/>
                    </a:moveTo>
                    <a:cubicBezTo>
                      <a:pt x="900" y="743"/>
                      <a:pt x="900" y="743"/>
                      <a:pt x="900" y="743"/>
                    </a:cubicBezTo>
                    <a:cubicBezTo>
                      <a:pt x="902" y="747"/>
                      <a:pt x="902" y="747"/>
                      <a:pt x="902" y="747"/>
                    </a:cubicBezTo>
                    <a:cubicBezTo>
                      <a:pt x="899" y="751"/>
                      <a:pt x="899" y="751"/>
                      <a:pt x="899" y="751"/>
                    </a:cubicBezTo>
                    <a:cubicBezTo>
                      <a:pt x="896" y="749"/>
                      <a:pt x="896" y="749"/>
                      <a:pt x="896" y="749"/>
                    </a:cubicBezTo>
                    <a:cubicBezTo>
                      <a:pt x="898" y="747"/>
                      <a:pt x="898" y="747"/>
                      <a:pt x="898" y="747"/>
                    </a:cubicBezTo>
                    <a:cubicBezTo>
                      <a:pt x="897" y="744"/>
                      <a:pt x="897" y="744"/>
                      <a:pt x="897" y="744"/>
                    </a:cubicBezTo>
                    <a:close/>
                    <a:moveTo>
                      <a:pt x="896" y="736"/>
                    </a:moveTo>
                    <a:cubicBezTo>
                      <a:pt x="899" y="740"/>
                      <a:pt x="899" y="740"/>
                      <a:pt x="899" y="740"/>
                    </a:cubicBezTo>
                    <a:cubicBezTo>
                      <a:pt x="896" y="743"/>
                      <a:pt x="896" y="743"/>
                      <a:pt x="896" y="743"/>
                    </a:cubicBezTo>
                    <a:cubicBezTo>
                      <a:pt x="896" y="740"/>
                      <a:pt x="896" y="740"/>
                      <a:pt x="896" y="740"/>
                    </a:cubicBezTo>
                    <a:cubicBezTo>
                      <a:pt x="895" y="738"/>
                      <a:pt x="895" y="738"/>
                      <a:pt x="895" y="738"/>
                    </a:cubicBezTo>
                    <a:cubicBezTo>
                      <a:pt x="896" y="736"/>
                      <a:pt x="896" y="736"/>
                      <a:pt x="896" y="736"/>
                    </a:cubicBezTo>
                    <a:close/>
                    <a:moveTo>
                      <a:pt x="900" y="736"/>
                    </a:moveTo>
                    <a:cubicBezTo>
                      <a:pt x="903" y="732"/>
                      <a:pt x="903" y="732"/>
                      <a:pt x="903" y="732"/>
                    </a:cubicBezTo>
                    <a:cubicBezTo>
                      <a:pt x="903" y="731"/>
                      <a:pt x="903" y="731"/>
                      <a:pt x="903" y="731"/>
                    </a:cubicBezTo>
                    <a:cubicBezTo>
                      <a:pt x="905" y="726"/>
                      <a:pt x="905" y="726"/>
                      <a:pt x="905" y="726"/>
                    </a:cubicBezTo>
                    <a:cubicBezTo>
                      <a:pt x="908" y="724"/>
                      <a:pt x="908" y="724"/>
                      <a:pt x="908" y="724"/>
                    </a:cubicBezTo>
                    <a:cubicBezTo>
                      <a:pt x="909" y="722"/>
                      <a:pt x="909" y="722"/>
                      <a:pt x="909" y="722"/>
                    </a:cubicBezTo>
                    <a:cubicBezTo>
                      <a:pt x="913" y="722"/>
                      <a:pt x="913" y="722"/>
                      <a:pt x="913" y="722"/>
                    </a:cubicBezTo>
                    <a:cubicBezTo>
                      <a:pt x="915" y="726"/>
                      <a:pt x="915" y="726"/>
                      <a:pt x="915" y="726"/>
                    </a:cubicBezTo>
                    <a:cubicBezTo>
                      <a:pt x="913" y="730"/>
                      <a:pt x="913" y="730"/>
                      <a:pt x="913" y="730"/>
                    </a:cubicBezTo>
                    <a:cubicBezTo>
                      <a:pt x="914" y="733"/>
                      <a:pt x="914" y="733"/>
                      <a:pt x="914" y="733"/>
                    </a:cubicBezTo>
                    <a:cubicBezTo>
                      <a:pt x="909" y="740"/>
                      <a:pt x="909" y="740"/>
                      <a:pt x="909" y="740"/>
                    </a:cubicBezTo>
                    <a:cubicBezTo>
                      <a:pt x="904" y="745"/>
                      <a:pt x="904" y="745"/>
                      <a:pt x="904" y="745"/>
                    </a:cubicBezTo>
                    <a:cubicBezTo>
                      <a:pt x="902" y="743"/>
                      <a:pt x="902" y="743"/>
                      <a:pt x="902" y="743"/>
                    </a:cubicBezTo>
                    <a:cubicBezTo>
                      <a:pt x="904" y="739"/>
                      <a:pt x="904" y="739"/>
                      <a:pt x="904" y="739"/>
                    </a:cubicBezTo>
                    <a:cubicBezTo>
                      <a:pt x="908" y="736"/>
                      <a:pt x="908" y="736"/>
                      <a:pt x="908" y="736"/>
                    </a:cubicBezTo>
                    <a:cubicBezTo>
                      <a:pt x="908" y="734"/>
                      <a:pt x="908" y="734"/>
                      <a:pt x="908" y="734"/>
                    </a:cubicBezTo>
                    <a:cubicBezTo>
                      <a:pt x="901" y="738"/>
                      <a:pt x="901" y="738"/>
                      <a:pt x="901" y="738"/>
                    </a:cubicBezTo>
                    <a:cubicBezTo>
                      <a:pt x="900" y="736"/>
                      <a:pt x="900" y="736"/>
                      <a:pt x="900" y="736"/>
                    </a:cubicBezTo>
                    <a:close/>
                    <a:moveTo>
                      <a:pt x="866" y="747"/>
                    </a:moveTo>
                    <a:cubicBezTo>
                      <a:pt x="867" y="747"/>
                      <a:pt x="867" y="747"/>
                      <a:pt x="867" y="747"/>
                    </a:cubicBezTo>
                    <a:cubicBezTo>
                      <a:pt x="870" y="748"/>
                      <a:pt x="870" y="748"/>
                      <a:pt x="870" y="748"/>
                    </a:cubicBezTo>
                    <a:cubicBezTo>
                      <a:pt x="869" y="750"/>
                      <a:pt x="869" y="750"/>
                      <a:pt x="869" y="750"/>
                    </a:cubicBezTo>
                    <a:cubicBezTo>
                      <a:pt x="872" y="755"/>
                      <a:pt x="872" y="755"/>
                      <a:pt x="872" y="755"/>
                    </a:cubicBezTo>
                    <a:cubicBezTo>
                      <a:pt x="869" y="759"/>
                      <a:pt x="869" y="759"/>
                      <a:pt x="869" y="759"/>
                    </a:cubicBezTo>
                    <a:cubicBezTo>
                      <a:pt x="868" y="758"/>
                      <a:pt x="868" y="758"/>
                      <a:pt x="868" y="758"/>
                    </a:cubicBezTo>
                    <a:cubicBezTo>
                      <a:pt x="868" y="754"/>
                      <a:pt x="868" y="754"/>
                      <a:pt x="868" y="754"/>
                    </a:cubicBezTo>
                    <a:cubicBezTo>
                      <a:pt x="865" y="750"/>
                      <a:pt x="865" y="750"/>
                      <a:pt x="865" y="750"/>
                    </a:cubicBezTo>
                    <a:cubicBezTo>
                      <a:pt x="866" y="747"/>
                      <a:pt x="866" y="747"/>
                      <a:pt x="866" y="747"/>
                    </a:cubicBezTo>
                    <a:close/>
                    <a:moveTo>
                      <a:pt x="866" y="742"/>
                    </a:moveTo>
                    <a:cubicBezTo>
                      <a:pt x="868" y="741"/>
                      <a:pt x="868" y="741"/>
                      <a:pt x="868" y="741"/>
                    </a:cubicBezTo>
                    <a:cubicBezTo>
                      <a:pt x="870" y="742"/>
                      <a:pt x="870" y="742"/>
                      <a:pt x="870" y="742"/>
                    </a:cubicBezTo>
                    <a:cubicBezTo>
                      <a:pt x="871" y="744"/>
                      <a:pt x="871" y="744"/>
                      <a:pt x="871" y="744"/>
                    </a:cubicBezTo>
                    <a:cubicBezTo>
                      <a:pt x="868" y="746"/>
                      <a:pt x="868" y="746"/>
                      <a:pt x="868" y="746"/>
                    </a:cubicBezTo>
                    <a:cubicBezTo>
                      <a:pt x="866" y="742"/>
                      <a:pt x="866" y="742"/>
                      <a:pt x="866" y="742"/>
                    </a:cubicBezTo>
                    <a:close/>
                    <a:moveTo>
                      <a:pt x="865" y="738"/>
                    </a:moveTo>
                    <a:cubicBezTo>
                      <a:pt x="867" y="735"/>
                      <a:pt x="867" y="735"/>
                      <a:pt x="867" y="735"/>
                    </a:cubicBezTo>
                    <a:cubicBezTo>
                      <a:pt x="867" y="739"/>
                      <a:pt x="867" y="739"/>
                      <a:pt x="867" y="739"/>
                    </a:cubicBezTo>
                    <a:cubicBezTo>
                      <a:pt x="865" y="738"/>
                      <a:pt x="865" y="738"/>
                      <a:pt x="865" y="738"/>
                    </a:cubicBezTo>
                    <a:close/>
                    <a:moveTo>
                      <a:pt x="862" y="732"/>
                    </a:moveTo>
                    <a:cubicBezTo>
                      <a:pt x="865" y="734"/>
                      <a:pt x="865" y="734"/>
                      <a:pt x="865" y="734"/>
                    </a:cubicBezTo>
                    <a:cubicBezTo>
                      <a:pt x="862" y="737"/>
                      <a:pt x="862" y="737"/>
                      <a:pt x="862" y="737"/>
                    </a:cubicBezTo>
                    <a:cubicBezTo>
                      <a:pt x="862" y="732"/>
                      <a:pt x="862" y="732"/>
                      <a:pt x="862" y="732"/>
                    </a:cubicBezTo>
                    <a:close/>
                    <a:moveTo>
                      <a:pt x="860" y="715"/>
                    </a:moveTo>
                    <a:cubicBezTo>
                      <a:pt x="859" y="712"/>
                      <a:pt x="859" y="712"/>
                      <a:pt x="859" y="712"/>
                    </a:cubicBezTo>
                    <a:cubicBezTo>
                      <a:pt x="862" y="714"/>
                      <a:pt x="862" y="714"/>
                      <a:pt x="862" y="714"/>
                    </a:cubicBezTo>
                    <a:cubicBezTo>
                      <a:pt x="860" y="715"/>
                      <a:pt x="860" y="715"/>
                      <a:pt x="860" y="715"/>
                    </a:cubicBezTo>
                    <a:close/>
                    <a:moveTo>
                      <a:pt x="870" y="720"/>
                    </a:moveTo>
                    <a:cubicBezTo>
                      <a:pt x="872" y="718"/>
                      <a:pt x="872" y="718"/>
                      <a:pt x="872" y="718"/>
                    </a:cubicBezTo>
                    <a:cubicBezTo>
                      <a:pt x="874" y="721"/>
                      <a:pt x="874" y="721"/>
                      <a:pt x="874" y="721"/>
                    </a:cubicBezTo>
                    <a:cubicBezTo>
                      <a:pt x="872" y="722"/>
                      <a:pt x="872" y="722"/>
                      <a:pt x="872" y="722"/>
                    </a:cubicBezTo>
                    <a:cubicBezTo>
                      <a:pt x="870" y="720"/>
                      <a:pt x="870" y="720"/>
                      <a:pt x="870" y="720"/>
                    </a:cubicBezTo>
                    <a:close/>
                    <a:moveTo>
                      <a:pt x="871" y="714"/>
                    </a:moveTo>
                    <a:cubicBezTo>
                      <a:pt x="874" y="710"/>
                      <a:pt x="874" y="710"/>
                      <a:pt x="874" y="710"/>
                    </a:cubicBezTo>
                    <a:cubicBezTo>
                      <a:pt x="877" y="709"/>
                      <a:pt x="877" y="709"/>
                      <a:pt x="877" y="709"/>
                    </a:cubicBezTo>
                    <a:cubicBezTo>
                      <a:pt x="880" y="711"/>
                      <a:pt x="880" y="711"/>
                      <a:pt x="880" y="711"/>
                    </a:cubicBezTo>
                    <a:cubicBezTo>
                      <a:pt x="877" y="713"/>
                      <a:pt x="877" y="713"/>
                      <a:pt x="877" y="713"/>
                    </a:cubicBezTo>
                    <a:cubicBezTo>
                      <a:pt x="875" y="713"/>
                      <a:pt x="875" y="713"/>
                      <a:pt x="875" y="713"/>
                    </a:cubicBezTo>
                    <a:cubicBezTo>
                      <a:pt x="873" y="715"/>
                      <a:pt x="873" y="715"/>
                      <a:pt x="873" y="715"/>
                    </a:cubicBezTo>
                    <a:cubicBezTo>
                      <a:pt x="871" y="714"/>
                      <a:pt x="871" y="714"/>
                      <a:pt x="871" y="714"/>
                    </a:cubicBezTo>
                    <a:close/>
                    <a:moveTo>
                      <a:pt x="880" y="717"/>
                    </a:moveTo>
                    <a:cubicBezTo>
                      <a:pt x="881" y="712"/>
                      <a:pt x="881" y="712"/>
                      <a:pt x="881" y="712"/>
                    </a:cubicBezTo>
                    <a:cubicBezTo>
                      <a:pt x="880" y="708"/>
                      <a:pt x="880" y="708"/>
                      <a:pt x="880" y="708"/>
                    </a:cubicBezTo>
                    <a:cubicBezTo>
                      <a:pt x="878" y="705"/>
                      <a:pt x="878" y="705"/>
                      <a:pt x="878" y="705"/>
                    </a:cubicBezTo>
                    <a:cubicBezTo>
                      <a:pt x="880" y="703"/>
                      <a:pt x="880" y="703"/>
                      <a:pt x="880" y="703"/>
                    </a:cubicBezTo>
                    <a:cubicBezTo>
                      <a:pt x="883" y="704"/>
                      <a:pt x="883" y="704"/>
                      <a:pt x="883" y="704"/>
                    </a:cubicBezTo>
                    <a:cubicBezTo>
                      <a:pt x="886" y="708"/>
                      <a:pt x="886" y="708"/>
                      <a:pt x="886" y="708"/>
                    </a:cubicBezTo>
                    <a:cubicBezTo>
                      <a:pt x="883" y="711"/>
                      <a:pt x="883" y="711"/>
                      <a:pt x="883" y="711"/>
                    </a:cubicBezTo>
                    <a:cubicBezTo>
                      <a:pt x="882" y="713"/>
                      <a:pt x="882" y="713"/>
                      <a:pt x="882" y="713"/>
                    </a:cubicBezTo>
                    <a:cubicBezTo>
                      <a:pt x="885" y="716"/>
                      <a:pt x="885" y="716"/>
                      <a:pt x="885" y="716"/>
                    </a:cubicBezTo>
                    <a:cubicBezTo>
                      <a:pt x="886" y="715"/>
                      <a:pt x="886" y="715"/>
                      <a:pt x="886" y="715"/>
                    </a:cubicBezTo>
                    <a:cubicBezTo>
                      <a:pt x="890" y="718"/>
                      <a:pt x="890" y="718"/>
                      <a:pt x="890" y="718"/>
                    </a:cubicBezTo>
                    <a:cubicBezTo>
                      <a:pt x="890" y="723"/>
                      <a:pt x="890" y="723"/>
                      <a:pt x="890" y="723"/>
                    </a:cubicBezTo>
                    <a:cubicBezTo>
                      <a:pt x="887" y="723"/>
                      <a:pt x="887" y="723"/>
                      <a:pt x="887" y="723"/>
                    </a:cubicBezTo>
                    <a:cubicBezTo>
                      <a:pt x="890" y="727"/>
                      <a:pt x="890" y="727"/>
                      <a:pt x="890" y="727"/>
                    </a:cubicBezTo>
                    <a:cubicBezTo>
                      <a:pt x="890" y="729"/>
                      <a:pt x="890" y="729"/>
                      <a:pt x="890" y="729"/>
                    </a:cubicBezTo>
                    <a:cubicBezTo>
                      <a:pt x="888" y="730"/>
                      <a:pt x="888" y="730"/>
                      <a:pt x="888" y="730"/>
                    </a:cubicBezTo>
                    <a:cubicBezTo>
                      <a:pt x="887" y="729"/>
                      <a:pt x="887" y="729"/>
                      <a:pt x="887" y="729"/>
                    </a:cubicBezTo>
                    <a:cubicBezTo>
                      <a:pt x="885" y="732"/>
                      <a:pt x="885" y="732"/>
                      <a:pt x="885" y="732"/>
                    </a:cubicBezTo>
                    <a:cubicBezTo>
                      <a:pt x="889" y="735"/>
                      <a:pt x="889" y="735"/>
                      <a:pt x="889" y="735"/>
                    </a:cubicBezTo>
                    <a:cubicBezTo>
                      <a:pt x="891" y="738"/>
                      <a:pt x="891" y="738"/>
                      <a:pt x="891" y="738"/>
                    </a:cubicBezTo>
                    <a:cubicBezTo>
                      <a:pt x="887" y="741"/>
                      <a:pt x="887" y="741"/>
                      <a:pt x="887" y="741"/>
                    </a:cubicBezTo>
                    <a:cubicBezTo>
                      <a:pt x="887" y="742"/>
                      <a:pt x="887" y="742"/>
                      <a:pt x="887" y="742"/>
                    </a:cubicBezTo>
                    <a:cubicBezTo>
                      <a:pt x="890" y="741"/>
                      <a:pt x="890" y="741"/>
                      <a:pt x="890" y="741"/>
                    </a:cubicBezTo>
                    <a:cubicBezTo>
                      <a:pt x="891" y="742"/>
                      <a:pt x="891" y="742"/>
                      <a:pt x="891" y="742"/>
                    </a:cubicBezTo>
                    <a:cubicBezTo>
                      <a:pt x="891" y="745"/>
                      <a:pt x="891" y="745"/>
                      <a:pt x="891" y="745"/>
                    </a:cubicBezTo>
                    <a:cubicBezTo>
                      <a:pt x="888" y="747"/>
                      <a:pt x="888" y="747"/>
                      <a:pt x="888" y="747"/>
                    </a:cubicBezTo>
                    <a:cubicBezTo>
                      <a:pt x="886" y="748"/>
                      <a:pt x="886" y="748"/>
                      <a:pt x="886" y="748"/>
                    </a:cubicBezTo>
                    <a:cubicBezTo>
                      <a:pt x="884" y="751"/>
                      <a:pt x="884" y="751"/>
                      <a:pt x="884" y="751"/>
                    </a:cubicBezTo>
                    <a:cubicBezTo>
                      <a:pt x="886" y="751"/>
                      <a:pt x="886" y="751"/>
                      <a:pt x="886" y="751"/>
                    </a:cubicBezTo>
                    <a:cubicBezTo>
                      <a:pt x="887" y="753"/>
                      <a:pt x="887" y="753"/>
                      <a:pt x="887" y="753"/>
                    </a:cubicBezTo>
                    <a:cubicBezTo>
                      <a:pt x="885" y="754"/>
                      <a:pt x="885" y="754"/>
                      <a:pt x="885" y="754"/>
                    </a:cubicBezTo>
                    <a:cubicBezTo>
                      <a:pt x="887" y="757"/>
                      <a:pt x="887" y="757"/>
                      <a:pt x="887" y="757"/>
                    </a:cubicBezTo>
                    <a:cubicBezTo>
                      <a:pt x="885" y="759"/>
                      <a:pt x="885" y="759"/>
                      <a:pt x="885" y="759"/>
                    </a:cubicBezTo>
                    <a:cubicBezTo>
                      <a:pt x="882" y="759"/>
                      <a:pt x="882" y="759"/>
                      <a:pt x="882" y="759"/>
                    </a:cubicBezTo>
                    <a:cubicBezTo>
                      <a:pt x="880" y="757"/>
                      <a:pt x="880" y="757"/>
                      <a:pt x="880" y="757"/>
                    </a:cubicBezTo>
                    <a:cubicBezTo>
                      <a:pt x="881" y="754"/>
                      <a:pt x="881" y="754"/>
                      <a:pt x="881" y="754"/>
                    </a:cubicBezTo>
                    <a:cubicBezTo>
                      <a:pt x="877" y="751"/>
                      <a:pt x="877" y="751"/>
                      <a:pt x="877" y="751"/>
                    </a:cubicBezTo>
                    <a:cubicBezTo>
                      <a:pt x="878" y="749"/>
                      <a:pt x="878" y="749"/>
                      <a:pt x="878" y="749"/>
                    </a:cubicBezTo>
                    <a:cubicBezTo>
                      <a:pt x="880" y="746"/>
                      <a:pt x="880" y="746"/>
                      <a:pt x="880" y="746"/>
                    </a:cubicBezTo>
                    <a:cubicBezTo>
                      <a:pt x="878" y="744"/>
                      <a:pt x="878" y="744"/>
                      <a:pt x="878" y="744"/>
                    </a:cubicBezTo>
                    <a:cubicBezTo>
                      <a:pt x="879" y="742"/>
                      <a:pt x="879" y="742"/>
                      <a:pt x="879" y="742"/>
                    </a:cubicBezTo>
                    <a:cubicBezTo>
                      <a:pt x="882" y="741"/>
                      <a:pt x="882" y="741"/>
                      <a:pt x="882" y="741"/>
                    </a:cubicBezTo>
                    <a:cubicBezTo>
                      <a:pt x="880" y="739"/>
                      <a:pt x="880" y="739"/>
                      <a:pt x="880" y="739"/>
                    </a:cubicBezTo>
                    <a:cubicBezTo>
                      <a:pt x="878" y="739"/>
                      <a:pt x="878" y="739"/>
                      <a:pt x="878" y="739"/>
                    </a:cubicBezTo>
                    <a:cubicBezTo>
                      <a:pt x="877" y="741"/>
                      <a:pt x="877" y="741"/>
                      <a:pt x="877" y="741"/>
                    </a:cubicBezTo>
                    <a:cubicBezTo>
                      <a:pt x="875" y="740"/>
                      <a:pt x="875" y="740"/>
                      <a:pt x="875" y="740"/>
                    </a:cubicBezTo>
                    <a:cubicBezTo>
                      <a:pt x="872" y="740"/>
                      <a:pt x="872" y="740"/>
                      <a:pt x="872" y="740"/>
                    </a:cubicBezTo>
                    <a:cubicBezTo>
                      <a:pt x="871" y="738"/>
                      <a:pt x="871" y="738"/>
                      <a:pt x="871" y="738"/>
                    </a:cubicBezTo>
                    <a:cubicBezTo>
                      <a:pt x="873" y="736"/>
                      <a:pt x="873" y="736"/>
                      <a:pt x="873" y="736"/>
                    </a:cubicBezTo>
                    <a:cubicBezTo>
                      <a:pt x="875" y="736"/>
                      <a:pt x="875" y="736"/>
                      <a:pt x="875" y="736"/>
                    </a:cubicBezTo>
                    <a:cubicBezTo>
                      <a:pt x="876" y="733"/>
                      <a:pt x="876" y="733"/>
                      <a:pt x="876" y="733"/>
                    </a:cubicBezTo>
                    <a:cubicBezTo>
                      <a:pt x="876" y="732"/>
                      <a:pt x="876" y="732"/>
                      <a:pt x="876" y="732"/>
                    </a:cubicBezTo>
                    <a:cubicBezTo>
                      <a:pt x="880" y="729"/>
                      <a:pt x="880" y="729"/>
                      <a:pt x="880" y="729"/>
                    </a:cubicBezTo>
                    <a:cubicBezTo>
                      <a:pt x="880" y="727"/>
                      <a:pt x="880" y="727"/>
                      <a:pt x="880" y="727"/>
                    </a:cubicBezTo>
                    <a:cubicBezTo>
                      <a:pt x="877" y="726"/>
                      <a:pt x="877" y="726"/>
                      <a:pt x="877" y="726"/>
                    </a:cubicBezTo>
                    <a:cubicBezTo>
                      <a:pt x="875" y="727"/>
                      <a:pt x="875" y="727"/>
                      <a:pt x="875" y="727"/>
                    </a:cubicBezTo>
                    <a:cubicBezTo>
                      <a:pt x="874" y="726"/>
                      <a:pt x="874" y="726"/>
                      <a:pt x="874" y="726"/>
                    </a:cubicBezTo>
                    <a:cubicBezTo>
                      <a:pt x="875" y="724"/>
                      <a:pt x="875" y="724"/>
                      <a:pt x="875" y="724"/>
                    </a:cubicBezTo>
                    <a:cubicBezTo>
                      <a:pt x="879" y="723"/>
                      <a:pt x="879" y="723"/>
                      <a:pt x="879" y="723"/>
                    </a:cubicBezTo>
                    <a:cubicBezTo>
                      <a:pt x="880" y="720"/>
                      <a:pt x="880" y="720"/>
                      <a:pt x="880" y="720"/>
                    </a:cubicBezTo>
                    <a:cubicBezTo>
                      <a:pt x="880" y="717"/>
                      <a:pt x="880" y="717"/>
                      <a:pt x="880" y="717"/>
                    </a:cubicBezTo>
                    <a:close/>
                    <a:moveTo>
                      <a:pt x="903" y="713"/>
                    </a:moveTo>
                    <a:cubicBezTo>
                      <a:pt x="900" y="711"/>
                      <a:pt x="900" y="711"/>
                      <a:pt x="900" y="711"/>
                    </a:cubicBezTo>
                    <a:cubicBezTo>
                      <a:pt x="902" y="709"/>
                      <a:pt x="902" y="709"/>
                      <a:pt x="902" y="709"/>
                    </a:cubicBezTo>
                    <a:cubicBezTo>
                      <a:pt x="904" y="706"/>
                      <a:pt x="904" y="706"/>
                      <a:pt x="904" y="706"/>
                    </a:cubicBezTo>
                    <a:cubicBezTo>
                      <a:pt x="905" y="707"/>
                      <a:pt x="905" y="707"/>
                      <a:pt x="905" y="707"/>
                    </a:cubicBezTo>
                    <a:cubicBezTo>
                      <a:pt x="905" y="711"/>
                      <a:pt x="905" y="711"/>
                      <a:pt x="905" y="711"/>
                    </a:cubicBezTo>
                    <a:cubicBezTo>
                      <a:pt x="903" y="713"/>
                      <a:pt x="903" y="713"/>
                      <a:pt x="903" y="713"/>
                    </a:cubicBezTo>
                    <a:close/>
                    <a:moveTo>
                      <a:pt x="895" y="718"/>
                    </a:moveTo>
                    <a:cubicBezTo>
                      <a:pt x="898" y="712"/>
                      <a:pt x="898" y="712"/>
                      <a:pt x="898" y="712"/>
                    </a:cubicBezTo>
                    <a:cubicBezTo>
                      <a:pt x="900" y="713"/>
                      <a:pt x="900" y="713"/>
                      <a:pt x="900" y="713"/>
                    </a:cubicBezTo>
                    <a:cubicBezTo>
                      <a:pt x="900" y="717"/>
                      <a:pt x="900" y="717"/>
                      <a:pt x="900" y="717"/>
                    </a:cubicBezTo>
                    <a:cubicBezTo>
                      <a:pt x="897" y="718"/>
                      <a:pt x="897" y="718"/>
                      <a:pt x="897" y="718"/>
                    </a:cubicBezTo>
                    <a:cubicBezTo>
                      <a:pt x="895" y="718"/>
                      <a:pt x="895" y="718"/>
                      <a:pt x="895" y="718"/>
                    </a:cubicBezTo>
                    <a:close/>
                    <a:moveTo>
                      <a:pt x="892" y="714"/>
                    </a:moveTo>
                    <a:cubicBezTo>
                      <a:pt x="893" y="711"/>
                      <a:pt x="893" y="711"/>
                      <a:pt x="893" y="711"/>
                    </a:cubicBezTo>
                    <a:cubicBezTo>
                      <a:pt x="899" y="707"/>
                      <a:pt x="899" y="707"/>
                      <a:pt x="899" y="707"/>
                    </a:cubicBezTo>
                    <a:cubicBezTo>
                      <a:pt x="899" y="709"/>
                      <a:pt x="899" y="709"/>
                      <a:pt x="899" y="709"/>
                    </a:cubicBezTo>
                    <a:cubicBezTo>
                      <a:pt x="897" y="711"/>
                      <a:pt x="897" y="711"/>
                      <a:pt x="897" y="711"/>
                    </a:cubicBezTo>
                    <a:cubicBezTo>
                      <a:pt x="895" y="714"/>
                      <a:pt x="895" y="714"/>
                      <a:pt x="895" y="714"/>
                    </a:cubicBezTo>
                    <a:cubicBezTo>
                      <a:pt x="892" y="714"/>
                      <a:pt x="892" y="714"/>
                      <a:pt x="892" y="714"/>
                    </a:cubicBezTo>
                    <a:close/>
                    <a:moveTo>
                      <a:pt x="888" y="705"/>
                    </a:moveTo>
                    <a:cubicBezTo>
                      <a:pt x="892" y="701"/>
                      <a:pt x="892" y="701"/>
                      <a:pt x="892" y="701"/>
                    </a:cubicBezTo>
                    <a:cubicBezTo>
                      <a:pt x="898" y="702"/>
                      <a:pt x="898" y="702"/>
                      <a:pt x="898" y="702"/>
                    </a:cubicBezTo>
                    <a:cubicBezTo>
                      <a:pt x="897" y="704"/>
                      <a:pt x="897" y="704"/>
                      <a:pt x="897" y="704"/>
                    </a:cubicBezTo>
                    <a:cubicBezTo>
                      <a:pt x="894" y="709"/>
                      <a:pt x="894" y="709"/>
                      <a:pt x="894" y="709"/>
                    </a:cubicBezTo>
                    <a:cubicBezTo>
                      <a:pt x="890" y="707"/>
                      <a:pt x="890" y="707"/>
                      <a:pt x="890" y="707"/>
                    </a:cubicBezTo>
                    <a:cubicBezTo>
                      <a:pt x="888" y="705"/>
                      <a:pt x="888" y="705"/>
                      <a:pt x="888" y="705"/>
                    </a:cubicBezTo>
                    <a:close/>
                    <a:moveTo>
                      <a:pt x="894" y="695"/>
                    </a:moveTo>
                    <a:cubicBezTo>
                      <a:pt x="897" y="690"/>
                      <a:pt x="897" y="690"/>
                      <a:pt x="897" y="690"/>
                    </a:cubicBezTo>
                    <a:cubicBezTo>
                      <a:pt x="900" y="689"/>
                      <a:pt x="900" y="689"/>
                      <a:pt x="900" y="689"/>
                    </a:cubicBezTo>
                    <a:cubicBezTo>
                      <a:pt x="902" y="695"/>
                      <a:pt x="902" y="695"/>
                      <a:pt x="902" y="695"/>
                    </a:cubicBezTo>
                    <a:cubicBezTo>
                      <a:pt x="900" y="698"/>
                      <a:pt x="900" y="698"/>
                      <a:pt x="900" y="698"/>
                    </a:cubicBezTo>
                    <a:cubicBezTo>
                      <a:pt x="895" y="699"/>
                      <a:pt x="895" y="699"/>
                      <a:pt x="895" y="699"/>
                    </a:cubicBezTo>
                    <a:cubicBezTo>
                      <a:pt x="894" y="698"/>
                      <a:pt x="894" y="698"/>
                      <a:pt x="894" y="698"/>
                    </a:cubicBezTo>
                    <a:cubicBezTo>
                      <a:pt x="894" y="695"/>
                      <a:pt x="894" y="695"/>
                      <a:pt x="894" y="695"/>
                    </a:cubicBezTo>
                    <a:close/>
                    <a:moveTo>
                      <a:pt x="881" y="700"/>
                    </a:moveTo>
                    <a:cubicBezTo>
                      <a:pt x="881" y="696"/>
                      <a:pt x="881" y="696"/>
                      <a:pt x="881" y="696"/>
                    </a:cubicBezTo>
                    <a:cubicBezTo>
                      <a:pt x="884" y="687"/>
                      <a:pt x="884" y="687"/>
                      <a:pt x="884" y="687"/>
                    </a:cubicBezTo>
                    <a:cubicBezTo>
                      <a:pt x="885" y="685"/>
                      <a:pt x="885" y="685"/>
                      <a:pt x="885" y="685"/>
                    </a:cubicBezTo>
                    <a:cubicBezTo>
                      <a:pt x="882" y="684"/>
                      <a:pt x="882" y="684"/>
                      <a:pt x="882" y="684"/>
                    </a:cubicBezTo>
                    <a:cubicBezTo>
                      <a:pt x="883" y="680"/>
                      <a:pt x="883" y="680"/>
                      <a:pt x="883" y="680"/>
                    </a:cubicBezTo>
                    <a:cubicBezTo>
                      <a:pt x="881" y="678"/>
                      <a:pt x="881" y="678"/>
                      <a:pt x="881" y="678"/>
                    </a:cubicBezTo>
                    <a:cubicBezTo>
                      <a:pt x="882" y="676"/>
                      <a:pt x="882" y="676"/>
                      <a:pt x="882" y="676"/>
                    </a:cubicBezTo>
                    <a:cubicBezTo>
                      <a:pt x="886" y="676"/>
                      <a:pt x="886" y="676"/>
                      <a:pt x="886" y="676"/>
                    </a:cubicBezTo>
                    <a:cubicBezTo>
                      <a:pt x="890" y="680"/>
                      <a:pt x="890" y="680"/>
                      <a:pt x="890" y="680"/>
                    </a:cubicBezTo>
                    <a:cubicBezTo>
                      <a:pt x="894" y="680"/>
                      <a:pt x="894" y="680"/>
                      <a:pt x="894" y="680"/>
                    </a:cubicBezTo>
                    <a:cubicBezTo>
                      <a:pt x="897" y="683"/>
                      <a:pt x="897" y="683"/>
                      <a:pt x="897" y="683"/>
                    </a:cubicBezTo>
                    <a:cubicBezTo>
                      <a:pt x="897" y="688"/>
                      <a:pt x="897" y="688"/>
                      <a:pt x="897" y="688"/>
                    </a:cubicBezTo>
                    <a:cubicBezTo>
                      <a:pt x="894" y="693"/>
                      <a:pt x="894" y="693"/>
                      <a:pt x="894" y="693"/>
                    </a:cubicBezTo>
                    <a:cubicBezTo>
                      <a:pt x="892" y="693"/>
                      <a:pt x="892" y="693"/>
                      <a:pt x="892" y="693"/>
                    </a:cubicBezTo>
                    <a:cubicBezTo>
                      <a:pt x="891" y="688"/>
                      <a:pt x="891" y="688"/>
                      <a:pt x="891" y="688"/>
                    </a:cubicBezTo>
                    <a:cubicBezTo>
                      <a:pt x="889" y="689"/>
                      <a:pt x="889" y="689"/>
                      <a:pt x="889" y="689"/>
                    </a:cubicBezTo>
                    <a:cubicBezTo>
                      <a:pt x="889" y="693"/>
                      <a:pt x="889" y="693"/>
                      <a:pt x="889" y="693"/>
                    </a:cubicBezTo>
                    <a:cubicBezTo>
                      <a:pt x="888" y="695"/>
                      <a:pt x="888" y="695"/>
                      <a:pt x="888" y="695"/>
                    </a:cubicBezTo>
                    <a:cubicBezTo>
                      <a:pt x="890" y="698"/>
                      <a:pt x="890" y="698"/>
                      <a:pt x="890" y="698"/>
                    </a:cubicBezTo>
                    <a:cubicBezTo>
                      <a:pt x="887" y="699"/>
                      <a:pt x="887" y="699"/>
                      <a:pt x="887" y="699"/>
                    </a:cubicBezTo>
                    <a:cubicBezTo>
                      <a:pt x="886" y="698"/>
                      <a:pt x="886" y="698"/>
                      <a:pt x="886" y="698"/>
                    </a:cubicBezTo>
                    <a:cubicBezTo>
                      <a:pt x="884" y="701"/>
                      <a:pt x="884" y="701"/>
                      <a:pt x="884" y="701"/>
                    </a:cubicBezTo>
                    <a:cubicBezTo>
                      <a:pt x="881" y="700"/>
                      <a:pt x="881" y="700"/>
                      <a:pt x="881" y="700"/>
                    </a:cubicBezTo>
                    <a:close/>
                    <a:moveTo>
                      <a:pt x="871" y="695"/>
                    </a:moveTo>
                    <a:cubicBezTo>
                      <a:pt x="868" y="693"/>
                      <a:pt x="868" y="693"/>
                      <a:pt x="868" y="693"/>
                    </a:cubicBezTo>
                    <a:cubicBezTo>
                      <a:pt x="871" y="689"/>
                      <a:pt x="871" y="689"/>
                      <a:pt x="871" y="689"/>
                    </a:cubicBezTo>
                    <a:cubicBezTo>
                      <a:pt x="869" y="688"/>
                      <a:pt x="869" y="688"/>
                      <a:pt x="869" y="688"/>
                    </a:cubicBezTo>
                    <a:cubicBezTo>
                      <a:pt x="870" y="684"/>
                      <a:pt x="870" y="684"/>
                      <a:pt x="870" y="684"/>
                    </a:cubicBezTo>
                    <a:cubicBezTo>
                      <a:pt x="871" y="682"/>
                      <a:pt x="871" y="682"/>
                      <a:pt x="871" y="682"/>
                    </a:cubicBezTo>
                    <a:cubicBezTo>
                      <a:pt x="874" y="683"/>
                      <a:pt x="874" y="683"/>
                      <a:pt x="874" y="683"/>
                    </a:cubicBezTo>
                    <a:cubicBezTo>
                      <a:pt x="874" y="679"/>
                      <a:pt x="874" y="679"/>
                      <a:pt x="874" y="679"/>
                    </a:cubicBezTo>
                    <a:cubicBezTo>
                      <a:pt x="876" y="679"/>
                      <a:pt x="876" y="679"/>
                      <a:pt x="876" y="679"/>
                    </a:cubicBezTo>
                    <a:cubicBezTo>
                      <a:pt x="879" y="684"/>
                      <a:pt x="879" y="684"/>
                      <a:pt x="879" y="684"/>
                    </a:cubicBezTo>
                    <a:cubicBezTo>
                      <a:pt x="878" y="687"/>
                      <a:pt x="878" y="687"/>
                      <a:pt x="878" y="687"/>
                    </a:cubicBezTo>
                    <a:cubicBezTo>
                      <a:pt x="878" y="689"/>
                      <a:pt x="878" y="689"/>
                      <a:pt x="878" y="689"/>
                    </a:cubicBezTo>
                    <a:cubicBezTo>
                      <a:pt x="880" y="687"/>
                      <a:pt x="880" y="687"/>
                      <a:pt x="880" y="687"/>
                    </a:cubicBezTo>
                    <a:cubicBezTo>
                      <a:pt x="881" y="689"/>
                      <a:pt x="881" y="689"/>
                      <a:pt x="881" y="689"/>
                    </a:cubicBezTo>
                    <a:cubicBezTo>
                      <a:pt x="879" y="696"/>
                      <a:pt x="879" y="696"/>
                      <a:pt x="879" y="696"/>
                    </a:cubicBezTo>
                    <a:cubicBezTo>
                      <a:pt x="873" y="702"/>
                      <a:pt x="873" y="702"/>
                      <a:pt x="873" y="702"/>
                    </a:cubicBezTo>
                    <a:cubicBezTo>
                      <a:pt x="873" y="705"/>
                      <a:pt x="873" y="705"/>
                      <a:pt x="873" y="705"/>
                    </a:cubicBezTo>
                    <a:cubicBezTo>
                      <a:pt x="871" y="707"/>
                      <a:pt x="871" y="707"/>
                      <a:pt x="871" y="707"/>
                    </a:cubicBezTo>
                    <a:cubicBezTo>
                      <a:pt x="867" y="709"/>
                      <a:pt x="867" y="709"/>
                      <a:pt x="867" y="709"/>
                    </a:cubicBezTo>
                    <a:cubicBezTo>
                      <a:pt x="869" y="705"/>
                      <a:pt x="869" y="705"/>
                      <a:pt x="869" y="705"/>
                    </a:cubicBezTo>
                    <a:cubicBezTo>
                      <a:pt x="867" y="703"/>
                      <a:pt x="867" y="703"/>
                      <a:pt x="867" y="703"/>
                    </a:cubicBezTo>
                    <a:cubicBezTo>
                      <a:pt x="865" y="710"/>
                      <a:pt x="865" y="710"/>
                      <a:pt x="865" y="710"/>
                    </a:cubicBezTo>
                    <a:cubicBezTo>
                      <a:pt x="864" y="708"/>
                      <a:pt x="864" y="708"/>
                      <a:pt x="864" y="708"/>
                    </a:cubicBezTo>
                    <a:cubicBezTo>
                      <a:pt x="864" y="705"/>
                      <a:pt x="864" y="705"/>
                      <a:pt x="864" y="705"/>
                    </a:cubicBezTo>
                    <a:cubicBezTo>
                      <a:pt x="866" y="702"/>
                      <a:pt x="866" y="702"/>
                      <a:pt x="866" y="702"/>
                    </a:cubicBezTo>
                    <a:cubicBezTo>
                      <a:pt x="866" y="700"/>
                      <a:pt x="866" y="700"/>
                      <a:pt x="866" y="700"/>
                    </a:cubicBezTo>
                    <a:cubicBezTo>
                      <a:pt x="867" y="698"/>
                      <a:pt x="867" y="698"/>
                      <a:pt x="867" y="698"/>
                    </a:cubicBezTo>
                    <a:cubicBezTo>
                      <a:pt x="869" y="699"/>
                      <a:pt x="869" y="699"/>
                      <a:pt x="869" y="699"/>
                    </a:cubicBezTo>
                    <a:cubicBezTo>
                      <a:pt x="871" y="697"/>
                      <a:pt x="871" y="697"/>
                      <a:pt x="871" y="697"/>
                    </a:cubicBezTo>
                    <a:cubicBezTo>
                      <a:pt x="871" y="695"/>
                      <a:pt x="871" y="695"/>
                      <a:pt x="871" y="695"/>
                    </a:cubicBezTo>
                    <a:close/>
                    <a:moveTo>
                      <a:pt x="869" y="663"/>
                    </a:moveTo>
                    <a:cubicBezTo>
                      <a:pt x="872" y="663"/>
                      <a:pt x="872" y="663"/>
                      <a:pt x="872" y="663"/>
                    </a:cubicBezTo>
                    <a:cubicBezTo>
                      <a:pt x="871" y="666"/>
                      <a:pt x="871" y="666"/>
                      <a:pt x="871" y="666"/>
                    </a:cubicBezTo>
                    <a:cubicBezTo>
                      <a:pt x="869" y="663"/>
                      <a:pt x="869" y="663"/>
                      <a:pt x="869" y="663"/>
                    </a:cubicBezTo>
                    <a:close/>
                    <a:moveTo>
                      <a:pt x="860" y="664"/>
                    </a:moveTo>
                    <a:cubicBezTo>
                      <a:pt x="863" y="663"/>
                      <a:pt x="863" y="663"/>
                      <a:pt x="863" y="663"/>
                    </a:cubicBezTo>
                    <a:cubicBezTo>
                      <a:pt x="865" y="661"/>
                      <a:pt x="865" y="661"/>
                      <a:pt x="865" y="661"/>
                    </a:cubicBezTo>
                    <a:cubicBezTo>
                      <a:pt x="867" y="661"/>
                      <a:pt x="867" y="661"/>
                      <a:pt x="867" y="661"/>
                    </a:cubicBezTo>
                    <a:cubicBezTo>
                      <a:pt x="868" y="666"/>
                      <a:pt x="868" y="666"/>
                      <a:pt x="868" y="666"/>
                    </a:cubicBezTo>
                    <a:cubicBezTo>
                      <a:pt x="869" y="673"/>
                      <a:pt x="869" y="673"/>
                      <a:pt x="869" y="673"/>
                    </a:cubicBezTo>
                    <a:cubicBezTo>
                      <a:pt x="868" y="679"/>
                      <a:pt x="868" y="679"/>
                      <a:pt x="868" y="679"/>
                    </a:cubicBezTo>
                    <a:cubicBezTo>
                      <a:pt x="866" y="680"/>
                      <a:pt x="866" y="680"/>
                      <a:pt x="866" y="680"/>
                    </a:cubicBezTo>
                    <a:cubicBezTo>
                      <a:pt x="865" y="687"/>
                      <a:pt x="865" y="687"/>
                      <a:pt x="865" y="687"/>
                    </a:cubicBezTo>
                    <a:cubicBezTo>
                      <a:pt x="863" y="689"/>
                      <a:pt x="863" y="689"/>
                      <a:pt x="863" y="689"/>
                    </a:cubicBezTo>
                    <a:cubicBezTo>
                      <a:pt x="861" y="694"/>
                      <a:pt x="861" y="694"/>
                      <a:pt x="861" y="694"/>
                    </a:cubicBezTo>
                    <a:cubicBezTo>
                      <a:pt x="861" y="699"/>
                      <a:pt x="861" y="699"/>
                      <a:pt x="861" y="699"/>
                    </a:cubicBezTo>
                    <a:cubicBezTo>
                      <a:pt x="860" y="701"/>
                      <a:pt x="860" y="701"/>
                      <a:pt x="860" y="701"/>
                    </a:cubicBezTo>
                    <a:cubicBezTo>
                      <a:pt x="858" y="702"/>
                      <a:pt x="858" y="702"/>
                      <a:pt x="858" y="702"/>
                    </a:cubicBezTo>
                    <a:cubicBezTo>
                      <a:pt x="858" y="700"/>
                      <a:pt x="858" y="700"/>
                      <a:pt x="858" y="700"/>
                    </a:cubicBezTo>
                    <a:cubicBezTo>
                      <a:pt x="858" y="697"/>
                      <a:pt x="858" y="697"/>
                      <a:pt x="858" y="697"/>
                    </a:cubicBezTo>
                    <a:cubicBezTo>
                      <a:pt x="856" y="695"/>
                      <a:pt x="856" y="695"/>
                      <a:pt x="856" y="695"/>
                    </a:cubicBezTo>
                    <a:cubicBezTo>
                      <a:pt x="855" y="691"/>
                      <a:pt x="855" y="691"/>
                      <a:pt x="855" y="691"/>
                    </a:cubicBezTo>
                    <a:cubicBezTo>
                      <a:pt x="857" y="688"/>
                      <a:pt x="857" y="688"/>
                      <a:pt x="857" y="688"/>
                    </a:cubicBezTo>
                    <a:cubicBezTo>
                      <a:pt x="859" y="687"/>
                      <a:pt x="859" y="687"/>
                      <a:pt x="859" y="687"/>
                    </a:cubicBezTo>
                    <a:cubicBezTo>
                      <a:pt x="861" y="686"/>
                      <a:pt x="861" y="686"/>
                      <a:pt x="861" y="686"/>
                    </a:cubicBezTo>
                    <a:cubicBezTo>
                      <a:pt x="861" y="684"/>
                      <a:pt x="861" y="684"/>
                      <a:pt x="861" y="684"/>
                    </a:cubicBezTo>
                    <a:cubicBezTo>
                      <a:pt x="859" y="685"/>
                      <a:pt x="859" y="685"/>
                      <a:pt x="859" y="685"/>
                    </a:cubicBezTo>
                    <a:cubicBezTo>
                      <a:pt x="857" y="685"/>
                      <a:pt x="857" y="685"/>
                      <a:pt x="857" y="685"/>
                    </a:cubicBezTo>
                    <a:cubicBezTo>
                      <a:pt x="857" y="683"/>
                      <a:pt x="857" y="683"/>
                      <a:pt x="857" y="683"/>
                    </a:cubicBezTo>
                    <a:cubicBezTo>
                      <a:pt x="858" y="682"/>
                      <a:pt x="858" y="682"/>
                      <a:pt x="858" y="682"/>
                    </a:cubicBezTo>
                    <a:cubicBezTo>
                      <a:pt x="859" y="680"/>
                      <a:pt x="859" y="680"/>
                      <a:pt x="859" y="680"/>
                    </a:cubicBezTo>
                    <a:cubicBezTo>
                      <a:pt x="855" y="679"/>
                      <a:pt x="855" y="679"/>
                      <a:pt x="855" y="679"/>
                    </a:cubicBezTo>
                    <a:cubicBezTo>
                      <a:pt x="855" y="678"/>
                      <a:pt x="855" y="678"/>
                      <a:pt x="855" y="678"/>
                    </a:cubicBezTo>
                    <a:cubicBezTo>
                      <a:pt x="858" y="677"/>
                      <a:pt x="858" y="677"/>
                      <a:pt x="858" y="677"/>
                    </a:cubicBezTo>
                    <a:cubicBezTo>
                      <a:pt x="860" y="675"/>
                      <a:pt x="860" y="675"/>
                      <a:pt x="860" y="675"/>
                    </a:cubicBezTo>
                    <a:cubicBezTo>
                      <a:pt x="861" y="671"/>
                      <a:pt x="861" y="671"/>
                      <a:pt x="861" y="671"/>
                    </a:cubicBezTo>
                    <a:cubicBezTo>
                      <a:pt x="863" y="669"/>
                      <a:pt x="863" y="669"/>
                      <a:pt x="863" y="669"/>
                    </a:cubicBezTo>
                    <a:cubicBezTo>
                      <a:pt x="860" y="666"/>
                      <a:pt x="860" y="666"/>
                      <a:pt x="860" y="666"/>
                    </a:cubicBezTo>
                    <a:cubicBezTo>
                      <a:pt x="860" y="664"/>
                      <a:pt x="860" y="664"/>
                      <a:pt x="860" y="664"/>
                    </a:cubicBezTo>
                    <a:close/>
                    <a:moveTo>
                      <a:pt x="853" y="665"/>
                    </a:moveTo>
                    <a:cubicBezTo>
                      <a:pt x="855" y="663"/>
                      <a:pt x="855" y="663"/>
                      <a:pt x="855" y="663"/>
                    </a:cubicBezTo>
                    <a:cubicBezTo>
                      <a:pt x="856" y="665"/>
                      <a:pt x="856" y="665"/>
                      <a:pt x="856" y="665"/>
                    </a:cubicBezTo>
                    <a:cubicBezTo>
                      <a:pt x="855" y="668"/>
                      <a:pt x="855" y="668"/>
                      <a:pt x="855" y="668"/>
                    </a:cubicBezTo>
                    <a:cubicBezTo>
                      <a:pt x="855" y="672"/>
                      <a:pt x="855" y="672"/>
                      <a:pt x="855" y="672"/>
                    </a:cubicBezTo>
                    <a:cubicBezTo>
                      <a:pt x="852" y="673"/>
                      <a:pt x="852" y="673"/>
                      <a:pt x="852" y="673"/>
                    </a:cubicBezTo>
                    <a:cubicBezTo>
                      <a:pt x="851" y="671"/>
                      <a:pt x="851" y="671"/>
                      <a:pt x="851" y="671"/>
                    </a:cubicBezTo>
                    <a:cubicBezTo>
                      <a:pt x="853" y="669"/>
                      <a:pt x="853" y="669"/>
                      <a:pt x="853" y="669"/>
                    </a:cubicBezTo>
                    <a:cubicBezTo>
                      <a:pt x="852" y="668"/>
                      <a:pt x="852" y="668"/>
                      <a:pt x="852" y="668"/>
                    </a:cubicBezTo>
                    <a:cubicBezTo>
                      <a:pt x="853" y="665"/>
                      <a:pt x="853" y="665"/>
                      <a:pt x="853" y="665"/>
                    </a:cubicBezTo>
                    <a:close/>
                    <a:moveTo>
                      <a:pt x="871" y="673"/>
                    </a:moveTo>
                    <a:cubicBezTo>
                      <a:pt x="873" y="669"/>
                      <a:pt x="873" y="669"/>
                      <a:pt x="873" y="669"/>
                    </a:cubicBezTo>
                    <a:cubicBezTo>
                      <a:pt x="873" y="665"/>
                      <a:pt x="873" y="665"/>
                      <a:pt x="873" y="665"/>
                    </a:cubicBezTo>
                    <a:cubicBezTo>
                      <a:pt x="876" y="663"/>
                      <a:pt x="876" y="663"/>
                      <a:pt x="876" y="663"/>
                    </a:cubicBezTo>
                    <a:cubicBezTo>
                      <a:pt x="880" y="663"/>
                      <a:pt x="880" y="663"/>
                      <a:pt x="880" y="663"/>
                    </a:cubicBezTo>
                    <a:cubicBezTo>
                      <a:pt x="879" y="661"/>
                      <a:pt x="879" y="661"/>
                      <a:pt x="879" y="661"/>
                    </a:cubicBezTo>
                    <a:cubicBezTo>
                      <a:pt x="881" y="659"/>
                      <a:pt x="881" y="659"/>
                      <a:pt x="881" y="659"/>
                    </a:cubicBezTo>
                    <a:cubicBezTo>
                      <a:pt x="877" y="657"/>
                      <a:pt x="877" y="657"/>
                      <a:pt x="877" y="657"/>
                    </a:cubicBezTo>
                    <a:cubicBezTo>
                      <a:pt x="878" y="651"/>
                      <a:pt x="878" y="651"/>
                      <a:pt x="878" y="651"/>
                    </a:cubicBezTo>
                    <a:cubicBezTo>
                      <a:pt x="882" y="646"/>
                      <a:pt x="882" y="646"/>
                      <a:pt x="882" y="646"/>
                    </a:cubicBezTo>
                    <a:cubicBezTo>
                      <a:pt x="883" y="634"/>
                      <a:pt x="883" y="634"/>
                      <a:pt x="883" y="634"/>
                    </a:cubicBezTo>
                    <a:cubicBezTo>
                      <a:pt x="885" y="629"/>
                      <a:pt x="885" y="629"/>
                      <a:pt x="885" y="629"/>
                    </a:cubicBezTo>
                    <a:cubicBezTo>
                      <a:pt x="886" y="631"/>
                      <a:pt x="886" y="631"/>
                      <a:pt x="886" y="631"/>
                    </a:cubicBezTo>
                    <a:cubicBezTo>
                      <a:pt x="886" y="635"/>
                      <a:pt x="886" y="635"/>
                      <a:pt x="886" y="635"/>
                    </a:cubicBezTo>
                    <a:cubicBezTo>
                      <a:pt x="891" y="638"/>
                      <a:pt x="891" y="638"/>
                      <a:pt x="891" y="638"/>
                    </a:cubicBezTo>
                    <a:cubicBezTo>
                      <a:pt x="894" y="641"/>
                      <a:pt x="894" y="641"/>
                      <a:pt x="894" y="641"/>
                    </a:cubicBezTo>
                    <a:cubicBezTo>
                      <a:pt x="895" y="654"/>
                      <a:pt x="895" y="654"/>
                      <a:pt x="895" y="654"/>
                    </a:cubicBezTo>
                    <a:cubicBezTo>
                      <a:pt x="892" y="660"/>
                      <a:pt x="892" y="660"/>
                      <a:pt x="892" y="660"/>
                    </a:cubicBezTo>
                    <a:cubicBezTo>
                      <a:pt x="891" y="658"/>
                      <a:pt x="891" y="658"/>
                      <a:pt x="891" y="658"/>
                    </a:cubicBezTo>
                    <a:cubicBezTo>
                      <a:pt x="892" y="650"/>
                      <a:pt x="892" y="650"/>
                      <a:pt x="892" y="650"/>
                    </a:cubicBezTo>
                    <a:cubicBezTo>
                      <a:pt x="890" y="643"/>
                      <a:pt x="890" y="643"/>
                      <a:pt x="890" y="643"/>
                    </a:cubicBezTo>
                    <a:cubicBezTo>
                      <a:pt x="889" y="646"/>
                      <a:pt x="889" y="646"/>
                      <a:pt x="889" y="646"/>
                    </a:cubicBezTo>
                    <a:cubicBezTo>
                      <a:pt x="889" y="659"/>
                      <a:pt x="889" y="659"/>
                      <a:pt x="889" y="659"/>
                    </a:cubicBezTo>
                    <a:cubicBezTo>
                      <a:pt x="888" y="661"/>
                      <a:pt x="888" y="661"/>
                      <a:pt x="888" y="661"/>
                    </a:cubicBezTo>
                    <a:cubicBezTo>
                      <a:pt x="887" y="664"/>
                      <a:pt x="887" y="664"/>
                      <a:pt x="887" y="664"/>
                    </a:cubicBezTo>
                    <a:cubicBezTo>
                      <a:pt x="885" y="666"/>
                      <a:pt x="885" y="666"/>
                      <a:pt x="885" y="666"/>
                    </a:cubicBezTo>
                    <a:cubicBezTo>
                      <a:pt x="882" y="665"/>
                      <a:pt x="882" y="665"/>
                      <a:pt x="882" y="665"/>
                    </a:cubicBezTo>
                    <a:cubicBezTo>
                      <a:pt x="881" y="670"/>
                      <a:pt x="881" y="670"/>
                      <a:pt x="881" y="670"/>
                    </a:cubicBezTo>
                    <a:cubicBezTo>
                      <a:pt x="876" y="673"/>
                      <a:pt x="876" y="673"/>
                      <a:pt x="876" y="673"/>
                    </a:cubicBezTo>
                    <a:cubicBezTo>
                      <a:pt x="873" y="676"/>
                      <a:pt x="873" y="676"/>
                      <a:pt x="873" y="676"/>
                    </a:cubicBezTo>
                    <a:cubicBezTo>
                      <a:pt x="871" y="673"/>
                      <a:pt x="871" y="673"/>
                      <a:pt x="871" y="673"/>
                    </a:cubicBezTo>
                    <a:close/>
                    <a:moveTo>
                      <a:pt x="861" y="631"/>
                    </a:moveTo>
                    <a:cubicBezTo>
                      <a:pt x="867" y="630"/>
                      <a:pt x="867" y="630"/>
                      <a:pt x="867" y="630"/>
                    </a:cubicBezTo>
                    <a:cubicBezTo>
                      <a:pt x="870" y="632"/>
                      <a:pt x="870" y="632"/>
                      <a:pt x="870" y="632"/>
                    </a:cubicBezTo>
                    <a:cubicBezTo>
                      <a:pt x="870" y="635"/>
                      <a:pt x="870" y="635"/>
                      <a:pt x="870" y="635"/>
                    </a:cubicBezTo>
                    <a:cubicBezTo>
                      <a:pt x="869" y="637"/>
                      <a:pt x="869" y="637"/>
                      <a:pt x="869" y="637"/>
                    </a:cubicBezTo>
                    <a:cubicBezTo>
                      <a:pt x="870" y="639"/>
                      <a:pt x="870" y="639"/>
                      <a:pt x="870" y="639"/>
                    </a:cubicBezTo>
                    <a:cubicBezTo>
                      <a:pt x="871" y="637"/>
                      <a:pt x="871" y="637"/>
                      <a:pt x="871" y="637"/>
                    </a:cubicBezTo>
                    <a:cubicBezTo>
                      <a:pt x="874" y="636"/>
                      <a:pt x="874" y="636"/>
                      <a:pt x="874" y="636"/>
                    </a:cubicBezTo>
                    <a:cubicBezTo>
                      <a:pt x="878" y="639"/>
                      <a:pt x="878" y="639"/>
                      <a:pt x="878" y="639"/>
                    </a:cubicBezTo>
                    <a:cubicBezTo>
                      <a:pt x="878" y="642"/>
                      <a:pt x="878" y="642"/>
                      <a:pt x="878" y="642"/>
                    </a:cubicBezTo>
                    <a:cubicBezTo>
                      <a:pt x="875" y="643"/>
                      <a:pt x="875" y="643"/>
                      <a:pt x="875" y="643"/>
                    </a:cubicBezTo>
                    <a:cubicBezTo>
                      <a:pt x="876" y="645"/>
                      <a:pt x="876" y="645"/>
                      <a:pt x="876" y="645"/>
                    </a:cubicBezTo>
                    <a:cubicBezTo>
                      <a:pt x="874" y="647"/>
                      <a:pt x="874" y="647"/>
                      <a:pt x="874" y="647"/>
                    </a:cubicBezTo>
                    <a:cubicBezTo>
                      <a:pt x="871" y="647"/>
                      <a:pt x="871" y="647"/>
                      <a:pt x="871" y="647"/>
                    </a:cubicBezTo>
                    <a:cubicBezTo>
                      <a:pt x="868" y="643"/>
                      <a:pt x="868" y="643"/>
                      <a:pt x="868" y="643"/>
                    </a:cubicBezTo>
                    <a:cubicBezTo>
                      <a:pt x="864" y="639"/>
                      <a:pt x="864" y="639"/>
                      <a:pt x="864" y="639"/>
                    </a:cubicBezTo>
                    <a:cubicBezTo>
                      <a:pt x="864" y="640"/>
                      <a:pt x="864" y="640"/>
                      <a:pt x="864" y="640"/>
                    </a:cubicBezTo>
                    <a:cubicBezTo>
                      <a:pt x="868" y="647"/>
                      <a:pt x="868" y="647"/>
                      <a:pt x="868" y="647"/>
                    </a:cubicBezTo>
                    <a:cubicBezTo>
                      <a:pt x="868" y="650"/>
                      <a:pt x="868" y="650"/>
                      <a:pt x="868" y="650"/>
                    </a:cubicBezTo>
                    <a:cubicBezTo>
                      <a:pt x="873" y="650"/>
                      <a:pt x="873" y="650"/>
                      <a:pt x="873" y="650"/>
                    </a:cubicBezTo>
                    <a:cubicBezTo>
                      <a:pt x="875" y="653"/>
                      <a:pt x="875" y="653"/>
                      <a:pt x="875" y="653"/>
                    </a:cubicBezTo>
                    <a:cubicBezTo>
                      <a:pt x="873" y="655"/>
                      <a:pt x="873" y="655"/>
                      <a:pt x="873" y="655"/>
                    </a:cubicBezTo>
                    <a:cubicBezTo>
                      <a:pt x="872" y="660"/>
                      <a:pt x="872" y="660"/>
                      <a:pt x="872" y="660"/>
                    </a:cubicBezTo>
                    <a:cubicBezTo>
                      <a:pt x="870" y="661"/>
                      <a:pt x="870" y="661"/>
                      <a:pt x="870" y="661"/>
                    </a:cubicBezTo>
                    <a:cubicBezTo>
                      <a:pt x="866" y="657"/>
                      <a:pt x="866" y="657"/>
                      <a:pt x="866" y="657"/>
                    </a:cubicBezTo>
                    <a:cubicBezTo>
                      <a:pt x="866" y="653"/>
                      <a:pt x="866" y="653"/>
                      <a:pt x="866" y="653"/>
                    </a:cubicBezTo>
                    <a:cubicBezTo>
                      <a:pt x="862" y="645"/>
                      <a:pt x="862" y="645"/>
                      <a:pt x="862" y="645"/>
                    </a:cubicBezTo>
                    <a:cubicBezTo>
                      <a:pt x="861" y="649"/>
                      <a:pt x="861" y="649"/>
                      <a:pt x="861" y="649"/>
                    </a:cubicBezTo>
                    <a:cubicBezTo>
                      <a:pt x="863" y="654"/>
                      <a:pt x="863" y="654"/>
                      <a:pt x="863" y="654"/>
                    </a:cubicBezTo>
                    <a:cubicBezTo>
                      <a:pt x="863" y="658"/>
                      <a:pt x="863" y="658"/>
                      <a:pt x="863" y="658"/>
                    </a:cubicBezTo>
                    <a:cubicBezTo>
                      <a:pt x="861" y="661"/>
                      <a:pt x="861" y="661"/>
                      <a:pt x="861" y="661"/>
                    </a:cubicBezTo>
                    <a:cubicBezTo>
                      <a:pt x="857" y="661"/>
                      <a:pt x="857" y="661"/>
                      <a:pt x="857" y="661"/>
                    </a:cubicBezTo>
                    <a:cubicBezTo>
                      <a:pt x="854" y="657"/>
                      <a:pt x="854" y="657"/>
                      <a:pt x="854" y="657"/>
                    </a:cubicBezTo>
                    <a:cubicBezTo>
                      <a:pt x="856" y="654"/>
                      <a:pt x="856" y="654"/>
                      <a:pt x="856" y="654"/>
                    </a:cubicBezTo>
                    <a:cubicBezTo>
                      <a:pt x="854" y="652"/>
                      <a:pt x="854" y="652"/>
                      <a:pt x="854" y="652"/>
                    </a:cubicBezTo>
                    <a:cubicBezTo>
                      <a:pt x="855" y="649"/>
                      <a:pt x="855" y="649"/>
                      <a:pt x="855" y="649"/>
                    </a:cubicBezTo>
                    <a:cubicBezTo>
                      <a:pt x="852" y="644"/>
                      <a:pt x="852" y="644"/>
                      <a:pt x="852" y="644"/>
                    </a:cubicBezTo>
                    <a:cubicBezTo>
                      <a:pt x="854" y="640"/>
                      <a:pt x="854" y="640"/>
                      <a:pt x="854" y="640"/>
                    </a:cubicBezTo>
                    <a:cubicBezTo>
                      <a:pt x="857" y="642"/>
                      <a:pt x="857" y="642"/>
                      <a:pt x="857" y="642"/>
                    </a:cubicBezTo>
                    <a:cubicBezTo>
                      <a:pt x="858" y="640"/>
                      <a:pt x="858" y="640"/>
                      <a:pt x="858" y="640"/>
                    </a:cubicBezTo>
                    <a:cubicBezTo>
                      <a:pt x="856" y="638"/>
                      <a:pt x="856" y="638"/>
                      <a:pt x="856" y="638"/>
                    </a:cubicBezTo>
                    <a:cubicBezTo>
                      <a:pt x="855" y="634"/>
                      <a:pt x="855" y="634"/>
                      <a:pt x="855" y="634"/>
                    </a:cubicBezTo>
                    <a:cubicBezTo>
                      <a:pt x="857" y="630"/>
                      <a:pt x="857" y="630"/>
                      <a:pt x="857" y="630"/>
                    </a:cubicBezTo>
                    <a:cubicBezTo>
                      <a:pt x="859" y="634"/>
                      <a:pt x="859" y="634"/>
                      <a:pt x="859" y="634"/>
                    </a:cubicBezTo>
                    <a:cubicBezTo>
                      <a:pt x="861" y="633"/>
                      <a:pt x="861" y="633"/>
                      <a:pt x="861" y="633"/>
                    </a:cubicBezTo>
                    <a:cubicBezTo>
                      <a:pt x="861" y="631"/>
                      <a:pt x="861" y="631"/>
                      <a:pt x="861" y="631"/>
                    </a:cubicBezTo>
                    <a:close/>
                    <a:moveTo>
                      <a:pt x="862" y="627"/>
                    </a:moveTo>
                    <a:cubicBezTo>
                      <a:pt x="866" y="624"/>
                      <a:pt x="866" y="624"/>
                      <a:pt x="866" y="624"/>
                    </a:cubicBezTo>
                    <a:cubicBezTo>
                      <a:pt x="867" y="626"/>
                      <a:pt x="867" y="626"/>
                      <a:pt x="867" y="626"/>
                    </a:cubicBezTo>
                    <a:cubicBezTo>
                      <a:pt x="864" y="628"/>
                      <a:pt x="864" y="628"/>
                      <a:pt x="864" y="628"/>
                    </a:cubicBezTo>
                    <a:cubicBezTo>
                      <a:pt x="862" y="627"/>
                      <a:pt x="862" y="627"/>
                      <a:pt x="862" y="627"/>
                    </a:cubicBezTo>
                    <a:close/>
                    <a:moveTo>
                      <a:pt x="287" y="398"/>
                    </a:moveTo>
                    <a:cubicBezTo>
                      <a:pt x="286" y="397"/>
                      <a:pt x="286" y="397"/>
                      <a:pt x="286" y="397"/>
                    </a:cubicBezTo>
                    <a:cubicBezTo>
                      <a:pt x="288" y="395"/>
                      <a:pt x="288" y="395"/>
                      <a:pt x="288" y="395"/>
                    </a:cubicBezTo>
                    <a:cubicBezTo>
                      <a:pt x="289" y="398"/>
                      <a:pt x="289" y="398"/>
                      <a:pt x="289" y="398"/>
                    </a:cubicBezTo>
                    <a:cubicBezTo>
                      <a:pt x="287" y="398"/>
                      <a:pt x="287" y="398"/>
                      <a:pt x="287" y="398"/>
                    </a:cubicBezTo>
                    <a:close/>
                    <a:moveTo>
                      <a:pt x="286" y="401"/>
                    </a:moveTo>
                    <a:cubicBezTo>
                      <a:pt x="289" y="402"/>
                      <a:pt x="289" y="402"/>
                      <a:pt x="289" y="402"/>
                    </a:cubicBezTo>
                    <a:cubicBezTo>
                      <a:pt x="289" y="405"/>
                      <a:pt x="289" y="405"/>
                      <a:pt x="289" y="405"/>
                    </a:cubicBezTo>
                    <a:cubicBezTo>
                      <a:pt x="294" y="411"/>
                      <a:pt x="294" y="411"/>
                      <a:pt x="294" y="411"/>
                    </a:cubicBezTo>
                    <a:cubicBezTo>
                      <a:pt x="293" y="414"/>
                      <a:pt x="293" y="414"/>
                      <a:pt x="293" y="414"/>
                    </a:cubicBezTo>
                    <a:cubicBezTo>
                      <a:pt x="286" y="408"/>
                      <a:pt x="286" y="408"/>
                      <a:pt x="286" y="408"/>
                    </a:cubicBezTo>
                    <a:cubicBezTo>
                      <a:pt x="286" y="405"/>
                      <a:pt x="286" y="405"/>
                      <a:pt x="286" y="405"/>
                    </a:cubicBezTo>
                    <a:cubicBezTo>
                      <a:pt x="284" y="402"/>
                      <a:pt x="284" y="402"/>
                      <a:pt x="284" y="402"/>
                    </a:cubicBezTo>
                    <a:cubicBezTo>
                      <a:pt x="284" y="402"/>
                      <a:pt x="286" y="400"/>
                      <a:pt x="286" y="401"/>
                    </a:cubicBezTo>
                    <a:close/>
                    <a:moveTo>
                      <a:pt x="486" y="338"/>
                    </a:moveTo>
                    <a:cubicBezTo>
                      <a:pt x="484" y="342"/>
                      <a:pt x="484" y="342"/>
                      <a:pt x="484" y="342"/>
                    </a:cubicBezTo>
                    <a:cubicBezTo>
                      <a:pt x="483" y="350"/>
                      <a:pt x="483" y="350"/>
                      <a:pt x="483" y="350"/>
                    </a:cubicBezTo>
                    <a:cubicBezTo>
                      <a:pt x="481" y="349"/>
                      <a:pt x="481" y="349"/>
                      <a:pt x="481" y="349"/>
                    </a:cubicBezTo>
                    <a:cubicBezTo>
                      <a:pt x="481" y="346"/>
                      <a:pt x="481" y="346"/>
                      <a:pt x="481" y="346"/>
                    </a:cubicBezTo>
                    <a:cubicBezTo>
                      <a:pt x="478" y="345"/>
                      <a:pt x="478" y="345"/>
                      <a:pt x="478" y="345"/>
                    </a:cubicBezTo>
                    <a:cubicBezTo>
                      <a:pt x="474" y="346"/>
                      <a:pt x="474" y="346"/>
                      <a:pt x="474" y="346"/>
                    </a:cubicBezTo>
                    <a:cubicBezTo>
                      <a:pt x="470" y="344"/>
                      <a:pt x="470" y="344"/>
                      <a:pt x="470" y="344"/>
                    </a:cubicBezTo>
                    <a:cubicBezTo>
                      <a:pt x="470" y="341"/>
                      <a:pt x="470" y="341"/>
                      <a:pt x="470" y="341"/>
                    </a:cubicBezTo>
                    <a:cubicBezTo>
                      <a:pt x="480" y="331"/>
                      <a:pt x="480" y="331"/>
                      <a:pt x="480" y="331"/>
                    </a:cubicBezTo>
                    <a:cubicBezTo>
                      <a:pt x="485" y="329"/>
                      <a:pt x="485" y="329"/>
                      <a:pt x="485" y="329"/>
                    </a:cubicBezTo>
                    <a:cubicBezTo>
                      <a:pt x="486" y="330"/>
                      <a:pt x="486" y="330"/>
                      <a:pt x="486" y="330"/>
                    </a:cubicBezTo>
                    <a:cubicBezTo>
                      <a:pt x="486" y="338"/>
                      <a:pt x="486" y="338"/>
                      <a:pt x="486" y="338"/>
                    </a:cubicBezTo>
                    <a:close/>
                    <a:moveTo>
                      <a:pt x="489" y="338"/>
                    </a:moveTo>
                    <a:cubicBezTo>
                      <a:pt x="491" y="336"/>
                      <a:pt x="491" y="336"/>
                      <a:pt x="491" y="336"/>
                    </a:cubicBezTo>
                    <a:cubicBezTo>
                      <a:pt x="492" y="334"/>
                      <a:pt x="492" y="334"/>
                      <a:pt x="492" y="334"/>
                    </a:cubicBezTo>
                    <a:cubicBezTo>
                      <a:pt x="489" y="332"/>
                      <a:pt x="489" y="332"/>
                      <a:pt x="489" y="332"/>
                    </a:cubicBezTo>
                    <a:cubicBezTo>
                      <a:pt x="490" y="329"/>
                      <a:pt x="490" y="329"/>
                      <a:pt x="490" y="329"/>
                    </a:cubicBezTo>
                    <a:cubicBezTo>
                      <a:pt x="487" y="326"/>
                      <a:pt x="487" y="326"/>
                      <a:pt x="487" y="326"/>
                    </a:cubicBezTo>
                    <a:cubicBezTo>
                      <a:pt x="489" y="324"/>
                      <a:pt x="489" y="324"/>
                      <a:pt x="489" y="324"/>
                    </a:cubicBezTo>
                    <a:cubicBezTo>
                      <a:pt x="497" y="324"/>
                      <a:pt x="497" y="324"/>
                      <a:pt x="497" y="324"/>
                    </a:cubicBezTo>
                    <a:cubicBezTo>
                      <a:pt x="503" y="328"/>
                      <a:pt x="503" y="328"/>
                      <a:pt x="503" y="328"/>
                    </a:cubicBezTo>
                    <a:cubicBezTo>
                      <a:pt x="504" y="330"/>
                      <a:pt x="504" y="330"/>
                      <a:pt x="504" y="330"/>
                    </a:cubicBezTo>
                    <a:cubicBezTo>
                      <a:pt x="500" y="332"/>
                      <a:pt x="500" y="332"/>
                      <a:pt x="500" y="332"/>
                    </a:cubicBezTo>
                    <a:cubicBezTo>
                      <a:pt x="492" y="339"/>
                      <a:pt x="492" y="339"/>
                      <a:pt x="492" y="339"/>
                    </a:cubicBezTo>
                    <a:cubicBezTo>
                      <a:pt x="489" y="338"/>
                      <a:pt x="489" y="338"/>
                      <a:pt x="489" y="338"/>
                    </a:cubicBezTo>
                    <a:close/>
                    <a:moveTo>
                      <a:pt x="526" y="314"/>
                    </a:moveTo>
                    <a:cubicBezTo>
                      <a:pt x="528" y="313"/>
                      <a:pt x="528" y="313"/>
                      <a:pt x="528" y="313"/>
                    </a:cubicBezTo>
                    <a:cubicBezTo>
                      <a:pt x="533" y="313"/>
                      <a:pt x="533" y="313"/>
                      <a:pt x="533" y="313"/>
                    </a:cubicBezTo>
                    <a:cubicBezTo>
                      <a:pt x="535" y="316"/>
                      <a:pt x="535" y="316"/>
                      <a:pt x="535" y="316"/>
                    </a:cubicBezTo>
                    <a:cubicBezTo>
                      <a:pt x="534" y="318"/>
                      <a:pt x="534" y="318"/>
                      <a:pt x="534" y="318"/>
                    </a:cubicBezTo>
                    <a:cubicBezTo>
                      <a:pt x="531" y="319"/>
                      <a:pt x="531" y="319"/>
                      <a:pt x="531" y="319"/>
                    </a:cubicBezTo>
                    <a:cubicBezTo>
                      <a:pt x="526" y="314"/>
                      <a:pt x="526" y="314"/>
                      <a:pt x="526" y="314"/>
                    </a:cubicBezTo>
                    <a:close/>
                    <a:moveTo>
                      <a:pt x="723" y="493"/>
                    </a:moveTo>
                    <a:cubicBezTo>
                      <a:pt x="724" y="491"/>
                      <a:pt x="724" y="491"/>
                      <a:pt x="724" y="491"/>
                    </a:cubicBezTo>
                    <a:cubicBezTo>
                      <a:pt x="727" y="492"/>
                      <a:pt x="727" y="492"/>
                      <a:pt x="727" y="492"/>
                    </a:cubicBezTo>
                    <a:cubicBezTo>
                      <a:pt x="725" y="494"/>
                      <a:pt x="725" y="494"/>
                      <a:pt x="725" y="494"/>
                    </a:cubicBezTo>
                    <a:cubicBezTo>
                      <a:pt x="723" y="493"/>
                      <a:pt x="723" y="493"/>
                      <a:pt x="723" y="493"/>
                    </a:cubicBezTo>
                    <a:close/>
                    <a:moveTo>
                      <a:pt x="704" y="549"/>
                    </a:moveTo>
                    <a:cubicBezTo>
                      <a:pt x="707" y="547"/>
                      <a:pt x="707" y="547"/>
                      <a:pt x="707" y="547"/>
                    </a:cubicBezTo>
                    <a:cubicBezTo>
                      <a:pt x="710" y="548"/>
                      <a:pt x="710" y="548"/>
                      <a:pt x="710" y="548"/>
                    </a:cubicBezTo>
                    <a:cubicBezTo>
                      <a:pt x="704" y="549"/>
                      <a:pt x="704" y="549"/>
                      <a:pt x="704" y="549"/>
                    </a:cubicBezTo>
                    <a:close/>
                    <a:moveTo>
                      <a:pt x="746" y="539"/>
                    </a:moveTo>
                    <a:cubicBezTo>
                      <a:pt x="751" y="537"/>
                      <a:pt x="751" y="537"/>
                      <a:pt x="751" y="537"/>
                    </a:cubicBezTo>
                    <a:cubicBezTo>
                      <a:pt x="753" y="537"/>
                      <a:pt x="753" y="537"/>
                      <a:pt x="753" y="537"/>
                    </a:cubicBezTo>
                    <a:cubicBezTo>
                      <a:pt x="750" y="541"/>
                      <a:pt x="750" y="541"/>
                      <a:pt x="750" y="541"/>
                    </a:cubicBezTo>
                    <a:cubicBezTo>
                      <a:pt x="746" y="542"/>
                      <a:pt x="746" y="542"/>
                      <a:pt x="746" y="542"/>
                    </a:cubicBezTo>
                    <a:cubicBezTo>
                      <a:pt x="746" y="539"/>
                      <a:pt x="746" y="539"/>
                      <a:pt x="746" y="539"/>
                    </a:cubicBezTo>
                    <a:close/>
                    <a:moveTo>
                      <a:pt x="715" y="501"/>
                    </a:moveTo>
                    <a:cubicBezTo>
                      <a:pt x="716" y="498"/>
                      <a:pt x="716" y="498"/>
                      <a:pt x="716" y="498"/>
                    </a:cubicBezTo>
                    <a:cubicBezTo>
                      <a:pt x="719" y="499"/>
                      <a:pt x="719" y="499"/>
                      <a:pt x="719" y="499"/>
                    </a:cubicBezTo>
                    <a:cubicBezTo>
                      <a:pt x="719" y="501"/>
                      <a:pt x="719" y="501"/>
                      <a:pt x="719" y="501"/>
                    </a:cubicBezTo>
                    <a:cubicBezTo>
                      <a:pt x="715" y="501"/>
                      <a:pt x="715" y="501"/>
                      <a:pt x="715" y="501"/>
                    </a:cubicBezTo>
                    <a:close/>
                    <a:moveTo>
                      <a:pt x="720" y="516"/>
                    </a:moveTo>
                    <a:cubicBezTo>
                      <a:pt x="720" y="510"/>
                      <a:pt x="720" y="510"/>
                      <a:pt x="720" y="510"/>
                    </a:cubicBezTo>
                    <a:cubicBezTo>
                      <a:pt x="723" y="508"/>
                      <a:pt x="723" y="508"/>
                      <a:pt x="723" y="508"/>
                    </a:cubicBezTo>
                    <a:cubicBezTo>
                      <a:pt x="725" y="509"/>
                      <a:pt x="725" y="509"/>
                      <a:pt x="725" y="509"/>
                    </a:cubicBezTo>
                    <a:cubicBezTo>
                      <a:pt x="725" y="512"/>
                      <a:pt x="725" y="512"/>
                      <a:pt x="725" y="512"/>
                    </a:cubicBezTo>
                    <a:cubicBezTo>
                      <a:pt x="728" y="512"/>
                      <a:pt x="728" y="512"/>
                      <a:pt x="728" y="512"/>
                    </a:cubicBezTo>
                    <a:cubicBezTo>
                      <a:pt x="729" y="515"/>
                      <a:pt x="729" y="515"/>
                      <a:pt x="729" y="515"/>
                    </a:cubicBezTo>
                    <a:cubicBezTo>
                      <a:pt x="726" y="516"/>
                      <a:pt x="726" y="516"/>
                      <a:pt x="726" y="516"/>
                    </a:cubicBezTo>
                    <a:cubicBezTo>
                      <a:pt x="720" y="516"/>
                      <a:pt x="720" y="516"/>
                      <a:pt x="720" y="516"/>
                    </a:cubicBezTo>
                    <a:close/>
                    <a:moveTo>
                      <a:pt x="689" y="531"/>
                    </a:moveTo>
                    <a:cubicBezTo>
                      <a:pt x="692" y="530"/>
                      <a:pt x="692" y="530"/>
                      <a:pt x="692" y="530"/>
                    </a:cubicBezTo>
                    <a:cubicBezTo>
                      <a:pt x="694" y="529"/>
                      <a:pt x="694" y="529"/>
                      <a:pt x="694" y="529"/>
                    </a:cubicBezTo>
                    <a:cubicBezTo>
                      <a:pt x="694" y="527"/>
                      <a:pt x="694" y="527"/>
                      <a:pt x="694" y="527"/>
                    </a:cubicBezTo>
                    <a:cubicBezTo>
                      <a:pt x="701" y="521"/>
                      <a:pt x="701" y="521"/>
                      <a:pt x="701" y="521"/>
                    </a:cubicBezTo>
                    <a:cubicBezTo>
                      <a:pt x="705" y="520"/>
                      <a:pt x="705" y="520"/>
                      <a:pt x="705" y="520"/>
                    </a:cubicBezTo>
                    <a:cubicBezTo>
                      <a:pt x="709" y="516"/>
                      <a:pt x="709" y="516"/>
                      <a:pt x="709" y="516"/>
                    </a:cubicBezTo>
                    <a:cubicBezTo>
                      <a:pt x="710" y="516"/>
                      <a:pt x="710" y="516"/>
                      <a:pt x="710" y="516"/>
                    </a:cubicBezTo>
                    <a:cubicBezTo>
                      <a:pt x="714" y="511"/>
                      <a:pt x="714" y="511"/>
                      <a:pt x="714" y="511"/>
                    </a:cubicBezTo>
                    <a:cubicBezTo>
                      <a:pt x="715" y="513"/>
                      <a:pt x="715" y="513"/>
                      <a:pt x="715" y="513"/>
                    </a:cubicBezTo>
                    <a:cubicBezTo>
                      <a:pt x="714" y="515"/>
                      <a:pt x="714" y="515"/>
                      <a:pt x="714" y="515"/>
                    </a:cubicBezTo>
                    <a:cubicBezTo>
                      <a:pt x="716" y="517"/>
                      <a:pt x="716" y="517"/>
                      <a:pt x="716" y="517"/>
                    </a:cubicBezTo>
                    <a:cubicBezTo>
                      <a:pt x="713" y="518"/>
                      <a:pt x="713" y="518"/>
                      <a:pt x="713" y="518"/>
                    </a:cubicBezTo>
                    <a:cubicBezTo>
                      <a:pt x="709" y="520"/>
                      <a:pt x="709" y="520"/>
                      <a:pt x="709" y="520"/>
                    </a:cubicBezTo>
                    <a:cubicBezTo>
                      <a:pt x="703" y="526"/>
                      <a:pt x="703" y="526"/>
                      <a:pt x="703" y="526"/>
                    </a:cubicBezTo>
                    <a:cubicBezTo>
                      <a:pt x="700" y="527"/>
                      <a:pt x="700" y="527"/>
                      <a:pt x="700" y="527"/>
                    </a:cubicBezTo>
                    <a:cubicBezTo>
                      <a:pt x="701" y="530"/>
                      <a:pt x="701" y="530"/>
                      <a:pt x="701" y="530"/>
                    </a:cubicBezTo>
                    <a:cubicBezTo>
                      <a:pt x="700" y="532"/>
                      <a:pt x="700" y="532"/>
                      <a:pt x="700" y="532"/>
                    </a:cubicBezTo>
                    <a:cubicBezTo>
                      <a:pt x="695" y="531"/>
                      <a:pt x="695" y="531"/>
                      <a:pt x="695" y="531"/>
                    </a:cubicBezTo>
                    <a:cubicBezTo>
                      <a:pt x="693" y="532"/>
                      <a:pt x="693" y="532"/>
                      <a:pt x="693" y="532"/>
                    </a:cubicBezTo>
                    <a:cubicBezTo>
                      <a:pt x="689" y="532"/>
                      <a:pt x="689" y="532"/>
                      <a:pt x="689" y="532"/>
                    </a:cubicBezTo>
                    <a:cubicBezTo>
                      <a:pt x="689" y="531"/>
                      <a:pt x="689" y="531"/>
                      <a:pt x="689" y="531"/>
                    </a:cubicBezTo>
                    <a:close/>
                    <a:moveTo>
                      <a:pt x="689" y="524"/>
                    </a:moveTo>
                    <a:cubicBezTo>
                      <a:pt x="694" y="520"/>
                      <a:pt x="694" y="520"/>
                      <a:pt x="694" y="520"/>
                    </a:cubicBezTo>
                    <a:cubicBezTo>
                      <a:pt x="694" y="522"/>
                      <a:pt x="694" y="522"/>
                      <a:pt x="694" y="522"/>
                    </a:cubicBezTo>
                    <a:cubicBezTo>
                      <a:pt x="690" y="524"/>
                      <a:pt x="690" y="524"/>
                      <a:pt x="690" y="524"/>
                    </a:cubicBezTo>
                    <a:cubicBezTo>
                      <a:pt x="689" y="524"/>
                      <a:pt x="689" y="524"/>
                      <a:pt x="689" y="524"/>
                    </a:cubicBezTo>
                    <a:close/>
                    <a:moveTo>
                      <a:pt x="698" y="515"/>
                    </a:moveTo>
                    <a:cubicBezTo>
                      <a:pt x="704" y="509"/>
                      <a:pt x="704" y="509"/>
                      <a:pt x="704" y="509"/>
                    </a:cubicBezTo>
                    <a:cubicBezTo>
                      <a:pt x="704" y="507"/>
                      <a:pt x="704" y="507"/>
                      <a:pt x="704" y="507"/>
                    </a:cubicBezTo>
                    <a:cubicBezTo>
                      <a:pt x="706" y="505"/>
                      <a:pt x="706" y="505"/>
                      <a:pt x="706" y="505"/>
                    </a:cubicBezTo>
                    <a:cubicBezTo>
                      <a:pt x="709" y="505"/>
                      <a:pt x="709" y="505"/>
                      <a:pt x="709" y="505"/>
                    </a:cubicBezTo>
                    <a:cubicBezTo>
                      <a:pt x="710" y="506"/>
                      <a:pt x="710" y="506"/>
                      <a:pt x="710" y="506"/>
                    </a:cubicBezTo>
                    <a:cubicBezTo>
                      <a:pt x="707" y="509"/>
                      <a:pt x="707" y="509"/>
                      <a:pt x="707" y="509"/>
                    </a:cubicBezTo>
                    <a:cubicBezTo>
                      <a:pt x="705" y="511"/>
                      <a:pt x="705" y="511"/>
                      <a:pt x="705" y="511"/>
                    </a:cubicBezTo>
                    <a:cubicBezTo>
                      <a:pt x="702" y="515"/>
                      <a:pt x="702" y="515"/>
                      <a:pt x="702" y="515"/>
                    </a:cubicBezTo>
                    <a:cubicBezTo>
                      <a:pt x="701" y="517"/>
                      <a:pt x="701" y="517"/>
                      <a:pt x="701" y="517"/>
                    </a:cubicBezTo>
                    <a:cubicBezTo>
                      <a:pt x="699" y="516"/>
                      <a:pt x="699" y="516"/>
                      <a:pt x="699" y="516"/>
                    </a:cubicBezTo>
                    <a:cubicBezTo>
                      <a:pt x="698" y="515"/>
                      <a:pt x="698" y="515"/>
                      <a:pt x="698" y="515"/>
                    </a:cubicBezTo>
                    <a:close/>
                    <a:moveTo>
                      <a:pt x="704" y="491"/>
                    </a:moveTo>
                    <a:cubicBezTo>
                      <a:pt x="706" y="488"/>
                      <a:pt x="706" y="488"/>
                      <a:pt x="706" y="488"/>
                    </a:cubicBezTo>
                    <a:cubicBezTo>
                      <a:pt x="709" y="489"/>
                      <a:pt x="709" y="489"/>
                      <a:pt x="709" y="489"/>
                    </a:cubicBezTo>
                    <a:cubicBezTo>
                      <a:pt x="708" y="491"/>
                      <a:pt x="708" y="491"/>
                      <a:pt x="708" y="491"/>
                    </a:cubicBezTo>
                    <a:cubicBezTo>
                      <a:pt x="708" y="493"/>
                      <a:pt x="708" y="493"/>
                      <a:pt x="708" y="493"/>
                    </a:cubicBezTo>
                    <a:cubicBezTo>
                      <a:pt x="707" y="495"/>
                      <a:pt x="707" y="495"/>
                      <a:pt x="707" y="495"/>
                    </a:cubicBezTo>
                    <a:cubicBezTo>
                      <a:pt x="704" y="491"/>
                      <a:pt x="704" y="491"/>
                      <a:pt x="704" y="491"/>
                    </a:cubicBezTo>
                    <a:close/>
                    <a:moveTo>
                      <a:pt x="472" y="233"/>
                    </a:moveTo>
                    <a:cubicBezTo>
                      <a:pt x="475" y="232"/>
                      <a:pt x="475" y="232"/>
                      <a:pt x="475" y="232"/>
                    </a:cubicBezTo>
                    <a:cubicBezTo>
                      <a:pt x="478" y="233"/>
                      <a:pt x="478" y="233"/>
                      <a:pt x="478" y="233"/>
                    </a:cubicBezTo>
                    <a:cubicBezTo>
                      <a:pt x="475" y="236"/>
                      <a:pt x="475" y="236"/>
                      <a:pt x="475" y="236"/>
                    </a:cubicBezTo>
                    <a:cubicBezTo>
                      <a:pt x="472" y="233"/>
                      <a:pt x="472" y="233"/>
                      <a:pt x="472" y="233"/>
                    </a:cubicBezTo>
                    <a:close/>
                    <a:moveTo>
                      <a:pt x="398" y="310"/>
                    </a:moveTo>
                    <a:cubicBezTo>
                      <a:pt x="401" y="306"/>
                      <a:pt x="401" y="306"/>
                      <a:pt x="401" y="306"/>
                    </a:cubicBezTo>
                    <a:cubicBezTo>
                      <a:pt x="400" y="301"/>
                      <a:pt x="400" y="301"/>
                      <a:pt x="400" y="301"/>
                    </a:cubicBezTo>
                    <a:cubicBezTo>
                      <a:pt x="396" y="299"/>
                      <a:pt x="396" y="299"/>
                      <a:pt x="396" y="299"/>
                    </a:cubicBezTo>
                    <a:cubicBezTo>
                      <a:pt x="397" y="294"/>
                      <a:pt x="397" y="294"/>
                      <a:pt x="397" y="294"/>
                    </a:cubicBezTo>
                    <a:cubicBezTo>
                      <a:pt x="395" y="288"/>
                      <a:pt x="395" y="288"/>
                      <a:pt x="395" y="288"/>
                    </a:cubicBezTo>
                    <a:cubicBezTo>
                      <a:pt x="391" y="285"/>
                      <a:pt x="391" y="285"/>
                      <a:pt x="391" y="285"/>
                    </a:cubicBezTo>
                    <a:cubicBezTo>
                      <a:pt x="385" y="285"/>
                      <a:pt x="385" y="285"/>
                      <a:pt x="385" y="285"/>
                    </a:cubicBezTo>
                    <a:cubicBezTo>
                      <a:pt x="383" y="288"/>
                      <a:pt x="383" y="288"/>
                      <a:pt x="383" y="288"/>
                    </a:cubicBezTo>
                    <a:cubicBezTo>
                      <a:pt x="380" y="288"/>
                      <a:pt x="380" y="288"/>
                      <a:pt x="380" y="288"/>
                    </a:cubicBezTo>
                    <a:cubicBezTo>
                      <a:pt x="376" y="284"/>
                      <a:pt x="376" y="284"/>
                      <a:pt x="376" y="284"/>
                    </a:cubicBezTo>
                    <a:cubicBezTo>
                      <a:pt x="376" y="279"/>
                      <a:pt x="376" y="279"/>
                      <a:pt x="376" y="279"/>
                    </a:cubicBezTo>
                    <a:cubicBezTo>
                      <a:pt x="385" y="271"/>
                      <a:pt x="385" y="271"/>
                      <a:pt x="385" y="271"/>
                    </a:cubicBezTo>
                    <a:cubicBezTo>
                      <a:pt x="388" y="264"/>
                      <a:pt x="388" y="264"/>
                      <a:pt x="388" y="264"/>
                    </a:cubicBezTo>
                    <a:cubicBezTo>
                      <a:pt x="390" y="264"/>
                      <a:pt x="390" y="264"/>
                      <a:pt x="390" y="264"/>
                    </a:cubicBezTo>
                    <a:cubicBezTo>
                      <a:pt x="390" y="271"/>
                      <a:pt x="390" y="271"/>
                      <a:pt x="390" y="271"/>
                    </a:cubicBezTo>
                    <a:cubicBezTo>
                      <a:pt x="388" y="273"/>
                      <a:pt x="388" y="273"/>
                      <a:pt x="388" y="273"/>
                    </a:cubicBezTo>
                    <a:cubicBezTo>
                      <a:pt x="393" y="275"/>
                      <a:pt x="393" y="275"/>
                      <a:pt x="393" y="275"/>
                    </a:cubicBezTo>
                    <a:cubicBezTo>
                      <a:pt x="393" y="278"/>
                      <a:pt x="393" y="278"/>
                      <a:pt x="393" y="278"/>
                    </a:cubicBezTo>
                    <a:cubicBezTo>
                      <a:pt x="398" y="278"/>
                      <a:pt x="398" y="278"/>
                      <a:pt x="398" y="278"/>
                    </a:cubicBezTo>
                    <a:cubicBezTo>
                      <a:pt x="400" y="276"/>
                      <a:pt x="400" y="276"/>
                      <a:pt x="400" y="276"/>
                    </a:cubicBezTo>
                    <a:cubicBezTo>
                      <a:pt x="407" y="277"/>
                      <a:pt x="407" y="277"/>
                      <a:pt x="407" y="277"/>
                    </a:cubicBezTo>
                    <a:cubicBezTo>
                      <a:pt x="411" y="281"/>
                      <a:pt x="411" y="281"/>
                      <a:pt x="411" y="281"/>
                    </a:cubicBezTo>
                    <a:cubicBezTo>
                      <a:pt x="410" y="283"/>
                      <a:pt x="410" y="283"/>
                      <a:pt x="410" y="283"/>
                    </a:cubicBezTo>
                    <a:cubicBezTo>
                      <a:pt x="408" y="285"/>
                      <a:pt x="408" y="285"/>
                      <a:pt x="408" y="285"/>
                    </a:cubicBezTo>
                    <a:cubicBezTo>
                      <a:pt x="410" y="290"/>
                      <a:pt x="410" y="290"/>
                      <a:pt x="410" y="290"/>
                    </a:cubicBezTo>
                    <a:cubicBezTo>
                      <a:pt x="414" y="292"/>
                      <a:pt x="414" y="292"/>
                      <a:pt x="414" y="292"/>
                    </a:cubicBezTo>
                    <a:cubicBezTo>
                      <a:pt x="414" y="296"/>
                      <a:pt x="414" y="296"/>
                      <a:pt x="414" y="296"/>
                    </a:cubicBezTo>
                    <a:cubicBezTo>
                      <a:pt x="421" y="302"/>
                      <a:pt x="421" y="302"/>
                      <a:pt x="421" y="302"/>
                    </a:cubicBezTo>
                    <a:cubicBezTo>
                      <a:pt x="422" y="306"/>
                      <a:pt x="422" y="306"/>
                      <a:pt x="422" y="306"/>
                    </a:cubicBezTo>
                    <a:cubicBezTo>
                      <a:pt x="419" y="308"/>
                      <a:pt x="419" y="308"/>
                      <a:pt x="419" y="308"/>
                    </a:cubicBezTo>
                    <a:cubicBezTo>
                      <a:pt x="414" y="305"/>
                      <a:pt x="414" y="305"/>
                      <a:pt x="414" y="305"/>
                    </a:cubicBezTo>
                    <a:cubicBezTo>
                      <a:pt x="412" y="306"/>
                      <a:pt x="412" y="306"/>
                      <a:pt x="412" y="306"/>
                    </a:cubicBezTo>
                    <a:cubicBezTo>
                      <a:pt x="410" y="308"/>
                      <a:pt x="410" y="308"/>
                      <a:pt x="410" y="308"/>
                    </a:cubicBezTo>
                    <a:cubicBezTo>
                      <a:pt x="406" y="308"/>
                      <a:pt x="406" y="308"/>
                      <a:pt x="406" y="308"/>
                    </a:cubicBezTo>
                    <a:cubicBezTo>
                      <a:pt x="401" y="312"/>
                      <a:pt x="401" y="312"/>
                      <a:pt x="401" y="312"/>
                    </a:cubicBezTo>
                    <a:cubicBezTo>
                      <a:pt x="398" y="310"/>
                      <a:pt x="398" y="310"/>
                      <a:pt x="398" y="310"/>
                    </a:cubicBezTo>
                    <a:close/>
                    <a:moveTo>
                      <a:pt x="372" y="436"/>
                    </a:moveTo>
                    <a:cubicBezTo>
                      <a:pt x="377" y="436"/>
                      <a:pt x="377" y="436"/>
                      <a:pt x="377" y="436"/>
                    </a:cubicBezTo>
                    <a:cubicBezTo>
                      <a:pt x="381" y="437"/>
                      <a:pt x="381" y="437"/>
                      <a:pt x="381" y="437"/>
                    </a:cubicBezTo>
                    <a:cubicBezTo>
                      <a:pt x="385" y="437"/>
                      <a:pt x="385" y="437"/>
                      <a:pt x="385" y="437"/>
                    </a:cubicBezTo>
                    <a:cubicBezTo>
                      <a:pt x="388" y="438"/>
                      <a:pt x="388" y="438"/>
                      <a:pt x="388" y="438"/>
                    </a:cubicBezTo>
                    <a:cubicBezTo>
                      <a:pt x="392" y="435"/>
                      <a:pt x="392" y="435"/>
                      <a:pt x="392" y="435"/>
                    </a:cubicBezTo>
                    <a:cubicBezTo>
                      <a:pt x="398" y="434"/>
                      <a:pt x="398" y="434"/>
                      <a:pt x="398" y="434"/>
                    </a:cubicBezTo>
                    <a:cubicBezTo>
                      <a:pt x="397" y="436"/>
                      <a:pt x="397" y="436"/>
                      <a:pt x="397" y="436"/>
                    </a:cubicBezTo>
                    <a:cubicBezTo>
                      <a:pt x="402" y="439"/>
                      <a:pt x="402" y="439"/>
                      <a:pt x="402" y="439"/>
                    </a:cubicBezTo>
                    <a:cubicBezTo>
                      <a:pt x="402" y="442"/>
                      <a:pt x="402" y="442"/>
                      <a:pt x="402" y="442"/>
                    </a:cubicBezTo>
                    <a:cubicBezTo>
                      <a:pt x="399" y="448"/>
                      <a:pt x="399" y="448"/>
                      <a:pt x="399" y="448"/>
                    </a:cubicBezTo>
                    <a:cubicBezTo>
                      <a:pt x="397" y="452"/>
                      <a:pt x="397" y="452"/>
                      <a:pt x="397" y="452"/>
                    </a:cubicBezTo>
                    <a:cubicBezTo>
                      <a:pt x="392" y="452"/>
                      <a:pt x="392" y="452"/>
                      <a:pt x="392" y="452"/>
                    </a:cubicBezTo>
                    <a:cubicBezTo>
                      <a:pt x="388" y="451"/>
                      <a:pt x="388" y="451"/>
                      <a:pt x="388" y="451"/>
                    </a:cubicBezTo>
                    <a:cubicBezTo>
                      <a:pt x="385" y="453"/>
                      <a:pt x="385" y="453"/>
                      <a:pt x="385" y="453"/>
                    </a:cubicBezTo>
                    <a:cubicBezTo>
                      <a:pt x="382" y="450"/>
                      <a:pt x="382" y="450"/>
                      <a:pt x="382" y="450"/>
                    </a:cubicBezTo>
                    <a:cubicBezTo>
                      <a:pt x="378" y="450"/>
                      <a:pt x="378" y="450"/>
                      <a:pt x="378" y="450"/>
                    </a:cubicBezTo>
                    <a:cubicBezTo>
                      <a:pt x="374" y="443"/>
                      <a:pt x="374" y="443"/>
                      <a:pt x="374" y="443"/>
                    </a:cubicBezTo>
                    <a:cubicBezTo>
                      <a:pt x="372" y="436"/>
                      <a:pt x="372" y="436"/>
                      <a:pt x="372" y="436"/>
                    </a:cubicBezTo>
                    <a:close/>
                    <a:moveTo>
                      <a:pt x="627" y="493"/>
                    </a:moveTo>
                    <a:cubicBezTo>
                      <a:pt x="632" y="488"/>
                      <a:pt x="632" y="488"/>
                      <a:pt x="632" y="488"/>
                    </a:cubicBezTo>
                    <a:cubicBezTo>
                      <a:pt x="635" y="487"/>
                      <a:pt x="635" y="487"/>
                      <a:pt x="635" y="487"/>
                    </a:cubicBezTo>
                    <a:cubicBezTo>
                      <a:pt x="636" y="490"/>
                      <a:pt x="636" y="490"/>
                      <a:pt x="636" y="490"/>
                    </a:cubicBezTo>
                    <a:cubicBezTo>
                      <a:pt x="631" y="493"/>
                      <a:pt x="631" y="493"/>
                      <a:pt x="631" y="493"/>
                    </a:cubicBezTo>
                    <a:cubicBezTo>
                      <a:pt x="627" y="493"/>
                      <a:pt x="627" y="493"/>
                      <a:pt x="627" y="493"/>
                    </a:cubicBezTo>
                    <a:close/>
                    <a:moveTo>
                      <a:pt x="587" y="520"/>
                    </a:moveTo>
                    <a:cubicBezTo>
                      <a:pt x="590" y="519"/>
                      <a:pt x="590" y="519"/>
                      <a:pt x="590" y="519"/>
                    </a:cubicBezTo>
                    <a:cubicBezTo>
                      <a:pt x="593" y="520"/>
                      <a:pt x="593" y="520"/>
                      <a:pt x="593" y="520"/>
                    </a:cubicBezTo>
                    <a:cubicBezTo>
                      <a:pt x="590" y="521"/>
                      <a:pt x="590" y="521"/>
                      <a:pt x="590" y="521"/>
                    </a:cubicBezTo>
                    <a:cubicBezTo>
                      <a:pt x="587" y="520"/>
                      <a:pt x="587" y="520"/>
                      <a:pt x="587" y="520"/>
                    </a:cubicBezTo>
                    <a:close/>
                    <a:moveTo>
                      <a:pt x="587" y="551"/>
                    </a:moveTo>
                    <a:cubicBezTo>
                      <a:pt x="589" y="551"/>
                      <a:pt x="589" y="551"/>
                      <a:pt x="589" y="551"/>
                    </a:cubicBezTo>
                    <a:cubicBezTo>
                      <a:pt x="591" y="551"/>
                      <a:pt x="591" y="551"/>
                      <a:pt x="591" y="551"/>
                    </a:cubicBezTo>
                    <a:cubicBezTo>
                      <a:pt x="591" y="554"/>
                      <a:pt x="591" y="554"/>
                      <a:pt x="591" y="554"/>
                    </a:cubicBezTo>
                    <a:cubicBezTo>
                      <a:pt x="588" y="556"/>
                      <a:pt x="588" y="556"/>
                      <a:pt x="588" y="556"/>
                    </a:cubicBezTo>
                    <a:cubicBezTo>
                      <a:pt x="586" y="554"/>
                      <a:pt x="586" y="554"/>
                      <a:pt x="586" y="554"/>
                    </a:cubicBezTo>
                    <a:cubicBezTo>
                      <a:pt x="587" y="551"/>
                      <a:pt x="587" y="551"/>
                      <a:pt x="587" y="551"/>
                    </a:cubicBezTo>
                    <a:close/>
                    <a:moveTo>
                      <a:pt x="571" y="569"/>
                    </a:moveTo>
                    <a:cubicBezTo>
                      <a:pt x="571" y="567"/>
                      <a:pt x="571" y="567"/>
                      <a:pt x="571" y="567"/>
                    </a:cubicBezTo>
                    <a:cubicBezTo>
                      <a:pt x="572" y="566"/>
                      <a:pt x="572" y="566"/>
                      <a:pt x="572" y="566"/>
                    </a:cubicBezTo>
                    <a:cubicBezTo>
                      <a:pt x="575" y="567"/>
                      <a:pt x="575" y="567"/>
                      <a:pt x="575" y="567"/>
                    </a:cubicBezTo>
                    <a:cubicBezTo>
                      <a:pt x="576" y="565"/>
                      <a:pt x="576" y="565"/>
                      <a:pt x="576" y="565"/>
                    </a:cubicBezTo>
                    <a:cubicBezTo>
                      <a:pt x="579" y="566"/>
                      <a:pt x="579" y="566"/>
                      <a:pt x="579" y="566"/>
                    </a:cubicBezTo>
                    <a:cubicBezTo>
                      <a:pt x="581" y="563"/>
                      <a:pt x="581" y="563"/>
                      <a:pt x="581" y="563"/>
                    </a:cubicBezTo>
                    <a:cubicBezTo>
                      <a:pt x="579" y="561"/>
                      <a:pt x="579" y="561"/>
                      <a:pt x="579" y="561"/>
                    </a:cubicBezTo>
                    <a:cubicBezTo>
                      <a:pt x="581" y="559"/>
                      <a:pt x="581" y="559"/>
                      <a:pt x="581" y="559"/>
                    </a:cubicBezTo>
                    <a:cubicBezTo>
                      <a:pt x="584" y="558"/>
                      <a:pt x="584" y="558"/>
                      <a:pt x="584" y="558"/>
                    </a:cubicBezTo>
                    <a:cubicBezTo>
                      <a:pt x="587" y="559"/>
                      <a:pt x="587" y="559"/>
                      <a:pt x="587" y="559"/>
                    </a:cubicBezTo>
                    <a:cubicBezTo>
                      <a:pt x="586" y="562"/>
                      <a:pt x="586" y="562"/>
                      <a:pt x="586" y="562"/>
                    </a:cubicBezTo>
                    <a:cubicBezTo>
                      <a:pt x="588" y="562"/>
                      <a:pt x="588" y="562"/>
                      <a:pt x="588" y="562"/>
                    </a:cubicBezTo>
                    <a:cubicBezTo>
                      <a:pt x="589" y="561"/>
                      <a:pt x="589" y="561"/>
                      <a:pt x="589" y="561"/>
                    </a:cubicBezTo>
                    <a:cubicBezTo>
                      <a:pt x="591" y="560"/>
                      <a:pt x="591" y="560"/>
                      <a:pt x="591" y="560"/>
                    </a:cubicBezTo>
                    <a:cubicBezTo>
                      <a:pt x="592" y="563"/>
                      <a:pt x="592" y="563"/>
                      <a:pt x="592" y="563"/>
                    </a:cubicBezTo>
                    <a:cubicBezTo>
                      <a:pt x="591" y="564"/>
                      <a:pt x="591" y="564"/>
                      <a:pt x="591" y="564"/>
                    </a:cubicBezTo>
                    <a:cubicBezTo>
                      <a:pt x="589" y="567"/>
                      <a:pt x="589" y="567"/>
                      <a:pt x="589" y="567"/>
                    </a:cubicBezTo>
                    <a:cubicBezTo>
                      <a:pt x="591" y="568"/>
                      <a:pt x="591" y="568"/>
                      <a:pt x="591" y="568"/>
                    </a:cubicBezTo>
                    <a:cubicBezTo>
                      <a:pt x="593" y="570"/>
                      <a:pt x="593" y="570"/>
                      <a:pt x="593" y="570"/>
                    </a:cubicBezTo>
                    <a:cubicBezTo>
                      <a:pt x="590" y="571"/>
                      <a:pt x="590" y="571"/>
                      <a:pt x="590" y="571"/>
                    </a:cubicBezTo>
                    <a:cubicBezTo>
                      <a:pt x="588" y="569"/>
                      <a:pt x="588" y="569"/>
                      <a:pt x="588" y="569"/>
                    </a:cubicBezTo>
                    <a:cubicBezTo>
                      <a:pt x="585" y="572"/>
                      <a:pt x="585" y="572"/>
                      <a:pt x="585" y="572"/>
                    </a:cubicBezTo>
                    <a:cubicBezTo>
                      <a:pt x="583" y="572"/>
                      <a:pt x="583" y="572"/>
                      <a:pt x="583" y="572"/>
                    </a:cubicBezTo>
                    <a:cubicBezTo>
                      <a:pt x="582" y="570"/>
                      <a:pt x="582" y="570"/>
                      <a:pt x="582" y="570"/>
                    </a:cubicBezTo>
                    <a:cubicBezTo>
                      <a:pt x="578" y="573"/>
                      <a:pt x="578" y="573"/>
                      <a:pt x="578" y="573"/>
                    </a:cubicBezTo>
                    <a:cubicBezTo>
                      <a:pt x="576" y="573"/>
                      <a:pt x="576" y="573"/>
                      <a:pt x="576" y="573"/>
                    </a:cubicBezTo>
                    <a:cubicBezTo>
                      <a:pt x="571" y="569"/>
                      <a:pt x="571" y="569"/>
                      <a:pt x="571" y="569"/>
                    </a:cubicBezTo>
                    <a:close/>
                    <a:moveTo>
                      <a:pt x="531" y="608"/>
                    </a:moveTo>
                    <a:cubicBezTo>
                      <a:pt x="531" y="610"/>
                      <a:pt x="531" y="610"/>
                      <a:pt x="531" y="610"/>
                    </a:cubicBezTo>
                    <a:cubicBezTo>
                      <a:pt x="528" y="610"/>
                      <a:pt x="528" y="610"/>
                      <a:pt x="528" y="610"/>
                    </a:cubicBezTo>
                    <a:cubicBezTo>
                      <a:pt x="526" y="609"/>
                      <a:pt x="526" y="609"/>
                      <a:pt x="526" y="609"/>
                    </a:cubicBezTo>
                    <a:cubicBezTo>
                      <a:pt x="525" y="605"/>
                      <a:pt x="525" y="605"/>
                      <a:pt x="525" y="605"/>
                    </a:cubicBezTo>
                    <a:cubicBezTo>
                      <a:pt x="527" y="603"/>
                      <a:pt x="527" y="603"/>
                      <a:pt x="527" y="603"/>
                    </a:cubicBezTo>
                    <a:cubicBezTo>
                      <a:pt x="528" y="599"/>
                      <a:pt x="528" y="599"/>
                      <a:pt x="528" y="599"/>
                    </a:cubicBezTo>
                    <a:cubicBezTo>
                      <a:pt x="528" y="595"/>
                      <a:pt x="528" y="595"/>
                      <a:pt x="528" y="595"/>
                    </a:cubicBezTo>
                    <a:cubicBezTo>
                      <a:pt x="527" y="593"/>
                      <a:pt x="527" y="593"/>
                      <a:pt x="527" y="593"/>
                    </a:cubicBezTo>
                    <a:cubicBezTo>
                      <a:pt x="528" y="591"/>
                      <a:pt x="528" y="591"/>
                      <a:pt x="528" y="591"/>
                    </a:cubicBezTo>
                    <a:cubicBezTo>
                      <a:pt x="533" y="587"/>
                      <a:pt x="533" y="587"/>
                      <a:pt x="533" y="587"/>
                    </a:cubicBezTo>
                    <a:cubicBezTo>
                      <a:pt x="541" y="583"/>
                      <a:pt x="541" y="583"/>
                      <a:pt x="541" y="583"/>
                    </a:cubicBezTo>
                    <a:cubicBezTo>
                      <a:pt x="546" y="582"/>
                      <a:pt x="546" y="582"/>
                      <a:pt x="546" y="582"/>
                    </a:cubicBezTo>
                    <a:cubicBezTo>
                      <a:pt x="547" y="583"/>
                      <a:pt x="547" y="583"/>
                      <a:pt x="547" y="583"/>
                    </a:cubicBezTo>
                    <a:cubicBezTo>
                      <a:pt x="547" y="590"/>
                      <a:pt x="547" y="590"/>
                      <a:pt x="547" y="590"/>
                    </a:cubicBezTo>
                    <a:cubicBezTo>
                      <a:pt x="549" y="591"/>
                      <a:pt x="549" y="591"/>
                      <a:pt x="549" y="591"/>
                    </a:cubicBezTo>
                    <a:cubicBezTo>
                      <a:pt x="552" y="587"/>
                      <a:pt x="552" y="587"/>
                      <a:pt x="552" y="587"/>
                    </a:cubicBezTo>
                    <a:cubicBezTo>
                      <a:pt x="551" y="584"/>
                      <a:pt x="551" y="584"/>
                      <a:pt x="551" y="584"/>
                    </a:cubicBezTo>
                    <a:cubicBezTo>
                      <a:pt x="552" y="583"/>
                      <a:pt x="552" y="583"/>
                      <a:pt x="552" y="583"/>
                    </a:cubicBezTo>
                    <a:cubicBezTo>
                      <a:pt x="554" y="585"/>
                      <a:pt x="554" y="585"/>
                      <a:pt x="554" y="585"/>
                    </a:cubicBezTo>
                    <a:cubicBezTo>
                      <a:pt x="555" y="582"/>
                      <a:pt x="555" y="582"/>
                      <a:pt x="555" y="582"/>
                    </a:cubicBezTo>
                    <a:cubicBezTo>
                      <a:pt x="552" y="580"/>
                      <a:pt x="552" y="580"/>
                      <a:pt x="552" y="580"/>
                    </a:cubicBezTo>
                    <a:cubicBezTo>
                      <a:pt x="551" y="578"/>
                      <a:pt x="551" y="578"/>
                      <a:pt x="551" y="578"/>
                    </a:cubicBezTo>
                    <a:cubicBezTo>
                      <a:pt x="555" y="574"/>
                      <a:pt x="555" y="574"/>
                      <a:pt x="555" y="574"/>
                    </a:cubicBezTo>
                    <a:cubicBezTo>
                      <a:pt x="557" y="574"/>
                      <a:pt x="557" y="574"/>
                      <a:pt x="557" y="574"/>
                    </a:cubicBezTo>
                    <a:cubicBezTo>
                      <a:pt x="560" y="576"/>
                      <a:pt x="560" y="576"/>
                      <a:pt x="560" y="576"/>
                    </a:cubicBezTo>
                    <a:cubicBezTo>
                      <a:pt x="560" y="579"/>
                      <a:pt x="560" y="579"/>
                      <a:pt x="560" y="579"/>
                    </a:cubicBezTo>
                    <a:cubicBezTo>
                      <a:pt x="558" y="581"/>
                      <a:pt x="558" y="581"/>
                      <a:pt x="558" y="581"/>
                    </a:cubicBezTo>
                    <a:cubicBezTo>
                      <a:pt x="558" y="584"/>
                      <a:pt x="558" y="584"/>
                      <a:pt x="558" y="584"/>
                    </a:cubicBezTo>
                    <a:cubicBezTo>
                      <a:pt x="561" y="583"/>
                      <a:pt x="561" y="583"/>
                      <a:pt x="561" y="583"/>
                    </a:cubicBezTo>
                    <a:cubicBezTo>
                      <a:pt x="562" y="580"/>
                      <a:pt x="562" y="580"/>
                      <a:pt x="562" y="580"/>
                    </a:cubicBezTo>
                    <a:cubicBezTo>
                      <a:pt x="564" y="579"/>
                      <a:pt x="564" y="579"/>
                      <a:pt x="564" y="579"/>
                    </a:cubicBezTo>
                    <a:cubicBezTo>
                      <a:pt x="566" y="580"/>
                      <a:pt x="566" y="580"/>
                      <a:pt x="566" y="580"/>
                    </a:cubicBezTo>
                    <a:cubicBezTo>
                      <a:pt x="566" y="577"/>
                      <a:pt x="566" y="577"/>
                      <a:pt x="566" y="577"/>
                    </a:cubicBezTo>
                    <a:cubicBezTo>
                      <a:pt x="565" y="575"/>
                      <a:pt x="565" y="575"/>
                      <a:pt x="565" y="575"/>
                    </a:cubicBezTo>
                    <a:cubicBezTo>
                      <a:pt x="567" y="574"/>
                      <a:pt x="567" y="574"/>
                      <a:pt x="567" y="574"/>
                    </a:cubicBezTo>
                    <a:cubicBezTo>
                      <a:pt x="571" y="576"/>
                      <a:pt x="571" y="576"/>
                      <a:pt x="571" y="576"/>
                    </a:cubicBezTo>
                    <a:cubicBezTo>
                      <a:pt x="571" y="579"/>
                      <a:pt x="571" y="579"/>
                      <a:pt x="571" y="579"/>
                    </a:cubicBezTo>
                    <a:cubicBezTo>
                      <a:pt x="569" y="580"/>
                      <a:pt x="569" y="580"/>
                      <a:pt x="569" y="580"/>
                    </a:cubicBezTo>
                    <a:cubicBezTo>
                      <a:pt x="569" y="581"/>
                      <a:pt x="569" y="581"/>
                      <a:pt x="569" y="581"/>
                    </a:cubicBezTo>
                    <a:cubicBezTo>
                      <a:pt x="571" y="582"/>
                      <a:pt x="571" y="582"/>
                      <a:pt x="571" y="582"/>
                    </a:cubicBezTo>
                    <a:cubicBezTo>
                      <a:pt x="575" y="578"/>
                      <a:pt x="575" y="578"/>
                      <a:pt x="575" y="578"/>
                    </a:cubicBezTo>
                    <a:cubicBezTo>
                      <a:pt x="578" y="577"/>
                      <a:pt x="578" y="577"/>
                      <a:pt x="578" y="577"/>
                    </a:cubicBezTo>
                    <a:cubicBezTo>
                      <a:pt x="581" y="578"/>
                      <a:pt x="581" y="578"/>
                      <a:pt x="581" y="578"/>
                    </a:cubicBezTo>
                    <a:cubicBezTo>
                      <a:pt x="582" y="582"/>
                      <a:pt x="582" y="582"/>
                      <a:pt x="582" y="582"/>
                    </a:cubicBezTo>
                    <a:cubicBezTo>
                      <a:pt x="579" y="583"/>
                      <a:pt x="579" y="583"/>
                      <a:pt x="579" y="583"/>
                    </a:cubicBezTo>
                    <a:cubicBezTo>
                      <a:pt x="575" y="583"/>
                      <a:pt x="575" y="583"/>
                      <a:pt x="575" y="583"/>
                    </a:cubicBezTo>
                    <a:cubicBezTo>
                      <a:pt x="575" y="585"/>
                      <a:pt x="575" y="585"/>
                      <a:pt x="575" y="585"/>
                    </a:cubicBezTo>
                    <a:cubicBezTo>
                      <a:pt x="577" y="586"/>
                      <a:pt x="577" y="586"/>
                      <a:pt x="577" y="586"/>
                    </a:cubicBezTo>
                    <a:cubicBezTo>
                      <a:pt x="578" y="589"/>
                      <a:pt x="578" y="589"/>
                      <a:pt x="578" y="589"/>
                    </a:cubicBezTo>
                    <a:cubicBezTo>
                      <a:pt x="576" y="592"/>
                      <a:pt x="576" y="592"/>
                      <a:pt x="576" y="592"/>
                    </a:cubicBezTo>
                    <a:cubicBezTo>
                      <a:pt x="573" y="592"/>
                      <a:pt x="573" y="592"/>
                      <a:pt x="573" y="592"/>
                    </a:cubicBezTo>
                    <a:cubicBezTo>
                      <a:pt x="572" y="590"/>
                      <a:pt x="572" y="590"/>
                      <a:pt x="572" y="590"/>
                    </a:cubicBezTo>
                    <a:cubicBezTo>
                      <a:pt x="569" y="591"/>
                      <a:pt x="569" y="591"/>
                      <a:pt x="569" y="591"/>
                    </a:cubicBezTo>
                    <a:cubicBezTo>
                      <a:pt x="567" y="590"/>
                      <a:pt x="567" y="590"/>
                      <a:pt x="567" y="590"/>
                    </a:cubicBezTo>
                    <a:cubicBezTo>
                      <a:pt x="564" y="590"/>
                      <a:pt x="564" y="590"/>
                      <a:pt x="564" y="590"/>
                    </a:cubicBezTo>
                    <a:cubicBezTo>
                      <a:pt x="562" y="592"/>
                      <a:pt x="562" y="592"/>
                      <a:pt x="562" y="592"/>
                    </a:cubicBezTo>
                    <a:cubicBezTo>
                      <a:pt x="566" y="593"/>
                      <a:pt x="566" y="593"/>
                      <a:pt x="566" y="593"/>
                    </a:cubicBezTo>
                    <a:cubicBezTo>
                      <a:pt x="568" y="597"/>
                      <a:pt x="568" y="597"/>
                      <a:pt x="568" y="597"/>
                    </a:cubicBezTo>
                    <a:cubicBezTo>
                      <a:pt x="565" y="600"/>
                      <a:pt x="565" y="600"/>
                      <a:pt x="565" y="600"/>
                    </a:cubicBezTo>
                    <a:cubicBezTo>
                      <a:pt x="562" y="600"/>
                      <a:pt x="562" y="600"/>
                      <a:pt x="562" y="600"/>
                    </a:cubicBezTo>
                    <a:cubicBezTo>
                      <a:pt x="560" y="596"/>
                      <a:pt x="560" y="596"/>
                      <a:pt x="560" y="596"/>
                    </a:cubicBezTo>
                    <a:cubicBezTo>
                      <a:pt x="555" y="596"/>
                      <a:pt x="555" y="596"/>
                      <a:pt x="555" y="596"/>
                    </a:cubicBezTo>
                    <a:cubicBezTo>
                      <a:pt x="552" y="597"/>
                      <a:pt x="552" y="597"/>
                      <a:pt x="552" y="597"/>
                    </a:cubicBezTo>
                    <a:cubicBezTo>
                      <a:pt x="556" y="598"/>
                      <a:pt x="556" y="598"/>
                      <a:pt x="556" y="598"/>
                    </a:cubicBezTo>
                    <a:cubicBezTo>
                      <a:pt x="557" y="601"/>
                      <a:pt x="557" y="601"/>
                      <a:pt x="557" y="601"/>
                    </a:cubicBezTo>
                    <a:cubicBezTo>
                      <a:pt x="555" y="602"/>
                      <a:pt x="555" y="602"/>
                      <a:pt x="555" y="602"/>
                    </a:cubicBezTo>
                    <a:cubicBezTo>
                      <a:pt x="552" y="602"/>
                      <a:pt x="552" y="602"/>
                      <a:pt x="552" y="602"/>
                    </a:cubicBezTo>
                    <a:cubicBezTo>
                      <a:pt x="549" y="602"/>
                      <a:pt x="549" y="602"/>
                      <a:pt x="549" y="602"/>
                    </a:cubicBezTo>
                    <a:cubicBezTo>
                      <a:pt x="547" y="602"/>
                      <a:pt x="547" y="602"/>
                      <a:pt x="547" y="602"/>
                    </a:cubicBezTo>
                    <a:cubicBezTo>
                      <a:pt x="545" y="606"/>
                      <a:pt x="545" y="606"/>
                      <a:pt x="545" y="606"/>
                    </a:cubicBezTo>
                    <a:cubicBezTo>
                      <a:pt x="543" y="606"/>
                      <a:pt x="543" y="606"/>
                      <a:pt x="543" y="606"/>
                    </a:cubicBezTo>
                    <a:cubicBezTo>
                      <a:pt x="541" y="608"/>
                      <a:pt x="541" y="608"/>
                      <a:pt x="541" y="608"/>
                    </a:cubicBezTo>
                    <a:cubicBezTo>
                      <a:pt x="542" y="610"/>
                      <a:pt x="542" y="610"/>
                      <a:pt x="542" y="610"/>
                    </a:cubicBezTo>
                    <a:cubicBezTo>
                      <a:pt x="538" y="612"/>
                      <a:pt x="538" y="612"/>
                      <a:pt x="538" y="612"/>
                    </a:cubicBezTo>
                    <a:cubicBezTo>
                      <a:pt x="538" y="614"/>
                      <a:pt x="538" y="614"/>
                      <a:pt x="538" y="614"/>
                    </a:cubicBezTo>
                    <a:cubicBezTo>
                      <a:pt x="535" y="616"/>
                      <a:pt x="535" y="616"/>
                      <a:pt x="535" y="616"/>
                    </a:cubicBezTo>
                    <a:cubicBezTo>
                      <a:pt x="534" y="618"/>
                      <a:pt x="534" y="618"/>
                      <a:pt x="534" y="618"/>
                    </a:cubicBezTo>
                    <a:cubicBezTo>
                      <a:pt x="530" y="617"/>
                      <a:pt x="530" y="617"/>
                      <a:pt x="530" y="617"/>
                    </a:cubicBezTo>
                    <a:cubicBezTo>
                      <a:pt x="530" y="616"/>
                      <a:pt x="530" y="616"/>
                      <a:pt x="530" y="616"/>
                    </a:cubicBezTo>
                    <a:cubicBezTo>
                      <a:pt x="537" y="610"/>
                      <a:pt x="537" y="610"/>
                      <a:pt x="537" y="610"/>
                    </a:cubicBezTo>
                    <a:cubicBezTo>
                      <a:pt x="537" y="608"/>
                      <a:pt x="537" y="608"/>
                      <a:pt x="537" y="608"/>
                    </a:cubicBezTo>
                    <a:cubicBezTo>
                      <a:pt x="539" y="605"/>
                      <a:pt x="539" y="605"/>
                      <a:pt x="539" y="605"/>
                    </a:cubicBezTo>
                    <a:cubicBezTo>
                      <a:pt x="538" y="605"/>
                      <a:pt x="538" y="605"/>
                      <a:pt x="538" y="605"/>
                    </a:cubicBezTo>
                    <a:cubicBezTo>
                      <a:pt x="535" y="607"/>
                      <a:pt x="535" y="607"/>
                      <a:pt x="535" y="607"/>
                    </a:cubicBezTo>
                    <a:cubicBezTo>
                      <a:pt x="533" y="606"/>
                      <a:pt x="533" y="606"/>
                      <a:pt x="533" y="606"/>
                    </a:cubicBezTo>
                    <a:cubicBezTo>
                      <a:pt x="535" y="604"/>
                      <a:pt x="535" y="604"/>
                      <a:pt x="535" y="604"/>
                    </a:cubicBezTo>
                    <a:cubicBezTo>
                      <a:pt x="530" y="604"/>
                      <a:pt x="530" y="604"/>
                      <a:pt x="530" y="604"/>
                    </a:cubicBezTo>
                    <a:cubicBezTo>
                      <a:pt x="528" y="606"/>
                      <a:pt x="528" y="606"/>
                      <a:pt x="528" y="606"/>
                    </a:cubicBezTo>
                    <a:cubicBezTo>
                      <a:pt x="530" y="606"/>
                      <a:pt x="530" y="606"/>
                      <a:pt x="530" y="606"/>
                    </a:cubicBezTo>
                    <a:cubicBezTo>
                      <a:pt x="531" y="608"/>
                      <a:pt x="531" y="608"/>
                      <a:pt x="531" y="608"/>
                    </a:cubicBezTo>
                    <a:close/>
                    <a:moveTo>
                      <a:pt x="524" y="622"/>
                    </a:moveTo>
                    <a:cubicBezTo>
                      <a:pt x="526" y="622"/>
                      <a:pt x="526" y="622"/>
                      <a:pt x="526" y="622"/>
                    </a:cubicBezTo>
                    <a:cubicBezTo>
                      <a:pt x="525" y="624"/>
                      <a:pt x="525" y="624"/>
                      <a:pt x="525" y="624"/>
                    </a:cubicBezTo>
                    <a:cubicBezTo>
                      <a:pt x="524" y="622"/>
                      <a:pt x="524" y="622"/>
                      <a:pt x="524" y="622"/>
                    </a:cubicBezTo>
                    <a:close/>
                    <a:moveTo>
                      <a:pt x="513" y="626"/>
                    </a:moveTo>
                    <a:cubicBezTo>
                      <a:pt x="516" y="621"/>
                      <a:pt x="516" y="621"/>
                      <a:pt x="516" y="621"/>
                    </a:cubicBezTo>
                    <a:cubicBezTo>
                      <a:pt x="524" y="619"/>
                      <a:pt x="524" y="619"/>
                      <a:pt x="524" y="619"/>
                    </a:cubicBezTo>
                    <a:cubicBezTo>
                      <a:pt x="516" y="626"/>
                      <a:pt x="516" y="626"/>
                      <a:pt x="516" y="626"/>
                    </a:cubicBezTo>
                    <a:cubicBezTo>
                      <a:pt x="513" y="626"/>
                      <a:pt x="513" y="626"/>
                      <a:pt x="513" y="626"/>
                    </a:cubicBezTo>
                    <a:close/>
                    <a:moveTo>
                      <a:pt x="487" y="647"/>
                    </a:moveTo>
                    <a:cubicBezTo>
                      <a:pt x="485" y="647"/>
                      <a:pt x="485" y="647"/>
                      <a:pt x="485" y="647"/>
                    </a:cubicBezTo>
                    <a:cubicBezTo>
                      <a:pt x="486" y="645"/>
                      <a:pt x="486" y="645"/>
                      <a:pt x="486" y="645"/>
                    </a:cubicBezTo>
                    <a:cubicBezTo>
                      <a:pt x="490" y="643"/>
                      <a:pt x="490" y="643"/>
                      <a:pt x="490" y="643"/>
                    </a:cubicBezTo>
                    <a:cubicBezTo>
                      <a:pt x="489" y="646"/>
                      <a:pt x="489" y="646"/>
                      <a:pt x="489" y="646"/>
                    </a:cubicBezTo>
                    <a:cubicBezTo>
                      <a:pt x="487" y="647"/>
                      <a:pt x="487" y="647"/>
                      <a:pt x="487" y="647"/>
                    </a:cubicBezTo>
                    <a:close/>
                    <a:moveTo>
                      <a:pt x="472" y="614"/>
                    </a:moveTo>
                    <a:cubicBezTo>
                      <a:pt x="476" y="614"/>
                      <a:pt x="476" y="614"/>
                      <a:pt x="476" y="614"/>
                    </a:cubicBezTo>
                    <a:cubicBezTo>
                      <a:pt x="478" y="616"/>
                      <a:pt x="478" y="616"/>
                      <a:pt x="478" y="616"/>
                    </a:cubicBezTo>
                    <a:cubicBezTo>
                      <a:pt x="476" y="617"/>
                      <a:pt x="476" y="617"/>
                      <a:pt x="476" y="617"/>
                    </a:cubicBezTo>
                    <a:cubicBezTo>
                      <a:pt x="472" y="614"/>
                      <a:pt x="472" y="614"/>
                      <a:pt x="472" y="614"/>
                    </a:cubicBezTo>
                    <a:close/>
                    <a:moveTo>
                      <a:pt x="398" y="647"/>
                    </a:moveTo>
                    <a:cubicBezTo>
                      <a:pt x="399" y="646"/>
                      <a:pt x="399" y="646"/>
                      <a:pt x="399" y="646"/>
                    </a:cubicBezTo>
                    <a:cubicBezTo>
                      <a:pt x="400" y="648"/>
                      <a:pt x="400" y="648"/>
                      <a:pt x="400" y="648"/>
                    </a:cubicBezTo>
                    <a:cubicBezTo>
                      <a:pt x="398" y="647"/>
                      <a:pt x="398" y="647"/>
                      <a:pt x="398" y="647"/>
                    </a:cubicBezTo>
                    <a:close/>
                    <a:moveTo>
                      <a:pt x="393" y="648"/>
                    </a:moveTo>
                    <a:cubicBezTo>
                      <a:pt x="396" y="649"/>
                      <a:pt x="396" y="649"/>
                      <a:pt x="396" y="649"/>
                    </a:cubicBezTo>
                    <a:cubicBezTo>
                      <a:pt x="394" y="651"/>
                      <a:pt x="394" y="651"/>
                      <a:pt x="394" y="651"/>
                    </a:cubicBezTo>
                    <a:cubicBezTo>
                      <a:pt x="393" y="648"/>
                      <a:pt x="393" y="648"/>
                      <a:pt x="393" y="648"/>
                    </a:cubicBezTo>
                    <a:close/>
                    <a:moveTo>
                      <a:pt x="411" y="662"/>
                    </a:moveTo>
                    <a:cubicBezTo>
                      <a:pt x="411" y="664"/>
                      <a:pt x="411" y="664"/>
                      <a:pt x="411" y="664"/>
                    </a:cubicBezTo>
                    <a:cubicBezTo>
                      <a:pt x="409" y="666"/>
                      <a:pt x="409" y="666"/>
                      <a:pt x="409" y="666"/>
                    </a:cubicBezTo>
                    <a:cubicBezTo>
                      <a:pt x="409" y="664"/>
                      <a:pt x="409" y="664"/>
                      <a:pt x="409" y="664"/>
                    </a:cubicBezTo>
                    <a:cubicBezTo>
                      <a:pt x="411" y="662"/>
                      <a:pt x="411" y="662"/>
                      <a:pt x="411" y="662"/>
                    </a:cubicBezTo>
                    <a:close/>
                    <a:moveTo>
                      <a:pt x="407" y="660"/>
                    </a:moveTo>
                    <a:cubicBezTo>
                      <a:pt x="409" y="656"/>
                      <a:pt x="409" y="656"/>
                      <a:pt x="409" y="656"/>
                    </a:cubicBezTo>
                    <a:cubicBezTo>
                      <a:pt x="409" y="659"/>
                      <a:pt x="409" y="659"/>
                      <a:pt x="409" y="659"/>
                    </a:cubicBezTo>
                    <a:cubicBezTo>
                      <a:pt x="407" y="660"/>
                      <a:pt x="407" y="660"/>
                      <a:pt x="407" y="660"/>
                    </a:cubicBezTo>
                    <a:close/>
                    <a:moveTo>
                      <a:pt x="392" y="665"/>
                    </a:moveTo>
                    <a:cubicBezTo>
                      <a:pt x="394" y="660"/>
                      <a:pt x="394" y="660"/>
                      <a:pt x="394" y="660"/>
                    </a:cubicBezTo>
                    <a:cubicBezTo>
                      <a:pt x="398" y="656"/>
                      <a:pt x="398" y="656"/>
                      <a:pt x="398" y="656"/>
                    </a:cubicBezTo>
                    <a:cubicBezTo>
                      <a:pt x="398" y="655"/>
                      <a:pt x="398" y="655"/>
                      <a:pt x="398" y="655"/>
                    </a:cubicBezTo>
                    <a:cubicBezTo>
                      <a:pt x="403" y="655"/>
                      <a:pt x="403" y="655"/>
                      <a:pt x="403" y="655"/>
                    </a:cubicBezTo>
                    <a:cubicBezTo>
                      <a:pt x="400" y="657"/>
                      <a:pt x="400" y="657"/>
                      <a:pt x="400" y="657"/>
                    </a:cubicBezTo>
                    <a:cubicBezTo>
                      <a:pt x="399" y="660"/>
                      <a:pt x="399" y="660"/>
                      <a:pt x="399" y="660"/>
                    </a:cubicBezTo>
                    <a:cubicBezTo>
                      <a:pt x="394" y="662"/>
                      <a:pt x="394" y="662"/>
                      <a:pt x="394" y="662"/>
                    </a:cubicBezTo>
                    <a:cubicBezTo>
                      <a:pt x="392" y="665"/>
                      <a:pt x="392" y="665"/>
                      <a:pt x="392" y="665"/>
                    </a:cubicBezTo>
                    <a:close/>
                    <a:moveTo>
                      <a:pt x="386" y="654"/>
                    </a:moveTo>
                    <a:cubicBezTo>
                      <a:pt x="385" y="651"/>
                      <a:pt x="385" y="651"/>
                      <a:pt x="385" y="651"/>
                    </a:cubicBezTo>
                    <a:cubicBezTo>
                      <a:pt x="386" y="648"/>
                      <a:pt x="386" y="648"/>
                      <a:pt x="386" y="648"/>
                    </a:cubicBezTo>
                    <a:cubicBezTo>
                      <a:pt x="389" y="646"/>
                      <a:pt x="389" y="646"/>
                      <a:pt x="389" y="646"/>
                    </a:cubicBezTo>
                    <a:cubicBezTo>
                      <a:pt x="391" y="648"/>
                      <a:pt x="391" y="648"/>
                      <a:pt x="391" y="648"/>
                    </a:cubicBezTo>
                    <a:cubicBezTo>
                      <a:pt x="389" y="651"/>
                      <a:pt x="389" y="651"/>
                      <a:pt x="389" y="651"/>
                    </a:cubicBezTo>
                    <a:cubicBezTo>
                      <a:pt x="389" y="653"/>
                      <a:pt x="389" y="653"/>
                      <a:pt x="389" y="653"/>
                    </a:cubicBezTo>
                    <a:cubicBezTo>
                      <a:pt x="386" y="654"/>
                      <a:pt x="386" y="654"/>
                      <a:pt x="386" y="654"/>
                    </a:cubicBezTo>
                    <a:close/>
                    <a:moveTo>
                      <a:pt x="367" y="651"/>
                    </a:moveTo>
                    <a:cubicBezTo>
                      <a:pt x="369" y="651"/>
                      <a:pt x="369" y="651"/>
                      <a:pt x="369" y="651"/>
                    </a:cubicBezTo>
                    <a:cubicBezTo>
                      <a:pt x="372" y="653"/>
                      <a:pt x="372" y="653"/>
                      <a:pt x="372" y="653"/>
                    </a:cubicBezTo>
                    <a:cubicBezTo>
                      <a:pt x="369" y="655"/>
                      <a:pt x="369" y="655"/>
                      <a:pt x="369" y="655"/>
                    </a:cubicBezTo>
                    <a:cubicBezTo>
                      <a:pt x="367" y="651"/>
                      <a:pt x="367" y="651"/>
                      <a:pt x="367" y="651"/>
                    </a:cubicBezTo>
                    <a:close/>
                    <a:moveTo>
                      <a:pt x="355" y="661"/>
                    </a:moveTo>
                    <a:cubicBezTo>
                      <a:pt x="353" y="658"/>
                      <a:pt x="353" y="658"/>
                      <a:pt x="353" y="658"/>
                    </a:cubicBezTo>
                    <a:cubicBezTo>
                      <a:pt x="357" y="655"/>
                      <a:pt x="357" y="655"/>
                      <a:pt x="357" y="655"/>
                    </a:cubicBezTo>
                    <a:cubicBezTo>
                      <a:pt x="358" y="658"/>
                      <a:pt x="358" y="658"/>
                      <a:pt x="358" y="658"/>
                    </a:cubicBezTo>
                    <a:cubicBezTo>
                      <a:pt x="355" y="661"/>
                      <a:pt x="355" y="661"/>
                      <a:pt x="355" y="661"/>
                    </a:cubicBezTo>
                    <a:close/>
                    <a:moveTo>
                      <a:pt x="341" y="669"/>
                    </a:moveTo>
                    <a:cubicBezTo>
                      <a:pt x="345" y="673"/>
                      <a:pt x="345" y="673"/>
                      <a:pt x="345" y="673"/>
                    </a:cubicBezTo>
                    <a:cubicBezTo>
                      <a:pt x="342" y="674"/>
                      <a:pt x="342" y="674"/>
                      <a:pt x="342" y="674"/>
                    </a:cubicBezTo>
                    <a:cubicBezTo>
                      <a:pt x="339" y="671"/>
                      <a:pt x="339" y="671"/>
                      <a:pt x="339" y="671"/>
                    </a:cubicBezTo>
                    <a:cubicBezTo>
                      <a:pt x="341" y="669"/>
                      <a:pt x="341" y="669"/>
                      <a:pt x="341" y="669"/>
                    </a:cubicBezTo>
                    <a:close/>
                    <a:moveTo>
                      <a:pt x="2" y="733"/>
                    </a:moveTo>
                    <a:cubicBezTo>
                      <a:pt x="0" y="737"/>
                      <a:pt x="0" y="737"/>
                      <a:pt x="0" y="737"/>
                    </a:cubicBezTo>
                    <a:cubicBezTo>
                      <a:pt x="4" y="735"/>
                      <a:pt x="4" y="735"/>
                      <a:pt x="4" y="735"/>
                    </a:cubicBezTo>
                    <a:cubicBezTo>
                      <a:pt x="2" y="733"/>
                      <a:pt x="2" y="733"/>
                      <a:pt x="2" y="733"/>
                    </a:cubicBezTo>
                    <a:close/>
                    <a:moveTo>
                      <a:pt x="5" y="725"/>
                    </a:moveTo>
                    <a:cubicBezTo>
                      <a:pt x="2" y="727"/>
                      <a:pt x="2" y="727"/>
                      <a:pt x="2" y="727"/>
                    </a:cubicBezTo>
                    <a:cubicBezTo>
                      <a:pt x="4" y="729"/>
                      <a:pt x="4" y="729"/>
                      <a:pt x="4" y="729"/>
                    </a:cubicBezTo>
                    <a:cubicBezTo>
                      <a:pt x="8" y="726"/>
                      <a:pt x="8" y="726"/>
                      <a:pt x="8" y="726"/>
                    </a:cubicBezTo>
                    <a:cubicBezTo>
                      <a:pt x="5" y="725"/>
                      <a:pt x="5" y="725"/>
                      <a:pt x="5" y="725"/>
                    </a:cubicBezTo>
                    <a:close/>
                    <a:moveTo>
                      <a:pt x="9" y="716"/>
                    </a:moveTo>
                    <a:cubicBezTo>
                      <a:pt x="12" y="719"/>
                      <a:pt x="12" y="719"/>
                      <a:pt x="12" y="719"/>
                    </a:cubicBezTo>
                    <a:cubicBezTo>
                      <a:pt x="13" y="715"/>
                      <a:pt x="13" y="715"/>
                      <a:pt x="13" y="715"/>
                    </a:cubicBezTo>
                    <a:cubicBezTo>
                      <a:pt x="9" y="716"/>
                      <a:pt x="9" y="716"/>
                      <a:pt x="9" y="716"/>
                    </a:cubicBezTo>
                    <a:close/>
                    <a:moveTo>
                      <a:pt x="34" y="719"/>
                    </a:moveTo>
                    <a:cubicBezTo>
                      <a:pt x="29" y="714"/>
                      <a:pt x="29" y="714"/>
                      <a:pt x="29" y="714"/>
                    </a:cubicBezTo>
                    <a:cubicBezTo>
                      <a:pt x="26" y="714"/>
                      <a:pt x="26" y="714"/>
                      <a:pt x="26" y="714"/>
                    </a:cubicBezTo>
                    <a:cubicBezTo>
                      <a:pt x="24" y="716"/>
                      <a:pt x="24" y="716"/>
                      <a:pt x="24" y="716"/>
                    </a:cubicBezTo>
                    <a:cubicBezTo>
                      <a:pt x="24" y="718"/>
                      <a:pt x="24" y="718"/>
                      <a:pt x="24" y="718"/>
                    </a:cubicBezTo>
                    <a:cubicBezTo>
                      <a:pt x="28" y="720"/>
                      <a:pt x="28" y="720"/>
                      <a:pt x="28" y="720"/>
                    </a:cubicBezTo>
                    <a:cubicBezTo>
                      <a:pt x="25" y="721"/>
                      <a:pt x="25" y="721"/>
                      <a:pt x="25" y="721"/>
                    </a:cubicBezTo>
                    <a:cubicBezTo>
                      <a:pt x="26" y="724"/>
                      <a:pt x="26" y="724"/>
                      <a:pt x="26" y="724"/>
                    </a:cubicBezTo>
                    <a:cubicBezTo>
                      <a:pt x="29" y="723"/>
                      <a:pt x="29" y="723"/>
                      <a:pt x="29" y="723"/>
                    </a:cubicBezTo>
                    <a:cubicBezTo>
                      <a:pt x="31" y="720"/>
                      <a:pt x="31" y="720"/>
                      <a:pt x="31" y="720"/>
                    </a:cubicBezTo>
                    <a:cubicBezTo>
                      <a:pt x="34" y="719"/>
                      <a:pt x="34" y="719"/>
                      <a:pt x="34" y="719"/>
                    </a:cubicBezTo>
                    <a:close/>
                    <a:moveTo>
                      <a:pt x="36" y="726"/>
                    </a:moveTo>
                    <a:cubicBezTo>
                      <a:pt x="38" y="728"/>
                      <a:pt x="38" y="728"/>
                      <a:pt x="38" y="728"/>
                    </a:cubicBezTo>
                    <a:cubicBezTo>
                      <a:pt x="43" y="725"/>
                      <a:pt x="43" y="725"/>
                      <a:pt x="43" y="725"/>
                    </a:cubicBezTo>
                    <a:cubicBezTo>
                      <a:pt x="43" y="721"/>
                      <a:pt x="43" y="721"/>
                      <a:pt x="43" y="721"/>
                    </a:cubicBezTo>
                    <a:cubicBezTo>
                      <a:pt x="45" y="718"/>
                      <a:pt x="45" y="718"/>
                      <a:pt x="45" y="718"/>
                    </a:cubicBezTo>
                    <a:cubicBezTo>
                      <a:pt x="44" y="717"/>
                      <a:pt x="44" y="717"/>
                      <a:pt x="44" y="717"/>
                    </a:cubicBezTo>
                    <a:cubicBezTo>
                      <a:pt x="40" y="721"/>
                      <a:pt x="40" y="721"/>
                      <a:pt x="40" y="721"/>
                    </a:cubicBezTo>
                    <a:cubicBezTo>
                      <a:pt x="39" y="724"/>
                      <a:pt x="39" y="724"/>
                      <a:pt x="39" y="724"/>
                    </a:cubicBezTo>
                    <a:cubicBezTo>
                      <a:pt x="36" y="726"/>
                      <a:pt x="36" y="726"/>
                      <a:pt x="36" y="726"/>
                    </a:cubicBezTo>
                    <a:close/>
                    <a:moveTo>
                      <a:pt x="56" y="724"/>
                    </a:moveTo>
                    <a:cubicBezTo>
                      <a:pt x="54" y="719"/>
                      <a:pt x="54" y="719"/>
                      <a:pt x="54" y="719"/>
                    </a:cubicBezTo>
                    <a:cubicBezTo>
                      <a:pt x="53" y="718"/>
                      <a:pt x="53" y="718"/>
                      <a:pt x="53" y="718"/>
                    </a:cubicBezTo>
                    <a:cubicBezTo>
                      <a:pt x="51" y="723"/>
                      <a:pt x="51" y="723"/>
                      <a:pt x="51" y="723"/>
                    </a:cubicBezTo>
                    <a:cubicBezTo>
                      <a:pt x="49" y="723"/>
                      <a:pt x="49" y="723"/>
                      <a:pt x="49" y="723"/>
                    </a:cubicBezTo>
                    <a:cubicBezTo>
                      <a:pt x="47" y="728"/>
                      <a:pt x="47" y="728"/>
                      <a:pt x="47" y="728"/>
                    </a:cubicBezTo>
                    <a:cubicBezTo>
                      <a:pt x="51" y="728"/>
                      <a:pt x="51" y="728"/>
                      <a:pt x="51" y="728"/>
                    </a:cubicBezTo>
                    <a:cubicBezTo>
                      <a:pt x="56" y="724"/>
                      <a:pt x="56" y="724"/>
                      <a:pt x="56" y="724"/>
                    </a:cubicBezTo>
                    <a:close/>
                    <a:moveTo>
                      <a:pt x="102" y="722"/>
                    </a:moveTo>
                    <a:cubicBezTo>
                      <a:pt x="102" y="719"/>
                      <a:pt x="102" y="719"/>
                      <a:pt x="102" y="719"/>
                    </a:cubicBezTo>
                    <a:cubicBezTo>
                      <a:pt x="105" y="717"/>
                      <a:pt x="105" y="717"/>
                      <a:pt x="105" y="717"/>
                    </a:cubicBezTo>
                    <a:cubicBezTo>
                      <a:pt x="104" y="713"/>
                      <a:pt x="104" y="713"/>
                      <a:pt x="104" y="713"/>
                    </a:cubicBezTo>
                    <a:cubicBezTo>
                      <a:pt x="101" y="713"/>
                      <a:pt x="101" y="713"/>
                      <a:pt x="101" y="713"/>
                    </a:cubicBezTo>
                    <a:cubicBezTo>
                      <a:pt x="98" y="715"/>
                      <a:pt x="98" y="715"/>
                      <a:pt x="98" y="715"/>
                    </a:cubicBezTo>
                    <a:cubicBezTo>
                      <a:pt x="97" y="718"/>
                      <a:pt x="97" y="718"/>
                      <a:pt x="97" y="718"/>
                    </a:cubicBezTo>
                    <a:cubicBezTo>
                      <a:pt x="96" y="719"/>
                      <a:pt x="96" y="719"/>
                      <a:pt x="96" y="719"/>
                    </a:cubicBezTo>
                    <a:cubicBezTo>
                      <a:pt x="94" y="718"/>
                      <a:pt x="94" y="718"/>
                      <a:pt x="94" y="718"/>
                    </a:cubicBezTo>
                    <a:cubicBezTo>
                      <a:pt x="91" y="721"/>
                      <a:pt x="91" y="721"/>
                      <a:pt x="91" y="721"/>
                    </a:cubicBezTo>
                    <a:cubicBezTo>
                      <a:pt x="88" y="721"/>
                      <a:pt x="88" y="721"/>
                      <a:pt x="88" y="721"/>
                    </a:cubicBezTo>
                    <a:cubicBezTo>
                      <a:pt x="85" y="720"/>
                      <a:pt x="85" y="720"/>
                      <a:pt x="85" y="720"/>
                    </a:cubicBezTo>
                    <a:cubicBezTo>
                      <a:pt x="84" y="722"/>
                      <a:pt x="84" y="722"/>
                      <a:pt x="84" y="722"/>
                    </a:cubicBezTo>
                    <a:cubicBezTo>
                      <a:pt x="87" y="724"/>
                      <a:pt x="87" y="724"/>
                      <a:pt x="87" y="724"/>
                    </a:cubicBezTo>
                    <a:cubicBezTo>
                      <a:pt x="89" y="723"/>
                      <a:pt x="89" y="723"/>
                      <a:pt x="89" y="723"/>
                    </a:cubicBezTo>
                    <a:cubicBezTo>
                      <a:pt x="93" y="723"/>
                      <a:pt x="93" y="723"/>
                      <a:pt x="93" y="723"/>
                    </a:cubicBezTo>
                    <a:cubicBezTo>
                      <a:pt x="98" y="722"/>
                      <a:pt x="98" y="722"/>
                      <a:pt x="98" y="722"/>
                    </a:cubicBezTo>
                    <a:cubicBezTo>
                      <a:pt x="102" y="722"/>
                      <a:pt x="102" y="722"/>
                      <a:pt x="102" y="722"/>
                    </a:cubicBezTo>
                    <a:close/>
                    <a:moveTo>
                      <a:pt x="108" y="724"/>
                    </a:moveTo>
                    <a:cubicBezTo>
                      <a:pt x="118" y="725"/>
                      <a:pt x="118" y="725"/>
                      <a:pt x="118" y="725"/>
                    </a:cubicBezTo>
                    <a:cubicBezTo>
                      <a:pt x="120" y="725"/>
                      <a:pt x="120" y="725"/>
                      <a:pt x="120" y="725"/>
                    </a:cubicBezTo>
                    <a:cubicBezTo>
                      <a:pt x="123" y="727"/>
                      <a:pt x="123" y="727"/>
                      <a:pt x="123" y="727"/>
                    </a:cubicBezTo>
                    <a:cubicBezTo>
                      <a:pt x="119" y="728"/>
                      <a:pt x="119" y="728"/>
                      <a:pt x="119" y="728"/>
                    </a:cubicBezTo>
                    <a:cubicBezTo>
                      <a:pt x="110" y="726"/>
                      <a:pt x="110" y="726"/>
                      <a:pt x="110" y="726"/>
                    </a:cubicBezTo>
                    <a:cubicBezTo>
                      <a:pt x="107" y="727"/>
                      <a:pt x="107" y="727"/>
                      <a:pt x="107" y="727"/>
                    </a:cubicBezTo>
                    <a:cubicBezTo>
                      <a:pt x="105" y="725"/>
                      <a:pt x="105" y="725"/>
                      <a:pt x="105" y="725"/>
                    </a:cubicBezTo>
                    <a:cubicBezTo>
                      <a:pt x="108" y="724"/>
                      <a:pt x="108" y="724"/>
                      <a:pt x="108" y="724"/>
                    </a:cubicBezTo>
                    <a:close/>
                    <a:moveTo>
                      <a:pt x="140" y="719"/>
                    </a:moveTo>
                    <a:cubicBezTo>
                      <a:pt x="137" y="717"/>
                      <a:pt x="137" y="717"/>
                      <a:pt x="137" y="717"/>
                    </a:cubicBezTo>
                    <a:cubicBezTo>
                      <a:pt x="132" y="717"/>
                      <a:pt x="132" y="717"/>
                      <a:pt x="132" y="717"/>
                    </a:cubicBezTo>
                    <a:cubicBezTo>
                      <a:pt x="131" y="721"/>
                      <a:pt x="131" y="721"/>
                      <a:pt x="131" y="721"/>
                    </a:cubicBezTo>
                    <a:cubicBezTo>
                      <a:pt x="136" y="721"/>
                      <a:pt x="136" y="721"/>
                      <a:pt x="136" y="721"/>
                    </a:cubicBezTo>
                    <a:cubicBezTo>
                      <a:pt x="140" y="719"/>
                      <a:pt x="140" y="719"/>
                      <a:pt x="140" y="719"/>
                    </a:cubicBezTo>
                    <a:close/>
                    <a:moveTo>
                      <a:pt x="161" y="718"/>
                    </a:moveTo>
                    <a:cubicBezTo>
                      <a:pt x="160" y="713"/>
                      <a:pt x="160" y="713"/>
                      <a:pt x="160" y="713"/>
                    </a:cubicBezTo>
                    <a:cubicBezTo>
                      <a:pt x="158" y="717"/>
                      <a:pt x="158" y="717"/>
                      <a:pt x="158" y="717"/>
                    </a:cubicBezTo>
                    <a:cubicBezTo>
                      <a:pt x="161" y="718"/>
                      <a:pt x="161" y="718"/>
                      <a:pt x="161" y="718"/>
                    </a:cubicBezTo>
                    <a:close/>
                    <a:moveTo>
                      <a:pt x="176" y="712"/>
                    </a:moveTo>
                    <a:cubicBezTo>
                      <a:pt x="172" y="709"/>
                      <a:pt x="172" y="709"/>
                      <a:pt x="172" y="709"/>
                    </a:cubicBezTo>
                    <a:cubicBezTo>
                      <a:pt x="169" y="711"/>
                      <a:pt x="169" y="711"/>
                      <a:pt x="169" y="711"/>
                    </a:cubicBezTo>
                    <a:cubicBezTo>
                      <a:pt x="169" y="715"/>
                      <a:pt x="169" y="715"/>
                      <a:pt x="169" y="715"/>
                    </a:cubicBezTo>
                    <a:cubicBezTo>
                      <a:pt x="173" y="711"/>
                      <a:pt x="173" y="711"/>
                      <a:pt x="173" y="711"/>
                    </a:cubicBezTo>
                    <a:cubicBezTo>
                      <a:pt x="176" y="712"/>
                      <a:pt x="176" y="712"/>
                      <a:pt x="176" y="712"/>
                    </a:cubicBezTo>
                    <a:close/>
                    <a:moveTo>
                      <a:pt x="185" y="711"/>
                    </a:moveTo>
                    <a:cubicBezTo>
                      <a:pt x="183" y="709"/>
                      <a:pt x="183" y="709"/>
                      <a:pt x="183" y="709"/>
                    </a:cubicBezTo>
                    <a:cubicBezTo>
                      <a:pt x="181" y="711"/>
                      <a:pt x="181" y="711"/>
                      <a:pt x="181" y="711"/>
                    </a:cubicBezTo>
                    <a:cubicBezTo>
                      <a:pt x="183" y="712"/>
                      <a:pt x="183" y="712"/>
                      <a:pt x="183" y="712"/>
                    </a:cubicBezTo>
                    <a:cubicBezTo>
                      <a:pt x="185" y="711"/>
                      <a:pt x="185" y="711"/>
                      <a:pt x="185" y="711"/>
                    </a:cubicBezTo>
                    <a:close/>
                    <a:moveTo>
                      <a:pt x="187" y="705"/>
                    </a:moveTo>
                    <a:cubicBezTo>
                      <a:pt x="186" y="703"/>
                      <a:pt x="186" y="703"/>
                      <a:pt x="186" y="703"/>
                    </a:cubicBezTo>
                    <a:cubicBezTo>
                      <a:pt x="183" y="705"/>
                      <a:pt x="183" y="705"/>
                      <a:pt x="183" y="705"/>
                    </a:cubicBezTo>
                    <a:cubicBezTo>
                      <a:pt x="187" y="705"/>
                      <a:pt x="187" y="705"/>
                      <a:pt x="187" y="705"/>
                    </a:cubicBezTo>
                    <a:close/>
                    <a:moveTo>
                      <a:pt x="188" y="708"/>
                    </a:moveTo>
                    <a:cubicBezTo>
                      <a:pt x="190" y="710"/>
                      <a:pt x="190" y="710"/>
                      <a:pt x="190" y="710"/>
                    </a:cubicBezTo>
                    <a:cubicBezTo>
                      <a:pt x="193" y="708"/>
                      <a:pt x="193" y="708"/>
                      <a:pt x="193" y="708"/>
                    </a:cubicBezTo>
                    <a:cubicBezTo>
                      <a:pt x="192" y="706"/>
                      <a:pt x="192" y="706"/>
                      <a:pt x="192" y="706"/>
                    </a:cubicBezTo>
                    <a:cubicBezTo>
                      <a:pt x="188" y="708"/>
                      <a:pt x="188" y="708"/>
                      <a:pt x="188" y="708"/>
                    </a:cubicBezTo>
                    <a:close/>
                    <a:moveTo>
                      <a:pt x="232" y="688"/>
                    </a:moveTo>
                    <a:cubicBezTo>
                      <a:pt x="233" y="692"/>
                      <a:pt x="233" y="692"/>
                      <a:pt x="233" y="692"/>
                    </a:cubicBezTo>
                    <a:cubicBezTo>
                      <a:pt x="236" y="692"/>
                      <a:pt x="236" y="692"/>
                      <a:pt x="236" y="692"/>
                    </a:cubicBezTo>
                    <a:cubicBezTo>
                      <a:pt x="232" y="694"/>
                      <a:pt x="232" y="694"/>
                      <a:pt x="232" y="694"/>
                    </a:cubicBezTo>
                    <a:cubicBezTo>
                      <a:pt x="231" y="697"/>
                      <a:pt x="231" y="697"/>
                      <a:pt x="231" y="697"/>
                    </a:cubicBezTo>
                    <a:cubicBezTo>
                      <a:pt x="225" y="699"/>
                      <a:pt x="225" y="699"/>
                      <a:pt x="225" y="699"/>
                    </a:cubicBezTo>
                    <a:cubicBezTo>
                      <a:pt x="219" y="706"/>
                      <a:pt x="219" y="706"/>
                      <a:pt x="219" y="706"/>
                    </a:cubicBezTo>
                    <a:cubicBezTo>
                      <a:pt x="214" y="706"/>
                      <a:pt x="214" y="706"/>
                      <a:pt x="214" y="706"/>
                    </a:cubicBezTo>
                    <a:cubicBezTo>
                      <a:pt x="210" y="711"/>
                      <a:pt x="210" y="711"/>
                      <a:pt x="210" y="711"/>
                    </a:cubicBezTo>
                    <a:cubicBezTo>
                      <a:pt x="202" y="711"/>
                      <a:pt x="202" y="711"/>
                      <a:pt x="202" y="711"/>
                    </a:cubicBezTo>
                    <a:cubicBezTo>
                      <a:pt x="206" y="707"/>
                      <a:pt x="206" y="707"/>
                      <a:pt x="206" y="707"/>
                    </a:cubicBezTo>
                    <a:cubicBezTo>
                      <a:pt x="208" y="707"/>
                      <a:pt x="208" y="707"/>
                      <a:pt x="208" y="707"/>
                    </a:cubicBezTo>
                    <a:cubicBezTo>
                      <a:pt x="211" y="703"/>
                      <a:pt x="211" y="703"/>
                      <a:pt x="211" y="703"/>
                    </a:cubicBezTo>
                    <a:cubicBezTo>
                      <a:pt x="213" y="702"/>
                      <a:pt x="213" y="702"/>
                      <a:pt x="213" y="702"/>
                    </a:cubicBezTo>
                    <a:cubicBezTo>
                      <a:pt x="213" y="700"/>
                      <a:pt x="213" y="700"/>
                      <a:pt x="213" y="700"/>
                    </a:cubicBezTo>
                    <a:cubicBezTo>
                      <a:pt x="218" y="696"/>
                      <a:pt x="218" y="696"/>
                      <a:pt x="218" y="696"/>
                    </a:cubicBezTo>
                    <a:cubicBezTo>
                      <a:pt x="222" y="695"/>
                      <a:pt x="222" y="695"/>
                      <a:pt x="222" y="695"/>
                    </a:cubicBezTo>
                    <a:cubicBezTo>
                      <a:pt x="223" y="692"/>
                      <a:pt x="223" y="692"/>
                      <a:pt x="223" y="692"/>
                    </a:cubicBezTo>
                    <a:cubicBezTo>
                      <a:pt x="222" y="690"/>
                      <a:pt x="222" y="690"/>
                      <a:pt x="222" y="690"/>
                    </a:cubicBezTo>
                    <a:cubicBezTo>
                      <a:pt x="228" y="690"/>
                      <a:pt x="228" y="690"/>
                      <a:pt x="228" y="690"/>
                    </a:cubicBezTo>
                    <a:cubicBezTo>
                      <a:pt x="232" y="688"/>
                      <a:pt x="232" y="688"/>
                      <a:pt x="232" y="688"/>
                    </a:cubicBezTo>
                    <a:close/>
                    <a:moveTo>
                      <a:pt x="264" y="675"/>
                    </a:moveTo>
                    <a:cubicBezTo>
                      <a:pt x="261" y="676"/>
                      <a:pt x="261" y="676"/>
                      <a:pt x="261" y="676"/>
                    </a:cubicBezTo>
                    <a:cubicBezTo>
                      <a:pt x="257" y="679"/>
                      <a:pt x="257" y="679"/>
                      <a:pt x="257" y="679"/>
                    </a:cubicBezTo>
                    <a:cubicBezTo>
                      <a:pt x="257" y="682"/>
                      <a:pt x="257" y="682"/>
                      <a:pt x="257" y="682"/>
                    </a:cubicBezTo>
                    <a:cubicBezTo>
                      <a:pt x="260" y="685"/>
                      <a:pt x="260" y="685"/>
                      <a:pt x="260" y="685"/>
                    </a:cubicBezTo>
                    <a:cubicBezTo>
                      <a:pt x="259" y="686"/>
                      <a:pt x="259" y="686"/>
                      <a:pt x="259" y="686"/>
                    </a:cubicBezTo>
                    <a:cubicBezTo>
                      <a:pt x="255" y="684"/>
                      <a:pt x="255" y="684"/>
                      <a:pt x="255" y="684"/>
                    </a:cubicBezTo>
                    <a:cubicBezTo>
                      <a:pt x="251" y="687"/>
                      <a:pt x="251" y="687"/>
                      <a:pt x="251" y="687"/>
                    </a:cubicBezTo>
                    <a:cubicBezTo>
                      <a:pt x="252" y="689"/>
                      <a:pt x="252" y="689"/>
                      <a:pt x="252" y="689"/>
                    </a:cubicBezTo>
                    <a:cubicBezTo>
                      <a:pt x="250" y="689"/>
                      <a:pt x="250" y="689"/>
                      <a:pt x="250" y="689"/>
                    </a:cubicBezTo>
                    <a:cubicBezTo>
                      <a:pt x="246" y="693"/>
                      <a:pt x="246" y="693"/>
                      <a:pt x="246" y="693"/>
                    </a:cubicBezTo>
                    <a:cubicBezTo>
                      <a:pt x="244" y="694"/>
                      <a:pt x="244" y="694"/>
                      <a:pt x="244" y="694"/>
                    </a:cubicBezTo>
                    <a:cubicBezTo>
                      <a:pt x="240" y="697"/>
                      <a:pt x="240" y="697"/>
                      <a:pt x="240" y="697"/>
                    </a:cubicBezTo>
                    <a:cubicBezTo>
                      <a:pt x="236" y="697"/>
                      <a:pt x="236" y="697"/>
                      <a:pt x="236" y="697"/>
                    </a:cubicBezTo>
                    <a:cubicBezTo>
                      <a:pt x="234" y="697"/>
                      <a:pt x="234" y="697"/>
                      <a:pt x="234" y="697"/>
                    </a:cubicBezTo>
                    <a:cubicBezTo>
                      <a:pt x="236" y="700"/>
                      <a:pt x="236" y="700"/>
                      <a:pt x="236" y="700"/>
                    </a:cubicBezTo>
                    <a:cubicBezTo>
                      <a:pt x="242" y="699"/>
                      <a:pt x="242" y="699"/>
                      <a:pt x="242" y="699"/>
                    </a:cubicBezTo>
                    <a:cubicBezTo>
                      <a:pt x="248" y="698"/>
                      <a:pt x="248" y="698"/>
                      <a:pt x="248" y="698"/>
                    </a:cubicBezTo>
                    <a:cubicBezTo>
                      <a:pt x="252" y="693"/>
                      <a:pt x="252" y="693"/>
                      <a:pt x="252" y="693"/>
                    </a:cubicBezTo>
                    <a:cubicBezTo>
                      <a:pt x="252" y="697"/>
                      <a:pt x="252" y="697"/>
                      <a:pt x="252" y="697"/>
                    </a:cubicBezTo>
                    <a:cubicBezTo>
                      <a:pt x="254" y="697"/>
                      <a:pt x="254" y="697"/>
                      <a:pt x="254" y="697"/>
                    </a:cubicBezTo>
                    <a:cubicBezTo>
                      <a:pt x="256" y="694"/>
                      <a:pt x="256" y="694"/>
                      <a:pt x="256" y="694"/>
                    </a:cubicBezTo>
                    <a:cubicBezTo>
                      <a:pt x="257" y="691"/>
                      <a:pt x="257" y="691"/>
                      <a:pt x="257" y="691"/>
                    </a:cubicBezTo>
                    <a:cubicBezTo>
                      <a:pt x="259" y="692"/>
                      <a:pt x="259" y="692"/>
                      <a:pt x="259" y="692"/>
                    </a:cubicBezTo>
                    <a:cubicBezTo>
                      <a:pt x="260" y="694"/>
                      <a:pt x="260" y="694"/>
                      <a:pt x="260" y="694"/>
                    </a:cubicBezTo>
                    <a:cubicBezTo>
                      <a:pt x="262" y="693"/>
                      <a:pt x="262" y="693"/>
                      <a:pt x="262" y="693"/>
                    </a:cubicBezTo>
                    <a:cubicBezTo>
                      <a:pt x="265" y="690"/>
                      <a:pt x="265" y="690"/>
                      <a:pt x="265" y="690"/>
                    </a:cubicBezTo>
                    <a:cubicBezTo>
                      <a:pt x="270" y="687"/>
                      <a:pt x="270" y="687"/>
                      <a:pt x="270" y="687"/>
                    </a:cubicBezTo>
                    <a:cubicBezTo>
                      <a:pt x="270" y="686"/>
                      <a:pt x="270" y="686"/>
                      <a:pt x="270" y="686"/>
                    </a:cubicBezTo>
                    <a:cubicBezTo>
                      <a:pt x="267" y="685"/>
                      <a:pt x="267" y="685"/>
                      <a:pt x="267" y="685"/>
                    </a:cubicBezTo>
                    <a:cubicBezTo>
                      <a:pt x="271" y="682"/>
                      <a:pt x="271" y="682"/>
                      <a:pt x="271" y="682"/>
                    </a:cubicBezTo>
                    <a:cubicBezTo>
                      <a:pt x="270" y="679"/>
                      <a:pt x="270" y="679"/>
                      <a:pt x="270" y="679"/>
                    </a:cubicBezTo>
                    <a:cubicBezTo>
                      <a:pt x="266" y="678"/>
                      <a:pt x="266" y="678"/>
                      <a:pt x="266" y="678"/>
                    </a:cubicBezTo>
                    <a:cubicBezTo>
                      <a:pt x="264" y="675"/>
                      <a:pt x="264" y="675"/>
                      <a:pt x="264" y="675"/>
                    </a:cubicBezTo>
                    <a:close/>
                    <a:moveTo>
                      <a:pt x="276" y="681"/>
                    </a:moveTo>
                    <a:cubicBezTo>
                      <a:pt x="276" y="678"/>
                      <a:pt x="276" y="678"/>
                      <a:pt x="276" y="678"/>
                    </a:cubicBezTo>
                    <a:cubicBezTo>
                      <a:pt x="274" y="677"/>
                      <a:pt x="274" y="677"/>
                      <a:pt x="274" y="677"/>
                    </a:cubicBezTo>
                    <a:cubicBezTo>
                      <a:pt x="273" y="679"/>
                      <a:pt x="273" y="679"/>
                      <a:pt x="273" y="679"/>
                    </a:cubicBezTo>
                    <a:cubicBezTo>
                      <a:pt x="276" y="681"/>
                      <a:pt x="276" y="681"/>
                      <a:pt x="276" y="681"/>
                    </a:cubicBezTo>
                    <a:close/>
                    <a:moveTo>
                      <a:pt x="296" y="678"/>
                    </a:moveTo>
                    <a:cubicBezTo>
                      <a:pt x="295" y="676"/>
                      <a:pt x="295" y="676"/>
                      <a:pt x="295" y="676"/>
                    </a:cubicBezTo>
                    <a:cubicBezTo>
                      <a:pt x="299" y="676"/>
                      <a:pt x="299" y="676"/>
                      <a:pt x="299" y="676"/>
                    </a:cubicBezTo>
                    <a:cubicBezTo>
                      <a:pt x="300" y="678"/>
                      <a:pt x="300" y="678"/>
                      <a:pt x="300" y="678"/>
                    </a:cubicBezTo>
                    <a:cubicBezTo>
                      <a:pt x="297" y="678"/>
                      <a:pt x="297" y="678"/>
                      <a:pt x="297" y="678"/>
                    </a:cubicBezTo>
                    <a:cubicBezTo>
                      <a:pt x="296" y="678"/>
                      <a:pt x="296" y="678"/>
                      <a:pt x="296" y="678"/>
                    </a:cubicBezTo>
                    <a:close/>
                    <a:moveTo>
                      <a:pt x="289" y="678"/>
                    </a:moveTo>
                    <a:cubicBezTo>
                      <a:pt x="291" y="677"/>
                      <a:pt x="291" y="677"/>
                      <a:pt x="291" y="677"/>
                    </a:cubicBezTo>
                    <a:cubicBezTo>
                      <a:pt x="293" y="678"/>
                      <a:pt x="293" y="678"/>
                      <a:pt x="293" y="678"/>
                    </a:cubicBezTo>
                    <a:cubicBezTo>
                      <a:pt x="289" y="678"/>
                      <a:pt x="289" y="678"/>
                      <a:pt x="289" y="678"/>
                    </a:cubicBezTo>
                    <a:close/>
                    <a:moveTo>
                      <a:pt x="287" y="675"/>
                    </a:moveTo>
                    <a:cubicBezTo>
                      <a:pt x="288" y="672"/>
                      <a:pt x="288" y="672"/>
                      <a:pt x="288" y="672"/>
                    </a:cubicBezTo>
                    <a:cubicBezTo>
                      <a:pt x="288" y="669"/>
                      <a:pt x="288" y="669"/>
                      <a:pt x="288" y="669"/>
                    </a:cubicBezTo>
                    <a:cubicBezTo>
                      <a:pt x="289" y="670"/>
                      <a:pt x="289" y="670"/>
                      <a:pt x="289" y="670"/>
                    </a:cubicBezTo>
                    <a:cubicBezTo>
                      <a:pt x="290" y="673"/>
                      <a:pt x="290" y="673"/>
                      <a:pt x="290" y="673"/>
                    </a:cubicBezTo>
                    <a:cubicBezTo>
                      <a:pt x="287" y="675"/>
                      <a:pt x="287" y="675"/>
                      <a:pt x="287" y="675"/>
                    </a:cubicBezTo>
                    <a:close/>
                    <a:moveTo>
                      <a:pt x="281" y="671"/>
                    </a:moveTo>
                    <a:cubicBezTo>
                      <a:pt x="277" y="673"/>
                      <a:pt x="277" y="673"/>
                      <a:pt x="277" y="673"/>
                    </a:cubicBezTo>
                    <a:cubicBezTo>
                      <a:pt x="277" y="675"/>
                      <a:pt x="277" y="675"/>
                      <a:pt x="277" y="675"/>
                    </a:cubicBezTo>
                    <a:cubicBezTo>
                      <a:pt x="281" y="678"/>
                      <a:pt x="281" y="678"/>
                      <a:pt x="281" y="678"/>
                    </a:cubicBezTo>
                    <a:cubicBezTo>
                      <a:pt x="283" y="677"/>
                      <a:pt x="283" y="677"/>
                      <a:pt x="283" y="677"/>
                    </a:cubicBezTo>
                    <a:cubicBezTo>
                      <a:pt x="284" y="675"/>
                      <a:pt x="284" y="675"/>
                      <a:pt x="284" y="675"/>
                    </a:cubicBezTo>
                    <a:cubicBezTo>
                      <a:pt x="282" y="674"/>
                      <a:pt x="282" y="674"/>
                      <a:pt x="282" y="674"/>
                    </a:cubicBezTo>
                    <a:cubicBezTo>
                      <a:pt x="281" y="671"/>
                      <a:pt x="281" y="671"/>
                      <a:pt x="281" y="671"/>
                    </a:cubicBezTo>
                    <a:close/>
                    <a:moveTo>
                      <a:pt x="458" y="521"/>
                    </a:moveTo>
                    <a:cubicBezTo>
                      <a:pt x="457" y="519"/>
                      <a:pt x="457" y="519"/>
                      <a:pt x="457" y="519"/>
                    </a:cubicBezTo>
                    <a:cubicBezTo>
                      <a:pt x="461" y="518"/>
                      <a:pt x="461" y="518"/>
                      <a:pt x="461" y="518"/>
                    </a:cubicBezTo>
                    <a:cubicBezTo>
                      <a:pt x="460" y="520"/>
                      <a:pt x="460" y="520"/>
                      <a:pt x="460" y="520"/>
                    </a:cubicBezTo>
                    <a:cubicBezTo>
                      <a:pt x="458" y="521"/>
                      <a:pt x="458" y="521"/>
                      <a:pt x="458" y="521"/>
                    </a:cubicBezTo>
                    <a:close/>
                    <a:moveTo>
                      <a:pt x="451" y="522"/>
                    </a:moveTo>
                    <a:cubicBezTo>
                      <a:pt x="449" y="522"/>
                      <a:pt x="449" y="522"/>
                      <a:pt x="449" y="522"/>
                    </a:cubicBezTo>
                    <a:cubicBezTo>
                      <a:pt x="449" y="518"/>
                      <a:pt x="449" y="518"/>
                      <a:pt x="449" y="518"/>
                    </a:cubicBezTo>
                    <a:cubicBezTo>
                      <a:pt x="454" y="516"/>
                      <a:pt x="454" y="516"/>
                      <a:pt x="454" y="516"/>
                    </a:cubicBezTo>
                    <a:cubicBezTo>
                      <a:pt x="457" y="514"/>
                      <a:pt x="457" y="514"/>
                      <a:pt x="457" y="514"/>
                    </a:cubicBezTo>
                    <a:cubicBezTo>
                      <a:pt x="457" y="516"/>
                      <a:pt x="457" y="516"/>
                      <a:pt x="457" y="516"/>
                    </a:cubicBezTo>
                    <a:cubicBezTo>
                      <a:pt x="453" y="521"/>
                      <a:pt x="453" y="521"/>
                      <a:pt x="453" y="521"/>
                    </a:cubicBezTo>
                    <a:cubicBezTo>
                      <a:pt x="451" y="522"/>
                      <a:pt x="451" y="522"/>
                      <a:pt x="451" y="522"/>
                    </a:cubicBezTo>
                    <a:close/>
                    <a:moveTo>
                      <a:pt x="303" y="663"/>
                    </a:moveTo>
                    <a:cubicBezTo>
                      <a:pt x="305" y="660"/>
                      <a:pt x="305" y="660"/>
                      <a:pt x="305" y="660"/>
                    </a:cubicBezTo>
                    <a:cubicBezTo>
                      <a:pt x="306" y="658"/>
                      <a:pt x="306" y="658"/>
                      <a:pt x="306" y="658"/>
                    </a:cubicBezTo>
                    <a:cubicBezTo>
                      <a:pt x="308" y="659"/>
                      <a:pt x="308" y="659"/>
                      <a:pt x="308" y="659"/>
                    </a:cubicBezTo>
                    <a:cubicBezTo>
                      <a:pt x="311" y="656"/>
                      <a:pt x="311" y="656"/>
                      <a:pt x="311" y="656"/>
                    </a:cubicBezTo>
                    <a:cubicBezTo>
                      <a:pt x="313" y="655"/>
                      <a:pt x="313" y="655"/>
                      <a:pt x="313" y="655"/>
                    </a:cubicBezTo>
                    <a:cubicBezTo>
                      <a:pt x="316" y="649"/>
                      <a:pt x="316" y="649"/>
                      <a:pt x="316" y="649"/>
                    </a:cubicBezTo>
                    <a:cubicBezTo>
                      <a:pt x="317" y="649"/>
                      <a:pt x="317" y="649"/>
                      <a:pt x="317" y="649"/>
                    </a:cubicBezTo>
                    <a:cubicBezTo>
                      <a:pt x="321" y="652"/>
                      <a:pt x="321" y="652"/>
                      <a:pt x="321" y="652"/>
                    </a:cubicBezTo>
                    <a:cubicBezTo>
                      <a:pt x="323" y="651"/>
                      <a:pt x="323" y="651"/>
                      <a:pt x="323" y="651"/>
                    </a:cubicBezTo>
                    <a:cubicBezTo>
                      <a:pt x="326" y="651"/>
                      <a:pt x="326" y="651"/>
                      <a:pt x="326" y="651"/>
                    </a:cubicBezTo>
                    <a:cubicBezTo>
                      <a:pt x="329" y="650"/>
                      <a:pt x="329" y="650"/>
                      <a:pt x="329" y="650"/>
                    </a:cubicBezTo>
                    <a:cubicBezTo>
                      <a:pt x="330" y="648"/>
                      <a:pt x="330" y="648"/>
                      <a:pt x="330" y="648"/>
                    </a:cubicBezTo>
                    <a:cubicBezTo>
                      <a:pt x="335" y="649"/>
                      <a:pt x="335" y="649"/>
                      <a:pt x="335" y="649"/>
                    </a:cubicBezTo>
                    <a:cubicBezTo>
                      <a:pt x="338" y="652"/>
                      <a:pt x="338" y="652"/>
                      <a:pt x="338" y="652"/>
                    </a:cubicBezTo>
                    <a:cubicBezTo>
                      <a:pt x="336" y="655"/>
                      <a:pt x="336" y="655"/>
                      <a:pt x="336" y="655"/>
                    </a:cubicBezTo>
                    <a:cubicBezTo>
                      <a:pt x="341" y="660"/>
                      <a:pt x="341" y="660"/>
                      <a:pt x="341" y="660"/>
                    </a:cubicBezTo>
                    <a:cubicBezTo>
                      <a:pt x="341" y="662"/>
                      <a:pt x="341" y="662"/>
                      <a:pt x="341" y="662"/>
                    </a:cubicBezTo>
                    <a:cubicBezTo>
                      <a:pt x="336" y="661"/>
                      <a:pt x="336" y="661"/>
                      <a:pt x="336" y="661"/>
                    </a:cubicBezTo>
                    <a:cubicBezTo>
                      <a:pt x="333" y="663"/>
                      <a:pt x="333" y="663"/>
                      <a:pt x="333" y="663"/>
                    </a:cubicBezTo>
                    <a:cubicBezTo>
                      <a:pt x="327" y="664"/>
                      <a:pt x="327" y="664"/>
                      <a:pt x="327" y="664"/>
                    </a:cubicBezTo>
                    <a:cubicBezTo>
                      <a:pt x="323" y="663"/>
                      <a:pt x="323" y="663"/>
                      <a:pt x="323" y="663"/>
                    </a:cubicBezTo>
                    <a:cubicBezTo>
                      <a:pt x="316" y="663"/>
                      <a:pt x="316" y="663"/>
                      <a:pt x="316" y="663"/>
                    </a:cubicBezTo>
                    <a:cubicBezTo>
                      <a:pt x="312" y="667"/>
                      <a:pt x="312" y="667"/>
                      <a:pt x="312" y="667"/>
                    </a:cubicBezTo>
                    <a:cubicBezTo>
                      <a:pt x="311" y="667"/>
                      <a:pt x="311" y="667"/>
                      <a:pt x="311" y="667"/>
                    </a:cubicBezTo>
                    <a:cubicBezTo>
                      <a:pt x="308" y="668"/>
                      <a:pt x="308" y="668"/>
                      <a:pt x="308" y="668"/>
                    </a:cubicBezTo>
                    <a:cubicBezTo>
                      <a:pt x="304" y="666"/>
                      <a:pt x="304" y="666"/>
                      <a:pt x="304" y="666"/>
                    </a:cubicBezTo>
                    <a:lnTo>
                      <a:pt x="303" y="663"/>
                    </a:lnTo>
                    <a:close/>
                  </a:path>
                </a:pathLst>
              </a:custGeom>
              <a:solidFill>
                <a:schemeClr val="accent2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004" name="Freeform 6"/>
              <p:cNvSpPr>
                <a:spLocks noEditPoints="1"/>
              </p:cNvSpPr>
              <p:nvPr userDrawn="1"/>
            </p:nvSpPr>
            <p:spPr bwMode="auto">
              <a:xfrm>
                <a:off x="3583" y="923"/>
                <a:ext cx="260" cy="308"/>
              </a:xfrm>
              <a:custGeom>
                <a:avLst/>
                <a:gdLst>
                  <a:gd name="T0" fmla="*/ 259 w 272"/>
                  <a:gd name="T1" fmla="*/ 29 h 322"/>
                  <a:gd name="T2" fmla="*/ 111 w 272"/>
                  <a:gd name="T3" fmla="*/ 3 h 322"/>
                  <a:gd name="T4" fmla="*/ 90 w 272"/>
                  <a:gd name="T5" fmla="*/ 33 h 322"/>
                  <a:gd name="T6" fmla="*/ 119 w 272"/>
                  <a:gd name="T7" fmla="*/ 59 h 322"/>
                  <a:gd name="T8" fmla="*/ 121 w 272"/>
                  <a:gd name="T9" fmla="*/ 62 h 322"/>
                  <a:gd name="T10" fmla="*/ 108 w 272"/>
                  <a:gd name="T11" fmla="*/ 67 h 322"/>
                  <a:gd name="T12" fmla="*/ 143 w 272"/>
                  <a:gd name="T13" fmla="*/ 80 h 322"/>
                  <a:gd name="T14" fmla="*/ 169 w 272"/>
                  <a:gd name="T15" fmla="*/ 81 h 322"/>
                  <a:gd name="T16" fmla="*/ 195 w 272"/>
                  <a:gd name="T17" fmla="*/ 58 h 322"/>
                  <a:gd name="T18" fmla="*/ 190 w 272"/>
                  <a:gd name="T19" fmla="*/ 31 h 322"/>
                  <a:gd name="T20" fmla="*/ 164 w 272"/>
                  <a:gd name="T21" fmla="*/ 23 h 322"/>
                  <a:gd name="T22" fmla="*/ 151 w 272"/>
                  <a:gd name="T23" fmla="*/ 32 h 322"/>
                  <a:gd name="T24" fmla="*/ 141 w 272"/>
                  <a:gd name="T25" fmla="*/ 17 h 322"/>
                  <a:gd name="T26" fmla="*/ 141 w 272"/>
                  <a:gd name="T27" fmla="*/ 46 h 322"/>
                  <a:gd name="T28" fmla="*/ 121 w 272"/>
                  <a:gd name="T29" fmla="*/ 34 h 322"/>
                  <a:gd name="T30" fmla="*/ 105 w 272"/>
                  <a:gd name="T31" fmla="*/ 15 h 322"/>
                  <a:gd name="T32" fmla="*/ 102 w 272"/>
                  <a:gd name="T33" fmla="*/ 38 h 322"/>
                  <a:gd name="T34" fmla="*/ 91 w 272"/>
                  <a:gd name="T35" fmla="*/ 45 h 322"/>
                  <a:gd name="T36" fmla="*/ 219 w 272"/>
                  <a:gd name="T37" fmla="*/ 104 h 322"/>
                  <a:gd name="T38" fmla="*/ 226 w 272"/>
                  <a:gd name="T39" fmla="*/ 101 h 322"/>
                  <a:gd name="T40" fmla="*/ 209 w 272"/>
                  <a:gd name="T41" fmla="*/ 112 h 322"/>
                  <a:gd name="T42" fmla="*/ 168 w 272"/>
                  <a:gd name="T43" fmla="*/ 140 h 322"/>
                  <a:gd name="T44" fmla="*/ 187 w 272"/>
                  <a:gd name="T45" fmla="*/ 158 h 322"/>
                  <a:gd name="T46" fmla="*/ 164 w 272"/>
                  <a:gd name="T47" fmla="*/ 181 h 322"/>
                  <a:gd name="T48" fmla="*/ 140 w 272"/>
                  <a:gd name="T49" fmla="*/ 181 h 322"/>
                  <a:gd name="T50" fmla="*/ 139 w 272"/>
                  <a:gd name="T51" fmla="*/ 149 h 322"/>
                  <a:gd name="T52" fmla="*/ 126 w 272"/>
                  <a:gd name="T53" fmla="*/ 126 h 322"/>
                  <a:gd name="T54" fmla="*/ 149 w 272"/>
                  <a:gd name="T55" fmla="*/ 135 h 322"/>
                  <a:gd name="T56" fmla="*/ 140 w 272"/>
                  <a:gd name="T57" fmla="*/ 118 h 322"/>
                  <a:gd name="T58" fmla="*/ 11 w 272"/>
                  <a:gd name="T59" fmla="*/ 132 h 322"/>
                  <a:gd name="T60" fmla="*/ 12 w 272"/>
                  <a:gd name="T61" fmla="*/ 126 h 322"/>
                  <a:gd name="T62" fmla="*/ 89 w 272"/>
                  <a:gd name="T63" fmla="*/ 225 h 322"/>
                  <a:gd name="T64" fmla="*/ 82 w 272"/>
                  <a:gd name="T65" fmla="*/ 205 h 322"/>
                  <a:gd name="T66" fmla="*/ 61 w 272"/>
                  <a:gd name="T67" fmla="*/ 196 h 322"/>
                  <a:gd name="T68" fmla="*/ 50 w 272"/>
                  <a:gd name="T69" fmla="*/ 180 h 322"/>
                  <a:gd name="T70" fmla="*/ 69 w 272"/>
                  <a:gd name="T71" fmla="*/ 176 h 322"/>
                  <a:gd name="T72" fmla="*/ 80 w 272"/>
                  <a:gd name="T73" fmla="*/ 163 h 322"/>
                  <a:gd name="T74" fmla="*/ 71 w 272"/>
                  <a:gd name="T75" fmla="*/ 158 h 322"/>
                  <a:gd name="T76" fmla="*/ 45 w 272"/>
                  <a:gd name="T77" fmla="*/ 160 h 322"/>
                  <a:gd name="T78" fmla="*/ 60 w 272"/>
                  <a:gd name="T79" fmla="*/ 145 h 322"/>
                  <a:gd name="T80" fmla="*/ 82 w 272"/>
                  <a:gd name="T81" fmla="*/ 130 h 322"/>
                  <a:gd name="T82" fmla="*/ 65 w 272"/>
                  <a:gd name="T83" fmla="*/ 131 h 322"/>
                  <a:gd name="T84" fmla="*/ 59 w 272"/>
                  <a:gd name="T85" fmla="*/ 121 h 322"/>
                  <a:gd name="T86" fmla="*/ 56 w 272"/>
                  <a:gd name="T87" fmla="*/ 135 h 322"/>
                  <a:gd name="T88" fmla="*/ 29 w 272"/>
                  <a:gd name="T89" fmla="*/ 134 h 322"/>
                  <a:gd name="T90" fmla="*/ 17 w 272"/>
                  <a:gd name="T91" fmla="*/ 118 h 322"/>
                  <a:gd name="T92" fmla="*/ 19 w 272"/>
                  <a:gd name="T93" fmla="*/ 110 h 322"/>
                  <a:gd name="T94" fmla="*/ 16 w 272"/>
                  <a:gd name="T95" fmla="*/ 88 h 322"/>
                  <a:gd name="T96" fmla="*/ 0 w 272"/>
                  <a:gd name="T97" fmla="*/ 78 h 322"/>
                  <a:gd name="T98" fmla="*/ 19 w 272"/>
                  <a:gd name="T99" fmla="*/ 69 h 322"/>
                  <a:gd name="T100" fmla="*/ 39 w 272"/>
                  <a:gd name="T101" fmla="*/ 65 h 322"/>
                  <a:gd name="T102" fmla="*/ 36 w 272"/>
                  <a:gd name="T103" fmla="*/ 72 h 322"/>
                  <a:gd name="T104" fmla="*/ 43 w 272"/>
                  <a:gd name="T105" fmla="*/ 91 h 322"/>
                  <a:gd name="T106" fmla="*/ 57 w 272"/>
                  <a:gd name="T107" fmla="*/ 78 h 322"/>
                  <a:gd name="T108" fmla="*/ 72 w 272"/>
                  <a:gd name="T109" fmla="*/ 106 h 322"/>
                  <a:gd name="T110" fmla="*/ 63 w 272"/>
                  <a:gd name="T111" fmla="*/ 56 h 322"/>
                  <a:gd name="T112" fmla="*/ 87 w 272"/>
                  <a:gd name="T113" fmla="*/ 63 h 322"/>
                  <a:gd name="T114" fmla="*/ 97 w 272"/>
                  <a:gd name="T115" fmla="*/ 69 h 322"/>
                  <a:gd name="T116" fmla="*/ 137 w 272"/>
                  <a:gd name="T117" fmla="*/ 108 h 322"/>
                  <a:gd name="T118" fmla="*/ 117 w 272"/>
                  <a:gd name="T119" fmla="*/ 124 h 322"/>
                  <a:gd name="T120" fmla="*/ 109 w 272"/>
                  <a:gd name="T121" fmla="*/ 160 h 322"/>
                  <a:gd name="T122" fmla="*/ 99 w 272"/>
                  <a:gd name="T123" fmla="*/ 190 h 322"/>
                  <a:gd name="T124" fmla="*/ 136 w 272"/>
                  <a:gd name="T125" fmla="*/ 320 h 3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72" h="322">
                    <a:moveTo>
                      <a:pt x="252" y="28"/>
                    </a:moveTo>
                    <a:cubicBezTo>
                      <a:pt x="254" y="26"/>
                      <a:pt x="254" y="26"/>
                      <a:pt x="254" y="26"/>
                    </a:cubicBezTo>
                    <a:cubicBezTo>
                      <a:pt x="258" y="25"/>
                      <a:pt x="258" y="25"/>
                      <a:pt x="258" y="25"/>
                    </a:cubicBezTo>
                    <a:cubicBezTo>
                      <a:pt x="261" y="22"/>
                      <a:pt x="261" y="22"/>
                      <a:pt x="261" y="22"/>
                    </a:cubicBezTo>
                    <a:cubicBezTo>
                      <a:pt x="264" y="19"/>
                      <a:pt x="264" y="19"/>
                      <a:pt x="264" y="19"/>
                    </a:cubicBezTo>
                    <a:cubicBezTo>
                      <a:pt x="268" y="17"/>
                      <a:pt x="268" y="17"/>
                      <a:pt x="268" y="17"/>
                    </a:cubicBezTo>
                    <a:cubicBezTo>
                      <a:pt x="271" y="17"/>
                      <a:pt x="271" y="17"/>
                      <a:pt x="271" y="17"/>
                    </a:cubicBezTo>
                    <a:cubicBezTo>
                      <a:pt x="272" y="18"/>
                      <a:pt x="272" y="18"/>
                      <a:pt x="272" y="18"/>
                    </a:cubicBezTo>
                    <a:cubicBezTo>
                      <a:pt x="272" y="20"/>
                      <a:pt x="272" y="20"/>
                      <a:pt x="272" y="20"/>
                    </a:cubicBezTo>
                    <a:cubicBezTo>
                      <a:pt x="267" y="23"/>
                      <a:pt x="267" y="23"/>
                      <a:pt x="267" y="23"/>
                    </a:cubicBezTo>
                    <a:cubicBezTo>
                      <a:pt x="264" y="25"/>
                      <a:pt x="264" y="25"/>
                      <a:pt x="264" y="25"/>
                    </a:cubicBezTo>
                    <a:cubicBezTo>
                      <a:pt x="259" y="29"/>
                      <a:pt x="259" y="29"/>
                      <a:pt x="259" y="29"/>
                    </a:cubicBezTo>
                    <a:cubicBezTo>
                      <a:pt x="255" y="30"/>
                      <a:pt x="255" y="30"/>
                      <a:pt x="255" y="30"/>
                    </a:cubicBezTo>
                    <a:cubicBezTo>
                      <a:pt x="253" y="29"/>
                      <a:pt x="253" y="29"/>
                      <a:pt x="253" y="29"/>
                    </a:cubicBezTo>
                    <a:cubicBezTo>
                      <a:pt x="252" y="28"/>
                      <a:pt x="252" y="28"/>
                      <a:pt x="252" y="28"/>
                    </a:cubicBezTo>
                    <a:close/>
                    <a:moveTo>
                      <a:pt x="203" y="31"/>
                    </a:moveTo>
                    <a:cubicBezTo>
                      <a:pt x="205" y="34"/>
                      <a:pt x="205" y="34"/>
                      <a:pt x="205" y="34"/>
                    </a:cubicBezTo>
                    <a:cubicBezTo>
                      <a:pt x="208" y="35"/>
                      <a:pt x="208" y="35"/>
                      <a:pt x="208" y="35"/>
                    </a:cubicBezTo>
                    <a:cubicBezTo>
                      <a:pt x="209" y="33"/>
                      <a:pt x="209" y="33"/>
                      <a:pt x="209" y="33"/>
                    </a:cubicBezTo>
                    <a:cubicBezTo>
                      <a:pt x="208" y="30"/>
                      <a:pt x="208" y="30"/>
                      <a:pt x="208" y="30"/>
                    </a:cubicBezTo>
                    <a:cubicBezTo>
                      <a:pt x="205" y="28"/>
                      <a:pt x="205" y="28"/>
                      <a:pt x="205" y="28"/>
                    </a:cubicBezTo>
                    <a:cubicBezTo>
                      <a:pt x="204" y="29"/>
                      <a:pt x="204" y="29"/>
                      <a:pt x="204" y="29"/>
                    </a:cubicBezTo>
                    <a:cubicBezTo>
                      <a:pt x="203" y="31"/>
                      <a:pt x="203" y="31"/>
                      <a:pt x="203" y="31"/>
                    </a:cubicBezTo>
                    <a:close/>
                    <a:moveTo>
                      <a:pt x="111" y="3"/>
                    </a:moveTo>
                    <a:cubicBezTo>
                      <a:pt x="118" y="8"/>
                      <a:pt x="118" y="8"/>
                      <a:pt x="118" y="8"/>
                    </a:cubicBezTo>
                    <a:cubicBezTo>
                      <a:pt x="120" y="8"/>
                      <a:pt x="120" y="8"/>
                      <a:pt x="120" y="8"/>
                    </a:cubicBezTo>
                    <a:cubicBezTo>
                      <a:pt x="122" y="7"/>
                      <a:pt x="122" y="7"/>
                      <a:pt x="122" y="7"/>
                    </a:cubicBezTo>
                    <a:cubicBezTo>
                      <a:pt x="124" y="4"/>
                      <a:pt x="124" y="4"/>
                      <a:pt x="124" y="4"/>
                    </a:cubicBezTo>
                    <a:cubicBezTo>
                      <a:pt x="122" y="3"/>
                      <a:pt x="122" y="3"/>
                      <a:pt x="122" y="3"/>
                    </a:cubicBezTo>
                    <a:cubicBezTo>
                      <a:pt x="118" y="4"/>
                      <a:pt x="118" y="4"/>
                      <a:pt x="118" y="4"/>
                    </a:cubicBezTo>
                    <a:cubicBezTo>
                      <a:pt x="114" y="1"/>
                      <a:pt x="114" y="1"/>
                      <a:pt x="114" y="1"/>
                    </a:cubicBezTo>
                    <a:cubicBezTo>
                      <a:pt x="111" y="0"/>
                      <a:pt x="111" y="0"/>
                      <a:pt x="111" y="0"/>
                    </a:cubicBezTo>
                    <a:cubicBezTo>
                      <a:pt x="110" y="2"/>
                      <a:pt x="110" y="2"/>
                      <a:pt x="110" y="2"/>
                    </a:cubicBezTo>
                    <a:cubicBezTo>
                      <a:pt x="111" y="3"/>
                      <a:pt x="111" y="3"/>
                      <a:pt x="111" y="3"/>
                    </a:cubicBezTo>
                    <a:close/>
                    <a:moveTo>
                      <a:pt x="93" y="35"/>
                    </a:moveTo>
                    <a:cubicBezTo>
                      <a:pt x="90" y="33"/>
                      <a:pt x="90" y="33"/>
                      <a:pt x="90" y="33"/>
                    </a:cubicBezTo>
                    <a:cubicBezTo>
                      <a:pt x="89" y="31"/>
                      <a:pt x="89" y="31"/>
                      <a:pt x="89" y="31"/>
                    </a:cubicBezTo>
                    <a:cubicBezTo>
                      <a:pt x="90" y="29"/>
                      <a:pt x="90" y="29"/>
                      <a:pt x="90" y="29"/>
                    </a:cubicBezTo>
                    <a:cubicBezTo>
                      <a:pt x="92" y="27"/>
                      <a:pt x="92" y="27"/>
                      <a:pt x="92" y="27"/>
                    </a:cubicBezTo>
                    <a:cubicBezTo>
                      <a:pt x="94" y="28"/>
                      <a:pt x="94" y="28"/>
                      <a:pt x="94" y="28"/>
                    </a:cubicBezTo>
                    <a:cubicBezTo>
                      <a:pt x="96" y="31"/>
                      <a:pt x="96" y="31"/>
                      <a:pt x="96" y="31"/>
                    </a:cubicBezTo>
                    <a:cubicBezTo>
                      <a:pt x="96" y="33"/>
                      <a:pt x="96" y="33"/>
                      <a:pt x="96" y="33"/>
                    </a:cubicBezTo>
                    <a:cubicBezTo>
                      <a:pt x="94" y="34"/>
                      <a:pt x="94" y="34"/>
                      <a:pt x="94" y="34"/>
                    </a:cubicBezTo>
                    <a:cubicBezTo>
                      <a:pt x="93" y="35"/>
                      <a:pt x="93" y="35"/>
                      <a:pt x="93" y="35"/>
                    </a:cubicBezTo>
                    <a:close/>
                    <a:moveTo>
                      <a:pt x="111" y="63"/>
                    </a:moveTo>
                    <a:cubicBezTo>
                      <a:pt x="112" y="63"/>
                      <a:pt x="112" y="63"/>
                      <a:pt x="112" y="63"/>
                    </a:cubicBezTo>
                    <a:cubicBezTo>
                      <a:pt x="117" y="60"/>
                      <a:pt x="117" y="60"/>
                      <a:pt x="117" y="60"/>
                    </a:cubicBezTo>
                    <a:cubicBezTo>
                      <a:pt x="119" y="59"/>
                      <a:pt x="119" y="59"/>
                      <a:pt x="119" y="59"/>
                    </a:cubicBezTo>
                    <a:cubicBezTo>
                      <a:pt x="126" y="58"/>
                      <a:pt x="126" y="58"/>
                      <a:pt x="126" y="58"/>
                    </a:cubicBezTo>
                    <a:cubicBezTo>
                      <a:pt x="131" y="59"/>
                      <a:pt x="131" y="59"/>
                      <a:pt x="131" y="59"/>
                    </a:cubicBezTo>
                    <a:cubicBezTo>
                      <a:pt x="134" y="57"/>
                      <a:pt x="134" y="57"/>
                      <a:pt x="134" y="57"/>
                    </a:cubicBezTo>
                    <a:cubicBezTo>
                      <a:pt x="136" y="56"/>
                      <a:pt x="136" y="56"/>
                      <a:pt x="136" y="56"/>
                    </a:cubicBezTo>
                    <a:cubicBezTo>
                      <a:pt x="138" y="57"/>
                      <a:pt x="138" y="57"/>
                      <a:pt x="138" y="57"/>
                    </a:cubicBezTo>
                    <a:cubicBezTo>
                      <a:pt x="138" y="59"/>
                      <a:pt x="138" y="59"/>
                      <a:pt x="138" y="59"/>
                    </a:cubicBezTo>
                    <a:cubicBezTo>
                      <a:pt x="136" y="60"/>
                      <a:pt x="136" y="60"/>
                      <a:pt x="136" y="60"/>
                    </a:cubicBezTo>
                    <a:cubicBezTo>
                      <a:pt x="135" y="62"/>
                      <a:pt x="135" y="62"/>
                      <a:pt x="135" y="62"/>
                    </a:cubicBezTo>
                    <a:cubicBezTo>
                      <a:pt x="133" y="64"/>
                      <a:pt x="133" y="64"/>
                      <a:pt x="133" y="64"/>
                    </a:cubicBezTo>
                    <a:cubicBezTo>
                      <a:pt x="129" y="63"/>
                      <a:pt x="129" y="63"/>
                      <a:pt x="129" y="63"/>
                    </a:cubicBezTo>
                    <a:cubicBezTo>
                      <a:pt x="124" y="63"/>
                      <a:pt x="124" y="63"/>
                      <a:pt x="124" y="63"/>
                    </a:cubicBezTo>
                    <a:cubicBezTo>
                      <a:pt x="121" y="62"/>
                      <a:pt x="121" y="62"/>
                      <a:pt x="121" y="62"/>
                    </a:cubicBezTo>
                    <a:cubicBezTo>
                      <a:pt x="120" y="63"/>
                      <a:pt x="120" y="63"/>
                      <a:pt x="120" y="63"/>
                    </a:cubicBezTo>
                    <a:cubicBezTo>
                      <a:pt x="122" y="65"/>
                      <a:pt x="122" y="65"/>
                      <a:pt x="122" y="65"/>
                    </a:cubicBezTo>
                    <a:cubicBezTo>
                      <a:pt x="127" y="66"/>
                      <a:pt x="127" y="66"/>
                      <a:pt x="127" y="66"/>
                    </a:cubicBezTo>
                    <a:cubicBezTo>
                      <a:pt x="129" y="67"/>
                      <a:pt x="129" y="67"/>
                      <a:pt x="129" y="67"/>
                    </a:cubicBezTo>
                    <a:cubicBezTo>
                      <a:pt x="129" y="69"/>
                      <a:pt x="129" y="69"/>
                      <a:pt x="129" y="69"/>
                    </a:cubicBezTo>
                    <a:cubicBezTo>
                      <a:pt x="128" y="69"/>
                      <a:pt x="128" y="69"/>
                      <a:pt x="128" y="69"/>
                    </a:cubicBezTo>
                    <a:cubicBezTo>
                      <a:pt x="124" y="68"/>
                      <a:pt x="124" y="68"/>
                      <a:pt x="124" y="68"/>
                    </a:cubicBezTo>
                    <a:cubicBezTo>
                      <a:pt x="123" y="69"/>
                      <a:pt x="123" y="69"/>
                      <a:pt x="123" y="69"/>
                    </a:cubicBezTo>
                    <a:cubicBezTo>
                      <a:pt x="120" y="69"/>
                      <a:pt x="120" y="69"/>
                      <a:pt x="120" y="69"/>
                    </a:cubicBezTo>
                    <a:cubicBezTo>
                      <a:pt x="117" y="66"/>
                      <a:pt x="117" y="66"/>
                      <a:pt x="117" y="66"/>
                    </a:cubicBezTo>
                    <a:cubicBezTo>
                      <a:pt x="113" y="66"/>
                      <a:pt x="113" y="66"/>
                      <a:pt x="113" y="66"/>
                    </a:cubicBezTo>
                    <a:cubicBezTo>
                      <a:pt x="108" y="67"/>
                      <a:pt x="108" y="67"/>
                      <a:pt x="108" y="67"/>
                    </a:cubicBezTo>
                    <a:cubicBezTo>
                      <a:pt x="109" y="69"/>
                      <a:pt x="109" y="69"/>
                      <a:pt x="109" y="69"/>
                    </a:cubicBezTo>
                    <a:cubicBezTo>
                      <a:pt x="111" y="70"/>
                      <a:pt x="111" y="70"/>
                      <a:pt x="111" y="70"/>
                    </a:cubicBezTo>
                    <a:cubicBezTo>
                      <a:pt x="118" y="76"/>
                      <a:pt x="118" y="76"/>
                      <a:pt x="118" y="76"/>
                    </a:cubicBezTo>
                    <a:cubicBezTo>
                      <a:pt x="120" y="77"/>
                      <a:pt x="120" y="77"/>
                      <a:pt x="120" y="77"/>
                    </a:cubicBezTo>
                    <a:cubicBezTo>
                      <a:pt x="123" y="75"/>
                      <a:pt x="123" y="75"/>
                      <a:pt x="123" y="75"/>
                    </a:cubicBezTo>
                    <a:cubicBezTo>
                      <a:pt x="125" y="76"/>
                      <a:pt x="125" y="76"/>
                      <a:pt x="125" y="76"/>
                    </a:cubicBezTo>
                    <a:cubicBezTo>
                      <a:pt x="127" y="79"/>
                      <a:pt x="127" y="79"/>
                      <a:pt x="127" y="79"/>
                    </a:cubicBezTo>
                    <a:cubicBezTo>
                      <a:pt x="127" y="82"/>
                      <a:pt x="127" y="82"/>
                      <a:pt x="127" y="82"/>
                    </a:cubicBezTo>
                    <a:cubicBezTo>
                      <a:pt x="129" y="83"/>
                      <a:pt x="129" y="83"/>
                      <a:pt x="129" y="83"/>
                    </a:cubicBezTo>
                    <a:cubicBezTo>
                      <a:pt x="133" y="82"/>
                      <a:pt x="133" y="82"/>
                      <a:pt x="133" y="82"/>
                    </a:cubicBezTo>
                    <a:cubicBezTo>
                      <a:pt x="138" y="81"/>
                      <a:pt x="138" y="81"/>
                      <a:pt x="138" y="81"/>
                    </a:cubicBezTo>
                    <a:cubicBezTo>
                      <a:pt x="143" y="80"/>
                      <a:pt x="143" y="80"/>
                      <a:pt x="143" y="80"/>
                    </a:cubicBezTo>
                    <a:cubicBezTo>
                      <a:pt x="147" y="79"/>
                      <a:pt x="147" y="79"/>
                      <a:pt x="147" y="79"/>
                    </a:cubicBezTo>
                    <a:cubicBezTo>
                      <a:pt x="152" y="78"/>
                      <a:pt x="152" y="78"/>
                      <a:pt x="152" y="78"/>
                    </a:cubicBezTo>
                    <a:cubicBezTo>
                      <a:pt x="153" y="80"/>
                      <a:pt x="153" y="80"/>
                      <a:pt x="153" y="80"/>
                    </a:cubicBezTo>
                    <a:cubicBezTo>
                      <a:pt x="152" y="84"/>
                      <a:pt x="152" y="84"/>
                      <a:pt x="152" y="84"/>
                    </a:cubicBezTo>
                    <a:cubicBezTo>
                      <a:pt x="153" y="87"/>
                      <a:pt x="153" y="87"/>
                      <a:pt x="153" y="87"/>
                    </a:cubicBezTo>
                    <a:cubicBezTo>
                      <a:pt x="157" y="90"/>
                      <a:pt x="157" y="90"/>
                      <a:pt x="157" y="90"/>
                    </a:cubicBezTo>
                    <a:cubicBezTo>
                      <a:pt x="161" y="90"/>
                      <a:pt x="161" y="90"/>
                      <a:pt x="161" y="90"/>
                    </a:cubicBezTo>
                    <a:cubicBezTo>
                      <a:pt x="167" y="89"/>
                      <a:pt x="167" y="89"/>
                      <a:pt x="167" y="89"/>
                    </a:cubicBezTo>
                    <a:cubicBezTo>
                      <a:pt x="168" y="87"/>
                      <a:pt x="168" y="87"/>
                      <a:pt x="168" y="87"/>
                    </a:cubicBezTo>
                    <a:cubicBezTo>
                      <a:pt x="168" y="85"/>
                      <a:pt x="168" y="85"/>
                      <a:pt x="168" y="85"/>
                    </a:cubicBezTo>
                    <a:cubicBezTo>
                      <a:pt x="167" y="83"/>
                      <a:pt x="167" y="83"/>
                      <a:pt x="167" y="83"/>
                    </a:cubicBezTo>
                    <a:cubicBezTo>
                      <a:pt x="169" y="81"/>
                      <a:pt x="169" y="81"/>
                      <a:pt x="169" y="81"/>
                    </a:cubicBezTo>
                    <a:cubicBezTo>
                      <a:pt x="172" y="78"/>
                      <a:pt x="172" y="78"/>
                      <a:pt x="172" y="78"/>
                    </a:cubicBezTo>
                    <a:cubicBezTo>
                      <a:pt x="175" y="77"/>
                      <a:pt x="175" y="77"/>
                      <a:pt x="175" y="77"/>
                    </a:cubicBezTo>
                    <a:cubicBezTo>
                      <a:pt x="177" y="79"/>
                      <a:pt x="177" y="79"/>
                      <a:pt x="177" y="79"/>
                    </a:cubicBezTo>
                    <a:cubicBezTo>
                      <a:pt x="180" y="81"/>
                      <a:pt x="180" y="81"/>
                      <a:pt x="180" y="81"/>
                    </a:cubicBezTo>
                    <a:cubicBezTo>
                      <a:pt x="184" y="81"/>
                      <a:pt x="184" y="81"/>
                      <a:pt x="184" y="81"/>
                    </a:cubicBezTo>
                    <a:cubicBezTo>
                      <a:pt x="188" y="78"/>
                      <a:pt x="188" y="78"/>
                      <a:pt x="188" y="78"/>
                    </a:cubicBezTo>
                    <a:cubicBezTo>
                      <a:pt x="189" y="76"/>
                      <a:pt x="189" y="76"/>
                      <a:pt x="189" y="76"/>
                    </a:cubicBezTo>
                    <a:cubicBezTo>
                      <a:pt x="188" y="72"/>
                      <a:pt x="188" y="72"/>
                      <a:pt x="188" y="72"/>
                    </a:cubicBezTo>
                    <a:cubicBezTo>
                      <a:pt x="187" y="69"/>
                      <a:pt x="187" y="69"/>
                      <a:pt x="187" y="69"/>
                    </a:cubicBezTo>
                    <a:cubicBezTo>
                      <a:pt x="189" y="66"/>
                      <a:pt x="189" y="66"/>
                      <a:pt x="189" y="66"/>
                    </a:cubicBezTo>
                    <a:cubicBezTo>
                      <a:pt x="192" y="64"/>
                      <a:pt x="192" y="64"/>
                      <a:pt x="192" y="64"/>
                    </a:cubicBezTo>
                    <a:cubicBezTo>
                      <a:pt x="195" y="58"/>
                      <a:pt x="195" y="58"/>
                      <a:pt x="195" y="58"/>
                    </a:cubicBezTo>
                    <a:cubicBezTo>
                      <a:pt x="197" y="55"/>
                      <a:pt x="197" y="55"/>
                      <a:pt x="197" y="55"/>
                    </a:cubicBezTo>
                    <a:cubicBezTo>
                      <a:pt x="201" y="51"/>
                      <a:pt x="201" y="51"/>
                      <a:pt x="201" y="51"/>
                    </a:cubicBezTo>
                    <a:cubicBezTo>
                      <a:pt x="202" y="48"/>
                      <a:pt x="202" y="48"/>
                      <a:pt x="202" y="48"/>
                    </a:cubicBezTo>
                    <a:cubicBezTo>
                      <a:pt x="202" y="45"/>
                      <a:pt x="202" y="45"/>
                      <a:pt x="202" y="45"/>
                    </a:cubicBezTo>
                    <a:cubicBezTo>
                      <a:pt x="201" y="42"/>
                      <a:pt x="201" y="42"/>
                      <a:pt x="201" y="42"/>
                    </a:cubicBezTo>
                    <a:cubicBezTo>
                      <a:pt x="200" y="39"/>
                      <a:pt x="200" y="39"/>
                      <a:pt x="200" y="39"/>
                    </a:cubicBezTo>
                    <a:cubicBezTo>
                      <a:pt x="201" y="37"/>
                      <a:pt x="201" y="37"/>
                      <a:pt x="201" y="37"/>
                    </a:cubicBezTo>
                    <a:cubicBezTo>
                      <a:pt x="202" y="35"/>
                      <a:pt x="202" y="35"/>
                      <a:pt x="202" y="35"/>
                    </a:cubicBezTo>
                    <a:cubicBezTo>
                      <a:pt x="200" y="34"/>
                      <a:pt x="200" y="34"/>
                      <a:pt x="200" y="34"/>
                    </a:cubicBezTo>
                    <a:cubicBezTo>
                      <a:pt x="195" y="34"/>
                      <a:pt x="195" y="34"/>
                      <a:pt x="195" y="34"/>
                    </a:cubicBezTo>
                    <a:cubicBezTo>
                      <a:pt x="192" y="32"/>
                      <a:pt x="192" y="32"/>
                      <a:pt x="192" y="32"/>
                    </a:cubicBezTo>
                    <a:cubicBezTo>
                      <a:pt x="190" y="31"/>
                      <a:pt x="190" y="31"/>
                      <a:pt x="190" y="31"/>
                    </a:cubicBezTo>
                    <a:cubicBezTo>
                      <a:pt x="183" y="32"/>
                      <a:pt x="183" y="32"/>
                      <a:pt x="183" y="32"/>
                    </a:cubicBezTo>
                    <a:cubicBezTo>
                      <a:pt x="180" y="31"/>
                      <a:pt x="180" y="31"/>
                      <a:pt x="180" y="31"/>
                    </a:cubicBezTo>
                    <a:cubicBezTo>
                      <a:pt x="177" y="29"/>
                      <a:pt x="177" y="29"/>
                      <a:pt x="177" y="29"/>
                    </a:cubicBezTo>
                    <a:cubicBezTo>
                      <a:pt x="174" y="30"/>
                      <a:pt x="174" y="30"/>
                      <a:pt x="174" y="30"/>
                    </a:cubicBezTo>
                    <a:cubicBezTo>
                      <a:pt x="171" y="28"/>
                      <a:pt x="171" y="28"/>
                      <a:pt x="171" y="28"/>
                    </a:cubicBezTo>
                    <a:cubicBezTo>
                      <a:pt x="171" y="26"/>
                      <a:pt x="171" y="26"/>
                      <a:pt x="171" y="26"/>
                    </a:cubicBezTo>
                    <a:cubicBezTo>
                      <a:pt x="169" y="25"/>
                      <a:pt x="169" y="25"/>
                      <a:pt x="169" y="25"/>
                    </a:cubicBezTo>
                    <a:cubicBezTo>
                      <a:pt x="166" y="27"/>
                      <a:pt x="166" y="27"/>
                      <a:pt x="166" y="27"/>
                    </a:cubicBezTo>
                    <a:cubicBezTo>
                      <a:pt x="166" y="26"/>
                      <a:pt x="166" y="26"/>
                      <a:pt x="166" y="26"/>
                    </a:cubicBezTo>
                    <a:cubicBezTo>
                      <a:pt x="166" y="23"/>
                      <a:pt x="166" y="23"/>
                      <a:pt x="166" y="23"/>
                    </a:cubicBezTo>
                    <a:cubicBezTo>
                      <a:pt x="166" y="21"/>
                      <a:pt x="166" y="21"/>
                      <a:pt x="166" y="21"/>
                    </a:cubicBezTo>
                    <a:cubicBezTo>
                      <a:pt x="164" y="23"/>
                      <a:pt x="164" y="23"/>
                      <a:pt x="164" y="23"/>
                    </a:cubicBezTo>
                    <a:cubicBezTo>
                      <a:pt x="163" y="26"/>
                      <a:pt x="163" y="26"/>
                      <a:pt x="163" y="26"/>
                    </a:cubicBezTo>
                    <a:cubicBezTo>
                      <a:pt x="161" y="27"/>
                      <a:pt x="161" y="27"/>
                      <a:pt x="161" y="27"/>
                    </a:cubicBezTo>
                    <a:cubicBezTo>
                      <a:pt x="160" y="22"/>
                      <a:pt x="160" y="22"/>
                      <a:pt x="160" y="22"/>
                    </a:cubicBezTo>
                    <a:cubicBezTo>
                      <a:pt x="160" y="22"/>
                      <a:pt x="160" y="22"/>
                      <a:pt x="160" y="22"/>
                    </a:cubicBezTo>
                    <a:cubicBezTo>
                      <a:pt x="158" y="24"/>
                      <a:pt x="158" y="24"/>
                      <a:pt x="158" y="24"/>
                    </a:cubicBezTo>
                    <a:cubicBezTo>
                      <a:pt x="159" y="25"/>
                      <a:pt x="159" y="25"/>
                      <a:pt x="159" y="25"/>
                    </a:cubicBezTo>
                    <a:cubicBezTo>
                      <a:pt x="158" y="27"/>
                      <a:pt x="158" y="27"/>
                      <a:pt x="158" y="27"/>
                    </a:cubicBezTo>
                    <a:cubicBezTo>
                      <a:pt x="156" y="29"/>
                      <a:pt x="156" y="29"/>
                      <a:pt x="156" y="29"/>
                    </a:cubicBezTo>
                    <a:cubicBezTo>
                      <a:pt x="156" y="33"/>
                      <a:pt x="156" y="33"/>
                      <a:pt x="156" y="33"/>
                    </a:cubicBezTo>
                    <a:cubicBezTo>
                      <a:pt x="155" y="35"/>
                      <a:pt x="155" y="35"/>
                      <a:pt x="155" y="35"/>
                    </a:cubicBezTo>
                    <a:cubicBezTo>
                      <a:pt x="152" y="34"/>
                      <a:pt x="152" y="34"/>
                      <a:pt x="152" y="34"/>
                    </a:cubicBezTo>
                    <a:cubicBezTo>
                      <a:pt x="151" y="32"/>
                      <a:pt x="151" y="32"/>
                      <a:pt x="151" y="32"/>
                    </a:cubicBezTo>
                    <a:cubicBezTo>
                      <a:pt x="150" y="31"/>
                      <a:pt x="150" y="31"/>
                      <a:pt x="150" y="31"/>
                    </a:cubicBezTo>
                    <a:cubicBezTo>
                      <a:pt x="150" y="34"/>
                      <a:pt x="150" y="34"/>
                      <a:pt x="150" y="34"/>
                    </a:cubicBezTo>
                    <a:cubicBezTo>
                      <a:pt x="149" y="36"/>
                      <a:pt x="149" y="36"/>
                      <a:pt x="149" y="36"/>
                    </a:cubicBezTo>
                    <a:cubicBezTo>
                      <a:pt x="148" y="34"/>
                      <a:pt x="148" y="34"/>
                      <a:pt x="148" y="34"/>
                    </a:cubicBezTo>
                    <a:cubicBezTo>
                      <a:pt x="148" y="31"/>
                      <a:pt x="148" y="31"/>
                      <a:pt x="148" y="31"/>
                    </a:cubicBezTo>
                    <a:cubicBezTo>
                      <a:pt x="149" y="27"/>
                      <a:pt x="149" y="27"/>
                      <a:pt x="149" y="27"/>
                    </a:cubicBezTo>
                    <a:cubicBezTo>
                      <a:pt x="149" y="21"/>
                      <a:pt x="149" y="21"/>
                      <a:pt x="149" y="21"/>
                    </a:cubicBezTo>
                    <a:cubicBezTo>
                      <a:pt x="148" y="19"/>
                      <a:pt x="148" y="19"/>
                      <a:pt x="148" y="19"/>
                    </a:cubicBezTo>
                    <a:cubicBezTo>
                      <a:pt x="144" y="17"/>
                      <a:pt x="144" y="17"/>
                      <a:pt x="144" y="17"/>
                    </a:cubicBezTo>
                    <a:cubicBezTo>
                      <a:pt x="142" y="14"/>
                      <a:pt x="142" y="14"/>
                      <a:pt x="142" y="14"/>
                    </a:cubicBezTo>
                    <a:cubicBezTo>
                      <a:pt x="141" y="14"/>
                      <a:pt x="141" y="14"/>
                      <a:pt x="141" y="14"/>
                    </a:cubicBezTo>
                    <a:cubicBezTo>
                      <a:pt x="141" y="17"/>
                      <a:pt x="141" y="17"/>
                      <a:pt x="141" y="17"/>
                    </a:cubicBezTo>
                    <a:cubicBezTo>
                      <a:pt x="143" y="19"/>
                      <a:pt x="143" y="19"/>
                      <a:pt x="143" y="19"/>
                    </a:cubicBezTo>
                    <a:cubicBezTo>
                      <a:pt x="144" y="21"/>
                      <a:pt x="144" y="21"/>
                      <a:pt x="144" y="21"/>
                    </a:cubicBezTo>
                    <a:cubicBezTo>
                      <a:pt x="141" y="21"/>
                      <a:pt x="141" y="21"/>
                      <a:pt x="141" y="21"/>
                    </a:cubicBezTo>
                    <a:cubicBezTo>
                      <a:pt x="139" y="19"/>
                      <a:pt x="139" y="19"/>
                      <a:pt x="139" y="19"/>
                    </a:cubicBezTo>
                    <a:cubicBezTo>
                      <a:pt x="138" y="20"/>
                      <a:pt x="138" y="20"/>
                      <a:pt x="138" y="20"/>
                    </a:cubicBezTo>
                    <a:cubicBezTo>
                      <a:pt x="138" y="23"/>
                      <a:pt x="138" y="23"/>
                      <a:pt x="138" y="23"/>
                    </a:cubicBezTo>
                    <a:cubicBezTo>
                      <a:pt x="141" y="26"/>
                      <a:pt x="141" y="26"/>
                      <a:pt x="141" y="26"/>
                    </a:cubicBezTo>
                    <a:cubicBezTo>
                      <a:pt x="141" y="30"/>
                      <a:pt x="141" y="30"/>
                      <a:pt x="141" y="30"/>
                    </a:cubicBezTo>
                    <a:cubicBezTo>
                      <a:pt x="140" y="33"/>
                      <a:pt x="140" y="33"/>
                      <a:pt x="140" y="33"/>
                    </a:cubicBezTo>
                    <a:cubicBezTo>
                      <a:pt x="140" y="37"/>
                      <a:pt x="140" y="37"/>
                      <a:pt x="140" y="37"/>
                    </a:cubicBezTo>
                    <a:cubicBezTo>
                      <a:pt x="142" y="42"/>
                      <a:pt x="142" y="42"/>
                      <a:pt x="142" y="42"/>
                    </a:cubicBezTo>
                    <a:cubicBezTo>
                      <a:pt x="141" y="46"/>
                      <a:pt x="141" y="46"/>
                      <a:pt x="141" y="46"/>
                    </a:cubicBezTo>
                    <a:cubicBezTo>
                      <a:pt x="140" y="46"/>
                      <a:pt x="140" y="46"/>
                      <a:pt x="140" y="46"/>
                    </a:cubicBezTo>
                    <a:cubicBezTo>
                      <a:pt x="138" y="42"/>
                      <a:pt x="138" y="42"/>
                      <a:pt x="138" y="42"/>
                    </a:cubicBezTo>
                    <a:cubicBezTo>
                      <a:pt x="135" y="39"/>
                      <a:pt x="135" y="39"/>
                      <a:pt x="135" y="39"/>
                    </a:cubicBezTo>
                    <a:cubicBezTo>
                      <a:pt x="132" y="37"/>
                      <a:pt x="132" y="37"/>
                      <a:pt x="132" y="37"/>
                    </a:cubicBezTo>
                    <a:cubicBezTo>
                      <a:pt x="131" y="35"/>
                      <a:pt x="131" y="35"/>
                      <a:pt x="131" y="35"/>
                    </a:cubicBezTo>
                    <a:cubicBezTo>
                      <a:pt x="133" y="32"/>
                      <a:pt x="133" y="32"/>
                      <a:pt x="133" y="32"/>
                    </a:cubicBezTo>
                    <a:cubicBezTo>
                      <a:pt x="133" y="31"/>
                      <a:pt x="133" y="31"/>
                      <a:pt x="133" y="31"/>
                    </a:cubicBezTo>
                    <a:cubicBezTo>
                      <a:pt x="130" y="29"/>
                      <a:pt x="130" y="29"/>
                      <a:pt x="130" y="29"/>
                    </a:cubicBezTo>
                    <a:cubicBezTo>
                      <a:pt x="127" y="31"/>
                      <a:pt x="127" y="31"/>
                      <a:pt x="127" y="31"/>
                    </a:cubicBezTo>
                    <a:cubicBezTo>
                      <a:pt x="125" y="31"/>
                      <a:pt x="125" y="31"/>
                      <a:pt x="125" y="31"/>
                    </a:cubicBezTo>
                    <a:cubicBezTo>
                      <a:pt x="124" y="32"/>
                      <a:pt x="124" y="32"/>
                      <a:pt x="124" y="32"/>
                    </a:cubicBezTo>
                    <a:cubicBezTo>
                      <a:pt x="121" y="34"/>
                      <a:pt x="121" y="34"/>
                      <a:pt x="121" y="34"/>
                    </a:cubicBezTo>
                    <a:cubicBezTo>
                      <a:pt x="119" y="33"/>
                      <a:pt x="119" y="33"/>
                      <a:pt x="119" y="33"/>
                    </a:cubicBezTo>
                    <a:cubicBezTo>
                      <a:pt x="119" y="31"/>
                      <a:pt x="119" y="31"/>
                      <a:pt x="119" y="31"/>
                    </a:cubicBezTo>
                    <a:cubicBezTo>
                      <a:pt x="119" y="30"/>
                      <a:pt x="119" y="30"/>
                      <a:pt x="119" y="30"/>
                    </a:cubicBezTo>
                    <a:cubicBezTo>
                      <a:pt x="116" y="30"/>
                      <a:pt x="116" y="30"/>
                      <a:pt x="116" y="30"/>
                    </a:cubicBezTo>
                    <a:cubicBezTo>
                      <a:pt x="114" y="27"/>
                      <a:pt x="114" y="27"/>
                      <a:pt x="114" y="27"/>
                    </a:cubicBezTo>
                    <a:cubicBezTo>
                      <a:pt x="113" y="24"/>
                      <a:pt x="113" y="24"/>
                      <a:pt x="113" y="24"/>
                    </a:cubicBezTo>
                    <a:cubicBezTo>
                      <a:pt x="110" y="23"/>
                      <a:pt x="110" y="23"/>
                      <a:pt x="110" y="23"/>
                    </a:cubicBezTo>
                    <a:cubicBezTo>
                      <a:pt x="109" y="23"/>
                      <a:pt x="109" y="23"/>
                      <a:pt x="109" y="23"/>
                    </a:cubicBezTo>
                    <a:cubicBezTo>
                      <a:pt x="107" y="21"/>
                      <a:pt x="107" y="21"/>
                      <a:pt x="107" y="21"/>
                    </a:cubicBezTo>
                    <a:cubicBezTo>
                      <a:pt x="108" y="18"/>
                      <a:pt x="108" y="18"/>
                      <a:pt x="108" y="18"/>
                    </a:cubicBezTo>
                    <a:cubicBezTo>
                      <a:pt x="106" y="15"/>
                      <a:pt x="106" y="15"/>
                      <a:pt x="106" y="15"/>
                    </a:cubicBezTo>
                    <a:cubicBezTo>
                      <a:pt x="105" y="15"/>
                      <a:pt x="105" y="15"/>
                      <a:pt x="105" y="15"/>
                    </a:cubicBezTo>
                    <a:cubicBezTo>
                      <a:pt x="103" y="17"/>
                      <a:pt x="103" y="17"/>
                      <a:pt x="103" y="17"/>
                    </a:cubicBezTo>
                    <a:cubicBezTo>
                      <a:pt x="102" y="22"/>
                      <a:pt x="102" y="22"/>
                      <a:pt x="102" y="22"/>
                    </a:cubicBezTo>
                    <a:cubicBezTo>
                      <a:pt x="103" y="26"/>
                      <a:pt x="103" y="26"/>
                      <a:pt x="103" y="26"/>
                    </a:cubicBezTo>
                    <a:cubicBezTo>
                      <a:pt x="105" y="30"/>
                      <a:pt x="105" y="30"/>
                      <a:pt x="105" y="30"/>
                    </a:cubicBezTo>
                    <a:cubicBezTo>
                      <a:pt x="106" y="34"/>
                      <a:pt x="106" y="34"/>
                      <a:pt x="106" y="34"/>
                    </a:cubicBezTo>
                    <a:cubicBezTo>
                      <a:pt x="105" y="35"/>
                      <a:pt x="105" y="35"/>
                      <a:pt x="105" y="35"/>
                    </a:cubicBezTo>
                    <a:cubicBezTo>
                      <a:pt x="102" y="33"/>
                      <a:pt x="102" y="33"/>
                      <a:pt x="102" y="33"/>
                    </a:cubicBezTo>
                    <a:cubicBezTo>
                      <a:pt x="101" y="30"/>
                      <a:pt x="101" y="30"/>
                      <a:pt x="101" y="30"/>
                    </a:cubicBezTo>
                    <a:cubicBezTo>
                      <a:pt x="100" y="29"/>
                      <a:pt x="100" y="29"/>
                      <a:pt x="100" y="29"/>
                    </a:cubicBezTo>
                    <a:cubicBezTo>
                      <a:pt x="100" y="32"/>
                      <a:pt x="100" y="32"/>
                      <a:pt x="100" y="32"/>
                    </a:cubicBezTo>
                    <a:cubicBezTo>
                      <a:pt x="101" y="36"/>
                      <a:pt x="101" y="36"/>
                      <a:pt x="101" y="36"/>
                    </a:cubicBezTo>
                    <a:cubicBezTo>
                      <a:pt x="102" y="38"/>
                      <a:pt x="102" y="38"/>
                      <a:pt x="102" y="38"/>
                    </a:cubicBezTo>
                    <a:cubicBezTo>
                      <a:pt x="102" y="41"/>
                      <a:pt x="102" y="41"/>
                      <a:pt x="102" y="41"/>
                    </a:cubicBezTo>
                    <a:cubicBezTo>
                      <a:pt x="101" y="44"/>
                      <a:pt x="101" y="44"/>
                      <a:pt x="101" y="44"/>
                    </a:cubicBezTo>
                    <a:cubicBezTo>
                      <a:pt x="100" y="43"/>
                      <a:pt x="100" y="43"/>
                      <a:pt x="100" y="43"/>
                    </a:cubicBezTo>
                    <a:cubicBezTo>
                      <a:pt x="98" y="39"/>
                      <a:pt x="98" y="39"/>
                      <a:pt x="98" y="39"/>
                    </a:cubicBezTo>
                    <a:cubicBezTo>
                      <a:pt x="97" y="37"/>
                      <a:pt x="97" y="37"/>
                      <a:pt x="97" y="37"/>
                    </a:cubicBezTo>
                    <a:cubicBezTo>
                      <a:pt x="90" y="38"/>
                      <a:pt x="90" y="38"/>
                      <a:pt x="90" y="38"/>
                    </a:cubicBezTo>
                    <a:cubicBezTo>
                      <a:pt x="88" y="36"/>
                      <a:pt x="88" y="36"/>
                      <a:pt x="88" y="36"/>
                    </a:cubicBezTo>
                    <a:cubicBezTo>
                      <a:pt x="86" y="38"/>
                      <a:pt x="86" y="38"/>
                      <a:pt x="86" y="38"/>
                    </a:cubicBezTo>
                    <a:cubicBezTo>
                      <a:pt x="87" y="42"/>
                      <a:pt x="87" y="42"/>
                      <a:pt x="87" y="42"/>
                    </a:cubicBezTo>
                    <a:cubicBezTo>
                      <a:pt x="90" y="41"/>
                      <a:pt x="90" y="41"/>
                      <a:pt x="90" y="41"/>
                    </a:cubicBezTo>
                    <a:cubicBezTo>
                      <a:pt x="92" y="43"/>
                      <a:pt x="92" y="43"/>
                      <a:pt x="92" y="43"/>
                    </a:cubicBezTo>
                    <a:cubicBezTo>
                      <a:pt x="91" y="45"/>
                      <a:pt x="91" y="45"/>
                      <a:pt x="91" y="45"/>
                    </a:cubicBezTo>
                    <a:cubicBezTo>
                      <a:pt x="92" y="47"/>
                      <a:pt x="92" y="47"/>
                      <a:pt x="92" y="47"/>
                    </a:cubicBezTo>
                    <a:cubicBezTo>
                      <a:pt x="95" y="47"/>
                      <a:pt x="95" y="47"/>
                      <a:pt x="95" y="47"/>
                    </a:cubicBezTo>
                    <a:cubicBezTo>
                      <a:pt x="96" y="48"/>
                      <a:pt x="96" y="48"/>
                      <a:pt x="96" y="48"/>
                    </a:cubicBezTo>
                    <a:cubicBezTo>
                      <a:pt x="91" y="51"/>
                      <a:pt x="91" y="51"/>
                      <a:pt x="91" y="51"/>
                    </a:cubicBezTo>
                    <a:cubicBezTo>
                      <a:pt x="91" y="53"/>
                      <a:pt x="91" y="53"/>
                      <a:pt x="91" y="53"/>
                    </a:cubicBezTo>
                    <a:cubicBezTo>
                      <a:pt x="95" y="59"/>
                      <a:pt x="95" y="59"/>
                      <a:pt x="95" y="59"/>
                    </a:cubicBezTo>
                    <a:cubicBezTo>
                      <a:pt x="97" y="60"/>
                      <a:pt x="97" y="60"/>
                      <a:pt x="97" y="60"/>
                    </a:cubicBezTo>
                    <a:cubicBezTo>
                      <a:pt x="101" y="62"/>
                      <a:pt x="101" y="62"/>
                      <a:pt x="101" y="62"/>
                    </a:cubicBezTo>
                    <a:cubicBezTo>
                      <a:pt x="105" y="62"/>
                      <a:pt x="105" y="62"/>
                      <a:pt x="105" y="62"/>
                    </a:cubicBezTo>
                    <a:cubicBezTo>
                      <a:pt x="108" y="61"/>
                      <a:pt x="108" y="61"/>
                      <a:pt x="108" y="61"/>
                    </a:cubicBezTo>
                    <a:cubicBezTo>
                      <a:pt x="111" y="63"/>
                      <a:pt x="111" y="63"/>
                      <a:pt x="111" y="63"/>
                    </a:cubicBezTo>
                    <a:close/>
                    <a:moveTo>
                      <a:pt x="219" y="104"/>
                    </a:moveTo>
                    <a:cubicBezTo>
                      <a:pt x="222" y="99"/>
                      <a:pt x="222" y="99"/>
                      <a:pt x="222" y="99"/>
                    </a:cubicBezTo>
                    <a:cubicBezTo>
                      <a:pt x="226" y="97"/>
                      <a:pt x="226" y="97"/>
                      <a:pt x="226" y="97"/>
                    </a:cubicBezTo>
                    <a:cubicBezTo>
                      <a:pt x="228" y="97"/>
                      <a:pt x="228" y="97"/>
                      <a:pt x="228" y="97"/>
                    </a:cubicBezTo>
                    <a:cubicBezTo>
                      <a:pt x="230" y="95"/>
                      <a:pt x="230" y="95"/>
                      <a:pt x="230" y="95"/>
                    </a:cubicBezTo>
                    <a:cubicBezTo>
                      <a:pt x="231" y="97"/>
                      <a:pt x="231" y="97"/>
                      <a:pt x="231" y="97"/>
                    </a:cubicBezTo>
                    <a:cubicBezTo>
                      <a:pt x="237" y="98"/>
                      <a:pt x="237" y="98"/>
                      <a:pt x="237" y="98"/>
                    </a:cubicBezTo>
                    <a:cubicBezTo>
                      <a:pt x="239" y="97"/>
                      <a:pt x="239" y="97"/>
                      <a:pt x="239" y="97"/>
                    </a:cubicBezTo>
                    <a:cubicBezTo>
                      <a:pt x="238" y="100"/>
                      <a:pt x="238" y="100"/>
                      <a:pt x="238" y="100"/>
                    </a:cubicBezTo>
                    <a:cubicBezTo>
                      <a:pt x="235" y="102"/>
                      <a:pt x="235" y="102"/>
                      <a:pt x="235" y="102"/>
                    </a:cubicBezTo>
                    <a:cubicBezTo>
                      <a:pt x="230" y="99"/>
                      <a:pt x="230" y="99"/>
                      <a:pt x="230" y="99"/>
                    </a:cubicBezTo>
                    <a:cubicBezTo>
                      <a:pt x="228" y="99"/>
                      <a:pt x="228" y="99"/>
                      <a:pt x="228" y="99"/>
                    </a:cubicBezTo>
                    <a:cubicBezTo>
                      <a:pt x="226" y="101"/>
                      <a:pt x="226" y="101"/>
                      <a:pt x="226" y="101"/>
                    </a:cubicBezTo>
                    <a:cubicBezTo>
                      <a:pt x="224" y="101"/>
                      <a:pt x="224" y="101"/>
                      <a:pt x="224" y="101"/>
                    </a:cubicBezTo>
                    <a:cubicBezTo>
                      <a:pt x="221" y="105"/>
                      <a:pt x="221" y="105"/>
                      <a:pt x="221" y="105"/>
                    </a:cubicBezTo>
                    <a:cubicBezTo>
                      <a:pt x="219" y="104"/>
                      <a:pt x="219" y="104"/>
                      <a:pt x="219" y="104"/>
                    </a:cubicBezTo>
                    <a:close/>
                    <a:moveTo>
                      <a:pt x="205" y="116"/>
                    </a:moveTo>
                    <a:cubicBezTo>
                      <a:pt x="204" y="114"/>
                      <a:pt x="204" y="114"/>
                      <a:pt x="204" y="114"/>
                    </a:cubicBezTo>
                    <a:cubicBezTo>
                      <a:pt x="202" y="110"/>
                      <a:pt x="202" y="110"/>
                      <a:pt x="202" y="110"/>
                    </a:cubicBezTo>
                    <a:cubicBezTo>
                      <a:pt x="202" y="107"/>
                      <a:pt x="202" y="107"/>
                      <a:pt x="202" y="107"/>
                    </a:cubicBezTo>
                    <a:cubicBezTo>
                      <a:pt x="203" y="106"/>
                      <a:pt x="203" y="106"/>
                      <a:pt x="203" y="106"/>
                    </a:cubicBezTo>
                    <a:cubicBezTo>
                      <a:pt x="205" y="105"/>
                      <a:pt x="205" y="105"/>
                      <a:pt x="205" y="105"/>
                    </a:cubicBezTo>
                    <a:cubicBezTo>
                      <a:pt x="206" y="105"/>
                      <a:pt x="206" y="105"/>
                      <a:pt x="206" y="105"/>
                    </a:cubicBezTo>
                    <a:cubicBezTo>
                      <a:pt x="206" y="109"/>
                      <a:pt x="206" y="109"/>
                      <a:pt x="206" y="109"/>
                    </a:cubicBezTo>
                    <a:cubicBezTo>
                      <a:pt x="209" y="112"/>
                      <a:pt x="209" y="112"/>
                      <a:pt x="209" y="112"/>
                    </a:cubicBezTo>
                    <a:cubicBezTo>
                      <a:pt x="209" y="114"/>
                      <a:pt x="209" y="114"/>
                      <a:pt x="209" y="114"/>
                    </a:cubicBezTo>
                    <a:cubicBezTo>
                      <a:pt x="207" y="117"/>
                      <a:pt x="207" y="117"/>
                      <a:pt x="207" y="117"/>
                    </a:cubicBezTo>
                    <a:cubicBezTo>
                      <a:pt x="205" y="116"/>
                      <a:pt x="205" y="116"/>
                      <a:pt x="205" y="116"/>
                    </a:cubicBezTo>
                    <a:close/>
                    <a:moveTo>
                      <a:pt x="136" y="148"/>
                    </a:moveTo>
                    <a:cubicBezTo>
                      <a:pt x="138" y="144"/>
                      <a:pt x="138" y="144"/>
                      <a:pt x="138" y="144"/>
                    </a:cubicBezTo>
                    <a:cubicBezTo>
                      <a:pt x="142" y="141"/>
                      <a:pt x="142" y="141"/>
                      <a:pt x="142" y="141"/>
                    </a:cubicBezTo>
                    <a:cubicBezTo>
                      <a:pt x="149" y="139"/>
                      <a:pt x="149" y="139"/>
                      <a:pt x="149" y="139"/>
                    </a:cubicBezTo>
                    <a:cubicBezTo>
                      <a:pt x="153" y="139"/>
                      <a:pt x="153" y="139"/>
                      <a:pt x="153" y="139"/>
                    </a:cubicBezTo>
                    <a:cubicBezTo>
                      <a:pt x="158" y="135"/>
                      <a:pt x="158" y="135"/>
                      <a:pt x="158" y="135"/>
                    </a:cubicBezTo>
                    <a:cubicBezTo>
                      <a:pt x="163" y="131"/>
                      <a:pt x="163" y="131"/>
                      <a:pt x="163" y="131"/>
                    </a:cubicBezTo>
                    <a:cubicBezTo>
                      <a:pt x="165" y="136"/>
                      <a:pt x="165" y="136"/>
                      <a:pt x="165" y="136"/>
                    </a:cubicBezTo>
                    <a:cubicBezTo>
                      <a:pt x="168" y="140"/>
                      <a:pt x="168" y="140"/>
                      <a:pt x="168" y="140"/>
                    </a:cubicBezTo>
                    <a:cubicBezTo>
                      <a:pt x="168" y="142"/>
                      <a:pt x="168" y="142"/>
                      <a:pt x="168" y="142"/>
                    </a:cubicBezTo>
                    <a:cubicBezTo>
                      <a:pt x="165" y="143"/>
                      <a:pt x="165" y="143"/>
                      <a:pt x="165" y="143"/>
                    </a:cubicBezTo>
                    <a:cubicBezTo>
                      <a:pt x="163" y="144"/>
                      <a:pt x="163" y="144"/>
                      <a:pt x="163" y="144"/>
                    </a:cubicBezTo>
                    <a:cubicBezTo>
                      <a:pt x="164" y="149"/>
                      <a:pt x="164" y="149"/>
                      <a:pt x="164" y="149"/>
                    </a:cubicBezTo>
                    <a:cubicBezTo>
                      <a:pt x="169" y="153"/>
                      <a:pt x="169" y="153"/>
                      <a:pt x="169" y="153"/>
                    </a:cubicBezTo>
                    <a:cubicBezTo>
                      <a:pt x="173" y="156"/>
                      <a:pt x="173" y="156"/>
                      <a:pt x="173" y="156"/>
                    </a:cubicBezTo>
                    <a:cubicBezTo>
                      <a:pt x="176" y="154"/>
                      <a:pt x="176" y="154"/>
                      <a:pt x="176" y="154"/>
                    </a:cubicBezTo>
                    <a:cubicBezTo>
                      <a:pt x="180" y="152"/>
                      <a:pt x="180" y="152"/>
                      <a:pt x="180" y="152"/>
                    </a:cubicBezTo>
                    <a:cubicBezTo>
                      <a:pt x="183" y="153"/>
                      <a:pt x="183" y="153"/>
                      <a:pt x="183" y="153"/>
                    </a:cubicBezTo>
                    <a:cubicBezTo>
                      <a:pt x="185" y="155"/>
                      <a:pt x="185" y="155"/>
                      <a:pt x="185" y="155"/>
                    </a:cubicBezTo>
                    <a:cubicBezTo>
                      <a:pt x="188" y="157"/>
                      <a:pt x="188" y="157"/>
                      <a:pt x="188" y="157"/>
                    </a:cubicBezTo>
                    <a:cubicBezTo>
                      <a:pt x="187" y="158"/>
                      <a:pt x="187" y="158"/>
                      <a:pt x="187" y="158"/>
                    </a:cubicBezTo>
                    <a:cubicBezTo>
                      <a:pt x="183" y="160"/>
                      <a:pt x="183" y="160"/>
                      <a:pt x="183" y="160"/>
                    </a:cubicBezTo>
                    <a:cubicBezTo>
                      <a:pt x="179" y="165"/>
                      <a:pt x="179" y="165"/>
                      <a:pt x="179" y="165"/>
                    </a:cubicBezTo>
                    <a:cubicBezTo>
                      <a:pt x="179" y="169"/>
                      <a:pt x="179" y="169"/>
                      <a:pt x="179" y="169"/>
                    </a:cubicBezTo>
                    <a:cubicBezTo>
                      <a:pt x="176" y="176"/>
                      <a:pt x="176" y="176"/>
                      <a:pt x="176" y="176"/>
                    </a:cubicBezTo>
                    <a:cubicBezTo>
                      <a:pt x="173" y="177"/>
                      <a:pt x="173" y="177"/>
                      <a:pt x="173" y="177"/>
                    </a:cubicBezTo>
                    <a:cubicBezTo>
                      <a:pt x="170" y="179"/>
                      <a:pt x="170" y="179"/>
                      <a:pt x="170" y="179"/>
                    </a:cubicBezTo>
                    <a:cubicBezTo>
                      <a:pt x="168" y="182"/>
                      <a:pt x="168" y="182"/>
                      <a:pt x="168" y="182"/>
                    </a:cubicBezTo>
                    <a:cubicBezTo>
                      <a:pt x="168" y="185"/>
                      <a:pt x="168" y="185"/>
                      <a:pt x="168" y="185"/>
                    </a:cubicBezTo>
                    <a:cubicBezTo>
                      <a:pt x="165" y="187"/>
                      <a:pt x="165" y="187"/>
                      <a:pt x="165" y="187"/>
                    </a:cubicBezTo>
                    <a:cubicBezTo>
                      <a:pt x="163" y="187"/>
                      <a:pt x="163" y="187"/>
                      <a:pt x="163" y="187"/>
                    </a:cubicBezTo>
                    <a:cubicBezTo>
                      <a:pt x="162" y="184"/>
                      <a:pt x="162" y="184"/>
                      <a:pt x="162" y="184"/>
                    </a:cubicBezTo>
                    <a:cubicBezTo>
                      <a:pt x="164" y="181"/>
                      <a:pt x="164" y="181"/>
                      <a:pt x="164" y="181"/>
                    </a:cubicBezTo>
                    <a:cubicBezTo>
                      <a:pt x="163" y="177"/>
                      <a:pt x="163" y="177"/>
                      <a:pt x="163" y="177"/>
                    </a:cubicBezTo>
                    <a:cubicBezTo>
                      <a:pt x="165" y="171"/>
                      <a:pt x="165" y="171"/>
                      <a:pt x="165" y="171"/>
                    </a:cubicBezTo>
                    <a:cubicBezTo>
                      <a:pt x="165" y="167"/>
                      <a:pt x="165" y="167"/>
                      <a:pt x="165" y="167"/>
                    </a:cubicBezTo>
                    <a:cubicBezTo>
                      <a:pt x="163" y="169"/>
                      <a:pt x="163" y="169"/>
                      <a:pt x="163" y="169"/>
                    </a:cubicBezTo>
                    <a:cubicBezTo>
                      <a:pt x="160" y="168"/>
                      <a:pt x="160" y="168"/>
                      <a:pt x="160" y="168"/>
                    </a:cubicBezTo>
                    <a:cubicBezTo>
                      <a:pt x="158" y="169"/>
                      <a:pt x="158" y="169"/>
                      <a:pt x="158" y="169"/>
                    </a:cubicBezTo>
                    <a:cubicBezTo>
                      <a:pt x="156" y="174"/>
                      <a:pt x="156" y="174"/>
                      <a:pt x="156" y="174"/>
                    </a:cubicBezTo>
                    <a:cubicBezTo>
                      <a:pt x="154" y="176"/>
                      <a:pt x="154" y="176"/>
                      <a:pt x="154" y="176"/>
                    </a:cubicBezTo>
                    <a:cubicBezTo>
                      <a:pt x="151" y="176"/>
                      <a:pt x="151" y="176"/>
                      <a:pt x="151" y="176"/>
                    </a:cubicBezTo>
                    <a:cubicBezTo>
                      <a:pt x="147" y="179"/>
                      <a:pt x="147" y="179"/>
                      <a:pt x="147" y="179"/>
                    </a:cubicBezTo>
                    <a:cubicBezTo>
                      <a:pt x="144" y="179"/>
                      <a:pt x="144" y="179"/>
                      <a:pt x="144" y="179"/>
                    </a:cubicBezTo>
                    <a:cubicBezTo>
                      <a:pt x="140" y="181"/>
                      <a:pt x="140" y="181"/>
                      <a:pt x="140" y="181"/>
                    </a:cubicBezTo>
                    <a:cubicBezTo>
                      <a:pt x="139" y="181"/>
                      <a:pt x="139" y="181"/>
                      <a:pt x="139" y="181"/>
                    </a:cubicBezTo>
                    <a:cubicBezTo>
                      <a:pt x="138" y="178"/>
                      <a:pt x="138" y="178"/>
                      <a:pt x="138" y="178"/>
                    </a:cubicBezTo>
                    <a:cubicBezTo>
                      <a:pt x="140" y="176"/>
                      <a:pt x="140" y="176"/>
                      <a:pt x="140" y="176"/>
                    </a:cubicBezTo>
                    <a:cubicBezTo>
                      <a:pt x="139" y="173"/>
                      <a:pt x="139" y="173"/>
                      <a:pt x="139" y="173"/>
                    </a:cubicBezTo>
                    <a:cubicBezTo>
                      <a:pt x="142" y="171"/>
                      <a:pt x="142" y="171"/>
                      <a:pt x="142" y="171"/>
                    </a:cubicBezTo>
                    <a:cubicBezTo>
                      <a:pt x="143" y="165"/>
                      <a:pt x="143" y="165"/>
                      <a:pt x="143" y="165"/>
                    </a:cubicBezTo>
                    <a:cubicBezTo>
                      <a:pt x="146" y="160"/>
                      <a:pt x="146" y="160"/>
                      <a:pt x="146" y="160"/>
                    </a:cubicBezTo>
                    <a:cubicBezTo>
                      <a:pt x="146" y="157"/>
                      <a:pt x="146" y="157"/>
                      <a:pt x="146" y="157"/>
                    </a:cubicBezTo>
                    <a:cubicBezTo>
                      <a:pt x="147" y="155"/>
                      <a:pt x="147" y="155"/>
                      <a:pt x="147" y="155"/>
                    </a:cubicBezTo>
                    <a:cubicBezTo>
                      <a:pt x="146" y="153"/>
                      <a:pt x="146" y="153"/>
                      <a:pt x="146" y="153"/>
                    </a:cubicBezTo>
                    <a:cubicBezTo>
                      <a:pt x="142" y="153"/>
                      <a:pt x="142" y="153"/>
                      <a:pt x="142" y="153"/>
                    </a:cubicBezTo>
                    <a:cubicBezTo>
                      <a:pt x="139" y="149"/>
                      <a:pt x="139" y="149"/>
                      <a:pt x="139" y="149"/>
                    </a:cubicBezTo>
                    <a:cubicBezTo>
                      <a:pt x="136" y="148"/>
                      <a:pt x="136" y="148"/>
                      <a:pt x="136" y="148"/>
                    </a:cubicBezTo>
                    <a:close/>
                    <a:moveTo>
                      <a:pt x="119" y="94"/>
                    </a:moveTo>
                    <a:cubicBezTo>
                      <a:pt x="120" y="97"/>
                      <a:pt x="120" y="97"/>
                      <a:pt x="120" y="97"/>
                    </a:cubicBezTo>
                    <a:cubicBezTo>
                      <a:pt x="122" y="100"/>
                      <a:pt x="122" y="100"/>
                      <a:pt x="122" y="100"/>
                    </a:cubicBezTo>
                    <a:cubicBezTo>
                      <a:pt x="125" y="100"/>
                      <a:pt x="125" y="100"/>
                      <a:pt x="125" y="100"/>
                    </a:cubicBezTo>
                    <a:cubicBezTo>
                      <a:pt x="129" y="99"/>
                      <a:pt x="129" y="99"/>
                      <a:pt x="129" y="99"/>
                    </a:cubicBezTo>
                    <a:cubicBezTo>
                      <a:pt x="129" y="96"/>
                      <a:pt x="129" y="96"/>
                      <a:pt x="129" y="96"/>
                    </a:cubicBezTo>
                    <a:cubicBezTo>
                      <a:pt x="127" y="93"/>
                      <a:pt x="127" y="93"/>
                      <a:pt x="127" y="93"/>
                    </a:cubicBezTo>
                    <a:cubicBezTo>
                      <a:pt x="120" y="92"/>
                      <a:pt x="120" y="92"/>
                      <a:pt x="120" y="92"/>
                    </a:cubicBezTo>
                    <a:cubicBezTo>
                      <a:pt x="119" y="93"/>
                      <a:pt x="119" y="93"/>
                      <a:pt x="119" y="93"/>
                    </a:cubicBezTo>
                    <a:cubicBezTo>
                      <a:pt x="119" y="94"/>
                      <a:pt x="119" y="94"/>
                      <a:pt x="119" y="94"/>
                    </a:cubicBezTo>
                    <a:close/>
                    <a:moveTo>
                      <a:pt x="126" y="126"/>
                    </a:moveTo>
                    <a:cubicBezTo>
                      <a:pt x="129" y="128"/>
                      <a:pt x="129" y="128"/>
                      <a:pt x="129" y="128"/>
                    </a:cubicBezTo>
                    <a:cubicBezTo>
                      <a:pt x="133" y="128"/>
                      <a:pt x="133" y="128"/>
                      <a:pt x="133" y="128"/>
                    </a:cubicBezTo>
                    <a:cubicBezTo>
                      <a:pt x="134" y="131"/>
                      <a:pt x="134" y="131"/>
                      <a:pt x="134" y="131"/>
                    </a:cubicBezTo>
                    <a:cubicBezTo>
                      <a:pt x="135" y="133"/>
                      <a:pt x="135" y="133"/>
                      <a:pt x="135" y="133"/>
                    </a:cubicBezTo>
                    <a:cubicBezTo>
                      <a:pt x="135" y="135"/>
                      <a:pt x="135" y="135"/>
                      <a:pt x="135" y="135"/>
                    </a:cubicBezTo>
                    <a:cubicBezTo>
                      <a:pt x="137" y="136"/>
                      <a:pt x="137" y="136"/>
                      <a:pt x="137" y="136"/>
                    </a:cubicBezTo>
                    <a:cubicBezTo>
                      <a:pt x="135" y="139"/>
                      <a:pt x="135" y="139"/>
                      <a:pt x="135" y="139"/>
                    </a:cubicBezTo>
                    <a:cubicBezTo>
                      <a:pt x="138" y="139"/>
                      <a:pt x="138" y="139"/>
                      <a:pt x="138" y="139"/>
                    </a:cubicBezTo>
                    <a:cubicBezTo>
                      <a:pt x="140" y="140"/>
                      <a:pt x="140" y="140"/>
                      <a:pt x="140" y="140"/>
                    </a:cubicBezTo>
                    <a:cubicBezTo>
                      <a:pt x="141" y="138"/>
                      <a:pt x="141" y="138"/>
                      <a:pt x="141" y="138"/>
                    </a:cubicBezTo>
                    <a:cubicBezTo>
                      <a:pt x="146" y="135"/>
                      <a:pt x="146" y="135"/>
                      <a:pt x="146" y="135"/>
                    </a:cubicBezTo>
                    <a:cubicBezTo>
                      <a:pt x="149" y="135"/>
                      <a:pt x="149" y="135"/>
                      <a:pt x="149" y="135"/>
                    </a:cubicBezTo>
                    <a:cubicBezTo>
                      <a:pt x="151" y="133"/>
                      <a:pt x="151" y="133"/>
                      <a:pt x="151" y="133"/>
                    </a:cubicBezTo>
                    <a:cubicBezTo>
                      <a:pt x="151" y="131"/>
                      <a:pt x="151" y="131"/>
                      <a:pt x="151" y="131"/>
                    </a:cubicBezTo>
                    <a:cubicBezTo>
                      <a:pt x="151" y="127"/>
                      <a:pt x="151" y="127"/>
                      <a:pt x="151" y="127"/>
                    </a:cubicBezTo>
                    <a:cubicBezTo>
                      <a:pt x="153" y="125"/>
                      <a:pt x="153" y="125"/>
                      <a:pt x="153" y="125"/>
                    </a:cubicBezTo>
                    <a:cubicBezTo>
                      <a:pt x="155" y="122"/>
                      <a:pt x="155" y="122"/>
                      <a:pt x="155" y="122"/>
                    </a:cubicBezTo>
                    <a:cubicBezTo>
                      <a:pt x="153" y="119"/>
                      <a:pt x="153" y="119"/>
                      <a:pt x="153" y="119"/>
                    </a:cubicBezTo>
                    <a:cubicBezTo>
                      <a:pt x="150" y="119"/>
                      <a:pt x="150" y="119"/>
                      <a:pt x="150" y="119"/>
                    </a:cubicBezTo>
                    <a:cubicBezTo>
                      <a:pt x="149" y="117"/>
                      <a:pt x="149" y="117"/>
                      <a:pt x="149" y="117"/>
                    </a:cubicBezTo>
                    <a:cubicBezTo>
                      <a:pt x="148" y="116"/>
                      <a:pt x="148" y="116"/>
                      <a:pt x="148" y="116"/>
                    </a:cubicBezTo>
                    <a:cubicBezTo>
                      <a:pt x="146" y="118"/>
                      <a:pt x="146" y="118"/>
                      <a:pt x="146" y="118"/>
                    </a:cubicBezTo>
                    <a:cubicBezTo>
                      <a:pt x="140" y="120"/>
                      <a:pt x="140" y="120"/>
                      <a:pt x="140" y="120"/>
                    </a:cubicBezTo>
                    <a:cubicBezTo>
                      <a:pt x="140" y="118"/>
                      <a:pt x="140" y="118"/>
                      <a:pt x="140" y="118"/>
                    </a:cubicBezTo>
                    <a:cubicBezTo>
                      <a:pt x="138" y="118"/>
                      <a:pt x="138" y="118"/>
                      <a:pt x="138" y="118"/>
                    </a:cubicBezTo>
                    <a:cubicBezTo>
                      <a:pt x="135" y="119"/>
                      <a:pt x="135" y="119"/>
                      <a:pt x="135" y="119"/>
                    </a:cubicBezTo>
                    <a:cubicBezTo>
                      <a:pt x="135" y="122"/>
                      <a:pt x="135" y="122"/>
                      <a:pt x="135" y="122"/>
                    </a:cubicBezTo>
                    <a:cubicBezTo>
                      <a:pt x="133" y="123"/>
                      <a:pt x="133" y="123"/>
                      <a:pt x="133" y="123"/>
                    </a:cubicBezTo>
                    <a:cubicBezTo>
                      <a:pt x="130" y="122"/>
                      <a:pt x="130" y="122"/>
                      <a:pt x="130" y="122"/>
                    </a:cubicBezTo>
                    <a:cubicBezTo>
                      <a:pt x="128" y="125"/>
                      <a:pt x="128" y="125"/>
                      <a:pt x="128" y="125"/>
                    </a:cubicBezTo>
                    <a:cubicBezTo>
                      <a:pt x="126" y="126"/>
                      <a:pt x="126" y="126"/>
                      <a:pt x="126" y="126"/>
                    </a:cubicBezTo>
                    <a:close/>
                    <a:moveTo>
                      <a:pt x="19" y="143"/>
                    </a:moveTo>
                    <a:cubicBezTo>
                      <a:pt x="17" y="139"/>
                      <a:pt x="17" y="139"/>
                      <a:pt x="17" y="139"/>
                    </a:cubicBezTo>
                    <a:cubicBezTo>
                      <a:pt x="16" y="138"/>
                      <a:pt x="16" y="138"/>
                      <a:pt x="16" y="138"/>
                    </a:cubicBezTo>
                    <a:cubicBezTo>
                      <a:pt x="15" y="135"/>
                      <a:pt x="15" y="135"/>
                      <a:pt x="15" y="135"/>
                    </a:cubicBezTo>
                    <a:cubicBezTo>
                      <a:pt x="11" y="132"/>
                      <a:pt x="11" y="132"/>
                      <a:pt x="11" y="132"/>
                    </a:cubicBezTo>
                    <a:cubicBezTo>
                      <a:pt x="8" y="132"/>
                      <a:pt x="8" y="132"/>
                      <a:pt x="8" y="132"/>
                    </a:cubicBezTo>
                    <a:cubicBezTo>
                      <a:pt x="6" y="129"/>
                      <a:pt x="6" y="129"/>
                      <a:pt x="6" y="129"/>
                    </a:cubicBezTo>
                    <a:cubicBezTo>
                      <a:pt x="6" y="123"/>
                      <a:pt x="6" y="123"/>
                      <a:pt x="6" y="123"/>
                    </a:cubicBezTo>
                    <a:cubicBezTo>
                      <a:pt x="4" y="119"/>
                      <a:pt x="4" y="119"/>
                      <a:pt x="4" y="119"/>
                    </a:cubicBezTo>
                    <a:cubicBezTo>
                      <a:pt x="2" y="117"/>
                      <a:pt x="2" y="117"/>
                      <a:pt x="2" y="117"/>
                    </a:cubicBezTo>
                    <a:cubicBezTo>
                      <a:pt x="2" y="112"/>
                      <a:pt x="2" y="112"/>
                      <a:pt x="2" y="112"/>
                    </a:cubicBezTo>
                    <a:cubicBezTo>
                      <a:pt x="3" y="110"/>
                      <a:pt x="3" y="110"/>
                      <a:pt x="3" y="110"/>
                    </a:cubicBezTo>
                    <a:cubicBezTo>
                      <a:pt x="5" y="111"/>
                      <a:pt x="5" y="111"/>
                      <a:pt x="5" y="111"/>
                    </a:cubicBezTo>
                    <a:cubicBezTo>
                      <a:pt x="9" y="115"/>
                      <a:pt x="9" y="115"/>
                      <a:pt x="9" y="115"/>
                    </a:cubicBezTo>
                    <a:cubicBezTo>
                      <a:pt x="9" y="118"/>
                      <a:pt x="9" y="118"/>
                      <a:pt x="9" y="118"/>
                    </a:cubicBezTo>
                    <a:cubicBezTo>
                      <a:pt x="9" y="122"/>
                      <a:pt x="9" y="122"/>
                      <a:pt x="9" y="122"/>
                    </a:cubicBezTo>
                    <a:cubicBezTo>
                      <a:pt x="12" y="126"/>
                      <a:pt x="12" y="126"/>
                      <a:pt x="12" y="126"/>
                    </a:cubicBezTo>
                    <a:cubicBezTo>
                      <a:pt x="14" y="128"/>
                      <a:pt x="14" y="128"/>
                      <a:pt x="14" y="128"/>
                    </a:cubicBezTo>
                    <a:cubicBezTo>
                      <a:pt x="15" y="128"/>
                      <a:pt x="15" y="128"/>
                      <a:pt x="15" y="128"/>
                    </a:cubicBezTo>
                    <a:cubicBezTo>
                      <a:pt x="16" y="129"/>
                      <a:pt x="16" y="129"/>
                      <a:pt x="16" y="129"/>
                    </a:cubicBezTo>
                    <a:cubicBezTo>
                      <a:pt x="17" y="130"/>
                      <a:pt x="17" y="130"/>
                      <a:pt x="17" y="130"/>
                    </a:cubicBezTo>
                    <a:cubicBezTo>
                      <a:pt x="18" y="133"/>
                      <a:pt x="18" y="133"/>
                      <a:pt x="18" y="133"/>
                    </a:cubicBezTo>
                    <a:cubicBezTo>
                      <a:pt x="21" y="138"/>
                      <a:pt x="21" y="138"/>
                      <a:pt x="21" y="138"/>
                    </a:cubicBezTo>
                    <a:cubicBezTo>
                      <a:pt x="23" y="141"/>
                      <a:pt x="23" y="141"/>
                      <a:pt x="23" y="141"/>
                    </a:cubicBezTo>
                    <a:cubicBezTo>
                      <a:pt x="22" y="144"/>
                      <a:pt x="22" y="144"/>
                      <a:pt x="22" y="144"/>
                    </a:cubicBezTo>
                    <a:cubicBezTo>
                      <a:pt x="20" y="144"/>
                      <a:pt x="20" y="144"/>
                      <a:pt x="20" y="144"/>
                    </a:cubicBezTo>
                    <a:cubicBezTo>
                      <a:pt x="19" y="143"/>
                      <a:pt x="19" y="143"/>
                      <a:pt x="19" y="143"/>
                    </a:cubicBezTo>
                    <a:close/>
                    <a:moveTo>
                      <a:pt x="91" y="227"/>
                    </a:moveTo>
                    <a:cubicBezTo>
                      <a:pt x="89" y="225"/>
                      <a:pt x="89" y="225"/>
                      <a:pt x="89" y="225"/>
                    </a:cubicBezTo>
                    <a:cubicBezTo>
                      <a:pt x="87" y="225"/>
                      <a:pt x="87" y="225"/>
                      <a:pt x="87" y="225"/>
                    </a:cubicBezTo>
                    <a:cubicBezTo>
                      <a:pt x="86" y="227"/>
                      <a:pt x="86" y="227"/>
                      <a:pt x="86" y="227"/>
                    </a:cubicBezTo>
                    <a:cubicBezTo>
                      <a:pt x="85" y="227"/>
                      <a:pt x="85" y="227"/>
                      <a:pt x="85" y="227"/>
                    </a:cubicBezTo>
                    <a:cubicBezTo>
                      <a:pt x="84" y="225"/>
                      <a:pt x="84" y="225"/>
                      <a:pt x="84" y="225"/>
                    </a:cubicBezTo>
                    <a:cubicBezTo>
                      <a:pt x="85" y="220"/>
                      <a:pt x="85" y="220"/>
                      <a:pt x="85" y="220"/>
                    </a:cubicBezTo>
                    <a:cubicBezTo>
                      <a:pt x="83" y="218"/>
                      <a:pt x="83" y="218"/>
                      <a:pt x="83" y="218"/>
                    </a:cubicBezTo>
                    <a:cubicBezTo>
                      <a:pt x="82" y="217"/>
                      <a:pt x="82" y="217"/>
                      <a:pt x="82" y="217"/>
                    </a:cubicBezTo>
                    <a:cubicBezTo>
                      <a:pt x="76" y="211"/>
                      <a:pt x="76" y="211"/>
                      <a:pt x="76" y="211"/>
                    </a:cubicBezTo>
                    <a:cubicBezTo>
                      <a:pt x="76" y="210"/>
                      <a:pt x="76" y="210"/>
                      <a:pt x="76" y="210"/>
                    </a:cubicBezTo>
                    <a:cubicBezTo>
                      <a:pt x="79" y="207"/>
                      <a:pt x="79" y="207"/>
                      <a:pt x="79" y="207"/>
                    </a:cubicBezTo>
                    <a:cubicBezTo>
                      <a:pt x="81" y="207"/>
                      <a:pt x="81" y="207"/>
                      <a:pt x="81" y="207"/>
                    </a:cubicBezTo>
                    <a:cubicBezTo>
                      <a:pt x="82" y="205"/>
                      <a:pt x="82" y="205"/>
                      <a:pt x="82" y="205"/>
                    </a:cubicBezTo>
                    <a:cubicBezTo>
                      <a:pt x="82" y="203"/>
                      <a:pt x="82" y="203"/>
                      <a:pt x="82" y="203"/>
                    </a:cubicBezTo>
                    <a:cubicBezTo>
                      <a:pt x="81" y="202"/>
                      <a:pt x="81" y="202"/>
                      <a:pt x="81" y="202"/>
                    </a:cubicBezTo>
                    <a:cubicBezTo>
                      <a:pt x="79" y="203"/>
                      <a:pt x="79" y="203"/>
                      <a:pt x="79" y="203"/>
                    </a:cubicBezTo>
                    <a:cubicBezTo>
                      <a:pt x="78" y="201"/>
                      <a:pt x="78" y="201"/>
                      <a:pt x="78" y="201"/>
                    </a:cubicBezTo>
                    <a:cubicBezTo>
                      <a:pt x="76" y="201"/>
                      <a:pt x="76" y="201"/>
                      <a:pt x="76" y="201"/>
                    </a:cubicBezTo>
                    <a:cubicBezTo>
                      <a:pt x="75" y="204"/>
                      <a:pt x="75" y="204"/>
                      <a:pt x="75" y="204"/>
                    </a:cubicBezTo>
                    <a:cubicBezTo>
                      <a:pt x="71" y="205"/>
                      <a:pt x="71" y="205"/>
                      <a:pt x="71" y="205"/>
                    </a:cubicBezTo>
                    <a:cubicBezTo>
                      <a:pt x="67" y="202"/>
                      <a:pt x="67" y="202"/>
                      <a:pt x="67" y="202"/>
                    </a:cubicBezTo>
                    <a:cubicBezTo>
                      <a:pt x="67" y="199"/>
                      <a:pt x="67" y="199"/>
                      <a:pt x="67" y="199"/>
                    </a:cubicBezTo>
                    <a:cubicBezTo>
                      <a:pt x="65" y="199"/>
                      <a:pt x="65" y="199"/>
                      <a:pt x="65" y="199"/>
                    </a:cubicBezTo>
                    <a:cubicBezTo>
                      <a:pt x="63" y="196"/>
                      <a:pt x="63" y="196"/>
                      <a:pt x="63" y="196"/>
                    </a:cubicBezTo>
                    <a:cubicBezTo>
                      <a:pt x="61" y="196"/>
                      <a:pt x="61" y="196"/>
                      <a:pt x="61" y="196"/>
                    </a:cubicBezTo>
                    <a:cubicBezTo>
                      <a:pt x="60" y="196"/>
                      <a:pt x="60" y="196"/>
                      <a:pt x="60" y="196"/>
                    </a:cubicBezTo>
                    <a:cubicBezTo>
                      <a:pt x="58" y="194"/>
                      <a:pt x="58" y="194"/>
                      <a:pt x="58" y="194"/>
                    </a:cubicBezTo>
                    <a:cubicBezTo>
                      <a:pt x="58" y="192"/>
                      <a:pt x="58" y="192"/>
                      <a:pt x="58" y="192"/>
                    </a:cubicBezTo>
                    <a:cubicBezTo>
                      <a:pt x="56" y="190"/>
                      <a:pt x="56" y="190"/>
                      <a:pt x="56" y="190"/>
                    </a:cubicBezTo>
                    <a:cubicBezTo>
                      <a:pt x="54" y="190"/>
                      <a:pt x="54" y="190"/>
                      <a:pt x="54" y="190"/>
                    </a:cubicBezTo>
                    <a:cubicBezTo>
                      <a:pt x="54" y="189"/>
                      <a:pt x="54" y="189"/>
                      <a:pt x="54" y="189"/>
                    </a:cubicBezTo>
                    <a:cubicBezTo>
                      <a:pt x="53" y="187"/>
                      <a:pt x="53" y="187"/>
                      <a:pt x="53" y="187"/>
                    </a:cubicBezTo>
                    <a:cubicBezTo>
                      <a:pt x="51" y="185"/>
                      <a:pt x="51" y="185"/>
                      <a:pt x="51" y="185"/>
                    </a:cubicBezTo>
                    <a:cubicBezTo>
                      <a:pt x="50" y="184"/>
                      <a:pt x="50" y="184"/>
                      <a:pt x="50" y="184"/>
                    </a:cubicBezTo>
                    <a:cubicBezTo>
                      <a:pt x="50" y="182"/>
                      <a:pt x="50" y="182"/>
                      <a:pt x="50" y="182"/>
                    </a:cubicBezTo>
                    <a:cubicBezTo>
                      <a:pt x="50" y="182"/>
                      <a:pt x="50" y="182"/>
                      <a:pt x="50" y="182"/>
                    </a:cubicBezTo>
                    <a:cubicBezTo>
                      <a:pt x="50" y="180"/>
                      <a:pt x="50" y="180"/>
                      <a:pt x="50" y="180"/>
                    </a:cubicBezTo>
                    <a:cubicBezTo>
                      <a:pt x="50" y="178"/>
                      <a:pt x="50" y="178"/>
                      <a:pt x="50" y="178"/>
                    </a:cubicBezTo>
                    <a:cubicBezTo>
                      <a:pt x="48" y="175"/>
                      <a:pt x="48" y="175"/>
                      <a:pt x="48" y="175"/>
                    </a:cubicBezTo>
                    <a:cubicBezTo>
                      <a:pt x="48" y="174"/>
                      <a:pt x="48" y="174"/>
                      <a:pt x="48" y="174"/>
                    </a:cubicBezTo>
                    <a:cubicBezTo>
                      <a:pt x="53" y="171"/>
                      <a:pt x="53" y="171"/>
                      <a:pt x="53" y="171"/>
                    </a:cubicBezTo>
                    <a:cubicBezTo>
                      <a:pt x="55" y="172"/>
                      <a:pt x="55" y="172"/>
                      <a:pt x="55" y="172"/>
                    </a:cubicBezTo>
                    <a:cubicBezTo>
                      <a:pt x="57" y="175"/>
                      <a:pt x="57" y="175"/>
                      <a:pt x="57" y="175"/>
                    </a:cubicBezTo>
                    <a:cubicBezTo>
                      <a:pt x="59" y="176"/>
                      <a:pt x="59" y="176"/>
                      <a:pt x="59" y="176"/>
                    </a:cubicBezTo>
                    <a:cubicBezTo>
                      <a:pt x="60" y="176"/>
                      <a:pt x="60" y="176"/>
                      <a:pt x="60" y="176"/>
                    </a:cubicBezTo>
                    <a:cubicBezTo>
                      <a:pt x="61" y="174"/>
                      <a:pt x="61" y="174"/>
                      <a:pt x="61" y="174"/>
                    </a:cubicBezTo>
                    <a:cubicBezTo>
                      <a:pt x="64" y="175"/>
                      <a:pt x="64" y="175"/>
                      <a:pt x="64" y="175"/>
                    </a:cubicBezTo>
                    <a:cubicBezTo>
                      <a:pt x="66" y="176"/>
                      <a:pt x="66" y="176"/>
                      <a:pt x="66" y="176"/>
                    </a:cubicBezTo>
                    <a:cubicBezTo>
                      <a:pt x="69" y="176"/>
                      <a:pt x="69" y="176"/>
                      <a:pt x="69" y="176"/>
                    </a:cubicBezTo>
                    <a:cubicBezTo>
                      <a:pt x="75" y="175"/>
                      <a:pt x="75" y="175"/>
                      <a:pt x="75" y="175"/>
                    </a:cubicBezTo>
                    <a:cubicBezTo>
                      <a:pt x="75" y="173"/>
                      <a:pt x="75" y="173"/>
                      <a:pt x="75" y="173"/>
                    </a:cubicBezTo>
                    <a:cubicBezTo>
                      <a:pt x="72" y="171"/>
                      <a:pt x="72" y="171"/>
                      <a:pt x="72" y="171"/>
                    </a:cubicBezTo>
                    <a:cubicBezTo>
                      <a:pt x="69" y="171"/>
                      <a:pt x="69" y="171"/>
                      <a:pt x="69" y="171"/>
                    </a:cubicBezTo>
                    <a:cubicBezTo>
                      <a:pt x="64" y="170"/>
                      <a:pt x="64" y="170"/>
                      <a:pt x="64" y="170"/>
                    </a:cubicBezTo>
                    <a:cubicBezTo>
                      <a:pt x="60" y="169"/>
                      <a:pt x="60" y="169"/>
                      <a:pt x="60" y="169"/>
                    </a:cubicBezTo>
                    <a:cubicBezTo>
                      <a:pt x="60" y="168"/>
                      <a:pt x="60" y="168"/>
                      <a:pt x="60" y="168"/>
                    </a:cubicBezTo>
                    <a:cubicBezTo>
                      <a:pt x="63" y="167"/>
                      <a:pt x="63" y="167"/>
                      <a:pt x="63" y="167"/>
                    </a:cubicBezTo>
                    <a:cubicBezTo>
                      <a:pt x="66" y="167"/>
                      <a:pt x="66" y="167"/>
                      <a:pt x="66" y="167"/>
                    </a:cubicBezTo>
                    <a:cubicBezTo>
                      <a:pt x="72" y="164"/>
                      <a:pt x="72" y="164"/>
                      <a:pt x="72" y="164"/>
                    </a:cubicBezTo>
                    <a:cubicBezTo>
                      <a:pt x="75" y="162"/>
                      <a:pt x="75" y="162"/>
                      <a:pt x="75" y="162"/>
                    </a:cubicBezTo>
                    <a:cubicBezTo>
                      <a:pt x="80" y="163"/>
                      <a:pt x="80" y="163"/>
                      <a:pt x="80" y="163"/>
                    </a:cubicBezTo>
                    <a:cubicBezTo>
                      <a:pt x="83" y="161"/>
                      <a:pt x="83" y="161"/>
                      <a:pt x="83" y="161"/>
                    </a:cubicBezTo>
                    <a:cubicBezTo>
                      <a:pt x="84" y="161"/>
                      <a:pt x="84" y="161"/>
                      <a:pt x="84" y="161"/>
                    </a:cubicBezTo>
                    <a:cubicBezTo>
                      <a:pt x="85" y="162"/>
                      <a:pt x="85" y="162"/>
                      <a:pt x="85" y="162"/>
                    </a:cubicBezTo>
                    <a:cubicBezTo>
                      <a:pt x="85" y="160"/>
                      <a:pt x="85" y="160"/>
                      <a:pt x="85" y="160"/>
                    </a:cubicBezTo>
                    <a:cubicBezTo>
                      <a:pt x="87" y="158"/>
                      <a:pt x="87" y="158"/>
                      <a:pt x="87" y="158"/>
                    </a:cubicBezTo>
                    <a:cubicBezTo>
                      <a:pt x="87" y="156"/>
                      <a:pt x="87" y="156"/>
                      <a:pt x="87" y="156"/>
                    </a:cubicBezTo>
                    <a:cubicBezTo>
                      <a:pt x="86" y="156"/>
                      <a:pt x="86" y="156"/>
                      <a:pt x="86" y="156"/>
                    </a:cubicBezTo>
                    <a:cubicBezTo>
                      <a:pt x="83" y="158"/>
                      <a:pt x="83" y="158"/>
                      <a:pt x="83" y="158"/>
                    </a:cubicBezTo>
                    <a:cubicBezTo>
                      <a:pt x="81" y="159"/>
                      <a:pt x="81" y="159"/>
                      <a:pt x="81" y="159"/>
                    </a:cubicBezTo>
                    <a:cubicBezTo>
                      <a:pt x="73" y="159"/>
                      <a:pt x="73" y="159"/>
                      <a:pt x="73" y="159"/>
                    </a:cubicBezTo>
                    <a:cubicBezTo>
                      <a:pt x="71" y="159"/>
                      <a:pt x="71" y="159"/>
                      <a:pt x="71" y="159"/>
                    </a:cubicBezTo>
                    <a:cubicBezTo>
                      <a:pt x="71" y="158"/>
                      <a:pt x="71" y="158"/>
                      <a:pt x="71" y="158"/>
                    </a:cubicBezTo>
                    <a:cubicBezTo>
                      <a:pt x="67" y="158"/>
                      <a:pt x="67" y="158"/>
                      <a:pt x="67" y="158"/>
                    </a:cubicBezTo>
                    <a:cubicBezTo>
                      <a:pt x="66" y="159"/>
                      <a:pt x="66" y="159"/>
                      <a:pt x="66" y="159"/>
                    </a:cubicBezTo>
                    <a:cubicBezTo>
                      <a:pt x="65" y="160"/>
                      <a:pt x="65" y="160"/>
                      <a:pt x="65" y="160"/>
                    </a:cubicBezTo>
                    <a:cubicBezTo>
                      <a:pt x="62" y="163"/>
                      <a:pt x="62" y="163"/>
                      <a:pt x="62" y="163"/>
                    </a:cubicBezTo>
                    <a:cubicBezTo>
                      <a:pt x="59" y="163"/>
                      <a:pt x="59" y="163"/>
                      <a:pt x="59" y="163"/>
                    </a:cubicBezTo>
                    <a:cubicBezTo>
                      <a:pt x="57" y="163"/>
                      <a:pt x="57" y="163"/>
                      <a:pt x="57" y="163"/>
                    </a:cubicBezTo>
                    <a:cubicBezTo>
                      <a:pt x="55" y="164"/>
                      <a:pt x="55" y="164"/>
                      <a:pt x="55" y="164"/>
                    </a:cubicBezTo>
                    <a:cubicBezTo>
                      <a:pt x="51" y="165"/>
                      <a:pt x="51" y="165"/>
                      <a:pt x="51" y="165"/>
                    </a:cubicBezTo>
                    <a:cubicBezTo>
                      <a:pt x="49" y="166"/>
                      <a:pt x="49" y="166"/>
                      <a:pt x="49" y="166"/>
                    </a:cubicBezTo>
                    <a:cubicBezTo>
                      <a:pt x="46" y="166"/>
                      <a:pt x="46" y="166"/>
                      <a:pt x="46" y="166"/>
                    </a:cubicBezTo>
                    <a:cubicBezTo>
                      <a:pt x="45" y="165"/>
                      <a:pt x="45" y="165"/>
                      <a:pt x="45" y="165"/>
                    </a:cubicBezTo>
                    <a:cubicBezTo>
                      <a:pt x="45" y="160"/>
                      <a:pt x="45" y="160"/>
                      <a:pt x="45" y="160"/>
                    </a:cubicBezTo>
                    <a:cubicBezTo>
                      <a:pt x="43" y="155"/>
                      <a:pt x="43" y="155"/>
                      <a:pt x="43" y="155"/>
                    </a:cubicBezTo>
                    <a:cubicBezTo>
                      <a:pt x="44" y="154"/>
                      <a:pt x="44" y="154"/>
                      <a:pt x="44" y="154"/>
                    </a:cubicBezTo>
                    <a:cubicBezTo>
                      <a:pt x="44" y="152"/>
                      <a:pt x="44" y="152"/>
                      <a:pt x="44" y="152"/>
                    </a:cubicBezTo>
                    <a:cubicBezTo>
                      <a:pt x="46" y="151"/>
                      <a:pt x="46" y="151"/>
                      <a:pt x="46" y="151"/>
                    </a:cubicBezTo>
                    <a:cubicBezTo>
                      <a:pt x="49" y="149"/>
                      <a:pt x="49" y="149"/>
                      <a:pt x="49" y="149"/>
                    </a:cubicBezTo>
                    <a:cubicBezTo>
                      <a:pt x="50" y="151"/>
                      <a:pt x="50" y="151"/>
                      <a:pt x="50" y="151"/>
                    </a:cubicBezTo>
                    <a:cubicBezTo>
                      <a:pt x="51" y="153"/>
                      <a:pt x="51" y="153"/>
                      <a:pt x="51" y="153"/>
                    </a:cubicBezTo>
                    <a:cubicBezTo>
                      <a:pt x="52" y="153"/>
                      <a:pt x="52" y="153"/>
                      <a:pt x="52" y="153"/>
                    </a:cubicBezTo>
                    <a:cubicBezTo>
                      <a:pt x="53" y="150"/>
                      <a:pt x="53" y="150"/>
                      <a:pt x="53" y="150"/>
                    </a:cubicBezTo>
                    <a:cubicBezTo>
                      <a:pt x="56" y="148"/>
                      <a:pt x="56" y="148"/>
                      <a:pt x="56" y="148"/>
                    </a:cubicBezTo>
                    <a:cubicBezTo>
                      <a:pt x="58" y="148"/>
                      <a:pt x="58" y="148"/>
                      <a:pt x="58" y="148"/>
                    </a:cubicBezTo>
                    <a:cubicBezTo>
                      <a:pt x="60" y="145"/>
                      <a:pt x="60" y="145"/>
                      <a:pt x="60" y="145"/>
                    </a:cubicBezTo>
                    <a:cubicBezTo>
                      <a:pt x="63" y="142"/>
                      <a:pt x="63" y="142"/>
                      <a:pt x="63" y="142"/>
                    </a:cubicBezTo>
                    <a:cubicBezTo>
                      <a:pt x="67" y="141"/>
                      <a:pt x="67" y="141"/>
                      <a:pt x="67" y="141"/>
                    </a:cubicBezTo>
                    <a:cubicBezTo>
                      <a:pt x="66" y="138"/>
                      <a:pt x="66" y="138"/>
                      <a:pt x="66" y="138"/>
                    </a:cubicBezTo>
                    <a:cubicBezTo>
                      <a:pt x="68" y="137"/>
                      <a:pt x="68" y="137"/>
                      <a:pt x="68" y="137"/>
                    </a:cubicBezTo>
                    <a:cubicBezTo>
                      <a:pt x="72" y="135"/>
                      <a:pt x="72" y="135"/>
                      <a:pt x="72" y="135"/>
                    </a:cubicBezTo>
                    <a:cubicBezTo>
                      <a:pt x="79" y="134"/>
                      <a:pt x="79" y="134"/>
                      <a:pt x="79" y="134"/>
                    </a:cubicBezTo>
                    <a:cubicBezTo>
                      <a:pt x="81" y="132"/>
                      <a:pt x="81" y="132"/>
                      <a:pt x="81" y="132"/>
                    </a:cubicBezTo>
                    <a:cubicBezTo>
                      <a:pt x="85" y="131"/>
                      <a:pt x="85" y="131"/>
                      <a:pt x="85" y="131"/>
                    </a:cubicBezTo>
                    <a:cubicBezTo>
                      <a:pt x="87" y="129"/>
                      <a:pt x="87" y="129"/>
                      <a:pt x="87" y="129"/>
                    </a:cubicBezTo>
                    <a:cubicBezTo>
                      <a:pt x="87" y="127"/>
                      <a:pt x="87" y="127"/>
                      <a:pt x="87" y="127"/>
                    </a:cubicBezTo>
                    <a:cubicBezTo>
                      <a:pt x="85" y="127"/>
                      <a:pt x="85" y="127"/>
                      <a:pt x="85" y="127"/>
                    </a:cubicBezTo>
                    <a:cubicBezTo>
                      <a:pt x="82" y="130"/>
                      <a:pt x="82" y="130"/>
                      <a:pt x="82" y="130"/>
                    </a:cubicBezTo>
                    <a:cubicBezTo>
                      <a:pt x="79" y="130"/>
                      <a:pt x="79" y="130"/>
                      <a:pt x="79" y="130"/>
                    </a:cubicBezTo>
                    <a:cubicBezTo>
                      <a:pt x="76" y="129"/>
                      <a:pt x="76" y="129"/>
                      <a:pt x="76" y="129"/>
                    </a:cubicBezTo>
                    <a:cubicBezTo>
                      <a:pt x="76" y="126"/>
                      <a:pt x="76" y="126"/>
                      <a:pt x="76" y="126"/>
                    </a:cubicBezTo>
                    <a:cubicBezTo>
                      <a:pt x="78" y="123"/>
                      <a:pt x="78" y="123"/>
                      <a:pt x="78" y="123"/>
                    </a:cubicBezTo>
                    <a:cubicBezTo>
                      <a:pt x="78" y="119"/>
                      <a:pt x="78" y="119"/>
                      <a:pt x="78" y="119"/>
                    </a:cubicBezTo>
                    <a:cubicBezTo>
                      <a:pt x="77" y="116"/>
                      <a:pt x="77" y="116"/>
                      <a:pt x="77" y="116"/>
                    </a:cubicBezTo>
                    <a:cubicBezTo>
                      <a:pt x="75" y="116"/>
                      <a:pt x="75" y="116"/>
                      <a:pt x="75" y="116"/>
                    </a:cubicBezTo>
                    <a:cubicBezTo>
                      <a:pt x="74" y="118"/>
                      <a:pt x="74" y="118"/>
                      <a:pt x="74" y="118"/>
                    </a:cubicBezTo>
                    <a:cubicBezTo>
                      <a:pt x="74" y="122"/>
                      <a:pt x="74" y="122"/>
                      <a:pt x="74" y="122"/>
                    </a:cubicBezTo>
                    <a:cubicBezTo>
                      <a:pt x="73" y="125"/>
                      <a:pt x="73" y="125"/>
                      <a:pt x="73" y="125"/>
                    </a:cubicBezTo>
                    <a:cubicBezTo>
                      <a:pt x="68" y="131"/>
                      <a:pt x="68" y="131"/>
                      <a:pt x="68" y="131"/>
                    </a:cubicBezTo>
                    <a:cubicBezTo>
                      <a:pt x="65" y="131"/>
                      <a:pt x="65" y="131"/>
                      <a:pt x="65" y="131"/>
                    </a:cubicBezTo>
                    <a:cubicBezTo>
                      <a:pt x="63" y="130"/>
                      <a:pt x="63" y="130"/>
                      <a:pt x="63" y="130"/>
                    </a:cubicBezTo>
                    <a:cubicBezTo>
                      <a:pt x="62" y="125"/>
                      <a:pt x="62" y="125"/>
                      <a:pt x="62" y="125"/>
                    </a:cubicBezTo>
                    <a:cubicBezTo>
                      <a:pt x="62" y="124"/>
                      <a:pt x="62" y="124"/>
                      <a:pt x="62" y="124"/>
                    </a:cubicBezTo>
                    <a:cubicBezTo>
                      <a:pt x="65" y="121"/>
                      <a:pt x="65" y="121"/>
                      <a:pt x="65" y="121"/>
                    </a:cubicBezTo>
                    <a:cubicBezTo>
                      <a:pt x="65" y="119"/>
                      <a:pt x="65" y="119"/>
                      <a:pt x="65" y="119"/>
                    </a:cubicBezTo>
                    <a:cubicBezTo>
                      <a:pt x="63" y="117"/>
                      <a:pt x="63" y="117"/>
                      <a:pt x="63" y="117"/>
                    </a:cubicBezTo>
                    <a:cubicBezTo>
                      <a:pt x="63" y="113"/>
                      <a:pt x="63" y="113"/>
                      <a:pt x="63" y="113"/>
                    </a:cubicBezTo>
                    <a:cubicBezTo>
                      <a:pt x="62" y="111"/>
                      <a:pt x="62" y="111"/>
                      <a:pt x="62" y="111"/>
                    </a:cubicBezTo>
                    <a:cubicBezTo>
                      <a:pt x="60" y="111"/>
                      <a:pt x="60" y="111"/>
                      <a:pt x="60" y="111"/>
                    </a:cubicBezTo>
                    <a:cubicBezTo>
                      <a:pt x="59" y="113"/>
                      <a:pt x="59" y="113"/>
                      <a:pt x="59" y="113"/>
                    </a:cubicBezTo>
                    <a:cubicBezTo>
                      <a:pt x="60" y="119"/>
                      <a:pt x="60" y="119"/>
                      <a:pt x="60" y="119"/>
                    </a:cubicBezTo>
                    <a:cubicBezTo>
                      <a:pt x="59" y="121"/>
                      <a:pt x="59" y="121"/>
                      <a:pt x="59" y="121"/>
                    </a:cubicBezTo>
                    <a:cubicBezTo>
                      <a:pt x="57" y="124"/>
                      <a:pt x="57" y="124"/>
                      <a:pt x="57" y="124"/>
                    </a:cubicBezTo>
                    <a:cubicBezTo>
                      <a:pt x="56" y="122"/>
                      <a:pt x="56" y="122"/>
                      <a:pt x="56" y="122"/>
                    </a:cubicBezTo>
                    <a:cubicBezTo>
                      <a:pt x="57" y="120"/>
                      <a:pt x="57" y="120"/>
                      <a:pt x="57" y="120"/>
                    </a:cubicBezTo>
                    <a:cubicBezTo>
                      <a:pt x="55" y="117"/>
                      <a:pt x="55" y="117"/>
                      <a:pt x="55" y="117"/>
                    </a:cubicBezTo>
                    <a:cubicBezTo>
                      <a:pt x="53" y="116"/>
                      <a:pt x="53" y="116"/>
                      <a:pt x="53" y="116"/>
                    </a:cubicBezTo>
                    <a:cubicBezTo>
                      <a:pt x="52" y="117"/>
                      <a:pt x="52" y="117"/>
                      <a:pt x="52" y="117"/>
                    </a:cubicBezTo>
                    <a:cubicBezTo>
                      <a:pt x="52" y="120"/>
                      <a:pt x="52" y="120"/>
                      <a:pt x="52" y="120"/>
                    </a:cubicBezTo>
                    <a:cubicBezTo>
                      <a:pt x="52" y="122"/>
                      <a:pt x="52" y="122"/>
                      <a:pt x="52" y="122"/>
                    </a:cubicBezTo>
                    <a:cubicBezTo>
                      <a:pt x="52" y="126"/>
                      <a:pt x="52" y="126"/>
                      <a:pt x="52" y="126"/>
                    </a:cubicBezTo>
                    <a:cubicBezTo>
                      <a:pt x="54" y="129"/>
                      <a:pt x="54" y="129"/>
                      <a:pt x="54" y="129"/>
                    </a:cubicBezTo>
                    <a:cubicBezTo>
                      <a:pt x="56" y="133"/>
                      <a:pt x="56" y="133"/>
                      <a:pt x="56" y="133"/>
                    </a:cubicBezTo>
                    <a:cubicBezTo>
                      <a:pt x="56" y="135"/>
                      <a:pt x="56" y="135"/>
                      <a:pt x="56" y="135"/>
                    </a:cubicBezTo>
                    <a:cubicBezTo>
                      <a:pt x="53" y="135"/>
                      <a:pt x="53" y="135"/>
                      <a:pt x="53" y="135"/>
                    </a:cubicBezTo>
                    <a:cubicBezTo>
                      <a:pt x="51" y="136"/>
                      <a:pt x="51" y="136"/>
                      <a:pt x="51" y="136"/>
                    </a:cubicBezTo>
                    <a:cubicBezTo>
                      <a:pt x="49" y="140"/>
                      <a:pt x="49" y="140"/>
                      <a:pt x="49" y="140"/>
                    </a:cubicBezTo>
                    <a:cubicBezTo>
                      <a:pt x="49" y="143"/>
                      <a:pt x="49" y="143"/>
                      <a:pt x="49" y="143"/>
                    </a:cubicBezTo>
                    <a:cubicBezTo>
                      <a:pt x="47" y="145"/>
                      <a:pt x="47" y="145"/>
                      <a:pt x="47" y="145"/>
                    </a:cubicBezTo>
                    <a:cubicBezTo>
                      <a:pt x="40" y="145"/>
                      <a:pt x="40" y="145"/>
                      <a:pt x="40" y="145"/>
                    </a:cubicBezTo>
                    <a:cubicBezTo>
                      <a:pt x="36" y="145"/>
                      <a:pt x="36" y="145"/>
                      <a:pt x="36" y="145"/>
                    </a:cubicBezTo>
                    <a:cubicBezTo>
                      <a:pt x="36" y="143"/>
                      <a:pt x="36" y="143"/>
                      <a:pt x="36" y="143"/>
                    </a:cubicBezTo>
                    <a:cubicBezTo>
                      <a:pt x="38" y="141"/>
                      <a:pt x="38" y="141"/>
                      <a:pt x="38" y="141"/>
                    </a:cubicBezTo>
                    <a:cubicBezTo>
                      <a:pt x="36" y="139"/>
                      <a:pt x="36" y="139"/>
                      <a:pt x="36" y="139"/>
                    </a:cubicBezTo>
                    <a:cubicBezTo>
                      <a:pt x="31" y="134"/>
                      <a:pt x="31" y="134"/>
                      <a:pt x="31" y="134"/>
                    </a:cubicBezTo>
                    <a:cubicBezTo>
                      <a:pt x="29" y="134"/>
                      <a:pt x="29" y="134"/>
                      <a:pt x="29" y="134"/>
                    </a:cubicBezTo>
                    <a:cubicBezTo>
                      <a:pt x="28" y="134"/>
                      <a:pt x="28" y="134"/>
                      <a:pt x="28" y="134"/>
                    </a:cubicBezTo>
                    <a:cubicBezTo>
                      <a:pt x="26" y="131"/>
                      <a:pt x="26" y="131"/>
                      <a:pt x="26" y="131"/>
                    </a:cubicBezTo>
                    <a:cubicBezTo>
                      <a:pt x="25" y="127"/>
                      <a:pt x="25" y="127"/>
                      <a:pt x="25" y="127"/>
                    </a:cubicBezTo>
                    <a:cubicBezTo>
                      <a:pt x="30" y="127"/>
                      <a:pt x="30" y="127"/>
                      <a:pt x="30" y="127"/>
                    </a:cubicBezTo>
                    <a:cubicBezTo>
                      <a:pt x="32" y="126"/>
                      <a:pt x="32" y="126"/>
                      <a:pt x="32" y="126"/>
                    </a:cubicBezTo>
                    <a:cubicBezTo>
                      <a:pt x="31" y="125"/>
                      <a:pt x="31" y="125"/>
                      <a:pt x="31" y="125"/>
                    </a:cubicBezTo>
                    <a:cubicBezTo>
                      <a:pt x="28" y="124"/>
                      <a:pt x="28" y="124"/>
                      <a:pt x="28" y="124"/>
                    </a:cubicBezTo>
                    <a:cubicBezTo>
                      <a:pt x="26" y="125"/>
                      <a:pt x="26" y="125"/>
                      <a:pt x="26" y="125"/>
                    </a:cubicBezTo>
                    <a:cubicBezTo>
                      <a:pt x="24" y="124"/>
                      <a:pt x="24" y="124"/>
                      <a:pt x="24" y="124"/>
                    </a:cubicBezTo>
                    <a:cubicBezTo>
                      <a:pt x="23" y="121"/>
                      <a:pt x="23" y="121"/>
                      <a:pt x="23" y="121"/>
                    </a:cubicBezTo>
                    <a:cubicBezTo>
                      <a:pt x="20" y="120"/>
                      <a:pt x="20" y="120"/>
                      <a:pt x="20" y="120"/>
                    </a:cubicBezTo>
                    <a:cubicBezTo>
                      <a:pt x="17" y="118"/>
                      <a:pt x="17" y="118"/>
                      <a:pt x="17" y="118"/>
                    </a:cubicBezTo>
                    <a:cubicBezTo>
                      <a:pt x="15" y="116"/>
                      <a:pt x="15" y="116"/>
                      <a:pt x="15" y="116"/>
                    </a:cubicBezTo>
                    <a:cubicBezTo>
                      <a:pt x="17" y="114"/>
                      <a:pt x="17" y="114"/>
                      <a:pt x="17" y="114"/>
                    </a:cubicBezTo>
                    <a:cubicBezTo>
                      <a:pt x="17" y="113"/>
                      <a:pt x="17" y="113"/>
                      <a:pt x="17" y="113"/>
                    </a:cubicBezTo>
                    <a:cubicBezTo>
                      <a:pt x="15" y="111"/>
                      <a:pt x="15" y="111"/>
                      <a:pt x="15" y="111"/>
                    </a:cubicBezTo>
                    <a:cubicBezTo>
                      <a:pt x="12" y="110"/>
                      <a:pt x="12" y="110"/>
                      <a:pt x="12" y="110"/>
                    </a:cubicBezTo>
                    <a:cubicBezTo>
                      <a:pt x="10" y="107"/>
                      <a:pt x="10" y="107"/>
                      <a:pt x="10" y="107"/>
                    </a:cubicBezTo>
                    <a:cubicBezTo>
                      <a:pt x="10" y="104"/>
                      <a:pt x="10" y="104"/>
                      <a:pt x="10" y="104"/>
                    </a:cubicBezTo>
                    <a:cubicBezTo>
                      <a:pt x="11" y="104"/>
                      <a:pt x="11" y="104"/>
                      <a:pt x="11" y="104"/>
                    </a:cubicBezTo>
                    <a:cubicBezTo>
                      <a:pt x="16" y="107"/>
                      <a:pt x="16" y="107"/>
                      <a:pt x="16" y="107"/>
                    </a:cubicBezTo>
                    <a:cubicBezTo>
                      <a:pt x="17" y="109"/>
                      <a:pt x="17" y="109"/>
                      <a:pt x="17" y="109"/>
                    </a:cubicBezTo>
                    <a:cubicBezTo>
                      <a:pt x="17" y="110"/>
                      <a:pt x="17" y="110"/>
                      <a:pt x="17" y="110"/>
                    </a:cubicBezTo>
                    <a:cubicBezTo>
                      <a:pt x="19" y="110"/>
                      <a:pt x="19" y="110"/>
                      <a:pt x="19" y="110"/>
                    </a:cubicBezTo>
                    <a:cubicBezTo>
                      <a:pt x="22" y="108"/>
                      <a:pt x="22" y="108"/>
                      <a:pt x="22" y="108"/>
                    </a:cubicBezTo>
                    <a:cubicBezTo>
                      <a:pt x="22" y="105"/>
                      <a:pt x="22" y="105"/>
                      <a:pt x="22" y="105"/>
                    </a:cubicBezTo>
                    <a:cubicBezTo>
                      <a:pt x="21" y="104"/>
                      <a:pt x="21" y="104"/>
                      <a:pt x="21" y="104"/>
                    </a:cubicBezTo>
                    <a:cubicBezTo>
                      <a:pt x="18" y="105"/>
                      <a:pt x="18" y="105"/>
                      <a:pt x="18" y="105"/>
                    </a:cubicBezTo>
                    <a:cubicBezTo>
                      <a:pt x="17" y="104"/>
                      <a:pt x="17" y="104"/>
                      <a:pt x="17" y="104"/>
                    </a:cubicBezTo>
                    <a:cubicBezTo>
                      <a:pt x="17" y="103"/>
                      <a:pt x="17" y="103"/>
                      <a:pt x="17" y="103"/>
                    </a:cubicBezTo>
                    <a:cubicBezTo>
                      <a:pt x="13" y="100"/>
                      <a:pt x="13" y="100"/>
                      <a:pt x="13" y="100"/>
                    </a:cubicBezTo>
                    <a:cubicBezTo>
                      <a:pt x="13" y="97"/>
                      <a:pt x="13" y="97"/>
                      <a:pt x="13" y="97"/>
                    </a:cubicBezTo>
                    <a:cubicBezTo>
                      <a:pt x="14" y="97"/>
                      <a:pt x="14" y="97"/>
                      <a:pt x="14" y="97"/>
                    </a:cubicBezTo>
                    <a:cubicBezTo>
                      <a:pt x="15" y="92"/>
                      <a:pt x="15" y="92"/>
                      <a:pt x="15" y="92"/>
                    </a:cubicBezTo>
                    <a:cubicBezTo>
                      <a:pt x="17" y="88"/>
                      <a:pt x="17" y="88"/>
                      <a:pt x="17" y="88"/>
                    </a:cubicBezTo>
                    <a:cubicBezTo>
                      <a:pt x="16" y="88"/>
                      <a:pt x="16" y="88"/>
                      <a:pt x="16" y="88"/>
                    </a:cubicBezTo>
                    <a:cubicBezTo>
                      <a:pt x="14" y="89"/>
                      <a:pt x="14" y="89"/>
                      <a:pt x="14" y="89"/>
                    </a:cubicBezTo>
                    <a:cubicBezTo>
                      <a:pt x="12" y="87"/>
                      <a:pt x="12" y="87"/>
                      <a:pt x="12" y="87"/>
                    </a:cubicBezTo>
                    <a:cubicBezTo>
                      <a:pt x="10" y="87"/>
                      <a:pt x="10" y="87"/>
                      <a:pt x="10" y="87"/>
                    </a:cubicBezTo>
                    <a:cubicBezTo>
                      <a:pt x="10" y="91"/>
                      <a:pt x="10" y="91"/>
                      <a:pt x="10" y="91"/>
                    </a:cubicBezTo>
                    <a:cubicBezTo>
                      <a:pt x="10" y="95"/>
                      <a:pt x="10" y="95"/>
                      <a:pt x="10" y="95"/>
                    </a:cubicBezTo>
                    <a:cubicBezTo>
                      <a:pt x="8" y="97"/>
                      <a:pt x="8" y="97"/>
                      <a:pt x="8" y="97"/>
                    </a:cubicBezTo>
                    <a:cubicBezTo>
                      <a:pt x="6" y="98"/>
                      <a:pt x="6" y="98"/>
                      <a:pt x="6" y="98"/>
                    </a:cubicBezTo>
                    <a:cubicBezTo>
                      <a:pt x="5" y="95"/>
                      <a:pt x="5" y="95"/>
                      <a:pt x="5" y="95"/>
                    </a:cubicBezTo>
                    <a:cubicBezTo>
                      <a:pt x="2" y="89"/>
                      <a:pt x="2" y="89"/>
                      <a:pt x="2" y="89"/>
                    </a:cubicBezTo>
                    <a:cubicBezTo>
                      <a:pt x="1" y="85"/>
                      <a:pt x="1" y="85"/>
                      <a:pt x="1" y="85"/>
                    </a:cubicBezTo>
                    <a:cubicBezTo>
                      <a:pt x="0" y="81"/>
                      <a:pt x="0" y="81"/>
                      <a:pt x="0" y="81"/>
                    </a:cubicBezTo>
                    <a:cubicBezTo>
                      <a:pt x="0" y="78"/>
                      <a:pt x="0" y="78"/>
                      <a:pt x="0" y="78"/>
                    </a:cubicBezTo>
                    <a:cubicBezTo>
                      <a:pt x="2" y="77"/>
                      <a:pt x="2" y="77"/>
                      <a:pt x="2" y="77"/>
                    </a:cubicBezTo>
                    <a:cubicBezTo>
                      <a:pt x="5" y="75"/>
                      <a:pt x="5" y="75"/>
                      <a:pt x="5" y="75"/>
                    </a:cubicBezTo>
                    <a:cubicBezTo>
                      <a:pt x="6" y="74"/>
                      <a:pt x="6" y="74"/>
                      <a:pt x="6" y="74"/>
                    </a:cubicBezTo>
                    <a:cubicBezTo>
                      <a:pt x="6" y="71"/>
                      <a:pt x="6" y="71"/>
                      <a:pt x="6" y="71"/>
                    </a:cubicBezTo>
                    <a:cubicBezTo>
                      <a:pt x="5" y="69"/>
                      <a:pt x="5" y="69"/>
                      <a:pt x="5" y="69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8" y="61"/>
                      <a:pt x="8" y="61"/>
                      <a:pt x="8" y="61"/>
                    </a:cubicBezTo>
                    <a:cubicBezTo>
                      <a:pt x="11" y="62"/>
                      <a:pt x="11" y="62"/>
                      <a:pt x="11" y="62"/>
                    </a:cubicBezTo>
                    <a:cubicBezTo>
                      <a:pt x="13" y="67"/>
                      <a:pt x="13" y="67"/>
                      <a:pt x="13" y="67"/>
                    </a:cubicBezTo>
                    <a:cubicBezTo>
                      <a:pt x="15" y="70"/>
                      <a:pt x="15" y="70"/>
                      <a:pt x="15" y="70"/>
                    </a:cubicBezTo>
                    <a:cubicBezTo>
                      <a:pt x="18" y="70"/>
                      <a:pt x="18" y="70"/>
                      <a:pt x="18" y="70"/>
                    </a:cubicBezTo>
                    <a:cubicBezTo>
                      <a:pt x="19" y="69"/>
                      <a:pt x="19" y="69"/>
                      <a:pt x="19" y="69"/>
                    </a:cubicBezTo>
                    <a:cubicBezTo>
                      <a:pt x="15" y="64"/>
                      <a:pt x="15" y="64"/>
                      <a:pt x="15" y="64"/>
                    </a:cubicBezTo>
                    <a:cubicBezTo>
                      <a:pt x="15" y="60"/>
                      <a:pt x="15" y="60"/>
                      <a:pt x="15" y="60"/>
                    </a:cubicBezTo>
                    <a:cubicBezTo>
                      <a:pt x="16" y="59"/>
                      <a:pt x="16" y="59"/>
                      <a:pt x="16" y="59"/>
                    </a:cubicBezTo>
                    <a:cubicBezTo>
                      <a:pt x="18" y="61"/>
                      <a:pt x="18" y="61"/>
                      <a:pt x="18" y="61"/>
                    </a:cubicBezTo>
                    <a:cubicBezTo>
                      <a:pt x="19" y="63"/>
                      <a:pt x="19" y="63"/>
                      <a:pt x="19" y="63"/>
                    </a:cubicBezTo>
                    <a:cubicBezTo>
                      <a:pt x="20" y="64"/>
                      <a:pt x="20" y="64"/>
                      <a:pt x="20" y="64"/>
                    </a:cubicBezTo>
                    <a:cubicBezTo>
                      <a:pt x="23" y="63"/>
                      <a:pt x="23" y="63"/>
                      <a:pt x="23" y="63"/>
                    </a:cubicBezTo>
                    <a:cubicBezTo>
                      <a:pt x="31" y="57"/>
                      <a:pt x="31" y="57"/>
                      <a:pt x="31" y="57"/>
                    </a:cubicBezTo>
                    <a:cubicBezTo>
                      <a:pt x="35" y="56"/>
                      <a:pt x="35" y="56"/>
                      <a:pt x="35" y="56"/>
                    </a:cubicBezTo>
                    <a:cubicBezTo>
                      <a:pt x="37" y="58"/>
                      <a:pt x="37" y="58"/>
                      <a:pt x="37" y="58"/>
                    </a:cubicBezTo>
                    <a:cubicBezTo>
                      <a:pt x="39" y="62"/>
                      <a:pt x="39" y="62"/>
                      <a:pt x="39" y="62"/>
                    </a:cubicBezTo>
                    <a:cubicBezTo>
                      <a:pt x="39" y="65"/>
                      <a:pt x="39" y="65"/>
                      <a:pt x="39" y="65"/>
                    </a:cubicBezTo>
                    <a:cubicBezTo>
                      <a:pt x="36" y="67"/>
                      <a:pt x="36" y="67"/>
                      <a:pt x="36" y="67"/>
                    </a:cubicBezTo>
                    <a:cubicBezTo>
                      <a:pt x="34" y="67"/>
                      <a:pt x="34" y="67"/>
                      <a:pt x="34" y="67"/>
                    </a:cubicBezTo>
                    <a:cubicBezTo>
                      <a:pt x="33" y="66"/>
                      <a:pt x="33" y="66"/>
                      <a:pt x="33" y="66"/>
                    </a:cubicBezTo>
                    <a:cubicBezTo>
                      <a:pt x="31" y="66"/>
                      <a:pt x="31" y="66"/>
                      <a:pt x="31" y="66"/>
                    </a:cubicBezTo>
                    <a:cubicBezTo>
                      <a:pt x="27" y="69"/>
                      <a:pt x="27" y="69"/>
                      <a:pt x="27" y="69"/>
                    </a:cubicBezTo>
                    <a:cubicBezTo>
                      <a:pt x="27" y="71"/>
                      <a:pt x="27" y="71"/>
                      <a:pt x="27" y="71"/>
                    </a:cubicBezTo>
                    <a:cubicBezTo>
                      <a:pt x="25" y="71"/>
                      <a:pt x="25" y="71"/>
                      <a:pt x="25" y="71"/>
                    </a:cubicBezTo>
                    <a:cubicBezTo>
                      <a:pt x="24" y="74"/>
                      <a:pt x="24" y="74"/>
                      <a:pt x="24" y="74"/>
                    </a:cubicBezTo>
                    <a:cubicBezTo>
                      <a:pt x="26" y="75"/>
                      <a:pt x="26" y="75"/>
                      <a:pt x="26" y="75"/>
                    </a:cubicBezTo>
                    <a:cubicBezTo>
                      <a:pt x="29" y="73"/>
                      <a:pt x="29" y="73"/>
                      <a:pt x="29" y="73"/>
                    </a:cubicBezTo>
                    <a:cubicBezTo>
                      <a:pt x="34" y="71"/>
                      <a:pt x="34" y="71"/>
                      <a:pt x="34" y="71"/>
                    </a:cubicBezTo>
                    <a:cubicBezTo>
                      <a:pt x="36" y="72"/>
                      <a:pt x="36" y="72"/>
                      <a:pt x="36" y="72"/>
                    </a:cubicBezTo>
                    <a:cubicBezTo>
                      <a:pt x="35" y="74"/>
                      <a:pt x="35" y="74"/>
                      <a:pt x="35" y="74"/>
                    </a:cubicBezTo>
                    <a:cubicBezTo>
                      <a:pt x="32" y="76"/>
                      <a:pt x="32" y="76"/>
                      <a:pt x="32" y="76"/>
                    </a:cubicBezTo>
                    <a:cubicBezTo>
                      <a:pt x="32" y="78"/>
                      <a:pt x="32" y="78"/>
                      <a:pt x="32" y="78"/>
                    </a:cubicBezTo>
                    <a:cubicBezTo>
                      <a:pt x="34" y="79"/>
                      <a:pt x="34" y="79"/>
                      <a:pt x="34" y="79"/>
                    </a:cubicBezTo>
                    <a:cubicBezTo>
                      <a:pt x="35" y="78"/>
                      <a:pt x="35" y="78"/>
                      <a:pt x="35" y="78"/>
                    </a:cubicBezTo>
                    <a:cubicBezTo>
                      <a:pt x="36" y="78"/>
                      <a:pt x="36" y="78"/>
                      <a:pt x="36" y="78"/>
                    </a:cubicBezTo>
                    <a:cubicBezTo>
                      <a:pt x="38" y="80"/>
                      <a:pt x="38" y="80"/>
                      <a:pt x="38" y="80"/>
                    </a:cubicBezTo>
                    <a:cubicBezTo>
                      <a:pt x="39" y="81"/>
                      <a:pt x="39" y="81"/>
                      <a:pt x="39" y="81"/>
                    </a:cubicBezTo>
                    <a:cubicBezTo>
                      <a:pt x="39" y="84"/>
                      <a:pt x="39" y="84"/>
                      <a:pt x="39" y="84"/>
                    </a:cubicBezTo>
                    <a:cubicBezTo>
                      <a:pt x="40" y="88"/>
                      <a:pt x="40" y="88"/>
                      <a:pt x="40" y="88"/>
                    </a:cubicBezTo>
                    <a:cubicBezTo>
                      <a:pt x="42" y="90"/>
                      <a:pt x="42" y="90"/>
                      <a:pt x="42" y="90"/>
                    </a:cubicBezTo>
                    <a:cubicBezTo>
                      <a:pt x="43" y="91"/>
                      <a:pt x="43" y="91"/>
                      <a:pt x="43" y="91"/>
                    </a:cubicBezTo>
                    <a:cubicBezTo>
                      <a:pt x="42" y="85"/>
                      <a:pt x="42" y="85"/>
                      <a:pt x="42" y="85"/>
                    </a:cubicBezTo>
                    <a:cubicBezTo>
                      <a:pt x="40" y="81"/>
                      <a:pt x="40" y="81"/>
                      <a:pt x="40" y="81"/>
                    </a:cubicBezTo>
                    <a:cubicBezTo>
                      <a:pt x="40" y="77"/>
                      <a:pt x="40" y="77"/>
                      <a:pt x="40" y="77"/>
                    </a:cubicBezTo>
                    <a:cubicBezTo>
                      <a:pt x="41" y="73"/>
                      <a:pt x="41" y="73"/>
                      <a:pt x="41" y="73"/>
                    </a:cubicBezTo>
                    <a:cubicBezTo>
                      <a:pt x="44" y="67"/>
                      <a:pt x="44" y="67"/>
                      <a:pt x="44" y="67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7" y="62"/>
                      <a:pt x="47" y="62"/>
                      <a:pt x="47" y="62"/>
                    </a:cubicBezTo>
                    <a:cubicBezTo>
                      <a:pt x="49" y="63"/>
                      <a:pt x="49" y="63"/>
                      <a:pt x="49" y="63"/>
                    </a:cubicBezTo>
                    <a:cubicBezTo>
                      <a:pt x="52" y="67"/>
                      <a:pt x="52" y="67"/>
                      <a:pt x="52" y="67"/>
                    </a:cubicBezTo>
                    <a:cubicBezTo>
                      <a:pt x="56" y="69"/>
                      <a:pt x="56" y="69"/>
                      <a:pt x="56" y="69"/>
                    </a:cubicBezTo>
                    <a:cubicBezTo>
                      <a:pt x="57" y="71"/>
                      <a:pt x="57" y="71"/>
                      <a:pt x="57" y="71"/>
                    </a:cubicBezTo>
                    <a:cubicBezTo>
                      <a:pt x="57" y="78"/>
                      <a:pt x="57" y="78"/>
                      <a:pt x="57" y="78"/>
                    </a:cubicBezTo>
                    <a:cubicBezTo>
                      <a:pt x="60" y="86"/>
                      <a:pt x="60" y="86"/>
                      <a:pt x="60" y="86"/>
                    </a:cubicBezTo>
                    <a:cubicBezTo>
                      <a:pt x="60" y="89"/>
                      <a:pt x="60" y="89"/>
                      <a:pt x="60" y="89"/>
                    </a:cubicBezTo>
                    <a:cubicBezTo>
                      <a:pt x="59" y="91"/>
                      <a:pt x="59" y="91"/>
                      <a:pt x="59" y="91"/>
                    </a:cubicBezTo>
                    <a:cubicBezTo>
                      <a:pt x="56" y="94"/>
                      <a:pt x="56" y="94"/>
                      <a:pt x="56" y="94"/>
                    </a:cubicBezTo>
                    <a:cubicBezTo>
                      <a:pt x="56" y="95"/>
                      <a:pt x="56" y="95"/>
                      <a:pt x="56" y="95"/>
                    </a:cubicBezTo>
                    <a:cubicBezTo>
                      <a:pt x="58" y="96"/>
                      <a:pt x="58" y="96"/>
                      <a:pt x="58" y="96"/>
                    </a:cubicBezTo>
                    <a:cubicBezTo>
                      <a:pt x="60" y="94"/>
                      <a:pt x="60" y="94"/>
                      <a:pt x="60" y="94"/>
                    </a:cubicBezTo>
                    <a:cubicBezTo>
                      <a:pt x="62" y="95"/>
                      <a:pt x="62" y="95"/>
                      <a:pt x="62" y="95"/>
                    </a:cubicBezTo>
                    <a:cubicBezTo>
                      <a:pt x="65" y="98"/>
                      <a:pt x="65" y="98"/>
                      <a:pt x="65" y="98"/>
                    </a:cubicBezTo>
                    <a:cubicBezTo>
                      <a:pt x="67" y="104"/>
                      <a:pt x="67" y="104"/>
                      <a:pt x="67" y="104"/>
                    </a:cubicBezTo>
                    <a:cubicBezTo>
                      <a:pt x="69" y="106"/>
                      <a:pt x="69" y="106"/>
                      <a:pt x="69" y="106"/>
                    </a:cubicBezTo>
                    <a:cubicBezTo>
                      <a:pt x="72" y="106"/>
                      <a:pt x="72" y="106"/>
                      <a:pt x="72" y="106"/>
                    </a:cubicBezTo>
                    <a:cubicBezTo>
                      <a:pt x="72" y="103"/>
                      <a:pt x="72" y="103"/>
                      <a:pt x="72" y="103"/>
                    </a:cubicBezTo>
                    <a:cubicBezTo>
                      <a:pt x="69" y="98"/>
                      <a:pt x="69" y="98"/>
                      <a:pt x="69" y="98"/>
                    </a:cubicBezTo>
                    <a:cubicBezTo>
                      <a:pt x="68" y="95"/>
                      <a:pt x="68" y="95"/>
                      <a:pt x="68" y="95"/>
                    </a:cubicBezTo>
                    <a:cubicBezTo>
                      <a:pt x="65" y="90"/>
                      <a:pt x="65" y="90"/>
                      <a:pt x="65" y="90"/>
                    </a:cubicBezTo>
                    <a:cubicBezTo>
                      <a:pt x="63" y="86"/>
                      <a:pt x="63" y="86"/>
                      <a:pt x="63" y="86"/>
                    </a:cubicBezTo>
                    <a:cubicBezTo>
                      <a:pt x="63" y="80"/>
                      <a:pt x="63" y="80"/>
                      <a:pt x="63" y="80"/>
                    </a:cubicBezTo>
                    <a:cubicBezTo>
                      <a:pt x="63" y="69"/>
                      <a:pt x="63" y="69"/>
                      <a:pt x="63" y="69"/>
                    </a:cubicBezTo>
                    <a:cubicBezTo>
                      <a:pt x="62" y="67"/>
                      <a:pt x="62" y="67"/>
                      <a:pt x="62" y="67"/>
                    </a:cubicBezTo>
                    <a:cubicBezTo>
                      <a:pt x="61" y="66"/>
                      <a:pt x="61" y="66"/>
                      <a:pt x="61" y="66"/>
                    </a:cubicBezTo>
                    <a:cubicBezTo>
                      <a:pt x="62" y="62"/>
                      <a:pt x="62" y="62"/>
                      <a:pt x="62" y="62"/>
                    </a:cubicBezTo>
                    <a:cubicBezTo>
                      <a:pt x="61" y="59"/>
                      <a:pt x="61" y="59"/>
                      <a:pt x="61" y="59"/>
                    </a:cubicBezTo>
                    <a:cubicBezTo>
                      <a:pt x="63" y="56"/>
                      <a:pt x="63" y="56"/>
                      <a:pt x="63" y="56"/>
                    </a:cubicBezTo>
                    <a:cubicBezTo>
                      <a:pt x="62" y="50"/>
                      <a:pt x="62" y="50"/>
                      <a:pt x="62" y="50"/>
                    </a:cubicBezTo>
                    <a:cubicBezTo>
                      <a:pt x="65" y="46"/>
                      <a:pt x="65" y="46"/>
                      <a:pt x="65" y="46"/>
                    </a:cubicBezTo>
                    <a:cubicBezTo>
                      <a:pt x="67" y="45"/>
                      <a:pt x="67" y="45"/>
                      <a:pt x="67" y="45"/>
                    </a:cubicBezTo>
                    <a:cubicBezTo>
                      <a:pt x="68" y="46"/>
                      <a:pt x="68" y="46"/>
                      <a:pt x="68" y="46"/>
                    </a:cubicBezTo>
                    <a:cubicBezTo>
                      <a:pt x="72" y="51"/>
                      <a:pt x="72" y="51"/>
                      <a:pt x="72" y="51"/>
                    </a:cubicBezTo>
                    <a:cubicBezTo>
                      <a:pt x="73" y="55"/>
                      <a:pt x="73" y="55"/>
                      <a:pt x="73" y="55"/>
                    </a:cubicBezTo>
                    <a:cubicBezTo>
                      <a:pt x="75" y="56"/>
                      <a:pt x="75" y="56"/>
                      <a:pt x="75" y="56"/>
                    </a:cubicBezTo>
                    <a:cubicBezTo>
                      <a:pt x="76" y="53"/>
                      <a:pt x="76" y="53"/>
                      <a:pt x="76" y="53"/>
                    </a:cubicBezTo>
                    <a:cubicBezTo>
                      <a:pt x="79" y="52"/>
                      <a:pt x="79" y="52"/>
                      <a:pt x="79" y="52"/>
                    </a:cubicBezTo>
                    <a:cubicBezTo>
                      <a:pt x="82" y="54"/>
                      <a:pt x="82" y="54"/>
                      <a:pt x="82" y="54"/>
                    </a:cubicBezTo>
                    <a:cubicBezTo>
                      <a:pt x="86" y="59"/>
                      <a:pt x="86" y="59"/>
                      <a:pt x="86" y="59"/>
                    </a:cubicBezTo>
                    <a:cubicBezTo>
                      <a:pt x="87" y="63"/>
                      <a:pt x="87" y="63"/>
                      <a:pt x="87" y="63"/>
                    </a:cubicBezTo>
                    <a:cubicBezTo>
                      <a:pt x="87" y="67"/>
                      <a:pt x="87" y="67"/>
                      <a:pt x="87" y="67"/>
                    </a:cubicBezTo>
                    <a:cubicBezTo>
                      <a:pt x="86" y="69"/>
                      <a:pt x="86" y="69"/>
                      <a:pt x="86" y="69"/>
                    </a:cubicBezTo>
                    <a:cubicBezTo>
                      <a:pt x="86" y="77"/>
                      <a:pt x="86" y="77"/>
                      <a:pt x="86" y="77"/>
                    </a:cubicBezTo>
                    <a:cubicBezTo>
                      <a:pt x="86" y="82"/>
                      <a:pt x="86" y="82"/>
                      <a:pt x="86" y="82"/>
                    </a:cubicBezTo>
                    <a:cubicBezTo>
                      <a:pt x="86" y="83"/>
                      <a:pt x="86" y="83"/>
                      <a:pt x="86" y="83"/>
                    </a:cubicBezTo>
                    <a:cubicBezTo>
                      <a:pt x="87" y="84"/>
                      <a:pt x="87" y="84"/>
                      <a:pt x="87" y="84"/>
                    </a:cubicBezTo>
                    <a:cubicBezTo>
                      <a:pt x="89" y="82"/>
                      <a:pt x="89" y="82"/>
                      <a:pt x="89" y="82"/>
                    </a:cubicBezTo>
                    <a:cubicBezTo>
                      <a:pt x="89" y="77"/>
                      <a:pt x="89" y="77"/>
                      <a:pt x="89" y="77"/>
                    </a:cubicBezTo>
                    <a:cubicBezTo>
                      <a:pt x="89" y="71"/>
                      <a:pt x="89" y="71"/>
                      <a:pt x="89" y="71"/>
                    </a:cubicBezTo>
                    <a:cubicBezTo>
                      <a:pt x="89" y="67"/>
                      <a:pt x="89" y="67"/>
                      <a:pt x="89" y="67"/>
                    </a:cubicBezTo>
                    <a:cubicBezTo>
                      <a:pt x="92" y="65"/>
                      <a:pt x="92" y="65"/>
                      <a:pt x="92" y="65"/>
                    </a:cubicBezTo>
                    <a:cubicBezTo>
                      <a:pt x="97" y="69"/>
                      <a:pt x="97" y="69"/>
                      <a:pt x="97" y="69"/>
                    </a:cubicBezTo>
                    <a:cubicBezTo>
                      <a:pt x="100" y="76"/>
                      <a:pt x="100" y="76"/>
                      <a:pt x="100" y="76"/>
                    </a:cubicBezTo>
                    <a:cubicBezTo>
                      <a:pt x="102" y="85"/>
                      <a:pt x="102" y="85"/>
                      <a:pt x="102" y="85"/>
                    </a:cubicBezTo>
                    <a:cubicBezTo>
                      <a:pt x="102" y="87"/>
                      <a:pt x="102" y="87"/>
                      <a:pt x="102" y="87"/>
                    </a:cubicBezTo>
                    <a:cubicBezTo>
                      <a:pt x="104" y="89"/>
                      <a:pt x="104" y="89"/>
                      <a:pt x="104" y="89"/>
                    </a:cubicBezTo>
                    <a:cubicBezTo>
                      <a:pt x="108" y="90"/>
                      <a:pt x="108" y="90"/>
                      <a:pt x="108" y="90"/>
                    </a:cubicBezTo>
                    <a:cubicBezTo>
                      <a:pt x="110" y="91"/>
                      <a:pt x="110" y="91"/>
                      <a:pt x="110" y="91"/>
                    </a:cubicBezTo>
                    <a:cubicBezTo>
                      <a:pt x="115" y="96"/>
                      <a:pt x="115" y="96"/>
                      <a:pt x="115" y="96"/>
                    </a:cubicBezTo>
                    <a:cubicBezTo>
                      <a:pt x="117" y="98"/>
                      <a:pt x="117" y="98"/>
                      <a:pt x="117" y="98"/>
                    </a:cubicBezTo>
                    <a:cubicBezTo>
                      <a:pt x="122" y="103"/>
                      <a:pt x="122" y="103"/>
                      <a:pt x="122" y="103"/>
                    </a:cubicBezTo>
                    <a:cubicBezTo>
                      <a:pt x="126" y="105"/>
                      <a:pt x="126" y="105"/>
                      <a:pt x="126" y="105"/>
                    </a:cubicBezTo>
                    <a:cubicBezTo>
                      <a:pt x="135" y="107"/>
                      <a:pt x="135" y="107"/>
                      <a:pt x="135" y="107"/>
                    </a:cubicBezTo>
                    <a:cubicBezTo>
                      <a:pt x="137" y="108"/>
                      <a:pt x="137" y="108"/>
                      <a:pt x="137" y="108"/>
                    </a:cubicBezTo>
                    <a:cubicBezTo>
                      <a:pt x="137" y="112"/>
                      <a:pt x="137" y="112"/>
                      <a:pt x="137" y="112"/>
                    </a:cubicBezTo>
                    <a:cubicBezTo>
                      <a:pt x="136" y="114"/>
                      <a:pt x="136" y="114"/>
                      <a:pt x="136" y="114"/>
                    </a:cubicBezTo>
                    <a:cubicBezTo>
                      <a:pt x="136" y="116"/>
                      <a:pt x="136" y="116"/>
                      <a:pt x="136" y="116"/>
                    </a:cubicBezTo>
                    <a:cubicBezTo>
                      <a:pt x="134" y="117"/>
                      <a:pt x="134" y="117"/>
                      <a:pt x="134" y="117"/>
                    </a:cubicBezTo>
                    <a:cubicBezTo>
                      <a:pt x="132" y="113"/>
                      <a:pt x="132" y="113"/>
                      <a:pt x="132" y="113"/>
                    </a:cubicBezTo>
                    <a:cubicBezTo>
                      <a:pt x="128" y="115"/>
                      <a:pt x="128" y="115"/>
                      <a:pt x="128" y="115"/>
                    </a:cubicBezTo>
                    <a:cubicBezTo>
                      <a:pt x="125" y="115"/>
                      <a:pt x="125" y="115"/>
                      <a:pt x="125" y="115"/>
                    </a:cubicBezTo>
                    <a:cubicBezTo>
                      <a:pt x="120" y="119"/>
                      <a:pt x="120" y="119"/>
                      <a:pt x="120" y="119"/>
                    </a:cubicBezTo>
                    <a:cubicBezTo>
                      <a:pt x="116" y="119"/>
                      <a:pt x="116" y="119"/>
                      <a:pt x="116" y="119"/>
                    </a:cubicBezTo>
                    <a:cubicBezTo>
                      <a:pt x="116" y="120"/>
                      <a:pt x="116" y="120"/>
                      <a:pt x="116" y="120"/>
                    </a:cubicBezTo>
                    <a:cubicBezTo>
                      <a:pt x="117" y="122"/>
                      <a:pt x="117" y="122"/>
                      <a:pt x="117" y="122"/>
                    </a:cubicBezTo>
                    <a:cubicBezTo>
                      <a:pt x="117" y="124"/>
                      <a:pt x="117" y="124"/>
                      <a:pt x="117" y="124"/>
                    </a:cubicBezTo>
                    <a:cubicBezTo>
                      <a:pt x="113" y="128"/>
                      <a:pt x="113" y="128"/>
                      <a:pt x="113" y="128"/>
                    </a:cubicBezTo>
                    <a:cubicBezTo>
                      <a:pt x="112" y="130"/>
                      <a:pt x="112" y="130"/>
                      <a:pt x="112" y="130"/>
                    </a:cubicBezTo>
                    <a:cubicBezTo>
                      <a:pt x="113" y="134"/>
                      <a:pt x="113" y="134"/>
                      <a:pt x="113" y="134"/>
                    </a:cubicBezTo>
                    <a:cubicBezTo>
                      <a:pt x="113" y="141"/>
                      <a:pt x="113" y="141"/>
                      <a:pt x="113" y="141"/>
                    </a:cubicBezTo>
                    <a:cubicBezTo>
                      <a:pt x="112" y="144"/>
                      <a:pt x="112" y="144"/>
                      <a:pt x="112" y="144"/>
                    </a:cubicBezTo>
                    <a:cubicBezTo>
                      <a:pt x="113" y="148"/>
                      <a:pt x="113" y="148"/>
                      <a:pt x="113" y="148"/>
                    </a:cubicBezTo>
                    <a:cubicBezTo>
                      <a:pt x="114" y="150"/>
                      <a:pt x="114" y="150"/>
                      <a:pt x="114" y="150"/>
                    </a:cubicBezTo>
                    <a:cubicBezTo>
                      <a:pt x="112" y="152"/>
                      <a:pt x="112" y="152"/>
                      <a:pt x="112" y="152"/>
                    </a:cubicBezTo>
                    <a:cubicBezTo>
                      <a:pt x="108" y="151"/>
                      <a:pt x="108" y="151"/>
                      <a:pt x="108" y="151"/>
                    </a:cubicBezTo>
                    <a:cubicBezTo>
                      <a:pt x="107" y="152"/>
                      <a:pt x="107" y="152"/>
                      <a:pt x="107" y="152"/>
                    </a:cubicBezTo>
                    <a:cubicBezTo>
                      <a:pt x="107" y="156"/>
                      <a:pt x="107" y="156"/>
                      <a:pt x="107" y="156"/>
                    </a:cubicBezTo>
                    <a:cubicBezTo>
                      <a:pt x="109" y="160"/>
                      <a:pt x="109" y="160"/>
                      <a:pt x="109" y="160"/>
                    </a:cubicBezTo>
                    <a:cubicBezTo>
                      <a:pt x="109" y="164"/>
                      <a:pt x="109" y="164"/>
                      <a:pt x="109" y="164"/>
                    </a:cubicBezTo>
                    <a:cubicBezTo>
                      <a:pt x="108" y="168"/>
                      <a:pt x="108" y="168"/>
                      <a:pt x="108" y="168"/>
                    </a:cubicBezTo>
                    <a:cubicBezTo>
                      <a:pt x="108" y="173"/>
                      <a:pt x="108" y="173"/>
                      <a:pt x="108" y="173"/>
                    </a:cubicBezTo>
                    <a:cubicBezTo>
                      <a:pt x="108" y="177"/>
                      <a:pt x="108" y="177"/>
                      <a:pt x="108" y="177"/>
                    </a:cubicBezTo>
                    <a:cubicBezTo>
                      <a:pt x="106" y="177"/>
                      <a:pt x="106" y="177"/>
                      <a:pt x="106" y="177"/>
                    </a:cubicBezTo>
                    <a:cubicBezTo>
                      <a:pt x="102" y="176"/>
                      <a:pt x="102" y="176"/>
                      <a:pt x="102" y="176"/>
                    </a:cubicBezTo>
                    <a:cubicBezTo>
                      <a:pt x="99" y="179"/>
                      <a:pt x="99" y="179"/>
                      <a:pt x="99" y="179"/>
                    </a:cubicBezTo>
                    <a:cubicBezTo>
                      <a:pt x="103" y="181"/>
                      <a:pt x="103" y="181"/>
                      <a:pt x="103" y="181"/>
                    </a:cubicBezTo>
                    <a:cubicBezTo>
                      <a:pt x="102" y="182"/>
                      <a:pt x="102" y="182"/>
                      <a:pt x="102" y="182"/>
                    </a:cubicBezTo>
                    <a:cubicBezTo>
                      <a:pt x="100" y="185"/>
                      <a:pt x="100" y="185"/>
                      <a:pt x="100" y="185"/>
                    </a:cubicBezTo>
                    <a:cubicBezTo>
                      <a:pt x="100" y="187"/>
                      <a:pt x="100" y="187"/>
                      <a:pt x="100" y="187"/>
                    </a:cubicBezTo>
                    <a:cubicBezTo>
                      <a:pt x="99" y="190"/>
                      <a:pt x="99" y="190"/>
                      <a:pt x="99" y="190"/>
                    </a:cubicBezTo>
                    <a:cubicBezTo>
                      <a:pt x="99" y="202"/>
                      <a:pt x="99" y="202"/>
                      <a:pt x="99" y="202"/>
                    </a:cubicBezTo>
                    <a:cubicBezTo>
                      <a:pt x="97" y="205"/>
                      <a:pt x="97" y="205"/>
                      <a:pt x="97" y="205"/>
                    </a:cubicBezTo>
                    <a:cubicBezTo>
                      <a:pt x="96" y="207"/>
                      <a:pt x="96" y="207"/>
                      <a:pt x="96" y="207"/>
                    </a:cubicBezTo>
                    <a:cubicBezTo>
                      <a:pt x="96" y="211"/>
                      <a:pt x="96" y="211"/>
                      <a:pt x="96" y="211"/>
                    </a:cubicBezTo>
                    <a:cubicBezTo>
                      <a:pt x="98" y="216"/>
                      <a:pt x="98" y="216"/>
                      <a:pt x="98" y="216"/>
                    </a:cubicBezTo>
                    <a:cubicBezTo>
                      <a:pt x="98" y="218"/>
                      <a:pt x="98" y="218"/>
                      <a:pt x="98" y="218"/>
                    </a:cubicBezTo>
                    <a:cubicBezTo>
                      <a:pt x="97" y="219"/>
                      <a:pt x="97" y="219"/>
                      <a:pt x="97" y="219"/>
                    </a:cubicBezTo>
                    <a:cubicBezTo>
                      <a:pt x="96" y="223"/>
                      <a:pt x="96" y="223"/>
                      <a:pt x="96" y="223"/>
                    </a:cubicBezTo>
                    <a:cubicBezTo>
                      <a:pt x="94" y="227"/>
                      <a:pt x="94" y="227"/>
                      <a:pt x="94" y="227"/>
                    </a:cubicBezTo>
                    <a:cubicBezTo>
                      <a:pt x="91" y="227"/>
                      <a:pt x="91" y="227"/>
                      <a:pt x="91" y="227"/>
                    </a:cubicBezTo>
                    <a:close/>
                    <a:moveTo>
                      <a:pt x="134" y="322"/>
                    </a:moveTo>
                    <a:cubicBezTo>
                      <a:pt x="136" y="320"/>
                      <a:pt x="136" y="320"/>
                      <a:pt x="136" y="320"/>
                    </a:cubicBezTo>
                    <a:cubicBezTo>
                      <a:pt x="136" y="315"/>
                      <a:pt x="136" y="315"/>
                      <a:pt x="136" y="315"/>
                    </a:cubicBezTo>
                    <a:cubicBezTo>
                      <a:pt x="134" y="312"/>
                      <a:pt x="134" y="312"/>
                      <a:pt x="134" y="312"/>
                    </a:cubicBezTo>
                    <a:cubicBezTo>
                      <a:pt x="130" y="312"/>
                      <a:pt x="130" y="312"/>
                      <a:pt x="130" y="312"/>
                    </a:cubicBezTo>
                    <a:cubicBezTo>
                      <a:pt x="129" y="314"/>
                      <a:pt x="129" y="314"/>
                      <a:pt x="129" y="314"/>
                    </a:cubicBezTo>
                    <a:cubicBezTo>
                      <a:pt x="130" y="317"/>
                      <a:pt x="130" y="317"/>
                      <a:pt x="130" y="317"/>
                    </a:cubicBezTo>
                    <a:cubicBezTo>
                      <a:pt x="132" y="319"/>
                      <a:pt x="132" y="319"/>
                      <a:pt x="132" y="319"/>
                    </a:cubicBezTo>
                    <a:cubicBezTo>
                      <a:pt x="133" y="321"/>
                      <a:pt x="133" y="321"/>
                      <a:pt x="133" y="321"/>
                    </a:cubicBezTo>
                    <a:lnTo>
                      <a:pt x="134" y="322"/>
                    </a:lnTo>
                    <a:close/>
                  </a:path>
                </a:pathLst>
              </a:custGeom>
              <a:solidFill>
                <a:schemeClr val="accent2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005" name="Freeform 7"/>
              <p:cNvSpPr>
                <a:spLocks/>
              </p:cNvSpPr>
              <p:nvPr userDrawn="1"/>
            </p:nvSpPr>
            <p:spPr bwMode="auto">
              <a:xfrm>
                <a:off x="4427" y="2038"/>
                <a:ext cx="296" cy="178"/>
              </a:xfrm>
              <a:custGeom>
                <a:avLst/>
                <a:gdLst>
                  <a:gd name="T0" fmla="*/ 235 w 296"/>
                  <a:gd name="T1" fmla="*/ 166 h 178"/>
                  <a:gd name="T2" fmla="*/ 241 w 296"/>
                  <a:gd name="T3" fmla="*/ 156 h 178"/>
                  <a:gd name="T4" fmla="*/ 237 w 296"/>
                  <a:gd name="T5" fmla="*/ 149 h 178"/>
                  <a:gd name="T6" fmla="*/ 236 w 296"/>
                  <a:gd name="T7" fmla="*/ 140 h 178"/>
                  <a:gd name="T8" fmla="*/ 230 w 296"/>
                  <a:gd name="T9" fmla="*/ 137 h 178"/>
                  <a:gd name="T10" fmla="*/ 223 w 296"/>
                  <a:gd name="T11" fmla="*/ 132 h 178"/>
                  <a:gd name="T12" fmla="*/ 225 w 296"/>
                  <a:gd name="T13" fmla="*/ 123 h 178"/>
                  <a:gd name="T14" fmla="*/ 237 w 296"/>
                  <a:gd name="T15" fmla="*/ 123 h 178"/>
                  <a:gd name="T16" fmla="*/ 246 w 296"/>
                  <a:gd name="T17" fmla="*/ 117 h 178"/>
                  <a:gd name="T18" fmla="*/ 243 w 296"/>
                  <a:gd name="T19" fmla="*/ 113 h 178"/>
                  <a:gd name="T20" fmla="*/ 256 w 296"/>
                  <a:gd name="T21" fmla="*/ 109 h 178"/>
                  <a:gd name="T22" fmla="*/ 251 w 296"/>
                  <a:gd name="T23" fmla="*/ 102 h 178"/>
                  <a:gd name="T24" fmla="*/ 256 w 296"/>
                  <a:gd name="T25" fmla="*/ 96 h 178"/>
                  <a:gd name="T26" fmla="*/ 265 w 296"/>
                  <a:gd name="T27" fmla="*/ 93 h 178"/>
                  <a:gd name="T28" fmla="*/ 274 w 296"/>
                  <a:gd name="T29" fmla="*/ 92 h 178"/>
                  <a:gd name="T30" fmla="*/ 285 w 296"/>
                  <a:gd name="T31" fmla="*/ 93 h 178"/>
                  <a:gd name="T32" fmla="*/ 296 w 296"/>
                  <a:gd name="T33" fmla="*/ 87 h 178"/>
                  <a:gd name="T34" fmla="*/ 287 w 296"/>
                  <a:gd name="T35" fmla="*/ 77 h 178"/>
                  <a:gd name="T36" fmla="*/ 284 w 296"/>
                  <a:gd name="T37" fmla="*/ 81 h 178"/>
                  <a:gd name="T38" fmla="*/ 277 w 296"/>
                  <a:gd name="T39" fmla="*/ 83 h 178"/>
                  <a:gd name="T40" fmla="*/ 266 w 296"/>
                  <a:gd name="T41" fmla="*/ 78 h 178"/>
                  <a:gd name="T42" fmla="*/ 265 w 296"/>
                  <a:gd name="T43" fmla="*/ 72 h 178"/>
                  <a:gd name="T44" fmla="*/ 270 w 296"/>
                  <a:gd name="T45" fmla="*/ 59 h 178"/>
                  <a:gd name="T46" fmla="*/ 264 w 296"/>
                  <a:gd name="T47" fmla="*/ 63 h 178"/>
                  <a:gd name="T48" fmla="*/ 253 w 296"/>
                  <a:gd name="T49" fmla="*/ 74 h 178"/>
                  <a:gd name="T50" fmla="*/ 248 w 296"/>
                  <a:gd name="T51" fmla="*/ 80 h 178"/>
                  <a:gd name="T52" fmla="*/ 237 w 296"/>
                  <a:gd name="T53" fmla="*/ 94 h 178"/>
                  <a:gd name="T54" fmla="*/ 227 w 296"/>
                  <a:gd name="T55" fmla="*/ 88 h 178"/>
                  <a:gd name="T56" fmla="*/ 216 w 296"/>
                  <a:gd name="T57" fmla="*/ 89 h 178"/>
                  <a:gd name="T58" fmla="*/ 204 w 296"/>
                  <a:gd name="T59" fmla="*/ 93 h 178"/>
                  <a:gd name="T60" fmla="*/ 182 w 296"/>
                  <a:gd name="T61" fmla="*/ 71 h 178"/>
                  <a:gd name="T62" fmla="*/ 176 w 296"/>
                  <a:gd name="T63" fmla="*/ 48 h 178"/>
                  <a:gd name="T64" fmla="*/ 161 w 296"/>
                  <a:gd name="T65" fmla="*/ 30 h 178"/>
                  <a:gd name="T66" fmla="*/ 104 w 296"/>
                  <a:gd name="T67" fmla="*/ 32 h 178"/>
                  <a:gd name="T68" fmla="*/ 77 w 296"/>
                  <a:gd name="T69" fmla="*/ 20 h 178"/>
                  <a:gd name="T70" fmla="*/ 0 w 296"/>
                  <a:gd name="T71" fmla="*/ 9 h 178"/>
                  <a:gd name="T72" fmla="*/ 23 w 296"/>
                  <a:gd name="T73" fmla="*/ 93 h 178"/>
                  <a:gd name="T74" fmla="*/ 32 w 296"/>
                  <a:gd name="T75" fmla="*/ 90 h 178"/>
                  <a:gd name="T76" fmla="*/ 29 w 296"/>
                  <a:gd name="T77" fmla="*/ 80 h 178"/>
                  <a:gd name="T78" fmla="*/ 38 w 296"/>
                  <a:gd name="T79" fmla="*/ 72 h 178"/>
                  <a:gd name="T80" fmla="*/ 45 w 296"/>
                  <a:gd name="T81" fmla="*/ 65 h 178"/>
                  <a:gd name="T82" fmla="*/ 52 w 296"/>
                  <a:gd name="T83" fmla="*/ 66 h 178"/>
                  <a:gd name="T84" fmla="*/ 57 w 296"/>
                  <a:gd name="T85" fmla="*/ 63 h 178"/>
                  <a:gd name="T86" fmla="*/ 80 w 296"/>
                  <a:gd name="T87" fmla="*/ 74 h 178"/>
                  <a:gd name="T88" fmla="*/ 95 w 296"/>
                  <a:gd name="T89" fmla="*/ 86 h 178"/>
                  <a:gd name="T90" fmla="*/ 109 w 296"/>
                  <a:gd name="T91" fmla="*/ 90 h 178"/>
                  <a:gd name="T92" fmla="*/ 120 w 296"/>
                  <a:gd name="T93" fmla="*/ 95 h 178"/>
                  <a:gd name="T94" fmla="*/ 127 w 296"/>
                  <a:gd name="T95" fmla="*/ 108 h 178"/>
                  <a:gd name="T96" fmla="*/ 133 w 296"/>
                  <a:gd name="T97" fmla="*/ 120 h 178"/>
                  <a:gd name="T98" fmla="*/ 151 w 296"/>
                  <a:gd name="T99" fmla="*/ 131 h 178"/>
                  <a:gd name="T100" fmla="*/ 178 w 296"/>
                  <a:gd name="T101" fmla="*/ 145 h 178"/>
                  <a:gd name="T102" fmla="*/ 200 w 296"/>
                  <a:gd name="T103" fmla="*/ 155 h 178"/>
                  <a:gd name="T104" fmla="*/ 204 w 296"/>
                  <a:gd name="T105" fmla="*/ 157 h 178"/>
                  <a:gd name="T106" fmla="*/ 211 w 296"/>
                  <a:gd name="T107" fmla="*/ 166 h 178"/>
                  <a:gd name="T108" fmla="*/ 218 w 296"/>
                  <a:gd name="T109" fmla="*/ 173 h 178"/>
                  <a:gd name="T110" fmla="*/ 224 w 296"/>
                  <a:gd name="T111" fmla="*/ 178 h 178"/>
                  <a:gd name="T112" fmla="*/ 229 w 296"/>
                  <a:gd name="T113" fmla="*/ 175 h 178"/>
                  <a:gd name="T114" fmla="*/ 234 w 296"/>
                  <a:gd name="T115" fmla="*/ 177 h 1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296" h="178">
                    <a:moveTo>
                      <a:pt x="234" y="177"/>
                    </a:moveTo>
                    <a:lnTo>
                      <a:pt x="235" y="166"/>
                    </a:lnTo>
                    <a:lnTo>
                      <a:pt x="239" y="158"/>
                    </a:lnTo>
                    <a:lnTo>
                      <a:pt x="241" y="156"/>
                    </a:lnTo>
                    <a:lnTo>
                      <a:pt x="241" y="150"/>
                    </a:lnTo>
                    <a:lnTo>
                      <a:pt x="237" y="149"/>
                    </a:lnTo>
                    <a:lnTo>
                      <a:pt x="235" y="144"/>
                    </a:lnTo>
                    <a:lnTo>
                      <a:pt x="236" y="140"/>
                    </a:lnTo>
                    <a:lnTo>
                      <a:pt x="235" y="137"/>
                    </a:lnTo>
                    <a:lnTo>
                      <a:pt x="230" y="137"/>
                    </a:lnTo>
                    <a:lnTo>
                      <a:pt x="227" y="139"/>
                    </a:lnTo>
                    <a:lnTo>
                      <a:pt x="223" y="132"/>
                    </a:lnTo>
                    <a:lnTo>
                      <a:pt x="223" y="126"/>
                    </a:lnTo>
                    <a:lnTo>
                      <a:pt x="225" y="123"/>
                    </a:lnTo>
                    <a:lnTo>
                      <a:pt x="234" y="124"/>
                    </a:lnTo>
                    <a:lnTo>
                      <a:pt x="237" y="123"/>
                    </a:lnTo>
                    <a:lnTo>
                      <a:pt x="238" y="119"/>
                    </a:lnTo>
                    <a:lnTo>
                      <a:pt x="246" y="117"/>
                    </a:lnTo>
                    <a:lnTo>
                      <a:pt x="244" y="115"/>
                    </a:lnTo>
                    <a:lnTo>
                      <a:pt x="243" y="113"/>
                    </a:lnTo>
                    <a:lnTo>
                      <a:pt x="250" y="111"/>
                    </a:lnTo>
                    <a:lnTo>
                      <a:pt x="256" y="109"/>
                    </a:lnTo>
                    <a:lnTo>
                      <a:pt x="257" y="105"/>
                    </a:lnTo>
                    <a:lnTo>
                      <a:pt x="251" y="102"/>
                    </a:lnTo>
                    <a:lnTo>
                      <a:pt x="251" y="98"/>
                    </a:lnTo>
                    <a:lnTo>
                      <a:pt x="256" y="96"/>
                    </a:lnTo>
                    <a:lnTo>
                      <a:pt x="261" y="93"/>
                    </a:lnTo>
                    <a:lnTo>
                      <a:pt x="265" y="93"/>
                    </a:lnTo>
                    <a:lnTo>
                      <a:pt x="270" y="87"/>
                    </a:lnTo>
                    <a:lnTo>
                      <a:pt x="274" y="92"/>
                    </a:lnTo>
                    <a:lnTo>
                      <a:pt x="276" y="94"/>
                    </a:lnTo>
                    <a:lnTo>
                      <a:pt x="285" y="93"/>
                    </a:lnTo>
                    <a:lnTo>
                      <a:pt x="291" y="93"/>
                    </a:lnTo>
                    <a:lnTo>
                      <a:pt x="296" y="87"/>
                    </a:lnTo>
                    <a:lnTo>
                      <a:pt x="295" y="84"/>
                    </a:lnTo>
                    <a:lnTo>
                      <a:pt x="287" y="77"/>
                    </a:lnTo>
                    <a:lnTo>
                      <a:pt x="284" y="76"/>
                    </a:lnTo>
                    <a:lnTo>
                      <a:pt x="284" y="81"/>
                    </a:lnTo>
                    <a:lnTo>
                      <a:pt x="280" y="85"/>
                    </a:lnTo>
                    <a:lnTo>
                      <a:pt x="277" y="83"/>
                    </a:lnTo>
                    <a:lnTo>
                      <a:pt x="273" y="80"/>
                    </a:lnTo>
                    <a:lnTo>
                      <a:pt x="266" y="78"/>
                    </a:lnTo>
                    <a:lnTo>
                      <a:pt x="262" y="76"/>
                    </a:lnTo>
                    <a:lnTo>
                      <a:pt x="265" y="72"/>
                    </a:lnTo>
                    <a:lnTo>
                      <a:pt x="270" y="63"/>
                    </a:lnTo>
                    <a:lnTo>
                      <a:pt x="270" y="59"/>
                    </a:lnTo>
                    <a:lnTo>
                      <a:pt x="268" y="59"/>
                    </a:lnTo>
                    <a:lnTo>
                      <a:pt x="264" y="63"/>
                    </a:lnTo>
                    <a:lnTo>
                      <a:pt x="260" y="65"/>
                    </a:lnTo>
                    <a:lnTo>
                      <a:pt x="253" y="74"/>
                    </a:lnTo>
                    <a:lnTo>
                      <a:pt x="250" y="78"/>
                    </a:lnTo>
                    <a:lnTo>
                      <a:pt x="248" y="80"/>
                    </a:lnTo>
                    <a:lnTo>
                      <a:pt x="245" y="87"/>
                    </a:lnTo>
                    <a:lnTo>
                      <a:pt x="237" y="94"/>
                    </a:lnTo>
                    <a:lnTo>
                      <a:pt x="236" y="93"/>
                    </a:lnTo>
                    <a:lnTo>
                      <a:pt x="227" y="88"/>
                    </a:lnTo>
                    <a:lnTo>
                      <a:pt x="221" y="88"/>
                    </a:lnTo>
                    <a:lnTo>
                      <a:pt x="216" y="89"/>
                    </a:lnTo>
                    <a:lnTo>
                      <a:pt x="207" y="93"/>
                    </a:lnTo>
                    <a:lnTo>
                      <a:pt x="204" y="93"/>
                    </a:lnTo>
                    <a:lnTo>
                      <a:pt x="196" y="72"/>
                    </a:lnTo>
                    <a:lnTo>
                      <a:pt x="182" y="71"/>
                    </a:lnTo>
                    <a:lnTo>
                      <a:pt x="182" y="46"/>
                    </a:lnTo>
                    <a:lnTo>
                      <a:pt x="176" y="48"/>
                    </a:lnTo>
                    <a:lnTo>
                      <a:pt x="171" y="36"/>
                    </a:lnTo>
                    <a:lnTo>
                      <a:pt x="161" y="30"/>
                    </a:lnTo>
                    <a:lnTo>
                      <a:pt x="132" y="30"/>
                    </a:lnTo>
                    <a:lnTo>
                      <a:pt x="104" y="32"/>
                    </a:lnTo>
                    <a:lnTo>
                      <a:pt x="89" y="24"/>
                    </a:lnTo>
                    <a:lnTo>
                      <a:pt x="77" y="20"/>
                    </a:lnTo>
                    <a:lnTo>
                      <a:pt x="49" y="0"/>
                    </a:lnTo>
                    <a:lnTo>
                      <a:pt x="0" y="9"/>
                    </a:lnTo>
                    <a:lnTo>
                      <a:pt x="14" y="93"/>
                    </a:lnTo>
                    <a:lnTo>
                      <a:pt x="23" y="93"/>
                    </a:lnTo>
                    <a:lnTo>
                      <a:pt x="31" y="94"/>
                    </a:lnTo>
                    <a:lnTo>
                      <a:pt x="32" y="90"/>
                    </a:lnTo>
                    <a:lnTo>
                      <a:pt x="30" y="86"/>
                    </a:lnTo>
                    <a:lnTo>
                      <a:pt x="29" y="80"/>
                    </a:lnTo>
                    <a:lnTo>
                      <a:pt x="32" y="73"/>
                    </a:lnTo>
                    <a:lnTo>
                      <a:pt x="38" y="72"/>
                    </a:lnTo>
                    <a:lnTo>
                      <a:pt x="41" y="68"/>
                    </a:lnTo>
                    <a:lnTo>
                      <a:pt x="45" y="65"/>
                    </a:lnTo>
                    <a:lnTo>
                      <a:pt x="50" y="68"/>
                    </a:lnTo>
                    <a:lnTo>
                      <a:pt x="52" y="66"/>
                    </a:lnTo>
                    <a:lnTo>
                      <a:pt x="49" y="62"/>
                    </a:lnTo>
                    <a:lnTo>
                      <a:pt x="57" y="63"/>
                    </a:lnTo>
                    <a:lnTo>
                      <a:pt x="70" y="69"/>
                    </a:lnTo>
                    <a:lnTo>
                      <a:pt x="80" y="74"/>
                    </a:lnTo>
                    <a:lnTo>
                      <a:pt x="81" y="78"/>
                    </a:lnTo>
                    <a:lnTo>
                      <a:pt x="95" y="86"/>
                    </a:lnTo>
                    <a:lnTo>
                      <a:pt x="106" y="92"/>
                    </a:lnTo>
                    <a:lnTo>
                      <a:pt x="109" y="90"/>
                    </a:lnTo>
                    <a:lnTo>
                      <a:pt x="113" y="90"/>
                    </a:lnTo>
                    <a:lnTo>
                      <a:pt x="120" y="95"/>
                    </a:lnTo>
                    <a:lnTo>
                      <a:pt x="123" y="106"/>
                    </a:lnTo>
                    <a:lnTo>
                      <a:pt x="127" y="108"/>
                    </a:lnTo>
                    <a:lnTo>
                      <a:pt x="128" y="113"/>
                    </a:lnTo>
                    <a:lnTo>
                      <a:pt x="133" y="120"/>
                    </a:lnTo>
                    <a:lnTo>
                      <a:pt x="139" y="123"/>
                    </a:lnTo>
                    <a:lnTo>
                      <a:pt x="151" y="131"/>
                    </a:lnTo>
                    <a:lnTo>
                      <a:pt x="163" y="139"/>
                    </a:lnTo>
                    <a:lnTo>
                      <a:pt x="178" y="145"/>
                    </a:lnTo>
                    <a:lnTo>
                      <a:pt x="190" y="154"/>
                    </a:lnTo>
                    <a:lnTo>
                      <a:pt x="200" y="155"/>
                    </a:lnTo>
                    <a:lnTo>
                      <a:pt x="202" y="158"/>
                    </a:lnTo>
                    <a:lnTo>
                      <a:pt x="204" y="157"/>
                    </a:lnTo>
                    <a:lnTo>
                      <a:pt x="211" y="161"/>
                    </a:lnTo>
                    <a:lnTo>
                      <a:pt x="211" y="166"/>
                    </a:lnTo>
                    <a:lnTo>
                      <a:pt x="212" y="174"/>
                    </a:lnTo>
                    <a:lnTo>
                      <a:pt x="218" y="173"/>
                    </a:lnTo>
                    <a:lnTo>
                      <a:pt x="222" y="174"/>
                    </a:lnTo>
                    <a:lnTo>
                      <a:pt x="224" y="178"/>
                    </a:lnTo>
                    <a:lnTo>
                      <a:pt x="226" y="178"/>
                    </a:lnTo>
                    <a:lnTo>
                      <a:pt x="229" y="175"/>
                    </a:lnTo>
                    <a:lnTo>
                      <a:pt x="232" y="175"/>
                    </a:lnTo>
                    <a:lnTo>
                      <a:pt x="234" y="177"/>
                    </a:lnTo>
                    <a:lnTo>
                      <a:pt x="234" y="177"/>
                    </a:lnTo>
                    <a:close/>
                  </a:path>
                </a:pathLst>
              </a:custGeom>
              <a:solidFill>
                <a:schemeClr val="accent2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006" name="Freeform 8"/>
              <p:cNvSpPr>
                <a:spLocks/>
              </p:cNvSpPr>
              <p:nvPr userDrawn="1"/>
            </p:nvSpPr>
            <p:spPr bwMode="auto">
              <a:xfrm>
                <a:off x="4374" y="2100"/>
                <a:ext cx="265" cy="160"/>
              </a:xfrm>
              <a:custGeom>
                <a:avLst/>
                <a:gdLst>
                  <a:gd name="T0" fmla="*/ 264 w 265"/>
                  <a:gd name="T1" fmla="*/ 99 h 160"/>
                  <a:gd name="T2" fmla="*/ 253 w 265"/>
                  <a:gd name="T3" fmla="*/ 93 h 160"/>
                  <a:gd name="T4" fmla="*/ 216 w 265"/>
                  <a:gd name="T5" fmla="*/ 77 h 160"/>
                  <a:gd name="T6" fmla="*/ 186 w 265"/>
                  <a:gd name="T7" fmla="*/ 58 h 160"/>
                  <a:gd name="T8" fmla="*/ 176 w 265"/>
                  <a:gd name="T9" fmla="*/ 44 h 160"/>
                  <a:gd name="T10" fmla="*/ 162 w 265"/>
                  <a:gd name="T11" fmla="*/ 28 h 160"/>
                  <a:gd name="T12" fmla="*/ 134 w 265"/>
                  <a:gd name="T13" fmla="*/ 16 h 160"/>
                  <a:gd name="T14" fmla="*/ 110 w 265"/>
                  <a:gd name="T15" fmla="*/ 1 h 160"/>
                  <a:gd name="T16" fmla="*/ 103 w 265"/>
                  <a:gd name="T17" fmla="*/ 6 h 160"/>
                  <a:gd name="T18" fmla="*/ 91 w 265"/>
                  <a:gd name="T19" fmla="*/ 10 h 160"/>
                  <a:gd name="T20" fmla="*/ 83 w 265"/>
                  <a:gd name="T21" fmla="*/ 24 h 160"/>
                  <a:gd name="T22" fmla="*/ 76 w 265"/>
                  <a:gd name="T23" fmla="*/ 31 h 160"/>
                  <a:gd name="T24" fmla="*/ 45 w 265"/>
                  <a:gd name="T25" fmla="*/ 19 h 160"/>
                  <a:gd name="T26" fmla="*/ 12 w 265"/>
                  <a:gd name="T27" fmla="*/ 13 h 160"/>
                  <a:gd name="T28" fmla="*/ 3 w 265"/>
                  <a:gd name="T29" fmla="*/ 28 h 160"/>
                  <a:gd name="T30" fmla="*/ 9 w 265"/>
                  <a:gd name="T31" fmla="*/ 35 h 160"/>
                  <a:gd name="T32" fmla="*/ 10 w 265"/>
                  <a:gd name="T33" fmla="*/ 51 h 160"/>
                  <a:gd name="T34" fmla="*/ 14 w 265"/>
                  <a:gd name="T35" fmla="*/ 65 h 160"/>
                  <a:gd name="T36" fmla="*/ 18 w 265"/>
                  <a:gd name="T37" fmla="*/ 66 h 160"/>
                  <a:gd name="T38" fmla="*/ 26 w 265"/>
                  <a:gd name="T39" fmla="*/ 64 h 160"/>
                  <a:gd name="T40" fmla="*/ 28 w 265"/>
                  <a:gd name="T41" fmla="*/ 73 h 160"/>
                  <a:gd name="T42" fmla="*/ 32 w 265"/>
                  <a:gd name="T43" fmla="*/ 77 h 160"/>
                  <a:gd name="T44" fmla="*/ 25 w 265"/>
                  <a:gd name="T45" fmla="*/ 75 h 160"/>
                  <a:gd name="T46" fmla="*/ 23 w 265"/>
                  <a:gd name="T47" fmla="*/ 83 h 160"/>
                  <a:gd name="T48" fmla="*/ 27 w 265"/>
                  <a:gd name="T49" fmla="*/ 79 h 160"/>
                  <a:gd name="T50" fmla="*/ 37 w 265"/>
                  <a:gd name="T51" fmla="*/ 86 h 160"/>
                  <a:gd name="T52" fmla="*/ 39 w 265"/>
                  <a:gd name="T53" fmla="*/ 98 h 160"/>
                  <a:gd name="T54" fmla="*/ 43 w 265"/>
                  <a:gd name="T55" fmla="*/ 121 h 160"/>
                  <a:gd name="T56" fmla="*/ 58 w 265"/>
                  <a:gd name="T57" fmla="*/ 114 h 160"/>
                  <a:gd name="T58" fmla="*/ 70 w 265"/>
                  <a:gd name="T59" fmla="*/ 105 h 160"/>
                  <a:gd name="T60" fmla="*/ 86 w 265"/>
                  <a:gd name="T61" fmla="*/ 100 h 160"/>
                  <a:gd name="T62" fmla="*/ 98 w 265"/>
                  <a:gd name="T63" fmla="*/ 101 h 160"/>
                  <a:gd name="T64" fmla="*/ 121 w 265"/>
                  <a:gd name="T65" fmla="*/ 114 h 160"/>
                  <a:gd name="T66" fmla="*/ 134 w 265"/>
                  <a:gd name="T67" fmla="*/ 115 h 160"/>
                  <a:gd name="T68" fmla="*/ 141 w 265"/>
                  <a:gd name="T69" fmla="*/ 122 h 160"/>
                  <a:gd name="T70" fmla="*/ 159 w 265"/>
                  <a:gd name="T71" fmla="*/ 133 h 160"/>
                  <a:gd name="T72" fmla="*/ 174 w 265"/>
                  <a:gd name="T73" fmla="*/ 141 h 160"/>
                  <a:gd name="T74" fmla="*/ 174 w 265"/>
                  <a:gd name="T75" fmla="*/ 150 h 160"/>
                  <a:gd name="T76" fmla="*/ 182 w 265"/>
                  <a:gd name="T77" fmla="*/ 153 h 160"/>
                  <a:gd name="T78" fmla="*/ 191 w 265"/>
                  <a:gd name="T79" fmla="*/ 153 h 160"/>
                  <a:gd name="T80" fmla="*/ 199 w 265"/>
                  <a:gd name="T81" fmla="*/ 159 h 160"/>
                  <a:gd name="T82" fmla="*/ 208 w 265"/>
                  <a:gd name="T83" fmla="*/ 158 h 160"/>
                  <a:gd name="T84" fmla="*/ 214 w 265"/>
                  <a:gd name="T85" fmla="*/ 150 h 160"/>
                  <a:gd name="T86" fmla="*/ 225 w 265"/>
                  <a:gd name="T87" fmla="*/ 143 h 160"/>
                  <a:gd name="T88" fmla="*/ 232 w 265"/>
                  <a:gd name="T89" fmla="*/ 139 h 160"/>
                  <a:gd name="T90" fmla="*/ 237 w 265"/>
                  <a:gd name="T91" fmla="*/ 125 h 160"/>
                  <a:gd name="T92" fmla="*/ 235 w 265"/>
                  <a:gd name="T93" fmla="*/ 118 h 160"/>
                  <a:gd name="T94" fmla="*/ 244 w 265"/>
                  <a:gd name="T95" fmla="*/ 115 h 160"/>
                  <a:gd name="T96" fmla="*/ 256 w 265"/>
                  <a:gd name="T97" fmla="*/ 110 h 160"/>
                  <a:gd name="T98" fmla="*/ 264 w 265"/>
                  <a:gd name="T99" fmla="*/ 112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265" h="160">
                    <a:moveTo>
                      <a:pt x="265" y="112"/>
                    </a:moveTo>
                    <a:lnTo>
                      <a:pt x="264" y="104"/>
                    </a:lnTo>
                    <a:lnTo>
                      <a:pt x="264" y="99"/>
                    </a:lnTo>
                    <a:lnTo>
                      <a:pt x="257" y="95"/>
                    </a:lnTo>
                    <a:lnTo>
                      <a:pt x="255" y="96"/>
                    </a:lnTo>
                    <a:lnTo>
                      <a:pt x="253" y="93"/>
                    </a:lnTo>
                    <a:lnTo>
                      <a:pt x="243" y="92"/>
                    </a:lnTo>
                    <a:lnTo>
                      <a:pt x="231" y="83"/>
                    </a:lnTo>
                    <a:lnTo>
                      <a:pt x="216" y="77"/>
                    </a:lnTo>
                    <a:lnTo>
                      <a:pt x="204" y="69"/>
                    </a:lnTo>
                    <a:lnTo>
                      <a:pt x="192" y="61"/>
                    </a:lnTo>
                    <a:lnTo>
                      <a:pt x="186" y="58"/>
                    </a:lnTo>
                    <a:lnTo>
                      <a:pt x="181" y="51"/>
                    </a:lnTo>
                    <a:lnTo>
                      <a:pt x="180" y="46"/>
                    </a:lnTo>
                    <a:lnTo>
                      <a:pt x="176" y="44"/>
                    </a:lnTo>
                    <a:lnTo>
                      <a:pt x="173" y="33"/>
                    </a:lnTo>
                    <a:lnTo>
                      <a:pt x="166" y="28"/>
                    </a:lnTo>
                    <a:lnTo>
                      <a:pt x="162" y="28"/>
                    </a:lnTo>
                    <a:lnTo>
                      <a:pt x="159" y="30"/>
                    </a:lnTo>
                    <a:lnTo>
                      <a:pt x="148" y="24"/>
                    </a:lnTo>
                    <a:lnTo>
                      <a:pt x="134" y="16"/>
                    </a:lnTo>
                    <a:lnTo>
                      <a:pt x="133" y="12"/>
                    </a:lnTo>
                    <a:lnTo>
                      <a:pt x="123" y="7"/>
                    </a:lnTo>
                    <a:lnTo>
                      <a:pt x="110" y="1"/>
                    </a:lnTo>
                    <a:lnTo>
                      <a:pt x="102" y="0"/>
                    </a:lnTo>
                    <a:lnTo>
                      <a:pt x="105" y="4"/>
                    </a:lnTo>
                    <a:lnTo>
                      <a:pt x="103" y="6"/>
                    </a:lnTo>
                    <a:lnTo>
                      <a:pt x="98" y="3"/>
                    </a:lnTo>
                    <a:lnTo>
                      <a:pt x="94" y="6"/>
                    </a:lnTo>
                    <a:lnTo>
                      <a:pt x="91" y="10"/>
                    </a:lnTo>
                    <a:lnTo>
                      <a:pt x="85" y="11"/>
                    </a:lnTo>
                    <a:lnTo>
                      <a:pt x="82" y="18"/>
                    </a:lnTo>
                    <a:lnTo>
                      <a:pt x="83" y="24"/>
                    </a:lnTo>
                    <a:lnTo>
                      <a:pt x="85" y="28"/>
                    </a:lnTo>
                    <a:lnTo>
                      <a:pt x="84" y="32"/>
                    </a:lnTo>
                    <a:lnTo>
                      <a:pt x="76" y="31"/>
                    </a:lnTo>
                    <a:lnTo>
                      <a:pt x="65" y="32"/>
                    </a:lnTo>
                    <a:lnTo>
                      <a:pt x="58" y="33"/>
                    </a:lnTo>
                    <a:lnTo>
                      <a:pt x="45" y="19"/>
                    </a:lnTo>
                    <a:lnTo>
                      <a:pt x="33" y="12"/>
                    </a:lnTo>
                    <a:lnTo>
                      <a:pt x="20" y="11"/>
                    </a:lnTo>
                    <a:lnTo>
                      <a:pt x="12" y="13"/>
                    </a:lnTo>
                    <a:lnTo>
                      <a:pt x="0" y="24"/>
                    </a:lnTo>
                    <a:lnTo>
                      <a:pt x="0" y="25"/>
                    </a:lnTo>
                    <a:lnTo>
                      <a:pt x="3" y="28"/>
                    </a:lnTo>
                    <a:lnTo>
                      <a:pt x="4" y="31"/>
                    </a:lnTo>
                    <a:lnTo>
                      <a:pt x="8" y="33"/>
                    </a:lnTo>
                    <a:lnTo>
                      <a:pt x="9" y="35"/>
                    </a:lnTo>
                    <a:lnTo>
                      <a:pt x="13" y="41"/>
                    </a:lnTo>
                    <a:lnTo>
                      <a:pt x="12" y="47"/>
                    </a:lnTo>
                    <a:lnTo>
                      <a:pt x="10" y="51"/>
                    </a:lnTo>
                    <a:lnTo>
                      <a:pt x="10" y="59"/>
                    </a:lnTo>
                    <a:lnTo>
                      <a:pt x="13" y="62"/>
                    </a:lnTo>
                    <a:lnTo>
                      <a:pt x="14" y="65"/>
                    </a:lnTo>
                    <a:lnTo>
                      <a:pt x="20" y="71"/>
                    </a:lnTo>
                    <a:lnTo>
                      <a:pt x="20" y="68"/>
                    </a:lnTo>
                    <a:lnTo>
                      <a:pt x="18" y="66"/>
                    </a:lnTo>
                    <a:lnTo>
                      <a:pt x="19" y="65"/>
                    </a:lnTo>
                    <a:lnTo>
                      <a:pt x="24" y="66"/>
                    </a:lnTo>
                    <a:lnTo>
                      <a:pt x="26" y="64"/>
                    </a:lnTo>
                    <a:lnTo>
                      <a:pt x="28" y="65"/>
                    </a:lnTo>
                    <a:lnTo>
                      <a:pt x="27" y="69"/>
                    </a:lnTo>
                    <a:lnTo>
                      <a:pt x="28" y="73"/>
                    </a:lnTo>
                    <a:lnTo>
                      <a:pt x="30" y="72"/>
                    </a:lnTo>
                    <a:lnTo>
                      <a:pt x="33" y="75"/>
                    </a:lnTo>
                    <a:lnTo>
                      <a:pt x="32" y="77"/>
                    </a:lnTo>
                    <a:lnTo>
                      <a:pt x="28" y="76"/>
                    </a:lnTo>
                    <a:lnTo>
                      <a:pt x="26" y="76"/>
                    </a:lnTo>
                    <a:lnTo>
                      <a:pt x="25" y="75"/>
                    </a:lnTo>
                    <a:lnTo>
                      <a:pt x="21" y="77"/>
                    </a:lnTo>
                    <a:lnTo>
                      <a:pt x="21" y="80"/>
                    </a:lnTo>
                    <a:lnTo>
                      <a:pt x="23" y="83"/>
                    </a:lnTo>
                    <a:lnTo>
                      <a:pt x="23" y="79"/>
                    </a:lnTo>
                    <a:lnTo>
                      <a:pt x="25" y="78"/>
                    </a:lnTo>
                    <a:lnTo>
                      <a:pt x="27" y="79"/>
                    </a:lnTo>
                    <a:lnTo>
                      <a:pt x="30" y="80"/>
                    </a:lnTo>
                    <a:lnTo>
                      <a:pt x="32" y="83"/>
                    </a:lnTo>
                    <a:lnTo>
                      <a:pt x="37" y="86"/>
                    </a:lnTo>
                    <a:lnTo>
                      <a:pt x="38" y="90"/>
                    </a:lnTo>
                    <a:lnTo>
                      <a:pt x="38" y="95"/>
                    </a:lnTo>
                    <a:lnTo>
                      <a:pt x="39" y="98"/>
                    </a:lnTo>
                    <a:lnTo>
                      <a:pt x="38" y="106"/>
                    </a:lnTo>
                    <a:lnTo>
                      <a:pt x="40" y="113"/>
                    </a:lnTo>
                    <a:lnTo>
                      <a:pt x="43" y="121"/>
                    </a:lnTo>
                    <a:lnTo>
                      <a:pt x="47" y="120"/>
                    </a:lnTo>
                    <a:lnTo>
                      <a:pt x="56" y="119"/>
                    </a:lnTo>
                    <a:lnTo>
                      <a:pt x="58" y="114"/>
                    </a:lnTo>
                    <a:lnTo>
                      <a:pt x="60" y="111"/>
                    </a:lnTo>
                    <a:lnTo>
                      <a:pt x="63" y="111"/>
                    </a:lnTo>
                    <a:lnTo>
                      <a:pt x="70" y="105"/>
                    </a:lnTo>
                    <a:lnTo>
                      <a:pt x="79" y="103"/>
                    </a:lnTo>
                    <a:lnTo>
                      <a:pt x="85" y="105"/>
                    </a:lnTo>
                    <a:lnTo>
                      <a:pt x="86" y="100"/>
                    </a:lnTo>
                    <a:lnTo>
                      <a:pt x="90" y="99"/>
                    </a:lnTo>
                    <a:lnTo>
                      <a:pt x="94" y="101"/>
                    </a:lnTo>
                    <a:lnTo>
                      <a:pt x="98" y="101"/>
                    </a:lnTo>
                    <a:lnTo>
                      <a:pt x="105" y="106"/>
                    </a:lnTo>
                    <a:lnTo>
                      <a:pt x="110" y="108"/>
                    </a:lnTo>
                    <a:lnTo>
                      <a:pt x="121" y="114"/>
                    </a:lnTo>
                    <a:lnTo>
                      <a:pt x="124" y="114"/>
                    </a:lnTo>
                    <a:lnTo>
                      <a:pt x="127" y="112"/>
                    </a:lnTo>
                    <a:lnTo>
                      <a:pt x="134" y="115"/>
                    </a:lnTo>
                    <a:lnTo>
                      <a:pt x="138" y="116"/>
                    </a:lnTo>
                    <a:lnTo>
                      <a:pt x="139" y="120"/>
                    </a:lnTo>
                    <a:lnTo>
                      <a:pt x="141" y="122"/>
                    </a:lnTo>
                    <a:lnTo>
                      <a:pt x="145" y="121"/>
                    </a:lnTo>
                    <a:lnTo>
                      <a:pt x="151" y="122"/>
                    </a:lnTo>
                    <a:lnTo>
                      <a:pt x="159" y="133"/>
                    </a:lnTo>
                    <a:lnTo>
                      <a:pt x="167" y="133"/>
                    </a:lnTo>
                    <a:lnTo>
                      <a:pt x="171" y="135"/>
                    </a:lnTo>
                    <a:lnTo>
                      <a:pt x="174" y="141"/>
                    </a:lnTo>
                    <a:lnTo>
                      <a:pt x="173" y="143"/>
                    </a:lnTo>
                    <a:lnTo>
                      <a:pt x="175" y="147"/>
                    </a:lnTo>
                    <a:lnTo>
                      <a:pt x="174" y="150"/>
                    </a:lnTo>
                    <a:lnTo>
                      <a:pt x="176" y="153"/>
                    </a:lnTo>
                    <a:lnTo>
                      <a:pt x="178" y="152"/>
                    </a:lnTo>
                    <a:lnTo>
                      <a:pt x="182" y="153"/>
                    </a:lnTo>
                    <a:lnTo>
                      <a:pt x="185" y="155"/>
                    </a:lnTo>
                    <a:lnTo>
                      <a:pt x="188" y="155"/>
                    </a:lnTo>
                    <a:lnTo>
                      <a:pt x="191" y="153"/>
                    </a:lnTo>
                    <a:lnTo>
                      <a:pt x="193" y="153"/>
                    </a:lnTo>
                    <a:lnTo>
                      <a:pt x="198" y="156"/>
                    </a:lnTo>
                    <a:lnTo>
                      <a:pt x="199" y="159"/>
                    </a:lnTo>
                    <a:lnTo>
                      <a:pt x="200" y="160"/>
                    </a:lnTo>
                    <a:lnTo>
                      <a:pt x="202" y="158"/>
                    </a:lnTo>
                    <a:lnTo>
                      <a:pt x="208" y="158"/>
                    </a:lnTo>
                    <a:lnTo>
                      <a:pt x="211" y="155"/>
                    </a:lnTo>
                    <a:lnTo>
                      <a:pt x="211" y="152"/>
                    </a:lnTo>
                    <a:lnTo>
                      <a:pt x="214" y="150"/>
                    </a:lnTo>
                    <a:lnTo>
                      <a:pt x="213" y="147"/>
                    </a:lnTo>
                    <a:lnTo>
                      <a:pt x="218" y="144"/>
                    </a:lnTo>
                    <a:lnTo>
                      <a:pt x="225" y="143"/>
                    </a:lnTo>
                    <a:lnTo>
                      <a:pt x="226" y="142"/>
                    </a:lnTo>
                    <a:lnTo>
                      <a:pt x="229" y="140"/>
                    </a:lnTo>
                    <a:lnTo>
                      <a:pt x="232" y="139"/>
                    </a:lnTo>
                    <a:lnTo>
                      <a:pt x="233" y="134"/>
                    </a:lnTo>
                    <a:lnTo>
                      <a:pt x="233" y="129"/>
                    </a:lnTo>
                    <a:lnTo>
                      <a:pt x="237" y="125"/>
                    </a:lnTo>
                    <a:lnTo>
                      <a:pt x="237" y="121"/>
                    </a:lnTo>
                    <a:lnTo>
                      <a:pt x="235" y="120"/>
                    </a:lnTo>
                    <a:lnTo>
                      <a:pt x="235" y="118"/>
                    </a:lnTo>
                    <a:lnTo>
                      <a:pt x="237" y="118"/>
                    </a:lnTo>
                    <a:lnTo>
                      <a:pt x="239" y="116"/>
                    </a:lnTo>
                    <a:lnTo>
                      <a:pt x="244" y="115"/>
                    </a:lnTo>
                    <a:lnTo>
                      <a:pt x="246" y="115"/>
                    </a:lnTo>
                    <a:lnTo>
                      <a:pt x="251" y="111"/>
                    </a:lnTo>
                    <a:lnTo>
                      <a:pt x="256" y="110"/>
                    </a:lnTo>
                    <a:lnTo>
                      <a:pt x="259" y="112"/>
                    </a:lnTo>
                    <a:lnTo>
                      <a:pt x="263" y="111"/>
                    </a:lnTo>
                    <a:lnTo>
                      <a:pt x="264" y="112"/>
                    </a:lnTo>
                    <a:lnTo>
                      <a:pt x="265" y="112"/>
                    </a:lnTo>
                    <a:lnTo>
                      <a:pt x="265" y="112"/>
                    </a:lnTo>
                    <a:close/>
                  </a:path>
                </a:pathLst>
              </a:custGeom>
              <a:solidFill>
                <a:schemeClr val="accent2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007" name="Freeform 9"/>
              <p:cNvSpPr>
                <a:spLocks noEditPoints="1"/>
              </p:cNvSpPr>
              <p:nvPr userDrawn="1"/>
            </p:nvSpPr>
            <p:spPr bwMode="auto">
              <a:xfrm>
                <a:off x="4709" y="2297"/>
                <a:ext cx="516" cy="486"/>
              </a:xfrm>
              <a:custGeom>
                <a:avLst/>
                <a:gdLst>
                  <a:gd name="T0" fmla="*/ 176 w 516"/>
                  <a:gd name="T1" fmla="*/ 42 h 486"/>
                  <a:gd name="T2" fmla="*/ 203 w 516"/>
                  <a:gd name="T3" fmla="*/ 56 h 486"/>
                  <a:gd name="T4" fmla="*/ 210 w 516"/>
                  <a:gd name="T5" fmla="*/ 94 h 486"/>
                  <a:gd name="T6" fmla="*/ 267 w 516"/>
                  <a:gd name="T7" fmla="*/ 118 h 486"/>
                  <a:gd name="T8" fmla="*/ 334 w 516"/>
                  <a:gd name="T9" fmla="*/ 132 h 486"/>
                  <a:gd name="T10" fmla="*/ 361 w 516"/>
                  <a:gd name="T11" fmla="*/ 107 h 486"/>
                  <a:gd name="T12" fmla="*/ 390 w 516"/>
                  <a:gd name="T13" fmla="*/ 131 h 486"/>
                  <a:gd name="T14" fmla="*/ 414 w 516"/>
                  <a:gd name="T15" fmla="*/ 110 h 486"/>
                  <a:gd name="T16" fmla="*/ 440 w 516"/>
                  <a:gd name="T17" fmla="*/ 92 h 486"/>
                  <a:gd name="T18" fmla="*/ 480 w 516"/>
                  <a:gd name="T19" fmla="*/ 79 h 486"/>
                  <a:gd name="T20" fmla="*/ 499 w 516"/>
                  <a:gd name="T21" fmla="*/ 81 h 486"/>
                  <a:gd name="T22" fmla="*/ 516 w 516"/>
                  <a:gd name="T23" fmla="*/ 99 h 486"/>
                  <a:gd name="T24" fmla="*/ 489 w 516"/>
                  <a:gd name="T25" fmla="*/ 124 h 486"/>
                  <a:gd name="T26" fmla="*/ 471 w 516"/>
                  <a:gd name="T27" fmla="*/ 178 h 486"/>
                  <a:gd name="T28" fmla="*/ 455 w 516"/>
                  <a:gd name="T29" fmla="*/ 211 h 486"/>
                  <a:gd name="T30" fmla="*/ 446 w 516"/>
                  <a:gd name="T31" fmla="*/ 222 h 486"/>
                  <a:gd name="T32" fmla="*/ 432 w 516"/>
                  <a:gd name="T33" fmla="*/ 190 h 486"/>
                  <a:gd name="T34" fmla="*/ 421 w 516"/>
                  <a:gd name="T35" fmla="*/ 197 h 486"/>
                  <a:gd name="T36" fmla="*/ 427 w 516"/>
                  <a:gd name="T37" fmla="*/ 181 h 486"/>
                  <a:gd name="T38" fmla="*/ 423 w 516"/>
                  <a:gd name="T39" fmla="*/ 159 h 486"/>
                  <a:gd name="T40" fmla="*/ 387 w 516"/>
                  <a:gd name="T41" fmla="*/ 147 h 486"/>
                  <a:gd name="T42" fmla="*/ 374 w 516"/>
                  <a:gd name="T43" fmla="*/ 139 h 486"/>
                  <a:gd name="T44" fmla="*/ 360 w 516"/>
                  <a:gd name="T45" fmla="*/ 136 h 486"/>
                  <a:gd name="T46" fmla="*/ 367 w 516"/>
                  <a:gd name="T47" fmla="*/ 159 h 486"/>
                  <a:gd name="T48" fmla="*/ 374 w 516"/>
                  <a:gd name="T49" fmla="*/ 198 h 486"/>
                  <a:gd name="T50" fmla="*/ 378 w 516"/>
                  <a:gd name="T51" fmla="*/ 230 h 486"/>
                  <a:gd name="T52" fmla="*/ 366 w 516"/>
                  <a:gd name="T53" fmla="*/ 227 h 486"/>
                  <a:gd name="T54" fmla="*/ 361 w 516"/>
                  <a:gd name="T55" fmla="*/ 226 h 486"/>
                  <a:gd name="T56" fmla="*/ 342 w 516"/>
                  <a:gd name="T57" fmla="*/ 252 h 486"/>
                  <a:gd name="T58" fmla="*/ 319 w 516"/>
                  <a:gd name="T59" fmla="*/ 266 h 486"/>
                  <a:gd name="T60" fmla="*/ 285 w 516"/>
                  <a:gd name="T61" fmla="*/ 309 h 486"/>
                  <a:gd name="T62" fmla="*/ 249 w 516"/>
                  <a:gd name="T63" fmla="*/ 338 h 486"/>
                  <a:gd name="T64" fmla="*/ 231 w 516"/>
                  <a:gd name="T65" fmla="*/ 374 h 486"/>
                  <a:gd name="T66" fmla="*/ 227 w 516"/>
                  <a:gd name="T67" fmla="*/ 447 h 486"/>
                  <a:gd name="T68" fmla="*/ 221 w 516"/>
                  <a:gd name="T69" fmla="*/ 467 h 486"/>
                  <a:gd name="T70" fmla="*/ 197 w 516"/>
                  <a:gd name="T71" fmla="*/ 483 h 486"/>
                  <a:gd name="T72" fmla="*/ 159 w 516"/>
                  <a:gd name="T73" fmla="*/ 438 h 486"/>
                  <a:gd name="T74" fmla="*/ 134 w 516"/>
                  <a:gd name="T75" fmla="*/ 395 h 486"/>
                  <a:gd name="T76" fmla="*/ 114 w 516"/>
                  <a:gd name="T77" fmla="*/ 353 h 486"/>
                  <a:gd name="T78" fmla="*/ 96 w 516"/>
                  <a:gd name="T79" fmla="*/ 299 h 486"/>
                  <a:gd name="T80" fmla="*/ 85 w 516"/>
                  <a:gd name="T81" fmla="*/ 261 h 486"/>
                  <a:gd name="T82" fmla="*/ 82 w 516"/>
                  <a:gd name="T83" fmla="*/ 232 h 486"/>
                  <a:gd name="T84" fmla="*/ 81 w 516"/>
                  <a:gd name="T85" fmla="*/ 218 h 486"/>
                  <a:gd name="T86" fmla="*/ 65 w 516"/>
                  <a:gd name="T87" fmla="*/ 246 h 486"/>
                  <a:gd name="T88" fmla="*/ 11 w 516"/>
                  <a:gd name="T89" fmla="*/ 220 h 486"/>
                  <a:gd name="T90" fmla="*/ 26 w 516"/>
                  <a:gd name="T91" fmla="*/ 221 h 486"/>
                  <a:gd name="T92" fmla="*/ 30 w 516"/>
                  <a:gd name="T93" fmla="*/ 211 h 486"/>
                  <a:gd name="T94" fmla="*/ 0 w 516"/>
                  <a:gd name="T95" fmla="*/ 196 h 486"/>
                  <a:gd name="T96" fmla="*/ 39 w 516"/>
                  <a:gd name="T97" fmla="*/ 178 h 486"/>
                  <a:gd name="T98" fmla="*/ 36 w 516"/>
                  <a:gd name="T99" fmla="*/ 154 h 486"/>
                  <a:gd name="T100" fmla="*/ 11 w 516"/>
                  <a:gd name="T101" fmla="*/ 130 h 486"/>
                  <a:gd name="T102" fmla="*/ 43 w 516"/>
                  <a:gd name="T103" fmla="*/ 111 h 486"/>
                  <a:gd name="T104" fmla="*/ 85 w 516"/>
                  <a:gd name="T105" fmla="*/ 62 h 486"/>
                  <a:gd name="T106" fmla="*/ 102 w 516"/>
                  <a:gd name="T107" fmla="*/ 23 h 486"/>
                  <a:gd name="T108" fmla="*/ 151 w 516"/>
                  <a:gd name="T109" fmla="*/ 6 h 486"/>
                  <a:gd name="T110" fmla="*/ 374 w 516"/>
                  <a:gd name="T111" fmla="*/ 230 h 486"/>
                  <a:gd name="T112" fmla="*/ 372 w 516"/>
                  <a:gd name="T113" fmla="*/ 228 h 486"/>
                  <a:gd name="T114" fmla="*/ 363 w 516"/>
                  <a:gd name="T115" fmla="*/ 231 h 4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516" h="486">
                    <a:moveTo>
                      <a:pt x="165" y="14"/>
                    </a:moveTo>
                    <a:lnTo>
                      <a:pt x="166" y="17"/>
                    </a:lnTo>
                    <a:lnTo>
                      <a:pt x="166" y="20"/>
                    </a:lnTo>
                    <a:lnTo>
                      <a:pt x="172" y="22"/>
                    </a:lnTo>
                    <a:lnTo>
                      <a:pt x="171" y="29"/>
                    </a:lnTo>
                    <a:lnTo>
                      <a:pt x="173" y="32"/>
                    </a:lnTo>
                    <a:lnTo>
                      <a:pt x="172" y="34"/>
                    </a:lnTo>
                    <a:lnTo>
                      <a:pt x="174" y="36"/>
                    </a:lnTo>
                    <a:lnTo>
                      <a:pt x="176" y="39"/>
                    </a:lnTo>
                    <a:lnTo>
                      <a:pt x="176" y="42"/>
                    </a:lnTo>
                    <a:lnTo>
                      <a:pt x="178" y="42"/>
                    </a:lnTo>
                    <a:lnTo>
                      <a:pt x="179" y="46"/>
                    </a:lnTo>
                    <a:lnTo>
                      <a:pt x="182" y="48"/>
                    </a:lnTo>
                    <a:lnTo>
                      <a:pt x="185" y="45"/>
                    </a:lnTo>
                    <a:lnTo>
                      <a:pt x="189" y="45"/>
                    </a:lnTo>
                    <a:lnTo>
                      <a:pt x="191" y="47"/>
                    </a:lnTo>
                    <a:lnTo>
                      <a:pt x="195" y="47"/>
                    </a:lnTo>
                    <a:lnTo>
                      <a:pt x="199" y="51"/>
                    </a:lnTo>
                    <a:lnTo>
                      <a:pt x="202" y="52"/>
                    </a:lnTo>
                    <a:lnTo>
                      <a:pt x="203" y="56"/>
                    </a:lnTo>
                    <a:lnTo>
                      <a:pt x="206" y="56"/>
                    </a:lnTo>
                    <a:lnTo>
                      <a:pt x="208" y="59"/>
                    </a:lnTo>
                    <a:lnTo>
                      <a:pt x="208" y="59"/>
                    </a:lnTo>
                    <a:lnTo>
                      <a:pt x="208" y="65"/>
                    </a:lnTo>
                    <a:lnTo>
                      <a:pt x="205" y="74"/>
                    </a:lnTo>
                    <a:lnTo>
                      <a:pt x="205" y="80"/>
                    </a:lnTo>
                    <a:lnTo>
                      <a:pt x="202" y="87"/>
                    </a:lnTo>
                    <a:lnTo>
                      <a:pt x="202" y="91"/>
                    </a:lnTo>
                    <a:lnTo>
                      <a:pt x="206" y="92"/>
                    </a:lnTo>
                    <a:lnTo>
                      <a:pt x="210" y="94"/>
                    </a:lnTo>
                    <a:lnTo>
                      <a:pt x="213" y="95"/>
                    </a:lnTo>
                    <a:lnTo>
                      <a:pt x="216" y="96"/>
                    </a:lnTo>
                    <a:lnTo>
                      <a:pt x="223" y="98"/>
                    </a:lnTo>
                    <a:lnTo>
                      <a:pt x="231" y="103"/>
                    </a:lnTo>
                    <a:lnTo>
                      <a:pt x="237" y="110"/>
                    </a:lnTo>
                    <a:lnTo>
                      <a:pt x="244" y="112"/>
                    </a:lnTo>
                    <a:lnTo>
                      <a:pt x="247" y="114"/>
                    </a:lnTo>
                    <a:lnTo>
                      <a:pt x="252" y="114"/>
                    </a:lnTo>
                    <a:lnTo>
                      <a:pt x="259" y="118"/>
                    </a:lnTo>
                    <a:lnTo>
                      <a:pt x="267" y="118"/>
                    </a:lnTo>
                    <a:lnTo>
                      <a:pt x="271" y="120"/>
                    </a:lnTo>
                    <a:lnTo>
                      <a:pt x="281" y="118"/>
                    </a:lnTo>
                    <a:lnTo>
                      <a:pt x="289" y="119"/>
                    </a:lnTo>
                    <a:lnTo>
                      <a:pt x="290" y="124"/>
                    </a:lnTo>
                    <a:lnTo>
                      <a:pt x="295" y="128"/>
                    </a:lnTo>
                    <a:lnTo>
                      <a:pt x="305" y="131"/>
                    </a:lnTo>
                    <a:lnTo>
                      <a:pt x="309" y="129"/>
                    </a:lnTo>
                    <a:lnTo>
                      <a:pt x="314" y="129"/>
                    </a:lnTo>
                    <a:lnTo>
                      <a:pt x="331" y="135"/>
                    </a:lnTo>
                    <a:lnTo>
                      <a:pt x="334" y="132"/>
                    </a:lnTo>
                    <a:lnTo>
                      <a:pt x="341" y="136"/>
                    </a:lnTo>
                    <a:lnTo>
                      <a:pt x="353" y="134"/>
                    </a:lnTo>
                    <a:lnTo>
                      <a:pt x="354" y="125"/>
                    </a:lnTo>
                    <a:lnTo>
                      <a:pt x="351" y="118"/>
                    </a:lnTo>
                    <a:lnTo>
                      <a:pt x="353" y="110"/>
                    </a:lnTo>
                    <a:lnTo>
                      <a:pt x="352" y="106"/>
                    </a:lnTo>
                    <a:lnTo>
                      <a:pt x="352" y="106"/>
                    </a:lnTo>
                    <a:lnTo>
                      <a:pt x="355" y="103"/>
                    </a:lnTo>
                    <a:lnTo>
                      <a:pt x="359" y="103"/>
                    </a:lnTo>
                    <a:lnTo>
                      <a:pt x="361" y="107"/>
                    </a:lnTo>
                    <a:lnTo>
                      <a:pt x="361" y="111"/>
                    </a:lnTo>
                    <a:lnTo>
                      <a:pt x="365" y="114"/>
                    </a:lnTo>
                    <a:lnTo>
                      <a:pt x="365" y="114"/>
                    </a:lnTo>
                    <a:lnTo>
                      <a:pt x="365" y="118"/>
                    </a:lnTo>
                    <a:lnTo>
                      <a:pt x="364" y="120"/>
                    </a:lnTo>
                    <a:lnTo>
                      <a:pt x="367" y="126"/>
                    </a:lnTo>
                    <a:lnTo>
                      <a:pt x="374" y="127"/>
                    </a:lnTo>
                    <a:lnTo>
                      <a:pt x="375" y="126"/>
                    </a:lnTo>
                    <a:lnTo>
                      <a:pt x="385" y="131"/>
                    </a:lnTo>
                    <a:lnTo>
                      <a:pt x="390" y="131"/>
                    </a:lnTo>
                    <a:lnTo>
                      <a:pt x="394" y="126"/>
                    </a:lnTo>
                    <a:lnTo>
                      <a:pt x="397" y="126"/>
                    </a:lnTo>
                    <a:lnTo>
                      <a:pt x="401" y="127"/>
                    </a:lnTo>
                    <a:lnTo>
                      <a:pt x="408" y="126"/>
                    </a:lnTo>
                    <a:lnTo>
                      <a:pt x="413" y="126"/>
                    </a:lnTo>
                    <a:lnTo>
                      <a:pt x="420" y="123"/>
                    </a:lnTo>
                    <a:lnTo>
                      <a:pt x="420" y="121"/>
                    </a:lnTo>
                    <a:lnTo>
                      <a:pt x="420" y="116"/>
                    </a:lnTo>
                    <a:lnTo>
                      <a:pt x="415" y="114"/>
                    </a:lnTo>
                    <a:lnTo>
                      <a:pt x="414" y="110"/>
                    </a:lnTo>
                    <a:lnTo>
                      <a:pt x="416" y="106"/>
                    </a:lnTo>
                    <a:lnTo>
                      <a:pt x="417" y="105"/>
                    </a:lnTo>
                    <a:lnTo>
                      <a:pt x="424" y="104"/>
                    </a:lnTo>
                    <a:lnTo>
                      <a:pt x="428" y="103"/>
                    </a:lnTo>
                    <a:lnTo>
                      <a:pt x="430" y="99"/>
                    </a:lnTo>
                    <a:lnTo>
                      <a:pt x="432" y="97"/>
                    </a:lnTo>
                    <a:lnTo>
                      <a:pt x="435" y="98"/>
                    </a:lnTo>
                    <a:lnTo>
                      <a:pt x="435" y="96"/>
                    </a:lnTo>
                    <a:lnTo>
                      <a:pt x="439" y="95"/>
                    </a:lnTo>
                    <a:lnTo>
                      <a:pt x="440" y="92"/>
                    </a:lnTo>
                    <a:lnTo>
                      <a:pt x="443" y="88"/>
                    </a:lnTo>
                    <a:lnTo>
                      <a:pt x="447" y="87"/>
                    </a:lnTo>
                    <a:lnTo>
                      <a:pt x="454" y="86"/>
                    </a:lnTo>
                    <a:lnTo>
                      <a:pt x="458" y="80"/>
                    </a:lnTo>
                    <a:lnTo>
                      <a:pt x="458" y="76"/>
                    </a:lnTo>
                    <a:lnTo>
                      <a:pt x="461" y="76"/>
                    </a:lnTo>
                    <a:lnTo>
                      <a:pt x="464" y="74"/>
                    </a:lnTo>
                    <a:lnTo>
                      <a:pt x="468" y="78"/>
                    </a:lnTo>
                    <a:lnTo>
                      <a:pt x="473" y="76"/>
                    </a:lnTo>
                    <a:lnTo>
                      <a:pt x="480" y="79"/>
                    </a:lnTo>
                    <a:lnTo>
                      <a:pt x="482" y="77"/>
                    </a:lnTo>
                    <a:lnTo>
                      <a:pt x="482" y="74"/>
                    </a:lnTo>
                    <a:lnTo>
                      <a:pt x="489" y="70"/>
                    </a:lnTo>
                    <a:lnTo>
                      <a:pt x="492" y="71"/>
                    </a:lnTo>
                    <a:lnTo>
                      <a:pt x="494" y="73"/>
                    </a:lnTo>
                    <a:lnTo>
                      <a:pt x="497" y="73"/>
                    </a:lnTo>
                    <a:lnTo>
                      <a:pt x="497" y="74"/>
                    </a:lnTo>
                    <a:lnTo>
                      <a:pt x="495" y="78"/>
                    </a:lnTo>
                    <a:lnTo>
                      <a:pt x="496" y="81"/>
                    </a:lnTo>
                    <a:lnTo>
                      <a:pt x="499" y="81"/>
                    </a:lnTo>
                    <a:lnTo>
                      <a:pt x="501" y="80"/>
                    </a:lnTo>
                    <a:lnTo>
                      <a:pt x="502" y="83"/>
                    </a:lnTo>
                    <a:lnTo>
                      <a:pt x="504" y="86"/>
                    </a:lnTo>
                    <a:lnTo>
                      <a:pt x="504" y="89"/>
                    </a:lnTo>
                    <a:lnTo>
                      <a:pt x="502" y="92"/>
                    </a:lnTo>
                    <a:lnTo>
                      <a:pt x="503" y="95"/>
                    </a:lnTo>
                    <a:lnTo>
                      <a:pt x="506" y="96"/>
                    </a:lnTo>
                    <a:lnTo>
                      <a:pt x="508" y="95"/>
                    </a:lnTo>
                    <a:lnTo>
                      <a:pt x="512" y="96"/>
                    </a:lnTo>
                    <a:lnTo>
                      <a:pt x="516" y="99"/>
                    </a:lnTo>
                    <a:lnTo>
                      <a:pt x="516" y="102"/>
                    </a:lnTo>
                    <a:lnTo>
                      <a:pt x="512" y="105"/>
                    </a:lnTo>
                    <a:lnTo>
                      <a:pt x="512" y="110"/>
                    </a:lnTo>
                    <a:lnTo>
                      <a:pt x="513" y="114"/>
                    </a:lnTo>
                    <a:lnTo>
                      <a:pt x="510" y="112"/>
                    </a:lnTo>
                    <a:lnTo>
                      <a:pt x="506" y="109"/>
                    </a:lnTo>
                    <a:lnTo>
                      <a:pt x="502" y="113"/>
                    </a:lnTo>
                    <a:lnTo>
                      <a:pt x="496" y="115"/>
                    </a:lnTo>
                    <a:lnTo>
                      <a:pt x="494" y="118"/>
                    </a:lnTo>
                    <a:lnTo>
                      <a:pt x="489" y="124"/>
                    </a:lnTo>
                    <a:lnTo>
                      <a:pt x="485" y="125"/>
                    </a:lnTo>
                    <a:lnTo>
                      <a:pt x="480" y="135"/>
                    </a:lnTo>
                    <a:lnTo>
                      <a:pt x="479" y="139"/>
                    </a:lnTo>
                    <a:lnTo>
                      <a:pt x="480" y="141"/>
                    </a:lnTo>
                    <a:lnTo>
                      <a:pt x="478" y="148"/>
                    </a:lnTo>
                    <a:lnTo>
                      <a:pt x="472" y="157"/>
                    </a:lnTo>
                    <a:lnTo>
                      <a:pt x="473" y="159"/>
                    </a:lnTo>
                    <a:lnTo>
                      <a:pt x="477" y="161"/>
                    </a:lnTo>
                    <a:lnTo>
                      <a:pt x="473" y="170"/>
                    </a:lnTo>
                    <a:lnTo>
                      <a:pt x="471" y="178"/>
                    </a:lnTo>
                    <a:lnTo>
                      <a:pt x="468" y="184"/>
                    </a:lnTo>
                    <a:lnTo>
                      <a:pt x="463" y="184"/>
                    </a:lnTo>
                    <a:lnTo>
                      <a:pt x="461" y="183"/>
                    </a:lnTo>
                    <a:lnTo>
                      <a:pt x="457" y="183"/>
                    </a:lnTo>
                    <a:lnTo>
                      <a:pt x="459" y="192"/>
                    </a:lnTo>
                    <a:lnTo>
                      <a:pt x="459" y="197"/>
                    </a:lnTo>
                    <a:lnTo>
                      <a:pt x="459" y="203"/>
                    </a:lnTo>
                    <a:lnTo>
                      <a:pt x="455" y="203"/>
                    </a:lnTo>
                    <a:lnTo>
                      <a:pt x="455" y="207"/>
                    </a:lnTo>
                    <a:lnTo>
                      <a:pt x="455" y="211"/>
                    </a:lnTo>
                    <a:lnTo>
                      <a:pt x="456" y="215"/>
                    </a:lnTo>
                    <a:lnTo>
                      <a:pt x="453" y="221"/>
                    </a:lnTo>
                    <a:lnTo>
                      <a:pt x="451" y="222"/>
                    </a:lnTo>
                    <a:lnTo>
                      <a:pt x="449" y="222"/>
                    </a:lnTo>
                    <a:lnTo>
                      <a:pt x="449" y="225"/>
                    </a:lnTo>
                    <a:lnTo>
                      <a:pt x="449" y="226"/>
                    </a:lnTo>
                    <a:lnTo>
                      <a:pt x="448" y="226"/>
                    </a:lnTo>
                    <a:lnTo>
                      <a:pt x="447" y="225"/>
                    </a:lnTo>
                    <a:lnTo>
                      <a:pt x="447" y="223"/>
                    </a:lnTo>
                    <a:lnTo>
                      <a:pt x="446" y="222"/>
                    </a:lnTo>
                    <a:lnTo>
                      <a:pt x="445" y="219"/>
                    </a:lnTo>
                    <a:lnTo>
                      <a:pt x="443" y="214"/>
                    </a:lnTo>
                    <a:lnTo>
                      <a:pt x="442" y="206"/>
                    </a:lnTo>
                    <a:lnTo>
                      <a:pt x="441" y="204"/>
                    </a:lnTo>
                    <a:lnTo>
                      <a:pt x="441" y="201"/>
                    </a:lnTo>
                    <a:lnTo>
                      <a:pt x="439" y="195"/>
                    </a:lnTo>
                    <a:lnTo>
                      <a:pt x="439" y="193"/>
                    </a:lnTo>
                    <a:lnTo>
                      <a:pt x="438" y="191"/>
                    </a:lnTo>
                    <a:lnTo>
                      <a:pt x="434" y="191"/>
                    </a:lnTo>
                    <a:lnTo>
                      <a:pt x="432" y="190"/>
                    </a:lnTo>
                    <a:lnTo>
                      <a:pt x="430" y="191"/>
                    </a:lnTo>
                    <a:lnTo>
                      <a:pt x="431" y="193"/>
                    </a:lnTo>
                    <a:lnTo>
                      <a:pt x="430" y="194"/>
                    </a:lnTo>
                    <a:lnTo>
                      <a:pt x="430" y="196"/>
                    </a:lnTo>
                    <a:lnTo>
                      <a:pt x="428" y="199"/>
                    </a:lnTo>
                    <a:lnTo>
                      <a:pt x="429" y="200"/>
                    </a:lnTo>
                    <a:lnTo>
                      <a:pt x="429" y="203"/>
                    </a:lnTo>
                    <a:lnTo>
                      <a:pt x="427" y="203"/>
                    </a:lnTo>
                    <a:lnTo>
                      <a:pt x="424" y="199"/>
                    </a:lnTo>
                    <a:lnTo>
                      <a:pt x="421" y="197"/>
                    </a:lnTo>
                    <a:lnTo>
                      <a:pt x="420" y="195"/>
                    </a:lnTo>
                    <a:lnTo>
                      <a:pt x="418" y="193"/>
                    </a:lnTo>
                    <a:lnTo>
                      <a:pt x="417" y="188"/>
                    </a:lnTo>
                    <a:lnTo>
                      <a:pt x="417" y="186"/>
                    </a:lnTo>
                    <a:lnTo>
                      <a:pt x="418" y="185"/>
                    </a:lnTo>
                    <a:lnTo>
                      <a:pt x="419" y="183"/>
                    </a:lnTo>
                    <a:lnTo>
                      <a:pt x="422" y="181"/>
                    </a:lnTo>
                    <a:lnTo>
                      <a:pt x="424" y="182"/>
                    </a:lnTo>
                    <a:lnTo>
                      <a:pt x="426" y="182"/>
                    </a:lnTo>
                    <a:lnTo>
                      <a:pt x="427" y="181"/>
                    </a:lnTo>
                    <a:lnTo>
                      <a:pt x="427" y="178"/>
                    </a:lnTo>
                    <a:lnTo>
                      <a:pt x="430" y="177"/>
                    </a:lnTo>
                    <a:lnTo>
                      <a:pt x="432" y="171"/>
                    </a:lnTo>
                    <a:lnTo>
                      <a:pt x="433" y="166"/>
                    </a:lnTo>
                    <a:lnTo>
                      <a:pt x="435" y="162"/>
                    </a:lnTo>
                    <a:lnTo>
                      <a:pt x="433" y="162"/>
                    </a:lnTo>
                    <a:lnTo>
                      <a:pt x="430" y="159"/>
                    </a:lnTo>
                    <a:lnTo>
                      <a:pt x="427" y="160"/>
                    </a:lnTo>
                    <a:lnTo>
                      <a:pt x="426" y="159"/>
                    </a:lnTo>
                    <a:lnTo>
                      <a:pt x="423" y="159"/>
                    </a:lnTo>
                    <a:lnTo>
                      <a:pt x="417" y="159"/>
                    </a:lnTo>
                    <a:lnTo>
                      <a:pt x="412" y="159"/>
                    </a:lnTo>
                    <a:lnTo>
                      <a:pt x="404" y="159"/>
                    </a:lnTo>
                    <a:lnTo>
                      <a:pt x="399" y="159"/>
                    </a:lnTo>
                    <a:lnTo>
                      <a:pt x="396" y="157"/>
                    </a:lnTo>
                    <a:lnTo>
                      <a:pt x="392" y="158"/>
                    </a:lnTo>
                    <a:lnTo>
                      <a:pt x="389" y="156"/>
                    </a:lnTo>
                    <a:lnTo>
                      <a:pt x="389" y="154"/>
                    </a:lnTo>
                    <a:lnTo>
                      <a:pt x="387" y="150"/>
                    </a:lnTo>
                    <a:lnTo>
                      <a:pt x="387" y="147"/>
                    </a:lnTo>
                    <a:lnTo>
                      <a:pt x="386" y="143"/>
                    </a:lnTo>
                    <a:lnTo>
                      <a:pt x="383" y="139"/>
                    </a:lnTo>
                    <a:lnTo>
                      <a:pt x="381" y="139"/>
                    </a:lnTo>
                    <a:lnTo>
                      <a:pt x="381" y="140"/>
                    </a:lnTo>
                    <a:lnTo>
                      <a:pt x="377" y="139"/>
                    </a:lnTo>
                    <a:lnTo>
                      <a:pt x="375" y="138"/>
                    </a:lnTo>
                    <a:lnTo>
                      <a:pt x="374" y="136"/>
                    </a:lnTo>
                    <a:lnTo>
                      <a:pt x="372" y="136"/>
                    </a:lnTo>
                    <a:lnTo>
                      <a:pt x="371" y="138"/>
                    </a:lnTo>
                    <a:lnTo>
                      <a:pt x="374" y="139"/>
                    </a:lnTo>
                    <a:lnTo>
                      <a:pt x="372" y="139"/>
                    </a:lnTo>
                    <a:lnTo>
                      <a:pt x="368" y="139"/>
                    </a:lnTo>
                    <a:lnTo>
                      <a:pt x="365" y="137"/>
                    </a:lnTo>
                    <a:lnTo>
                      <a:pt x="365" y="135"/>
                    </a:lnTo>
                    <a:lnTo>
                      <a:pt x="363" y="132"/>
                    </a:lnTo>
                    <a:lnTo>
                      <a:pt x="361" y="129"/>
                    </a:lnTo>
                    <a:lnTo>
                      <a:pt x="360" y="132"/>
                    </a:lnTo>
                    <a:lnTo>
                      <a:pt x="358" y="132"/>
                    </a:lnTo>
                    <a:lnTo>
                      <a:pt x="358" y="135"/>
                    </a:lnTo>
                    <a:lnTo>
                      <a:pt x="360" y="136"/>
                    </a:lnTo>
                    <a:lnTo>
                      <a:pt x="359" y="140"/>
                    </a:lnTo>
                    <a:lnTo>
                      <a:pt x="355" y="144"/>
                    </a:lnTo>
                    <a:lnTo>
                      <a:pt x="354" y="149"/>
                    </a:lnTo>
                    <a:lnTo>
                      <a:pt x="363" y="152"/>
                    </a:lnTo>
                    <a:lnTo>
                      <a:pt x="367" y="151"/>
                    </a:lnTo>
                    <a:lnTo>
                      <a:pt x="372" y="151"/>
                    </a:lnTo>
                    <a:lnTo>
                      <a:pt x="371" y="153"/>
                    </a:lnTo>
                    <a:lnTo>
                      <a:pt x="372" y="158"/>
                    </a:lnTo>
                    <a:lnTo>
                      <a:pt x="370" y="160"/>
                    </a:lnTo>
                    <a:lnTo>
                      <a:pt x="367" y="159"/>
                    </a:lnTo>
                    <a:lnTo>
                      <a:pt x="364" y="161"/>
                    </a:lnTo>
                    <a:lnTo>
                      <a:pt x="363" y="165"/>
                    </a:lnTo>
                    <a:lnTo>
                      <a:pt x="359" y="165"/>
                    </a:lnTo>
                    <a:lnTo>
                      <a:pt x="359" y="173"/>
                    </a:lnTo>
                    <a:lnTo>
                      <a:pt x="363" y="178"/>
                    </a:lnTo>
                    <a:lnTo>
                      <a:pt x="368" y="180"/>
                    </a:lnTo>
                    <a:lnTo>
                      <a:pt x="373" y="184"/>
                    </a:lnTo>
                    <a:lnTo>
                      <a:pt x="373" y="190"/>
                    </a:lnTo>
                    <a:lnTo>
                      <a:pt x="374" y="195"/>
                    </a:lnTo>
                    <a:lnTo>
                      <a:pt x="374" y="198"/>
                    </a:lnTo>
                    <a:lnTo>
                      <a:pt x="374" y="204"/>
                    </a:lnTo>
                    <a:lnTo>
                      <a:pt x="380" y="211"/>
                    </a:lnTo>
                    <a:lnTo>
                      <a:pt x="380" y="216"/>
                    </a:lnTo>
                    <a:lnTo>
                      <a:pt x="381" y="219"/>
                    </a:lnTo>
                    <a:lnTo>
                      <a:pt x="382" y="225"/>
                    </a:lnTo>
                    <a:lnTo>
                      <a:pt x="381" y="225"/>
                    </a:lnTo>
                    <a:lnTo>
                      <a:pt x="383" y="228"/>
                    </a:lnTo>
                    <a:lnTo>
                      <a:pt x="381" y="232"/>
                    </a:lnTo>
                    <a:lnTo>
                      <a:pt x="378" y="228"/>
                    </a:lnTo>
                    <a:lnTo>
                      <a:pt x="378" y="230"/>
                    </a:lnTo>
                    <a:lnTo>
                      <a:pt x="376" y="229"/>
                    </a:lnTo>
                    <a:lnTo>
                      <a:pt x="374" y="226"/>
                    </a:lnTo>
                    <a:lnTo>
                      <a:pt x="374" y="224"/>
                    </a:lnTo>
                    <a:lnTo>
                      <a:pt x="374" y="226"/>
                    </a:lnTo>
                    <a:lnTo>
                      <a:pt x="374" y="227"/>
                    </a:lnTo>
                    <a:lnTo>
                      <a:pt x="373" y="226"/>
                    </a:lnTo>
                    <a:lnTo>
                      <a:pt x="372" y="227"/>
                    </a:lnTo>
                    <a:lnTo>
                      <a:pt x="369" y="227"/>
                    </a:lnTo>
                    <a:lnTo>
                      <a:pt x="369" y="228"/>
                    </a:lnTo>
                    <a:lnTo>
                      <a:pt x="366" y="227"/>
                    </a:lnTo>
                    <a:lnTo>
                      <a:pt x="365" y="223"/>
                    </a:lnTo>
                    <a:lnTo>
                      <a:pt x="366" y="220"/>
                    </a:lnTo>
                    <a:lnTo>
                      <a:pt x="363" y="218"/>
                    </a:lnTo>
                    <a:lnTo>
                      <a:pt x="359" y="218"/>
                    </a:lnTo>
                    <a:lnTo>
                      <a:pt x="360" y="219"/>
                    </a:lnTo>
                    <a:lnTo>
                      <a:pt x="362" y="219"/>
                    </a:lnTo>
                    <a:lnTo>
                      <a:pt x="363" y="221"/>
                    </a:lnTo>
                    <a:lnTo>
                      <a:pt x="362" y="222"/>
                    </a:lnTo>
                    <a:lnTo>
                      <a:pt x="361" y="225"/>
                    </a:lnTo>
                    <a:lnTo>
                      <a:pt x="361" y="226"/>
                    </a:lnTo>
                    <a:lnTo>
                      <a:pt x="358" y="229"/>
                    </a:lnTo>
                    <a:lnTo>
                      <a:pt x="347" y="234"/>
                    </a:lnTo>
                    <a:lnTo>
                      <a:pt x="345" y="235"/>
                    </a:lnTo>
                    <a:lnTo>
                      <a:pt x="344" y="238"/>
                    </a:lnTo>
                    <a:lnTo>
                      <a:pt x="342" y="242"/>
                    </a:lnTo>
                    <a:lnTo>
                      <a:pt x="343" y="244"/>
                    </a:lnTo>
                    <a:lnTo>
                      <a:pt x="345" y="247"/>
                    </a:lnTo>
                    <a:lnTo>
                      <a:pt x="345" y="248"/>
                    </a:lnTo>
                    <a:lnTo>
                      <a:pt x="346" y="249"/>
                    </a:lnTo>
                    <a:lnTo>
                      <a:pt x="342" y="252"/>
                    </a:lnTo>
                    <a:lnTo>
                      <a:pt x="341" y="256"/>
                    </a:lnTo>
                    <a:lnTo>
                      <a:pt x="339" y="256"/>
                    </a:lnTo>
                    <a:lnTo>
                      <a:pt x="339" y="258"/>
                    </a:lnTo>
                    <a:lnTo>
                      <a:pt x="332" y="263"/>
                    </a:lnTo>
                    <a:lnTo>
                      <a:pt x="332" y="265"/>
                    </a:lnTo>
                    <a:lnTo>
                      <a:pt x="323" y="270"/>
                    </a:lnTo>
                    <a:lnTo>
                      <a:pt x="321" y="269"/>
                    </a:lnTo>
                    <a:lnTo>
                      <a:pt x="321" y="267"/>
                    </a:lnTo>
                    <a:lnTo>
                      <a:pt x="321" y="266"/>
                    </a:lnTo>
                    <a:lnTo>
                      <a:pt x="319" y="266"/>
                    </a:lnTo>
                    <a:lnTo>
                      <a:pt x="316" y="269"/>
                    </a:lnTo>
                    <a:lnTo>
                      <a:pt x="314" y="269"/>
                    </a:lnTo>
                    <a:lnTo>
                      <a:pt x="313" y="273"/>
                    </a:lnTo>
                    <a:lnTo>
                      <a:pt x="316" y="272"/>
                    </a:lnTo>
                    <a:lnTo>
                      <a:pt x="317" y="271"/>
                    </a:lnTo>
                    <a:lnTo>
                      <a:pt x="319" y="271"/>
                    </a:lnTo>
                    <a:lnTo>
                      <a:pt x="307" y="283"/>
                    </a:lnTo>
                    <a:lnTo>
                      <a:pt x="303" y="291"/>
                    </a:lnTo>
                    <a:lnTo>
                      <a:pt x="287" y="304"/>
                    </a:lnTo>
                    <a:lnTo>
                      <a:pt x="285" y="309"/>
                    </a:lnTo>
                    <a:lnTo>
                      <a:pt x="281" y="312"/>
                    </a:lnTo>
                    <a:lnTo>
                      <a:pt x="273" y="314"/>
                    </a:lnTo>
                    <a:lnTo>
                      <a:pt x="268" y="318"/>
                    </a:lnTo>
                    <a:lnTo>
                      <a:pt x="267" y="322"/>
                    </a:lnTo>
                    <a:lnTo>
                      <a:pt x="268" y="326"/>
                    </a:lnTo>
                    <a:lnTo>
                      <a:pt x="266" y="331"/>
                    </a:lnTo>
                    <a:lnTo>
                      <a:pt x="261" y="334"/>
                    </a:lnTo>
                    <a:lnTo>
                      <a:pt x="253" y="332"/>
                    </a:lnTo>
                    <a:lnTo>
                      <a:pt x="249" y="334"/>
                    </a:lnTo>
                    <a:lnTo>
                      <a:pt x="249" y="338"/>
                    </a:lnTo>
                    <a:lnTo>
                      <a:pt x="245" y="345"/>
                    </a:lnTo>
                    <a:lnTo>
                      <a:pt x="242" y="345"/>
                    </a:lnTo>
                    <a:lnTo>
                      <a:pt x="240" y="342"/>
                    </a:lnTo>
                    <a:lnTo>
                      <a:pt x="238" y="342"/>
                    </a:lnTo>
                    <a:lnTo>
                      <a:pt x="232" y="348"/>
                    </a:lnTo>
                    <a:lnTo>
                      <a:pt x="230" y="351"/>
                    </a:lnTo>
                    <a:lnTo>
                      <a:pt x="230" y="357"/>
                    </a:lnTo>
                    <a:lnTo>
                      <a:pt x="233" y="366"/>
                    </a:lnTo>
                    <a:lnTo>
                      <a:pt x="230" y="369"/>
                    </a:lnTo>
                    <a:lnTo>
                      <a:pt x="231" y="374"/>
                    </a:lnTo>
                    <a:lnTo>
                      <a:pt x="231" y="388"/>
                    </a:lnTo>
                    <a:lnTo>
                      <a:pt x="236" y="389"/>
                    </a:lnTo>
                    <a:lnTo>
                      <a:pt x="236" y="398"/>
                    </a:lnTo>
                    <a:lnTo>
                      <a:pt x="232" y="410"/>
                    </a:lnTo>
                    <a:lnTo>
                      <a:pt x="227" y="418"/>
                    </a:lnTo>
                    <a:lnTo>
                      <a:pt x="227" y="424"/>
                    </a:lnTo>
                    <a:lnTo>
                      <a:pt x="229" y="427"/>
                    </a:lnTo>
                    <a:lnTo>
                      <a:pt x="231" y="442"/>
                    </a:lnTo>
                    <a:lnTo>
                      <a:pt x="231" y="446"/>
                    </a:lnTo>
                    <a:lnTo>
                      <a:pt x="227" y="447"/>
                    </a:lnTo>
                    <a:lnTo>
                      <a:pt x="225" y="446"/>
                    </a:lnTo>
                    <a:lnTo>
                      <a:pt x="221" y="447"/>
                    </a:lnTo>
                    <a:lnTo>
                      <a:pt x="219" y="451"/>
                    </a:lnTo>
                    <a:lnTo>
                      <a:pt x="220" y="452"/>
                    </a:lnTo>
                    <a:lnTo>
                      <a:pt x="215" y="458"/>
                    </a:lnTo>
                    <a:lnTo>
                      <a:pt x="213" y="460"/>
                    </a:lnTo>
                    <a:lnTo>
                      <a:pt x="213" y="463"/>
                    </a:lnTo>
                    <a:lnTo>
                      <a:pt x="220" y="465"/>
                    </a:lnTo>
                    <a:lnTo>
                      <a:pt x="220" y="466"/>
                    </a:lnTo>
                    <a:lnTo>
                      <a:pt x="221" y="467"/>
                    </a:lnTo>
                    <a:lnTo>
                      <a:pt x="220" y="466"/>
                    </a:lnTo>
                    <a:lnTo>
                      <a:pt x="217" y="465"/>
                    </a:lnTo>
                    <a:lnTo>
                      <a:pt x="209" y="467"/>
                    </a:lnTo>
                    <a:lnTo>
                      <a:pt x="207" y="467"/>
                    </a:lnTo>
                    <a:lnTo>
                      <a:pt x="202" y="470"/>
                    </a:lnTo>
                    <a:lnTo>
                      <a:pt x="199" y="473"/>
                    </a:lnTo>
                    <a:lnTo>
                      <a:pt x="199" y="475"/>
                    </a:lnTo>
                    <a:lnTo>
                      <a:pt x="198" y="476"/>
                    </a:lnTo>
                    <a:lnTo>
                      <a:pt x="199" y="478"/>
                    </a:lnTo>
                    <a:lnTo>
                      <a:pt x="197" y="483"/>
                    </a:lnTo>
                    <a:lnTo>
                      <a:pt x="190" y="486"/>
                    </a:lnTo>
                    <a:lnTo>
                      <a:pt x="183" y="486"/>
                    </a:lnTo>
                    <a:lnTo>
                      <a:pt x="179" y="483"/>
                    </a:lnTo>
                    <a:lnTo>
                      <a:pt x="173" y="476"/>
                    </a:lnTo>
                    <a:lnTo>
                      <a:pt x="166" y="463"/>
                    </a:lnTo>
                    <a:lnTo>
                      <a:pt x="166" y="456"/>
                    </a:lnTo>
                    <a:lnTo>
                      <a:pt x="164" y="449"/>
                    </a:lnTo>
                    <a:lnTo>
                      <a:pt x="159" y="442"/>
                    </a:lnTo>
                    <a:lnTo>
                      <a:pt x="159" y="438"/>
                    </a:lnTo>
                    <a:lnTo>
                      <a:pt x="159" y="438"/>
                    </a:lnTo>
                    <a:lnTo>
                      <a:pt x="157" y="433"/>
                    </a:lnTo>
                    <a:lnTo>
                      <a:pt x="155" y="427"/>
                    </a:lnTo>
                    <a:lnTo>
                      <a:pt x="149" y="421"/>
                    </a:lnTo>
                    <a:lnTo>
                      <a:pt x="146" y="416"/>
                    </a:lnTo>
                    <a:lnTo>
                      <a:pt x="145" y="416"/>
                    </a:lnTo>
                    <a:lnTo>
                      <a:pt x="139" y="411"/>
                    </a:lnTo>
                    <a:lnTo>
                      <a:pt x="137" y="406"/>
                    </a:lnTo>
                    <a:lnTo>
                      <a:pt x="136" y="404"/>
                    </a:lnTo>
                    <a:lnTo>
                      <a:pt x="136" y="398"/>
                    </a:lnTo>
                    <a:lnTo>
                      <a:pt x="134" y="395"/>
                    </a:lnTo>
                    <a:lnTo>
                      <a:pt x="130" y="386"/>
                    </a:lnTo>
                    <a:lnTo>
                      <a:pt x="129" y="380"/>
                    </a:lnTo>
                    <a:lnTo>
                      <a:pt x="127" y="377"/>
                    </a:lnTo>
                    <a:lnTo>
                      <a:pt x="125" y="374"/>
                    </a:lnTo>
                    <a:lnTo>
                      <a:pt x="125" y="368"/>
                    </a:lnTo>
                    <a:lnTo>
                      <a:pt x="124" y="367"/>
                    </a:lnTo>
                    <a:lnTo>
                      <a:pt x="119" y="362"/>
                    </a:lnTo>
                    <a:lnTo>
                      <a:pt x="119" y="360"/>
                    </a:lnTo>
                    <a:lnTo>
                      <a:pt x="117" y="359"/>
                    </a:lnTo>
                    <a:lnTo>
                      <a:pt x="114" y="353"/>
                    </a:lnTo>
                    <a:lnTo>
                      <a:pt x="114" y="350"/>
                    </a:lnTo>
                    <a:lnTo>
                      <a:pt x="111" y="349"/>
                    </a:lnTo>
                    <a:lnTo>
                      <a:pt x="110" y="343"/>
                    </a:lnTo>
                    <a:lnTo>
                      <a:pt x="106" y="341"/>
                    </a:lnTo>
                    <a:lnTo>
                      <a:pt x="103" y="334"/>
                    </a:lnTo>
                    <a:lnTo>
                      <a:pt x="103" y="324"/>
                    </a:lnTo>
                    <a:lnTo>
                      <a:pt x="95" y="310"/>
                    </a:lnTo>
                    <a:lnTo>
                      <a:pt x="95" y="305"/>
                    </a:lnTo>
                    <a:lnTo>
                      <a:pt x="93" y="299"/>
                    </a:lnTo>
                    <a:lnTo>
                      <a:pt x="96" y="299"/>
                    </a:lnTo>
                    <a:lnTo>
                      <a:pt x="91" y="292"/>
                    </a:lnTo>
                    <a:lnTo>
                      <a:pt x="91" y="289"/>
                    </a:lnTo>
                    <a:lnTo>
                      <a:pt x="94" y="289"/>
                    </a:lnTo>
                    <a:lnTo>
                      <a:pt x="92" y="286"/>
                    </a:lnTo>
                    <a:lnTo>
                      <a:pt x="91" y="283"/>
                    </a:lnTo>
                    <a:lnTo>
                      <a:pt x="86" y="272"/>
                    </a:lnTo>
                    <a:lnTo>
                      <a:pt x="85" y="267"/>
                    </a:lnTo>
                    <a:lnTo>
                      <a:pt x="88" y="265"/>
                    </a:lnTo>
                    <a:lnTo>
                      <a:pt x="85" y="264"/>
                    </a:lnTo>
                    <a:lnTo>
                      <a:pt x="85" y="261"/>
                    </a:lnTo>
                    <a:lnTo>
                      <a:pt x="87" y="256"/>
                    </a:lnTo>
                    <a:lnTo>
                      <a:pt x="87" y="251"/>
                    </a:lnTo>
                    <a:lnTo>
                      <a:pt x="85" y="247"/>
                    </a:lnTo>
                    <a:lnTo>
                      <a:pt x="83" y="245"/>
                    </a:lnTo>
                    <a:lnTo>
                      <a:pt x="81" y="237"/>
                    </a:lnTo>
                    <a:lnTo>
                      <a:pt x="85" y="234"/>
                    </a:lnTo>
                    <a:lnTo>
                      <a:pt x="87" y="232"/>
                    </a:lnTo>
                    <a:lnTo>
                      <a:pt x="90" y="232"/>
                    </a:lnTo>
                    <a:lnTo>
                      <a:pt x="86" y="231"/>
                    </a:lnTo>
                    <a:lnTo>
                      <a:pt x="82" y="232"/>
                    </a:lnTo>
                    <a:lnTo>
                      <a:pt x="80" y="232"/>
                    </a:lnTo>
                    <a:lnTo>
                      <a:pt x="80" y="228"/>
                    </a:lnTo>
                    <a:lnTo>
                      <a:pt x="78" y="226"/>
                    </a:lnTo>
                    <a:lnTo>
                      <a:pt x="79" y="223"/>
                    </a:lnTo>
                    <a:lnTo>
                      <a:pt x="80" y="222"/>
                    </a:lnTo>
                    <a:lnTo>
                      <a:pt x="82" y="222"/>
                    </a:lnTo>
                    <a:lnTo>
                      <a:pt x="86" y="219"/>
                    </a:lnTo>
                    <a:lnTo>
                      <a:pt x="87" y="217"/>
                    </a:lnTo>
                    <a:lnTo>
                      <a:pt x="84" y="219"/>
                    </a:lnTo>
                    <a:lnTo>
                      <a:pt x="81" y="218"/>
                    </a:lnTo>
                    <a:lnTo>
                      <a:pt x="77" y="218"/>
                    </a:lnTo>
                    <a:lnTo>
                      <a:pt x="75" y="215"/>
                    </a:lnTo>
                    <a:lnTo>
                      <a:pt x="75" y="218"/>
                    </a:lnTo>
                    <a:lnTo>
                      <a:pt x="75" y="221"/>
                    </a:lnTo>
                    <a:lnTo>
                      <a:pt x="73" y="228"/>
                    </a:lnTo>
                    <a:lnTo>
                      <a:pt x="75" y="231"/>
                    </a:lnTo>
                    <a:lnTo>
                      <a:pt x="74" y="238"/>
                    </a:lnTo>
                    <a:lnTo>
                      <a:pt x="72" y="241"/>
                    </a:lnTo>
                    <a:lnTo>
                      <a:pt x="72" y="243"/>
                    </a:lnTo>
                    <a:lnTo>
                      <a:pt x="65" y="246"/>
                    </a:lnTo>
                    <a:lnTo>
                      <a:pt x="55" y="251"/>
                    </a:lnTo>
                    <a:lnTo>
                      <a:pt x="51" y="252"/>
                    </a:lnTo>
                    <a:lnTo>
                      <a:pt x="45" y="251"/>
                    </a:lnTo>
                    <a:lnTo>
                      <a:pt x="30" y="240"/>
                    </a:lnTo>
                    <a:lnTo>
                      <a:pt x="25" y="233"/>
                    </a:lnTo>
                    <a:lnTo>
                      <a:pt x="25" y="231"/>
                    </a:lnTo>
                    <a:lnTo>
                      <a:pt x="23" y="231"/>
                    </a:lnTo>
                    <a:lnTo>
                      <a:pt x="20" y="230"/>
                    </a:lnTo>
                    <a:lnTo>
                      <a:pt x="12" y="223"/>
                    </a:lnTo>
                    <a:lnTo>
                      <a:pt x="11" y="220"/>
                    </a:lnTo>
                    <a:lnTo>
                      <a:pt x="12" y="218"/>
                    </a:lnTo>
                    <a:lnTo>
                      <a:pt x="14" y="218"/>
                    </a:lnTo>
                    <a:lnTo>
                      <a:pt x="15" y="219"/>
                    </a:lnTo>
                    <a:lnTo>
                      <a:pt x="17" y="219"/>
                    </a:lnTo>
                    <a:lnTo>
                      <a:pt x="17" y="223"/>
                    </a:lnTo>
                    <a:lnTo>
                      <a:pt x="20" y="223"/>
                    </a:lnTo>
                    <a:lnTo>
                      <a:pt x="23" y="221"/>
                    </a:lnTo>
                    <a:lnTo>
                      <a:pt x="24" y="221"/>
                    </a:lnTo>
                    <a:lnTo>
                      <a:pt x="26" y="222"/>
                    </a:lnTo>
                    <a:lnTo>
                      <a:pt x="26" y="221"/>
                    </a:lnTo>
                    <a:lnTo>
                      <a:pt x="33" y="215"/>
                    </a:lnTo>
                    <a:lnTo>
                      <a:pt x="36" y="215"/>
                    </a:lnTo>
                    <a:lnTo>
                      <a:pt x="39" y="210"/>
                    </a:lnTo>
                    <a:lnTo>
                      <a:pt x="41" y="210"/>
                    </a:lnTo>
                    <a:lnTo>
                      <a:pt x="42" y="206"/>
                    </a:lnTo>
                    <a:lnTo>
                      <a:pt x="38" y="206"/>
                    </a:lnTo>
                    <a:lnTo>
                      <a:pt x="37" y="205"/>
                    </a:lnTo>
                    <a:lnTo>
                      <a:pt x="38" y="206"/>
                    </a:lnTo>
                    <a:lnTo>
                      <a:pt x="37" y="208"/>
                    </a:lnTo>
                    <a:lnTo>
                      <a:pt x="30" y="211"/>
                    </a:lnTo>
                    <a:lnTo>
                      <a:pt x="26" y="211"/>
                    </a:lnTo>
                    <a:lnTo>
                      <a:pt x="22" y="213"/>
                    </a:lnTo>
                    <a:lnTo>
                      <a:pt x="9" y="208"/>
                    </a:lnTo>
                    <a:lnTo>
                      <a:pt x="4" y="203"/>
                    </a:lnTo>
                    <a:lnTo>
                      <a:pt x="2" y="202"/>
                    </a:lnTo>
                    <a:lnTo>
                      <a:pt x="2" y="198"/>
                    </a:lnTo>
                    <a:lnTo>
                      <a:pt x="6" y="194"/>
                    </a:lnTo>
                    <a:lnTo>
                      <a:pt x="9" y="191"/>
                    </a:lnTo>
                    <a:lnTo>
                      <a:pt x="5" y="192"/>
                    </a:lnTo>
                    <a:lnTo>
                      <a:pt x="0" y="196"/>
                    </a:lnTo>
                    <a:lnTo>
                      <a:pt x="0" y="191"/>
                    </a:lnTo>
                    <a:lnTo>
                      <a:pt x="4" y="188"/>
                    </a:lnTo>
                    <a:lnTo>
                      <a:pt x="6" y="188"/>
                    </a:lnTo>
                    <a:lnTo>
                      <a:pt x="8" y="183"/>
                    </a:lnTo>
                    <a:lnTo>
                      <a:pt x="10" y="184"/>
                    </a:lnTo>
                    <a:lnTo>
                      <a:pt x="13" y="183"/>
                    </a:lnTo>
                    <a:lnTo>
                      <a:pt x="26" y="183"/>
                    </a:lnTo>
                    <a:lnTo>
                      <a:pt x="33" y="181"/>
                    </a:lnTo>
                    <a:lnTo>
                      <a:pt x="34" y="179"/>
                    </a:lnTo>
                    <a:lnTo>
                      <a:pt x="39" y="178"/>
                    </a:lnTo>
                    <a:lnTo>
                      <a:pt x="37" y="181"/>
                    </a:lnTo>
                    <a:lnTo>
                      <a:pt x="39" y="183"/>
                    </a:lnTo>
                    <a:lnTo>
                      <a:pt x="43" y="180"/>
                    </a:lnTo>
                    <a:lnTo>
                      <a:pt x="47" y="179"/>
                    </a:lnTo>
                    <a:lnTo>
                      <a:pt x="46" y="177"/>
                    </a:lnTo>
                    <a:lnTo>
                      <a:pt x="46" y="175"/>
                    </a:lnTo>
                    <a:lnTo>
                      <a:pt x="42" y="163"/>
                    </a:lnTo>
                    <a:lnTo>
                      <a:pt x="38" y="159"/>
                    </a:lnTo>
                    <a:lnTo>
                      <a:pt x="39" y="157"/>
                    </a:lnTo>
                    <a:lnTo>
                      <a:pt x="36" y="154"/>
                    </a:lnTo>
                    <a:lnTo>
                      <a:pt x="33" y="155"/>
                    </a:lnTo>
                    <a:lnTo>
                      <a:pt x="27" y="151"/>
                    </a:lnTo>
                    <a:lnTo>
                      <a:pt x="27" y="144"/>
                    </a:lnTo>
                    <a:lnTo>
                      <a:pt x="27" y="139"/>
                    </a:lnTo>
                    <a:lnTo>
                      <a:pt x="24" y="135"/>
                    </a:lnTo>
                    <a:lnTo>
                      <a:pt x="21" y="135"/>
                    </a:lnTo>
                    <a:lnTo>
                      <a:pt x="18" y="136"/>
                    </a:lnTo>
                    <a:lnTo>
                      <a:pt x="14" y="134"/>
                    </a:lnTo>
                    <a:lnTo>
                      <a:pt x="11" y="134"/>
                    </a:lnTo>
                    <a:lnTo>
                      <a:pt x="11" y="130"/>
                    </a:lnTo>
                    <a:lnTo>
                      <a:pt x="14" y="122"/>
                    </a:lnTo>
                    <a:lnTo>
                      <a:pt x="17" y="121"/>
                    </a:lnTo>
                    <a:lnTo>
                      <a:pt x="22" y="115"/>
                    </a:lnTo>
                    <a:lnTo>
                      <a:pt x="23" y="112"/>
                    </a:lnTo>
                    <a:lnTo>
                      <a:pt x="26" y="110"/>
                    </a:lnTo>
                    <a:lnTo>
                      <a:pt x="29" y="108"/>
                    </a:lnTo>
                    <a:lnTo>
                      <a:pt x="32" y="110"/>
                    </a:lnTo>
                    <a:lnTo>
                      <a:pt x="33" y="114"/>
                    </a:lnTo>
                    <a:lnTo>
                      <a:pt x="35" y="114"/>
                    </a:lnTo>
                    <a:lnTo>
                      <a:pt x="43" y="111"/>
                    </a:lnTo>
                    <a:lnTo>
                      <a:pt x="52" y="110"/>
                    </a:lnTo>
                    <a:lnTo>
                      <a:pt x="58" y="104"/>
                    </a:lnTo>
                    <a:lnTo>
                      <a:pt x="62" y="94"/>
                    </a:lnTo>
                    <a:lnTo>
                      <a:pt x="70" y="88"/>
                    </a:lnTo>
                    <a:lnTo>
                      <a:pt x="73" y="84"/>
                    </a:lnTo>
                    <a:lnTo>
                      <a:pt x="73" y="78"/>
                    </a:lnTo>
                    <a:lnTo>
                      <a:pt x="77" y="73"/>
                    </a:lnTo>
                    <a:lnTo>
                      <a:pt x="83" y="70"/>
                    </a:lnTo>
                    <a:lnTo>
                      <a:pt x="85" y="65"/>
                    </a:lnTo>
                    <a:lnTo>
                      <a:pt x="85" y="62"/>
                    </a:lnTo>
                    <a:lnTo>
                      <a:pt x="82" y="60"/>
                    </a:lnTo>
                    <a:lnTo>
                      <a:pt x="88" y="54"/>
                    </a:lnTo>
                    <a:lnTo>
                      <a:pt x="91" y="53"/>
                    </a:lnTo>
                    <a:lnTo>
                      <a:pt x="92" y="48"/>
                    </a:lnTo>
                    <a:lnTo>
                      <a:pt x="93" y="39"/>
                    </a:lnTo>
                    <a:lnTo>
                      <a:pt x="91" y="32"/>
                    </a:lnTo>
                    <a:lnTo>
                      <a:pt x="90" y="31"/>
                    </a:lnTo>
                    <a:lnTo>
                      <a:pt x="95" y="26"/>
                    </a:lnTo>
                    <a:lnTo>
                      <a:pt x="98" y="25"/>
                    </a:lnTo>
                    <a:lnTo>
                      <a:pt x="102" y="23"/>
                    </a:lnTo>
                    <a:lnTo>
                      <a:pt x="104" y="23"/>
                    </a:lnTo>
                    <a:lnTo>
                      <a:pt x="109" y="18"/>
                    </a:lnTo>
                    <a:lnTo>
                      <a:pt x="115" y="9"/>
                    </a:lnTo>
                    <a:lnTo>
                      <a:pt x="120" y="5"/>
                    </a:lnTo>
                    <a:lnTo>
                      <a:pt x="124" y="4"/>
                    </a:lnTo>
                    <a:lnTo>
                      <a:pt x="127" y="0"/>
                    </a:lnTo>
                    <a:lnTo>
                      <a:pt x="131" y="0"/>
                    </a:lnTo>
                    <a:lnTo>
                      <a:pt x="140" y="7"/>
                    </a:lnTo>
                    <a:lnTo>
                      <a:pt x="146" y="4"/>
                    </a:lnTo>
                    <a:lnTo>
                      <a:pt x="151" y="6"/>
                    </a:lnTo>
                    <a:lnTo>
                      <a:pt x="153" y="10"/>
                    </a:lnTo>
                    <a:lnTo>
                      <a:pt x="158" y="10"/>
                    </a:lnTo>
                    <a:lnTo>
                      <a:pt x="165" y="14"/>
                    </a:lnTo>
                    <a:lnTo>
                      <a:pt x="165" y="14"/>
                    </a:lnTo>
                    <a:lnTo>
                      <a:pt x="165" y="14"/>
                    </a:lnTo>
                    <a:lnTo>
                      <a:pt x="165" y="14"/>
                    </a:lnTo>
                    <a:close/>
                    <a:moveTo>
                      <a:pt x="374" y="230"/>
                    </a:moveTo>
                    <a:lnTo>
                      <a:pt x="374" y="233"/>
                    </a:lnTo>
                    <a:lnTo>
                      <a:pt x="374" y="232"/>
                    </a:lnTo>
                    <a:lnTo>
                      <a:pt x="374" y="230"/>
                    </a:lnTo>
                    <a:lnTo>
                      <a:pt x="374" y="230"/>
                    </a:lnTo>
                    <a:lnTo>
                      <a:pt x="374" y="230"/>
                    </a:lnTo>
                    <a:close/>
                    <a:moveTo>
                      <a:pt x="372" y="228"/>
                    </a:moveTo>
                    <a:lnTo>
                      <a:pt x="370" y="229"/>
                    </a:lnTo>
                    <a:lnTo>
                      <a:pt x="371" y="232"/>
                    </a:lnTo>
                    <a:lnTo>
                      <a:pt x="372" y="232"/>
                    </a:lnTo>
                    <a:lnTo>
                      <a:pt x="372" y="230"/>
                    </a:lnTo>
                    <a:lnTo>
                      <a:pt x="372" y="228"/>
                    </a:lnTo>
                    <a:lnTo>
                      <a:pt x="372" y="228"/>
                    </a:lnTo>
                    <a:lnTo>
                      <a:pt x="372" y="228"/>
                    </a:lnTo>
                    <a:close/>
                    <a:moveTo>
                      <a:pt x="367" y="229"/>
                    </a:moveTo>
                    <a:lnTo>
                      <a:pt x="367" y="233"/>
                    </a:lnTo>
                    <a:lnTo>
                      <a:pt x="369" y="234"/>
                    </a:lnTo>
                    <a:lnTo>
                      <a:pt x="369" y="231"/>
                    </a:lnTo>
                    <a:lnTo>
                      <a:pt x="367" y="229"/>
                    </a:lnTo>
                    <a:lnTo>
                      <a:pt x="367" y="229"/>
                    </a:lnTo>
                    <a:lnTo>
                      <a:pt x="367" y="229"/>
                    </a:lnTo>
                    <a:close/>
                    <a:moveTo>
                      <a:pt x="361" y="230"/>
                    </a:moveTo>
                    <a:lnTo>
                      <a:pt x="362" y="232"/>
                    </a:lnTo>
                    <a:lnTo>
                      <a:pt x="363" y="231"/>
                    </a:lnTo>
                    <a:lnTo>
                      <a:pt x="365" y="227"/>
                    </a:lnTo>
                    <a:lnTo>
                      <a:pt x="364" y="226"/>
                    </a:lnTo>
                    <a:lnTo>
                      <a:pt x="361" y="230"/>
                    </a:lnTo>
                    <a:lnTo>
                      <a:pt x="361" y="230"/>
                    </a:lnTo>
                    <a:close/>
                  </a:path>
                </a:pathLst>
              </a:custGeom>
              <a:solidFill>
                <a:schemeClr val="accent2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008" name="Freeform 10"/>
              <p:cNvSpPr>
                <a:spLocks noEditPoints="1"/>
              </p:cNvSpPr>
              <p:nvPr userDrawn="1"/>
            </p:nvSpPr>
            <p:spPr bwMode="auto">
              <a:xfrm>
                <a:off x="5063" y="2426"/>
                <a:ext cx="95" cy="118"/>
              </a:xfrm>
              <a:custGeom>
                <a:avLst/>
                <a:gdLst>
                  <a:gd name="T0" fmla="*/ 97 w 99"/>
                  <a:gd name="T1" fmla="*/ 111 h 124"/>
                  <a:gd name="T2" fmla="*/ 91 w 99"/>
                  <a:gd name="T3" fmla="*/ 118 h 124"/>
                  <a:gd name="T4" fmla="*/ 92 w 99"/>
                  <a:gd name="T5" fmla="*/ 124 h 124"/>
                  <a:gd name="T6" fmla="*/ 85 w 99"/>
                  <a:gd name="T7" fmla="*/ 113 h 124"/>
                  <a:gd name="T8" fmla="*/ 84 w 99"/>
                  <a:gd name="T9" fmla="*/ 106 h 124"/>
                  <a:gd name="T10" fmla="*/ 81 w 99"/>
                  <a:gd name="T11" fmla="*/ 108 h 124"/>
                  <a:gd name="T12" fmla="*/ 81 w 99"/>
                  <a:gd name="T13" fmla="*/ 98 h 124"/>
                  <a:gd name="T14" fmla="*/ 73 w 99"/>
                  <a:gd name="T15" fmla="*/ 81 h 124"/>
                  <a:gd name="T16" fmla="*/ 70 w 99"/>
                  <a:gd name="T17" fmla="*/ 82 h 124"/>
                  <a:gd name="T18" fmla="*/ 59 w 99"/>
                  <a:gd name="T19" fmla="*/ 79 h 124"/>
                  <a:gd name="T20" fmla="*/ 52 w 99"/>
                  <a:gd name="T21" fmla="*/ 71 h 124"/>
                  <a:gd name="T22" fmla="*/ 54 w 99"/>
                  <a:gd name="T23" fmla="*/ 83 h 124"/>
                  <a:gd name="T24" fmla="*/ 56 w 99"/>
                  <a:gd name="T25" fmla="*/ 90 h 124"/>
                  <a:gd name="T26" fmla="*/ 48 w 99"/>
                  <a:gd name="T27" fmla="*/ 101 h 124"/>
                  <a:gd name="T28" fmla="*/ 49 w 99"/>
                  <a:gd name="T29" fmla="*/ 96 h 124"/>
                  <a:gd name="T30" fmla="*/ 45 w 99"/>
                  <a:gd name="T31" fmla="*/ 99 h 124"/>
                  <a:gd name="T32" fmla="*/ 44 w 99"/>
                  <a:gd name="T33" fmla="*/ 88 h 124"/>
                  <a:gd name="T34" fmla="*/ 42 w 99"/>
                  <a:gd name="T35" fmla="*/ 91 h 124"/>
                  <a:gd name="T36" fmla="*/ 43 w 99"/>
                  <a:gd name="T37" fmla="*/ 99 h 124"/>
                  <a:gd name="T38" fmla="*/ 40 w 99"/>
                  <a:gd name="T39" fmla="*/ 103 h 124"/>
                  <a:gd name="T40" fmla="*/ 35 w 99"/>
                  <a:gd name="T41" fmla="*/ 104 h 124"/>
                  <a:gd name="T42" fmla="*/ 30 w 99"/>
                  <a:gd name="T43" fmla="*/ 99 h 124"/>
                  <a:gd name="T44" fmla="*/ 27 w 99"/>
                  <a:gd name="T45" fmla="*/ 91 h 124"/>
                  <a:gd name="T46" fmla="*/ 20 w 99"/>
                  <a:gd name="T47" fmla="*/ 72 h 124"/>
                  <a:gd name="T48" fmla="*/ 19 w 99"/>
                  <a:gd name="T49" fmla="*/ 58 h 124"/>
                  <a:gd name="T50" fmla="*/ 5 w 99"/>
                  <a:gd name="T51" fmla="*/ 46 h 124"/>
                  <a:gd name="T52" fmla="*/ 10 w 99"/>
                  <a:gd name="T53" fmla="*/ 33 h 124"/>
                  <a:gd name="T54" fmla="*/ 18 w 99"/>
                  <a:gd name="T55" fmla="*/ 30 h 124"/>
                  <a:gd name="T56" fmla="*/ 13 w 99"/>
                  <a:gd name="T57" fmla="*/ 23 h 124"/>
                  <a:gd name="T58" fmla="*/ 1 w 99"/>
                  <a:gd name="T59" fmla="*/ 16 h 124"/>
                  <a:gd name="T60" fmla="*/ 4 w 99"/>
                  <a:gd name="T61" fmla="*/ 6 h 124"/>
                  <a:gd name="T62" fmla="*/ 7 w 99"/>
                  <a:gd name="T63" fmla="*/ 0 h 124"/>
                  <a:gd name="T64" fmla="*/ 11 w 99"/>
                  <a:gd name="T65" fmla="*/ 8 h 124"/>
                  <a:gd name="T66" fmla="*/ 20 w 99"/>
                  <a:gd name="T67" fmla="*/ 10 h 124"/>
                  <a:gd name="T68" fmla="*/ 20 w 99"/>
                  <a:gd name="T69" fmla="*/ 7 h 124"/>
                  <a:gd name="T70" fmla="*/ 28 w 99"/>
                  <a:gd name="T71" fmla="*/ 12 h 124"/>
                  <a:gd name="T72" fmla="*/ 33 w 99"/>
                  <a:gd name="T73" fmla="*/ 15 h 124"/>
                  <a:gd name="T74" fmla="*/ 36 w 99"/>
                  <a:gd name="T75" fmla="*/ 26 h 124"/>
                  <a:gd name="T76" fmla="*/ 43 w 99"/>
                  <a:gd name="T77" fmla="*/ 29 h 124"/>
                  <a:gd name="T78" fmla="*/ 60 w 99"/>
                  <a:gd name="T79" fmla="*/ 31 h 124"/>
                  <a:gd name="T80" fmla="*/ 75 w 99"/>
                  <a:gd name="T81" fmla="*/ 31 h 124"/>
                  <a:gd name="T82" fmla="*/ 82 w 99"/>
                  <a:gd name="T83" fmla="*/ 35 h 124"/>
                  <a:gd name="T84" fmla="*/ 81 w 99"/>
                  <a:gd name="T85" fmla="*/ 44 h 124"/>
                  <a:gd name="T86" fmla="*/ 76 w 99"/>
                  <a:gd name="T87" fmla="*/ 54 h 124"/>
                  <a:gd name="T88" fmla="*/ 71 w 99"/>
                  <a:gd name="T89" fmla="*/ 54 h 124"/>
                  <a:gd name="T90" fmla="*/ 65 w 99"/>
                  <a:gd name="T91" fmla="*/ 60 h 124"/>
                  <a:gd name="T92" fmla="*/ 69 w 99"/>
                  <a:gd name="T93" fmla="*/ 69 h 124"/>
                  <a:gd name="T94" fmla="*/ 76 w 99"/>
                  <a:gd name="T95" fmla="*/ 77 h 124"/>
                  <a:gd name="T96" fmla="*/ 77 w 99"/>
                  <a:gd name="T97" fmla="*/ 73 h 124"/>
                  <a:gd name="T98" fmla="*/ 80 w 99"/>
                  <a:gd name="T99" fmla="*/ 67 h 124"/>
                  <a:gd name="T100" fmla="*/ 83 w 99"/>
                  <a:gd name="T101" fmla="*/ 65 h 124"/>
                  <a:gd name="T102" fmla="*/ 89 w 99"/>
                  <a:gd name="T103" fmla="*/ 69 h 124"/>
                  <a:gd name="T104" fmla="*/ 92 w 99"/>
                  <a:gd name="T105" fmla="*/ 81 h 124"/>
                  <a:gd name="T106" fmla="*/ 96 w 99"/>
                  <a:gd name="T107" fmla="*/ 97 h 124"/>
                  <a:gd name="T108" fmla="*/ 98 w 99"/>
                  <a:gd name="T109" fmla="*/ 101 h 124"/>
                  <a:gd name="T110" fmla="*/ 71 w 99"/>
                  <a:gd name="T111" fmla="*/ 86 h 124"/>
                  <a:gd name="T112" fmla="*/ 72 w 99"/>
                  <a:gd name="T113" fmla="*/ 90 h 124"/>
                  <a:gd name="T114" fmla="*/ 65 w 99"/>
                  <a:gd name="T115" fmla="*/ 90 h 124"/>
                  <a:gd name="T116" fmla="*/ 68 w 99"/>
                  <a:gd name="T117" fmla="*/ 91 h 124"/>
                  <a:gd name="T118" fmla="*/ 63 w 99"/>
                  <a:gd name="T119" fmla="*/ 86 h 124"/>
                  <a:gd name="T120" fmla="*/ 55 w 99"/>
                  <a:gd name="T121" fmla="*/ 87 h 124"/>
                  <a:gd name="T122" fmla="*/ 61 w 99"/>
                  <a:gd name="T123" fmla="*/ 87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99" h="124">
                    <a:moveTo>
                      <a:pt x="99" y="102"/>
                    </a:moveTo>
                    <a:cubicBezTo>
                      <a:pt x="99" y="106"/>
                      <a:pt x="99" y="106"/>
                      <a:pt x="99" y="106"/>
                    </a:cubicBezTo>
                    <a:cubicBezTo>
                      <a:pt x="97" y="111"/>
                      <a:pt x="97" y="111"/>
                      <a:pt x="97" y="111"/>
                    </a:cubicBezTo>
                    <a:cubicBezTo>
                      <a:pt x="95" y="110"/>
                      <a:pt x="95" y="110"/>
                      <a:pt x="95" y="110"/>
                    </a:cubicBezTo>
                    <a:cubicBezTo>
                      <a:pt x="91" y="114"/>
                      <a:pt x="91" y="114"/>
                      <a:pt x="91" y="114"/>
                    </a:cubicBezTo>
                    <a:cubicBezTo>
                      <a:pt x="91" y="118"/>
                      <a:pt x="91" y="118"/>
                      <a:pt x="91" y="118"/>
                    </a:cubicBezTo>
                    <a:cubicBezTo>
                      <a:pt x="91" y="119"/>
                      <a:pt x="91" y="119"/>
                      <a:pt x="91" y="119"/>
                    </a:cubicBezTo>
                    <a:cubicBezTo>
                      <a:pt x="91" y="120"/>
                      <a:pt x="91" y="120"/>
                      <a:pt x="91" y="120"/>
                    </a:cubicBezTo>
                    <a:cubicBezTo>
                      <a:pt x="92" y="124"/>
                      <a:pt x="92" y="124"/>
                      <a:pt x="92" y="124"/>
                    </a:cubicBezTo>
                    <a:cubicBezTo>
                      <a:pt x="91" y="124"/>
                      <a:pt x="91" y="124"/>
                      <a:pt x="91" y="124"/>
                    </a:cubicBezTo>
                    <a:cubicBezTo>
                      <a:pt x="88" y="118"/>
                      <a:pt x="88" y="118"/>
                      <a:pt x="88" y="118"/>
                    </a:cubicBezTo>
                    <a:cubicBezTo>
                      <a:pt x="85" y="113"/>
                      <a:pt x="85" y="113"/>
                      <a:pt x="85" y="113"/>
                    </a:cubicBezTo>
                    <a:cubicBezTo>
                      <a:pt x="83" y="111"/>
                      <a:pt x="83" y="111"/>
                      <a:pt x="83" y="111"/>
                    </a:cubicBezTo>
                    <a:cubicBezTo>
                      <a:pt x="84" y="109"/>
                      <a:pt x="84" y="109"/>
                      <a:pt x="84" y="109"/>
                    </a:cubicBezTo>
                    <a:cubicBezTo>
                      <a:pt x="84" y="106"/>
                      <a:pt x="84" y="106"/>
                      <a:pt x="84" y="106"/>
                    </a:cubicBezTo>
                    <a:cubicBezTo>
                      <a:pt x="84" y="107"/>
                      <a:pt x="84" y="107"/>
                      <a:pt x="84" y="107"/>
                    </a:cubicBezTo>
                    <a:cubicBezTo>
                      <a:pt x="81" y="110"/>
                      <a:pt x="81" y="110"/>
                      <a:pt x="81" y="110"/>
                    </a:cubicBezTo>
                    <a:cubicBezTo>
                      <a:pt x="81" y="108"/>
                      <a:pt x="81" y="108"/>
                      <a:pt x="81" y="108"/>
                    </a:cubicBezTo>
                    <a:cubicBezTo>
                      <a:pt x="82" y="103"/>
                      <a:pt x="82" y="103"/>
                      <a:pt x="82" y="103"/>
                    </a:cubicBezTo>
                    <a:cubicBezTo>
                      <a:pt x="80" y="102"/>
                      <a:pt x="80" y="102"/>
                      <a:pt x="80" y="102"/>
                    </a:cubicBezTo>
                    <a:cubicBezTo>
                      <a:pt x="81" y="98"/>
                      <a:pt x="81" y="98"/>
                      <a:pt x="81" y="98"/>
                    </a:cubicBezTo>
                    <a:cubicBezTo>
                      <a:pt x="81" y="95"/>
                      <a:pt x="81" y="95"/>
                      <a:pt x="81" y="95"/>
                    </a:cubicBezTo>
                    <a:cubicBezTo>
                      <a:pt x="79" y="94"/>
                      <a:pt x="79" y="94"/>
                      <a:pt x="79" y="94"/>
                    </a:cubicBezTo>
                    <a:cubicBezTo>
                      <a:pt x="73" y="81"/>
                      <a:pt x="73" y="81"/>
                      <a:pt x="73" y="81"/>
                    </a:cubicBezTo>
                    <a:cubicBezTo>
                      <a:pt x="71" y="81"/>
                      <a:pt x="71" y="81"/>
                      <a:pt x="71" y="81"/>
                    </a:cubicBezTo>
                    <a:cubicBezTo>
                      <a:pt x="71" y="82"/>
                      <a:pt x="71" y="82"/>
                      <a:pt x="71" y="82"/>
                    </a:cubicBezTo>
                    <a:cubicBezTo>
                      <a:pt x="70" y="82"/>
                      <a:pt x="70" y="82"/>
                      <a:pt x="70" y="82"/>
                    </a:cubicBezTo>
                    <a:cubicBezTo>
                      <a:pt x="66" y="84"/>
                      <a:pt x="66" y="84"/>
                      <a:pt x="66" y="84"/>
                    </a:cubicBezTo>
                    <a:cubicBezTo>
                      <a:pt x="60" y="81"/>
                      <a:pt x="60" y="81"/>
                      <a:pt x="60" y="81"/>
                    </a:cubicBezTo>
                    <a:cubicBezTo>
                      <a:pt x="59" y="79"/>
                      <a:pt x="59" y="79"/>
                      <a:pt x="59" y="79"/>
                    </a:cubicBezTo>
                    <a:cubicBezTo>
                      <a:pt x="57" y="79"/>
                      <a:pt x="57" y="79"/>
                      <a:pt x="57" y="79"/>
                    </a:cubicBezTo>
                    <a:cubicBezTo>
                      <a:pt x="53" y="76"/>
                      <a:pt x="53" y="76"/>
                      <a:pt x="53" y="76"/>
                    </a:cubicBezTo>
                    <a:cubicBezTo>
                      <a:pt x="52" y="71"/>
                      <a:pt x="52" y="71"/>
                      <a:pt x="52" y="71"/>
                    </a:cubicBezTo>
                    <a:cubicBezTo>
                      <a:pt x="52" y="77"/>
                      <a:pt x="52" y="77"/>
                      <a:pt x="52" y="77"/>
                    </a:cubicBezTo>
                    <a:cubicBezTo>
                      <a:pt x="55" y="81"/>
                      <a:pt x="55" y="81"/>
                      <a:pt x="55" y="81"/>
                    </a:cubicBezTo>
                    <a:cubicBezTo>
                      <a:pt x="54" y="83"/>
                      <a:pt x="54" y="83"/>
                      <a:pt x="54" y="83"/>
                    </a:cubicBezTo>
                    <a:cubicBezTo>
                      <a:pt x="51" y="84"/>
                      <a:pt x="51" y="84"/>
                      <a:pt x="51" y="84"/>
                    </a:cubicBezTo>
                    <a:cubicBezTo>
                      <a:pt x="53" y="85"/>
                      <a:pt x="53" y="85"/>
                      <a:pt x="53" y="85"/>
                    </a:cubicBezTo>
                    <a:cubicBezTo>
                      <a:pt x="56" y="90"/>
                      <a:pt x="56" y="90"/>
                      <a:pt x="56" y="90"/>
                    </a:cubicBezTo>
                    <a:cubicBezTo>
                      <a:pt x="55" y="95"/>
                      <a:pt x="55" y="95"/>
                      <a:pt x="55" y="95"/>
                    </a:cubicBezTo>
                    <a:cubicBezTo>
                      <a:pt x="51" y="96"/>
                      <a:pt x="51" y="96"/>
                      <a:pt x="51" y="96"/>
                    </a:cubicBezTo>
                    <a:cubicBezTo>
                      <a:pt x="48" y="101"/>
                      <a:pt x="48" y="101"/>
                      <a:pt x="48" y="101"/>
                    </a:cubicBezTo>
                    <a:cubicBezTo>
                      <a:pt x="45" y="99"/>
                      <a:pt x="45" y="99"/>
                      <a:pt x="45" y="99"/>
                    </a:cubicBezTo>
                    <a:cubicBezTo>
                      <a:pt x="47" y="96"/>
                      <a:pt x="47" y="96"/>
                      <a:pt x="47" y="96"/>
                    </a:cubicBezTo>
                    <a:cubicBezTo>
                      <a:pt x="49" y="96"/>
                      <a:pt x="49" y="96"/>
                      <a:pt x="49" y="96"/>
                    </a:cubicBezTo>
                    <a:cubicBezTo>
                      <a:pt x="50" y="94"/>
                      <a:pt x="50" y="94"/>
                      <a:pt x="50" y="94"/>
                    </a:cubicBezTo>
                    <a:cubicBezTo>
                      <a:pt x="47" y="95"/>
                      <a:pt x="47" y="95"/>
                      <a:pt x="47" y="95"/>
                    </a:cubicBezTo>
                    <a:cubicBezTo>
                      <a:pt x="45" y="99"/>
                      <a:pt x="45" y="99"/>
                      <a:pt x="45" y="99"/>
                    </a:cubicBezTo>
                    <a:cubicBezTo>
                      <a:pt x="42" y="95"/>
                      <a:pt x="42" y="95"/>
                      <a:pt x="42" y="95"/>
                    </a:cubicBezTo>
                    <a:cubicBezTo>
                      <a:pt x="44" y="89"/>
                      <a:pt x="44" y="89"/>
                      <a:pt x="44" y="89"/>
                    </a:cubicBezTo>
                    <a:cubicBezTo>
                      <a:pt x="44" y="88"/>
                      <a:pt x="44" y="88"/>
                      <a:pt x="44" y="88"/>
                    </a:cubicBezTo>
                    <a:cubicBezTo>
                      <a:pt x="43" y="86"/>
                      <a:pt x="43" y="86"/>
                      <a:pt x="43" y="86"/>
                    </a:cubicBezTo>
                    <a:cubicBezTo>
                      <a:pt x="43" y="88"/>
                      <a:pt x="43" y="88"/>
                      <a:pt x="43" y="88"/>
                    </a:cubicBezTo>
                    <a:cubicBezTo>
                      <a:pt x="42" y="91"/>
                      <a:pt x="42" y="91"/>
                      <a:pt x="42" y="91"/>
                    </a:cubicBezTo>
                    <a:cubicBezTo>
                      <a:pt x="42" y="94"/>
                      <a:pt x="42" y="94"/>
                      <a:pt x="42" y="94"/>
                    </a:cubicBezTo>
                    <a:cubicBezTo>
                      <a:pt x="40" y="94"/>
                      <a:pt x="40" y="94"/>
                      <a:pt x="40" y="94"/>
                    </a:cubicBezTo>
                    <a:cubicBezTo>
                      <a:pt x="43" y="99"/>
                      <a:pt x="43" y="99"/>
                      <a:pt x="43" y="99"/>
                    </a:cubicBezTo>
                    <a:cubicBezTo>
                      <a:pt x="42" y="102"/>
                      <a:pt x="42" y="102"/>
                      <a:pt x="42" y="102"/>
                    </a:cubicBezTo>
                    <a:cubicBezTo>
                      <a:pt x="40" y="103"/>
                      <a:pt x="40" y="103"/>
                      <a:pt x="40" y="103"/>
                    </a:cubicBezTo>
                    <a:cubicBezTo>
                      <a:pt x="40" y="103"/>
                      <a:pt x="40" y="103"/>
                      <a:pt x="40" y="103"/>
                    </a:cubicBezTo>
                    <a:cubicBezTo>
                      <a:pt x="37" y="101"/>
                      <a:pt x="37" y="101"/>
                      <a:pt x="37" y="101"/>
                    </a:cubicBezTo>
                    <a:cubicBezTo>
                      <a:pt x="36" y="102"/>
                      <a:pt x="36" y="102"/>
                      <a:pt x="36" y="102"/>
                    </a:cubicBezTo>
                    <a:cubicBezTo>
                      <a:pt x="35" y="104"/>
                      <a:pt x="35" y="104"/>
                      <a:pt x="35" y="104"/>
                    </a:cubicBezTo>
                    <a:cubicBezTo>
                      <a:pt x="33" y="104"/>
                      <a:pt x="33" y="104"/>
                      <a:pt x="33" y="104"/>
                    </a:cubicBezTo>
                    <a:cubicBezTo>
                      <a:pt x="32" y="103"/>
                      <a:pt x="32" y="103"/>
                      <a:pt x="32" y="103"/>
                    </a:cubicBezTo>
                    <a:cubicBezTo>
                      <a:pt x="30" y="99"/>
                      <a:pt x="30" y="99"/>
                      <a:pt x="30" y="99"/>
                    </a:cubicBezTo>
                    <a:cubicBezTo>
                      <a:pt x="29" y="100"/>
                      <a:pt x="29" y="100"/>
                      <a:pt x="29" y="100"/>
                    </a:cubicBezTo>
                    <a:cubicBezTo>
                      <a:pt x="28" y="94"/>
                      <a:pt x="28" y="94"/>
                      <a:pt x="28" y="94"/>
                    </a:cubicBezTo>
                    <a:cubicBezTo>
                      <a:pt x="27" y="91"/>
                      <a:pt x="27" y="91"/>
                      <a:pt x="27" y="91"/>
                    </a:cubicBezTo>
                    <a:cubicBezTo>
                      <a:pt x="27" y="86"/>
                      <a:pt x="27" y="86"/>
                      <a:pt x="27" y="86"/>
                    </a:cubicBezTo>
                    <a:cubicBezTo>
                      <a:pt x="21" y="78"/>
                      <a:pt x="21" y="78"/>
                      <a:pt x="21" y="78"/>
                    </a:cubicBezTo>
                    <a:cubicBezTo>
                      <a:pt x="20" y="72"/>
                      <a:pt x="20" y="72"/>
                      <a:pt x="20" y="72"/>
                    </a:cubicBezTo>
                    <a:cubicBezTo>
                      <a:pt x="21" y="69"/>
                      <a:pt x="21" y="69"/>
                      <a:pt x="21" y="69"/>
                    </a:cubicBezTo>
                    <a:cubicBezTo>
                      <a:pt x="19" y="64"/>
                      <a:pt x="19" y="64"/>
                      <a:pt x="19" y="64"/>
                    </a:cubicBezTo>
                    <a:cubicBezTo>
                      <a:pt x="19" y="58"/>
                      <a:pt x="19" y="58"/>
                      <a:pt x="19" y="58"/>
                    </a:cubicBezTo>
                    <a:cubicBezTo>
                      <a:pt x="14" y="53"/>
                      <a:pt x="14" y="53"/>
                      <a:pt x="14" y="53"/>
                    </a:cubicBezTo>
                    <a:cubicBezTo>
                      <a:pt x="9" y="51"/>
                      <a:pt x="9" y="51"/>
                      <a:pt x="9" y="51"/>
                    </a:cubicBezTo>
                    <a:cubicBezTo>
                      <a:pt x="5" y="46"/>
                      <a:pt x="5" y="46"/>
                      <a:pt x="5" y="46"/>
                    </a:cubicBezTo>
                    <a:cubicBezTo>
                      <a:pt x="5" y="38"/>
                      <a:pt x="5" y="38"/>
                      <a:pt x="5" y="38"/>
                    </a:cubicBezTo>
                    <a:cubicBezTo>
                      <a:pt x="9" y="38"/>
                      <a:pt x="9" y="38"/>
                      <a:pt x="9" y="38"/>
                    </a:cubicBezTo>
                    <a:cubicBezTo>
                      <a:pt x="10" y="33"/>
                      <a:pt x="10" y="33"/>
                      <a:pt x="10" y="33"/>
                    </a:cubicBezTo>
                    <a:cubicBezTo>
                      <a:pt x="13" y="31"/>
                      <a:pt x="13" y="31"/>
                      <a:pt x="13" y="31"/>
                    </a:cubicBezTo>
                    <a:cubicBezTo>
                      <a:pt x="16" y="32"/>
                      <a:pt x="16" y="32"/>
                      <a:pt x="16" y="32"/>
                    </a:cubicBezTo>
                    <a:cubicBezTo>
                      <a:pt x="18" y="30"/>
                      <a:pt x="18" y="30"/>
                      <a:pt x="18" y="30"/>
                    </a:cubicBezTo>
                    <a:cubicBezTo>
                      <a:pt x="17" y="25"/>
                      <a:pt x="17" y="25"/>
                      <a:pt x="17" y="25"/>
                    </a:cubicBezTo>
                    <a:cubicBezTo>
                      <a:pt x="18" y="23"/>
                      <a:pt x="18" y="23"/>
                      <a:pt x="18" y="23"/>
                    </a:cubicBezTo>
                    <a:cubicBezTo>
                      <a:pt x="13" y="23"/>
                      <a:pt x="13" y="23"/>
                      <a:pt x="13" y="23"/>
                    </a:cubicBezTo>
                    <a:cubicBezTo>
                      <a:pt x="9" y="24"/>
                      <a:pt x="9" y="24"/>
                      <a:pt x="9" y="24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1" y="16"/>
                      <a:pt x="1" y="16"/>
                      <a:pt x="1" y="16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6" y="7"/>
                      <a:pt x="6" y="7"/>
                      <a:pt x="6" y="7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11" y="6"/>
                      <a:pt x="11" y="6"/>
                      <a:pt x="11" y="6"/>
                    </a:cubicBezTo>
                    <a:cubicBezTo>
                      <a:pt x="11" y="8"/>
                      <a:pt x="11" y="8"/>
                      <a:pt x="11" y="8"/>
                    </a:cubicBezTo>
                    <a:cubicBezTo>
                      <a:pt x="14" y="11"/>
                      <a:pt x="14" y="11"/>
                      <a:pt x="14" y="11"/>
                    </a:cubicBezTo>
                    <a:cubicBezTo>
                      <a:pt x="18" y="11"/>
                      <a:pt x="18" y="11"/>
                      <a:pt x="18" y="11"/>
                    </a:cubicBezTo>
                    <a:cubicBezTo>
                      <a:pt x="20" y="10"/>
                      <a:pt x="20" y="10"/>
                      <a:pt x="20" y="10"/>
                    </a:cubicBezTo>
                    <a:cubicBezTo>
                      <a:pt x="17" y="9"/>
                      <a:pt x="17" y="9"/>
                      <a:pt x="17" y="9"/>
                    </a:cubicBezTo>
                    <a:cubicBezTo>
                      <a:pt x="18" y="7"/>
                      <a:pt x="18" y="7"/>
                      <a:pt x="18" y="7"/>
                    </a:cubicBezTo>
                    <a:cubicBezTo>
                      <a:pt x="20" y="7"/>
                      <a:pt x="20" y="7"/>
                      <a:pt x="20" y="7"/>
                    </a:cubicBezTo>
                    <a:cubicBezTo>
                      <a:pt x="22" y="9"/>
                      <a:pt x="22" y="9"/>
                      <a:pt x="22" y="9"/>
                    </a:cubicBezTo>
                    <a:cubicBezTo>
                      <a:pt x="24" y="11"/>
                      <a:pt x="24" y="11"/>
                      <a:pt x="24" y="11"/>
                    </a:cubicBezTo>
                    <a:cubicBezTo>
                      <a:pt x="28" y="12"/>
                      <a:pt x="28" y="12"/>
                      <a:pt x="28" y="12"/>
                    </a:cubicBezTo>
                    <a:cubicBezTo>
                      <a:pt x="28" y="11"/>
                      <a:pt x="28" y="11"/>
                      <a:pt x="28" y="11"/>
                    </a:cubicBezTo>
                    <a:cubicBezTo>
                      <a:pt x="30" y="10"/>
                      <a:pt x="30" y="10"/>
                      <a:pt x="30" y="10"/>
                    </a:cubicBezTo>
                    <a:cubicBezTo>
                      <a:pt x="33" y="15"/>
                      <a:pt x="33" y="15"/>
                      <a:pt x="33" y="15"/>
                    </a:cubicBezTo>
                    <a:cubicBezTo>
                      <a:pt x="34" y="19"/>
                      <a:pt x="34" y="19"/>
                      <a:pt x="34" y="19"/>
                    </a:cubicBezTo>
                    <a:cubicBezTo>
                      <a:pt x="34" y="22"/>
                      <a:pt x="34" y="22"/>
                      <a:pt x="34" y="22"/>
                    </a:cubicBezTo>
                    <a:cubicBezTo>
                      <a:pt x="36" y="26"/>
                      <a:pt x="36" y="26"/>
                      <a:pt x="36" y="26"/>
                    </a:cubicBezTo>
                    <a:cubicBezTo>
                      <a:pt x="36" y="28"/>
                      <a:pt x="36" y="28"/>
                      <a:pt x="36" y="28"/>
                    </a:cubicBezTo>
                    <a:cubicBezTo>
                      <a:pt x="39" y="30"/>
                      <a:pt x="39" y="30"/>
                      <a:pt x="39" y="30"/>
                    </a:cubicBezTo>
                    <a:cubicBezTo>
                      <a:pt x="43" y="29"/>
                      <a:pt x="43" y="29"/>
                      <a:pt x="43" y="29"/>
                    </a:cubicBezTo>
                    <a:cubicBezTo>
                      <a:pt x="47" y="31"/>
                      <a:pt x="47" y="31"/>
                      <a:pt x="47" y="31"/>
                    </a:cubicBezTo>
                    <a:cubicBezTo>
                      <a:pt x="52" y="31"/>
                      <a:pt x="52" y="31"/>
                      <a:pt x="52" y="31"/>
                    </a:cubicBezTo>
                    <a:cubicBezTo>
                      <a:pt x="60" y="31"/>
                      <a:pt x="60" y="31"/>
                      <a:pt x="60" y="31"/>
                    </a:cubicBezTo>
                    <a:cubicBezTo>
                      <a:pt x="65" y="31"/>
                      <a:pt x="65" y="31"/>
                      <a:pt x="65" y="31"/>
                    </a:cubicBezTo>
                    <a:cubicBezTo>
                      <a:pt x="72" y="31"/>
                      <a:pt x="72" y="31"/>
                      <a:pt x="72" y="31"/>
                    </a:cubicBezTo>
                    <a:cubicBezTo>
                      <a:pt x="75" y="31"/>
                      <a:pt x="75" y="31"/>
                      <a:pt x="75" y="31"/>
                    </a:cubicBezTo>
                    <a:cubicBezTo>
                      <a:pt x="76" y="32"/>
                      <a:pt x="76" y="32"/>
                      <a:pt x="76" y="32"/>
                    </a:cubicBezTo>
                    <a:cubicBezTo>
                      <a:pt x="79" y="31"/>
                      <a:pt x="79" y="31"/>
                      <a:pt x="79" y="31"/>
                    </a:cubicBezTo>
                    <a:cubicBezTo>
                      <a:pt x="82" y="35"/>
                      <a:pt x="82" y="35"/>
                      <a:pt x="82" y="35"/>
                    </a:cubicBezTo>
                    <a:cubicBezTo>
                      <a:pt x="84" y="35"/>
                      <a:pt x="84" y="35"/>
                      <a:pt x="84" y="35"/>
                    </a:cubicBezTo>
                    <a:cubicBezTo>
                      <a:pt x="82" y="39"/>
                      <a:pt x="82" y="39"/>
                      <a:pt x="82" y="39"/>
                    </a:cubicBezTo>
                    <a:cubicBezTo>
                      <a:pt x="81" y="44"/>
                      <a:pt x="81" y="44"/>
                      <a:pt x="81" y="44"/>
                    </a:cubicBezTo>
                    <a:cubicBezTo>
                      <a:pt x="79" y="50"/>
                      <a:pt x="79" y="50"/>
                      <a:pt x="79" y="50"/>
                    </a:cubicBezTo>
                    <a:cubicBezTo>
                      <a:pt x="76" y="51"/>
                      <a:pt x="76" y="51"/>
                      <a:pt x="76" y="51"/>
                    </a:cubicBezTo>
                    <a:cubicBezTo>
                      <a:pt x="76" y="54"/>
                      <a:pt x="76" y="54"/>
                      <a:pt x="76" y="54"/>
                    </a:cubicBezTo>
                    <a:cubicBezTo>
                      <a:pt x="75" y="55"/>
                      <a:pt x="75" y="55"/>
                      <a:pt x="75" y="55"/>
                    </a:cubicBezTo>
                    <a:cubicBezTo>
                      <a:pt x="73" y="55"/>
                      <a:pt x="73" y="55"/>
                      <a:pt x="73" y="55"/>
                    </a:cubicBezTo>
                    <a:cubicBezTo>
                      <a:pt x="71" y="54"/>
                      <a:pt x="71" y="54"/>
                      <a:pt x="71" y="54"/>
                    </a:cubicBezTo>
                    <a:cubicBezTo>
                      <a:pt x="68" y="56"/>
                      <a:pt x="68" y="56"/>
                      <a:pt x="68" y="56"/>
                    </a:cubicBezTo>
                    <a:cubicBezTo>
                      <a:pt x="67" y="59"/>
                      <a:pt x="67" y="59"/>
                      <a:pt x="67" y="59"/>
                    </a:cubicBezTo>
                    <a:cubicBezTo>
                      <a:pt x="65" y="60"/>
                      <a:pt x="65" y="60"/>
                      <a:pt x="65" y="60"/>
                    </a:cubicBezTo>
                    <a:cubicBezTo>
                      <a:pt x="65" y="62"/>
                      <a:pt x="65" y="62"/>
                      <a:pt x="65" y="62"/>
                    </a:cubicBezTo>
                    <a:cubicBezTo>
                      <a:pt x="67" y="67"/>
                      <a:pt x="67" y="67"/>
                      <a:pt x="67" y="67"/>
                    </a:cubicBezTo>
                    <a:cubicBezTo>
                      <a:pt x="69" y="69"/>
                      <a:pt x="69" y="69"/>
                      <a:pt x="69" y="69"/>
                    </a:cubicBezTo>
                    <a:cubicBezTo>
                      <a:pt x="70" y="71"/>
                      <a:pt x="70" y="71"/>
                      <a:pt x="70" y="71"/>
                    </a:cubicBezTo>
                    <a:cubicBezTo>
                      <a:pt x="73" y="73"/>
                      <a:pt x="73" y="73"/>
                      <a:pt x="73" y="73"/>
                    </a:cubicBezTo>
                    <a:cubicBezTo>
                      <a:pt x="76" y="77"/>
                      <a:pt x="76" y="77"/>
                      <a:pt x="76" y="77"/>
                    </a:cubicBezTo>
                    <a:cubicBezTo>
                      <a:pt x="78" y="77"/>
                      <a:pt x="78" y="77"/>
                      <a:pt x="78" y="77"/>
                    </a:cubicBezTo>
                    <a:cubicBezTo>
                      <a:pt x="78" y="74"/>
                      <a:pt x="78" y="74"/>
                      <a:pt x="78" y="74"/>
                    </a:cubicBezTo>
                    <a:cubicBezTo>
                      <a:pt x="77" y="73"/>
                      <a:pt x="77" y="73"/>
                      <a:pt x="77" y="73"/>
                    </a:cubicBezTo>
                    <a:cubicBezTo>
                      <a:pt x="79" y="70"/>
                      <a:pt x="79" y="70"/>
                      <a:pt x="79" y="70"/>
                    </a:cubicBezTo>
                    <a:cubicBezTo>
                      <a:pt x="79" y="68"/>
                      <a:pt x="79" y="68"/>
                      <a:pt x="79" y="68"/>
                    </a:cubicBezTo>
                    <a:cubicBezTo>
                      <a:pt x="80" y="67"/>
                      <a:pt x="80" y="67"/>
                      <a:pt x="80" y="67"/>
                    </a:cubicBezTo>
                    <a:cubicBezTo>
                      <a:pt x="79" y="65"/>
                      <a:pt x="79" y="65"/>
                      <a:pt x="79" y="65"/>
                    </a:cubicBezTo>
                    <a:cubicBezTo>
                      <a:pt x="81" y="64"/>
                      <a:pt x="81" y="64"/>
                      <a:pt x="81" y="64"/>
                    </a:cubicBezTo>
                    <a:cubicBezTo>
                      <a:pt x="83" y="65"/>
                      <a:pt x="83" y="65"/>
                      <a:pt x="83" y="65"/>
                    </a:cubicBezTo>
                    <a:cubicBezTo>
                      <a:pt x="87" y="65"/>
                      <a:pt x="87" y="65"/>
                      <a:pt x="87" y="65"/>
                    </a:cubicBezTo>
                    <a:cubicBezTo>
                      <a:pt x="88" y="67"/>
                      <a:pt x="88" y="67"/>
                      <a:pt x="88" y="67"/>
                    </a:cubicBezTo>
                    <a:cubicBezTo>
                      <a:pt x="89" y="69"/>
                      <a:pt x="89" y="69"/>
                      <a:pt x="89" y="69"/>
                    </a:cubicBezTo>
                    <a:cubicBezTo>
                      <a:pt x="91" y="75"/>
                      <a:pt x="91" y="75"/>
                      <a:pt x="91" y="75"/>
                    </a:cubicBezTo>
                    <a:cubicBezTo>
                      <a:pt x="91" y="78"/>
                      <a:pt x="91" y="78"/>
                      <a:pt x="91" y="78"/>
                    </a:cubicBezTo>
                    <a:cubicBezTo>
                      <a:pt x="92" y="81"/>
                      <a:pt x="92" y="81"/>
                      <a:pt x="92" y="81"/>
                    </a:cubicBezTo>
                    <a:cubicBezTo>
                      <a:pt x="93" y="89"/>
                      <a:pt x="93" y="89"/>
                      <a:pt x="93" y="89"/>
                    </a:cubicBezTo>
                    <a:cubicBezTo>
                      <a:pt x="95" y="94"/>
                      <a:pt x="95" y="94"/>
                      <a:pt x="95" y="94"/>
                    </a:cubicBezTo>
                    <a:cubicBezTo>
                      <a:pt x="96" y="97"/>
                      <a:pt x="96" y="97"/>
                      <a:pt x="96" y="97"/>
                    </a:cubicBezTo>
                    <a:cubicBezTo>
                      <a:pt x="97" y="98"/>
                      <a:pt x="97" y="98"/>
                      <a:pt x="97" y="98"/>
                    </a:cubicBezTo>
                    <a:cubicBezTo>
                      <a:pt x="97" y="100"/>
                      <a:pt x="97" y="100"/>
                      <a:pt x="97" y="100"/>
                    </a:cubicBezTo>
                    <a:cubicBezTo>
                      <a:pt x="98" y="101"/>
                      <a:pt x="98" y="101"/>
                      <a:pt x="98" y="101"/>
                    </a:cubicBezTo>
                    <a:cubicBezTo>
                      <a:pt x="99" y="102"/>
                      <a:pt x="99" y="102"/>
                      <a:pt x="99" y="102"/>
                    </a:cubicBezTo>
                    <a:close/>
                    <a:moveTo>
                      <a:pt x="73" y="87"/>
                    </a:moveTo>
                    <a:cubicBezTo>
                      <a:pt x="71" y="86"/>
                      <a:pt x="71" y="86"/>
                      <a:pt x="71" y="86"/>
                    </a:cubicBezTo>
                    <a:cubicBezTo>
                      <a:pt x="70" y="87"/>
                      <a:pt x="70" y="87"/>
                      <a:pt x="70" y="87"/>
                    </a:cubicBezTo>
                    <a:cubicBezTo>
                      <a:pt x="70" y="91"/>
                      <a:pt x="70" y="91"/>
                      <a:pt x="70" y="91"/>
                    </a:cubicBezTo>
                    <a:cubicBezTo>
                      <a:pt x="72" y="90"/>
                      <a:pt x="72" y="90"/>
                      <a:pt x="72" y="90"/>
                    </a:cubicBezTo>
                    <a:cubicBezTo>
                      <a:pt x="73" y="87"/>
                      <a:pt x="73" y="87"/>
                      <a:pt x="73" y="87"/>
                    </a:cubicBezTo>
                    <a:close/>
                    <a:moveTo>
                      <a:pt x="63" y="86"/>
                    </a:moveTo>
                    <a:cubicBezTo>
                      <a:pt x="65" y="90"/>
                      <a:pt x="65" y="90"/>
                      <a:pt x="65" y="90"/>
                    </a:cubicBezTo>
                    <a:cubicBezTo>
                      <a:pt x="64" y="93"/>
                      <a:pt x="64" y="93"/>
                      <a:pt x="64" y="93"/>
                    </a:cubicBezTo>
                    <a:cubicBezTo>
                      <a:pt x="66" y="96"/>
                      <a:pt x="66" y="96"/>
                      <a:pt x="66" y="96"/>
                    </a:cubicBezTo>
                    <a:cubicBezTo>
                      <a:pt x="68" y="91"/>
                      <a:pt x="68" y="91"/>
                      <a:pt x="68" y="91"/>
                    </a:cubicBezTo>
                    <a:cubicBezTo>
                      <a:pt x="67" y="88"/>
                      <a:pt x="67" y="88"/>
                      <a:pt x="67" y="88"/>
                    </a:cubicBezTo>
                    <a:cubicBezTo>
                      <a:pt x="63" y="84"/>
                      <a:pt x="63" y="84"/>
                      <a:pt x="63" y="84"/>
                    </a:cubicBezTo>
                    <a:cubicBezTo>
                      <a:pt x="63" y="86"/>
                      <a:pt x="63" y="86"/>
                      <a:pt x="63" y="86"/>
                    </a:cubicBezTo>
                    <a:close/>
                    <a:moveTo>
                      <a:pt x="59" y="84"/>
                    </a:moveTo>
                    <a:cubicBezTo>
                      <a:pt x="55" y="85"/>
                      <a:pt x="55" y="85"/>
                      <a:pt x="55" y="85"/>
                    </a:cubicBezTo>
                    <a:cubicBezTo>
                      <a:pt x="55" y="87"/>
                      <a:pt x="55" y="87"/>
                      <a:pt x="55" y="87"/>
                    </a:cubicBezTo>
                    <a:cubicBezTo>
                      <a:pt x="58" y="92"/>
                      <a:pt x="58" y="92"/>
                      <a:pt x="58" y="92"/>
                    </a:cubicBezTo>
                    <a:cubicBezTo>
                      <a:pt x="61" y="92"/>
                      <a:pt x="61" y="92"/>
                      <a:pt x="61" y="92"/>
                    </a:cubicBezTo>
                    <a:cubicBezTo>
                      <a:pt x="61" y="87"/>
                      <a:pt x="61" y="87"/>
                      <a:pt x="61" y="87"/>
                    </a:cubicBezTo>
                    <a:lnTo>
                      <a:pt x="59" y="84"/>
                    </a:ln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009" name="Freeform 11"/>
              <p:cNvSpPr>
                <a:spLocks/>
              </p:cNvSpPr>
              <p:nvPr userDrawn="1"/>
            </p:nvSpPr>
            <p:spPr bwMode="auto">
              <a:xfrm>
                <a:off x="4561" y="2223"/>
                <a:ext cx="256" cy="271"/>
              </a:xfrm>
              <a:custGeom>
                <a:avLst/>
                <a:gdLst>
                  <a:gd name="T0" fmla="*/ 154 w 256"/>
                  <a:gd name="T1" fmla="*/ 262 h 271"/>
                  <a:gd name="T2" fmla="*/ 174 w 256"/>
                  <a:gd name="T3" fmla="*/ 257 h 271"/>
                  <a:gd name="T4" fmla="*/ 185 w 256"/>
                  <a:gd name="T5" fmla="*/ 255 h 271"/>
                  <a:gd name="T6" fmla="*/ 194 w 256"/>
                  <a:gd name="T7" fmla="*/ 251 h 271"/>
                  <a:gd name="T8" fmla="*/ 187 w 256"/>
                  <a:gd name="T9" fmla="*/ 231 h 271"/>
                  <a:gd name="T10" fmla="*/ 175 w 256"/>
                  <a:gd name="T11" fmla="*/ 218 h 271"/>
                  <a:gd name="T12" fmla="*/ 166 w 256"/>
                  <a:gd name="T13" fmla="*/ 210 h 271"/>
                  <a:gd name="T14" fmla="*/ 162 w 256"/>
                  <a:gd name="T15" fmla="*/ 196 h 271"/>
                  <a:gd name="T16" fmla="*/ 174 w 256"/>
                  <a:gd name="T17" fmla="*/ 184 h 271"/>
                  <a:gd name="T18" fmla="*/ 183 w 256"/>
                  <a:gd name="T19" fmla="*/ 188 h 271"/>
                  <a:gd name="T20" fmla="*/ 210 w 256"/>
                  <a:gd name="T21" fmla="*/ 168 h 271"/>
                  <a:gd name="T22" fmla="*/ 225 w 256"/>
                  <a:gd name="T23" fmla="*/ 147 h 271"/>
                  <a:gd name="T24" fmla="*/ 230 w 256"/>
                  <a:gd name="T25" fmla="*/ 134 h 271"/>
                  <a:gd name="T26" fmla="*/ 241 w 256"/>
                  <a:gd name="T27" fmla="*/ 113 h 271"/>
                  <a:gd name="T28" fmla="*/ 246 w 256"/>
                  <a:gd name="T29" fmla="*/ 99 h 271"/>
                  <a:gd name="T30" fmla="*/ 256 w 256"/>
                  <a:gd name="T31" fmla="*/ 89 h 271"/>
                  <a:gd name="T32" fmla="*/ 239 w 256"/>
                  <a:gd name="T33" fmla="*/ 84 h 271"/>
                  <a:gd name="T34" fmla="*/ 218 w 256"/>
                  <a:gd name="T35" fmla="*/ 69 h 271"/>
                  <a:gd name="T36" fmla="*/ 215 w 256"/>
                  <a:gd name="T37" fmla="*/ 45 h 271"/>
                  <a:gd name="T38" fmla="*/ 215 w 256"/>
                  <a:gd name="T39" fmla="*/ 32 h 271"/>
                  <a:gd name="T40" fmla="*/ 199 w 256"/>
                  <a:gd name="T41" fmla="*/ 18 h 271"/>
                  <a:gd name="T42" fmla="*/ 190 w 256"/>
                  <a:gd name="T43" fmla="*/ 10 h 271"/>
                  <a:gd name="T44" fmla="*/ 188 w 256"/>
                  <a:gd name="T45" fmla="*/ 0 h 271"/>
                  <a:gd name="T46" fmla="*/ 170 w 256"/>
                  <a:gd name="T47" fmla="*/ 12 h 271"/>
                  <a:gd name="T48" fmla="*/ 166 w 256"/>
                  <a:gd name="T49" fmla="*/ 44 h 271"/>
                  <a:gd name="T50" fmla="*/ 158 w 256"/>
                  <a:gd name="T51" fmla="*/ 61 h 271"/>
                  <a:gd name="T52" fmla="*/ 154 w 256"/>
                  <a:gd name="T53" fmla="*/ 67 h 271"/>
                  <a:gd name="T54" fmla="*/ 147 w 256"/>
                  <a:gd name="T55" fmla="*/ 78 h 271"/>
                  <a:gd name="T56" fmla="*/ 143 w 256"/>
                  <a:gd name="T57" fmla="*/ 93 h 271"/>
                  <a:gd name="T58" fmla="*/ 135 w 256"/>
                  <a:gd name="T59" fmla="*/ 104 h 271"/>
                  <a:gd name="T60" fmla="*/ 127 w 256"/>
                  <a:gd name="T61" fmla="*/ 105 h 271"/>
                  <a:gd name="T62" fmla="*/ 117 w 256"/>
                  <a:gd name="T63" fmla="*/ 113 h 271"/>
                  <a:gd name="T64" fmla="*/ 102 w 256"/>
                  <a:gd name="T65" fmla="*/ 118 h 271"/>
                  <a:gd name="T66" fmla="*/ 93 w 256"/>
                  <a:gd name="T67" fmla="*/ 128 h 271"/>
                  <a:gd name="T68" fmla="*/ 96 w 256"/>
                  <a:gd name="T69" fmla="*/ 146 h 271"/>
                  <a:gd name="T70" fmla="*/ 76 w 256"/>
                  <a:gd name="T71" fmla="*/ 152 h 271"/>
                  <a:gd name="T72" fmla="*/ 52 w 256"/>
                  <a:gd name="T73" fmla="*/ 156 h 271"/>
                  <a:gd name="T74" fmla="*/ 0 w 256"/>
                  <a:gd name="T75" fmla="*/ 151 h 271"/>
                  <a:gd name="T76" fmla="*/ 21 w 256"/>
                  <a:gd name="T77" fmla="*/ 175 h 271"/>
                  <a:gd name="T78" fmla="*/ 32 w 256"/>
                  <a:gd name="T79" fmla="*/ 181 h 271"/>
                  <a:gd name="T80" fmla="*/ 39 w 256"/>
                  <a:gd name="T81" fmla="*/ 196 h 271"/>
                  <a:gd name="T82" fmla="*/ 49 w 256"/>
                  <a:gd name="T83" fmla="*/ 209 h 271"/>
                  <a:gd name="T84" fmla="*/ 31 w 256"/>
                  <a:gd name="T85" fmla="*/ 214 h 271"/>
                  <a:gd name="T86" fmla="*/ 23 w 256"/>
                  <a:gd name="T87" fmla="*/ 227 h 271"/>
                  <a:gd name="T88" fmla="*/ 26 w 256"/>
                  <a:gd name="T89" fmla="*/ 240 h 271"/>
                  <a:gd name="T90" fmla="*/ 36 w 256"/>
                  <a:gd name="T91" fmla="*/ 240 h 271"/>
                  <a:gd name="T92" fmla="*/ 45 w 256"/>
                  <a:gd name="T93" fmla="*/ 239 h 271"/>
                  <a:gd name="T94" fmla="*/ 54 w 256"/>
                  <a:gd name="T95" fmla="*/ 239 h 271"/>
                  <a:gd name="T96" fmla="*/ 62 w 256"/>
                  <a:gd name="T97" fmla="*/ 237 h 271"/>
                  <a:gd name="T98" fmla="*/ 69 w 256"/>
                  <a:gd name="T99" fmla="*/ 238 h 271"/>
                  <a:gd name="T100" fmla="*/ 83 w 256"/>
                  <a:gd name="T101" fmla="*/ 236 h 271"/>
                  <a:gd name="T102" fmla="*/ 92 w 256"/>
                  <a:gd name="T103" fmla="*/ 235 h 271"/>
                  <a:gd name="T104" fmla="*/ 109 w 256"/>
                  <a:gd name="T105" fmla="*/ 235 h 271"/>
                  <a:gd name="T106" fmla="*/ 114 w 256"/>
                  <a:gd name="T107" fmla="*/ 244 h 271"/>
                  <a:gd name="T108" fmla="*/ 122 w 256"/>
                  <a:gd name="T109" fmla="*/ 244 h 271"/>
                  <a:gd name="T110" fmla="*/ 128 w 256"/>
                  <a:gd name="T111" fmla="*/ 259 h 271"/>
                  <a:gd name="T112" fmla="*/ 129 w 256"/>
                  <a:gd name="T113" fmla="*/ 262 h 271"/>
                  <a:gd name="T114" fmla="*/ 145 w 256"/>
                  <a:gd name="T115" fmla="*/ 269 h 2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256" h="271">
                    <a:moveTo>
                      <a:pt x="148" y="270"/>
                    </a:moveTo>
                    <a:lnTo>
                      <a:pt x="148" y="265"/>
                    </a:lnTo>
                    <a:lnTo>
                      <a:pt x="152" y="262"/>
                    </a:lnTo>
                    <a:lnTo>
                      <a:pt x="154" y="262"/>
                    </a:lnTo>
                    <a:lnTo>
                      <a:pt x="156" y="257"/>
                    </a:lnTo>
                    <a:lnTo>
                      <a:pt x="158" y="258"/>
                    </a:lnTo>
                    <a:lnTo>
                      <a:pt x="161" y="257"/>
                    </a:lnTo>
                    <a:lnTo>
                      <a:pt x="174" y="257"/>
                    </a:lnTo>
                    <a:lnTo>
                      <a:pt x="181" y="255"/>
                    </a:lnTo>
                    <a:lnTo>
                      <a:pt x="182" y="253"/>
                    </a:lnTo>
                    <a:lnTo>
                      <a:pt x="187" y="252"/>
                    </a:lnTo>
                    <a:lnTo>
                      <a:pt x="185" y="255"/>
                    </a:lnTo>
                    <a:lnTo>
                      <a:pt x="187" y="257"/>
                    </a:lnTo>
                    <a:lnTo>
                      <a:pt x="191" y="254"/>
                    </a:lnTo>
                    <a:lnTo>
                      <a:pt x="195" y="253"/>
                    </a:lnTo>
                    <a:lnTo>
                      <a:pt x="194" y="251"/>
                    </a:lnTo>
                    <a:lnTo>
                      <a:pt x="194" y="249"/>
                    </a:lnTo>
                    <a:lnTo>
                      <a:pt x="190" y="237"/>
                    </a:lnTo>
                    <a:lnTo>
                      <a:pt x="186" y="233"/>
                    </a:lnTo>
                    <a:lnTo>
                      <a:pt x="187" y="231"/>
                    </a:lnTo>
                    <a:lnTo>
                      <a:pt x="184" y="228"/>
                    </a:lnTo>
                    <a:lnTo>
                      <a:pt x="181" y="229"/>
                    </a:lnTo>
                    <a:lnTo>
                      <a:pt x="175" y="225"/>
                    </a:lnTo>
                    <a:lnTo>
                      <a:pt x="175" y="218"/>
                    </a:lnTo>
                    <a:lnTo>
                      <a:pt x="175" y="213"/>
                    </a:lnTo>
                    <a:lnTo>
                      <a:pt x="172" y="209"/>
                    </a:lnTo>
                    <a:lnTo>
                      <a:pt x="169" y="209"/>
                    </a:lnTo>
                    <a:lnTo>
                      <a:pt x="166" y="210"/>
                    </a:lnTo>
                    <a:lnTo>
                      <a:pt x="162" y="208"/>
                    </a:lnTo>
                    <a:lnTo>
                      <a:pt x="159" y="208"/>
                    </a:lnTo>
                    <a:lnTo>
                      <a:pt x="159" y="204"/>
                    </a:lnTo>
                    <a:lnTo>
                      <a:pt x="162" y="196"/>
                    </a:lnTo>
                    <a:lnTo>
                      <a:pt x="165" y="195"/>
                    </a:lnTo>
                    <a:lnTo>
                      <a:pt x="170" y="189"/>
                    </a:lnTo>
                    <a:lnTo>
                      <a:pt x="171" y="186"/>
                    </a:lnTo>
                    <a:lnTo>
                      <a:pt x="174" y="184"/>
                    </a:lnTo>
                    <a:lnTo>
                      <a:pt x="177" y="182"/>
                    </a:lnTo>
                    <a:lnTo>
                      <a:pt x="180" y="184"/>
                    </a:lnTo>
                    <a:lnTo>
                      <a:pt x="181" y="188"/>
                    </a:lnTo>
                    <a:lnTo>
                      <a:pt x="183" y="188"/>
                    </a:lnTo>
                    <a:lnTo>
                      <a:pt x="191" y="185"/>
                    </a:lnTo>
                    <a:lnTo>
                      <a:pt x="200" y="184"/>
                    </a:lnTo>
                    <a:lnTo>
                      <a:pt x="206" y="178"/>
                    </a:lnTo>
                    <a:lnTo>
                      <a:pt x="210" y="168"/>
                    </a:lnTo>
                    <a:lnTo>
                      <a:pt x="218" y="162"/>
                    </a:lnTo>
                    <a:lnTo>
                      <a:pt x="221" y="158"/>
                    </a:lnTo>
                    <a:lnTo>
                      <a:pt x="221" y="152"/>
                    </a:lnTo>
                    <a:lnTo>
                      <a:pt x="225" y="147"/>
                    </a:lnTo>
                    <a:lnTo>
                      <a:pt x="231" y="144"/>
                    </a:lnTo>
                    <a:lnTo>
                      <a:pt x="233" y="139"/>
                    </a:lnTo>
                    <a:lnTo>
                      <a:pt x="233" y="136"/>
                    </a:lnTo>
                    <a:lnTo>
                      <a:pt x="230" y="134"/>
                    </a:lnTo>
                    <a:lnTo>
                      <a:pt x="236" y="128"/>
                    </a:lnTo>
                    <a:lnTo>
                      <a:pt x="239" y="127"/>
                    </a:lnTo>
                    <a:lnTo>
                      <a:pt x="240" y="122"/>
                    </a:lnTo>
                    <a:lnTo>
                      <a:pt x="241" y="113"/>
                    </a:lnTo>
                    <a:lnTo>
                      <a:pt x="239" y="106"/>
                    </a:lnTo>
                    <a:lnTo>
                      <a:pt x="238" y="105"/>
                    </a:lnTo>
                    <a:lnTo>
                      <a:pt x="243" y="100"/>
                    </a:lnTo>
                    <a:lnTo>
                      <a:pt x="246" y="99"/>
                    </a:lnTo>
                    <a:lnTo>
                      <a:pt x="250" y="97"/>
                    </a:lnTo>
                    <a:lnTo>
                      <a:pt x="252" y="97"/>
                    </a:lnTo>
                    <a:lnTo>
                      <a:pt x="256" y="93"/>
                    </a:lnTo>
                    <a:lnTo>
                      <a:pt x="256" y="89"/>
                    </a:lnTo>
                    <a:lnTo>
                      <a:pt x="251" y="88"/>
                    </a:lnTo>
                    <a:lnTo>
                      <a:pt x="246" y="90"/>
                    </a:lnTo>
                    <a:lnTo>
                      <a:pt x="241" y="88"/>
                    </a:lnTo>
                    <a:lnTo>
                      <a:pt x="239" y="84"/>
                    </a:lnTo>
                    <a:lnTo>
                      <a:pt x="232" y="82"/>
                    </a:lnTo>
                    <a:lnTo>
                      <a:pt x="225" y="80"/>
                    </a:lnTo>
                    <a:lnTo>
                      <a:pt x="219" y="74"/>
                    </a:lnTo>
                    <a:lnTo>
                      <a:pt x="218" y="69"/>
                    </a:lnTo>
                    <a:lnTo>
                      <a:pt x="215" y="57"/>
                    </a:lnTo>
                    <a:lnTo>
                      <a:pt x="212" y="52"/>
                    </a:lnTo>
                    <a:lnTo>
                      <a:pt x="211" y="46"/>
                    </a:lnTo>
                    <a:lnTo>
                      <a:pt x="215" y="45"/>
                    </a:lnTo>
                    <a:lnTo>
                      <a:pt x="215" y="41"/>
                    </a:lnTo>
                    <a:lnTo>
                      <a:pt x="221" y="38"/>
                    </a:lnTo>
                    <a:lnTo>
                      <a:pt x="220" y="34"/>
                    </a:lnTo>
                    <a:lnTo>
                      <a:pt x="215" y="32"/>
                    </a:lnTo>
                    <a:lnTo>
                      <a:pt x="214" y="29"/>
                    </a:lnTo>
                    <a:lnTo>
                      <a:pt x="209" y="26"/>
                    </a:lnTo>
                    <a:lnTo>
                      <a:pt x="203" y="21"/>
                    </a:lnTo>
                    <a:lnTo>
                      <a:pt x="199" y="18"/>
                    </a:lnTo>
                    <a:lnTo>
                      <a:pt x="197" y="19"/>
                    </a:lnTo>
                    <a:lnTo>
                      <a:pt x="194" y="19"/>
                    </a:lnTo>
                    <a:lnTo>
                      <a:pt x="191" y="18"/>
                    </a:lnTo>
                    <a:lnTo>
                      <a:pt x="190" y="10"/>
                    </a:lnTo>
                    <a:lnTo>
                      <a:pt x="199" y="4"/>
                    </a:lnTo>
                    <a:lnTo>
                      <a:pt x="198" y="1"/>
                    </a:lnTo>
                    <a:lnTo>
                      <a:pt x="193" y="2"/>
                    </a:lnTo>
                    <a:lnTo>
                      <a:pt x="188" y="0"/>
                    </a:lnTo>
                    <a:lnTo>
                      <a:pt x="182" y="3"/>
                    </a:lnTo>
                    <a:lnTo>
                      <a:pt x="178" y="7"/>
                    </a:lnTo>
                    <a:lnTo>
                      <a:pt x="173" y="7"/>
                    </a:lnTo>
                    <a:lnTo>
                      <a:pt x="170" y="12"/>
                    </a:lnTo>
                    <a:lnTo>
                      <a:pt x="166" y="15"/>
                    </a:lnTo>
                    <a:lnTo>
                      <a:pt x="175" y="26"/>
                    </a:lnTo>
                    <a:lnTo>
                      <a:pt x="175" y="34"/>
                    </a:lnTo>
                    <a:lnTo>
                      <a:pt x="166" y="44"/>
                    </a:lnTo>
                    <a:lnTo>
                      <a:pt x="171" y="49"/>
                    </a:lnTo>
                    <a:lnTo>
                      <a:pt x="171" y="54"/>
                    </a:lnTo>
                    <a:lnTo>
                      <a:pt x="166" y="61"/>
                    </a:lnTo>
                    <a:lnTo>
                      <a:pt x="158" y="61"/>
                    </a:lnTo>
                    <a:lnTo>
                      <a:pt x="153" y="58"/>
                    </a:lnTo>
                    <a:lnTo>
                      <a:pt x="148" y="61"/>
                    </a:lnTo>
                    <a:lnTo>
                      <a:pt x="150" y="65"/>
                    </a:lnTo>
                    <a:lnTo>
                      <a:pt x="154" y="67"/>
                    </a:lnTo>
                    <a:lnTo>
                      <a:pt x="156" y="72"/>
                    </a:lnTo>
                    <a:lnTo>
                      <a:pt x="156" y="75"/>
                    </a:lnTo>
                    <a:lnTo>
                      <a:pt x="151" y="78"/>
                    </a:lnTo>
                    <a:lnTo>
                      <a:pt x="147" y="78"/>
                    </a:lnTo>
                    <a:lnTo>
                      <a:pt x="145" y="81"/>
                    </a:lnTo>
                    <a:lnTo>
                      <a:pt x="145" y="86"/>
                    </a:lnTo>
                    <a:lnTo>
                      <a:pt x="143" y="91"/>
                    </a:lnTo>
                    <a:lnTo>
                      <a:pt x="143" y="93"/>
                    </a:lnTo>
                    <a:lnTo>
                      <a:pt x="142" y="95"/>
                    </a:lnTo>
                    <a:lnTo>
                      <a:pt x="143" y="103"/>
                    </a:lnTo>
                    <a:lnTo>
                      <a:pt x="139" y="108"/>
                    </a:lnTo>
                    <a:lnTo>
                      <a:pt x="135" y="104"/>
                    </a:lnTo>
                    <a:lnTo>
                      <a:pt x="134" y="104"/>
                    </a:lnTo>
                    <a:lnTo>
                      <a:pt x="134" y="106"/>
                    </a:lnTo>
                    <a:lnTo>
                      <a:pt x="129" y="106"/>
                    </a:lnTo>
                    <a:lnTo>
                      <a:pt x="127" y="105"/>
                    </a:lnTo>
                    <a:lnTo>
                      <a:pt x="122" y="105"/>
                    </a:lnTo>
                    <a:lnTo>
                      <a:pt x="121" y="107"/>
                    </a:lnTo>
                    <a:lnTo>
                      <a:pt x="114" y="112"/>
                    </a:lnTo>
                    <a:lnTo>
                      <a:pt x="117" y="113"/>
                    </a:lnTo>
                    <a:lnTo>
                      <a:pt x="115" y="116"/>
                    </a:lnTo>
                    <a:lnTo>
                      <a:pt x="109" y="119"/>
                    </a:lnTo>
                    <a:lnTo>
                      <a:pt x="107" y="118"/>
                    </a:lnTo>
                    <a:lnTo>
                      <a:pt x="102" y="118"/>
                    </a:lnTo>
                    <a:lnTo>
                      <a:pt x="100" y="121"/>
                    </a:lnTo>
                    <a:lnTo>
                      <a:pt x="100" y="124"/>
                    </a:lnTo>
                    <a:lnTo>
                      <a:pt x="96" y="125"/>
                    </a:lnTo>
                    <a:lnTo>
                      <a:pt x="93" y="128"/>
                    </a:lnTo>
                    <a:lnTo>
                      <a:pt x="94" y="133"/>
                    </a:lnTo>
                    <a:lnTo>
                      <a:pt x="95" y="139"/>
                    </a:lnTo>
                    <a:lnTo>
                      <a:pt x="95" y="142"/>
                    </a:lnTo>
                    <a:lnTo>
                      <a:pt x="96" y="146"/>
                    </a:lnTo>
                    <a:lnTo>
                      <a:pt x="96" y="149"/>
                    </a:lnTo>
                    <a:lnTo>
                      <a:pt x="89" y="152"/>
                    </a:lnTo>
                    <a:lnTo>
                      <a:pt x="82" y="151"/>
                    </a:lnTo>
                    <a:lnTo>
                      <a:pt x="76" y="152"/>
                    </a:lnTo>
                    <a:lnTo>
                      <a:pt x="67" y="153"/>
                    </a:lnTo>
                    <a:lnTo>
                      <a:pt x="60" y="155"/>
                    </a:lnTo>
                    <a:lnTo>
                      <a:pt x="58" y="156"/>
                    </a:lnTo>
                    <a:lnTo>
                      <a:pt x="52" y="156"/>
                    </a:lnTo>
                    <a:lnTo>
                      <a:pt x="46" y="158"/>
                    </a:lnTo>
                    <a:lnTo>
                      <a:pt x="25" y="158"/>
                    </a:lnTo>
                    <a:lnTo>
                      <a:pt x="0" y="151"/>
                    </a:lnTo>
                    <a:lnTo>
                      <a:pt x="0" y="151"/>
                    </a:lnTo>
                    <a:lnTo>
                      <a:pt x="9" y="164"/>
                    </a:lnTo>
                    <a:lnTo>
                      <a:pt x="11" y="168"/>
                    </a:lnTo>
                    <a:lnTo>
                      <a:pt x="16" y="172"/>
                    </a:lnTo>
                    <a:lnTo>
                      <a:pt x="21" y="175"/>
                    </a:lnTo>
                    <a:lnTo>
                      <a:pt x="22" y="177"/>
                    </a:lnTo>
                    <a:lnTo>
                      <a:pt x="28" y="177"/>
                    </a:lnTo>
                    <a:lnTo>
                      <a:pt x="31" y="179"/>
                    </a:lnTo>
                    <a:lnTo>
                      <a:pt x="32" y="181"/>
                    </a:lnTo>
                    <a:lnTo>
                      <a:pt x="37" y="181"/>
                    </a:lnTo>
                    <a:lnTo>
                      <a:pt x="37" y="188"/>
                    </a:lnTo>
                    <a:lnTo>
                      <a:pt x="39" y="192"/>
                    </a:lnTo>
                    <a:lnTo>
                      <a:pt x="39" y="196"/>
                    </a:lnTo>
                    <a:lnTo>
                      <a:pt x="40" y="199"/>
                    </a:lnTo>
                    <a:lnTo>
                      <a:pt x="45" y="199"/>
                    </a:lnTo>
                    <a:lnTo>
                      <a:pt x="49" y="202"/>
                    </a:lnTo>
                    <a:lnTo>
                      <a:pt x="49" y="209"/>
                    </a:lnTo>
                    <a:lnTo>
                      <a:pt x="47" y="212"/>
                    </a:lnTo>
                    <a:lnTo>
                      <a:pt x="42" y="210"/>
                    </a:lnTo>
                    <a:lnTo>
                      <a:pt x="33" y="213"/>
                    </a:lnTo>
                    <a:lnTo>
                      <a:pt x="31" y="214"/>
                    </a:lnTo>
                    <a:lnTo>
                      <a:pt x="26" y="216"/>
                    </a:lnTo>
                    <a:lnTo>
                      <a:pt x="24" y="220"/>
                    </a:lnTo>
                    <a:lnTo>
                      <a:pt x="25" y="223"/>
                    </a:lnTo>
                    <a:lnTo>
                      <a:pt x="23" y="227"/>
                    </a:lnTo>
                    <a:lnTo>
                      <a:pt x="24" y="231"/>
                    </a:lnTo>
                    <a:lnTo>
                      <a:pt x="24" y="237"/>
                    </a:lnTo>
                    <a:lnTo>
                      <a:pt x="24" y="240"/>
                    </a:lnTo>
                    <a:lnTo>
                      <a:pt x="26" y="240"/>
                    </a:lnTo>
                    <a:lnTo>
                      <a:pt x="26" y="242"/>
                    </a:lnTo>
                    <a:lnTo>
                      <a:pt x="27" y="243"/>
                    </a:lnTo>
                    <a:lnTo>
                      <a:pt x="32" y="240"/>
                    </a:lnTo>
                    <a:lnTo>
                      <a:pt x="36" y="240"/>
                    </a:lnTo>
                    <a:lnTo>
                      <a:pt x="37" y="241"/>
                    </a:lnTo>
                    <a:lnTo>
                      <a:pt x="38" y="241"/>
                    </a:lnTo>
                    <a:lnTo>
                      <a:pt x="41" y="238"/>
                    </a:lnTo>
                    <a:lnTo>
                      <a:pt x="45" y="239"/>
                    </a:lnTo>
                    <a:lnTo>
                      <a:pt x="47" y="239"/>
                    </a:lnTo>
                    <a:lnTo>
                      <a:pt x="49" y="238"/>
                    </a:lnTo>
                    <a:lnTo>
                      <a:pt x="52" y="239"/>
                    </a:lnTo>
                    <a:lnTo>
                      <a:pt x="54" y="239"/>
                    </a:lnTo>
                    <a:lnTo>
                      <a:pt x="54" y="237"/>
                    </a:lnTo>
                    <a:lnTo>
                      <a:pt x="56" y="235"/>
                    </a:lnTo>
                    <a:lnTo>
                      <a:pt x="60" y="237"/>
                    </a:lnTo>
                    <a:lnTo>
                      <a:pt x="62" y="237"/>
                    </a:lnTo>
                    <a:lnTo>
                      <a:pt x="63" y="236"/>
                    </a:lnTo>
                    <a:lnTo>
                      <a:pt x="65" y="236"/>
                    </a:lnTo>
                    <a:lnTo>
                      <a:pt x="66" y="238"/>
                    </a:lnTo>
                    <a:lnTo>
                      <a:pt x="69" y="238"/>
                    </a:lnTo>
                    <a:lnTo>
                      <a:pt x="71" y="240"/>
                    </a:lnTo>
                    <a:lnTo>
                      <a:pt x="74" y="240"/>
                    </a:lnTo>
                    <a:lnTo>
                      <a:pt x="78" y="236"/>
                    </a:lnTo>
                    <a:lnTo>
                      <a:pt x="83" y="236"/>
                    </a:lnTo>
                    <a:lnTo>
                      <a:pt x="86" y="237"/>
                    </a:lnTo>
                    <a:lnTo>
                      <a:pt x="89" y="235"/>
                    </a:lnTo>
                    <a:lnTo>
                      <a:pt x="91" y="235"/>
                    </a:lnTo>
                    <a:lnTo>
                      <a:pt x="92" y="235"/>
                    </a:lnTo>
                    <a:lnTo>
                      <a:pt x="93" y="235"/>
                    </a:lnTo>
                    <a:lnTo>
                      <a:pt x="99" y="235"/>
                    </a:lnTo>
                    <a:lnTo>
                      <a:pt x="103" y="235"/>
                    </a:lnTo>
                    <a:lnTo>
                      <a:pt x="109" y="235"/>
                    </a:lnTo>
                    <a:lnTo>
                      <a:pt x="113" y="237"/>
                    </a:lnTo>
                    <a:lnTo>
                      <a:pt x="114" y="241"/>
                    </a:lnTo>
                    <a:lnTo>
                      <a:pt x="113" y="244"/>
                    </a:lnTo>
                    <a:lnTo>
                      <a:pt x="114" y="244"/>
                    </a:lnTo>
                    <a:lnTo>
                      <a:pt x="113" y="245"/>
                    </a:lnTo>
                    <a:lnTo>
                      <a:pt x="113" y="246"/>
                    </a:lnTo>
                    <a:lnTo>
                      <a:pt x="116" y="246"/>
                    </a:lnTo>
                    <a:lnTo>
                      <a:pt x="122" y="244"/>
                    </a:lnTo>
                    <a:lnTo>
                      <a:pt x="122" y="248"/>
                    </a:lnTo>
                    <a:lnTo>
                      <a:pt x="126" y="252"/>
                    </a:lnTo>
                    <a:lnTo>
                      <a:pt x="127" y="258"/>
                    </a:lnTo>
                    <a:lnTo>
                      <a:pt x="128" y="259"/>
                    </a:lnTo>
                    <a:lnTo>
                      <a:pt x="127" y="261"/>
                    </a:lnTo>
                    <a:lnTo>
                      <a:pt x="126" y="262"/>
                    </a:lnTo>
                    <a:lnTo>
                      <a:pt x="127" y="262"/>
                    </a:lnTo>
                    <a:lnTo>
                      <a:pt x="129" y="262"/>
                    </a:lnTo>
                    <a:lnTo>
                      <a:pt x="130" y="266"/>
                    </a:lnTo>
                    <a:lnTo>
                      <a:pt x="134" y="266"/>
                    </a:lnTo>
                    <a:lnTo>
                      <a:pt x="138" y="266"/>
                    </a:lnTo>
                    <a:lnTo>
                      <a:pt x="145" y="269"/>
                    </a:lnTo>
                    <a:lnTo>
                      <a:pt x="144" y="271"/>
                    </a:lnTo>
                    <a:lnTo>
                      <a:pt x="148" y="270"/>
                    </a:lnTo>
                    <a:lnTo>
                      <a:pt x="148" y="270"/>
                    </a:lnTo>
                    <a:close/>
                  </a:path>
                </a:pathLst>
              </a:custGeom>
              <a:solidFill>
                <a:schemeClr val="accent2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010" name="Freeform 12"/>
              <p:cNvSpPr>
                <a:spLocks/>
              </p:cNvSpPr>
              <p:nvPr userDrawn="1"/>
            </p:nvSpPr>
            <p:spPr bwMode="auto">
              <a:xfrm>
                <a:off x="4751" y="2209"/>
                <a:ext cx="135" cy="107"/>
              </a:xfrm>
              <a:custGeom>
                <a:avLst/>
                <a:gdLst>
                  <a:gd name="T0" fmla="*/ 67 w 135"/>
                  <a:gd name="T1" fmla="*/ 106 h 107"/>
                  <a:gd name="T2" fmla="*/ 78 w 135"/>
                  <a:gd name="T3" fmla="*/ 93 h 107"/>
                  <a:gd name="T4" fmla="*/ 85 w 135"/>
                  <a:gd name="T5" fmla="*/ 88 h 107"/>
                  <a:gd name="T6" fmla="*/ 98 w 135"/>
                  <a:gd name="T7" fmla="*/ 95 h 107"/>
                  <a:gd name="T8" fmla="*/ 109 w 135"/>
                  <a:gd name="T9" fmla="*/ 94 h 107"/>
                  <a:gd name="T10" fmla="*/ 116 w 135"/>
                  <a:gd name="T11" fmla="*/ 98 h 107"/>
                  <a:gd name="T12" fmla="*/ 128 w 135"/>
                  <a:gd name="T13" fmla="*/ 97 h 107"/>
                  <a:gd name="T14" fmla="*/ 132 w 135"/>
                  <a:gd name="T15" fmla="*/ 100 h 107"/>
                  <a:gd name="T16" fmla="*/ 134 w 135"/>
                  <a:gd name="T17" fmla="*/ 91 h 107"/>
                  <a:gd name="T18" fmla="*/ 126 w 135"/>
                  <a:gd name="T19" fmla="*/ 81 h 107"/>
                  <a:gd name="T20" fmla="*/ 123 w 135"/>
                  <a:gd name="T21" fmla="*/ 65 h 107"/>
                  <a:gd name="T22" fmla="*/ 115 w 135"/>
                  <a:gd name="T23" fmla="*/ 57 h 107"/>
                  <a:gd name="T24" fmla="*/ 106 w 135"/>
                  <a:gd name="T25" fmla="*/ 44 h 107"/>
                  <a:gd name="T26" fmla="*/ 94 w 135"/>
                  <a:gd name="T27" fmla="*/ 38 h 107"/>
                  <a:gd name="T28" fmla="*/ 89 w 135"/>
                  <a:gd name="T29" fmla="*/ 33 h 107"/>
                  <a:gd name="T30" fmla="*/ 74 w 135"/>
                  <a:gd name="T31" fmla="*/ 33 h 107"/>
                  <a:gd name="T32" fmla="*/ 70 w 135"/>
                  <a:gd name="T33" fmla="*/ 28 h 107"/>
                  <a:gd name="T34" fmla="*/ 64 w 135"/>
                  <a:gd name="T35" fmla="*/ 20 h 107"/>
                  <a:gd name="T36" fmla="*/ 54 w 135"/>
                  <a:gd name="T37" fmla="*/ 3 h 107"/>
                  <a:gd name="T38" fmla="*/ 49 w 135"/>
                  <a:gd name="T39" fmla="*/ 0 h 107"/>
                  <a:gd name="T40" fmla="*/ 45 w 135"/>
                  <a:gd name="T41" fmla="*/ 4 h 107"/>
                  <a:gd name="T42" fmla="*/ 40 w 135"/>
                  <a:gd name="T43" fmla="*/ 5 h 107"/>
                  <a:gd name="T44" fmla="*/ 34 w 135"/>
                  <a:gd name="T45" fmla="*/ 2 h 107"/>
                  <a:gd name="T46" fmla="*/ 32 w 135"/>
                  <a:gd name="T47" fmla="*/ 3 h 107"/>
                  <a:gd name="T48" fmla="*/ 21 w 135"/>
                  <a:gd name="T49" fmla="*/ 12 h 107"/>
                  <a:gd name="T50" fmla="*/ 9 w 135"/>
                  <a:gd name="T51" fmla="*/ 18 h 107"/>
                  <a:gd name="T52" fmla="*/ 1 w 135"/>
                  <a:gd name="T53" fmla="*/ 32 h 107"/>
                  <a:gd name="T54" fmla="*/ 7 w 135"/>
                  <a:gd name="T55" fmla="*/ 33 h 107"/>
                  <a:gd name="T56" fmla="*/ 13 w 135"/>
                  <a:gd name="T57" fmla="*/ 35 h 107"/>
                  <a:gd name="T58" fmla="*/ 24 w 135"/>
                  <a:gd name="T59" fmla="*/ 43 h 107"/>
                  <a:gd name="T60" fmla="*/ 30 w 135"/>
                  <a:gd name="T61" fmla="*/ 48 h 107"/>
                  <a:gd name="T62" fmla="*/ 25 w 135"/>
                  <a:gd name="T63" fmla="*/ 55 h 107"/>
                  <a:gd name="T64" fmla="*/ 21 w 135"/>
                  <a:gd name="T65" fmla="*/ 60 h 107"/>
                  <a:gd name="T66" fmla="*/ 25 w 135"/>
                  <a:gd name="T67" fmla="*/ 71 h 107"/>
                  <a:gd name="T68" fmla="*/ 29 w 135"/>
                  <a:gd name="T69" fmla="*/ 88 h 107"/>
                  <a:gd name="T70" fmla="*/ 42 w 135"/>
                  <a:gd name="T71" fmla="*/ 96 h 107"/>
                  <a:gd name="T72" fmla="*/ 51 w 135"/>
                  <a:gd name="T73" fmla="*/ 102 h 107"/>
                  <a:gd name="T74" fmla="*/ 61 w 135"/>
                  <a:gd name="T75" fmla="*/ 102 h 107"/>
                  <a:gd name="T76" fmla="*/ 66 w 135"/>
                  <a:gd name="T77" fmla="*/ 107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35" h="107">
                    <a:moveTo>
                      <a:pt x="66" y="107"/>
                    </a:moveTo>
                    <a:lnTo>
                      <a:pt x="67" y="106"/>
                    </a:lnTo>
                    <a:lnTo>
                      <a:pt x="73" y="97"/>
                    </a:lnTo>
                    <a:lnTo>
                      <a:pt x="78" y="93"/>
                    </a:lnTo>
                    <a:lnTo>
                      <a:pt x="82" y="92"/>
                    </a:lnTo>
                    <a:lnTo>
                      <a:pt x="85" y="88"/>
                    </a:lnTo>
                    <a:lnTo>
                      <a:pt x="89" y="88"/>
                    </a:lnTo>
                    <a:lnTo>
                      <a:pt x="98" y="95"/>
                    </a:lnTo>
                    <a:lnTo>
                      <a:pt x="104" y="92"/>
                    </a:lnTo>
                    <a:lnTo>
                      <a:pt x="109" y="94"/>
                    </a:lnTo>
                    <a:lnTo>
                      <a:pt x="111" y="98"/>
                    </a:lnTo>
                    <a:lnTo>
                      <a:pt x="116" y="98"/>
                    </a:lnTo>
                    <a:lnTo>
                      <a:pt x="123" y="102"/>
                    </a:lnTo>
                    <a:lnTo>
                      <a:pt x="128" y="97"/>
                    </a:lnTo>
                    <a:lnTo>
                      <a:pt x="132" y="98"/>
                    </a:lnTo>
                    <a:lnTo>
                      <a:pt x="132" y="100"/>
                    </a:lnTo>
                    <a:lnTo>
                      <a:pt x="135" y="97"/>
                    </a:lnTo>
                    <a:lnTo>
                      <a:pt x="134" y="91"/>
                    </a:lnTo>
                    <a:lnTo>
                      <a:pt x="131" y="83"/>
                    </a:lnTo>
                    <a:lnTo>
                      <a:pt x="126" y="81"/>
                    </a:lnTo>
                    <a:lnTo>
                      <a:pt x="123" y="74"/>
                    </a:lnTo>
                    <a:lnTo>
                      <a:pt x="123" y="65"/>
                    </a:lnTo>
                    <a:lnTo>
                      <a:pt x="120" y="61"/>
                    </a:lnTo>
                    <a:lnTo>
                      <a:pt x="115" y="57"/>
                    </a:lnTo>
                    <a:lnTo>
                      <a:pt x="110" y="53"/>
                    </a:lnTo>
                    <a:lnTo>
                      <a:pt x="106" y="44"/>
                    </a:lnTo>
                    <a:lnTo>
                      <a:pt x="100" y="41"/>
                    </a:lnTo>
                    <a:lnTo>
                      <a:pt x="94" y="38"/>
                    </a:lnTo>
                    <a:lnTo>
                      <a:pt x="93" y="34"/>
                    </a:lnTo>
                    <a:lnTo>
                      <a:pt x="89" y="33"/>
                    </a:lnTo>
                    <a:lnTo>
                      <a:pt x="82" y="33"/>
                    </a:lnTo>
                    <a:lnTo>
                      <a:pt x="74" y="33"/>
                    </a:lnTo>
                    <a:lnTo>
                      <a:pt x="73" y="31"/>
                    </a:lnTo>
                    <a:lnTo>
                      <a:pt x="70" y="28"/>
                    </a:lnTo>
                    <a:lnTo>
                      <a:pt x="70" y="23"/>
                    </a:lnTo>
                    <a:lnTo>
                      <a:pt x="64" y="20"/>
                    </a:lnTo>
                    <a:lnTo>
                      <a:pt x="56" y="9"/>
                    </a:lnTo>
                    <a:lnTo>
                      <a:pt x="54" y="3"/>
                    </a:lnTo>
                    <a:lnTo>
                      <a:pt x="52" y="1"/>
                    </a:lnTo>
                    <a:lnTo>
                      <a:pt x="49" y="0"/>
                    </a:lnTo>
                    <a:lnTo>
                      <a:pt x="48" y="2"/>
                    </a:lnTo>
                    <a:lnTo>
                      <a:pt x="45" y="4"/>
                    </a:lnTo>
                    <a:lnTo>
                      <a:pt x="42" y="3"/>
                    </a:lnTo>
                    <a:lnTo>
                      <a:pt x="40" y="5"/>
                    </a:lnTo>
                    <a:lnTo>
                      <a:pt x="37" y="2"/>
                    </a:lnTo>
                    <a:lnTo>
                      <a:pt x="34" y="2"/>
                    </a:lnTo>
                    <a:lnTo>
                      <a:pt x="32" y="3"/>
                    </a:lnTo>
                    <a:lnTo>
                      <a:pt x="32" y="3"/>
                    </a:lnTo>
                    <a:lnTo>
                      <a:pt x="29" y="10"/>
                    </a:lnTo>
                    <a:lnTo>
                      <a:pt x="21" y="12"/>
                    </a:lnTo>
                    <a:lnTo>
                      <a:pt x="8" y="15"/>
                    </a:lnTo>
                    <a:lnTo>
                      <a:pt x="9" y="18"/>
                    </a:lnTo>
                    <a:lnTo>
                      <a:pt x="0" y="24"/>
                    </a:lnTo>
                    <a:lnTo>
                      <a:pt x="1" y="32"/>
                    </a:lnTo>
                    <a:lnTo>
                      <a:pt x="4" y="33"/>
                    </a:lnTo>
                    <a:lnTo>
                      <a:pt x="7" y="33"/>
                    </a:lnTo>
                    <a:lnTo>
                      <a:pt x="9" y="32"/>
                    </a:lnTo>
                    <a:lnTo>
                      <a:pt x="13" y="35"/>
                    </a:lnTo>
                    <a:lnTo>
                      <a:pt x="19" y="40"/>
                    </a:lnTo>
                    <a:lnTo>
                      <a:pt x="24" y="43"/>
                    </a:lnTo>
                    <a:lnTo>
                      <a:pt x="25" y="46"/>
                    </a:lnTo>
                    <a:lnTo>
                      <a:pt x="30" y="48"/>
                    </a:lnTo>
                    <a:lnTo>
                      <a:pt x="31" y="52"/>
                    </a:lnTo>
                    <a:lnTo>
                      <a:pt x="25" y="55"/>
                    </a:lnTo>
                    <a:lnTo>
                      <a:pt x="25" y="59"/>
                    </a:lnTo>
                    <a:lnTo>
                      <a:pt x="21" y="60"/>
                    </a:lnTo>
                    <a:lnTo>
                      <a:pt x="22" y="66"/>
                    </a:lnTo>
                    <a:lnTo>
                      <a:pt x="25" y="71"/>
                    </a:lnTo>
                    <a:lnTo>
                      <a:pt x="28" y="83"/>
                    </a:lnTo>
                    <a:lnTo>
                      <a:pt x="29" y="88"/>
                    </a:lnTo>
                    <a:lnTo>
                      <a:pt x="35" y="94"/>
                    </a:lnTo>
                    <a:lnTo>
                      <a:pt x="42" y="96"/>
                    </a:lnTo>
                    <a:lnTo>
                      <a:pt x="49" y="98"/>
                    </a:lnTo>
                    <a:lnTo>
                      <a:pt x="51" y="102"/>
                    </a:lnTo>
                    <a:lnTo>
                      <a:pt x="56" y="104"/>
                    </a:lnTo>
                    <a:lnTo>
                      <a:pt x="61" y="102"/>
                    </a:lnTo>
                    <a:lnTo>
                      <a:pt x="66" y="103"/>
                    </a:lnTo>
                    <a:lnTo>
                      <a:pt x="66" y="107"/>
                    </a:lnTo>
                    <a:lnTo>
                      <a:pt x="66" y="107"/>
                    </a:ln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011" name="Freeform 13"/>
              <p:cNvSpPr>
                <a:spLocks/>
              </p:cNvSpPr>
              <p:nvPr userDrawn="1"/>
            </p:nvSpPr>
            <p:spPr bwMode="auto">
              <a:xfrm>
                <a:off x="4543" y="2185"/>
                <a:ext cx="243" cy="196"/>
              </a:xfrm>
              <a:custGeom>
                <a:avLst/>
                <a:gdLst>
                  <a:gd name="T0" fmla="*/ 224 w 243"/>
                  <a:gd name="T1" fmla="*/ 19 h 196"/>
                  <a:gd name="T2" fmla="*/ 235 w 243"/>
                  <a:gd name="T3" fmla="*/ 19 h 196"/>
                  <a:gd name="T4" fmla="*/ 238 w 243"/>
                  <a:gd name="T5" fmla="*/ 27 h 196"/>
                  <a:gd name="T6" fmla="*/ 229 w 243"/>
                  <a:gd name="T7" fmla="*/ 36 h 196"/>
                  <a:gd name="T8" fmla="*/ 200 w 243"/>
                  <a:gd name="T9" fmla="*/ 41 h 196"/>
                  <a:gd name="T10" fmla="*/ 188 w 243"/>
                  <a:gd name="T11" fmla="*/ 50 h 196"/>
                  <a:gd name="T12" fmla="*/ 193 w 243"/>
                  <a:gd name="T13" fmla="*/ 72 h 196"/>
                  <a:gd name="T14" fmla="*/ 189 w 243"/>
                  <a:gd name="T15" fmla="*/ 92 h 196"/>
                  <a:gd name="T16" fmla="*/ 171 w 243"/>
                  <a:gd name="T17" fmla="*/ 96 h 196"/>
                  <a:gd name="T18" fmla="*/ 172 w 243"/>
                  <a:gd name="T19" fmla="*/ 105 h 196"/>
                  <a:gd name="T20" fmla="*/ 169 w 243"/>
                  <a:gd name="T21" fmla="*/ 116 h 196"/>
                  <a:gd name="T22" fmla="*/ 163 w 243"/>
                  <a:gd name="T23" fmla="*/ 124 h 196"/>
                  <a:gd name="T24" fmla="*/ 160 w 243"/>
                  <a:gd name="T25" fmla="*/ 133 h 196"/>
                  <a:gd name="T26" fmla="*/ 153 w 243"/>
                  <a:gd name="T27" fmla="*/ 142 h 196"/>
                  <a:gd name="T28" fmla="*/ 147 w 243"/>
                  <a:gd name="T29" fmla="*/ 144 h 196"/>
                  <a:gd name="T30" fmla="*/ 139 w 243"/>
                  <a:gd name="T31" fmla="*/ 145 h 196"/>
                  <a:gd name="T32" fmla="*/ 133 w 243"/>
                  <a:gd name="T33" fmla="*/ 154 h 196"/>
                  <a:gd name="T34" fmla="*/ 120 w 243"/>
                  <a:gd name="T35" fmla="*/ 156 h 196"/>
                  <a:gd name="T36" fmla="*/ 114 w 243"/>
                  <a:gd name="T37" fmla="*/ 163 h 196"/>
                  <a:gd name="T38" fmla="*/ 113 w 243"/>
                  <a:gd name="T39" fmla="*/ 177 h 196"/>
                  <a:gd name="T40" fmla="*/ 114 w 243"/>
                  <a:gd name="T41" fmla="*/ 187 h 196"/>
                  <a:gd name="T42" fmla="*/ 94 w 243"/>
                  <a:gd name="T43" fmla="*/ 190 h 196"/>
                  <a:gd name="T44" fmla="*/ 76 w 243"/>
                  <a:gd name="T45" fmla="*/ 194 h 196"/>
                  <a:gd name="T46" fmla="*/ 43 w 243"/>
                  <a:gd name="T47" fmla="*/ 196 h 196"/>
                  <a:gd name="T48" fmla="*/ 33 w 243"/>
                  <a:gd name="T49" fmla="*/ 169 h 196"/>
                  <a:gd name="T50" fmla="*/ 28 w 243"/>
                  <a:gd name="T51" fmla="*/ 151 h 196"/>
                  <a:gd name="T52" fmla="*/ 10 w 243"/>
                  <a:gd name="T53" fmla="*/ 142 h 196"/>
                  <a:gd name="T54" fmla="*/ 3 w 243"/>
                  <a:gd name="T55" fmla="*/ 121 h 196"/>
                  <a:gd name="T56" fmla="*/ 9 w 243"/>
                  <a:gd name="T57" fmla="*/ 110 h 196"/>
                  <a:gd name="T58" fmla="*/ 2 w 243"/>
                  <a:gd name="T59" fmla="*/ 99 h 196"/>
                  <a:gd name="T60" fmla="*/ 1 w 243"/>
                  <a:gd name="T61" fmla="*/ 91 h 196"/>
                  <a:gd name="T62" fmla="*/ 8 w 243"/>
                  <a:gd name="T63" fmla="*/ 84 h 196"/>
                  <a:gd name="T64" fmla="*/ 6 w 243"/>
                  <a:gd name="T65" fmla="*/ 78 h 196"/>
                  <a:gd name="T66" fmla="*/ 7 w 243"/>
                  <a:gd name="T67" fmla="*/ 68 h 196"/>
                  <a:gd name="T68" fmla="*/ 13 w 243"/>
                  <a:gd name="T69" fmla="*/ 68 h 196"/>
                  <a:gd name="T70" fmla="*/ 22 w 243"/>
                  <a:gd name="T71" fmla="*/ 68 h 196"/>
                  <a:gd name="T72" fmla="*/ 30 w 243"/>
                  <a:gd name="T73" fmla="*/ 74 h 196"/>
                  <a:gd name="T74" fmla="*/ 39 w 243"/>
                  <a:gd name="T75" fmla="*/ 73 h 196"/>
                  <a:gd name="T76" fmla="*/ 45 w 243"/>
                  <a:gd name="T77" fmla="*/ 65 h 196"/>
                  <a:gd name="T78" fmla="*/ 56 w 243"/>
                  <a:gd name="T79" fmla="*/ 58 h 196"/>
                  <a:gd name="T80" fmla="*/ 63 w 243"/>
                  <a:gd name="T81" fmla="*/ 54 h 196"/>
                  <a:gd name="T82" fmla="*/ 68 w 243"/>
                  <a:gd name="T83" fmla="*/ 40 h 196"/>
                  <a:gd name="T84" fmla="*/ 66 w 243"/>
                  <a:gd name="T85" fmla="*/ 33 h 196"/>
                  <a:gd name="T86" fmla="*/ 75 w 243"/>
                  <a:gd name="T87" fmla="*/ 30 h 196"/>
                  <a:gd name="T88" fmla="*/ 87 w 243"/>
                  <a:gd name="T89" fmla="*/ 25 h 196"/>
                  <a:gd name="T90" fmla="*/ 95 w 243"/>
                  <a:gd name="T91" fmla="*/ 27 h 196"/>
                  <a:gd name="T92" fmla="*/ 108 w 243"/>
                  <a:gd name="T93" fmla="*/ 31 h 196"/>
                  <a:gd name="T94" fmla="*/ 116 w 243"/>
                  <a:gd name="T95" fmla="*/ 28 h 196"/>
                  <a:gd name="T96" fmla="*/ 130 w 243"/>
                  <a:gd name="T97" fmla="*/ 33 h 196"/>
                  <a:gd name="T98" fmla="*/ 137 w 243"/>
                  <a:gd name="T99" fmla="*/ 28 h 196"/>
                  <a:gd name="T100" fmla="*/ 143 w 243"/>
                  <a:gd name="T101" fmla="*/ 30 h 196"/>
                  <a:gd name="T102" fmla="*/ 148 w 243"/>
                  <a:gd name="T103" fmla="*/ 26 h 196"/>
                  <a:gd name="T104" fmla="*/ 153 w 243"/>
                  <a:gd name="T105" fmla="*/ 20 h 196"/>
                  <a:gd name="T106" fmla="*/ 160 w 243"/>
                  <a:gd name="T107" fmla="*/ 22 h 196"/>
                  <a:gd name="T108" fmla="*/ 163 w 243"/>
                  <a:gd name="T109" fmla="*/ 11 h 196"/>
                  <a:gd name="T110" fmla="*/ 168 w 243"/>
                  <a:gd name="T111" fmla="*/ 0 h 196"/>
                  <a:gd name="T112" fmla="*/ 178 w 243"/>
                  <a:gd name="T113" fmla="*/ 4 h 196"/>
                  <a:gd name="T114" fmla="*/ 179 w 243"/>
                  <a:gd name="T115" fmla="*/ 14 h 196"/>
                  <a:gd name="T116" fmla="*/ 183 w 243"/>
                  <a:gd name="T117" fmla="*/ 22 h 196"/>
                  <a:gd name="T118" fmla="*/ 187 w 243"/>
                  <a:gd name="T119" fmla="*/ 36 h 196"/>
                  <a:gd name="T120" fmla="*/ 195 w 243"/>
                  <a:gd name="T121" fmla="*/ 40 h 196"/>
                  <a:gd name="T122" fmla="*/ 205 w 243"/>
                  <a:gd name="T123" fmla="*/ 33 h 196"/>
                  <a:gd name="T124" fmla="*/ 211 w 243"/>
                  <a:gd name="T125" fmla="*/ 25 h 1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43" h="196">
                    <a:moveTo>
                      <a:pt x="211" y="25"/>
                    </a:moveTo>
                    <a:lnTo>
                      <a:pt x="219" y="20"/>
                    </a:lnTo>
                    <a:lnTo>
                      <a:pt x="224" y="19"/>
                    </a:lnTo>
                    <a:lnTo>
                      <a:pt x="225" y="23"/>
                    </a:lnTo>
                    <a:lnTo>
                      <a:pt x="233" y="22"/>
                    </a:lnTo>
                    <a:lnTo>
                      <a:pt x="235" y="19"/>
                    </a:lnTo>
                    <a:lnTo>
                      <a:pt x="242" y="19"/>
                    </a:lnTo>
                    <a:lnTo>
                      <a:pt x="243" y="22"/>
                    </a:lnTo>
                    <a:lnTo>
                      <a:pt x="238" y="27"/>
                    </a:lnTo>
                    <a:lnTo>
                      <a:pt x="240" y="27"/>
                    </a:lnTo>
                    <a:lnTo>
                      <a:pt x="237" y="34"/>
                    </a:lnTo>
                    <a:lnTo>
                      <a:pt x="229" y="36"/>
                    </a:lnTo>
                    <a:lnTo>
                      <a:pt x="211" y="40"/>
                    </a:lnTo>
                    <a:lnTo>
                      <a:pt x="206" y="38"/>
                    </a:lnTo>
                    <a:lnTo>
                      <a:pt x="200" y="41"/>
                    </a:lnTo>
                    <a:lnTo>
                      <a:pt x="196" y="45"/>
                    </a:lnTo>
                    <a:lnTo>
                      <a:pt x="191" y="45"/>
                    </a:lnTo>
                    <a:lnTo>
                      <a:pt x="188" y="50"/>
                    </a:lnTo>
                    <a:lnTo>
                      <a:pt x="184" y="53"/>
                    </a:lnTo>
                    <a:lnTo>
                      <a:pt x="193" y="64"/>
                    </a:lnTo>
                    <a:lnTo>
                      <a:pt x="193" y="72"/>
                    </a:lnTo>
                    <a:lnTo>
                      <a:pt x="184" y="82"/>
                    </a:lnTo>
                    <a:lnTo>
                      <a:pt x="189" y="87"/>
                    </a:lnTo>
                    <a:lnTo>
                      <a:pt x="189" y="92"/>
                    </a:lnTo>
                    <a:lnTo>
                      <a:pt x="184" y="99"/>
                    </a:lnTo>
                    <a:lnTo>
                      <a:pt x="176" y="99"/>
                    </a:lnTo>
                    <a:lnTo>
                      <a:pt x="171" y="96"/>
                    </a:lnTo>
                    <a:lnTo>
                      <a:pt x="166" y="99"/>
                    </a:lnTo>
                    <a:lnTo>
                      <a:pt x="168" y="103"/>
                    </a:lnTo>
                    <a:lnTo>
                      <a:pt x="172" y="105"/>
                    </a:lnTo>
                    <a:lnTo>
                      <a:pt x="174" y="110"/>
                    </a:lnTo>
                    <a:lnTo>
                      <a:pt x="174" y="113"/>
                    </a:lnTo>
                    <a:lnTo>
                      <a:pt x="169" y="116"/>
                    </a:lnTo>
                    <a:lnTo>
                      <a:pt x="165" y="116"/>
                    </a:lnTo>
                    <a:lnTo>
                      <a:pt x="163" y="119"/>
                    </a:lnTo>
                    <a:lnTo>
                      <a:pt x="163" y="124"/>
                    </a:lnTo>
                    <a:lnTo>
                      <a:pt x="161" y="129"/>
                    </a:lnTo>
                    <a:lnTo>
                      <a:pt x="161" y="131"/>
                    </a:lnTo>
                    <a:lnTo>
                      <a:pt x="160" y="133"/>
                    </a:lnTo>
                    <a:lnTo>
                      <a:pt x="161" y="141"/>
                    </a:lnTo>
                    <a:lnTo>
                      <a:pt x="157" y="146"/>
                    </a:lnTo>
                    <a:lnTo>
                      <a:pt x="153" y="142"/>
                    </a:lnTo>
                    <a:lnTo>
                      <a:pt x="152" y="142"/>
                    </a:lnTo>
                    <a:lnTo>
                      <a:pt x="152" y="144"/>
                    </a:lnTo>
                    <a:lnTo>
                      <a:pt x="147" y="144"/>
                    </a:lnTo>
                    <a:lnTo>
                      <a:pt x="145" y="143"/>
                    </a:lnTo>
                    <a:lnTo>
                      <a:pt x="140" y="143"/>
                    </a:lnTo>
                    <a:lnTo>
                      <a:pt x="139" y="145"/>
                    </a:lnTo>
                    <a:lnTo>
                      <a:pt x="132" y="150"/>
                    </a:lnTo>
                    <a:lnTo>
                      <a:pt x="135" y="151"/>
                    </a:lnTo>
                    <a:lnTo>
                      <a:pt x="133" y="154"/>
                    </a:lnTo>
                    <a:lnTo>
                      <a:pt x="127" y="157"/>
                    </a:lnTo>
                    <a:lnTo>
                      <a:pt x="125" y="156"/>
                    </a:lnTo>
                    <a:lnTo>
                      <a:pt x="120" y="156"/>
                    </a:lnTo>
                    <a:lnTo>
                      <a:pt x="118" y="159"/>
                    </a:lnTo>
                    <a:lnTo>
                      <a:pt x="118" y="162"/>
                    </a:lnTo>
                    <a:lnTo>
                      <a:pt x="114" y="163"/>
                    </a:lnTo>
                    <a:lnTo>
                      <a:pt x="111" y="166"/>
                    </a:lnTo>
                    <a:lnTo>
                      <a:pt x="112" y="171"/>
                    </a:lnTo>
                    <a:lnTo>
                      <a:pt x="113" y="177"/>
                    </a:lnTo>
                    <a:lnTo>
                      <a:pt x="113" y="180"/>
                    </a:lnTo>
                    <a:lnTo>
                      <a:pt x="114" y="184"/>
                    </a:lnTo>
                    <a:lnTo>
                      <a:pt x="114" y="187"/>
                    </a:lnTo>
                    <a:lnTo>
                      <a:pt x="107" y="190"/>
                    </a:lnTo>
                    <a:lnTo>
                      <a:pt x="100" y="189"/>
                    </a:lnTo>
                    <a:lnTo>
                      <a:pt x="94" y="190"/>
                    </a:lnTo>
                    <a:lnTo>
                      <a:pt x="85" y="191"/>
                    </a:lnTo>
                    <a:lnTo>
                      <a:pt x="78" y="193"/>
                    </a:lnTo>
                    <a:lnTo>
                      <a:pt x="76" y="194"/>
                    </a:lnTo>
                    <a:lnTo>
                      <a:pt x="70" y="194"/>
                    </a:lnTo>
                    <a:lnTo>
                      <a:pt x="64" y="196"/>
                    </a:lnTo>
                    <a:lnTo>
                      <a:pt x="43" y="196"/>
                    </a:lnTo>
                    <a:lnTo>
                      <a:pt x="18" y="189"/>
                    </a:lnTo>
                    <a:lnTo>
                      <a:pt x="31" y="171"/>
                    </a:lnTo>
                    <a:lnTo>
                      <a:pt x="33" y="169"/>
                    </a:lnTo>
                    <a:lnTo>
                      <a:pt x="31" y="163"/>
                    </a:lnTo>
                    <a:lnTo>
                      <a:pt x="31" y="158"/>
                    </a:lnTo>
                    <a:lnTo>
                      <a:pt x="28" y="151"/>
                    </a:lnTo>
                    <a:lnTo>
                      <a:pt x="12" y="151"/>
                    </a:lnTo>
                    <a:lnTo>
                      <a:pt x="12" y="144"/>
                    </a:lnTo>
                    <a:lnTo>
                      <a:pt x="10" y="142"/>
                    </a:lnTo>
                    <a:lnTo>
                      <a:pt x="11" y="139"/>
                    </a:lnTo>
                    <a:lnTo>
                      <a:pt x="8" y="131"/>
                    </a:lnTo>
                    <a:lnTo>
                      <a:pt x="3" y="121"/>
                    </a:lnTo>
                    <a:lnTo>
                      <a:pt x="4" y="117"/>
                    </a:lnTo>
                    <a:lnTo>
                      <a:pt x="10" y="110"/>
                    </a:lnTo>
                    <a:lnTo>
                      <a:pt x="9" y="110"/>
                    </a:lnTo>
                    <a:lnTo>
                      <a:pt x="2" y="109"/>
                    </a:lnTo>
                    <a:lnTo>
                      <a:pt x="2" y="105"/>
                    </a:lnTo>
                    <a:lnTo>
                      <a:pt x="2" y="99"/>
                    </a:lnTo>
                    <a:lnTo>
                      <a:pt x="1" y="98"/>
                    </a:lnTo>
                    <a:lnTo>
                      <a:pt x="3" y="94"/>
                    </a:lnTo>
                    <a:lnTo>
                      <a:pt x="1" y="91"/>
                    </a:lnTo>
                    <a:lnTo>
                      <a:pt x="0" y="89"/>
                    </a:lnTo>
                    <a:lnTo>
                      <a:pt x="3" y="88"/>
                    </a:lnTo>
                    <a:lnTo>
                      <a:pt x="8" y="84"/>
                    </a:lnTo>
                    <a:lnTo>
                      <a:pt x="7" y="82"/>
                    </a:lnTo>
                    <a:lnTo>
                      <a:pt x="8" y="81"/>
                    </a:lnTo>
                    <a:lnTo>
                      <a:pt x="6" y="78"/>
                    </a:lnTo>
                    <a:lnTo>
                      <a:pt x="7" y="76"/>
                    </a:lnTo>
                    <a:lnTo>
                      <a:pt x="7" y="73"/>
                    </a:lnTo>
                    <a:lnTo>
                      <a:pt x="7" y="68"/>
                    </a:lnTo>
                    <a:lnTo>
                      <a:pt x="7" y="68"/>
                    </a:lnTo>
                    <a:lnTo>
                      <a:pt x="9" y="67"/>
                    </a:lnTo>
                    <a:lnTo>
                      <a:pt x="13" y="68"/>
                    </a:lnTo>
                    <a:lnTo>
                      <a:pt x="16" y="70"/>
                    </a:lnTo>
                    <a:lnTo>
                      <a:pt x="19" y="70"/>
                    </a:lnTo>
                    <a:lnTo>
                      <a:pt x="22" y="68"/>
                    </a:lnTo>
                    <a:lnTo>
                      <a:pt x="24" y="68"/>
                    </a:lnTo>
                    <a:lnTo>
                      <a:pt x="29" y="71"/>
                    </a:lnTo>
                    <a:lnTo>
                      <a:pt x="30" y="74"/>
                    </a:lnTo>
                    <a:lnTo>
                      <a:pt x="31" y="75"/>
                    </a:lnTo>
                    <a:lnTo>
                      <a:pt x="33" y="73"/>
                    </a:lnTo>
                    <a:lnTo>
                      <a:pt x="39" y="73"/>
                    </a:lnTo>
                    <a:lnTo>
                      <a:pt x="42" y="70"/>
                    </a:lnTo>
                    <a:lnTo>
                      <a:pt x="42" y="67"/>
                    </a:lnTo>
                    <a:lnTo>
                      <a:pt x="45" y="65"/>
                    </a:lnTo>
                    <a:lnTo>
                      <a:pt x="44" y="62"/>
                    </a:lnTo>
                    <a:lnTo>
                      <a:pt x="49" y="59"/>
                    </a:lnTo>
                    <a:lnTo>
                      <a:pt x="56" y="58"/>
                    </a:lnTo>
                    <a:lnTo>
                      <a:pt x="57" y="57"/>
                    </a:lnTo>
                    <a:lnTo>
                      <a:pt x="60" y="55"/>
                    </a:lnTo>
                    <a:lnTo>
                      <a:pt x="63" y="54"/>
                    </a:lnTo>
                    <a:lnTo>
                      <a:pt x="64" y="49"/>
                    </a:lnTo>
                    <a:lnTo>
                      <a:pt x="64" y="44"/>
                    </a:lnTo>
                    <a:lnTo>
                      <a:pt x="68" y="40"/>
                    </a:lnTo>
                    <a:lnTo>
                      <a:pt x="68" y="36"/>
                    </a:lnTo>
                    <a:lnTo>
                      <a:pt x="66" y="35"/>
                    </a:lnTo>
                    <a:lnTo>
                      <a:pt x="66" y="33"/>
                    </a:lnTo>
                    <a:lnTo>
                      <a:pt x="68" y="33"/>
                    </a:lnTo>
                    <a:lnTo>
                      <a:pt x="70" y="31"/>
                    </a:lnTo>
                    <a:lnTo>
                      <a:pt x="75" y="30"/>
                    </a:lnTo>
                    <a:lnTo>
                      <a:pt x="77" y="30"/>
                    </a:lnTo>
                    <a:lnTo>
                      <a:pt x="82" y="26"/>
                    </a:lnTo>
                    <a:lnTo>
                      <a:pt x="87" y="25"/>
                    </a:lnTo>
                    <a:lnTo>
                      <a:pt x="90" y="27"/>
                    </a:lnTo>
                    <a:lnTo>
                      <a:pt x="94" y="26"/>
                    </a:lnTo>
                    <a:lnTo>
                      <a:pt x="95" y="27"/>
                    </a:lnTo>
                    <a:lnTo>
                      <a:pt x="102" y="26"/>
                    </a:lnTo>
                    <a:lnTo>
                      <a:pt x="106" y="27"/>
                    </a:lnTo>
                    <a:lnTo>
                      <a:pt x="108" y="31"/>
                    </a:lnTo>
                    <a:lnTo>
                      <a:pt x="110" y="31"/>
                    </a:lnTo>
                    <a:lnTo>
                      <a:pt x="113" y="28"/>
                    </a:lnTo>
                    <a:lnTo>
                      <a:pt x="116" y="28"/>
                    </a:lnTo>
                    <a:lnTo>
                      <a:pt x="120" y="34"/>
                    </a:lnTo>
                    <a:lnTo>
                      <a:pt x="123" y="35"/>
                    </a:lnTo>
                    <a:lnTo>
                      <a:pt x="130" y="33"/>
                    </a:lnTo>
                    <a:lnTo>
                      <a:pt x="133" y="31"/>
                    </a:lnTo>
                    <a:lnTo>
                      <a:pt x="135" y="28"/>
                    </a:lnTo>
                    <a:lnTo>
                      <a:pt x="137" y="28"/>
                    </a:lnTo>
                    <a:lnTo>
                      <a:pt x="139" y="26"/>
                    </a:lnTo>
                    <a:lnTo>
                      <a:pt x="141" y="27"/>
                    </a:lnTo>
                    <a:lnTo>
                      <a:pt x="143" y="30"/>
                    </a:lnTo>
                    <a:lnTo>
                      <a:pt x="150" y="30"/>
                    </a:lnTo>
                    <a:lnTo>
                      <a:pt x="150" y="27"/>
                    </a:lnTo>
                    <a:lnTo>
                      <a:pt x="148" y="26"/>
                    </a:lnTo>
                    <a:lnTo>
                      <a:pt x="148" y="23"/>
                    </a:lnTo>
                    <a:lnTo>
                      <a:pt x="152" y="22"/>
                    </a:lnTo>
                    <a:lnTo>
                      <a:pt x="153" y="20"/>
                    </a:lnTo>
                    <a:lnTo>
                      <a:pt x="155" y="20"/>
                    </a:lnTo>
                    <a:lnTo>
                      <a:pt x="155" y="22"/>
                    </a:lnTo>
                    <a:lnTo>
                      <a:pt x="160" y="22"/>
                    </a:lnTo>
                    <a:lnTo>
                      <a:pt x="162" y="18"/>
                    </a:lnTo>
                    <a:lnTo>
                      <a:pt x="161" y="13"/>
                    </a:lnTo>
                    <a:lnTo>
                      <a:pt x="163" y="11"/>
                    </a:lnTo>
                    <a:lnTo>
                      <a:pt x="165" y="9"/>
                    </a:lnTo>
                    <a:lnTo>
                      <a:pt x="166" y="4"/>
                    </a:lnTo>
                    <a:lnTo>
                      <a:pt x="168" y="0"/>
                    </a:lnTo>
                    <a:lnTo>
                      <a:pt x="173" y="0"/>
                    </a:lnTo>
                    <a:lnTo>
                      <a:pt x="175" y="3"/>
                    </a:lnTo>
                    <a:lnTo>
                      <a:pt x="178" y="4"/>
                    </a:lnTo>
                    <a:lnTo>
                      <a:pt x="178" y="7"/>
                    </a:lnTo>
                    <a:lnTo>
                      <a:pt x="177" y="12"/>
                    </a:lnTo>
                    <a:lnTo>
                      <a:pt x="179" y="14"/>
                    </a:lnTo>
                    <a:lnTo>
                      <a:pt x="182" y="14"/>
                    </a:lnTo>
                    <a:lnTo>
                      <a:pt x="183" y="17"/>
                    </a:lnTo>
                    <a:lnTo>
                      <a:pt x="183" y="22"/>
                    </a:lnTo>
                    <a:lnTo>
                      <a:pt x="183" y="26"/>
                    </a:lnTo>
                    <a:lnTo>
                      <a:pt x="184" y="33"/>
                    </a:lnTo>
                    <a:lnTo>
                      <a:pt x="187" y="36"/>
                    </a:lnTo>
                    <a:lnTo>
                      <a:pt x="187" y="38"/>
                    </a:lnTo>
                    <a:lnTo>
                      <a:pt x="190" y="40"/>
                    </a:lnTo>
                    <a:lnTo>
                      <a:pt x="195" y="40"/>
                    </a:lnTo>
                    <a:lnTo>
                      <a:pt x="197" y="37"/>
                    </a:lnTo>
                    <a:lnTo>
                      <a:pt x="198" y="35"/>
                    </a:lnTo>
                    <a:lnTo>
                      <a:pt x="205" y="33"/>
                    </a:lnTo>
                    <a:lnTo>
                      <a:pt x="208" y="31"/>
                    </a:lnTo>
                    <a:lnTo>
                      <a:pt x="209" y="27"/>
                    </a:lnTo>
                    <a:lnTo>
                      <a:pt x="211" y="25"/>
                    </a:lnTo>
                    <a:lnTo>
                      <a:pt x="211" y="25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012" name="Freeform 14"/>
              <p:cNvSpPr>
                <a:spLocks noEditPoints="1"/>
              </p:cNvSpPr>
              <p:nvPr userDrawn="1"/>
            </p:nvSpPr>
            <p:spPr bwMode="auto">
              <a:xfrm>
                <a:off x="3808" y="1706"/>
                <a:ext cx="97" cy="64"/>
              </a:xfrm>
              <a:custGeom>
                <a:avLst/>
                <a:gdLst>
                  <a:gd name="T0" fmla="*/ 94 w 97"/>
                  <a:gd name="T1" fmla="*/ 56 h 64"/>
                  <a:gd name="T2" fmla="*/ 90 w 97"/>
                  <a:gd name="T3" fmla="*/ 35 h 64"/>
                  <a:gd name="T4" fmla="*/ 93 w 97"/>
                  <a:gd name="T5" fmla="*/ 15 h 64"/>
                  <a:gd name="T6" fmla="*/ 97 w 97"/>
                  <a:gd name="T7" fmla="*/ 10 h 64"/>
                  <a:gd name="T8" fmla="*/ 80 w 97"/>
                  <a:gd name="T9" fmla="*/ 8 h 64"/>
                  <a:gd name="T10" fmla="*/ 63 w 97"/>
                  <a:gd name="T11" fmla="*/ 2 h 64"/>
                  <a:gd name="T12" fmla="*/ 56 w 97"/>
                  <a:gd name="T13" fmla="*/ 2 h 64"/>
                  <a:gd name="T14" fmla="*/ 56 w 97"/>
                  <a:gd name="T15" fmla="*/ 5 h 64"/>
                  <a:gd name="T16" fmla="*/ 45 w 97"/>
                  <a:gd name="T17" fmla="*/ 6 h 64"/>
                  <a:gd name="T18" fmla="*/ 39 w 97"/>
                  <a:gd name="T19" fmla="*/ 8 h 64"/>
                  <a:gd name="T20" fmla="*/ 32 w 97"/>
                  <a:gd name="T21" fmla="*/ 11 h 64"/>
                  <a:gd name="T22" fmla="*/ 25 w 97"/>
                  <a:gd name="T23" fmla="*/ 28 h 64"/>
                  <a:gd name="T24" fmla="*/ 31 w 97"/>
                  <a:gd name="T25" fmla="*/ 28 h 64"/>
                  <a:gd name="T26" fmla="*/ 27 w 97"/>
                  <a:gd name="T27" fmla="*/ 36 h 64"/>
                  <a:gd name="T28" fmla="*/ 37 w 97"/>
                  <a:gd name="T29" fmla="*/ 44 h 64"/>
                  <a:gd name="T30" fmla="*/ 43 w 97"/>
                  <a:gd name="T31" fmla="*/ 40 h 64"/>
                  <a:gd name="T32" fmla="*/ 43 w 97"/>
                  <a:gd name="T33" fmla="*/ 51 h 64"/>
                  <a:gd name="T34" fmla="*/ 57 w 97"/>
                  <a:gd name="T35" fmla="*/ 50 h 64"/>
                  <a:gd name="T36" fmla="*/ 63 w 97"/>
                  <a:gd name="T37" fmla="*/ 49 h 64"/>
                  <a:gd name="T38" fmla="*/ 72 w 97"/>
                  <a:gd name="T39" fmla="*/ 55 h 64"/>
                  <a:gd name="T40" fmla="*/ 81 w 97"/>
                  <a:gd name="T41" fmla="*/ 64 h 64"/>
                  <a:gd name="T42" fmla="*/ 92 w 97"/>
                  <a:gd name="T43" fmla="*/ 63 h 64"/>
                  <a:gd name="T44" fmla="*/ 22 w 97"/>
                  <a:gd name="T45" fmla="*/ 21 h 64"/>
                  <a:gd name="T46" fmla="*/ 18 w 97"/>
                  <a:gd name="T47" fmla="*/ 21 h 64"/>
                  <a:gd name="T48" fmla="*/ 11 w 97"/>
                  <a:gd name="T49" fmla="*/ 30 h 64"/>
                  <a:gd name="T50" fmla="*/ 4 w 97"/>
                  <a:gd name="T51" fmla="*/ 28 h 64"/>
                  <a:gd name="T52" fmla="*/ 9 w 97"/>
                  <a:gd name="T53" fmla="*/ 22 h 64"/>
                  <a:gd name="T54" fmla="*/ 13 w 97"/>
                  <a:gd name="T55" fmla="*/ 23 h 64"/>
                  <a:gd name="T56" fmla="*/ 16 w 97"/>
                  <a:gd name="T57" fmla="*/ 26 h 64"/>
                  <a:gd name="T58" fmla="*/ 11 w 97"/>
                  <a:gd name="T59" fmla="*/ 30 h 64"/>
                  <a:gd name="T60" fmla="*/ 18 w 97"/>
                  <a:gd name="T61" fmla="*/ 31 h 64"/>
                  <a:gd name="T62" fmla="*/ 23 w 97"/>
                  <a:gd name="T63" fmla="*/ 36 h 64"/>
                  <a:gd name="T64" fmla="*/ 18 w 97"/>
                  <a:gd name="T65" fmla="*/ 33 h 64"/>
                  <a:gd name="T66" fmla="*/ 6 w 97"/>
                  <a:gd name="T67" fmla="*/ 51 h 64"/>
                  <a:gd name="T68" fmla="*/ 14 w 97"/>
                  <a:gd name="T69" fmla="*/ 43 h 64"/>
                  <a:gd name="T70" fmla="*/ 21 w 97"/>
                  <a:gd name="T71" fmla="*/ 38 h 64"/>
                  <a:gd name="T72" fmla="*/ 19 w 97"/>
                  <a:gd name="T73" fmla="*/ 36 h 64"/>
                  <a:gd name="T74" fmla="*/ 9 w 97"/>
                  <a:gd name="T75" fmla="*/ 32 h 64"/>
                  <a:gd name="T76" fmla="*/ 4 w 97"/>
                  <a:gd name="T77" fmla="*/ 37 h 64"/>
                  <a:gd name="T78" fmla="*/ 2 w 97"/>
                  <a:gd name="T79" fmla="*/ 36 h 64"/>
                  <a:gd name="T80" fmla="*/ 2 w 97"/>
                  <a:gd name="T81" fmla="*/ 39 h 64"/>
                  <a:gd name="T82" fmla="*/ 3 w 97"/>
                  <a:gd name="T83" fmla="*/ 43 h 64"/>
                  <a:gd name="T84" fmla="*/ 4 w 97"/>
                  <a:gd name="T85" fmla="*/ 48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97" h="64">
                    <a:moveTo>
                      <a:pt x="92" y="63"/>
                    </a:moveTo>
                    <a:lnTo>
                      <a:pt x="95" y="59"/>
                    </a:lnTo>
                    <a:lnTo>
                      <a:pt x="94" y="56"/>
                    </a:lnTo>
                    <a:lnTo>
                      <a:pt x="97" y="53"/>
                    </a:lnTo>
                    <a:lnTo>
                      <a:pt x="97" y="50"/>
                    </a:lnTo>
                    <a:lnTo>
                      <a:pt x="90" y="35"/>
                    </a:lnTo>
                    <a:lnTo>
                      <a:pt x="90" y="21"/>
                    </a:lnTo>
                    <a:lnTo>
                      <a:pt x="92" y="20"/>
                    </a:lnTo>
                    <a:lnTo>
                      <a:pt x="93" y="15"/>
                    </a:lnTo>
                    <a:lnTo>
                      <a:pt x="96" y="12"/>
                    </a:lnTo>
                    <a:lnTo>
                      <a:pt x="97" y="11"/>
                    </a:lnTo>
                    <a:lnTo>
                      <a:pt x="97" y="10"/>
                    </a:lnTo>
                    <a:lnTo>
                      <a:pt x="95" y="7"/>
                    </a:lnTo>
                    <a:lnTo>
                      <a:pt x="94" y="9"/>
                    </a:lnTo>
                    <a:lnTo>
                      <a:pt x="80" y="8"/>
                    </a:lnTo>
                    <a:lnTo>
                      <a:pt x="73" y="4"/>
                    </a:lnTo>
                    <a:lnTo>
                      <a:pt x="67" y="4"/>
                    </a:lnTo>
                    <a:lnTo>
                      <a:pt x="63" y="2"/>
                    </a:lnTo>
                    <a:lnTo>
                      <a:pt x="60" y="3"/>
                    </a:lnTo>
                    <a:lnTo>
                      <a:pt x="56" y="0"/>
                    </a:lnTo>
                    <a:lnTo>
                      <a:pt x="56" y="2"/>
                    </a:lnTo>
                    <a:lnTo>
                      <a:pt x="53" y="2"/>
                    </a:lnTo>
                    <a:lnTo>
                      <a:pt x="53" y="4"/>
                    </a:lnTo>
                    <a:lnTo>
                      <a:pt x="56" y="5"/>
                    </a:lnTo>
                    <a:lnTo>
                      <a:pt x="52" y="8"/>
                    </a:lnTo>
                    <a:lnTo>
                      <a:pt x="50" y="6"/>
                    </a:lnTo>
                    <a:lnTo>
                      <a:pt x="45" y="6"/>
                    </a:lnTo>
                    <a:lnTo>
                      <a:pt x="43" y="4"/>
                    </a:lnTo>
                    <a:lnTo>
                      <a:pt x="42" y="8"/>
                    </a:lnTo>
                    <a:lnTo>
                      <a:pt x="39" y="8"/>
                    </a:lnTo>
                    <a:lnTo>
                      <a:pt x="35" y="9"/>
                    </a:lnTo>
                    <a:lnTo>
                      <a:pt x="34" y="12"/>
                    </a:lnTo>
                    <a:lnTo>
                      <a:pt x="32" y="11"/>
                    </a:lnTo>
                    <a:lnTo>
                      <a:pt x="26" y="14"/>
                    </a:lnTo>
                    <a:lnTo>
                      <a:pt x="25" y="16"/>
                    </a:lnTo>
                    <a:lnTo>
                      <a:pt x="25" y="28"/>
                    </a:lnTo>
                    <a:lnTo>
                      <a:pt x="26" y="29"/>
                    </a:lnTo>
                    <a:lnTo>
                      <a:pt x="28" y="28"/>
                    </a:lnTo>
                    <a:lnTo>
                      <a:pt x="31" y="28"/>
                    </a:lnTo>
                    <a:lnTo>
                      <a:pt x="29" y="31"/>
                    </a:lnTo>
                    <a:lnTo>
                      <a:pt x="26" y="31"/>
                    </a:lnTo>
                    <a:lnTo>
                      <a:pt x="27" y="36"/>
                    </a:lnTo>
                    <a:lnTo>
                      <a:pt x="30" y="39"/>
                    </a:lnTo>
                    <a:lnTo>
                      <a:pt x="35" y="44"/>
                    </a:lnTo>
                    <a:lnTo>
                      <a:pt x="37" y="44"/>
                    </a:lnTo>
                    <a:lnTo>
                      <a:pt x="38" y="41"/>
                    </a:lnTo>
                    <a:lnTo>
                      <a:pt x="41" y="38"/>
                    </a:lnTo>
                    <a:lnTo>
                      <a:pt x="43" y="40"/>
                    </a:lnTo>
                    <a:lnTo>
                      <a:pt x="41" y="50"/>
                    </a:lnTo>
                    <a:lnTo>
                      <a:pt x="41" y="52"/>
                    </a:lnTo>
                    <a:lnTo>
                      <a:pt x="43" y="51"/>
                    </a:lnTo>
                    <a:lnTo>
                      <a:pt x="48" y="48"/>
                    </a:lnTo>
                    <a:lnTo>
                      <a:pt x="52" y="47"/>
                    </a:lnTo>
                    <a:lnTo>
                      <a:pt x="57" y="50"/>
                    </a:lnTo>
                    <a:lnTo>
                      <a:pt x="60" y="50"/>
                    </a:lnTo>
                    <a:lnTo>
                      <a:pt x="60" y="47"/>
                    </a:lnTo>
                    <a:lnTo>
                      <a:pt x="63" y="49"/>
                    </a:lnTo>
                    <a:lnTo>
                      <a:pt x="65" y="52"/>
                    </a:lnTo>
                    <a:lnTo>
                      <a:pt x="67" y="52"/>
                    </a:lnTo>
                    <a:lnTo>
                      <a:pt x="72" y="55"/>
                    </a:lnTo>
                    <a:lnTo>
                      <a:pt x="74" y="59"/>
                    </a:lnTo>
                    <a:lnTo>
                      <a:pt x="78" y="60"/>
                    </a:lnTo>
                    <a:lnTo>
                      <a:pt x="81" y="64"/>
                    </a:lnTo>
                    <a:lnTo>
                      <a:pt x="87" y="62"/>
                    </a:lnTo>
                    <a:lnTo>
                      <a:pt x="92" y="63"/>
                    </a:lnTo>
                    <a:lnTo>
                      <a:pt x="92" y="63"/>
                    </a:lnTo>
                    <a:lnTo>
                      <a:pt x="92" y="63"/>
                    </a:lnTo>
                    <a:close/>
                    <a:moveTo>
                      <a:pt x="18" y="21"/>
                    </a:moveTo>
                    <a:lnTo>
                      <a:pt x="22" y="21"/>
                    </a:lnTo>
                    <a:lnTo>
                      <a:pt x="22" y="23"/>
                    </a:lnTo>
                    <a:lnTo>
                      <a:pt x="19" y="23"/>
                    </a:lnTo>
                    <a:lnTo>
                      <a:pt x="18" y="21"/>
                    </a:lnTo>
                    <a:lnTo>
                      <a:pt x="18" y="21"/>
                    </a:lnTo>
                    <a:lnTo>
                      <a:pt x="18" y="21"/>
                    </a:lnTo>
                    <a:close/>
                    <a:moveTo>
                      <a:pt x="11" y="30"/>
                    </a:moveTo>
                    <a:lnTo>
                      <a:pt x="9" y="26"/>
                    </a:lnTo>
                    <a:lnTo>
                      <a:pt x="6" y="26"/>
                    </a:lnTo>
                    <a:lnTo>
                      <a:pt x="4" y="28"/>
                    </a:lnTo>
                    <a:lnTo>
                      <a:pt x="2" y="27"/>
                    </a:lnTo>
                    <a:lnTo>
                      <a:pt x="7" y="24"/>
                    </a:lnTo>
                    <a:lnTo>
                      <a:pt x="9" y="22"/>
                    </a:lnTo>
                    <a:lnTo>
                      <a:pt x="9" y="20"/>
                    </a:lnTo>
                    <a:lnTo>
                      <a:pt x="11" y="21"/>
                    </a:lnTo>
                    <a:lnTo>
                      <a:pt x="13" y="23"/>
                    </a:lnTo>
                    <a:lnTo>
                      <a:pt x="17" y="23"/>
                    </a:lnTo>
                    <a:lnTo>
                      <a:pt x="18" y="26"/>
                    </a:lnTo>
                    <a:lnTo>
                      <a:pt x="16" y="26"/>
                    </a:lnTo>
                    <a:lnTo>
                      <a:pt x="13" y="28"/>
                    </a:lnTo>
                    <a:lnTo>
                      <a:pt x="11" y="30"/>
                    </a:lnTo>
                    <a:lnTo>
                      <a:pt x="11" y="30"/>
                    </a:lnTo>
                    <a:lnTo>
                      <a:pt x="11" y="30"/>
                    </a:lnTo>
                    <a:close/>
                    <a:moveTo>
                      <a:pt x="18" y="33"/>
                    </a:moveTo>
                    <a:lnTo>
                      <a:pt x="18" y="31"/>
                    </a:lnTo>
                    <a:lnTo>
                      <a:pt x="23" y="31"/>
                    </a:lnTo>
                    <a:lnTo>
                      <a:pt x="25" y="35"/>
                    </a:lnTo>
                    <a:lnTo>
                      <a:pt x="23" y="36"/>
                    </a:lnTo>
                    <a:lnTo>
                      <a:pt x="18" y="33"/>
                    </a:lnTo>
                    <a:lnTo>
                      <a:pt x="18" y="33"/>
                    </a:lnTo>
                    <a:lnTo>
                      <a:pt x="18" y="33"/>
                    </a:lnTo>
                    <a:close/>
                    <a:moveTo>
                      <a:pt x="2" y="53"/>
                    </a:moveTo>
                    <a:lnTo>
                      <a:pt x="4" y="53"/>
                    </a:lnTo>
                    <a:lnTo>
                      <a:pt x="6" y="51"/>
                    </a:lnTo>
                    <a:lnTo>
                      <a:pt x="6" y="49"/>
                    </a:lnTo>
                    <a:lnTo>
                      <a:pt x="8" y="44"/>
                    </a:lnTo>
                    <a:lnTo>
                      <a:pt x="14" y="43"/>
                    </a:lnTo>
                    <a:lnTo>
                      <a:pt x="16" y="40"/>
                    </a:lnTo>
                    <a:lnTo>
                      <a:pt x="18" y="38"/>
                    </a:lnTo>
                    <a:lnTo>
                      <a:pt x="21" y="38"/>
                    </a:lnTo>
                    <a:lnTo>
                      <a:pt x="22" y="38"/>
                    </a:lnTo>
                    <a:lnTo>
                      <a:pt x="21" y="37"/>
                    </a:lnTo>
                    <a:lnTo>
                      <a:pt x="19" y="36"/>
                    </a:lnTo>
                    <a:lnTo>
                      <a:pt x="16" y="34"/>
                    </a:lnTo>
                    <a:lnTo>
                      <a:pt x="10" y="33"/>
                    </a:lnTo>
                    <a:lnTo>
                      <a:pt x="9" y="32"/>
                    </a:lnTo>
                    <a:lnTo>
                      <a:pt x="7" y="35"/>
                    </a:lnTo>
                    <a:lnTo>
                      <a:pt x="6" y="35"/>
                    </a:lnTo>
                    <a:lnTo>
                      <a:pt x="4" y="37"/>
                    </a:lnTo>
                    <a:lnTo>
                      <a:pt x="4" y="35"/>
                    </a:lnTo>
                    <a:lnTo>
                      <a:pt x="2" y="35"/>
                    </a:lnTo>
                    <a:lnTo>
                      <a:pt x="2" y="36"/>
                    </a:lnTo>
                    <a:lnTo>
                      <a:pt x="0" y="37"/>
                    </a:lnTo>
                    <a:lnTo>
                      <a:pt x="2" y="38"/>
                    </a:lnTo>
                    <a:lnTo>
                      <a:pt x="2" y="39"/>
                    </a:lnTo>
                    <a:lnTo>
                      <a:pt x="1" y="40"/>
                    </a:lnTo>
                    <a:lnTo>
                      <a:pt x="1" y="42"/>
                    </a:lnTo>
                    <a:lnTo>
                      <a:pt x="3" y="43"/>
                    </a:lnTo>
                    <a:lnTo>
                      <a:pt x="5" y="46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2" y="53"/>
                    </a:lnTo>
                    <a:lnTo>
                      <a:pt x="2" y="53"/>
                    </a:lnTo>
                    <a:close/>
                  </a:path>
                </a:pathLst>
              </a:custGeom>
              <a:solidFill>
                <a:schemeClr val="accent2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013" name="Freeform 15"/>
              <p:cNvSpPr>
                <a:spLocks/>
              </p:cNvSpPr>
              <p:nvPr userDrawn="1"/>
            </p:nvSpPr>
            <p:spPr bwMode="auto">
              <a:xfrm>
                <a:off x="3797" y="1753"/>
                <a:ext cx="118" cy="61"/>
              </a:xfrm>
              <a:custGeom>
                <a:avLst/>
                <a:gdLst>
                  <a:gd name="T0" fmla="*/ 117 w 118"/>
                  <a:gd name="T1" fmla="*/ 42 h 61"/>
                  <a:gd name="T2" fmla="*/ 113 w 118"/>
                  <a:gd name="T3" fmla="*/ 34 h 61"/>
                  <a:gd name="T4" fmla="*/ 109 w 118"/>
                  <a:gd name="T5" fmla="*/ 28 h 61"/>
                  <a:gd name="T6" fmla="*/ 108 w 118"/>
                  <a:gd name="T7" fmla="*/ 22 h 61"/>
                  <a:gd name="T8" fmla="*/ 107 w 118"/>
                  <a:gd name="T9" fmla="*/ 19 h 61"/>
                  <a:gd name="T10" fmla="*/ 98 w 118"/>
                  <a:gd name="T11" fmla="*/ 15 h 61"/>
                  <a:gd name="T12" fmla="*/ 89 w 118"/>
                  <a:gd name="T13" fmla="*/ 13 h 61"/>
                  <a:gd name="T14" fmla="*/ 83 w 118"/>
                  <a:gd name="T15" fmla="*/ 8 h 61"/>
                  <a:gd name="T16" fmla="*/ 76 w 118"/>
                  <a:gd name="T17" fmla="*/ 5 h 61"/>
                  <a:gd name="T18" fmla="*/ 71 w 118"/>
                  <a:gd name="T19" fmla="*/ 0 h 61"/>
                  <a:gd name="T20" fmla="*/ 68 w 118"/>
                  <a:gd name="T21" fmla="*/ 3 h 61"/>
                  <a:gd name="T22" fmla="*/ 59 w 118"/>
                  <a:gd name="T23" fmla="*/ 1 h 61"/>
                  <a:gd name="T24" fmla="*/ 52 w 118"/>
                  <a:gd name="T25" fmla="*/ 5 h 61"/>
                  <a:gd name="T26" fmla="*/ 53 w 118"/>
                  <a:gd name="T27" fmla="*/ 17 h 61"/>
                  <a:gd name="T28" fmla="*/ 45 w 118"/>
                  <a:gd name="T29" fmla="*/ 30 h 61"/>
                  <a:gd name="T30" fmla="*/ 37 w 118"/>
                  <a:gd name="T31" fmla="*/ 25 h 61"/>
                  <a:gd name="T32" fmla="*/ 28 w 118"/>
                  <a:gd name="T33" fmla="*/ 13 h 61"/>
                  <a:gd name="T34" fmla="*/ 26 w 118"/>
                  <a:gd name="T35" fmla="*/ 9 h 61"/>
                  <a:gd name="T36" fmla="*/ 17 w 118"/>
                  <a:gd name="T37" fmla="*/ 12 h 61"/>
                  <a:gd name="T38" fmla="*/ 12 w 118"/>
                  <a:gd name="T39" fmla="*/ 14 h 61"/>
                  <a:gd name="T40" fmla="*/ 10 w 118"/>
                  <a:gd name="T41" fmla="*/ 22 h 61"/>
                  <a:gd name="T42" fmla="*/ 8 w 118"/>
                  <a:gd name="T43" fmla="*/ 28 h 61"/>
                  <a:gd name="T44" fmla="*/ 3 w 118"/>
                  <a:gd name="T45" fmla="*/ 36 h 61"/>
                  <a:gd name="T46" fmla="*/ 0 w 118"/>
                  <a:gd name="T47" fmla="*/ 42 h 61"/>
                  <a:gd name="T48" fmla="*/ 5 w 118"/>
                  <a:gd name="T49" fmla="*/ 53 h 61"/>
                  <a:gd name="T50" fmla="*/ 8 w 118"/>
                  <a:gd name="T51" fmla="*/ 53 h 61"/>
                  <a:gd name="T52" fmla="*/ 15 w 118"/>
                  <a:gd name="T53" fmla="*/ 44 h 61"/>
                  <a:gd name="T54" fmla="*/ 29 w 118"/>
                  <a:gd name="T55" fmla="*/ 43 h 61"/>
                  <a:gd name="T56" fmla="*/ 36 w 118"/>
                  <a:gd name="T57" fmla="*/ 45 h 61"/>
                  <a:gd name="T58" fmla="*/ 43 w 118"/>
                  <a:gd name="T59" fmla="*/ 41 h 61"/>
                  <a:gd name="T60" fmla="*/ 47 w 118"/>
                  <a:gd name="T61" fmla="*/ 44 h 61"/>
                  <a:gd name="T62" fmla="*/ 56 w 118"/>
                  <a:gd name="T63" fmla="*/ 47 h 61"/>
                  <a:gd name="T64" fmla="*/ 63 w 118"/>
                  <a:gd name="T65" fmla="*/ 44 h 61"/>
                  <a:gd name="T66" fmla="*/ 76 w 118"/>
                  <a:gd name="T67" fmla="*/ 48 h 61"/>
                  <a:gd name="T68" fmla="*/ 84 w 118"/>
                  <a:gd name="T69" fmla="*/ 54 h 61"/>
                  <a:gd name="T70" fmla="*/ 94 w 118"/>
                  <a:gd name="T71" fmla="*/ 59 h 61"/>
                  <a:gd name="T72" fmla="*/ 96 w 118"/>
                  <a:gd name="T73" fmla="*/ 61 h 61"/>
                  <a:gd name="T74" fmla="*/ 109 w 118"/>
                  <a:gd name="T75" fmla="*/ 57 h 61"/>
                  <a:gd name="T76" fmla="*/ 113 w 118"/>
                  <a:gd name="T77" fmla="*/ 52 h 61"/>
                  <a:gd name="T78" fmla="*/ 118 w 118"/>
                  <a:gd name="T79" fmla="*/ 47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118" h="61">
                    <a:moveTo>
                      <a:pt x="118" y="47"/>
                    </a:moveTo>
                    <a:lnTo>
                      <a:pt x="117" y="42"/>
                    </a:lnTo>
                    <a:lnTo>
                      <a:pt x="115" y="39"/>
                    </a:lnTo>
                    <a:lnTo>
                      <a:pt x="113" y="34"/>
                    </a:lnTo>
                    <a:lnTo>
                      <a:pt x="111" y="32"/>
                    </a:lnTo>
                    <a:lnTo>
                      <a:pt x="109" y="28"/>
                    </a:lnTo>
                    <a:lnTo>
                      <a:pt x="109" y="26"/>
                    </a:lnTo>
                    <a:lnTo>
                      <a:pt x="108" y="22"/>
                    </a:lnTo>
                    <a:lnTo>
                      <a:pt x="107" y="21"/>
                    </a:lnTo>
                    <a:lnTo>
                      <a:pt x="107" y="19"/>
                    </a:lnTo>
                    <a:lnTo>
                      <a:pt x="107" y="16"/>
                    </a:lnTo>
                    <a:lnTo>
                      <a:pt x="98" y="15"/>
                    </a:lnTo>
                    <a:lnTo>
                      <a:pt x="92" y="17"/>
                    </a:lnTo>
                    <a:lnTo>
                      <a:pt x="89" y="13"/>
                    </a:lnTo>
                    <a:lnTo>
                      <a:pt x="85" y="12"/>
                    </a:lnTo>
                    <a:lnTo>
                      <a:pt x="83" y="8"/>
                    </a:lnTo>
                    <a:lnTo>
                      <a:pt x="78" y="5"/>
                    </a:lnTo>
                    <a:lnTo>
                      <a:pt x="76" y="5"/>
                    </a:lnTo>
                    <a:lnTo>
                      <a:pt x="74" y="2"/>
                    </a:lnTo>
                    <a:lnTo>
                      <a:pt x="71" y="0"/>
                    </a:lnTo>
                    <a:lnTo>
                      <a:pt x="71" y="3"/>
                    </a:lnTo>
                    <a:lnTo>
                      <a:pt x="68" y="3"/>
                    </a:lnTo>
                    <a:lnTo>
                      <a:pt x="63" y="0"/>
                    </a:lnTo>
                    <a:lnTo>
                      <a:pt x="59" y="1"/>
                    </a:lnTo>
                    <a:lnTo>
                      <a:pt x="54" y="4"/>
                    </a:lnTo>
                    <a:lnTo>
                      <a:pt x="52" y="5"/>
                    </a:lnTo>
                    <a:lnTo>
                      <a:pt x="52" y="10"/>
                    </a:lnTo>
                    <a:lnTo>
                      <a:pt x="53" y="17"/>
                    </a:lnTo>
                    <a:lnTo>
                      <a:pt x="51" y="23"/>
                    </a:lnTo>
                    <a:lnTo>
                      <a:pt x="45" y="30"/>
                    </a:lnTo>
                    <a:lnTo>
                      <a:pt x="41" y="30"/>
                    </a:lnTo>
                    <a:lnTo>
                      <a:pt x="37" y="25"/>
                    </a:lnTo>
                    <a:lnTo>
                      <a:pt x="37" y="22"/>
                    </a:lnTo>
                    <a:lnTo>
                      <a:pt x="28" y="13"/>
                    </a:lnTo>
                    <a:lnTo>
                      <a:pt x="27" y="8"/>
                    </a:lnTo>
                    <a:lnTo>
                      <a:pt x="26" y="9"/>
                    </a:lnTo>
                    <a:lnTo>
                      <a:pt x="22" y="12"/>
                    </a:lnTo>
                    <a:lnTo>
                      <a:pt x="17" y="12"/>
                    </a:lnTo>
                    <a:lnTo>
                      <a:pt x="15" y="14"/>
                    </a:lnTo>
                    <a:lnTo>
                      <a:pt x="12" y="14"/>
                    </a:lnTo>
                    <a:lnTo>
                      <a:pt x="9" y="18"/>
                    </a:lnTo>
                    <a:lnTo>
                      <a:pt x="10" y="22"/>
                    </a:lnTo>
                    <a:lnTo>
                      <a:pt x="8" y="22"/>
                    </a:lnTo>
                    <a:lnTo>
                      <a:pt x="8" y="28"/>
                    </a:lnTo>
                    <a:lnTo>
                      <a:pt x="3" y="34"/>
                    </a:lnTo>
                    <a:lnTo>
                      <a:pt x="3" y="36"/>
                    </a:lnTo>
                    <a:lnTo>
                      <a:pt x="3" y="40"/>
                    </a:lnTo>
                    <a:lnTo>
                      <a:pt x="0" y="42"/>
                    </a:lnTo>
                    <a:lnTo>
                      <a:pt x="2" y="51"/>
                    </a:lnTo>
                    <a:lnTo>
                      <a:pt x="5" y="53"/>
                    </a:lnTo>
                    <a:lnTo>
                      <a:pt x="5" y="54"/>
                    </a:lnTo>
                    <a:lnTo>
                      <a:pt x="8" y="53"/>
                    </a:lnTo>
                    <a:lnTo>
                      <a:pt x="9" y="49"/>
                    </a:lnTo>
                    <a:lnTo>
                      <a:pt x="15" y="44"/>
                    </a:lnTo>
                    <a:lnTo>
                      <a:pt x="23" y="42"/>
                    </a:lnTo>
                    <a:lnTo>
                      <a:pt x="29" y="43"/>
                    </a:lnTo>
                    <a:lnTo>
                      <a:pt x="34" y="43"/>
                    </a:lnTo>
                    <a:lnTo>
                      <a:pt x="36" y="45"/>
                    </a:lnTo>
                    <a:lnTo>
                      <a:pt x="39" y="42"/>
                    </a:lnTo>
                    <a:lnTo>
                      <a:pt x="43" y="41"/>
                    </a:lnTo>
                    <a:lnTo>
                      <a:pt x="44" y="44"/>
                    </a:lnTo>
                    <a:lnTo>
                      <a:pt x="47" y="44"/>
                    </a:lnTo>
                    <a:lnTo>
                      <a:pt x="50" y="47"/>
                    </a:lnTo>
                    <a:lnTo>
                      <a:pt x="56" y="47"/>
                    </a:lnTo>
                    <a:lnTo>
                      <a:pt x="58" y="48"/>
                    </a:lnTo>
                    <a:lnTo>
                      <a:pt x="63" y="44"/>
                    </a:lnTo>
                    <a:lnTo>
                      <a:pt x="70" y="47"/>
                    </a:lnTo>
                    <a:lnTo>
                      <a:pt x="76" y="48"/>
                    </a:lnTo>
                    <a:lnTo>
                      <a:pt x="80" y="54"/>
                    </a:lnTo>
                    <a:lnTo>
                      <a:pt x="84" y="54"/>
                    </a:lnTo>
                    <a:lnTo>
                      <a:pt x="89" y="59"/>
                    </a:lnTo>
                    <a:lnTo>
                      <a:pt x="94" y="59"/>
                    </a:lnTo>
                    <a:lnTo>
                      <a:pt x="96" y="61"/>
                    </a:lnTo>
                    <a:lnTo>
                      <a:pt x="96" y="61"/>
                    </a:lnTo>
                    <a:lnTo>
                      <a:pt x="101" y="58"/>
                    </a:lnTo>
                    <a:lnTo>
                      <a:pt x="109" y="57"/>
                    </a:lnTo>
                    <a:lnTo>
                      <a:pt x="110" y="53"/>
                    </a:lnTo>
                    <a:lnTo>
                      <a:pt x="113" y="52"/>
                    </a:lnTo>
                    <a:lnTo>
                      <a:pt x="115" y="48"/>
                    </a:lnTo>
                    <a:lnTo>
                      <a:pt x="118" y="47"/>
                    </a:lnTo>
                    <a:lnTo>
                      <a:pt x="118" y="47"/>
                    </a:lnTo>
                    <a:close/>
                  </a:path>
                </a:pathLst>
              </a:custGeom>
              <a:solidFill>
                <a:schemeClr val="accent2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014" name="Freeform 16"/>
              <p:cNvSpPr>
                <a:spLocks/>
              </p:cNvSpPr>
              <p:nvPr userDrawn="1"/>
            </p:nvSpPr>
            <p:spPr bwMode="auto">
              <a:xfrm>
                <a:off x="3802" y="1794"/>
                <a:ext cx="91" cy="65"/>
              </a:xfrm>
              <a:custGeom>
                <a:avLst/>
                <a:gdLst>
                  <a:gd name="T0" fmla="*/ 29 w 91"/>
                  <a:gd name="T1" fmla="*/ 41 h 65"/>
                  <a:gd name="T2" fmla="*/ 29 w 91"/>
                  <a:gd name="T3" fmla="*/ 36 h 65"/>
                  <a:gd name="T4" fmla="*/ 26 w 91"/>
                  <a:gd name="T5" fmla="*/ 33 h 65"/>
                  <a:gd name="T6" fmla="*/ 17 w 91"/>
                  <a:gd name="T7" fmla="*/ 33 h 65"/>
                  <a:gd name="T8" fmla="*/ 7 w 91"/>
                  <a:gd name="T9" fmla="*/ 24 h 65"/>
                  <a:gd name="T10" fmla="*/ 0 w 91"/>
                  <a:gd name="T11" fmla="*/ 25 h 65"/>
                  <a:gd name="T12" fmla="*/ 0 w 91"/>
                  <a:gd name="T13" fmla="*/ 17 h 65"/>
                  <a:gd name="T14" fmla="*/ 3 w 91"/>
                  <a:gd name="T15" fmla="*/ 12 h 65"/>
                  <a:gd name="T16" fmla="*/ 10 w 91"/>
                  <a:gd name="T17" fmla="*/ 3 h 65"/>
                  <a:gd name="T18" fmla="*/ 24 w 91"/>
                  <a:gd name="T19" fmla="*/ 2 h 65"/>
                  <a:gd name="T20" fmla="*/ 31 w 91"/>
                  <a:gd name="T21" fmla="*/ 4 h 65"/>
                  <a:gd name="T22" fmla="*/ 38 w 91"/>
                  <a:gd name="T23" fmla="*/ 0 h 65"/>
                  <a:gd name="T24" fmla="*/ 42 w 91"/>
                  <a:gd name="T25" fmla="*/ 3 h 65"/>
                  <a:gd name="T26" fmla="*/ 51 w 91"/>
                  <a:gd name="T27" fmla="*/ 6 h 65"/>
                  <a:gd name="T28" fmla="*/ 58 w 91"/>
                  <a:gd name="T29" fmla="*/ 3 h 65"/>
                  <a:gd name="T30" fmla="*/ 71 w 91"/>
                  <a:gd name="T31" fmla="*/ 7 h 65"/>
                  <a:gd name="T32" fmla="*/ 79 w 91"/>
                  <a:gd name="T33" fmla="*/ 13 h 65"/>
                  <a:gd name="T34" fmla="*/ 89 w 91"/>
                  <a:gd name="T35" fmla="*/ 18 h 65"/>
                  <a:gd name="T36" fmla="*/ 87 w 91"/>
                  <a:gd name="T37" fmla="*/ 26 h 65"/>
                  <a:gd name="T38" fmla="*/ 90 w 91"/>
                  <a:gd name="T39" fmla="*/ 31 h 65"/>
                  <a:gd name="T40" fmla="*/ 79 w 91"/>
                  <a:gd name="T41" fmla="*/ 39 h 65"/>
                  <a:gd name="T42" fmla="*/ 75 w 91"/>
                  <a:gd name="T43" fmla="*/ 45 h 65"/>
                  <a:gd name="T44" fmla="*/ 80 w 91"/>
                  <a:gd name="T45" fmla="*/ 51 h 65"/>
                  <a:gd name="T46" fmla="*/ 75 w 91"/>
                  <a:gd name="T47" fmla="*/ 49 h 65"/>
                  <a:gd name="T48" fmla="*/ 71 w 91"/>
                  <a:gd name="T49" fmla="*/ 55 h 65"/>
                  <a:gd name="T50" fmla="*/ 67 w 91"/>
                  <a:gd name="T51" fmla="*/ 60 h 65"/>
                  <a:gd name="T52" fmla="*/ 59 w 91"/>
                  <a:gd name="T53" fmla="*/ 62 h 65"/>
                  <a:gd name="T54" fmla="*/ 48 w 91"/>
                  <a:gd name="T55" fmla="*/ 62 h 65"/>
                  <a:gd name="T56" fmla="*/ 41 w 91"/>
                  <a:gd name="T57" fmla="*/ 61 h 65"/>
                  <a:gd name="T58" fmla="*/ 39 w 91"/>
                  <a:gd name="T59" fmla="*/ 51 h 65"/>
                  <a:gd name="T60" fmla="*/ 32 w 91"/>
                  <a:gd name="T61" fmla="*/ 47 h 65"/>
                  <a:gd name="T62" fmla="*/ 30 w 91"/>
                  <a:gd name="T63" fmla="*/ 48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91" h="65">
                    <a:moveTo>
                      <a:pt x="30" y="48"/>
                    </a:moveTo>
                    <a:lnTo>
                      <a:pt x="29" y="41"/>
                    </a:lnTo>
                    <a:lnTo>
                      <a:pt x="31" y="38"/>
                    </a:lnTo>
                    <a:lnTo>
                      <a:pt x="29" y="36"/>
                    </a:lnTo>
                    <a:lnTo>
                      <a:pt x="27" y="36"/>
                    </a:lnTo>
                    <a:lnTo>
                      <a:pt x="26" y="33"/>
                    </a:lnTo>
                    <a:lnTo>
                      <a:pt x="24" y="32"/>
                    </a:lnTo>
                    <a:lnTo>
                      <a:pt x="17" y="33"/>
                    </a:lnTo>
                    <a:lnTo>
                      <a:pt x="12" y="31"/>
                    </a:lnTo>
                    <a:lnTo>
                      <a:pt x="7" y="24"/>
                    </a:lnTo>
                    <a:lnTo>
                      <a:pt x="1" y="25"/>
                    </a:lnTo>
                    <a:lnTo>
                      <a:pt x="0" y="25"/>
                    </a:lnTo>
                    <a:lnTo>
                      <a:pt x="1" y="22"/>
                    </a:lnTo>
                    <a:lnTo>
                      <a:pt x="0" y="17"/>
                    </a:lnTo>
                    <a:lnTo>
                      <a:pt x="0" y="13"/>
                    </a:lnTo>
                    <a:lnTo>
                      <a:pt x="3" y="12"/>
                    </a:lnTo>
                    <a:lnTo>
                      <a:pt x="4" y="8"/>
                    </a:lnTo>
                    <a:lnTo>
                      <a:pt x="10" y="3"/>
                    </a:lnTo>
                    <a:lnTo>
                      <a:pt x="18" y="1"/>
                    </a:lnTo>
                    <a:lnTo>
                      <a:pt x="24" y="2"/>
                    </a:lnTo>
                    <a:lnTo>
                      <a:pt x="29" y="2"/>
                    </a:lnTo>
                    <a:lnTo>
                      <a:pt x="31" y="4"/>
                    </a:lnTo>
                    <a:lnTo>
                      <a:pt x="34" y="1"/>
                    </a:lnTo>
                    <a:lnTo>
                      <a:pt x="38" y="0"/>
                    </a:lnTo>
                    <a:lnTo>
                      <a:pt x="39" y="3"/>
                    </a:lnTo>
                    <a:lnTo>
                      <a:pt x="42" y="3"/>
                    </a:lnTo>
                    <a:lnTo>
                      <a:pt x="45" y="6"/>
                    </a:lnTo>
                    <a:lnTo>
                      <a:pt x="51" y="6"/>
                    </a:lnTo>
                    <a:lnTo>
                      <a:pt x="53" y="7"/>
                    </a:lnTo>
                    <a:lnTo>
                      <a:pt x="58" y="3"/>
                    </a:lnTo>
                    <a:lnTo>
                      <a:pt x="65" y="6"/>
                    </a:lnTo>
                    <a:lnTo>
                      <a:pt x="71" y="7"/>
                    </a:lnTo>
                    <a:lnTo>
                      <a:pt x="75" y="13"/>
                    </a:lnTo>
                    <a:lnTo>
                      <a:pt x="79" y="13"/>
                    </a:lnTo>
                    <a:lnTo>
                      <a:pt x="84" y="18"/>
                    </a:lnTo>
                    <a:lnTo>
                      <a:pt x="89" y="18"/>
                    </a:lnTo>
                    <a:lnTo>
                      <a:pt x="91" y="20"/>
                    </a:lnTo>
                    <a:lnTo>
                      <a:pt x="87" y="26"/>
                    </a:lnTo>
                    <a:lnTo>
                      <a:pt x="90" y="27"/>
                    </a:lnTo>
                    <a:lnTo>
                      <a:pt x="90" y="31"/>
                    </a:lnTo>
                    <a:lnTo>
                      <a:pt x="83" y="34"/>
                    </a:lnTo>
                    <a:lnTo>
                      <a:pt x="79" y="39"/>
                    </a:lnTo>
                    <a:lnTo>
                      <a:pt x="77" y="39"/>
                    </a:lnTo>
                    <a:lnTo>
                      <a:pt x="75" y="45"/>
                    </a:lnTo>
                    <a:lnTo>
                      <a:pt x="80" y="47"/>
                    </a:lnTo>
                    <a:lnTo>
                      <a:pt x="80" y="51"/>
                    </a:lnTo>
                    <a:lnTo>
                      <a:pt x="76" y="51"/>
                    </a:lnTo>
                    <a:lnTo>
                      <a:pt x="75" y="49"/>
                    </a:lnTo>
                    <a:lnTo>
                      <a:pt x="73" y="50"/>
                    </a:lnTo>
                    <a:lnTo>
                      <a:pt x="71" y="55"/>
                    </a:lnTo>
                    <a:lnTo>
                      <a:pt x="65" y="55"/>
                    </a:lnTo>
                    <a:lnTo>
                      <a:pt x="67" y="60"/>
                    </a:lnTo>
                    <a:lnTo>
                      <a:pt x="64" y="60"/>
                    </a:lnTo>
                    <a:lnTo>
                      <a:pt x="59" y="62"/>
                    </a:lnTo>
                    <a:lnTo>
                      <a:pt x="54" y="60"/>
                    </a:lnTo>
                    <a:lnTo>
                      <a:pt x="48" y="62"/>
                    </a:lnTo>
                    <a:lnTo>
                      <a:pt x="44" y="65"/>
                    </a:lnTo>
                    <a:lnTo>
                      <a:pt x="41" y="61"/>
                    </a:lnTo>
                    <a:lnTo>
                      <a:pt x="41" y="58"/>
                    </a:lnTo>
                    <a:lnTo>
                      <a:pt x="39" y="51"/>
                    </a:lnTo>
                    <a:lnTo>
                      <a:pt x="37" y="51"/>
                    </a:lnTo>
                    <a:lnTo>
                      <a:pt x="32" y="47"/>
                    </a:lnTo>
                    <a:lnTo>
                      <a:pt x="30" y="48"/>
                    </a:lnTo>
                    <a:lnTo>
                      <a:pt x="30" y="48"/>
                    </a:lnTo>
                    <a:close/>
                  </a:path>
                </a:pathLst>
              </a:custGeom>
              <a:solidFill>
                <a:schemeClr val="accent2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015" name="Freeform 17"/>
              <p:cNvSpPr>
                <a:spLocks/>
              </p:cNvSpPr>
              <p:nvPr userDrawn="1"/>
            </p:nvSpPr>
            <p:spPr bwMode="auto">
              <a:xfrm>
                <a:off x="3846" y="1800"/>
                <a:ext cx="154" cy="114"/>
              </a:xfrm>
              <a:custGeom>
                <a:avLst/>
                <a:gdLst>
                  <a:gd name="T0" fmla="*/ 4 w 154"/>
                  <a:gd name="T1" fmla="*/ 56 h 114"/>
                  <a:gd name="T2" fmla="*/ 15 w 154"/>
                  <a:gd name="T3" fmla="*/ 56 h 114"/>
                  <a:gd name="T4" fmla="*/ 23 w 154"/>
                  <a:gd name="T5" fmla="*/ 54 h 114"/>
                  <a:gd name="T6" fmla="*/ 27 w 154"/>
                  <a:gd name="T7" fmla="*/ 49 h 114"/>
                  <a:gd name="T8" fmla="*/ 31 w 154"/>
                  <a:gd name="T9" fmla="*/ 43 h 114"/>
                  <a:gd name="T10" fmla="*/ 36 w 154"/>
                  <a:gd name="T11" fmla="*/ 45 h 114"/>
                  <a:gd name="T12" fmla="*/ 31 w 154"/>
                  <a:gd name="T13" fmla="*/ 39 h 114"/>
                  <a:gd name="T14" fmla="*/ 35 w 154"/>
                  <a:gd name="T15" fmla="*/ 33 h 114"/>
                  <a:gd name="T16" fmla="*/ 46 w 154"/>
                  <a:gd name="T17" fmla="*/ 25 h 114"/>
                  <a:gd name="T18" fmla="*/ 43 w 154"/>
                  <a:gd name="T19" fmla="*/ 20 h 114"/>
                  <a:gd name="T20" fmla="*/ 52 w 154"/>
                  <a:gd name="T21" fmla="*/ 11 h 114"/>
                  <a:gd name="T22" fmla="*/ 61 w 154"/>
                  <a:gd name="T23" fmla="*/ 6 h 114"/>
                  <a:gd name="T24" fmla="*/ 66 w 154"/>
                  <a:gd name="T25" fmla="*/ 1 h 114"/>
                  <a:gd name="T26" fmla="*/ 74 w 154"/>
                  <a:gd name="T27" fmla="*/ 2 h 114"/>
                  <a:gd name="T28" fmla="*/ 81 w 154"/>
                  <a:gd name="T29" fmla="*/ 6 h 114"/>
                  <a:gd name="T30" fmla="*/ 90 w 154"/>
                  <a:gd name="T31" fmla="*/ 4 h 114"/>
                  <a:gd name="T32" fmla="*/ 97 w 154"/>
                  <a:gd name="T33" fmla="*/ 6 h 114"/>
                  <a:gd name="T34" fmla="*/ 105 w 154"/>
                  <a:gd name="T35" fmla="*/ 7 h 114"/>
                  <a:gd name="T36" fmla="*/ 116 w 154"/>
                  <a:gd name="T37" fmla="*/ 9 h 114"/>
                  <a:gd name="T38" fmla="*/ 116 w 154"/>
                  <a:gd name="T39" fmla="*/ 18 h 114"/>
                  <a:gd name="T40" fmla="*/ 118 w 154"/>
                  <a:gd name="T41" fmla="*/ 28 h 114"/>
                  <a:gd name="T42" fmla="*/ 125 w 154"/>
                  <a:gd name="T43" fmla="*/ 36 h 114"/>
                  <a:gd name="T44" fmla="*/ 134 w 154"/>
                  <a:gd name="T45" fmla="*/ 46 h 114"/>
                  <a:gd name="T46" fmla="*/ 141 w 154"/>
                  <a:gd name="T47" fmla="*/ 53 h 114"/>
                  <a:gd name="T48" fmla="*/ 149 w 154"/>
                  <a:gd name="T49" fmla="*/ 62 h 114"/>
                  <a:gd name="T50" fmla="*/ 151 w 154"/>
                  <a:gd name="T51" fmla="*/ 67 h 114"/>
                  <a:gd name="T52" fmla="*/ 138 w 154"/>
                  <a:gd name="T53" fmla="*/ 74 h 114"/>
                  <a:gd name="T54" fmla="*/ 133 w 154"/>
                  <a:gd name="T55" fmla="*/ 74 h 114"/>
                  <a:gd name="T56" fmla="*/ 137 w 154"/>
                  <a:gd name="T57" fmla="*/ 83 h 114"/>
                  <a:gd name="T58" fmla="*/ 140 w 154"/>
                  <a:gd name="T59" fmla="*/ 93 h 114"/>
                  <a:gd name="T60" fmla="*/ 139 w 154"/>
                  <a:gd name="T61" fmla="*/ 97 h 114"/>
                  <a:gd name="T62" fmla="*/ 126 w 154"/>
                  <a:gd name="T63" fmla="*/ 99 h 114"/>
                  <a:gd name="T64" fmla="*/ 123 w 154"/>
                  <a:gd name="T65" fmla="*/ 113 h 114"/>
                  <a:gd name="T66" fmla="*/ 117 w 154"/>
                  <a:gd name="T67" fmla="*/ 111 h 114"/>
                  <a:gd name="T68" fmla="*/ 108 w 154"/>
                  <a:gd name="T69" fmla="*/ 110 h 114"/>
                  <a:gd name="T70" fmla="*/ 100 w 154"/>
                  <a:gd name="T71" fmla="*/ 114 h 114"/>
                  <a:gd name="T72" fmla="*/ 96 w 154"/>
                  <a:gd name="T73" fmla="*/ 110 h 114"/>
                  <a:gd name="T74" fmla="*/ 86 w 154"/>
                  <a:gd name="T75" fmla="*/ 113 h 114"/>
                  <a:gd name="T76" fmla="*/ 78 w 154"/>
                  <a:gd name="T77" fmla="*/ 111 h 114"/>
                  <a:gd name="T78" fmla="*/ 74 w 154"/>
                  <a:gd name="T79" fmla="*/ 113 h 114"/>
                  <a:gd name="T80" fmla="*/ 65 w 154"/>
                  <a:gd name="T81" fmla="*/ 112 h 114"/>
                  <a:gd name="T82" fmla="*/ 59 w 154"/>
                  <a:gd name="T83" fmla="*/ 108 h 114"/>
                  <a:gd name="T84" fmla="*/ 44 w 154"/>
                  <a:gd name="T85" fmla="*/ 104 h 114"/>
                  <a:gd name="T86" fmla="*/ 38 w 154"/>
                  <a:gd name="T87" fmla="*/ 107 h 114"/>
                  <a:gd name="T88" fmla="*/ 19 w 154"/>
                  <a:gd name="T89" fmla="*/ 109 h 114"/>
                  <a:gd name="T90" fmla="*/ 10 w 154"/>
                  <a:gd name="T91" fmla="*/ 108 h 114"/>
                  <a:gd name="T92" fmla="*/ 8 w 154"/>
                  <a:gd name="T93" fmla="*/ 106 h 114"/>
                  <a:gd name="T94" fmla="*/ 2 w 154"/>
                  <a:gd name="T95" fmla="*/ 95 h 114"/>
                  <a:gd name="T96" fmla="*/ 9 w 154"/>
                  <a:gd name="T97" fmla="*/ 90 h 114"/>
                  <a:gd name="T98" fmla="*/ 7 w 154"/>
                  <a:gd name="T99" fmla="*/ 76 h 114"/>
                  <a:gd name="T100" fmla="*/ 3 w 154"/>
                  <a:gd name="T101" fmla="*/ 69 h 114"/>
                  <a:gd name="T102" fmla="*/ 0 w 154"/>
                  <a:gd name="T103" fmla="*/ 59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54" h="114">
                    <a:moveTo>
                      <a:pt x="0" y="59"/>
                    </a:moveTo>
                    <a:lnTo>
                      <a:pt x="4" y="56"/>
                    </a:lnTo>
                    <a:lnTo>
                      <a:pt x="10" y="54"/>
                    </a:lnTo>
                    <a:lnTo>
                      <a:pt x="15" y="56"/>
                    </a:lnTo>
                    <a:lnTo>
                      <a:pt x="20" y="54"/>
                    </a:lnTo>
                    <a:lnTo>
                      <a:pt x="23" y="54"/>
                    </a:lnTo>
                    <a:lnTo>
                      <a:pt x="21" y="49"/>
                    </a:lnTo>
                    <a:lnTo>
                      <a:pt x="27" y="49"/>
                    </a:lnTo>
                    <a:lnTo>
                      <a:pt x="29" y="44"/>
                    </a:lnTo>
                    <a:lnTo>
                      <a:pt x="31" y="43"/>
                    </a:lnTo>
                    <a:lnTo>
                      <a:pt x="32" y="45"/>
                    </a:lnTo>
                    <a:lnTo>
                      <a:pt x="36" y="45"/>
                    </a:lnTo>
                    <a:lnTo>
                      <a:pt x="36" y="41"/>
                    </a:lnTo>
                    <a:lnTo>
                      <a:pt x="31" y="39"/>
                    </a:lnTo>
                    <a:lnTo>
                      <a:pt x="33" y="33"/>
                    </a:lnTo>
                    <a:lnTo>
                      <a:pt x="35" y="33"/>
                    </a:lnTo>
                    <a:lnTo>
                      <a:pt x="39" y="28"/>
                    </a:lnTo>
                    <a:lnTo>
                      <a:pt x="46" y="25"/>
                    </a:lnTo>
                    <a:lnTo>
                      <a:pt x="46" y="21"/>
                    </a:lnTo>
                    <a:lnTo>
                      <a:pt x="43" y="20"/>
                    </a:lnTo>
                    <a:lnTo>
                      <a:pt x="47" y="14"/>
                    </a:lnTo>
                    <a:lnTo>
                      <a:pt x="52" y="11"/>
                    </a:lnTo>
                    <a:lnTo>
                      <a:pt x="60" y="10"/>
                    </a:lnTo>
                    <a:lnTo>
                      <a:pt x="61" y="6"/>
                    </a:lnTo>
                    <a:lnTo>
                      <a:pt x="64" y="5"/>
                    </a:lnTo>
                    <a:lnTo>
                      <a:pt x="66" y="1"/>
                    </a:lnTo>
                    <a:lnTo>
                      <a:pt x="70" y="0"/>
                    </a:lnTo>
                    <a:lnTo>
                      <a:pt x="74" y="2"/>
                    </a:lnTo>
                    <a:lnTo>
                      <a:pt x="77" y="0"/>
                    </a:lnTo>
                    <a:lnTo>
                      <a:pt x="81" y="6"/>
                    </a:lnTo>
                    <a:lnTo>
                      <a:pt x="86" y="3"/>
                    </a:lnTo>
                    <a:lnTo>
                      <a:pt x="90" y="4"/>
                    </a:lnTo>
                    <a:lnTo>
                      <a:pt x="93" y="9"/>
                    </a:lnTo>
                    <a:lnTo>
                      <a:pt x="97" y="6"/>
                    </a:lnTo>
                    <a:lnTo>
                      <a:pt x="103" y="5"/>
                    </a:lnTo>
                    <a:lnTo>
                      <a:pt x="105" y="7"/>
                    </a:lnTo>
                    <a:lnTo>
                      <a:pt x="108" y="7"/>
                    </a:lnTo>
                    <a:lnTo>
                      <a:pt x="116" y="9"/>
                    </a:lnTo>
                    <a:lnTo>
                      <a:pt x="117" y="14"/>
                    </a:lnTo>
                    <a:lnTo>
                      <a:pt x="116" y="18"/>
                    </a:lnTo>
                    <a:lnTo>
                      <a:pt x="118" y="22"/>
                    </a:lnTo>
                    <a:lnTo>
                      <a:pt x="118" y="28"/>
                    </a:lnTo>
                    <a:lnTo>
                      <a:pt x="123" y="31"/>
                    </a:lnTo>
                    <a:lnTo>
                      <a:pt x="125" y="36"/>
                    </a:lnTo>
                    <a:lnTo>
                      <a:pt x="130" y="43"/>
                    </a:lnTo>
                    <a:lnTo>
                      <a:pt x="134" y="46"/>
                    </a:lnTo>
                    <a:lnTo>
                      <a:pt x="135" y="52"/>
                    </a:lnTo>
                    <a:lnTo>
                      <a:pt x="141" y="53"/>
                    </a:lnTo>
                    <a:lnTo>
                      <a:pt x="148" y="59"/>
                    </a:lnTo>
                    <a:lnTo>
                      <a:pt x="149" y="62"/>
                    </a:lnTo>
                    <a:lnTo>
                      <a:pt x="154" y="65"/>
                    </a:lnTo>
                    <a:lnTo>
                      <a:pt x="151" y="67"/>
                    </a:lnTo>
                    <a:lnTo>
                      <a:pt x="147" y="73"/>
                    </a:lnTo>
                    <a:lnTo>
                      <a:pt x="138" y="74"/>
                    </a:lnTo>
                    <a:lnTo>
                      <a:pt x="134" y="71"/>
                    </a:lnTo>
                    <a:lnTo>
                      <a:pt x="133" y="74"/>
                    </a:lnTo>
                    <a:lnTo>
                      <a:pt x="133" y="78"/>
                    </a:lnTo>
                    <a:lnTo>
                      <a:pt x="137" y="83"/>
                    </a:lnTo>
                    <a:lnTo>
                      <a:pt x="136" y="88"/>
                    </a:lnTo>
                    <a:lnTo>
                      <a:pt x="140" y="93"/>
                    </a:lnTo>
                    <a:lnTo>
                      <a:pt x="140" y="97"/>
                    </a:lnTo>
                    <a:lnTo>
                      <a:pt x="139" y="97"/>
                    </a:lnTo>
                    <a:lnTo>
                      <a:pt x="132" y="99"/>
                    </a:lnTo>
                    <a:lnTo>
                      <a:pt x="126" y="99"/>
                    </a:lnTo>
                    <a:lnTo>
                      <a:pt x="124" y="107"/>
                    </a:lnTo>
                    <a:lnTo>
                      <a:pt x="123" y="113"/>
                    </a:lnTo>
                    <a:lnTo>
                      <a:pt x="119" y="113"/>
                    </a:lnTo>
                    <a:lnTo>
                      <a:pt x="117" y="111"/>
                    </a:lnTo>
                    <a:lnTo>
                      <a:pt x="111" y="112"/>
                    </a:lnTo>
                    <a:lnTo>
                      <a:pt x="108" y="110"/>
                    </a:lnTo>
                    <a:lnTo>
                      <a:pt x="104" y="110"/>
                    </a:lnTo>
                    <a:lnTo>
                      <a:pt x="100" y="114"/>
                    </a:lnTo>
                    <a:lnTo>
                      <a:pt x="97" y="113"/>
                    </a:lnTo>
                    <a:lnTo>
                      <a:pt x="96" y="110"/>
                    </a:lnTo>
                    <a:lnTo>
                      <a:pt x="92" y="109"/>
                    </a:lnTo>
                    <a:lnTo>
                      <a:pt x="86" y="113"/>
                    </a:lnTo>
                    <a:lnTo>
                      <a:pt x="83" y="112"/>
                    </a:lnTo>
                    <a:lnTo>
                      <a:pt x="78" y="111"/>
                    </a:lnTo>
                    <a:lnTo>
                      <a:pt x="76" y="112"/>
                    </a:lnTo>
                    <a:lnTo>
                      <a:pt x="74" y="113"/>
                    </a:lnTo>
                    <a:lnTo>
                      <a:pt x="71" y="110"/>
                    </a:lnTo>
                    <a:lnTo>
                      <a:pt x="65" y="112"/>
                    </a:lnTo>
                    <a:lnTo>
                      <a:pt x="64" y="110"/>
                    </a:lnTo>
                    <a:lnTo>
                      <a:pt x="59" y="108"/>
                    </a:lnTo>
                    <a:lnTo>
                      <a:pt x="49" y="106"/>
                    </a:lnTo>
                    <a:lnTo>
                      <a:pt x="44" y="104"/>
                    </a:lnTo>
                    <a:lnTo>
                      <a:pt x="42" y="104"/>
                    </a:lnTo>
                    <a:lnTo>
                      <a:pt x="38" y="107"/>
                    </a:lnTo>
                    <a:lnTo>
                      <a:pt x="32" y="107"/>
                    </a:lnTo>
                    <a:lnTo>
                      <a:pt x="19" y="109"/>
                    </a:lnTo>
                    <a:lnTo>
                      <a:pt x="16" y="111"/>
                    </a:lnTo>
                    <a:lnTo>
                      <a:pt x="10" y="108"/>
                    </a:lnTo>
                    <a:lnTo>
                      <a:pt x="8" y="108"/>
                    </a:lnTo>
                    <a:lnTo>
                      <a:pt x="8" y="106"/>
                    </a:lnTo>
                    <a:lnTo>
                      <a:pt x="4" y="100"/>
                    </a:lnTo>
                    <a:lnTo>
                      <a:pt x="2" y="95"/>
                    </a:lnTo>
                    <a:lnTo>
                      <a:pt x="5" y="91"/>
                    </a:lnTo>
                    <a:lnTo>
                      <a:pt x="9" y="90"/>
                    </a:lnTo>
                    <a:lnTo>
                      <a:pt x="9" y="78"/>
                    </a:lnTo>
                    <a:lnTo>
                      <a:pt x="7" y="76"/>
                    </a:lnTo>
                    <a:lnTo>
                      <a:pt x="6" y="73"/>
                    </a:lnTo>
                    <a:lnTo>
                      <a:pt x="3" y="69"/>
                    </a:lnTo>
                    <a:lnTo>
                      <a:pt x="0" y="60"/>
                    </a:lnTo>
                    <a:lnTo>
                      <a:pt x="0" y="59"/>
                    </a:lnTo>
                    <a:lnTo>
                      <a:pt x="0" y="59"/>
                    </a:lnTo>
                    <a:close/>
                  </a:path>
                </a:pathLst>
              </a:custGeom>
              <a:solidFill>
                <a:schemeClr val="accent2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016" name="Freeform 18"/>
              <p:cNvSpPr>
                <a:spLocks/>
              </p:cNvSpPr>
              <p:nvPr userDrawn="1"/>
            </p:nvSpPr>
            <p:spPr bwMode="auto">
              <a:xfrm>
                <a:off x="3808" y="1992"/>
                <a:ext cx="162" cy="100"/>
              </a:xfrm>
              <a:custGeom>
                <a:avLst/>
                <a:gdLst>
                  <a:gd name="T0" fmla="*/ 40 w 162"/>
                  <a:gd name="T1" fmla="*/ 4 h 100"/>
                  <a:gd name="T2" fmla="*/ 47 w 162"/>
                  <a:gd name="T3" fmla="*/ 2 h 100"/>
                  <a:gd name="T4" fmla="*/ 58 w 162"/>
                  <a:gd name="T5" fmla="*/ 6 h 100"/>
                  <a:gd name="T6" fmla="*/ 65 w 162"/>
                  <a:gd name="T7" fmla="*/ 11 h 100"/>
                  <a:gd name="T8" fmla="*/ 74 w 162"/>
                  <a:gd name="T9" fmla="*/ 11 h 100"/>
                  <a:gd name="T10" fmla="*/ 81 w 162"/>
                  <a:gd name="T11" fmla="*/ 7 h 100"/>
                  <a:gd name="T12" fmla="*/ 98 w 162"/>
                  <a:gd name="T13" fmla="*/ 2 h 100"/>
                  <a:gd name="T14" fmla="*/ 112 w 162"/>
                  <a:gd name="T15" fmla="*/ 9 h 100"/>
                  <a:gd name="T16" fmla="*/ 119 w 162"/>
                  <a:gd name="T17" fmla="*/ 18 h 100"/>
                  <a:gd name="T18" fmla="*/ 131 w 162"/>
                  <a:gd name="T19" fmla="*/ 31 h 100"/>
                  <a:gd name="T20" fmla="*/ 133 w 162"/>
                  <a:gd name="T21" fmla="*/ 53 h 100"/>
                  <a:gd name="T22" fmla="*/ 138 w 162"/>
                  <a:gd name="T23" fmla="*/ 62 h 100"/>
                  <a:gd name="T24" fmla="*/ 151 w 162"/>
                  <a:gd name="T25" fmla="*/ 64 h 100"/>
                  <a:gd name="T26" fmla="*/ 159 w 162"/>
                  <a:gd name="T27" fmla="*/ 61 h 100"/>
                  <a:gd name="T28" fmla="*/ 160 w 162"/>
                  <a:gd name="T29" fmla="*/ 65 h 100"/>
                  <a:gd name="T30" fmla="*/ 162 w 162"/>
                  <a:gd name="T31" fmla="*/ 70 h 100"/>
                  <a:gd name="T32" fmla="*/ 155 w 162"/>
                  <a:gd name="T33" fmla="*/ 75 h 100"/>
                  <a:gd name="T34" fmla="*/ 149 w 162"/>
                  <a:gd name="T35" fmla="*/ 79 h 100"/>
                  <a:gd name="T36" fmla="*/ 148 w 162"/>
                  <a:gd name="T37" fmla="*/ 84 h 100"/>
                  <a:gd name="T38" fmla="*/ 145 w 162"/>
                  <a:gd name="T39" fmla="*/ 93 h 100"/>
                  <a:gd name="T40" fmla="*/ 142 w 162"/>
                  <a:gd name="T41" fmla="*/ 97 h 100"/>
                  <a:gd name="T42" fmla="*/ 136 w 162"/>
                  <a:gd name="T43" fmla="*/ 93 h 100"/>
                  <a:gd name="T44" fmla="*/ 132 w 162"/>
                  <a:gd name="T45" fmla="*/ 92 h 100"/>
                  <a:gd name="T46" fmla="*/ 119 w 162"/>
                  <a:gd name="T47" fmla="*/ 89 h 100"/>
                  <a:gd name="T48" fmla="*/ 104 w 162"/>
                  <a:gd name="T49" fmla="*/ 95 h 100"/>
                  <a:gd name="T50" fmla="*/ 98 w 162"/>
                  <a:gd name="T51" fmla="*/ 98 h 100"/>
                  <a:gd name="T52" fmla="*/ 89 w 162"/>
                  <a:gd name="T53" fmla="*/ 99 h 100"/>
                  <a:gd name="T54" fmla="*/ 82 w 162"/>
                  <a:gd name="T55" fmla="*/ 98 h 100"/>
                  <a:gd name="T56" fmla="*/ 75 w 162"/>
                  <a:gd name="T57" fmla="*/ 98 h 100"/>
                  <a:gd name="T58" fmla="*/ 64 w 162"/>
                  <a:gd name="T59" fmla="*/ 98 h 100"/>
                  <a:gd name="T60" fmla="*/ 60 w 162"/>
                  <a:gd name="T61" fmla="*/ 97 h 100"/>
                  <a:gd name="T62" fmla="*/ 50 w 162"/>
                  <a:gd name="T63" fmla="*/ 99 h 100"/>
                  <a:gd name="T64" fmla="*/ 49 w 162"/>
                  <a:gd name="T65" fmla="*/ 95 h 100"/>
                  <a:gd name="T66" fmla="*/ 47 w 162"/>
                  <a:gd name="T67" fmla="*/ 90 h 100"/>
                  <a:gd name="T68" fmla="*/ 42 w 162"/>
                  <a:gd name="T69" fmla="*/ 85 h 100"/>
                  <a:gd name="T70" fmla="*/ 44 w 162"/>
                  <a:gd name="T71" fmla="*/ 79 h 100"/>
                  <a:gd name="T72" fmla="*/ 34 w 162"/>
                  <a:gd name="T73" fmla="*/ 82 h 100"/>
                  <a:gd name="T74" fmla="*/ 27 w 162"/>
                  <a:gd name="T75" fmla="*/ 81 h 100"/>
                  <a:gd name="T76" fmla="*/ 20 w 162"/>
                  <a:gd name="T77" fmla="*/ 76 h 100"/>
                  <a:gd name="T78" fmla="*/ 22 w 162"/>
                  <a:gd name="T79" fmla="*/ 70 h 100"/>
                  <a:gd name="T80" fmla="*/ 11 w 162"/>
                  <a:gd name="T81" fmla="*/ 64 h 100"/>
                  <a:gd name="T82" fmla="*/ 4 w 162"/>
                  <a:gd name="T83" fmla="*/ 55 h 100"/>
                  <a:gd name="T84" fmla="*/ 0 w 162"/>
                  <a:gd name="T85" fmla="*/ 51 h 100"/>
                  <a:gd name="T86" fmla="*/ 6 w 162"/>
                  <a:gd name="T87" fmla="*/ 46 h 100"/>
                  <a:gd name="T88" fmla="*/ 13 w 162"/>
                  <a:gd name="T89" fmla="*/ 44 h 100"/>
                  <a:gd name="T90" fmla="*/ 17 w 162"/>
                  <a:gd name="T91" fmla="*/ 37 h 100"/>
                  <a:gd name="T92" fmla="*/ 27 w 162"/>
                  <a:gd name="T93" fmla="*/ 17 h 100"/>
                  <a:gd name="T94" fmla="*/ 35 w 162"/>
                  <a:gd name="T95" fmla="*/ 10 h 100"/>
                  <a:gd name="T96" fmla="*/ 37 w 162"/>
                  <a:gd name="T97" fmla="*/ 4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62" h="100">
                    <a:moveTo>
                      <a:pt x="37" y="4"/>
                    </a:moveTo>
                    <a:lnTo>
                      <a:pt x="40" y="4"/>
                    </a:lnTo>
                    <a:lnTo>
                      <a:pt x="43" y="2"/>
                    </a:lnTo>
                    <a:lnTo>
                      <a:pt x="47" y="2"/>
                    </a:lnTo>
                    <a:lnTo>
                      <a:pt x="53" y="6"/>
                    </a:lnTo>
                    <a:lnTo>
                      <a:pt x="58" y="6"/>
                    </a:lnTo>
                    <a:lnTo>
                      <a:pt x="63" y="8"/>
                    </a:lnTo>
                    <a:lnTo>
                      <a:pt x="65" y="11"/>
                    </a:lnTo>
                    <a:lnTo>
                      <a:pt x="69" y="12"/>
                    </a:lnTo>
                    <a:lnTo>
                      <a:pt x="74" y="11"/>
                    </a:lnTo>
                    <a:lnTo>
                      <a:pt x="78" y="11"/>
                    </a:lnTo>
                    <a:lnTo>
                      <a:pt x="81" y="7"/>
                    </a:lnTo>
                    <a:lnTo>
                      <a:pt x="93" y="5"/>
                    </a:lnTo>
                    <a:lnTo>
                      <a:pt x="98" y="2"/>
                    </a:lnTo>
                    <a:lnTo>
                      <a:pt x="110" y="0"/>
                    </a:lnTo>
                    <a:lnTo>
                      <a:pt x="112" y="9"/>
                    </a:lnTo>
                    <a:lnTo>
                      <a:pt x="119" y="14"/>
                    </a:lnTo>
                    <a:lnTo>
                      <a:pt x="119" y="18"/>
                    </a:lnTo>
                    <a:lnTo>
                      <a:pt x="130" y="26"/>
                    </a:lnTo>
                    <a:lnTo>
                      <a:pt x="131" y="31"/>
                    </a:lnTo>
                    <a:lnTo>
                      <a:pt x="133" y="35"/>
                    </a:lnTo>
                    <a:lnTo>
                      <a:pt x="133" y="53"/>
                    </a:lnTo>
                    <a:lnTo>
                      <a:pt x="135" y="57"/>
                    </a:lnTo>
                    <a:lnTo>
                      <a:pt x="138" y="62"/>
                    </a:lnTo>
                    <a:lnTo>
                      <a:pt x="144" y="63"/>
                    </a:lnTo>
                    <a:lnTo>
                      <a:pt x="151" y="64"/>
                    </a:lnTo>
                    <a:lnTo>
                      <a:pt x="154" y="61"/>
                    </a:lnTo>
                    <a:lnTo>
                      <a:pt x="159" y="61"/>
                    </a:lnTo>
                    <a:lnTo>
                      <a:pt x="162" y="63"/>
                    </a:lnTo>
                    <a:lnTo>
                      <a:pt x="160" y="65"/>
                    </a:lnTo>
                    <a:lnTo>
                      <a:pt x="162" y="67"/>
                    </a:lnTo>
                    <a:lnTo>
                      <a:pt x="162" y="70"/>
                    </a:lnTo>
                    <a:lnTo>
                      <a:pt x="159" y="74"/>
                    </a:lnTo>
                    <a:lnTo>
                      <a:pt x="155" y="75"/>
                    </a:lnTo>
                    <a:lnTo>
                      <a:pt x="150" y="76"/>
                    </a:lnTo>
                    <a:lnTo>
                      <a:pt x="149" y="79"/>
                    </a:lnTo>
                    <a:lnTo>
                      <a:pt x="146" y="81"/>
                    </a:lnTo>
                    <a:lnTo>
                      <a:pt x="148" y="84"/>
                    </a:lnTo>
                    <a:lnTo>
                      <a:pt x="147" y="89"/>
                    </a:lnTo>
                    <a:lnTo>
                      <a:pt x="145" y="93"/>
                    </a:lnTo>
                    <a:lnTo>
                      <a:pt x="147" y="97"/>
                    </a:lnTo>
                    <a:lnTo>
                      <a:pt x="142" y="97"/>
                    </a:lnTo>
                    <a:lnTo>
                      <a:pt x="141" y="95"/>
                    </a:lnTo>
                    <a:lnTo>
                      <a:pt x="136" y="93"/>
                    </a:lnTo>
                    <a:lnTo>
                      <a:pt x="133" y="94"/>
                    </a:lnTo>
                    <a:lnTo>
                      <a:pt x="132" y="92"/>
                    </a:lnTo>
                    <a:lnTo>
                      <a:pt x="125" y="90"/>
                    </a:lnTo>
                    <a:lnTo>
                      <a:pt x="119" y="89"/>
                    </a:lnTo>
                    <a:lnTo>
                      <a:pt x="114" y="90"/>
                    </a:lnTo>
                    <a:lnTo>
                      <a:pt x="104" y="95"/>
                    </a:lnTo>
                    <a:lnTo>
                      <a:pt x="102" y="98"/>
                    </a:lnTo>
                    <a:lnTo>
                      <a:pt x="98" y="98"/>
                    </a:lnTo>
                    <a:lnTo>
                      <a:pt x="95" y="100"/>
                    </a:lnTo>
                    <a:lnTo>
                      <a:pt x="89" y="99"/>
                    </a:lnTo>
                    <a:lnTo>
                      <a:pt x="86" y="99"/>
                    </a:lnTo>
                    <a:lnTo>
                      <a:pt x="82" y="98"/>
                    </a:lnTo>
                    <a:lnTo>
                      <a:pt x="79" y="99"/>
                    </a:lnTo>
                    <a:lnTo>
                      <a:pt x="75" y="98"/>
                    </a:lnTo>
                    <a:lnTo>
                      <a:pt x="69" y="100"/>
                    </a:lnTo>
                    <a:lnTo>
                      <a:pt x="64" y="98"/>
                    </a:lnTo>
                    <a:lnTo>
                      <a:pt x="62" y="98"/>
                    </a:lnTo>
                    <a:lnTo>
                      <a:pt x="60" y="97"/>
                    </a:lnTo>
                    <a:lnTo>
                      <a:pt x="55" y="97"/>
                    </a:lnTo>
                    <a:lnTo>
                      <a:pt x="50" y="99"/>
                    </a:lnTo>
                    <a:lnTo>
                      <a:pt x="48" y="97"/>
                    </a:lnTo>
                    <a:lnTo>
                      <a:pt x="49" y="95"/>
                    </a:lnTo>
                    <a:lnTo>
                      <a:pt x="49" y="92"/>
                    </a:lnTo>
                    <a:lnTo>
                      <a:pt x="47" y="90"/>
                    </a:lnTo>
                    <a:lnTo>
                      <a:pt x="43" y="89"/>
                    </a:lnTo>
                    <a:lnTo>
                      <a:pt x="42" y="85"/>
                    </a:lnTo>
                    <a:lnTo>
                      <a:pt x="41" y="83"/>
                    </a:lnTo>
                    <a:lnTo>
                      <a:pt x="44" y="79"/>
                    </a:lnTo>
                    <a:lnTo>
                      <a:pt x="38" y="78"/>
                    </a:lnTo>
                    <a:lnTo>
                      <a:pt x="34" y="82"/>
                    </a:lnTo>
                    <a:lnTo>
                      <a:pt x="31" y="79"/>
                    </a:lnTo>
                    <a:lnTo>
                      <a:pt x="27" y="81"/>
                    </a:lnTo>
                    <a:lnTo>
                      <a:pt x="26" y="78"/>
                    </a:lnTo>
                    <a:lnTo>
                      <a:pt x="20" y="76"/>
                    </a:lnTo>
                    <a:lnTo>
                      <a:pt x="19" y="75"/>
                    </a:lnTo>
                    <a:lnTo>
                      <a:pt x="22" y="70"/>
                    </a:lnTo>
                    <a:lnTo>
                      <a:pt x="16" y="66"/>
                    </a:lnTo>
                    <a:lnTo>
                      <a:pt x="11" y="64"/>
                    </a:lnTo>
                    <a:lnTo>
                      <a:pt x="10" y="61"/>
                    </a:lnTo>
                    <a:lnTo>
                      <a:pt x="4" y="55"/>
                    </a:lnTo>
                    <a:lnTo>
                      <a:pt x="4" y="52"/>
                    </a:lnTo>
                    <a:lnTo>
                      <a:pt x="0" y="51"/>
                    </a:lnTo>
                    <a:lnTo>
                      <a:pt x="4" y="47"/>
                    </a:lnTo>
                    <a:lnTo>
                      <a:pt x="6" y="46"/>
                    </a:lnTo>
                    <a:lnTo>
                      <a:pt x="8" y="43"/>
                    </a:lnTo>
                    <a:lnTo>
                      <a:pt x="13" y="44"/>
                    </a:lnTo>
                    <a:lnTo>
                      <a:pt x="17" y="40"/>
                    </a:lnTo>
                    <a:lnTo>
                      <a:pt x="17" y="37"/>
                    </a:lnTo>
                    <a:lnTo>
                      <a:pt x="24" y="28"/>
                    </a:lnTo>
                    <a:lnTo>
                      <a:pt x="27" y="17"/>
                    </a:lnTo>
                    <a:lnTo>
                      <a:pt x="31" y="10"/>
                    </a:lnTo>
                    <a:lnTo>
                      <a:pt x="35" y="10"/>
                    </a:lnTo>
                    <a:lnTo>
                      <a:pt x="37" y="5"/>
                    </a:lnTo>
                    <a:lnTo>
                      <a:pt x="37" y="4"/>
                    </a:lnTo>
                    <a:lnTo>
                      <a:pt x="37" y="4"/>
                    </a:lnTo>
                    <a:close/>
                  </a:path>
                </a:pathLst>
              </a:custGeom>
              <a:solidFill>
                <a:schemeClr val="accent2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017" name="Freeform 19"/>
              <p:cNvSpPr>
                <a:spLocks/>
              </p:cNvSpPr>
              <p:nvPr userDrawn="1"/>
            </p:nvSpPr>
            <p:spPr bwMode="auto">
              <a:xfrm>
                <a:off x="3747" y="1967"/>
                <a:ext cx="92" cy="38"/>
              </a:xfrm>
              <a:custGeom>
                <a:avLst/>
                <a:gdLst>
                  <a:gd name="T0" fmla="*/ 1 w 92"/>
                  <a:gd name="T1" fmla="*/ 31 h 38"/>
                  <a:gd name="T2" fmla="*/ 14 w 92"/>
                  <a:gd name="T3" fmla="*/ 37 h 38"/>
                  <a:gd name="T4" fmla="*/ 20 w 92"/>
                  <a:gd name="T5" fmla="*/ 38 h 38"/>
                  <a:gd name="T6" fmla="*/ 26 w 92"/>
                  <a:gd name="T7" fmla="*/ 36 h 38"/>
                  <a:gd name="T8" fmla="*/ 36 w 92"/>
                  <a:gd name="T9" fmla="*/ 36 h 38"/>
                  <a:gd name="T10" fmla="*/ 37 w 92"/>
                  <a:gd name="T11" fmla="*/ 32 h 38"/>
                  <a:gd name="T12" fmla="*/ 42 w 92"/>
                  <a:gd name="T13" fmla="*/ 31 h 38"/>
                  <a:gd name="T14" fmla="*/ 47 w 92"/>
                  <a:gd name="T15" fmla="*/ 26 h 38"/>
                  <a:gd name="T16" fmla="*/ 53 w 92"/>
                  <a:gd name="T17" fmla="*/ 31 h 38"/>
                  <a:gd name="T18" fmla="*/ 53 w 92"/>
                  <a:gd name="T19" fmla="*/ 28 h 38"/>
                  <a:gd name="T20" fmla="*/ 57 w 92"/>
                  <a:gd name="T21" fmla="*/ 25 h 38"/>
                  <a:gd name="T22" fmla="*/ 60 w 92"/>
                  <a:gd name="T23" fmla="*/ 20 h 38"/>
                  <a:gd name="T24" fmla="*/ 65 w 92"/>
                  <a:gd name="T25" fmla="*/ 19 h 38"/>
                  <a:gd name="T26" fmla="*/ 70 w 92"/>
                  <a:gd name="T27" fmla="*/ 21 h 38"/>
                  <a:gd name="T28" fmla="*/ 78 w 92"/>
                  <a:gd name="T29" fmla="*/ 20 h 38"/>
                  <a:gd name="T30" fmla="*/ 84 w 92"/>
                  <a:gd name="T31" fmla="*/ 21 h 38"/>
                  <a:gd name="T32" fmla="*/ 88 w 92"/>
                  <a:gd name="T33" fmla="*/ 18 h 38"/>
                  <a:gd name="T34" fmla="*/ 89 w 92"/>
                  <a:gd name="T35" fmla="*/ 13 h 38"/>
                  <a:gd name="T36" fmla="*/ 92 w 92"/>
                  <a:gd name="T37" fmla="*/ 5 h 38"/>
                  <a:gd name="T38" fmla="*/ 92 w 92"/>
                  <a:gd name="T39" fmla="*/ 5 h 38"/>
                  <a:gd name="T40" fmla="*/ 85 w 92"/>
                  <a:gd name="T41" fmla="*/ 0 h 38"/>
                  <a:gd name="T42" fmla="*/ 78 w 92"/>
                  <a:gd name="T43" fmla="*/ 0 h 38"/>
                  <a:gd name="T44" fmla="*/ 75 w 92"/>
                  <a:gd name="T45" fmla="*/ 1 h 38"/>
                  <a:gd name="T46" fmla="*/ 72 w 92"/>
                  <a:gd name="T47" fmla="*/ 0 h 38"/>
                  <a:gd name="T48" fmla="*/ 69 w 92"/>
                  <a:gd name="T49" fmla="*/ 0 h 38"/>
                  <a:gd name="T50" fmla="*/ 67 w 92"/>
                  <a:gd name="T51" fmla="*/ 3 h 38"/>
                  <a:gd name="T52" fmla="*/ 65 w 92"/>
                  <a:gd name="T53" fmla="*/ 1 h 38"/>
                  <a:gd name="T54" fmla="*/ 61 w 92"/>
                  <a:gd name="T55" fmla="*/ 1 h 38"/>
                  <a:gd name="T56" fmla="*/ 58 w 92"/>
                  <a:gd name="T57" fmla="*/ 0 h 38"/>
                  <a:gd name="T58" fmla="*/ 54 w 92"/>
                  <a:gd name="T59" fmla="*/ 1 h 38"/>
                  <a:gd name="T60" fmla="*/ 52 w 92"/>
                  <a:gd name="T61" fmla="*/ 5 h 38"/>
                  <a:gd name="T62" fmla="*/ 49 w 92"/>
                  <a:gd name="T63" fmla="*/ 5 h 38"/>
                  <a:gd name="T64" fmla="*/ 48 w 92"/>
                  <a:gd name="T65" fmla="*/ 4 h 38"/>
                  <a:gd name="T66" fmla="*/ 48 w 92"/>
                  <a:gd name="T67" fmla="*/ 5 h 38"/>
                  <a:gd name="T68" fmla="*/ 40 w 92"/>
                  <a:gd name="T69" fmla="*/ 4 h 38"/>
                  <a:gd name="T70" fmla="*/ 36 w 92"/>
                  <a:gd name="T71" fmla="*/ 7 h 38"/>
                  <a:gd name="T72" fmla="*/ 31 w 92"/>
                  <a:gd name="T73" fmla="*/ 8 h 38"/>
                  <a:gd name="T74" fmla="*/ 25 w 92"/>
                  <a:gd name="T75" fmla="*/ 13 h 38"/>
                  <a:gd name="T76" fmla="*/ 19 w 92"/>
                  <a:gd name="T77" fmla="*/ 14 h 38"/>
                  <a:gd name="T78" fmla="*/ 12 w 92"/>
                  <a:gd name="T79" fmla="*/ 15 h 38"/>
                  <a:gd name="T80" fmla="*/ 10 w 92"/>
                  <a:gd name="T81" fmla="*/ 15 h 38"/>
                  <a:gd name="T82" fmla="*/ 6 w 92"/>
                  <a:gd name="T83" fmla="*/ 15 h 38"/>
                  <a:gd name="T84" fmla="*/ 1 w 92"/>
                  <a:gd name="T85" fmla="*/ 17 h 38"/>
                  <a:gd name="T86" fmla="*/ 0 w 92"/>
                  <a:gd name="T87" fmla="*/ 17 h 38"/>
                  <a:gd name="T88" fmla="*/ 0 w 92"/>
                  <a:gd name="T89" fmla="*/ 23 h 38"/>
                  <a:gd name="T90" fmla="*/ 1 w 92"/>
                  <a:gd name="T91" fmla="*/ 31 h 38"/>
                  <a:gd name="T92" fmla="*/ 1 w 92"/>
                  <a:gd name="T93" fmla="*/ 31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92" h="38">
                    <a:moveTo>
                      <a:pt x="1" y="31"/>
                    </a:moveTo>
                    <a:lnTo>
                      <a:pt x="14" y="37"/>
                    </a:lnTo>
                    <a:lnTo>
                      <a:pt x="20" y="38"/>
                    </a:lnTo>
                    <a:lnTo>
                      <a:pt x="26" y="36"/>
                    </a:lnTo>
                    <a:lnTo>
                      <a:pt x="36" y="36"/>
                    </a:lnTo>
                    <a:lnTo>
                      <a:pt x="37" y="32"/>
                    </a:lnTo>
                    <a:lnTo>
                      <a:pt x="42" y="31"/>
                    </a:lnTo>
                    <a:lnTo>
                      <a:pt x="47" y="26"/>
                    </a:lnTo>
                    <a:lnTo>
                      <a:pt x="53" y="31"/>
                    </a:lnTo>
                    <a:lnTo>
                      <a:pt x="53" y="28"/>
                    </a:lnTo>
                    <a:lnTo>
                      <a:pt x="57" y="25"/>
                    </a:lnTo>
                    <a:lnTo>
                      <a:pt x="60" y="20"/>
                    </a:lnTo>
                    <a:lnTo>
                      <a:pt x="65" y="19"/>
                    </a:lnTo>
                    <a:lnTo>
                      <a:pt x="70" y="21"/>
                    </a:lnTo>
                    <a:lnTo>
                      <a:pt x="78" y="20"/>
                    </a:lnTo>
                    <a:lnTo>
                      <a:pt x="84" y="21"/>
                    </a:lnTo>
                    <a:lnTo>
                      <a:pt x="88" y="18"/>
                    </a:lnTo>
                    <a:lnTo>
                      <a:pt x="89" y="13"/>
                    </a:lnTo>
                    <a:lnTo>
                      <a:pt x="92" y="5"/>
                    </a:lnTo>
                    <a:lnTo>
                      <a:pt x="92" y="5"/>
                    </a:lnTo>
                    <a:lnTo>
                      <a:pt x="85" y="0"/>
                    </a:lnTo>
                    <a:lnTo>
                      <a:pt x="78" y="0"/>
                    </a:lnTo>
                    <a:lnTo>
                      <a:pt x="75" y="1"/>
                    </a:lnTo>
                    <a:lnTo>
                      <a:pt x="72" y="0"/>
                    </a:lnTo>
                    <a:lnTo>
                      <a:pt x="69" y="0"/>
                    </a:lnTo>
                    <a:lnTo>
                      <a:pt x="67" y="3"/>
                    </a:lnTo>
                    <a:lnTo>
                      <a:pt x="65" y="1"/>
                    </a:lnTo>
                    <a:lnTo>
                      <a:pt x="61" y="1"/>
                    </a:lnTo>
                    <a:lnTo>
                      <a:pt x="58" y="0"/>
                    </a:lnTo>
                    <a:lnTo>
                      <a:pt x="54" y="1"/>
                    </a:lnTo>
                    <a:lnTo>
                      <a:pt x="52" y="5"/>
                    </a:lnTo>
                    <a:lnTo>
                      <a:pt x="49" y="5"/>
                    </a:lnTo>
                    <a:lnTo>
                      <a:pt x="48" y="4"/>
                    </a:lnTo>
                    <a:lnTo>
                      <a:pt x="48" y="5"/>
                    </a:lnTo>
                    <a:lnTo>
                      <a:pt x="40" y="4"/>
                    </a:lnTo>
                    <a:lnTo>
                      <a:pt x="36" y="7"/>
                    </a:lnTo>
                    <a:lnTo>
                      <a:pt x="31" y="8"/>
                    </a:lnTo>
                    <a:lnTo>
                      <a:pt x="25" y="13"/>
                    </a:lnTo>
                    <a:lnTo>
                      <a:pt x="19" y="14"/>
                    </a:lnTo>
                    <a:lnTo>
                      <a:pt x="12" y="15"/>
                    </a:lnTo>
                    <a:lnTo>
                      <a:pt x="10" y="15"/>
                    </a:lnTo>
                    <a:lnTo>
                      <a:pt x="6" y="15"/>
                    </a:lnTo>
                    <a:lnTo>
                      <a:pt x="1" y="17"/>
                    </a:lnTo>
                    <a:lnTo>
                      <a:pt x="0" y="17"/>
                    </a:lnTo>
                    <a:lnTo>
                      <a:pt x="0" y="23"/>
                    </a:lnTo>
                    <a:lnTo>
                      <a:pt x="1" y="31"/>
                    </a:lnTo>
                    <a:lnTo>
                      <a:pt x="1" y="31"/>
                    </a:lnTo>
                    <a:close/>
                  </a:path>
                </a:pathLst>
              </a:custGeom>
              <a:solidFill>
                <a:schemeClr val="accent2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018" name="Freeform 20"/>
              <p:cNvSpPr>
                <a:spLocks/>
              </p:cNvSpPr>
              <p:nvPr userDrawn="1"/>
            </p:nvSpPr>
            <p:spPr bwMode="auto">
              <a:xfrm>
                <a:off x="3849" y="2081"/>
                <a:ext cx="106" cy="65"/>
              </a:xfrm>
              <a:custGeom>
                <a:avLst/>
                <a:gdLst>
                  <a:gd name="T0" fmla="*/ 6 w 106"/>
                  <a:gd name="T1" fmla="*/ 1 h 65"/>
                  <a:gd name="T2" fmla="*/ 8 w 106"/>
                  <a:gd name="T3" fmla="*/ 6 h 65"/>
                  <a:gd name="T4" fmla="*/ 9 w 106"/>
                  <a:gd name="T5" fmla="*/ 10 h 65"/>
                  <a:gd name="T6" fmla="*/ 19 w 106"/>
                  <a:gd name="T7" fmla="*/ 8 h 65"/>
                  <a:gd name="T8" fmla="*/ 23 w 106"/>
                  <a:gd name="T9" fmla="*/ 9 h 65"/>
                  <a:gd name="T10" fmla="*/ 34 w 106"/>
                  <a:gd name="T11" fmla="*/ 9 h 65"/>
                  <a:gd name="T12" fmla="*/ 41 w 106"/>
                  <a:gd name="T13" fmla="*/ 9 h 65"/>
                  <a:gd name="T14" fmla="*/ 48 w 106"/>
                  <a:gd name="T15" fmla="*/ 10 h 65"/>
                  <a:gd name="T16" fmla="*/ 57 w 106"/>
                  <a:gd name="T17" fmla="*/ 9 h 65"/>
                  <a:gd name="T18" fmla="*/ 63 w 106"/>
                  <a:gd name="T19" fmla="*/ 6 h 65"/>
                  <a:gd name="T20" fmla="*/ 78 w 106"/>
                  <a:gd name="T21" fmla="*/ 0 h 65"/>
                  <a:gd name="T22" fmla="*/ 91 w 106"/>
                  <a:gd name="T23" fmla="*/ 3 h 65"/>
                  <a:gd name="T24" fmla="*/ 95 w 106"/>
                  <a:gd name="T25" fmla="*/ 4 h 65"/>
                  <a:gd name="T26" fmla="*/ 101 w 106"/>
                  <a:gd name="T27" fmla="*/ 8 h 65"/>
                  <a:gd name="T28" fmla="*/ 106 w 106"/>
                  <a:gd name="T29" fmla="*/ 9 h 65"/>
                  <a:gd name="T30" fmla="*/ 103 w 106"/>
                  <a:gd name="T31" fmla="*/ 17 h 65"/>
                  <a:gd name="T32" fmla="*/ 94 w 106"/>
                  <a:gd name="T33" fmla="*/ 21 h 65"/>
                  <a:gd name="T34" fmla="*/ 94 w 106"/>
                  <a:gd name="T35" fmla="*/ 32 h 65"/>
                  <a:gd name="T36" fmla="*/ 90 w 106"/>
                  <a:gd name="T37" fmla="*/ 38 h 65"/>
                  <a:gd name="T38" fmla="*/ 96 w 106"/>
                  <a:gd name="T39" fmla="*/ 44 h 65"/>
                  <a:gd name="T40" fmla="*/ 99 w 106"/>
                  <a:gd name="T41" fmla="*/ 48 h 65"/>
                  <a:gd name="T42" fmla="*/ 92 w 106"/>
                  <a:gd name="T43" fmla="*/ 50 h 65"/>
                  <a:gd name="T44" fmla="*/ 82 w 106"/>
                  <a:gd name="T45" fmla="*/ 46 h 65"/>
                  <a:gd name="T46" fmla="*/ 77 w 106"/>
                  <a:gd name="T47" fmla="*/ 48 h 65"/>
                  <a:gd name="T48" fmla="*/ 74 w 106"/>
                  <a:gd name="T49" fmla="*/ 52 h 65"/>
                  <a:gd name="T50" fmla="*/ 68 w 106"/>
                  <a:gd name="T51" fmla="*/ 54 h 65"/>
                  <a:gd name="T52" fmla="*/ 69 w 106"/>
                  <a:gd name="T53" fmla="*/ 62 h 65"/>
                  <a:gd name="T54" fmla="*/ 58 w 106"/>
                  <a:gd name="T55" fmla="*/ 63 h 65"/>
                  <a:gd name="T56" fmla="*/ 51 w 106"/>
                  <a:gd name="T57" fmla="*/ 63 h 65"/>
                  <a:gd name="T58" fmla="*/ 46 w 106"/>
                  <a:gd name="T59" fmla="*/ 65 h 65"/>
                  <a:gd name="T60" fmla="*/ 42 w 106"/>
                  <a:gd name="T61" fmla="*/ 62 h 65"/>
                  <a:gd name="T62" fmla="*/ 32 w 106"/>
                  <a:gd name="T63" fmla="*/ 61 h 65"/>
                  <a:gd name="T64" fmla="*/ 25 w 106"/>
                  <a:gd name="T65" fmla="*/ 65 h 65"/>
                  <a:gd name="T66" fmla="*/ 17 w 106"/>
                  <a:gd name="T67" fmla="*/ 64 h 65"/>
                  <a:gd name="T68" fmla="*/ 16 w 106"/>
                  <a:gd name="T69" fmla="*/ 60 h 65"/>
                  <a:gd name="T70" fmla="*/ 10 w 106"/>
                  <a:gd name="T71" fmla="*/ 48 h 65"/>
                  <a:gd name="T72" fmla="*/ 3 w 106"/>
                  <a:gd name="T73" fmla="*/ 42 h 65"/>
                  <a:gd name="T74" fmla="*/ 2 w 106"/>
                  <a:gd name="T75" fmla="*/ 35 h 65"/>
                  <a:gd name="T76" fmla="*/ 8 w 106"/>
                  <a:gd name="T77" fmla="*/ 27 h 65"/>
                  <a:gd name="T78" fmla="*/ 6 w 106"/>
                  <a:gd name="T79" fmla="*/ 19 h 65"/>
                  <a:gd name="T80" fmla="*/ 0 w 106"/>
                  <a:gd name="T81" fmla="*/ 7 h 65"/>
                  <a:gd name="T82" fmla="*/ 2 w 106"/>
                  <a:gd name="T83" fmla="*/ 0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06" h="65">
                    <a:moveTo>
                      <a:pt x="2" y="0"/>
                    </a:moveTo>
                    <a:lnTo>
                      <a:pt x="6" y="1"/>
                    </a:lnTo>
                    <a:lnTo>
                      <a:pt x="8" y="3"/>
                    </a:lnTo>
                    <a:lnTo>
                      <a:pt x="8" y="6"/>
                    </a:lnTo>
                    <a:lnTo>
                      <a:pt x="7" y="8"/>
                    </a:lnTo>
                    <a:lnTo>
                      <a:pt x="9" y="10"/>
                    </a:lnTo>
                    <a:lnTo>
                      <a:pt x="14" y="8"/>
                    </a:lnTo>
                    <a:lnTo>
                      <a:pt x="19" y="8"/>
                    </a:lnTo>
                    <a:lnTo>
                      <a:pt x="21" y="9"/>
                    </a:lnTo>
                    <a:lnTo>
                      <a:pt x="23" y="9"/>
                    </a:lnTo>
                    <a:lnTo>
                      <a:pt x="28" y="11"/>
                    </a:lnTo>
                    <a:lnTo>
                      <a:pt x="34" y="9"/>
                    </a:lnTo>
                    <a:lnTo>
                      <a:pt x="38" y="10"/>
                    </a:lnTo>
                    <a:lnTo>
                      <a:pt x="41" y="9"/>
                    </a:lnTo>
                    <a:lnTo>
                      <a:pt x="45" y="10"/>
                    </a:lnTo>
                    <a:lnTo>
                      <a:pt x="48" y="10"/>
                    </a:lnTo>
                    <a:lnTo>
                      <a:pt x="54" y="11"/>
                    </a:lnTo>
                    <a:lnTo>
                      <a:pt x="57" y="9"/>
                    </a:lnTo>
                    <a:lnTo>
                      <a:pt x="61" y="9"/>
                    </a:lnTo>
                    <a:lnTo>
                      <a:pt x="63" y="6"/>
                    </a:lnTo>
                    <a:lnTo>
                      <a:pt x="73" y="1"/>
                    </a:lnTo>
                    <a:lnTo>
                      <a:pt x="78" y="0"/>
                    </a:lnTo>
                    <a:lnTo>
                      <a:pt x="84" y="1"/>
                    </a:lnTo>
                    <a:lnTo>
                      <a:pt x="91" y="3"/>
                    </a:lnTo>
                    <a:lnTo>
                      <a:pt x="92" y="5"/>
                    </a:lnTo>
                    <a:lnTo>
                      <a:pt x="95" y="4"/>
                    </a:lnTo>
                    <a:lnTo>
                      <a:pt x="100" y="6"/>
                    </a:lnTo>
                    <a:lnTo>
                      <a:pt x="101" y="8"/>
                    </a:lnTo>
                    <a:lnTo>
                      <a:pt x="106" y="8"/>
                    </a:lnTo>
                    <a:lnTo>
                      <a:pt x="106" y="9"/>
                    </a:lnTo>
                    <a:lnTo>
                      <a:pt x="105" y="15"/>
                    </a:lnTo>
                    <a:lnTo>
                      <a:pt x="103" y="17"/>
                    </a:lnTo>
                    <a:lnTo>
                      <a:pt x="99" y="17"/>
                    </a:lnTo>
                    <a:lnTo>
                      <a:pt x="94" y="21"/>
                    </a:lnTo>
                    <a:lnTo>
                      <a:pt x="95" y="29"/>
                    </a:lnTo>
                    <a:lnTo>
                      <a:pt x="94" y="32"/>
                    </a:lnTo>
                    <a:lnTo>
                      <a:pt x="89" y="36"/>
                    </a:lnTo>
                    <a:lnTo>
                      <a:pt x="90" y="38"/>
                    </a:lnTo>
                    <a:lnTo>
                      <a:pt x="92" y="38"/>
                    </a:lnTo>
                    <a:lnTo>
                      <a:pt x="96" y="44"/>
                    </a:lnTo>
                    <a:lnTo>
                      <a:pt x="99" y="48"/>
                    </a:lnTo>
                    <a:lnTo>
                      <a:pt x="99" y="48"/>
                    </a:lnTo>
                    <a:lnTo>
                      <a:pt x="95" y="47"/>
                    </a:lnTo>
                    <a:lnTo>
                      <a:pt x="92" y="50"/>
                    </a:lnTo>
                    <a:lnTo>
                      <a:pt x="88" y="46"/>
                    </a:lnTo>
                    <a:lnTo>
                      <a:pt x="82" y="46"/>
                    </a:lnTo>
                    <a:lnTo>
                      <a:pt x="80" y="48"/>
                    </a:lnTo>
                    <a:lnTo>
                      <a:pt x="77" y="48"/>
                    </a:lnTo>
                    <a:lnTo>
                      <a:pt x="74" y="51"/>
                    </a:lnTo>
                    <a:lnTo>
                      <a:pt x="74" y="52"/>
                    </a:lnTo>
                    <a:lnTo>
                      <a:pt x="71" y="52"/>
                    </a:lnTo>
                    <a:lnTo>
                      <a:pt x="68" y="54"/>
                    </a:lnTo>
                    <a:lnTo>
                      <a:pt x="67" y="58"/>
                    </a:lnTo>
                    <a:lnTo>
                      <a:pt x="69" y="62"/>
                    </a:lnTo>
                    <a:lnTo>
                      <a:pt x="67" y="64"/>
                    </a:lnTo>
                    <a:lnTo>
                      <a:pt x="58" y="63"/>
                    </a:lnTo>
                    <a:lnTo>
                      <a:pt x="55" y="65"/>
                    </a:lnTo>
                    <a:lnTo>
                      <a:pt x="51" y="63"/>
                    </a:lnTo>
                    <a:lnTo>
                      <a:pt x="49" y="63"/>
                    </a:lnTo>
                    <a:lnTo>
                      <a:pt x="46" y="65"/>
                    </a:lnTo>
                    <a:lnTo>
                      <a:pt x="42" y="65"/>
                    </a:lnTo>
                    <a:lnTo>
                      <a:pt x="42" y="62"/>
                    </a:lnTo>
                    <a:lnTo>
                      <a:pt x="37" y="62"/>
                    </a:lnTo>
                    <a:lnTo>
                      <a:pt x="32" y="61"/>
                    </a:lnTo>
                    <a:lnTo>
                      <a:pt x="29" y="64"/>
                    </a:lnTo>
                    <a:lnTo>
                      <a:pt x="25" y="65"/>
                    </a:lnTo>
                    <a:lnTo>
                      <a:pt x="18" y="65"/>
                    </a:lnTo>
                    <a:lnTo>
                      <a:pt x="17" y="64"/>
                    </a:lnTo>
                    <a:lnTo>
                      <a:pt x="16" y="64"/>
                    </a:lnTo>
                    <a:lnTo>
                      <a:pt x="16" y="60"/>
                    </a:lnTo>
                    <a:lnTo>
                      <a:pt x="15" y="56"/>
                    </a:lnTo>
                    <a:lnTo>
                      <a:pt x="10" y="48"/>
                    </a:lnTo>
                    <a:lnTo>
                      <a:pt x="3" y="42"/>
                    </a:lnTo>
                    <a:lnTo>
                      <a:pt x="3" y="42"/>
                    </a:lnTo>
                    <a:lnTo>
                      <a:pt x="5" y="39"/>
                    </a:lnTo>
                    <a:lnTo>
                      <a:pt x="2" y="35"/>
                    </a:lnTo>
                    <a:lnTo>
                      <a:pt x="2" y="32"/>
                    </a:lnTo>
                    <a:lnTo>
                      <a:pt x="8" y="27"/>
                    </a:lnTo>
                    <a:lnTo>
                      <a:pt x="9" y="24"/>
                    </a:lnTo>
                    <a:lnTo>
                      <a:pt x="6" y="19"/>
                    </a:lnTo>
                    <a:lnTo>
                      <a:pt x="2" y="13"/>
                    </a:lnTo>
                    <a:lnTo>
                      <a:pt x="0" y="7"/>
                    </a:lnTo>
                    <a:lnTo>
                      <a:pt x="3" y="4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019" name="Freeform 21"/>
              <p:cNvSpPr>
                <a:spLocks noEditPoints="1"/>
              </p:cNvSpPr>
              <p:nvPr userDrawn="1"/>
            </p:nvSpPr>
            <p:spPr bwMode="auto">
              <a:xfrm>
                <a:off x="3692" y="2037"/>
                <a:ext cx="100" cy="75"/>
              </a:xfrm>
              <a:custGeom>
                <a:avLst/>
                <a:gdLst>
                  <a:gd name="T0" fmla="*/ 103 w 105"/>
                  <a:gd name="T1" fmla="*/ 28 h 79"/>
                  <a:gd name="T2" fmla="*/ 101 w 105"/>
                  <a:gd name="T3" fmla="*/ 26 h 79"/>
                  <a:gd name="T4" fmla="*/ 96 w 105"/>
                  <a:gd name="T5" fmla="*/ 14 h 79"/>
                  <a:gd name="T6" fmla="*/ 83 w 105"/>
                  <a:gd name="T7" fmla="*/ 14 h 79"/>
                  <a:gd name="T8" fmla="*/ 66 w 105"/>
                  <a:gd name="T9" fmla="*/ 8 h 79"/>
                  <a:gd name="T10" fmla="*/ 55 w 105"/>
                  <a:gd name="T11" fmla="*/ 1 h 79"/>
                  <a:gd name="T12" fmla="*/ 34 w 105"/>
                  <a:gd name="T13" fmla="*/ 12 h 79"/>
                  <a:gd name="T14" fmla="*/ 23 w 105"/>
                  <a:gd name="T15" fmla="*/ 22 h 79"/>
                  <a:gd name="T16" fmla="*/ 7 w 105"/>
                  <a:gd name="T17" fmla="*/ 23 h 79"/>
                  <a:gd name="T18" fmla="*/ 2 w 105"/>
                  <a:gd name="T19" fmla="*/ 31 h 79"/>
                  <a:gd name="T20" fmla="*/ 7 w 105"/>
                  <a:gd name="T21" fmla="*/ 38 h 79"/>
                  <a:gd name="T22" fmla="*/ 16 w 105"/>
                  <a:gd name="T23" fmla="*/ 23 h 79"/>
                  <a:gd name="T24" fmla="*/ 25 w 105"/>
                  <a:gd name="T25" fmla="*/ 30 h 79"/>
                  <a:gd name="T26" fmla="*/ 35 w 105"/>
                  <a:gd name="T27" fmla="*/ 46 h 79"/>
                  <a:gd name="T28" fmla="*/ 37 w 105"/>
                  <a:gd name="T29" fmla="*/ 48 h 79"/>
                  <a:gd name="T30" fmla="*/ 34 w 105"/>
                  <a:gd name="T31" fmla="*/ 55 h 79"/>
                  <a:gd name="T32" fmla="*/ 46 w 105"/>
                  <a:gd name="T33" fmla="*/ 60 h 79"/>
                  <a:gd name="T34" fmla="*/ 54 w 105"/>
                  <a:gd name="T35" fmla="*/ 65 h 79"/>
                  <a:gd name="T36" fmla="*/ 77 w 105"/>
                  <a:gd name="T37" fmla="*/ 77 h 79"/>
                  <a:gd name="T38" fmla="*/ 72 w 105"/>
                  <a:gd name="T39" fmla="*/ 78 h 79"/>
                  <a:gd name="T40" fmla="*/ 77 w 105"/>
                  <a:gd name="T41" fmla="*/ 76 h 79"/>
                  <a:gd name="T42" fmla="*/ 48 w 105"/>
                  <a:gd name="T43" fmla="*/ 46 h 79"/>
                  <a:gd name="T44" fmla="*/ 46 w 105"/>
                  <a:gd name="T45" fmla="*/ 39 h 79"/>
                  <a:gd name="T46" fmla="*/ 39 w 105"/>
                  <a:gd name="T47" fmla="*/ 32 h 79"/>
                  <a:gd name="T48" fmla="*/ 42 w 105"/>
                  <a:gd name="T49" fmla="*/ 24 h 79"/>
                  <a:gd name="T50" fmla="*/ 51 w 105"/>
                  <a:gd name="T51" fmla="*/ 29 h 79"/>
                  <a:gd name="T52" fmla="*/ 57 w 105"/>
                  <a:gd name="T53" fmla="*/ 26 h 79"/>
                  <a:gd name="T54" fmla="*/ 64 w 105"/>
                  <a:gd name="T55" fmla="*/ 24 h 79"/>
                  <a:gd name="T56" fmla="*/ 71 w 105"/>
                  <a:gd name="T57" fmla="*/ 26 h 79"/>
                  <a:gd name="T58" fmla="*/ 79 w 105"/>
                  <a:gd name="T59" fmla="*/ 28 h 79"/>
                  <a:gd name="T60" fmla="*/ 90 w 105"/>
                  <a:gd name="T61" fmla="*/ 28 h 79"/>
                  <a:gd name="T62" fmla="*/ 100 w 105"/>
                  <a:gd name="T63" fmla="*/ 32 h 79"/>
                  <a:gd name="T64" fmla="*/ 69 w 105"/>
                  <a:gd name="T65" fmla="*/ 78 h 79"/>
                  <a:gd name="T66" fmla="*/ 56 w 105"/>
                  <a:gd name="T67" fmla="*/ 72 h 79"/>
                  <a:gd name="T68" fmla="*/ 56 w 105"/>
                  <a:gd name="T69" fmla="*/ 72 h 79"/>
                  <a:gd name="T70" fmla="*/ 65 w 105"/>
                  <a:gd name="T71" fmla="*/ 69 h 79"/>
                  <a:gd name="T72" fmla="*/ 56 w 105"/>
                  <a:gd name="T73" fmla="*/ 68 h 79"/>
                  <a:gd name="T74" fmla="*/ 33 w 105"/>
                  <a:gd name="T75" fmla="*/ 48 h 79"/>
                  <a:gd name="T76" fmla="*/ 25 w 105"/>
                  <a:gd name="T77" fmla="*/ 39 h 79"/>
                  <a:gd name="T78" fmla="*/ 25 w 105"/>
                  <a:gd name="T79" fmla="*/ 39 h 79"/>
                  <a:gd name="T80" fmla="*/ 31 w 105"/>
                  <a:gd name="T81" fmla="*/ 57 h 79"/>
                  <a:gd name="T82" fmla="*/ 24 w 105"/>
                  <a:gd name="T83" fmla="*/ 46 h 79"/>
                  <a:gd name="T84" fmla="*/ 14 w 105"/>
                  <a:gd name="T85" fmla="*/ 34 h 79"/>
                  <a:gd name="T86" fmla="*/ 19 w 105"/>
                  <a:gd name="T87" fmla="*/ 43 h 79"/>
                  <a:gd name="T88" fmla="*/ 14 w 105"/>
                  <a:gd name="T89" fmla="*/ 34 h 79"/>
                  <a:gd name="T90" fmla="*/ 20 w 105"/>
                  <a:gd name="T91" fmla="*/ 36 h 79"/>
                  <a:gd name="T92" fmla="*/ 16 w 105"/>
                  <a:gd name="T93" fmla="*/ 28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05" h="79">
                    <a:moveTo>
                      <a:pt x="100" y="32"/>
                    </a:moveTo>
                    <a:cubicBezTo>
                      <a:pt x="100" y="29"/>
                      <a:pt x="100" y="29"/>
                      <a:pt x="100" y="29"/>
                    </a:cubicBezTo>
                    <a:cubicBezTo>
                      <a:pt x="103" y="28"/>
                      <a:pt x="103" y="28"/>
                      <a:pt x="103" y="28"/>
                    </a:cubicBezTo>
                    <a:cubicBezTo>
                      <a:pt x="105" y="28"/>
                      <a:pt x="105" y="28"/>
                      <a:pt x="105" y="28"/>
                    </a:cubicBezTo>
                    <a:cubicBezTo>
                      <a:pt x="105" y="26"/>
                      <a:pt x="105" y="26"/>
                      <a:pt x="105" y="26"/>
                    </a:cubicBezTo>
                    <a:cubicBezTo>
                      <a:pt x="101" y="26"/>
                      <a:pt x="101" y="26"/>
                      <a:pt x="101" y="26"/>
                    </a:cubicBezTo>
                    <a:cubicBezTo>
                      <a:pt x="100" y="24"/>
                      <a:pt x="100" y="24"/>
                      <a:pt x="100" y="24"/>
                    </a:cubicBezTo>
                    <a:cubicBezTo>
                      <a:pt x="98" y="19"/>
                      <a:pt x="98" y="19"/>
                      <a:pt x="98" y="19"/>
                    </a:cubicBezTo>
                    <a:cubicBezTo>
                      <a:pt x="96" y="14"/>
                      <a:pt x="96" y="14"/>
                      <a:pt x="96" y="14"/>
                    </a:cubicBezTo>
                    <a:cubicBezTo>
                      <a:pt x="94" y="12"/>
                      <a:pt x="94" y="12"/>
                      <a:pt x="94" y="12"/>
                    </a:cubicBezTo>
                    <a:cubicBezTo>
                      <a:pt x="91" y="16"/>
                      <a:pt x="91" y="16"/>
                      <a:pt x="91" y="16"/>
                    </a:cubicBezTo>
                    <a:cubicBezTo>
                      <a:pt x="83" y="14"/>
                      <a:pt x="83" y="14"/>
                      <a:pt x="83" y="14"/>
                    </a:cubicBezTo>
                    <a:cubicBezTo>
                      <a:pt x="73" y="12"/>
                      <a:pt x="73" y="12"/>
                      <a:pt x="73" y="12"/>
                    </a:cubicBezTo>
                    <a:cubicBezTo>
                      <a:pt x="70" y="10"/>
                      <a:pt x="70" y="10"/>
                      <a:pt x="70" y="1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9" y="1"/>
                      <a:pt x="59" y="1"/>
                      <a:pt x="59" y="1"/>
                    </a:cubicBezTo>
                    <a:cubicBezTo>
                      <a:pt x="55" y="0"/>
                      <a:pt x="55" y="0"/>
                      <a:pt x="55" y="0"/>
                    </a:cubicBezTo>
                    <a:cubicBezTo>
                      <a:pt x="55" y="1"/>
                      <a:pt x="55" y="1"/>
                      <a:pt x="55" y="1"/>
                    </a:cubicBezTo>
                    <a:cubicBezTo>
                      <a:pt x="47" y="1"/>
                      <a:pt x="47" y="1"/>
                      <a:pt x="47" y="1"/>
                    </a:cubicBezTo>
                    <a:cubicBezTo>
                      <a:pt x="35" y="7"/>
                      <a:pt x="35" y="7"/>
                      <a:pt x="35" y="7"/>
                    </a:cubicBezTo>
                    <a:cubicBezTo>
                      <a:pt x="34" y="12"/>
                      <a:pt x="34" y="12"/>
                      <a:pt x="34" y="12"/>
                    </a:cubicBezTo>
                    <a:cubicBezTo>
                      <a:pt x="28" y="15"/>
                      <a:pt x="28" y="15"/>
                      <a:pt x="28" y="15"/>
                    </a:cubicBezTo>
                    <a:cubicBezTo>
                      <a:pt x="27" y="21"/>
                      <a:pt x="27" y="21"/>
                      <a:pt x="27" y="21"/>
                    </a:cubicBezTo>
                    <a:cubicBezTo>
                      <a:pt x="23" y="22"/>
                      <a:pt x="23" y="22"/>
                      <a:pt x="23" y="22"/>
                    </a:cubicBezTo>
                    <a:cubicBezTo>
                      <a:pt x="16" y="18"/>
                      <a:pt x="16" y="18"/>
                      <a:pt x="16" y="18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7" y="23"/>
                      <a:pt x="7" y="23"/>
                      <a:pt x="7" y="23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2" y="31"/>
                      <a:pt x="2" y="31"/>
                      <a:pt x="2" y="31"/>
                    </a:cubicBezTo>
                    <a:cubicBezTo>
                      <a:pt x="6" y="35"/>
                      <a:pt x="6" y="35"/>
                      <a:pt x="6" y="35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7" y="38"/>
                      <a:pt x="7" y="38"/>
                      <a:pt x="7" y="38"/>
                    </a:cubicBezTo>
                    <a:cubicBezTo>
                      <a:pt x="12" y="30"/>
                      <a:pt x="12" y="30"/>
                      <a:pt x="12" y="30"/>
                    </a:cubicBezTo>
                    <a:cubicBezTo>
                      <a:pt x="13" y="27"/>
                      <a:pt x="13" y="27"/>
                      <a:pt x="13" y="27"/>
                    </a:cubicBezTo>
                    <a:cubicBezTo>
                      <a:pt x="16" y="23"/>
                      <a:pt x="16" y="23"/>
                      <a:pt x="16" y="23"/>
                    </a:cubicBezTo>
                    <a:cubicBezTo>
                      <a:pt x="20" y="23"/>
                      <a:pt x="20" y="23"/>
                      <a:pt x="20" y="23"/>
                    </a:cubicBezTo>
                    <a:cubicBezTo>
                      <a:pt x="21" y="27"/>
                      <a:pt x="21" y="27"/>
                      <a:pt x="21" y="27"/>
                    </a:cubicBezTo>
                    <a:cubicBezTo>
                      <a:pt x="25" y="30"/>
                      <a:pt x="25" y="30"/>
                      <a:pt x="25" y="30"/>
                    </a:cubicBezTo>
                    <a:cubicBezTo>
                      <a:pt x="26" y="35"/>
                      <a:pt x="26" y="35"/>
                      <a:pt x="26" y="35"/>
                    </a:cubicBezTo>
                    <a:cubicBezTo>
                      <a:pt x="29" y="40"/>
                      <a:pt x="29" y="40"/>
                      <a:pt x="29" y="40"/>
                    </a:cubicBezTo>
                    <a:cubicBezTo>
                      <a:pt x="35" y="46"/>
                      <a:pt x="35" y="46"/>
                      <a:pt x="35" y="46"/>
                    </a:cubicBezTo>
                    <a:cubicBezTo>
                      <a:pt x="36" y="46"/>
                      <a:pt x="36" y="46"/>
                      <a:pt x="36" y="46"/>
                    </a:cubicBezTo>
                    <a:cubicBezTo>
                      <a:pt x="40" y="49"/>
                      <a:pt x="40" y="49"/>
                      <a:pt x="40" y="49"/>
                    </a:cubicBezTo>
                    <a:cubicBezTo>
                      <a:pt x="37" y="48"/>
                      <a:pt x="37" y="48"/>
                      <a:pt x="37" y="48"/>
                    </a:cubicBezTo>
                    <a:cubicBezTo>
                      <a:pt x="33" y="49"/>
                      <a:pt x="33" y="49"/>
                      <a:pt x="33" y="49"/>
                    </a:cubicBezTo>
                    <a:cubicBezTo>
                      <a:pt x="32" y="52"/>
                      <a:pt x="32" y="52"/>
                      <a:pt x="32" y="52"/>
                    </a:cubicBezTo>
                    <a:cubicBezTo>
                      <a:pt x="34" y="55"/>
                      <a:pt x="34" y="55"/>
                      <a:pt x="34" y="55"/>
                    </a:cubicBezTo>
                    <a:cubicBezTo>
                      <a:pt x="38" y="55"/>
                      <a:pt x="38" y="55"/>
                      <a:pt x="38" y="55"/>
                    </a:cubicBezTo>
                    <a:cubicBezTo>
                      <a:pt x="42" y="59"/>
                      <a:pt x="42" y="59"/>
                      <a:pt x="42" y="59"/>
                    </a:cubicBezTo>
                    <a:cubicBezTo>
                      <a:pt x="46" y="60"/>
                      <a:pt x="46" y="60"/>
                      <a:pt x="46" y="60"/>
                    </a:cubicBezTo>
                    <a:cubicBezTo>
                      <a:pt x="48" y="64"/>
                      <a:pt x="48" y="64"/>
                      <a:pt x="48" y="64"/>
                    </a:cubicBezTo>
                    <a:cubicBezTo>
                      <a:pt x="50" y="66"/>
                      <a:pt x="50" y="66"/>
                      <a:pt x="50" y="66"/>
                    </a:cubicBezTo>
                    <a:cubicBezTo>
                      <a:pt x="54" y="65"/>
                      <a:pt x="54" y="65"/>
                      <a:pt x="54" y="65"/>
                    </a:cubicBezTo>
                    <a:cubicBezTo>
                      <a:pt x="63" y="66"/>
                      <a:pt x="63" y="66"/>
                      <a:pt x="63" y="66"/>
                    </a:cubicBezTo>
                    <a:cubicBezTo>
                      <a:pt x="67" y="68"/>
                      <a:pt x="67" y="68"/>
                      <a:pt x="67" y="68"/>
                    </a:cubicBezTo>
                    <a:cubicBezTo>
                      <a:pt x="77" y="77"/>
                      <a:pt x="77" y="77"/>
                      <a:pt x="77" y="77"/>
                    </a:cubicBezTo>
                    <a:cubicBezTo>
                      <a:pt x="74" y="78"/>
                      <a:pt x="74" y="78"/>
                      <a:pt x="74" y="78"/>
                    </a:cubicBezTo>
                    <a:cubicBezTo>
                      <a:pt x="70" y="75"/>
                      <a:pt x="70" y="75"/>
                      <a:pt x="70" y="75"/>
                    </a:cubicBezTo>
                    <a:cubicBezTo>
                      <a:pt x="72" y="78"/>
                      <a:pt x="72" y="78"/>
                      <a:pt x="72" y="78"/>
                    </a:cubicBezTo>
                    <a:cubicBezTo>
                      <a:pt x="76" y="79"/>
                      <a:pt x="76" y="79"/>
                      <a:pt x="76" y="79"/>
                    </a:cubicBezTo>
                    <a:cubicBezTo>
                      <a:pt x="76" y="79"/>
                      <a:pt x="76" y="79"/>
                      <a:pt x="76" y="79"/>
                    </a:cubicBezTo>
                    <a:cubicBezTo>
                      <a:pt x="77" y="76"/>
                      <a:pt x="77" y="76"/>
                      <a:pt x="77" y="76"/>
                    </a:cubicBezTo>
                    <a:cubicBezTo>
                      <a:pt x="64" y="61"/>
                      <a:pt x="64" y="61"/>
                      <a:pt x="64" y="61"/>
                    </a:cubicBezTo>
                    <a:cubicBezTo>
                      <a:pt x="48" y="48"/>
                      <a:pt x="48" y="48"/>
                      <a:pt x="48" y="48"/>
                    </a:cubicBezTo>
                    <a:cubicBezTo>
                      <a:pt x="48" y="46"/>
                      <a:pt x="48" y="46"/>
                      <a:pt x="48" y="46"/>
                    </a:cubicBezTo>
                    <a:cubicBezTo>
                      <a:pt x="49" y="45"/>
                      <a:pt x="49" y="45"/>
                      <a:pt x="49" y="45"/>
                    </a:cubicBezTo>
                    <a:cubicBezTo>
                      <a:pt x="46" y="42"/>
                      <a:pt x="46" y="42"/>
                      <a:pt x="46" y="42"/>
                    </a:cubicBezTo>
                    <a:cubicBezTo>
                      <a:pt x="46" y="39"/>
                      <a:pt x="46" y="39"/>
                      <a:pt x="46" y="39"/>
                    </a:cubicBezTo>
                    <a:cubicBezTo>
                      <a:pt x="42" y="34"/>
                      <a:pt x="42" y="34"/>
                      <a:pt x="42" y="34"/>
                    </a:cubicBezTo>
                    <a:cubicBezTo>
                      <a:pt x="39" y="34"/>
                      <a:pt x="39" y="34"/>
                      <a:pt x="39" y="34"/>
                    </a:cubicBezTo>
                    <a:cubicBezTo>
                      <a:pt x="39" y="32"/>
                      <a:pt x="39" y="32"/>
                      <a:pt x="39" y="32"/>
                    </a:cubicBezTo>
                    <a:cubicBezTo>
                      <a:pt x="41" y="30"/>
                      <a:pt x="41" y="30"/>
                      <a:pt x="41" y="30"/>
                    </a:cubicBezTo>
                    <a:cubicBezTo>
                      <a:pt x="41" y="25"/>
                      <a:pt x="41" y="25"/>
                      <a:pt x="41" y="25"/>
                    </a:cubicBezTo>
                    <a:cubicBezTo>
                      <a:pt x="42" y="24"/>
                      <a:pt x="42" y="24"/>
                      <a:pt x="42" y="24"/>
                    </a:cubicBezTo>
                    <a:cubicBezTo>
                      <a:pt x="47" y="27"/>
                      <a:pt x="47" y="27"/>
                      <a:pt x="47" y="27"/>
                    </a:cubicBezTo>
                    <a:cubicBezTo>
                      <a:pt x="48" y="30"/>
                      <a:pt x="48" y="30"/>
                      <a:pt x="48" y="30"/>
                    </a:cubicBezTo>
                    <a:cubicBezTo>
                      <a:pt x="51" y="29"/>
                      <a:pt x="51" y="29"/>
                      <a:pt x="51" y="29"/>
                    </a:cubicBezTo>
                    <a:cubicBezTo>
                      <a:pt x="51" y="26"/>
                      <a:pt x="51" y="26"/>
                      <a:pt x="51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7" y="26"/>
                      <a:pt x="57" y="26"/>
                      <a:pt x="57" y="26"/>
                    </a:cubicBezTo>
                    <a:cubicBezTo>
                      <a:pt x="59" y="24"/>
                      <a:pt x="59" y="24"/>
                      <a:pt x="59" y="24"/>
                    </a:cubicBezTo>
                    <a:cubicBezTo>
                      <a:pt x="62" y="26"/>
                      <a:pt x="62" y="26"/>
                      <a:pt x="62" y="26"/>
                    </a:cubicBezTo>
                    <a:cubicBezTo>
                      <a:pt x="64" y="24"/>
                      <a:pt x="64" y="24"/>
                      <a:pt x="64" y="24"/>
                    </a:cubicBezTo>
                    <a:cubicBezTo>
                      <a:pt x="67" y="25"/>
                      <a:pt x="67" y="25"/>
                      <a:pt x="67" y="25"/>
                    </a:cubicBezTo>
                    <a:cubicBezTo>
                      <a:pt x="68" y="28"/>
                      <a:pt x="68" y="28"/>
                      <a:pt x="68" y="28"/>
                    </a:cubicBezTo>
                    <a:cubicBezTo>
                      <a:pt x="71" y="26"/>
                      <a:pt x="71" y="26"/>
                      <a:pt x="71" y="26"/>
                    </a:cubicBezTo>
                    <a:cubicBezTo>
                      <a:pt x="75" y="28"/>
                      <a:pt x="75" y="28"/>
                      <a:pt x="75" y="28"/>
                    </a:cubicBezTo>
                    <a:cubicBezTo>
                      <a:pt x="78" y="27"/>
                      <a:pt x="78" y="27"/>
                      <a:pt x="78" y="27"/>
                    </a:cubicBezTo>
                    <a:cubicBezTo>
                      <a:pt x="79" y="28"/>
                      <a:pt x="79" y="28"/>
                      <a:pt x="79" y="28"/>
                    </a:cubicBezTo>
                    <a:cubicBezTo>
                      <a:pt x="84" y="27"/>
                      <a:pt x="84" y="27"/>
                      <a:pt x="84" y="27"/>
                    </a:cubicBezTo>
                    <a:cubicBezTo>
                      <a:pt x="88" y="29"/>
                      <a:pt x="88" y="29"/>
                      <a:pt x="88" y="29"/>
                    </a:cubicBezTo>
                    <a:cubicBezTo>
                      <a:pt x="90" y="28"/>
                      <a:pt x="90" y="28"/>
                      <a:pt x="90" y="28"/>
                    </a:cubicBezTo>
                    <a:cubicBezTo>
                      <a:pt x="94" y="31"/>
                      <a:pt x="94" y="31"/>
                      <a:pt x="94" y="31"/>
                    </a:cubicBezTo>
                    <a:cubicBezTo>
                      <a:pt x="100" y="32"/>
                      <a:pt x="100" y="32"/>
                      <a:pt x="100" y="32"/>
                    </a:cubicBezTo>
                    <a:cubicBezTo>
                      <a:pt x="100" y="32"/>
                      <a:pt x="100" y="32"/>
                      <a:pt x="100" y="32"/>
                    </a:cubicBezTo>
                    <a:close/>
                    <a:moveTo>
                      <a:pt x="60" y="76"/>
                    </a:moveTo>
                    <a:cubicBezTo>
                      <a:pt x="67" y="76"/>
                      <a:pt x="67" y="76"/>
                      <a:pt x="67" y="76"/>
                    </a:cubicBezTo>
                    <a:cubicBezTo>
                      <a:pt x="69" y="78"/>
                      <a:pt x="69" y="78"/>
                      <a:pt x="69" y="78"/>
                    </a:cubicBezTo>
                    <a:cubicBezTo>
                      <a:pt x="63" y="78"/>
                      <a:pt x="63" y="78"/>
                      <a:pt x="63" y="78"/>
                    </a:cubicBezTo>
                    <a:cubicBezTo>
                      <a:pt x="60" y="76"/>
                      <a:pt x="60" y="76"/>
                      <a:pt x="60" y="76"/>
                    </a:cubicBezTo>
                    <a:close/>
                    <a:moveTo>
                      <a:pt x="56" y="72"/>
                    </a:moveTo>
                    <a:cubicBezTo>
                      <a:pt x="65" y="72"/>
                      <a:pt x="65" y="72"/>
                      <a:pt x="65" y="72"/>
                    </a:cubicBezTo>
                    <a:cubicBezTo>
                      <a:pt x="61" y="74"/>
                      <a:pt x="61" y="74"/>
                      <a:pt x="61" y="74"/>
                    </a:cubicBezTo>
                    <a:cubicBezTo>
                      <a:pt x="56" y="72"/>
                      <a:pt x="56" y="72"/>
                      <a:pt x="56" y="72"/>
                    </a:cubicBezTo>
                    <a:close/>
                    <a:moveTo>
                      <a:pt x="56" y="68"/>
                    </a:moveTo>
                    <a:cubicBezTo>
                      <a:pt x="63" y="68"/>
                      <a:pt x="63" y="68"/>
                      <a:pt x="63" y="68"/>
                    </a:cubicBezTo>
                    <a:cubicBezTo>
                      <a:pt x="65" y="69"/>
                      <a:pt x="65" y="69"/>
                      <a:pt x="65" y="69"/>
                    </a:cubicBezTo>
                    <a:cubicBezTo>
                      <a:pt x="61" y="71"/>
                      <a:pt x="61" y="71"/>
                      <a:pt x="61" y="71"/>
                    </a:cubicBezTo>
                    <a:cubicBezTo>
                      <a:pt x="58" y="70"/>
                      <a:pt x="58" y="70"/>
                      <a:pt x="58" y="70"/>
                    </a:cubicBezTo>
                    <a:cubicBezTo>
                      <a:pt x="56" y="68"/>
                      <a:pt x="56" y="68"/>
                      <a:pt x="56" y="68"/>
                    </a:cubicBezTo>
                    <a:close/>
                    <a:moveTo>
                      <a:pt x="28" y="44"/>
                    </a:moveTo>
                    <a:cubicBezTo>
                      <a:pt x="31" y="45"/>
                      <a:pt x="31" y="45"/>
                      <a:pt x="31" y="45"/>
                    </a:cubicBezTo>
                    <a:cubicBezTo>
                      <a:pt x="33" y="48"/>
                      <a:pt x="33" y="48"/>
                      <a:pt x="33" y="48"/>
                    </a:cubicBezTo>
                    <a:cubicBezTo>
                      <a:pt x="32" y="49"/>
                      <a:pt x="32" y="49"/>
                      <a:pt x="32" y="49"/>
                    </a:cubicBezTo>
                    <a:cubicBezTo>
                      <a:pt x="28" y="44"/>
                      <a:pt x="28" y="44"/>
                      <a:pt x="28" y="44"/>
                    </a:cubicBezTo>
                    <a:close/>
                    <a:moveTo>
                      <a:pt x="25" y="39"/>
                    </a:moveTo>
                    <a:cubicBezTo>
                      <a:pt x="29" y="43"/>
                      <a:pt x="29" y="43"/>
                      <a:pt x="29" y="43"/>
                    </a:cubicBezTo>
                    <a:cubicBezTo>
                      <a:pt x="25" y="42"/>
                      <a:pt x="25" y="42"/>
                      <a:pt x="25" y="42"/>
                    </a:cubicBezTo>
                    <a:cubicBezTo>
                      <a:pt x="25" y="39"/>
                      <a:pt x="25" y="39"/>
                      <a:pt x="25" y="39"/>
                    </a:cubicBezTo>
                    <a:close/>
                    <a:moveTo>
                      <a:pt x="26" y="50"/>
                    </a:moveTo>
                    <a:cubicBezTo>
                      <a:pt x="30" y="54"/>
                      <a:pt x="30" y="54"/>
                      <a:pt x="30" y="54"/>
                    </a:cubicBezTo>
                    <a:cubicBezTo>
                      <a:pt x="31" y="57"/>
                      <a:pt x="31" y="57"/>
                      <a:pt x="31" y="57"/>
                    </a:cubicBezTo>
                    <a:cubicBezTo>
                      <a:pt x="26" y="50"/>
                      <a:pt x="26" y="50"/>
                      <a:pt x="26" y="50"/>
                    </a:cubicBezTo>
                    <a:close/>
                    <a:moveTo>
                      <a:pt x="21" y="44"/>
                    </a:moveTo>
                    <a:cubicBezTo>
                      <a:pt x="24" y="46"/>
                      <a:pt x="24" y="46"/>
                      <a:pt x="24" y="46"/>
                    </a:cubicBezTo>
                    <a:cubicBezTo>
                      <a:pt x="25" y="48"/>
                      <a:pt x="25" y="48"/>
                      <a:pt x="25" y="48"/>
                    </a:cubicBezTo>
                    <a:cubicBezTo>
                      <a:pt x="21" y="44"/>
                      <a:pt x="21" y="44"/>
                      <a:pt x="21" y="44"/>
                    </a:cubicBezTo>
                    <a:close/>
                    <a:moveTo>
                      <a:pt x="14" y="34"/>
                    </a:moveTo>
                    <a:cubicBezTo>
                      <a:pt x="19" y="38"/>
                      <a:pt x="19" y="38"/>
                      <a:pt x="19" y="38"/>
                    </a:cubicBezTo>
                    <a:cubicBezTo>
                      <a:pt x="21" y="42"/>
                      <a:pt x="21" y="42"/>
                      <a:pt x="21" y="42"/>
                    </a:cubicBezTo>
                    <a:cubicBezTo>
                      <a:pt x="19" y="43"/>
                      <a:pt x="19" y="43"/>
                      <a:pt x="19" y="43"/>
                    </a:cubicBezTo>
                    <a:cubicBezTo>
                      <a:pt x="16" y="39"/>
                      <a:pt x="16" y="39"/>
                      <a:pt x="16" y="39"/>
                    </a:cubicBezTo>
                    <a:cubicBezTo>
                      <a:pt x="17" y="38"/>
                      <a:pt x="17" y="38"/>
                      <a:pt x="17" y="38"/>
                    </a:cubicBezTo>
                    <a:cubicBezTo>
                      <a:pt x="14" y="34"/>
                      <a:pt x="14" y="34"/>
                      <a:pt x="14" y="34"/>
                    </a:cubicBezTo>
                    <a:close/>
                    <a:moveTo>
                      <a:pt x="18" y="27"/>
                    </a:moveTo>
                    <a:cubicBezTo>
                      <a:pt x="23" y="35"/>
                      <a:pt x="23" y="35"/>
                      <a:pt x="23" y="35"/>
                    </a:cubicBezTo>
                    <a:cubicBezTo>
                      <a:pt x="20" y="36"/>
                      <a:pt x="20" y="36"/>
                      <a:pt x="20" y="36"/>
                    </a:cubicBezTo>
                    <a:cubicBezTo>
                      <a:pt x="19" y="34"/>
                      <a:pt x="19" y="34"/>
                      <a:pt x="19" y="34"/>
                    </a:cubicBezTo>
                    <a:cubicBezTo>
                      <a:pt x="16" y="33"/>
                      <a:pt x="16" y="33"/>
                      <a:pt x="16" y="33"/>
                    </a:cubicBezTo>
                    <a:cubicBezTo>
                      <a:pt x="16" y="28"/>
                      <a:pt x="16" y="28"/>
                      <a:pt x="16" y="28"/>
                    </a:cubicBezTo>
                    <a:cubicBezTo>
                      <a:pt x="16" y="28"/>
                      <a:pt x="17" y="27"/>
                      <a:pt x="18" y="27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020" name="Freeform 22"/>
              <p:cNvSpPr>
                <a:spLocks/>
              </p:cNvSpPr>
              <p:nvPr userDrawn="1"/>
            </p:nvSpPr>
            <p:spPr bwMode="auto">
              <a:xfrm>
                <a:off x="3691" y="2026"/>
                <a:ext cx="54" cy="33"/>
              </a:xfrm>
              <a:custGeom>
                <a:avLst/>
                <a:gdLst>
                  <a:gd name="T0" fmla="*/ 1 w 54"/>
                  <a:gd name="T1" fmla="*/ 33 h 33"/>
                  <a:gd name="T2" fmla="*/ 8 w 54"/>
                  <a:gd name="T3" fmla="*/ 33 h 33"/>
                  <a:gd name="T4" fmla="*/ 13 w 54"/>
                  <a:gd name="T5" fmla="*/ 29 h 33"/>
                  <a:gd name="T6" fmla="*/ 16 w 54"/>
                  <a:gd name="T7" fmla="*/ 28 h 33"/>
                  <a:gd name="T8" fmla="*/ 23 w 54"/>
                  <a:gd name="T9" fmla="*/ 32 h 33"/>
                  <a:gd name="T10" fmla="*/ 27 w 54"/>
                  <a:gd name="T11" fmla="*/ 31 h 33"/>
                  <a:gd name="T12" fmla="*/ 28 w 54"/>
                  <a:gd name="T13" fmla="*/ 25 h 33"/>
                  <a:gd name="T14" fmla="*/ 34 w 54"/>
                  <a:gd name="T15" fmla="*/ 22 h 33"/>
                  <a:gd name="T16" fmla="*/ 35 w 54"/>
                  <a:gd name="T17" fmla="*/ 18 h 33"/>
                  <a:gd name="T18" fmla="*/ 46 w 54"/>
                  <a:gd name="T19" fmla="*/ 12 h 33"/>
                  <a:gd name="T20" fmla="*/ 54 w 54"/>
                  <a:gd name="T21" fmla="*/ 12 h 33"/>
                  <a:gd name="T22" fmla="*/ 53 w 54"/>
                  <a:gd name="T23" fmla="*/ 5 h 33"/>
                  <a:gd name="T24" fmla="*/ 49 w 54"/>
                  <a:gd name="T25" fmla="*/ 0 h 33"/>
                  <a:gd name="T26" fmla="*/ 44 w 54"/>
                  <a:gd name="T27" fmla="*/ 1 h 33"/>
                  <a:gd name="T28" fmla="*/ 35 w 54"/>
                  <a:gd name="T29" fmla="*/ 6 h 33"/>
                  <a:gd name="T30" fmla="*/ 34 w 54"/>
                  <a:gd name="T31" fmla="*/ 6 h 33"/>
                  <a:gd name="T32" fmla="*/ 32 w 54"/>
                  <a:gd name="T33" fmla="*/ 6 h 33"/>
                  <a:gd name="T34" fmla="*/ 27 w 54"/>
                  <a:gd name="T35" fmla="*/ 8 h 33"/>
                  <a:gd name="T36" fmla="*/ 23 w 54"/>
                  <a:gd name="T37" fmla="*/ 8 h 33"/>
                  <a:gd name="T38" fmla="*/ 19 w 54"/>
                  <a:gd name="T39" fmla="*/ 10 h 33"/>
                  <a:gd name="T40" fmla="*/ 16 w 54"/>
                  <a:gd name="T41" fmla="*/ 7 h 33"/>
                  <a:gd name="T42" fmla="*/ 8 w 54"/>
                  <a:gd name="T43" fmla="*/ 7 h 33"/>
                  <a:gd name="T44" fmla="*/ 5 w 54"/>
                  <a:gd name="T45" fmla="*/ 7 h 33"/>
                  <a:gd name="T46" fmla="*/ 1 w 54"/>
                  <a:gd name="T47" fmla="*/ 13 h 33"/>
                  <a:gd name="T48" fmla="*/ 2 w 54"/>
                  <a:gd name="T49" fmla="*/ 16 h 33"/>
                  <a:gd name="T50" fmla="*/ 0 w 54"/>
                  <a:gd name="T51" fmla="*/ 20 h 33"/>
                  <a:gd name="T52" fmla="*/ 1 w 54"/>
                  <a:gd name="T53" fmla="*/ 25 h 33"/>
                  <a:gd name="T54" fmla="*/ 1 w 54"/>
                  <a:gd name="T55" fmla="*/ 25 h 33"/>
                  <a:gd name="T56" fmla="*/ 5 w 54"/>
                  <a:gd name="T57" fmla="*/ 27 h 33"/>
                  <a:gd name="T58" fmla="*/ 5 w 54"/>
                  <a:gd name="T59" fmla="*/ 29 h 33"/>
                  <a:gd name="T60" fmla="*/ 2 w 54"/>
                  <a:gd name="T61" fmla="*/ 30 h 33"/>
                  <a:gd name="T62" fmla="*/ 1 w 54"/>
                  <a:gd name="T63" fmla="*/ 33 h 33"/>
                  <a:gd name="T64" fmla="*/ 1 w 54"/>
                  <a:gd name="T65" fmla="*/ 33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54" h="33">
                    <a:moveTo>
                      <a:pt x="1" y="33"/>
                    </a:moveTo>
                    <a:lnTo>
                      <a:pt x="8" y="33"/>
                    </a:lnTo>
                    <a:lnTo>
                      <a:pt x="13" y="29"/>
                    </a:lnTo>
                    <a:lnTo>
                      <a:pt x="16" y="28"/>
                    </a:lnTo>
                    <a:lnTo>
                      <a:pt x="23" y="32"/>
                    </a:lnTo>
                    <a:lnTo>
                      <a:pt x="27" y="31"/>
                    </a:lnTo>
                    <a:lnTo>
                      <a:pt x="28" y="25"/>
                    </a:lnTo>
                    <a:lnTo>
                      <a:pt x="34" y="22"/>
                    </a:lnTo>
                    <a:lnTo>
                      <a:pt x="35" y="18"/>
                    </a:lnTo>
                    <a:lnTo>
                      <a:pt x="46" y="12"/>
                    </a:lnTo>
                    <a:lnTo>
                      <a:pt x="54" y="12"/>
                    </a:lnTo>
                    <a:lnTo>
                      <a:pt x="53" y="5"/>
                    </a:lnTo>
                    <a:lnTo>
                      <a:pt x="49" y="0"/>
                    </a:lnTo>
                    <a:lnTo>
                      <a:pt x="44" y="1"/>
                    </a:lnTo>
                    <a:lnTo>
                      <a:pt x="35" y="6"/>
                    </a:lnTo>
                    <a:lnTo>
                      <a:pt x="34" y="6"/>
                    </a:lnTo>
                    <a:lnTo>
                      <a:pt x="32" y="6"/>
                    </a:lnTo>
                    <a:lnTo>
                      <a:pt x="27" y="8"/>
                    </a:lnTo>
                    <a:lnTo>
                      <a:pt x="23" y="8"/>
                    </a:lnTo>
                    <a:lnTo>
                      <a:pt x="19" y="10"/>
                    </a:lnTo>
                    <a:lnTo>
                      <a:pt x="16" y="7"/>
                    </a:lnTo>
                    <a:lnTo>
                      <a:pt x="8" y="7"/>
                    </a:lnTo>
                    <a:lnTo>
                      <a:pt x="5" y="7"/>
                    </a:lnTo>
                    <a:lnTo>
                      <a:pt x="1" y="13"/>
                    </a:lnTo>
                    <a:lnTo>
                      <a:pt x="2" y="16"/>
                    </a:lnTo>
                    <a:lnTo>
                      <a:pt x="0" y="20"/>
                    </a:lnTo>
                    <a:lnTo>
                      <a:pt x="1" y="25"/>
                    </a:lnTo>
                    <a:lnTo>
                      <a:pt x="1" y="25"/>
                    </a:lnTo>
                    <a:lnTo>
                      <a:pt x="5" y="27"/>
                    </a:lnTo>
                    <a:lnTo>
                      <a:pt x="5" y="29"/>
                    </a:lnTo>
                    <a:lnTo>
                      <a:pt x="2" y="30"/>
                    </a:lnTo>
                    <a:lnTo>
                      <a:pt x="1" y="33"/>
                    </a:lnTo>
                    <a:lnTo>
                      <a:pt x="1" y="33"/>
                    </a:lnTo>
                    <a:close/>
                  </a:path>
                </a:pathLst>
              </a:custGeom>
              <a:solidFill>
                <a:schemeClr val="accent2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021" name="Freeform 23"/>
              <p:cNvSpPr>
                <a:spLocks/>
              </p:cNvSpPr>
              <p:nvPr userDrawn="1"/>
            </p:nvSpPr>
            <p:spPr bwMode="auto">
              <a:xfrm>
                <a:off x="3621" y="1977"/>
                <a:ext cx="128" cy="59"/>
              </a:xfrm>
              <a:custGeom>
                <a:avLst/>
                <a:gdLst>
                  <a:gd name="T0" fmla="*/ 78 w 128"/>
                  <a:gd name="T1" fmla="*/ 56 h 59"/>
                  <a:gd name="T2" fmla="*/ 89 w 128"/>
                  <a:gd name="T3" fmla="*/ 59 h 59"/>
                  <a:gd name="T4" fmla="*/ 97 w 128"/>
                  <a:gd name="T5" fmla="*/ 57 h 59"/>
                  <a:gd name="T6" fmla="*/ 104 w 128"/>
                  <a:gd name="T7" fmla="*/ 55 h 59"/>
                  <a:gd name="T8" fmla="*/ 114 w 128"/>
                  <a:gd name="T9" fmla="*/ 50 h 59"/>
                  <a:gd name="T10" fmla="*/ 122 w 128"/>
                  <a:gd name="T11" fmla="*/ 46 h 59"/>
                  <a:gd name="T12" fmla="*/ 121 w 128"/>
                  <a:gd name="T13" fmla="*/ 39 h 59"/>
                  <a:gd name="T14" fmla="*/ 119 w 128"/>
                  <a:gd name="T15" fmla="*/ 31 h 59"/>
                  <a:gd name="T16" fmla="*/ 127 w 128"/>
                  <a:gd name="T17" fmla="*/ 30 h 59"/>
                  <a:gd name="T18" fmla="*/ 127 w 128"/>
                  <a:gd name="T19" fmla="*/ 23 h 59"/>
                  <a:gd name="T20" fmla="*/ 126 w 128"/>
                  <a:gd name="T21" fmla="*/ 7 h 59"/>
                  <a:gd name="T22" fmla="*/ 116 w 128"/>
                  <a:gd name="T23" fmla="*/ 4 h 59"/>
                  <a:gd name="T24" fmla="*/ 106 w 128"/>
                  <a:gd name="T25" fmla="*/ 5 h 59"/>
                  <a:gd name="T26" fmla="*/ 95 w 128"/>
                  <a:gd name="T27" fmla="*/ 1 h 59"/>
                  <a:gd name="T28" fmla="*/ 90 w 128"/>
                  <a:gd name="T29" fmla="*/ 3 h 59"/>
                  <a:gd name="T30" fmla="*/ 87 w 128"/>
                  <a:gd name="T31" fmla="*/ 7 h 59"/>
                  <a:gd name="T32" fmla="*/ 81 w 128"/>
                  <a:gd name="T33" fmla="*/ 9 h 59"/>
                  <a:gd name="T34" fmla="*/ 69 w 128"/>
                  <a:gd name="T35" fmla="*/ 4 h 59"/>
                  <a:gd name="T36" fmla="*/ 68 w 128"/>
                  <a:gd name="T37" fmla="*/ 10 h 59"/>
                  <a:gd name="T38" fmla="*/ 63 w 128"/>
                  <a:gd name="T39" fmla="*/ 14 h 59"/>
                  <a:gd name="T40" fmla="*/ 55 w 128"/>
                  <a:gd name="T41" fmla="*/ 22 h 59"/>
                  <a:gd name="T42" fmla="*/ 59 w 128"/>
                  <a:gd name="T43" fmla="*/ 26 h 59"/>
                  <a:gd name="T44" fmla="*/ 58 w 128"/>
                  <a:gd name="T45" fmla="*/ 31 h 59"/>
                  <a:gd name="T46" fmla="*/ 49 w 128"/>
                  <a:gd name="T47" fmla="*/ 30 h 59"/>
                  <a:gd name="T48" fmla="*/ 42 w 128"/>
                  <a:gd name="T49" fmla="*/ 29 h 59"/>
                  <a:gd name="T50" fmla="*/ 33 w 128"/>
                  <a:gd name="T51" fmla="*/ 33 h 59"/>
                  <a:gd name="T52" fmla="*/ 27 w 128"/>
                  <a:gd name="T53" fmla="*/ 33 h 59"/>
                  <a:gd name="T54" fmla="*/ 19 w 128"/>
                  <a:gd name="T55" fmla="*/ 31 h 59"/>
                  <a:gd name="T56" fmla="*/ 15 w 128"/>
                  <a:gd name="T57" fmla="*/ 34 h 59"/>
                  <a:gd name="T58" fmla="*/ 9 w 128"/>
                  <a:gd name="T59" fmla="*/ 34 h 59"/>
                  <a:gd name="T60" fmla="*/ 3 w 128"/>
                  <a:gd name="T61" fmla="*/ 33 h 59"/>
                  <a:gd name="T62" fmla="*/ 0 w 128"/>
                  <a:gd name="T63" fmla="*/ 34 h 59"/>
                  <a:gd name="T64" fmla="*/ 2 w 128"/>
                  <a:gd name="T65" fmla="*/ 38 h 59"/>
                  <a:gd name="T66" fmla="*/ 4 w 128"/>
                  <a:gd name="T67" fmla="*/ 43 h 59"/>
                  <a:gd name="T68" fmla="*/ 10 w 128"/>
                  <a:gd name="T69" fmla="*/ 42 h 59"/>
                  <a:gd name="T70" fmla="*/ 17 w 128"/>
                  <a:gd name="T71" fmla="*/ 43 h 59"/>
                  <a:gd name="T72" fmla="*/ 20 w 128"/>
                  <a:gd name="T73" fmla="*/ 46 h 59"/>
                  <a:gd name="T74" fmla="*/ 27 w 128"/>
                  <a:gd name="T75" fmla="*/ 48 h 59"/>
                  <a:gd name="T76" fmla="*/ 40 w 128"/>
                  <a:gd name="T77" fmla="*/ 44 h 59"/>
                  <a:gd name="T78" fmla="*/ 46 w 128"/>
                  <a:gd name="T79" fmla="*/ 47 h 59"/>
                  <a:gd name="T80" fmla="*/ 66 w 128"/>
                  <a:gd name="T81" fmla="*/ 54 h 59"/>
                  <a:gd name="T82" fmla="*/ 75 w 128"/>
                  <a:gd name="T83" fmla="*/ 56 h 59"/>
                  <a:gd name="T84" fmla="*/ 75 w 128"/>
                  <a:gd name="T85" fmla="*/ 56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28" h="59">
                    <a:moveTo>
                      <a:pt x="75" y="56"/>
                    </a:moveTo>
                    <a:lnTo>
                      <a:pt x="78" y="56"/>
                    </a:lnTo>
                    <a:lnTo>
                      <a:pt x="86" y="56"/>
                    </a:lnTo>
                    <a:lnTo>
                      <a:pt x="89" y="59"/>
                    </a:lnTo>
                    <a:lnTo>
                      <a:pt x="93" y="57"/>
                    </a:lnTo>
                    <a:lnTo>
                      <a:pt x="97" y="57"/>
                    </a:lnTo>
                    <a:lnTo>
                      <a:pt x="102" y="55"/>
                    </a:lnTo>
                    <a:lnTo>
                      <a:pt x="104" y="55"/>
                    </a:lnTo>
                    <a:lnTo>
                      <a:pt x="105" y="55"/>
                    </a:lnTo>
                    <a:lnTo>
                      <a:pt x="114" y="50"/>
                    </a:lnTo>
                    <a:lnTo>
                      <a:pt x="119" y="49"/>
                    </a:lnTo>
                    <a:lnTo>
                      <a:pt x="122" y="46"/>
                    </a:lnTo>
                    <a:lnTo>
                      <a:pt x="120" y="43"/>
                    </a:lnTo>
                    <a:lnTo>
                      <a:pt x="121" y="39"/>
                    </a:lnTo>
                    <a:lnTo>
                      <a:pt x="122" y="35"/>
                    </a:lnTo>
                    <a:lnTo>
                      <a:pt x="119" y="31"/>
                    </a:lnTo>
                    <a:lnTo>
                      <a:pt x="120" y="29"/>
                    </a:lnTo>
                    <a:lnTo>
                      <a:pt x="127" y="30"/>
                    </a:lnTo>
                    <a:lnTo>
                      <a:pt x="128" y="26"/>
                    </a:lnTo>
                    <a:lnTo>
                      <a:pt x="127" y="23"/>
                    </a:lnTo>
                    <a:lnTo>
                      <a:pt x="126" y="13"/>
                    </a:lnTo>
                    <a:lnTo>
                      <a:pt x="126" y="7"/>
                    </a:lnTo>
                    <a:lnTo>
                      <a:pt x="120" y="5"/>
                    </a:lnTo>
                    <a:lnTo>
                      <a:pt x="116" y="4"/>
                    </a:lnTo>
                    <a:lnTo>
                      <a:pt x="111" y="5"/>
                    </a:lnTo>
                    <a:lnTo>
                      <a:pt x="106" y="5"/>
                    </a:lnTo>
                    <a:lnTo>
                      <a:pt x="102" y="1"/>
                    </a:lnTo>
                    <a:lnTo>
                      <a:pt x="95" y="1"/>
                    </a:lnTo>
                    <a:lnTo>
                      <a:pt x="91" y="0"/>
                    </a:lnTo>
                    <a:lnTo>
                      <a:pt x="90" y="3"/>
                    </a:lnTo>
                    <a:lnTo>
                      <a:pt x="88" y="5"/>
                    </a:lnTo>
                    <a:lnTo>
                      <a:pt x="87" y="7"/>
                    </a:lnTo>
                    <a:lnTo>
                      <a:pt x="83" y="7"/>
                    </a:lnTo>
                    <a:lnTo>
                      <a:pt x="81" y="9"/>
                    </a:lnTo>
                    <a:lnTo>
                      <a:pt x="72" y="5"/>
                    </a:lnTo>
                    <a:lnTo>
                      <a:pt x="69" y="4"/>
                    </a:lnTo>
                    <a:lnTo>
                      <a:pt x="68" y="7"/>
                    </a:lnTo>
                    <a:lnTo>
                      <a:pt x="68" y="10"/>
                    </a:lnTo>
                    <a:lnTo>
                      <a:pt x="65" y="10"/>
                    </a:lnTo>
                    <a:lnTo>
                      <a:pt x="63" y="14"/>
                    </a:lnTo>
                    <a:lnTo>
                      <a:pt x="60" y="16"/>
                    </a:lnTo>
                    <a:lnTo>
                      <a:pt x="55" y="22"/>
                    </a:lnTo>
                    <a:lnTo>
                      <a:pt x="55" y="25"/>
                    </a:lnTo>
                    <a:lnTo>
                      <a:pt x="59" y="26"/>
                    </a:lnTo>
                    <a:lnTo>
                      <a:pt x="60" y="30"/>
                    </a:lnTo>
                    <a:lnTo>
                      <a:pt x="58" y="31"/>
                    </a:lnTo>
                    <a:lnTo>
                      <a:pt x="54" y="28"/>
                    </a:lnTo>
                    <a:lnTo>
                      <a:pt x="49" y="30"/>
                    </a:lnTo>
                    <a:lnTo>
                      <a:pt x="45" y="28"/>
                    </a:lnTo>
                    <a:lnTo>
                      <a:pt x="42" y="29"/>
                    </a:lnTo>
                    <a:lnTo>
                      <a:pt x="37" y="33"/>
                    </a:lnTo>
                    <a:lnTo>
                      <a:pt x="33" y="33"/>
                    </a:lnTo>
                    <a:lnTo>
                      <a:pt x="30" y="32"/>
                    </a:lnTo>
                    <a:lnTo>
                      <a:pt x="27" y="33"/>
                    </a:lnTo>
                    <a:lnTo>
                      <a:pt x="24" y="32"/>
                    </a:lnTo>
                    <a:lnTo>
                      <a:pt x="19" y="31"/>
                    </a:lnTo>
                    <a:lnTo>
                      <a:pt x="15" y="31"/>
                    </a:lnTo>
                    <a:lnTo>
                      <a:pt x="15" y="34"/>
                    </a:lnTo>
                    <a:lnTo>
                      <a:pt x="14" y="35"/>
                    </a:lnTo>
                    <a:lnTo>
                      <a:pt x="9" y="34"/>
                    </a:lnTo>
                    <a:lnTo>
                      <a:pt x="7" y="31"/>
                    </a:lnTo>
                    <a:lnTo>
                      <a:pt x="3" y="33"/>
                    </a:lnTo>
                    <a:lnTo>
                      <a:pt x="1" y="34"/>
                    </a:lnTo>
                    <a:lnTo>
                      <a:pt x="0" y="34"/>
                    </a:lnTo>
                    <a:lnTo>
                      <a:pt x="2" y="35"/>
                    </a:lnTo>
                    <a:lnTo>
                      <a:pt x="2" y="38"/>
                    </a:lnTo>
                    <a:lnTo>
                      <a:pt x="4" y="40"/>
                    </a:lnTo>
                    <a:lnTo>
                      <a:pt x="4" y="43"/>
                    </a:lnTo>
                    <a:lnTo>
                      <a:pt x="7" y="43"/>
                    </a:lnTo>
                    <a:lnTo>
                      <a:pt x="10" y="42"/>
                    </a:lnTo>
                    <a:lnTo>
                      <a:pt x="14" y="46"/>
                    </a:lnTo>
                    <a:lnTo>
                      <a:pt x="17" y="43"/>
                    </a:lnTo>
                    <a:lnTo>
                      <a:pt x="19" y="43"/>
                    </a:lnTo>
                    <a:lnTo>
                      <a:pt x="20" y="46"/>
                    </a:lnTo>
                    <a:lnTo>
                      <a:pt x="21" y="46"/>
                    </a:lnTo>
                    <a:lnTo>
                      <a:pt x="27" y="48"/>
                    </a:lnTo>
                    <a:lnTo>
                      <a:pt x="37" y="43"/>
                    </a:lnTo>
                    <a:lnTo>
                      <a:pt x="40" y="44"/>
                    </a:lnTo>
                    <a:lnTo>
                      <a:pt x="47" y="44"/>
                    </a:lnTo>
                    <a:lnTo>
                      <a:pt x="46" y="47"/>
                    </a:lnTo>
                    <a:lnTo>
                      <a:pt x="56" y="52"/>
                    </a:lnTo>
                    <a:lnTo>
                      <a:pt x="66" y="54"/>
                    </a:lnTo>
                    <a:lnTo>
                      <a:pt x="73" y="53"/>
                    </a:lnTo>
                    <a:lnTo>
                      <a:pt x="75" y="56"/>
                    </a:lnTo>
                    <a:lnTo>
                      <a:pt x="75" y="56"/>
                    </a:lnTo>
                    <a:lnTo>
                      <a:pt x="75" y="56"/>
                    </a:lnTo>
                    <a:close/>
                  </a:path>
                </a:pathLst>
              </a:custGeom>
              <a:solidFill>
                <a:schemeClr val="accent2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022" name="Freeform 24"/>
              <p:cNvSpPr>
                <a:spLocks/>
              </p:cNvSpPr>
              <p:nvPr userDrawn="1"/>
            </p:nvSpPr>
            <p:spPr bwMode="auto">
              <a:xfrm>
                <a:off x="3660" y="1930"/>
                <a:ext cx="135" cy="56"/>
              </a:xfrm>
              <a:custGeom>
                <a:avLst/>
                <a:gdLst>
                  <a:gd name="T0" fmla="*/ 50 w 135"/>
                  <a:gd name="T1" fmla="*/ 3 h 56"/>
                  <a:gd name="T2" fmla="*/ 55 w 135"/>
                  <a:gd name="T3" fmla="*/ 2 h 56"/>
                  <a:gd name="T4" fmla="*/ 64 w 135"/>
                  <a:gd name="T5" fmla="*/ 2 h 56"/>
                  <a:gd name="T6" fmla="*/ 66 w 135"/>
                  <a:gd name="T7" fmla="*/ 7 h 56"/>
                  <a:gd name="T8" fmla="*/ 72 w 135"/>
                  <a:gd name="T9" fmla="*/ 9 h 56"/>
                  <a:gd name="T10" fmla="*/ 72 w 135"/>
                  <a:gd name="T11" fmla="*/ 15 h 56"/>
                  <a:gd name="T12" fmla="*/ 73 w 135"/>
                  <a:gd name="T13" fmla="*/ 19 h 56"/>
                  <a:gd name="T14" fmla="*/ 78 w 135"/>
                  <a:gd name="T15" fmla="*/ 18 h 56"/>
                  <a:gd name="T16" fmla="*/ 76 w 135"/>
                  <a:gd name="T17" fmla="*/ 13 h 56"/>
                  <a:gd name="T18" fmla="*/ 86 w 135"/>
                  <a:gd name="T19" fmla="*/ 16 h 56"/>
                  <a:gd name="T20" fmla="*/ 90 w 135"/>
                  <a:gd name="T21" fmla="*/ 19 h 56"/>
                  <a:gd name="T22" fmla="*/ 102 w 135"/>
                  <a:gd name="T23" fmla="*/ 20 h 56"/>
                  <a:gd name="T24" fmla="*/ 118 w 135"/>
                  <a:gd name="T25" fmla="*/ 30 h 56"/>
                  <a:gd name="T26" fmla="*/ 125 w 135"/>
                  <a:gd name="T27" fmla="*/ 35 h 56"/>
                  <a:gd name="T28" fmla="*/ 131 w 135"/>
                  <a:gd name="T29" fmla="*/ 34 h 56"/>
                  <a:gd name="T30" fmla="*/ 135 w 135"/>
                  <a:gd name="T31" fmla="*/ 42 h 56"/>
                  <a:gd name="T32" fmla="*/ 123 w 135"/>
                  <a:gd name="T33" fmla="*/ 44 h 56"/>
                  <a:gd name="T34" fmla="*/ 112 w 135"/>
                  <a:gd name="T35" fmla="*/ 50 h 56"/>
                  <a:gd name="T36" fmla="*/ 99 w 135"/>
                  <a:gd name="T37" fmla="*/ 52 h 56"/>
                  <a:gd name="T38" fmla="*/ 93 w 135"/>
                  <a:gd name="T39" fmla="*/ 52 h 56"/>
                  <a:gd name="T40" fmla="*/ 81 w 135"/>
                  <a:gd name="T41" fmla="*/ 52 h 56"/>
                  <a:gd name="T42" fmla="*/ 72 w 135"/>
                  <a:gd name="T43" fmla="*/ 52 h 56"/>
                  <a:gd name="T44" fmla="*/ 63 w 135"/>
                  <a:gd name="T45" fmla="*/ 48 h 56"/>
                  <a:gd name="T46" fmla="*/ 52 w 135"/>
                  <a:gd name="T47" fmla="*/ 47 h 56"/>
                  <a:gd name="T48" fmla="*/ 49 w 135"/>
                  <a:gd name="T49" fmla="*/ 52 h 56"/>
                  <a:gd name="T50" fmla="*/ 44 w 135"/>
                  <a:gd name="T51" fmla="*/ 54 h 56"/>
                  <a:gd name="T52" fmla="*/ 33 w 135"/>
                  <a:gd name="T53" fmla="*/ 52 h 56"/>
                  <a:gd name="T54" fmla="*/ 30 w 135"/>
                  <a:gd name="T55" fmla="*/ 51 h 56"/>
                  <a:gd name="T56" fmla="*/ 20 w 135"/>
                  <a:gd name="T57" fmla="*/ 40 h 56"/>
                  <a:gd name="T58" fmla="*/ 9 w 135"/>
                  <a:gd name="T59" fmla="*/ 34 h 56"/>
                  <a:gd name="T60" fmla="*/ 8 w 135"/>
                  <a:gd name="T61" fmla="*/ 28 h 56"/>
                  <a:gd name="T62" fmla="*/ 0 w 135"/>
                  <a:gd name="T63" fmla="*/ 19 h 56"/>
                  <a:gd name="T64" fmla="*/ 1 w 135"/>
                  <a:gd name="T65" fmla="*/ 15 h 56"/>
                  <a:gd name="T66" fmla="*/ 6 w 135"/>
                  <a:gd name="T67" fmla="*/ 18 h 56"/>
                  <a:gd name="T68" fmla="*/ 16 w 135"/>
                  <a:gd name="T69" fmla="*/ 11 h 56"/>
                  <a:gd name="T70" fmla="*/ 23 w 135"/>
                  <a:gd name="T71" fmla="*/ 8 h 56"/>
                  <a:gd name="T72" fmla="*/ 31 w 135"/>
                  <a:gd name="T73" fmla="*/ 5 h 56"/>
                  <a:gd name="T74" fmla="*/ 37 w 135"/>
                  <a:gd name="T75" fmla="*/ 4 h 56"/>
                  <a:gd name="T76" fmla="*/ 43 w 135"/>
                  <a:gd name="T77" fmla="*/ 2 h 56"/>
                  <a:gd name="T78" fmla="*/ 47 w 135"/>
                  <a:gd name="T79" fmla="*/ 1 h 56"/>
                  <a:gd name="T80" fmla="*/ 48 w 135"/>
                  <a:gd name="T81" fmla="*/ 0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35" h="56">
                    <a:moveTo>
                      <a:pt x="48" y="0"/>
                    </a:moveTo>
                    <a:lnTo>
                      <a:pt x="50" y="3"/>
                    </a:lnTo>
                    <a:lnTo>
                      <a:pt x="51" y="1"/>
                    </a:lnTo>
                    <a:lnTo>
                      <a:pt x="55" y="2"/>
                    </a:lnTo>
                    <a:lnTo>
                      <a:pt x="56" y="1"/>
                    </a:lnTo>
                    <a:lnTo>
                      <a:pt x="64" y="2"/>
                    </a:lnTo>
                    <a:lnTo>
                      <a:pt x="64" y="4"/>
                    </a:lnTo>
                    <a:lnTo>
                      <a:pt x="66" y="7"/>
                    </a:lnTo>
                    <a:lnTo>
                      <a:pt x="69" y="7"/>
                    </a:lnTo>
                    <a:lnTo>
                      <a:pt x="72" y="9"/>
                    </a:lnTo>
                    <a:lnTo>
                      <a:pt x="70" y="13"/>
                    </a:lnTo>
                    <a:lnTo>
                      <a:pt x="72" y="15"/>
                    </a:lnTo>
                    <a:lnTo>
                      <a:pt x="73" y="15"/>
                    </a:lnTo>
                    <a:lnTo>
                      <a:pt x="73" y="19"/>
                    </a:lnTo>
                    <a:lnTo>
                      <a:pt x="76" y="20"/>
                    </a:lnTo>
                    <a:lnTo>
                      <a:pt x="78" y="18"/>
                    </a:lnTo>
                    <a:lnTo>
                      <a:pt x="80" y="18"/>
                    </a:lnTo>
                    <a:lnTo>
                      <a:pt x="76" y="13"/>
                    </a:lnTo>
                    <a:lnTo>
                      <a:pt x="77" y="11"/>
                    </a:lnTo>
                    <a:lnTo>
                      <a:pt x="86" y="16"/>
                    </a:lnTo>
                    <a:lnTo>
                      <a:pt x="91" y="16"/>
                    </a:lnTo>
                    <a:lnTo>
                      <a:pt x="90" y="19"/>
                    </a:lnTo>
                    <a:lnTo>
                      <a:pt x="94" y="22"/>
                    </a:lnTo>
                    <a:lnTo>
                      <a:pt x="102" y="20"/>
                    </a:lnTo>
                    <a:lnTo>
                      <a:pt x="107" y="22"/>
                    </a:lnTo>
                    <a:lnTo>
                      <a:pt x="118" y="30"/>
                    </a:lnTo>
                    <a:lnTo>
                      <a:pt x="121" y="35"/>
                    </a:lnTo>
                    <a:lnTo>
                      <a:pt x="125" y="35"/>
                    </a:lnTo>
                    <a:lnTo>
                      <a:pt x="126" y="33"/>
                    </a:lnTo>
                    <a:lnTo>
                      <a:pt x="131" y="34"/>
                    </a:lnTo>
                    <a:lnTo>
                      <a:pt x="133" y="37"/>
                    </a:lnTo>
                    <a:lnTo>
                      <a:pt x="135" y="42"/>
                    </a:lnTo>
                    <a:lnTo>
                      <a:pt x="127" y="41"/>
                    </a:lnTo>
                    <a:lnTo>
                      <a:pt x="123" y="44"/>
                    </a:lnTo>
                    <a:lnTo>
                      <a:pt x="118" y="45"/>
                    </a:lnTo>
                    <a:lnTo>
                      <a:pt x="112" y="50"/>
                    </a:lnTo>
                    <a:lnTo>
                      <a:pt x="106" y="51"/>
                    </a:lnTo>
                    <a:lnTo>
                      <a:pt x="99" y="52"/>
                    </a:lnTo>
                    <a:lnTo>
                      <a:pt x="97" y="52"/>
                    </a:lnTo>
                    <a:lnTo>
                      <a:pt x="93" y="52"/>
                    </a:lnTo>
                    <a:lnTo>
                      <a:pt x="88" y="54"/>
                    </a:lnTo>
                    <a:lnTo>
                      <a:pt x="81" y="52"/>
                    </a:lnTo>
                    <a:lnTo>
                      <a:pt x="77" y="51"/>
                    </a:lnTo>
                    <a:lnTo>
                      <a:pt x="72" y="52"/>
                    </a:lnTo>
                    <a:lnTo>
                      <a:pt x="67" y="52"/>
                    </a:lnTo>
                    <a:lnTo>
                      <a:pt x="63" y="48"/>
                    </a:lnTo>
                    <a:lnTo>
                      <a:pt x="56" y="48"/>
                    </a:lnTo>
                    <a:lnTo>
                      <a:pt x="52" y="47"/>
                    </a:lnTo>
                    <a:lnTo>
                      <a:pt x="51" y="50"/>
                    </a:lnTo>
                    <a:lnTo>
                      <a:pt x="49" y="52"/>
                    </a:lnTo>
                    <a:lnTo>
                      <a:pt x="48" y="54"/>
                    </a:lnTo>
                    <a:lnTo>
                      <a:pt x="44" y="54"/>
                    </a:lnTo>
                    <a:lnTo>
                      <a:pt x="42" y="56"/>
                    </a:lnTo>
                    <a:lnTo>
                      <a:pt x="33" y="52"/>
                    </a:lnTo>
                    <a:lnTo>
                      <a:pt x="30" y="51"/>
                    </a:lnTo>
                    <a:lnTo>
                      <a:pt x="30" y="51"/>
                    </a:lnTo>
                    <a:lnTo>
                      <a:pt x="23" y="43"/>
                    </a:lnTo>
                    <a:lnTo>
                      <a:pt x="20" y="40"/>
                    </a:lnTo>
                    <a:lnTo>
                      <a:pt x="13" y="36"/>
                    </a:lnTo>
                    <a:lnTo>
                      <a:pt x="9" y="34"/>
                    </a:lnTo>
                    <a:lnTo>
                      <a:pt x="8" y="31"/>
                    </a:lnTo>
                    <a:lnTo>
                      <a:pt x="8" y="28"/>
                    </a:lnTo>
                    <a:lnTo>
                      <a:pt x="4" y="21"/>
                    </a:lnTo>
                    <a:lnTo>
                      <a:pt x="0" y="19"/>
                    </a:lnTo>
                    <a:lnTo>
                      <a:pt x="0" y="16"/>
                    </a:lnTo>
                    <a:lnTo>
                      <a:pt x="1" y="15"/>
                    </a:lnTo>
                    <a:lnTo>
                      <a:pt x="3" y="16"/>
                    </a:lnTo>
                    <a:lnTo>
                      <a:pt x="6" y="18"/>
                    </a:lnTo>
                    <a:lnTo>
                      <a:pt x="13" y="12"/>
                    </a:lnTo>
                    <a:lnTo>
                      <a:pt x="16" y="11"/>
                    </a:lnTo>
                    <a:lnTo>
                      <a:pt x="20" y="8"/>
                    </a:lnTo>
                    <a:lnTo>
                      <a:pt x="23" y="8"/>
                    </a:lnTo>
                    <a:lnTo>
                      <a:pt x="25" y="5"/>
                    </a:lnTo>
                    <a:lnTo>
                      <a:pt x="31" y="5"/>
                    </a:lnTo>
                    <a:lnTo>
                      <a:pt x="34" y="5"/>
                    </a:lnTo>
                    <a:lnTo>
                      <a:pt x="37" y="4"/>
                    </a:lnTo>
                    <a:lnTo>
                      <a:pt x="37" y="0"/>
                    </a:lnTo>
                    <a:lnTo>
                      <a:pt x="43" y="2"/>
                    </a:lnTo>
                    <a:lnTo>
                      <a:pt x="45" y="0"/>
                    </a:lnTo>
                    <a:lnTo>
                      <a:pt x="47" y="1"/>
                    </a:lnTo>
                    <a:lnTo>
                      <a:pt x="48" y="0"/>
                    </a:lnTo>
                    <a:lnTo>
                      <a:pt x="48" y="0"/>
                    </a:lnTo>
                    <a:close/>
                  </a:path>
                </a:pathLst>
              </a:custGeom>
              <a:solidFill>
                <a:schemeClr val="accent2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023" name="Freeform 25"/>
              <p:cNvSpPr>
                <a:spLocks/>
              </p:cNvSpPr>
              <p:nvPr userDrawn="1"/>
            </p:nvSpPr>
            <p:spPr bwMode="auto">
              <a:xfrm>
                <a:off x="3554" y="1951"/>
                <a:ext cx="13" cy="17"/>
              </a:xfrm>
              <a:custGeom>
                <a:avLst/>
                <a:gdLst>
                  <a:gd name="T0" fmla="*/ 2 w 13"/>
                  <a:gd name="T1" fmla="*/ 12 h 17"/>
                  <a:gd name="T2" fmla="*/ 2 w 13"/>
                  <a:gd name="T3" fmla="*/ 10 h 17"/>
                  <a:gd name="T4" fmla="*/ 1 w 13"/>
                  <a:gd name="T5" fmla="*/ 9 h 17"/>
                  <a:gd name="T6" fmla="*/ 1 w 13"/>
                  <a:gd name="T7" fmla="*/ 7 h 17"/>
                  <a:gd name="T8" fmla="*/ 0 w 13"/>
                  <a:gd name="T9" fmla="*/ 6 h 17"/>
                  <a:gd name="T10" fmla="*/ 2 w 13"/>
                  <a:gd name="T11" fmla="*/ 3 h 17"/>
                  <a:gd name="T12" fmla="*/ 3 w 13"/>
                  <a:gd name="T13" fmla="*/ 0 h 17"/>
                  <a:gd name="T14" fmla="*/ 5 w 13"/>
                  <a:gd name="T15" fmla="*/ 0 h 17"/>
                  <a:gd name="T16" fmla="*/ 10 w 13"/>
                  <a:gd name="T17" fmla="*/ 5 h 17"/>
                  <a:gd name="T18" fmla="*/ 11 w 13"/>
                  <a:gd name="T19" fmla="*/ 9 h 17"/>
                  <a:gd name="T20" fmla="*/ 13 w 13"/>
                  <a:gd name="T21" fmla="*/ 10 h 17"/>
                  <a:gd name="T22" fmla="*/ 13 w 13"/>
                  <a:gd name="T23" fmla="*/ 16 h 17"/>
                  <a:gd name="T24" fmla="*/ 10 w 13"/>
                  <a:gd name="T25" fmla="*/ 17 h 17"/>
                  <a:gd name="T26" fmla="*/ 5 w 13"/>
                  <a:gd name="T27" fmla="*/ 16 h 17"/>
                  <a:gd name="T28" fmla="*/ 3 w 13"/>
                  <a:gd name="T29" fmla="*/ 12 h 17"/>
                  <a:gd name="T30" fmla="*/ 2 w 13"/>
                  <a:gd name="T31" fmla="*/ 12 h 17"/>
                  <a:gd name="T32" fmla="*/ 2 w 13"/>
                  <a:gd name="T33" fmla="*/ 12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3" h="17">
                    <a:moveTo>
                      <a:pt x="2" y="12"/>
                    </a:moveTo>
                    <a:lnTo>
                      <a:pt x="2" y="10"/>
                    </a:lnTo>
                    <a:lnTo>
                      <a:pt x="1" y="9"/>
                    </a:lnTo>
                    <a:lnTo>
                      <a:pt x="1" y="7"/>
                    </a:lnTo>
                    <a:lnTo>
                      <a:pt x="0" y="6"/>
                    </a:lnTo>
                    <a:lnTo>
                      <a:pt x="2" y="3"/>
                    </a:lnTo>
                    <a:lnTo>
                      <a:pt x="3" y="0"/>
                    </a:lnTo>
                    <a:lnTo>
                      <a:pt x="5" y="0"/>
                    </a:lnTo>
                    <a:lnTo>
                      <a:pt x="10" y="5"/>
                    </a:lnTo>
                    <a:lnTo>
                      <a:pt x="11" y="9"/>
                    </a:lnTo>
                    <a:lnTo>
                      <a:pt x="13" y="10"/>
                    </a:lnTo>
                    <a:lnTo>
                      <a:pt x="13" y="16"/>
                    </a:lnTo>
                    <a:lnTo>
                      <a:pt x="10" y="17"/>
                    </a:lnTo>
                    <a:lnTo>
                      <a:pt x="5" y="16"/>
                    </a:lnTo>
                    <a:lnTo>
                      <a:pt x="3" y="12"/>
                    </a:lnTo>
                    <a:lnTo>
                      <a:pt x="2" y="12"/>
                    </a:lnTo>
                    <a:lnTo>
                      <a:pt x="2" y="12"/>
                    </a:ln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024" name="Freeform 26"/>
              <p:cNvSpPr>
                <a:spLocks/>
              </p:cNvSpPr>
              <p:nvPr userDrawn="1"/>
            </p:nvSpPr>
            <p:spPr bwMode="auto">
              <a:xfrm>
                <a:off x="3292" y="1824"/>
                <a:ext cx="74" cy="94"/>
              </a:xfrm>
              <a:custGeom>
                <a:avLst/>
                <a:gdLst>
                  <a:gd name="T0" fmla="*/ 30 w 74"/>
                  <a:gd name="T1" fmla="*/ 92 h 94"/>
                  <a:gd name="T2" fmla="*/ 37 w 74"/>
                  <a:gd name="T3" fmla="*/ 86 h 94"/>
                  <a:gd name="T4" fmla="*/ 43 w 74"/>
                  <a:gd name="T5" fmla="*/ 84 h 94"/>
                  <a:gd name="T6" fmla="*/ 57 w 74"/>
                  <a:gd name="T7" fmla="*/ 80 h 94"/>
                  <a:gd name="T8" fmla="*/ 62 w 74"/>
                  <a:gd name="T9" fmla="*/ 78 h 94"/>
                  <a:gd name="T10" fmla="*/ 65 w 74"/>
                  <a:gd name="T11" fmla="*/ 74 h 94"/>
                  <a:gd name="T12" fmla="*/ 70 w 74"/>
                  <a:gd name="T13" fmla="*/ 68 h 94"/>
                  <a:gd name="T14" fmla="*/ 72 w 74"/>
                  <a:gd name="T15" fmla="*/ 52 h 94"/>
                  <a:gd name="T16" fmla="*/ 73 w 74"/>
                  <a:gd name="T17" fmla="*/ 46 h 94"/>
                  <a:gd name="T18" fmla="*/ 68 w 74"/>
                  <a:gd name="T19" fmla="*/ 37 h 94"/>
                  <a:gd name="T20" fmla="*/ 68 w 74"/>
                  <a:gd name="T21" fmla="*/ 33 h 94"/>
                  <a:gd name="T22" fmla="*/ 57 w 74"/>
                  <a:gd name="T23" fmla="*/ 23 h 94"/>
                  <a:gd name="T24" fmla="*/ 51 w 74"/>
                  <a:gd name="T25" fmla="*/ 30 h 94"/>
                  <a:gd name="T26" fmla="*/ 51 w 74"/>
                  <a:gd name="T27" fmla="*/ 15 h 94"/>
                  <a:gd name="T28" fmla="*/ 56 w 74"/>
                  <a:gd name="T29" fmla="*/ 8 h 94"/>
                  <a:gd name="T30" fmla="*/ 62 w 74"/>
                  <a:gd name="T31" fmla="*/ 5 h 94"/>
                  <a:gd name="T32" fmla="*/ 56 w 74"/>
                  <a:gd name="T33" fmla="*/ 3 h 94"/>
                  <a:gd name="T34" fmla="*/ 50 w 74"/>
                  <a:gd name="T35" fmla="*/ 10 h 94"/>
                  <a:gd name="T36" fmla="*/ 50 w 74"/>
                  <a:gd name="T37" fmla="*/ 3 h 94"/>
                  <a:gd name="T38" fmla="*/ 46 w 74"/>
                  <a:gd name="T39" fmla="*/ 6 h 94"/>
                  <a:gd name="T40" fmla="*/ 40 w 74"/>
                  <a:gd name="T41" fmla="*/ 7 h 94"/>
                  <a:gd name="T42" fmla="*/ 40 w 74"/>
                  <a:gd name="T43" fmla="*/ 11 h 94"/>
                  <a:gd name="T44" fmla="*/ 37 w 74"/>
                  <a:gd name="T45" fmla="*/ 14 h 94"/>
                  <a:gd name="T46" fmla="*/ 38 w 74"/>
                  <a:gd name="T47" fmla="*/ 18 h 94"/>
                  <a:gd name="T48" fmla="*/ 43 w 74"/>
                  <a:gd name="T49" fmla="*/ 18 h 94"/>
                  <a:gd name="T50" fmla="*/ 35 w 74"/>
                  <a:gd name="T51" fmla="*/ 26 h 94"/>
                  <a:gd name="T52" fmla="*/ 24 w 74"/>
                  <a:gd name="T53" fmla="*/ 28 h 94"/>
                  <a:gd name="T54" fmla="*/ 15 w 74"/>
                  <a:gd name="T55" fmla="*/ 25 h 94"/>
                  <a:gd name="T56" fmla="*/ 12 w 74"/>
                  <a:gd name="T57" fmla="*/ 27 h 94"/>
                  <a:gd name="T58" fmla="*/ 15 w 74"/>
                  <a:gd name="T59" fmla="*/ 33 h 94"/>
                  <a:gd name="T60" fmla="*/ 8 w 74"/>
                  <a:gd name="T61" fmla="*/ 31 h 94"/>
                  <a:gd name="T62" fmla="*/ 18 w 74"/>
                  <a:gd name="T63" fmla="*/ 37 h 94"/>
                  <a:gd name="T64" fmla="*/ 14 w 74"/>
                  <a:gd name="T65" fmla="*/ 42 h 94"/>
                  <a:gd name="T66" fmla="*/ 8 w 74"/>
                  <a:gd name="T67" fmla="*/ 46 h 94"/>
                  <a:gd name="T68" fmla="*/ 12 w 74"/>
                  <a:gd name="T69" fmla="*/ 48 h 94"/>
                  <a:gd name="T70" fmla="*/ 27 w 74"/>
                  <a:gd name="T71" fmla="*/ 51 h 94"/>
                  <a:gd name="T72" fmla="*/ 18 w 74"/>
                  <a:gd name="T73" fmla="*/ 59 h 94"/>
                  <a:gd name="T74" fmla="*/ 10 w 74"/>
                  <a:gd name="T75" fmla="*/ 68 h 94"/>
                  <a:gd name="T76" fmla="*/ 18 w 74"/>
                  <a:gd name="T77" fmla="*/ 67 h 94"/>
                  <a:gd name="T78" fmla="*/ 25 w 74"/>
                  <a:gd name="T79" fmla="*/ 65 h 94"/>
                  <a:gd name="T80" fmla="*/ 15 w 74"/>
                  <a:gd name="T81" fmla="*/ 68 h 94"/>
                  <a:gd name="T82" fmla="*/ 11 w 74"/>
                  <a:gd name="T83" fmla="*/ 72 h 94"/>
                  <a:gd name="T84" fmla="*/ 9 w 74"/>
                  <a:gd name="T85" fmla="*/ 75 h 94"/>
                  <a:gd name="T86" fmla="*/ 4 w 74"/>
                  <a:gd name="T87" fmla="*/ 74 h 94"/>
                  <a:gd name="T88" fmla="*/ 12 w 74"/>
                  <a:gd name="T89" fmla="*/ 77 h 94"/>
                  <a:gd name="T90" fmla="*/ 2 w 74"/>
                  <a:gd name="T91" fmla="*/ 85 h 94"/>
                  <a:gd name="T92" fmla="*/ 14 w 74"/>
                  <a:gd name="T93" fmla="*/ 85 h 94"/>
                  <a:gd name="T94" fmla="*/ 9 w 74"/>
                  <a:gd name="T95" fmla="*/ 91 h 94"/>
                  <a:gd name="T96" fmla="*/ 10 w 74"/>
                  <a:gd name="T97" fmla="*/ 92 h 94"/>
                  <a:gd name="T98" fmla="*/ 16 w 74"/>
                  <a:gd name="T99" fmla="*/ 93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74" h="94">
                    <a:moveTo>
                      <a:pt x="19" y="94"/>
                    </a:moveTo>
                    <a:lnTo>
                      <a:pt x="24" y="93"/>
                    </a:lnTo>
                    <a:lnTo>
                      <a:pt x="30" y="92"/>
                    </a:lnTo>
                    <a:lnTo>
                      <a:pt x="35" y="89"/>
                    </a:lnTo>
                    <a:lnTo>
                      <a:pt x="34" y="86"/>
                    </a:lnTo>
                    <a:lnTo>
                      <a:pt x="37" y="86"/>
                    </a:lnTo>
                    <a:lnTo>
                      <a:pt x="36" y="88"/>
                    </a:lnTo>
                    <a:lnTo>
                      <a:pt x="40" y="88"/>
                    </a:lnTo>
                    <a:lnTo>
                      <a:pt x="43" y="84"/>
                    </a:lnTo>
                    <a:lnTo>
                      <a:pt x="46" y="84"/>
                    </a:lnTo>
                    <a:lnTo>
                      <a:pt x="46" y="81"/>
                    </a:lnTo>
                    <a:lnTo>
                      <a:pt x="57" y="80"/>
                    </a:lnTo>
                    <a:lnTo>
                      <a:pt x="58" y="78"/>
                    </a:lnTo>
                    <a:lnTo>
                      <a:pt x="59" y="80"/>
                    </a:lnTo>
                    <a:lnTo>
                      <a:pt x="62" y="78"/>
                    </a:lnTo>
                    <a:lnTo>
                      <a:pt x="64" y="79"/>
                    </a:lnTo>
                    <a:lnTo>
                      <a:pt x="68" y="79"/>
                    </a:lnTo>
                    <a:lnTo>
                      <a:pt x="65" y="74"/>
                    </a:lnTo>
                    <a:lnTo>
                      <a:pt x="68" y="73"/>
                    </a:lnTo>
                    <a:lnTo>
                      <a:pt x="70" y="71"/>
                    </a:lnTo>
                    <a:lnTo>
                      <a:pt x="70" y="68"/>
                    </a:lnTo>
                    <a:lnTo>
                      <a:pt x="73" y="64"/>
                    </a:lnTo>
                    <a:lnTo>
                      <a:pt x="74" y="61"/>
                    </a:lnTo>
                    <a:lnTo>
                      <a:pt x="72" y="52"/>
                    </a:lnTo>
                    <a:lnTo>
                      <a:pt x="70" y="51"/>
                    </a:lnTo>
                    <a:lnTo>
                      <a:pt x="73" y="50"/>
                    </a:lnTo>
                    <a:lnTo>
                      <a:pt x="73" y="46"/>
                    </a:lnTo>
                    <a:lnTo>
                      <a:pt x="70" y="43"/>
                    </a:lnTo>
                    <a:lnTo>
                      <a:pt x="71" y="39"/>
                    </a:lnTo>
                    <a:lnTo>
                      <a:pt x="68" y="37"/>
                    </a:lnTo>
                    <a:lnTo>
                      <a:pt x="69" y="35"/>
                    </a:lnTo>
                    <a:lnTo>
                      <a:pt x="72" y="35"/>
                    </a:lnTo>
                    <a:lnTo>
                      <a:pt x="68" y="33"/>
                    </a:lnTo>
                    <a:lnTo>
                      <a:pt x="66" y="32"/>
                    </a:lnTo>
                    <a:lnTo>
                      <a:pt x="62" y="26"/>
                    </a:lnTo>
                    <a:lnTo>
                      <a:pt x="57" y="23"/>
                    </a:lnTo>
                    <a:lnTo>
                      <a:pt x="54" y="25"/>
                    </a:lnTo>
                    <a:lnTo>
                      <a:pt x="53" y="29"/>
                    </a:lnTo>
                    <a:lnTo>
                      <a:pt x="51" y="30"/>
                    </a:lnTo>
                    <a:lnTo>
                      <a:pt x="44" y="23"/>
                    </a:lnTo>
                    <a:lnTo>
                      <a:pt x="47" y="15"/>
                    </a:lnTo>
                    <a:lnTo>
                      <a:pt x="51" y="15"/>
                    </a:lnTo>
                    <a:lnTo>
                      <a:pt x="52" y="11"/>
                    </a:lnTo>
                    <a:lnTo>
                      <a:pt x="54" y="10"/>
                    </a:lnTo>
                    <a:lnTo>
                      <a:pt x="56" y="8"/>
                    </a:lnTo>
                    <a:lnTo>
                      <a:pt x="54" y="8"/>
                    </a:lnTo>
                    <a:lnTo>
                      <a:pt x="58" y="6"/>
                    </a:lnTo>
                    <a:lnTo>
                      <a:pt x="62" y="5"/>
                    </a:lnTo>
                    <a:lnTo>
                      <a:pt x="58" y="3"/>
                    </a:lnTo>
                    <a:lnTo>
                      <a:pt x="55" y="0"/>
                    </a:lnTo>
                    <a:lnTo>
                      <a:pt x="56" y="3"/>
                    </a:lnTo>
                    <a:lnTo>
                      <a:pt x="52" y="3"/>
                    </a:lnTo>
                    <a:lnTo>
                      <a:pt x="53" y="6"/>
                    </a:lnTo>
                    <a:lnTo>
                      <a:pt x="50" y="10"/>
                    </a:lnTo>
                    <a:lnTo>
                      <a:pt x="50" y="7"/>
                    </a:lnTo>
                    <a:lnTo>
                      <a:pt x="52" y="6"/>
                    </a:lnTo>
                    <a:lnTo>
                      <a:pt x="50" y="3"/>
                    </a:lnTo>
                    <a:lnTo>
                      <a:pt x="47" y="4"/>
                    </a:lnTo>
                    <a:lnTo>
                      <a:pt x="49" y="6"/>
                    </a:lnTo>
                    <a:lnTo>
                      <a:pt x="46" y="6"/>
                    </a:lnTo>
                    <a:lnTo>
                      <a:pt x="45" y="4"/>
                    </a:lnTo>
                    <a:lnTo>
                      <a:pt x="40" y="6"/>
                    </a:lnTo>
                    <a:lnTo>
                      <a:pt x="40" y="7"/>
                    </a:lnTo>
                    <a:lnTo>
                      <a:pt x="38" y="7"/>
                    </a:lnTo>
                    <a:lnTo>
                      <a:pt x="37" y="10"/>
                    </a:lnTo>
                    <a:lnTo>
                      <a:pt x="40" y="11"/>
                    </a:lnTo>
                    <a:lnTo>
                      <a:pt x="39" y="13"/>
                    </a:lnTo>
                    <a:lnTo>
                      <a:pt x="36" y="13"/>
                    </a:lnTo>
                    <a:lnTo>
                      <a:pt x="37" y="14"/>
                    </a:lnTo>
                    <a:lnTo>
                      <a:pt x="33" y="15"/>
                    </a:lnTo>
                    <a:lnTo>
                      <a:pt x="34" y="18"/>
                    </a:lnTo>
                    <a:lnTo>
                      <a:pt x="38" y="18"/>
                    </a:lnTo>
                    <a:lnTo>
                      <a:pt x="37" y="19"/>
                    </a:lnTo>
                    <a:lnTo>
                      <a:pt x="41" y="18"/>
                    </a:lnTo>
                    <a:lnTo>
                      <a:pt x="43" y="18"/>
                    </a:lnTo>
                    <a:lnTo>
                      <a:pt x="39" y="23"/>
                    </a:lnTo>
                    <a:lnTo>
                      <a:pt x="33" y="25"/>
                    </a:lnTo>
                    <a:lnTo>
                      <a:pt x="35" y="26"/>
                    </a:lnTo>
                    <a:lnTo>
                      <a:pt x="30" y="27"/>
                    </a:lnTo>
                    <a:lnTo>
                      <a:pt x="27" y="26"/>
                    </a:lnTo>
                    <a:lnTo>
                      <a:pt x="24" y="28"/>
                    </a:lnTo>
                    <a:lnTo>
                      <a:pt x="24" y="25"/>
                    </a:lnTo>
                    <a:lnTo>
                      <a:pt x="15" y="24"/>
                    </a:lnTo>
                    <a:lnTo>
                      <a:pt x="15" y="25"/>
                    </a:lnTo>
                    <a:lnTo>
                      <a:pt x="11" y="24"/>
                    </a:lnTo>
                    <a:lnTo>
                      <a:pt x="10" y="28"/>
                    </a:lnTo>
                    <a:lnTo>
                      <a:pt x="12" y="27"/>
                    </a:lnTo>
                    <a:lnTo>
                      <a:pt x="13" y="29"/>
                    </a:lnTo>
                    <a:lnTo>
                      <a:pt x="14" y="30"/>
                    </a:lnTo>
                    <a:lnTo>
                      <a:pt x="15" y="33"/>
                    </a:lnTo>
                    <a:lnTo>
                      <a:pt x="13" y="33"/>
                    </a:lnTo>
                    <a:lnTo>
                      <a:pt x="12" y="31"/>
                    </a:lnTo>
                    <a:lnTo>
                      <a:pt x="8" y="31"/>
                    </a:lnTo>
                    <a:lnTo>
                      <a:pt x="13" y="35"/>
                    </a:lnTo>
                    <a:lnTo>
                      <a:pt x="17" y="34"/>
                    </a:lnTo>
                    <a:lnTo>
                      <a:pt x="18" y="37"/>
                    </a:lnTo>
                    <a:lnTo>
                      <a:pt x="13" y="38"/>
                    </a:lnTo>
                    <a:lnTo>
                      <a:pt x="13" y="40"/>
                    </a:lnTo>
                    <a:lnTo>
                      <a:pt x="14" y="42"/>
                    </a:lnTo>
                    <a:lnTo>
                      <a:pt x="9" y="42"/>
                    </a:lnTo>
                    <a:lnTo>
                      <a:pt x="10" y="45"/>
                    </a:lnTo>
                    <a:lnTo>
                      <a:pt x="8" y="46"/>
                    </a:lnTo>
                    <a:lnTo>
                      <a:pt x="11" y="47"/>
                    </a:lnTo>
                    <a:lnTo>
                      <a:pt x="13" y="47"/>
                    </a:lnTo>
                    <a:lnTo>
                      <a:pt x="12" y="48"/>
                    </a:lnTo>
                    <a:lnTo>
                      <a:pt x="16" y="47"/>
                    </a:lnTo>
                    <a:lnTo>
                      <a:pt x="17" y="51"/>
                    </a:lnTo>
                    <a:lnTo>
                      <a:pt x="27" y="51"/>
                    </a:lnTo>
                    <a:lnTo>
                      <a:pt x="24" y="54"/>
                    </a:lnTo>
                    <a:lnTo>
                      <a:pt x="22" y="53"/>
                    </a:lnTo>
                    <a:lnTo>
                      <a:pt x="18" y="59"/>
                    </a:lnTo>
                    <a:lnTo>
                      <a:pt x="20" y="59"/>
                    </a:lnTo>
                    <a:lnTo>
                      <a:pt x="17" y="63"/>
                    </a:lnTo>
                    <a:lnTo>
                      <a:pt x="10" y="68"/>
                    </a:lnTo>
                    <a:lnTo>
                      <a:pt x="13" y="68"/>
                    </a:lnTo>
                    <a:lnTo>
                      <a:pt x="16" y="65"/>
                    </a:lnTo>
                    <a:lnTo>
                      <a:pt x="18" y="67"/>
                    </a:lnTo>
                    <a:lnTo>
                      <a:pt x="23" y="67"/>
                    </a:lnTo>
                    <a:lnTo>
                      <a:pt x="25" y="64"/>
                    </a:lnTo>
                    <a:lnTo>
                      <a:pt x="25" y="65"/>
                    </a:lnTo>
                    <a:lnTo>
                      <a:pt x="29" y="65"/>
                    </a:lnTo>
                    <a:lnTo>
                      <a:pt x="22" y="68"/>
                    </a:lnTo>
                    <a:lnTo>
                      <a:pt x="15" y="68"/>
                    </a:lnTo>
                    <a:lnTo>
                      <a:pt x="14" y="70"/>
                    </a:lnTo>
                    <a:lnTo>
                      <a:pt x="10" y="71"/>
                    </a:lnTo>
                    <a:lnTo>
                      <a:pt x="11" y="72"/>
                    </a:lnTo>
                    <a:lnTo>
                      <a:pt x="10" y="74"/>
                    </a:lnTo>
                    <a:lnTo>
                      <a:pt x="12" y="75"/>
                    </a:lnTo>
                    <a:lnTo>
                      <a:pt x="9" y="75"/>
                    </a:lnTo>
                    <a:lnTo>
                      <a:pt x="6" y="73"/>
                    </a:lnTo>
                    <a:lnTo>
                      <a:pt x="5" y="75"/>
                    </a:lnTo>
                    <a:lnTo>
                      <a:pt x="4" y="74"/>
                    </a:lnTo>
                    <a:lnTo>
                      <a:pt x="0" y="76"/>
                    </a:lnTo>
                    <a:lnTo>
                      <a:pt x="1" y="78"/>
                    </a:lnTo>
                    <a:lnTo>
                      <a:pt x="12" y="77"/>
                    </a:lnTo>
                    <a:lnTo>
                      <a:pt x="8" y="80"/>
                    </a:lnTo>
                    <a:lnTo>
                      <a:pt x="3" y="81"/>
                    </a:lnTo>
                    <a:lnTo>
                      <a:pt x="2" y="85"/>
                    </a:lnTo>
                    <a:lnTo>
                      <a:pt x="4" y="85"/>
                    </a:lnTo>
                    <a:lnTo>
                      <a:pt x="5" y="87"/>
                    </a:lnTo>
                    <a:lnTo>
                      <a:pt x="14" y="85"/>
                    </a:lnTo>
                    <a:lnTo>
                      <a:pt x="7" y="89"/>
                    </a:lnTo>
                    <a:lnTo>
                      <a:pt x="4" y="91"/>
                    </a:lnTo>
                    <a:lnTo>
                      <a:pt x="9" y="91"/>
                    </a:lnTo>
                    <a:lnTo>
                      <a:pt x="15" y="88"/>
                    </a:lnTo>
                    <a:lnTo>
                      <a:pt x="15" y="90"/>
                    </a:lnTo>
                    <a:lnTo>
                      <a:pt x="10" y="92"/>
                    </a:lnTo>
                    <a:lnTo>
                      <a:pt x="12" y="92"/>
                    </a:lnTo>
                    <a:lnTo>
                      <a:pt x="12" y="93"/>
                    </a:lnTo>
                    <a:lnTo>
                      <a:pt x="16" y="93"/>
                    </a:lnTo>
                    <a:lnTo>
                      <a:pt x="19" y="94"/>
                    </a:lnTo>
                    <a:lnTo>
                      <a:pt x="19" y="94"/>
                    </a:ln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025" name="Freeform 27"/>
              <p:cNvSpPr>
                <a:spLocks noEditPoints="1"/>
              </p:cNvSpPr>
              <p:nvPr userDrawn="1"/>
            </p:nvSpPr>
            <p:spPr bwMode="auto">
              <a:xfrm>
                <a:off x="3575" y="2020"/>
                <a:ext cx="209" cy="227"/>
              </a:xfrm>
              <a:custGeom>
                <a:avLst/>
                <a:gdLst>
                  <a:gd name="T0" fmla="*/ 4 w 209"/>
                  <a:gd name="T1" fmla="*/ 59 h 227"/>
                  <a:gd name="T2" fmla="*/ 7 w 209"/>
                  <a:gd name="T3" fmla="*/ 36 h 227"/>
                  <a:gd name="T4" fmla="*/ 17 w 209"/>
                  <a:gd name="T5" fmla="*/ 24 h 227"/>
                  <a:gd name="T6" fmla="*/ 37 w 209"/>
                  <a:gd name="T7" fmla="*/ 24 h 227"/>
                  <a:gd name="T8" fmla="*/ 54 w 209"/>
                  <a:gd name="T9" fmla="*/ 18 h 227"/>
                  <a:gd name="T10" fmla="*/ 67 w 209"/>
                  <a:gd name="T11" fmla="*/ 3 h 227"/>
                  <a:gd name="T12" fmla="*/ 92 w 209"/>
                  <a:gd name="T13" fmla="*/ 4 h 227"/>
                  <a:gd name="T14" fmla="*/ 117 w 209"/>
                  <a:gd name="T15" fmla="*/ 19 h 227"/>
                  <a:gd name="T16" fmla="*/ 110 w 209"/>
                  <a:gd name="T17" fmla="*/ 31 h 227"/>
                  <a:gd name="T18" fmla="*/ 94 w 209"/>
                  <a:gd name="T19" fmla="*/ 40 h 227"/>
                  <a:gd name="T20" fmla="*/ 96 w 209"/>
                  <a:gd name="T21" fmla="*/ 57 h 227"/>
                  <a:gd name="T22" fmla="*/ 114 w 209"/>
                  <a:gd name="T23" fmla="*/ 74 h 227"/>
                  <a:gd name="T24" fmla="*/ 130 w 209"/>
                  <a:gd name="T25" fmla="*/ 96 h 227"/>
                  <a:gd name="T26" fmla="*/ 148 w 209"/>
                  <a:gd name="T27" fmla="*/ 112 h 227"/>
                  <a:gd name="T28" fmla="*/ 168 w 209"/>
                  <a:gd name="T29" fmla="*/ 114 h 227"/>
                  <a:gd name="T30" fmla="*/ 168 w 209"/>
                  <a:gd name="T31" fmla="*/ 124 h 227"/>
                  <a:gd name="T32" fmla="*/ 204 w 209"/>
                  <a:gd name="T33" fmla="*/ 142 h 227"/>
                  <a:gd name="T34" fmla="*/ 207 w 209"/>
                  <a:gd name="T35" fmla="*/ 157 h 227"/>
                  <a:gd name="T36" fmla="*/ 198 w 209"/>
                  <a:gd name="T37" fmla="*/ 151 h 227"/>
                  <a:gd name="T38" fmla="*/ 187 w 209"/>
                  <a:gd name="T39" fmla="*/ 143 h 227"/>
                  <a:gd name="T40" fmla="*/ 179 w 209"/>
                  <a:gd name="T41" fmla="*/ 154 h 227"/>
                  <a:gd name="T42" fmla="*/ 180 w 209"/>
                  <a:gd name="T43" fmla="*/ 163 h 227"/>
                  <a:gd name="T44" fmla="*/ 185 w 209"/>
                  <a:gd name="T45" fmla="*/ 178 h 227"/>
                  <a:gd name="T46" fmla="*/ 172 w 209"/>
                  <a:gd name="T47" fmla="*/ 198 h 227"/>
                  <a:gd name="T48" fmla="*/ 162 w 209"/>
                  <a:gd name="T49" fmla="*/ 194 h 227"/>
                  <a:gd name="T50" fmla="*/ 167 w 209"/>
                  <a:gd name="T51" fmla="*/ 183 h 227"/>
                  <a:gd name="T52" fmla="*/ 167 w 209"/>
                  <a:gd name="T53" fmla="*/ 168 h 227"/>
                  <a:gd name="T54" fmla="*/ 158 w 209"/>
                  <a:gd name="T55" fmla="*/ 155 h 227"/>
                  <a:gd name="T56" fmla="*/ 147 w 209"/>
                  <a:gd name="T57" fmla="*/ 147 h 227"/>
                  <a:gd name="T58" fmla="*/ 139 w 209"/>
                  <a:gd name="T59" fmla="*/ 137 h 227"/>
                  <a:gd name="T60" fmla="*/ 124 w 209"/>
                  <a:gd name="T61" fmla="*/ 129 h 227"/>
                  <a:gd name="T62" fmla="*/ 110 w 209"/>
                  <a:gd name="T63" fmla="*/ 124 h 227"/>
                  <a:gd name="T64" fmla="*/ 89 w 209"/>
                  <a:gd name="T65" fmla="*/ 106 h 227"/>
                  <a:gd name="T66" fmla="*/ 72 w 209"/>
                  <a:gd name="T67" fmla="*/ 91 h 227"/>
                  <a:gd name="T68" fmla="*/ 62 w 209"/>
                  <a:gd name="T69" fmla="*/ 73 h 227"/>
                  <a:gd name="T70" fmla="*/ 48 w 209"/>
                  <a:gd name="T71" fmla="*/ 62 h 227"/>
                  <a:gd name="T72" fmla="*/ 15 w 209"/>
                  <a:gd name="T73" fmla="*/ 72 h 227"/>
                  <a:gd name="T74" fmla="*/ 30 w 209"/>
                  <a:gd name="T75" fmla="*/ 131 h 227"/>
                  <a:gd name="T76" fmla="*/ 28 w 209"/>
                  <a:gd name="T77" fmla="*/ 132 h 227"/>
                  <a:gd name="T78" fmla="*/ 77 w 209"/>
                  <a:gd name="T79" fmla="*/ 103 h 227"/>
                  <a:gd name="T80" fmla="*/ 59 w 209"/>
                  <a:gd name="T81" fmla="*/ 94 h 227"/>
                  <a:gd name="T82" fmla="*/ 65 w 209"/>
                  <a:gd name="T83" fmla="*/ 91 h 227"/>
                  <a:gd name="T84" fmla="*/ 38 w 209"/>
                  <a:gd name="T85" fmla="*/ 179 h 227"/>
                  <a:gd name="T86" fmla="*/ 45 w 209"/>
                  <a:gd name="T87" fmla="*/ 173 h 227"/>
                  <a:gd name="T88" fmla="*/ 54 w 209"/>
                  <a:gd name="T89" fmla="*/ 166 h 227"/>
                  <a:gd name="T90" fmla="*/ 55 w 209"/>
                  <a:gd name="T91" fmla="*/ 144 h 227"/>
                  <a:gd name="T92" fmla="*/ 48 w 209"/>
                  <a:gd name="T93" fmla="*/ 131 h 227"/>
                  <a:gd name="T94" fmla="*/ 28 w 209"/>
                  <a:gd name="T95" fmla="*/ 135 h 227"/>
                  <a:gd name="T96" fmla="*/ 34 w 209"/>
                  <a:gd name="T97" fmla="*/ 148 h 227"/>
                  <a:gd name="T98" fmla="*/ 36 w 209"/>
                  <a:gd name="T99" fmla="*/ 158 h 227"/>
                  <a:gd name="T100" fmla="*/ 38 w 209"/>
                  <a:gd name="T101" fmla="*/ 179 h 227"/>
                  <a:gd name="T102" fmla="*/ 155 w 209"/>
                  <a:gd name="T103" fmla="*/ 220 h 227"/>
                  <a:gd name="T104" fmla="*/ 159 w 209"/>
                  <a:gd name="T105" fmla="*/ 196 h 227"/>
                  <a:gd name="T106" fmla="*/ 142 w 209"/>
                  <a:gd name="T107" fmla="*/ 198 h 227"/>
                  <a:gd name="T108" fmla="*/ 114 w 209"/>
                  <a:gd name="T109" fmla="*/ 197 h 227"/>
                  <a:gd name="T110" fmla="*/ 110 w 209"/>
                  <a:gd name="T111" fmla="*/ 208 h 227"/>
                  <a:gd name="T112" fmla="*/ 136 w 209"/>
                  <a:gd name="T113" fmla="*/ 220 h 227"/>
                  <a:gd name="T114" fmla="*/ 154 w 209"/>
                  <a:gd name="T115" fmla="*/ 226 h 2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209" h="227">
                    <a:moveTo>
                      <a:pt x="15" y="72"/>
                    </a:moveTo>
                    <a:lnTo>
                      <a:pt x="14" y="69"/>
                    </a:lnTo>
                    <a:lnTo>
                      <a:pt x="16" y="63"/>
                    </a:lnTo>
                    <a:lnTo>
                      <a:pt x="10" y="63"/>
                    </a:lnTo>
                    <a:lnTo>
                      <a:pt x="4" y="59"/>
                    </a:lnTo>
                    <a:lnTo>
                      <a:pt x="4" y="50"/>
                    </a:lnTo>
                    <a:lnTo>
                      <a:pt x="0" y="46"/>
                    </a:lnTo>
                    <a:lnTo>
                      <a:pt x="2" y="43"/>
                    </a:lnTo>
                    <a:lnTo>
                      <a:pt x="6" y="42"/>
                    </a:lnTo>
                    <a:lnTo>
                      <a:pt x="7" y="36"/>
                    </a:lnTo>
                    <a:lnTo>
                      <a:pt x="4" y="33"/>
                    </a:lnTo>
                    <a:lnTo>
                      <a:pt x="3" y="29"/>
                    </a:lnTo>
                    <a:lnTo>
                      <a:pt x="5" y="27"/>
                    </a:lnTo>
                    <a:lnTo>
                      <a:pt x="9" y="28"/>
                    </a:lnTo>
                    <a:lnTo>
                      <a:pt x="17" y="24"/>
                    </a:lnTo>
                    <a:lnTo>
                      <a:pt x="22" y="26"/>
                    </a:lnTo>
                    <a:lnTo>
                      <a:pt x="27" y="15"/>
                    </a:lnTo>
                    <a:lnTo>
                      <a:pt x="32" y="17"/>
                    </a:lnTo>
                    <a:lnTo>
                      <a:pt x="31" y="22"/>
                    </a:lnTo>
                    <a:lnTo>
                      <a:pt x="37" y="24"/>
                    </a:lnTo>
                    <a:lnTo>
                      <a:pt x="39" y="27"/>
                    </a:lnTo>
                    <a:lnTo>
                      <a:pt x="43" y="22"/>
                    </a:lnTo>
                    <a:lnTo>
                      <a:pt x="43" y="16"/>
                    </a:lnTo>
                    <a:lnTo>
                      <a:pt x="51" y="19"/>
                    </a:lnTo>
                    <a:lnTo>
                      <a:pt x="54" y="18"/>
                    </a:lnTo>
                    <a:lnTo>
                      <a:pt x="57" y="21"/>
                    </a:lnTo>
                    <a:lnTo>
                      <a:pt x="58" y="14"/>
                    </a:lnTo>
                    <a:lnTo>
                      <a:pt x="65" y="12"/>
                    </a:lnTo>
                    <a:lnTo>
                      <a:pt x="64" y="7"/>
                    </a:lnTo>
                    <a:lnTo>
                      <a:pt x="67" y="3"/>
                    </a:lnTo>
                    <a:lnTo>
                      <a:pt x="73" y="5"/>
                    </a:lnTo>
                    <a:lnTo>
                      <a:pt x="83" y="0"/>
                    </a:lnTo>
                    <a:lnTo>
                      <a:pt x="86" y="1"/>
                    </a:lnTo>
                    <a:lnTo>
                      <a:pt x="93" y="1"/>
                    </a:lnTo>
                    <a:lnTo>
                      <a:pt x="92" y="4"/>
                    </a:lnTo>
                    <a:lnTo>
                      <a:pt x="102" y="9"/>
                    </a:lnTo>
                    <a:lnTo>
                      <a:pt x="112" y="11"/>
                    </a:lnTo>
                    <a:lnTo>
                      <a:pt x="119" y="10"/>
                    </a:lnTo>
                    <a:lnTo>
                      <a:pt x="121" y="13"/>
                    </a:lnTo>
                    <a:lnTo>
                      <a:pt x="117" y="19"/>
                    </a:lnTo>
                    <a:lnTo>
                      <a:pt x="118" y="22"/>
                    </a:lnTo>
                    <a:lnTo>
                      <a:pt x="116" y="26"/>
                    </a:lnTo>
                    <a:lnTo>
                      <a:pt x="117" y="31"/>
                    </a:lnTo>
                    <a:lnTo>
                      <a:pt x="112" y="30"/>
                    </a:lnTo>
                    <a:lnTo>
                      <a:pt x="110" y="31"/>
                    </a:lnTo>
                    <a:lnTo>
                      <a:pt x="108" y="34"/>
                    </a:lnTo>
                    <a:lnTo>
                      <a:pt x="104" y="34"/>
                    </a:lnTo>
                    <a:lnTo>
                      <a:pt x="100" y="37"/>
                    </a:lnTo>
                    <a:lnTo>
                      <a:pt x="96" y="38"/>
                    </a:lnTo>
                    <a:lnTo>
                      <a:pt x="94" y="40"/>
                    </a:lnTo>
                    <a:lnTo>
                      <a:pt x="96" y="44"/>
                    </a:lnTo>
                    <a:lnTo>
                      <a:pt x="99" y="48"/>
                    </a:lnTo>
                    <a:lnTo>
                      <a:pt x="96" y="51"/>
                    </a:lnTo>
                    <a:lnTo>
                      <a:pt x="94" y="52"/>
                    </a:lnTo>
                    <a:lnTo>
                      <a:pt x="96" y="57"/>
                    </a:lnTo>
                    <a:lnTo>
                      <a:pt x="97" y="62"/>
                    </a:lnTo>
                    <a:lnTo>
                      <a:pt x="99" y="65"/>
                    </a:lnTo>
                    <a:lnTo>
                      <a:pt x="108" y="69"/>
                    </a:lnTo>
                    <a:lnTo>
                      <a:pt x="111" y="71"/>
                    </a:lnTo>
                    <a:lnTo>
                      <a:pt x="114" y="74"/>
                    </a:lnTo>
                    <a:lnTo>
                      <a:pt x="126" y="86"/>
                    </a:lnTo>
                    <a:lnTo>
                      <a:pt x="126" y="89"/>
                    </a:lnTo>
                    <a:lnTo>
                      <a:pt x="128" y="90"/>
                    </a:lnTo>
                    <a:lnTo>
                      <a:pt x="128" y="93"/>
                    </a:lnTo>
                    <a:lnTo>
                      <a:pt x="130" y="96"/>
                    </a:lnTo>
                    <a:lnTo>
                      <a:pt x="133" y="100"/>
                    </a:lnTo>
                    <a:lnTo>
                      <a:pt x="136" y="104"/>
                    </a:lnTo>
                    <a:lnTo>
                      <a:pt x="142" y="108"/>
                    </a:lnTo>
                    <a:lnTo>
                      <a:pt x="144" y="111"/>
                    </a:lnTo>
                    <a:lnTo>
                      <a:pt x="148" y="112"/>
                    </a:lnTo>
                    <a:lnTo>
                      <a:pt x="150" y="113"/>
                    </a:lnTo>
                    <a:lnTo>
                      <a:pt x="157" y="113"/>
                    </a:lnTo>
                    <a:lnTo>
                      <a:pt x="160" y="113"/>
                    </a:lnTo>
                    <a:lnTo>
                      <a:pt x="164" y="113"/>
                    </a:lnTo>
                    <a:lnTo>
                      <a:pt x="168" y="114"/>
                    </a:lnTo>
                    <a:lnTo>
                      <a:pt x="167" y="116"/>
                    </a:lnTo>
                    <a:lnTo>
                      <a:pt x="162" y="120"/>
                    </a:lnTo>
                    <a:lnTo>
                      <a:pt x="162" y="121"/>
                    </a:lnTo>
                    <a:lnTo>
                      <a:pt x="164" y="124"/>
                    </a:lnTo>
                    <a:lnTo>
                      <a:pt x="168" y="124"/>
                    </a:lnTo>
                    <a:lnTo>
                      <a:pt x="174" y="126"/>
                    </a:lnTo>
                    <a:lnTo>
                      <a:pt x="189" y="134"/>
                    </a:lnTo>
                    <a:lnTo>
                      <a:pt x="194" y="137"/>
                    </a:lnTo>
                    <a:lnTo>
                      <a:pt x="198" y="141"/>
                    </a:lnTo>
                    <a:lnTo>
                      <a:pt x="204" y="142"/>
                    </a:lnTo>
                    <a:lnTo>
                      <a:pt x="207" y="145"/>
                    </a:lnTo>
                    <a:lnTo>
                      <a:pt x="209" y="147"/>
                    </a:lnTo>
                    <a:lnTo>
                      <a:pt x="208" y="152"/>
                    </a:lnTo>
                    <a:lnTo>
                      <a:pt x="207" y="154"/>
                    </a:lnTo>
                    <a:lnTo>
                      <a:pt x="207" y="157"/>
                    </a:lnTo>
                    <a:lnTo>
                      <a:pt x="206" y="157"/>
                    </a:lnTo>
                    <a:lnTo>
                      <a:pt x="206" y="158"/>
                    </a:lnTo>
                    <a:lnTo>
                      <a:pt x="202" y="157"/>
                    </a:lnTo>
                    <a:lnTo>
                      <a:pt x="200" y="154"/>
                    </a:lnTo>
                    <a:lnTo>
                      <a:pt x="198" y="151"/>
                    </a:lnTo>
                    <a:lnTo>
                      <a:pt x="199" y="148"/>
                    </a:lnTo>
                    <a:lnTo>
                      <a:pt x="197" y="147"/>
                    </a:lnTo>
                    <a:lnTo>
                      <a:pt x="192" y="147"/>
                    </a:lnTo>
                    <a:lnTo>
                      <a:pt x="190" y="145"/>
                    </a:lnTo>
                    <a:lnTo>
                      <a:pt x="187" y="143"/>
                    </a:lnTo>
                    <a:lnTo>
                      <a:pt x="184" y="144"/>
                    </a:lnTo>
                    <a:lnTo>
                      <a:pt x="182" y="145"/>
                    </a:lnTo>
                    <a:lnTo>
                      <a:pt x="181" y="149"/>
                    </a:lnTo>
                    <a:lnTo>
                      <a:pt x="179" y="152"/>
                    </a:lnTo>
                    <a:lnTo>
                      <a:pt x="179" y="154"/>
                    </a:lnTo>
                    <a:lnTo>
                      <a:pt x="178" y="157"/>
                    </a:lnTo>
                    <a:lnTo>
                      <a:pt x="176" y="158"/>
                    </a:lnTo>
                    <a:lnTo>
                      <a:pt x="176" y="160"/>
                    </a:lnTo>
                    <a:lnTo>
                      <a:pt x="177" y="162"/>
                    </a:lnTo>
                    <a:lnTo>
                      <a:pt x="180" y="163"/>
                    </a:lnTo>
                    <a:lnTo>
                      <a:pt x="185" y="168"/>
                    </a:lnTo>
                    <a:lnTo>
                      <a:pt x="186" y="170"/>
                    </a:lnTo>
                    <a:lnTo>
                      <a:pt x="186" y="174"/>
                    </a:lnTo>
                    <a:lnTo>
                      <a:pt x="187" y="176"/>
                    </a:lnTo>
                    <a:lnTo>
                      <a:pt x="185" y="178"/>
                    </a:lnTo>
                    <a:lnTo>
                      <a:pt x="182" y="179"/>
                    </a:lnTo>
                    <a:lnTo>
                      <a:pt x="179" y="182"/>
                    </a:lnTo>
                    <a:lnTo>
                      <a:pt x="178" y="190"/>
                    </a:lnTo>
                    <a:lnTo>
                      <a:pt x="173" y="194"/>
                    </a:lnTo>
                    <a:lnTo>
                      <a:pt x="172" y="198"/>
                    </a:lnTo>
                    <a:lnTo>
                      <a:pt x="171" y="201"/>
                    </a:lnTo>
                    <a:lnTo>
                      <a:pt x="165" y="201"/>
                    </a:lnTo>
                    <a:lnTo>
                      <a:pt x="161" y="198"/>
                    </a:lnTo>
                    <a:lnTo>
                      <a:pt x="161" y="196"/>
                    </a:lnTo>
                    <a:lnTo>
                      <a:pt x="162" y="194"/>
                    </a:lnTo>
                    <a:lnTo>
                      <a:pt x="164" y="193"/>
                    </a:lnTo>
                    <a:lnTo>
                      <a:pt x="166" y="190"/>
                    </a:lnTo>
                    <a:lnTo>
                      <a:pt x="167" y="187"/>
                    </a:lnTo>
                    <a:lnTo>
                      <a:pt x="166" y="183"/>
                    </a:lnTo>
                    <a:lnTo>
                      <a:pt x="167" y="183"/>
                    </a:lnTo>
                    <a:lnTo>
                      <a:pt x="169" y="182"/>
                    </a:lnTo>
                    <a:lnTo>
                      <a:pt x="171" y="180"/>
                    </a:lnTo>
                    <a:lnTo>
                      <a:pt x="171" y="178"/>
                    </a:lnTo>
                    <a:lnTo>
                      <a:pt x="169" y="175"/>
                    </a:lnTo>
                    <a:lnTo>
                      <a:pt x="167" y="168"/>
                    </a:lnTo>
                    <a:lnTo>
                      <a:pt x="165" y="166"/>
                    </a:lnTo>
                    <a:lnTo>
                      <a:pt x="164" y="160"/>
                    </a:lnTo>
                    <a:lnTo>
                      <a:pt x="163" y="155"/>
                    </a:lnTo>
                    <a:lnTo>
                      <a:pt x="160" y="153"/>
                    </a:lnTo>
                    <a:lnTo>
                      <a:pt x="158" y="155"/>
                    </a:lnTo>
                    <a:lnTo>
                      <a:pt x="153" y="154"/>
                    </a:lnTo>
                    <a:lnTo>
                      <a:pt x="151" y="150"/>
                    </a:lnTo>
                    <a:lnTo>
                      <a:pt x="148" y="150"/>
                    </a:lnTo>
                    <a:lnTo>
                      <a:pt x="146" y="148"/>
                    </a:lnTo>
                    <a:lnTo>
                      <a:pt x="147" y="147"/>
                    </a:lnTo>
                    <a:lnTo>
                      <a:pt x="148" y="143"/>
                    </a:lnTo>
                    <a:lnTo>
                      <a:pt x="145" y="140"/>
                    </a:lnTo>
                    <a:lnTo>
                      <a:pt x="142" y="140"/>
                    </a:lnTo>
                    <a:lnTo>
                      <a:pt x="138" y="140"/>
                    </a:lnTo>
                    <a:lnTo>
                      <a:pt x="139" y="137"/>
                    </a:lnTo>
                    <a:lnTo>
                      <a:pt x="135" y="136"/>
                    </a:lnTo>
                    <a:lnTo>
                      <a:pt x="133" y="137"/>
                    </a:lnTo>
                    <a:lnTo>
                      <a:pt x="131" y="136"/>
                    </a:lnTo>
                    <a:lnTo>
                      <a:pt x="128" y="129"/>
                    </a:lnTo>
                    <a:lnTo>
                      <a:pt x="124" y="129"/>
                    </a:lnTo>
                    <a:lnTo>
                      <a:pt x="120" y="127"/>
                    </a:lnTo>
                    <a:lnTo>
                      <a:pt x="118" y="130"/>
                    </a:lnTo>
                    <a:lnTo>
                      <a:pt x="114" y="130"/>
                    </a:lnTo>
                    <a:lnTo>
                      <a:pt x="113" y="127"/>
                    </a:lnTo>
                    <a:lnTo>
                      <a:pt x="110" y="124"/>
                    </a:lnTo>
                    <a:lnTo>
                      <a:pt x="108" y="124"/>
                    </a:lnTo>
                    <a:lnTo>
                      <a:pt x="100" y="118"/>
                    </a:lnTo>
                    <a:lnTo>
                      <a:pt x="92" y="110"/>
                    </a:lnTo>
                    <a:lnTo>
                      <a:pt x="90" y="109"/>
                    </a:lnTo>
                    <a:lnTo>
                      <a:pt x="89" y="106"/>
                    </a:lnTo>
                    <a:lnTo>
                      <a:pt x="86" y="102"/>
                    </a:lnTo>
                    <a:lnTo>
                      <a:pt x="81" y="101"/>
                    </a:lnTo>
                    <a:lnTo>
                      <a:pt x="80" y="98"/>
                    </a:lnTo>
                    <a:lnTo>
                      <a:pt x="75" y="93"/>
                    </a:lnTo>
                    <a:lnTo>
                      <a:pt x="72" y="91"/>
                    </a:lnTo>
                    <a:lnTo>
                      <a:pt x="68" y="89"/>
                    </a:lnTo>
                    <a:lnTo>
                      <a:pt x="68" y="83"/>
                    </a:lnTo>
                    <a:lnTo>
                      <a:pt x="65" y="82"/>
                    </a:lnTo>
                    <a:lnTo>
                      <a:pt x="65" y="78"/>
                    </a:lnTo>
                    <a:lnTo>
                      <a:pt x="62" y="73"/>
                    </a:lnTo>
                    <a:lnTo>
                      <a:pt x="61" y="70"/>
                    </a:lnTo>
                    <a:lnTo>
                      <a:pt x="59" y="69"/>
                    </a:lnTo>
                    <a:lnTo>
                      <a:pt x="58" y="66"/>
                    </a:lnTo>
                    <a:lnTo>
                      <a:pt x="52" y="65"/>
                    </a:lnTo>
                    <a:lnTo>
                      <a:pt x="48" y="62"/>
                    </a:lnTo>
                    <a:lnTo>
                      <a:pt x="37" y="59"/>
                    </a:lnTo>
                    <a:lnTo>
                      <a:pt x="27" y="64"/>
                    </a:lnTo>
                    <a:lnTo>
                      <a:pt x="27" y="67"/>
                    </a:lnTo>
                    <a:lnTo>
                      <a:pt x="23" y="70"/>
                    </a:lnTo>
                    <a:lnTo>
                      <a:pt x="15" y="72"/>
                    </a:lnTo>
                    <a:lnTo>
                      <a:pt x="15" y="72"/>
                    </a:lnTo>
                    <a:lnTo>
                      <a:pt x="15" y="72"/>
                    </a:lnTo>
                    <a:close/>
                    <a:moveTo>
                      <a:pt x="28" y="132"/>
                    </a:moveTo>
                    <a:lnTo>
                      <a:pt x="29" y="132"/>
                    </a:lnTo>
                    <a:lnTo>
                      <a:pt x="30" y="131"/>
                    </a:lnTo>
                    <a:lnTo>
                      <a:pt x="31" y="129"/>
                    </a:lnTo>
                    <a:lnTo>
                      <a:pt x="30" y="128"/>
                    </a:lnTo>
                    <a:lnTo>
                      <a:pt x="29" y="129"/>
                    </a:lnTo>
                    <a:lnTo>
                      <a:pt x="28" y="130"/>
                    </a:lnTo>
                    <a:lnTo>
                      <a:pt x="28" y="132"/>
                    </a:lnTo>
                    <a:lnTo>
                      <a:pt x="28" y="132"/>
                    </a:lnTo>
                    <a:lnTo>
                      <a:pt x="28" y="132"/>
                    </a:lnTo>
                    <a:close/>
                    <a:moveTo>
                      <a:pt x="75" y="103"/>
                    </a:moveTo>
                    <a:lnTo>
                      <a:pt x="77" y="104"/>
                    </a:lnTo>
                    <a:lnTo>
                      <a:pt x="77" y="103"/>
                    </a:lnTo>
                    <a:lnTo>
                      <a:pt x="75" y="103"/>
                    </a:lnTo>
                    <a:lnTo>
                      <a:pt x="75" y="103"/>
                    </a:lnTo>
                    <a:lnTo>
                      <a:pt x="75" y="103"/>
                    </a:lnTo>
                    <a:close/>
                    <a:moveTo>
                      <a:pt x="61" y="93"/>
                    </a:moveTo>
                    <a:lnTo>
                      <a:pt x="59" y="94"/>
                    </a:lnTo>
                    <a:lnTo>
                      <a:pt x="61" y="95"/>
                    </a:lnTo>
                    <a:lnTo>
                      <a:pt x="65" y="94"/>
                    </a:lnTo>
                    <a:lnTo>
                      <a:pt x="67" y="94"/>
                    </a:lnTo>
                    <a:lnTo>
                      <a:pt x="67" y="92"/>
                    </a:lnTo>
                    <a:lnTo>
                      <a:pt x="65" y="91"/>
                    </a:lnTo>
                    <a:lnTo>
                      <a:pt x="65" y="92"/>
                    </a:lnTo>
                    <a:lnTo>
                      <a:pt x="61" y="93"/>
                    </a:lnTo>
                    <a:lnTo>
                      <a:pt x="61" y="93"/>
                    </a:lnTo>
                    <a:lnTo>
                      <a:pt x="61" y="93"/>
                    </a:lnTo>
                    <a:close/>
                    <a:moveTo>
                      <a:pt x="38" y="179"/>
                    </a:moveTo>
                    <a:lnTo>
                      <a:pt x="40" y="179"/>
                    </a:lnTo>
                    <a:lnTo>
                      <a:pt x="41" y="179"/>
                    </a:lnTo>
                    <a:lnTo>
                      <a:pt x="43" y="178"/>
                    </a:lnTo>
                    <a:lnTo>
                      <a:pt x="44" y="175"/>
                    </a:lnTo>
                    <a:lnTo>
                      <a:pt x="45" y="173"/>
                    </a:lnTo>
                    <a:lnTo>
                      <a:pt x="48" y="173"/>
                    </a:lnTo>
                    <a:lnTo>
                      <a:pt x="51" y="175"/>
                    </a:lnTo>
                    <a:lnTo>
                      <a:pt x="53" y="175"/>
                    </a:lnTo>
                    <a:lnTo>
                      <a:pt x="54" y="172"/>
                    </a:lnTo>
                    <a:lnTo>
                      <a:pt x="54" y="166"/>
                    </a:lnTo>
                    <a:lnTo>
                      <a:pt x="55" y="164"/>
                    </a:lnTo>
                    <a:lnTo>
                      <a:pt x="54" y="157"/>
                    </a:lnTo>
                    <a:lnTo>
                      <a:pt x="56" y="150"/>
                    </a:lnTo>
                    <a:lnTo>
                      <a:pt x="51" y="146"/>
                    </a:lnTo>
                    <a:lnTo>
                      <a:pt x="55" y="144"/>
                    </a:lnTo>
                    <a:lnTo>
                      <a:pt x="55" y="141"/>
                    </a:lnTo>
                    <a:lnTo>
                      <a:pt x="54" y="136"/>
                    </a:lnTo>
                    <a:lnTo>
                      <a:pt x="52" y="135"/>
                    </a:lnTo>
                    <a:lnTo>
                      <a:pt x="49" y="130"/>
                    </a:lnTo>
                    <a:lnTo>
                      <a:pt x="48" y="131"/>
                    </a:lnTo>
                    <a:lnTo>
                      <a:pt x="44" y="129"/>
                    </a:lnTo>
                    <a:lnTo>
                      <a:pt x="42" y="129"/>
                    </a:lnTo>
                    <a:lnTo>
                      <a:pt x="35" y="136"/>
                    </a:lnTo>
                    <a:lnTo>
                      <a:pt x="32" y="136"/>
                    </a:lnTo>
                    <a:lnTo>
                      <a:pt x="28" y="135"/>
                    </a:lnTo>
                    <a:lnTo>
                      <a:pt x="28" y="138"/>
                    </a:lnTo>
                    <a:lnTo>
                      <a:pt x="27" y="140"/>
                    </a:lnTo>
                    <a:lnTo>
                      <a:pt x="30" y="143"/>
                    </a:lnTo>
                    <a:lnTo>
                      <a:pt x="31" y="146"/>
                    </a:lnTo>
                    <a:lnTo>
                      <a:pt x="34" y="148"/>
                    </a:lnTo>
                    <a:lnTo>
                      <a:pt x="34" y="153"/>
                    </a:lnTo>
                    <a:lnTo>
                      <a:pt x="31" y="155"/>
                    </a:lnTo>
                    <a:lnTo>
                      <a:pt x="32" y="157"/>
                    </a:lnTo>
                    <a:lnTo>
                      <a:pt x="36" y="157"/>
                    </a:lnTo>
                    <a:lnTo>
                      <a:pt x="36" y="158"/>
                    </a:lnTo>
                    <a:lnTo>
                      <a:pt x="33" y="161"/>
                    </a:lnTo>
                    <a:lnTo>
                      <a:pt x="32" y="168"/>
                    </a:lnTo>
                    <a:lnTo>
                      <a:pt x="33" y="170"/>
                    </a:lnTo>
                    <a:lnTo>
                      <a:pt x="35" y="177"/>
                    </a:lnTo>
                    <a:lnTo>
                      <a:pt x="38" y="179"/>
                    </a:lnTo>
                    <a:lnTo>
                      <a:pt x="38" y="179"/>
                    </a:lnTo>
                    <a:lnTo>
                      <a:pt x="38" y="179"/>
                    </a:lnTo>
                    <a:close/>
                    <a:moveTo>
                      <a:pt x="154" y="226"/>
                    </a:moveTo>
                    <a:lnTo>
                      <a:pt x="154" y="222"/>
                    </a:lnTo>
                    <a:lnTo>
                      <a:pt x="155" y="220"/>
                    </a:lnTo>
                    <a:lnTo>
                      <a:pt x="155" y="216"/>
                    </a:lnTo>
                    <a:lnTo>
                      <a:pt x="151" y="212"/>
                    </a:lnTo>
                    <a:lnTo>
                      <a:pt x="155" y="203"/>
                    </a:lnTo>
                    <a:lnTo>
                      <a:pt x="158" y="200"/>
                    </a:lnTo>
                    <a:lnTo>
                      <a:pt x="159" y="196"/>
                    </a:lnTo>
                    <a:lnTo>
                      <a:pt x="156" y="192"/>
                    </a:lnTo>
                    <a:lnTo>
                      <a:pt x="151" y="197"/>
                    </a:lnTo>
                    <a:lnTo>
                      <a:pt x="150" y="197"/>
                    </a:lnTo>
                    <a:lnTo>
                      <a:pt x="146" y="194"/>
                    </a:lnTo>
                    <a:lnTo>
                      <a:pt x="142" y="198"/>
                    </a:lnTo>
                    <a:lnTo>
                      <a:pt x="133" y="198"/>
                    </a:lnTo>
                    <a:lnTo>
                      <a:pt x="127" y="200"/>
                    </a:lnTo>
                    <a:lnTo>
                      <a:pt x="122" y="199"/>
                    </a:lnTo>
                    <a:lnTo>
                      <a:pt x="119" y="197"/>
                    </a:lnTo>
                    <a:lnTo>
                      <a:pt x="114" y="197"/>
                    </a:lnTo>
                    <a:lnTo>
                      <a:pt x="112" y="199"/>
                    </a:lnTo>
                    <a:lnTo>
                      <a:pt x="111" y="197"/>
                    </a:lnTo>
                    <a:lnTo>
                      <a:pt x="107" y="199"/>
                    </a:lnTo>
                    <a:lnTo>
                      <a:pt x="107" y="204"/>
                    </a:lnTo>
                    <a:lnTo>
                      <a:pt x="110" y="208"/>
                    </a:lnTo>
                    <a:lnTo>
                      <a:pt x="114" y="207"/>
                    </a:lnTo>
                    <a:lnTo>
                      <a:pt x="121" y="212"/>
                    </a:lnTo>
                    <a:lnTo>
                      <a:pt x="125" y="213"/>
                    </a:lnTo>
                    <a:lnTo>
                      <a:pt x="128" y="217"/>
                    </a:lnTo>
                    <a:lnTo>
                      <a:pt x="136" y="220"/>
                    </a:lnTo>
                    <a:lnTo>
                      <a:pt x="138" y="219"/>
                    </a:lnTo>
                    <a:lnTo>
                      <a:pt x="142" y="221"/>
                    </a:lnTo>
                    <a:lnTo>
                      <a:pt x="142" y="223"/>
                    </a:lnTo>
                    <a:lnTo>
                      <a:pt x="151" y="227"/>
                    </a:lnTo>
                    <a:lnTo>
                      <a:pt x="154" y="226"/>
                    </a:lnTo>
                    <a:lnTo>
                      <a:pt x="154" y="226"/>
                    </a:lnTo>
                    <a:close/>
                  </a:path>
                </a:pathLst>
              </a:custGeom>
              <a:solidFill>
                <a:schemeClr val="accent2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026" name="Freeform 28"/>
              <p:cNvSpPr>
                <a:spLocks/>
              </p:cNvSpPr>
              <p:nvPr userDrawn="1"/>
            </p:nvSpPr>
            <p:spPr bwMode="auto">
              <a:xfrm>
                <a:off x="3303" y="2128"/>
                <a:ext cx="57" cy="111"/>
              </a:xfrm>
              <a:custGeom>
                <a:avLst/>
                <a:gdLst>
                  <a:gd name="T0" fmla="*/ 37 w 57"/>
                  <a:gd name="T1" fmla="*/ 101 h 111"/>
                  <a:gd name="T2" fmla="*/ 38 w 57"/>
                  <a:gd name="T3" fmla="*/ 90 h 111"/>
                  <a:gd name="T4" fmla="*/ 43 w 57"/>
                  <a:gd name="T5" fmla="*/ 83 h 111"/>
                  <a:gd name="T6" fmla="*/ 37 w 57"/>
                  <a:gd name="T7" fmla="*/ 77 h 111"/>
                  <a:gd name="T8" fmla="*/ 42 w 57"/>
                  <a:gd name="T9" fmla="*/ 65 h 111"/>
                  <a:gd name="T10" fmla="*/ 34 w 57"/>
                  <a:gd name="T11" fmla="*/ 53 h 111"/>
                  <a:gd name="T12" fmla="*/ 41 w 57"/>
                  <a:gd name="T13" fmla="*/ 52 h 111"/>
                  <a:gd name="T14" fmla="*/ 43 w 57"/>
                  <a:gd name="T15" fmla="*/ 43 h 111"/>
                  <a:gd name="T16" fmla="*/ 47 w 57"/>
                  <a:gd name="T17" fmla="*/ 28 h 111"/>
                  <a:gd name="T18" fmla="*/ 54 w 57"/>
                  <a:gd name="T19" fmla="*/ 17 h 111"/>
                  <a:gd name="T20" fmla="*/ 57 w 57"/>
                  <a:gd name="T21" fmla="*/ 13 h 111"/>
                  <a:gd name="T22" fmla="*/ 53 w 57"/>
                  <a:gd name="T23" fmla="*/ 4 h 111"/>
                  <a:gd name="T24" fmla="*/ 40 w 57"/>
                  <a:gd name="T25" fmla="*/ 6 h 111"/>
                  <a:gd name="T26" fmla="*/ 24 w 57"/>
                  <a:gd name="T27" fmla="*/ 7 h 111"/>
                  <a:gd name="T28" fmla="*/ 23 w 57"/>
                  <a:gd name="T29" fmla="*/ 1 h 111"/>
                  <a:gd name="T30" fmla="*/ 13 w 57"/>
                  <a:gd name="T31" fmla="*/ 2 h 111"/>
                  <a:gd name="T32" fmla="*/ 15 w 57"/>
                  <a:gd name="T33" fmla="*/ 11 h 111"/>
                  <a:gd name="T34" fmla="*/ 14 w 57"/>
                  <a:gd name="T35" fmla="*/ 24 h 111"/>
                  <a:gd name="T36" fmla="*/ 16 w 57"/>
                  <a:gd name="T37" fmla="*/ 32 h 111"/>
                  <a:gd name="T38" fmla="*/ 12 w 57"/>
                  <a:gd name="T39" fmla="*/ 39 h 111"/>
                  <a:gd name="T40" fmla="*/ 8 w 57"/>
                  <a:gd name="T41" fmla="*/ 50 h 111"/>
                  <a:gd name="T42" fmla="*/ 2 w 57"/>
                  <a:gd name="T43" fmla="*/ 61 h 111"/>
                  <a:gd name="T44" fmla="*/ 0 w 57"/>
                  <a:gd name="T45" fmla="*/ 73 h 111"/>
                  <a:gd name="T46" fmla="*/ 6 w 57"/>
                  <a:gd name="T47" fmla="*/ 70 h 111"/>
                  <a:gd name="T48" fmla="*/ 9 w 57"/>
                  <a:gd name="T49" fmla="*/ 70 h 111"/>
                  <a:gd name="T50" fmla="*/ 5 w 57"/>
                  <a:gd name="T51" fmla="*/ 75 h 111"/>
                  <a:gd name="T52" fmla="*/ 6 w 57"/>
                  <a:gd name="T53" fmla="*/ 81 h 111"/>
                  <a:gd name="T54" fmla="*/ 13 w 57"/>
                  <a:gd name="T55" fmla="*/ 78 h 111"/>
                  <a:gd name="T56" fmla="*/ 13 w 57"/>
                  <a:gd name="T57" fmla="*/ 86 h 111"/>
                  <a:gd name="T58" fmla="*/ 11 w 57"/>
                  <a:gd name="T59" fmla="*/ 99 h 111"/>
                  <a:gd name="T60" fmla="*/ 8 w 57"/>
                  <a:gd name="T61" fmla="*/ 108 h 111"/>
                  <a:gd name="T62" fmla="*/ 14 w 57"/>
                  <a:gd name="T63" fmla="*/ 105 h 111"/>
                  <a:gd name="T64" fmla="*/ 26 w 57"/>
                  <a:gd name="T65" fmla="*/ 111 h 111"/>
                  <a:gd name="T66" fmla="*/ 36 w 57"/>
                  <a:gd name="T67" fmla="*/ 107 h 111"/>
                  <a:gd name="T68" fmla="*/ 37 w 57"/>
                  <a:gd name="T69" fmla="*/ 105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57" h="111">
                    <a:moveTo>
                      <a:pt x="37" y="105"/>
                    </a:moveTo>
                    <a:lnTo>
                      <a:pt x="37" y="101"/>
                    </a:lnTo>
                    <a:lnTo>
                      <a:pt x="35" y="97"/>
                    </a:lnTo>
                    <a:lnTo>
                      <a:pt x="38" y="90"/>
                    </a:lnTo>
                    <a:lnTo>
                      <a:pt x="43" y="86"/>
                    </a:lnTo>
                    <a:lnTo>
                      <a:pt x="43" y="83"/>
                    </a:lnTo>
                    <a:lnTo>
                      <a:pt x="39" y="82"/>
                    </a:lnTo>
                    <a:lnTo>
                      <a:pt x="37" y="77"/>
                    </a:lnTo>
                    <a:lnTo>
                      <a:pt x="43" y="71"/>
                    </a:lnTo>
                    <a:lnTo>
                      <a:pt x="42" y="65"/>
                    </a:lnTo>
                    <a:lnTo>
                      <a:pt x="38" y="62"/>
                    </a:lnTo>
                    <a:lnTo>
                      <a:pt x="34" y="53"/>
                    </a:lnTo>
                    <a:lnTo>
                      <a:pt x="38" y="52"/>
                    </a:lnTo>
                    <a:lnTo>
                      <a:pt x="41" y="52"/>
                    </a:lnTo>
                    <a:lnTo>
                      <a:pt x="46" y="47"/>
                    </a:lnTo>
                    <a:lnTo>
                      <a:pt x="43" y="43"/>
                    </a:lnTo>
                    <a:lnTo>
                      <a:pt x="47" y="39"/>
                    </a:lnTo>
                    <a:lnTo>
                      <a:pt x="47" y="28"/>
                    </a:lnTo>
                    <a:lnTo>
                      <a:pt x="46" y="24"/>
                    </a:lnTo>
                    <a:lnTo>
                      <a:pt x="54" y="17"/>
                    </a:lnTo>
                    <a:lnTo>
                      <a:pt x="56" y="17"/>
                    </a:lnTo>
                    <a:lnTo>
                      <a:pt x="57" y="13"/>
                    </a:lnTo>
                    <a:lnTo>
                      <a:pt x="54" y="8"/>
                    </a:lnTo>
                    <a:lnTo>
                      <a:pt x="53" y="4"/>
                    </a:lnTo>
                    <a:lnTo>
                      <a:pt x="44" y="3"/>
                    </a:lnTo>
                    <a:lnTo>
                      <a:pt x="40" y="6"/>
                    </a:lnTo>
                    <a:lnTo>
                      <a:pt x="31" y="5"/>
                    </a:lnTo>
                    <a:lnTo>
                      <a:pt x="24" y="7"/>
                    </a:lnTo>
                    <a:lnTo>
                      <a:pt x="23" y="5"/>
                    </a:lnTo>
                    <a:lnTo>
                      <a:pt x="23" y="1"/>
                    </a:lnTo>
                    <a:lnTo>
                      <a:pt x="20" y="0"/>
                    </a:lnTo>
                    <a:lnTo>
                      <a:pt x="13" y="2"/>
                    </a:lnTo>
                    <a:lnTo>
                      <a:pt x="13" y="5"/>
                    </a:lnTo>
                    <a:lnTo>
                      <a:pt x="15" y="11"/>
                    </a:lnTo>
                    <a:lnTo>
                      <a:pt x="14" y="23"/>
                    </a:lnTo>
                    <a:lnTo>
                      <a:pt x="14" y="24"/>
                    </a:lnTo>
                    <a:lnTo>
                      <a:pt x="13" y="29"/>
                    </a:lnTo>
                    <a:lnTo>
                      <a:pt x="16" y="32"/>
                    </a:lnTo>
                    <a:lnTo>
                      <a:pt x="14" y="34"/>
                    </a:lnTo>
                    <a:lnTo>
                      <a:pt x="12" y="39"/>
                    </a:lnTo>
                    <a:lnTo>
                      <a:pt x="12" y="45"/>
                    </a:lnTo>
                    <a:lnTo>
                      <a:pt x="8" y="50"/>
                    </a:lnTo>
                    <a:lnTo>
                      <a:pt x="8" y="54"/>
                    </a:lnTo>
                    <a:lnTo>
                      <a:pt x="2" y="61"/>
                    </a:lnTo>
                    <a:lnTo>
                      <a:pt x="0" y="70"/>
                    </a:lnTo>
                    <a:lnTo>
                      <a:pt x="0" y="73"/>
                    </a:lnTo>
                    <a:lnTo>
                      <a:pt x="4" y="73"/>
                    </a:lnTo>
                    <a:lnTo>
                      <a:pt x="6" y="70"/>
                    </a:lnTo>
                    <a:lnTo>
                      <a:pt x="10" y="69"/>
                    </a:lnTo>
                    <a:lnTo>
                      <a:pt x="9" y="70"/>
                    </a:lnTo>
                    <a:lnTo>
                      <a:pt x="10" y="72"/>
                    </a:lnTo>
                    <a:lnTo>
                      <a:pt x="5" y="75"/>
                    </a:lnTo>
                    <a:lnTo>
                      <a:pt x="4" y="79"/>
                    </a:lnTo>
                    <a:lnTo>
                      <a:pt x="6" y="81"/>
                    </a:lnTo>
                    <a:lnTo>
                      <a:pt x="9" y="78"/>
                    </a:lnTo>
                    <a:lnTo>
                      <a:pt x="13" y="78"/>
                    </a:lnTo>
                    <a:lnTo>
                      <a:pt x="12" y="81"/>
                    </a:lnTo>
                    <a:lnTo>
                      <a:pt x="13" y="86"/>
                    </a:lnTo>
                    <a:lnTo>
                      <a:pt x="11" y="90"/>
                    </a:lnTo>
                    <a:lnTo>
                      <a:pt x="11" y="99"/>
                    </a:lnTo>
                    <a:lnTo>
                      <a:pt x="10" y="106"/>
                    </a:lnTo>
                    <a:lnTo>
                      <a:pt x="8" y="108"/>
                    </a:lnTo>
                    <a:lnTo>
                      <a:pt x="10" y="109"/>
                    </a:lnTo>
                    <a:lnTo>
                      <a:pt x="14" y="105"/>
                    </a:lnTo>
                    <a:lnTo>
                      <a:pt x="22" y="108"/>
                    </a:lnTo>
                    <a:lnTo>
                      <a:pt x="26" y="111"/>
                    </a:lnTo>
                    <a:lnTo>
                      <a:pt x="32" y="107"/>
                    </a:lnTo>
                    <a:lnTo>
                      <a:pt x="36" y="107"/>
                    </a:lnTo>
                    <a:lnTo>
                      <a:pt x="37" y="105"/>
                    </a:lnTo>
                    <a:lnTo>
                      <a:pt x="37" y="105"/>
                    </a:lnTo>
                    <a:lnTo>
                      <a:pt x="37" y="105"/>
                    </a:lnTo>
                    <a:close/>
                  </a:path>
                </a:pathLst>
              </a:custGeom>
              <a:solidFill>
                <a:schemeClr val="accent2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027" name="Freeform 29"/>
              <p:cNvSpPr>
                <a:spLocks noEditPoints="1"/>
              </p:cNvSpPr>
              <p:nvPr userDrawn="1"/>
            </p:nvSpPr>
            <p:spPr bwMode="auto">
              <a:xfrm>
                <a:off x="3804" y="2133"/>
                <a:ext cx="159" cy="148"/>
              </a:xfrm>
              <a:custGeom>
                <a:avLst/>
                <a:gdLst>
                  <a:gd name="T0" fmla="*/ 101 w 166"/>
                  <a:gd name="T1" fmla="*/ 12 h 155"/>
                  <a:gd name="T2" fmla="*/ 66 w 166"/>
                  <a:gd name="T3" fmla="*/ 14 h 155"/>
                  <a:gd name="T4" fmla="*/ 27 w 166"/>
                  <a:gd name="T5" fmla="*/ 28 h 155"/>
                  <a:gd name="T6" fmla="*/ 18 w 166"/>
                  <a:gd name="T7" fmla="*/ 62 h 155"/>
                  <a:gd name="T8" fmla="*/ 43 w 166"/>
                  <a:gd name="T9" fmla="*/ 84 h 155"/>
                  <a:gd name="T10" fmla="*/ 63 w 166"/>
                  <a:gd name="T11" fmla="*/ 89 h 155"/>
                  <a:gd name="T12" fmla="*/ 32 w 166"/>
                  <a:gd name="T13" fmla="*/ 89 h 155"/>
                  <a:gd name="T14" fmla="*/ 48 w 166"/>
                  <a:gd name="T15" fmla="*/ 117 h 155"/>
                  <a:gd name="T16" fmla="*/ 58 w 166"/>
                  <a:gd name="T17" fmla="*/ 119 h 155"/>
                  <a:gd name="T18" fmla="*/ 62 w 166"/>
                  <a:gd name="T19" fmla="*/ 102 h 155"/>
                  <a:gd name="T20" fmla="*/ 73 w 166"/>
                  <a:gd name="T21" fmla="*/ 102 h 155"/>
                  <a:gd name="T22" fmla="*/ 79 w 166"/>
                  <a:gd name="T23" fmla="*/ 94 h 155"/>
                  <a:gd name="T24" fmla="*/ 68 w 166"/>
                  <a:gd name="T25" fmla="*/ 75 h 155"/>
                  <a:gd name="T26" fmla="*/ 61 w 166"/>
                  <a:gd name="T27" fmla="*/ 61 h 155"/>
                  <a:gd name="T28" fmla="*/ 60 w 166"/>
                  <a:gd name="T29" fmla="*/ 51 h 155"/>
                  <a:gd name="T30" fmla="*/ 59 w 166"/>
                  <a:gd name="T31" fmla="*/ 32 h 155"/>
                  <a:gd name="T32" fmla="*/ 74 w 166"/>
                  <a:gd name="T33" fmla="*/ 38 h 155"/>
                  <a:gd name="T34" fmla="*/ 87 w 166"/>
                  <a:gd name="T35" fmla="*/ 37 h 155"/>
                  <a:gd name="T36" fmla="*/ 92 w 166"/>
                  <a:gd name="T37" fmla="*/ 24 h 155"/>
                  <a:gd name="T38" fmla="*/ 123 w 166"/>
                  <a:gd name="T39" fmla="*/ 18 h 155"/>
                  <a:gd name="T40" fmla="*/ 79 w 166"/>
                  <a:gd name="T41" fmla="*/ 146 h 155"/>
                  <a:gd name="T42" fmla="*/ 107 w 166"/>
                  <a:gd name="T43" fmla="*/ 155 h 155"/>
                  <a:gd name="T44" fmla="*/ 130 w 166"/>
                  <a:gd name="T45" fmla="*/ 146 h 155"/>
                  <a:gd name="T46" fmla="*/ 114 w 166"/>
                  <a:gd name="T47" fmla="*/ 144 h 155"/>
                  <a:gd name="T48" fmla="*/ 90 w 166"/>
                  <a:gd name="T49" fmla="*/ 140 h 155"/>
                  <a:gd name="T50" fmla="*/ 83 w 166"/>
                  <a:gd name="T51" fmla="*/ 143 h 155"/>
                  <a:gd name="T52" fmla="*/ 2 w 166"/>
                  <a:gd name="T53" fmla="*/ 54 h 155"/>
                  <a:gd name="T54" fmla="*/ 23 w 166"/>
                  <a:gd name="T55" fmla="*/ 72 h 155"/>
                  <a:gd name="T56" fmla="*/ 23 w 166"/>
                  <a:gd name="T57" fmla="*/ 84 h 155"/>
                  <a:gd name="T58" fmla="*/ 19 w 166"/>
                  <a:gd name="T59" fmla="*/ 87 h 155"/>
                  <a:gd name="T60" fmla="*/ 26 w 166"/>
                  <a:gd name="T61" fmla="*/ 98 h 155"/>
                  <a:gd name="T62" fmla="*/ 147 w 166"/>
                  <a:gd name="T63" fmla="*/ 134 h 155"/>
                  <a:gd name="T64" fmla="*/ 147 w 166"/>
                  <a:gd name="T65" fmla="*/ 145 h 155"/>
                  <a:gd name="T66" fmla="*/ 166 w 166"/>
                  <a:gd name="T67" fmla="*/ 123 h 155"/>
                  <a:gd name="T68" fmla="*/ 156 w 166"/>
                  <a:gd name="T69" fmla="*/ 135 h 155"/>
                  <a:gd name="T70" fmla="*/ 133 w 166"/>
                  <a:gd name="T71" fmla="*/ 94 h 155"/>
                  <a:gd name="T72" fmla="*/ 133 w 166"/>
                  <a:gd name="T73" fmla="*/ 97 h 155"/>
                  <a:gd name="T74" fmla="*/ 119 w 166"/>
                  <a:gd name="T75" fmla="*/ 82 h 155"/>
                  <a:gd name="T76" fmla="*/ 115 w 166"/>
                  <a:gd name="T77" fmla="*/ 64 h 155"/>
                  <a:gd name="T78" fmla="*/ 129 w 166"/>
                  <a:gd name="T79" fmla="*/ 67 h 155"/>
                  <a:gd name="T80" fmla="*/ 119 w 166"/>
                  <a:gd name="T81" fmla="*/ 66 h 155"/>
                  <a:gd name="T82" fmla="*/ 100 w 166"/>
                  <a:gd name="T83" fmla="*/ 42 h 155"/>
                  <a:gd name="T84" fmla="*/ 100 w 166"/>
                  <a:gd name="T85" fmla="*/ 46 h 155"/>
                  <a:gd name="T86" fmla="*/ 90 w 166"/>
                  <a:gd name="T87" fmla="*/ 29 h 155"/>
                  <a:gd name="T88" fmla="*/ 71 w 166"/>
                  <a:gd name="T89" fmla="*/ 62 h 155"/>
                  <a:gd name="T90" fmla="*/ 96 w 166"/>
                  <a:gd name="T91" fmla="*/ 73 h 155"/>
                  <a:gd name="T92" fmla="*/ 123 w 166"/>
                  <a:gd name="T93" fmla="*/ 103 h 155"/>
                  <a:gd name="T94" fmla="*/ 95 w 166"/>
                  <a:gd name="T95" fmla="*/ 111 h 155"/>
                  <a:gd name="T96" fmla="*/ 91 w 166"/>
                  <a:gd name="T97" fmla="*/ 99 h 155"/>
                  <a:gd name="T98" fmla="*/ 112 w 166"/>
                  <a:gd name="T99" fmla="*/ 112 h 155"/>
                  <a:gd name="T100" fmla="*/ 113 w 166"/>
                  <a:gd name="T101" fmla="*/ 103 h 155"/>
                  <a:gd name="T102" fmla="*/ 99 w 166"/>
                  <a:gd name="T103" fmla="*/ 92 h 155"/>
                  <a:gd name="T104" fmla="*/ 64 w 166"/>
                  <a:gd name="T105" fmla="*/ 67 h 155"/>
                  <a:gd name="T106" fmla="*/ 88 w 166"/>
                  <a:gd name="T107" fmla="*/ 80 h 155"/>
                  <a:gd name="T108" fmla="*/ 90 w 166"/>
                  <a:gd name="T109" fmla="*/ 92 h 155"/>
                  <a:gd name="T110" fmla="*/ 74 w 166"/>
                  <a:gd name="T111" fmla="*/ 76 h 155"/>
                  <a:gd name="T112" fmla="*/ 67 w 166"/>
                  <a:gd name="T113" fmla="*/ 124 h 155"/>
                  <a:gd name="T114" fmla="*/ 68 w 166"/>
                  <a:gd name="T115" fmla="*/ 123 h 1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66" h="155">
                    <a:moveTo>
                      <a:pt x="125" y="0"/>
                    </a:moveTo>
                    <a:cubicBezTo>
                      <a:pt x="122" y="0"/>
                      <a:pt x="122" y="0"/>
                      <a:pt x="122" y="0"/>
                    </a:cubicBezTo>
                    <a:cubicBezTo>
                      <a:pt x="118" y="3"/>
                      <a:pt x="118" y="3"/>
                      <a:pt x="118" y="3"/>
                    </a:cubicBezTo>
                    <a:cubicBezTo>
                      <a:pt x="117" y="7"/>
                      <a:pt x="117" y="7"/>
                      <a:pt x="117" y="7"/>
                    </a:cubicBezTo>
                    <a:cubicBezTo>
                      <a:pt x="119" y="11"/>
                      <a:pt x="119" y="11"/>
                      <a:pt x="119" y="11"/>
                    </a:cubicBezTo>
                    <a:cubicBezTo>
                      <a:pt x="117" y="13"/>
                      <a:pt x="117" y="13"/>
                      <a:pt x="117" y="13"/>
                    </a:cubicBezTo>
                    <a:cubicBezTo>
                      <a:pt x="108" y="12"/>
                      <a:pt x="108" y="12"/>
                      <a:pt x="108" y="12"/>
                    </a:cubicBezTo>
                    <a:cubicBezTo>
                      <a:pt x="105" y="14"/>
                      <a:pt x="105" y="14"/>
                      <a:pt x="105" y="14"/>
                    </a:cubicBezTo>
                    <a:cubicBezTo>
                      <a:pt x="101" y="12"/>
                      <a:pt x="101" y="12"/>
                      <a:pt x="101" y="12"/>
                    </a:cubicBezTo>
                    <a:cubicBezTo>
                      <a:pt x="98" y="12"/>
                      <a:pt x="98" y="12"/>
                      <a:pt x="98" y="12"/>
                    </a:cubicBezTo>
                    <a:cubicBezTo>
                      <a:pt x="95" y="14"/>
                      <a:pt x="95" y="14"/>
                      <a:pt x="95" y="14"/>
                    </a:cubicBezTo>
                    <a:cubicBezTo>
                      <a:pt x="91" y="14"/>
                      <a:pt x="91" y="14"/>
                      <a:pt x="91" y="14"/>
                    </a:cubicBezTo>
                    <a:cubicBezTo>
                      <a:pt x="91" y="11"/>
                      <a:pt x="91" y="11"/>
                      <a:pt x="91" y="11"/>
                    </a:cubicBezTo>
                    <a:cubicBezTo>
                      <a:pt x="86" y="11"/>
                      <a:pt x="86" y="11"/>
                      <a:pt x="86" y="11"/>
                    </a:cubicBezTo>
                    <a:cubicBezTo>
                      <a:pt x="81" y="10"/>
                      <a:pt x="81" y="10"/>
                      <a:pt x="81" y="10"/>
                    </a:cubicBezTo>
                    <a:cubicBezTo>
                      <a:pt x="78" y="13"/>
                      <a:pt x="78" y="13"/>
                      <a:pt x="78" y="13"/>
                    </a:cubicBezTo>
                    <a:cubicBezTo>
                      <a:pt x="73" y="14"/>
                      <a:pt x="73" y="14"/>
                      <a:pt x="73" y="14"/>
                    </a:cubicBezTo>
                    <a:cubicBezTo>
                      <a:pt x="66" y="14"/>
                      <a:pt x="66" y="14"/>
                      <a:pt x="66" y="14"/>
                    </a:cubicBezTo>
                    <a:cubicBezTo>
                      <a:pt x="65" y="13"/>
                      <a:pt x="65" y="13"/>
                      <a:pt x="65" y="13"/>
                    </a:cubicBezTo>
                    <a:cubicBezTo>
                      <a:pt x="62" y="15"/>
                      <a:pt x="62" y="15"/>
                      <a:pt x="62" y="15"/>
                    </a:cubicBezTo>
                    <a:cubicBezTo>
                      <a:pt x="59" y="15"/>
                      <a:pt x="59" y="15"/>
                      <a:pt x="59" y="15"/>
                    </a:cubicBezTo>
                    <a:cubicBezTo>
                      <a:pt x="54" y="18"/>
                      <a:pt x="54" y="18"/>
                      <a:pt x="54" y="18"/>
                    </a:cubicBezTo>
                    <a:cubicBezTo>
                      <a:pt x="45" y="18"/>
                      <a:pt x="45" y="18"/>
                      <a:pt x="45" y="18"/>
                    </a:cubicBezTo>
                    <a:cubicBezTo>
                      <a:pt x="41" y="20"/>
                      <a:pt x="41" y="20"/>
                      <a:pt x="41" y="20"/>
                    </a:cubicBezTo>
                    <a:cubicBezTo>
                      <a:pt x="40" y="21"/>
                      <a:pt x="40" y="21"/>
                      <a:pt x="40" y="21"/>
                    </a:cubicBezTo>
                    <a:cubicBezTo>
                      <a:pt x="35" y="23"/>
                      <a:pt x="35" y="23"/>
                      <a:pt x="35" y="23"/>
                    </a:cubicBezTo>
                    <a:cubicBezTo>
                      <a:pt x="27" y="28"/>
                      <a:pt x="27" y="28"/>
                      <a:pt x="27" y="28"/>
                    </a:cubicBezTo>
                    <a:cubicBezTo>
                      <a:pt x="26" y="33"/>
                      <a:pt x="26" y="33"/>
                      <a:pt x="26" y="33"/>
                    </a:cubicBezTo>
                    <a:cubicBezTo>
                      <a:pt x="23" y="38"/>
                      <a:pt x="23" y="38"/>
                      <a:pt x="23" y="38"/>
                    </a:cubicBezTo>
                    <a:cubicBezTo>
                      <a:pt x="16" y="41"/>
                      <a:pt x="16" y="41"/>
                      <a:pt x="16" y="41"/>
                    </a:cubicBezTo>
                    <a:cubicBezTo>
                      <a:pt x="16" y="45"/>
                      <a:pt x="16" y="45"/>
                      <a:pt x="16" y="45"/>
                    </a:cubicBezTo>
                    <a:cubicBezTo>
                      <a:pt x="13" y="50"/>
                      <a:pt x="13" y="50"/>
                      <a:pt x="13" y="50"/>
                    </a:cubicBezTo>
                    <a:cubicBezTo>
                      <a:pt x="10" y="52"/>
                      <a:pt x="10" y="52"/>
                      <a:pt x="10" y="52"/>
                    </a:cubicBezTo>
                    <a:cubicBezTo>
                      <a:pt x="11" y="52"/>
                      <a:pt x="11" y="52"/>
                      <a:pt x="11" y="52"/>
                    </a:cubicBezTo>
                    <a:cubicBezTo>
                      <a:pt x="11" y="57"/>
                      <a:pt x="11" y="57"/>
                      <a:pt x="11" y="57"/>
                    </a:cubicBezTo>
                    <a:cubicBezTo>
                      <a:pt x="18" y="62"/>
                      <a:pt x="18" y="62"/>
                      <a:pt x="18" y="62"/>
                    </a:cubicBezTo>
                    <a:cubicBezTo>
                      <a:pt x="22" y="68"/>
                      <a:pt x="22" y="68"/>
                      <a:pt x="22" y="68"/>
                    </a:cubicBezTo>
                    <a:cubicBezTo>
                      <a:pt x="24" y="68"/>
                      <a:pt x="24" y="68"/>
                      <a:pt x="24" y="68"/>
                    </a:cubicBezTo>
                    <a:cubicBezTo>
                      <a:pt x="23" y="70"/>
                      <a:pt x="23" y="70"/>
                      <a:pt x="23" y="70"/>
                    </a:cubicBezTo>
                    <a:cubicBezTo>
                      <a:pt x="29" y="77"/>
                      <a:pt x="29" y="77"/>
                      <a:pt x="29" y="77"/>
                    </a:cubicBezTo>
                    <a:cubicBezTo>
                      <a:pt x="30" y="82"/>
                      <a:pt x="30" y="82"/>
                      <a:pt x="30" y="82"/>
                    </a:cubicBezTo>
                    <a:cubicBezTo>
                      <a:pt x="33" y="83"/>
                      <a:pt x="33" y="83"/>
                      <a:pt x="33" y="83"/>
                    </a:cubicBezTo>
                    <a:cubicBezTo>
                      <a:pt x="36" y="80"/>
                      <a:pt x="36" y="80"/>
                      <a:pt x="36" y="80"/>
                    </a:cubicBezTo>
                    <a:cubicBezTo>
                      <a:pt x="39" y="83"/>
                      <a:pt x="39" y="83"/>
                      <a:pt x="39" y="83"/>
                    </a:cubicBezTo>
                    <a:cubicBezTo>
                      <a:pt x="43" y="84"/>
                      <a:pt x="43" y="84"/>
                      <a:pt x="43" y="84"/>
                    </a:cubicBezTo>
                    <a:cubicBezTo>
                      <a:pt x="45" y="81"/>
                      <a:pt x="45" y="81"/>
                      <a:pt x="45" y="81"/>
                    </a:cubicBezTo>
                    <a:cubicBezTo>
                      <a:pt x="48" y="81"/>
                      <a:pt x="48" y="81"/>
                      <a:pt x="48" y="81"/>
                    </a:cubicBezTo>
                    <a:cubicBezTo>
                      <a:pt x="53" y="84"/>
                      <a:pt x="53" y="84"/>
                      <a:pt x="53" y="84"/>
                    </a:cubicBezTo>
                    <a:cubicBezTo>
                      <a:pt x="56" y="83"/>
                      <a:pt x="56" y="83"/>
                      <a:pt x="56" y="83"/>
                    </a:cubicBezTo>
                    <a:cubicBezTo>
                      <a:pt x="57" y="85"/>
                      <a:pt x="57" y="85"/>
                      <a:pt x="57" y="85"/>
                    </a:cubicBezTo>
                    <a:cubicBezTo>
                      <a:pt x="60" y="85"/>
                      <a:pt x="60" y="85"/>
                      <a:pt x="60" y="85"/>
                    </a:cubicBezTo>
                    <a:cubicBezTo>
                      <a:pt x="62" y="87"/>
                      <a:pt x="62" y="87"/>
                      <a:pt x="62" y="87"/>
                    </a:cubicBezTo>
                    <a:cubicBezTo>
                      <a:pt x="66" y="87"/>
                      <a:pt x="66" y="87"/>
                      <a:pt x="66" y="87"/>
                    </a:cubicBezTo>
                    <a:cubicBezTo>
                      <a:pt x="63" y="89"/>
                      <a:pt x="63" y="89"/>
                      <a:pt x="63" y="89"/>
                    </a:cubicBezTo>
                    <a:cubicBezTo>
                      <a:pt x="60" y="91"/>
                      <a:pt x="60" y="91"/>
                      <a:pt x="60" y="91"/>
                    </a:cubicBezTo>
                    <a:cubicBezTo>
                      <a:pt x="57" y="89"/>
                      <a:pt x="57" y="89"/>
                      <a:pt x="57" y="89"/>
                    </a:cubicBezTo>
                    <a:cubicBezTo>
                      <a:pt x="54" y="88"/>
                      <a:pt x="54" y="88"/>
                      <a:pt x="54" y="88"/>
                    </a:cubicBezTo>
                    <a:cubicBezTo>
                      <a:pt x="46" y="84"/>
                      <a:pt x="46" y="84"/>
                      <a:pt x="46" y="84"/>
                    </a:cubicBezTo>
                    <a:cubicBezTo>
                      <a:pt x="43" y="85"/>
                      <a:pt x="43" y="85"/>
                      <a:pt x="43" y="85"/>
                    </a:cubicBezTo>
                    <a:cubicBezTo>
                      <a:pt x="40" y="87"/>
                      <a:pt x="40" y="87"/>
                      <a:pt x="40" y="87"/>
                    </a:cubicBezTo>
                    <a:cubicBezTo>
                      <a:pt x="37" y="85"/>
                      <a:pt x="37" y="85"/>
                      <a:pt x="37" y="85"/>
                    </a:cubicBezTo>
                    <a:cubicBezTo>
                      <a:pt x="34" y="88"/>
                      <a:pt x="34" y="88"/>
                      <a:pt x="34" y="88"/>
                    </a:cubicBezTo>
                    <a:cubicBezTo>
                      <a:pt x="32" y="89"/>
                      <a:pt x="32" y="89"/>
                      <a:pt x="32" y="89"/>
                    </a:cubicBezTo>
                    <a:cubicBezTo>
                      <a:pt x="30" y="92"/>
                      <a:pt x="30" y="92"/>
                      <a:pt x="30" y="92"/>
                    </a:cubicBezTo>
                    <a:cubicBezTo>
                      <a:pt x="35" y="97"/>
                      <a:pt x="35" y="97"/>
                      <a:pt x="35" y="97"/>
                    </a:cubicBezTo>
                    <a:cubicBezTo>
                      <a:pt x="39" y="99"/>
                      <a:pt x="39" y="99"/>
                      <a:pt x="39" y="99"/>
                    </a:cubicBezTo>
                    <a:cubicBezTo>
                      <a:pt x="43" y="102"/>
                      <a:pt x="43" y="102"/>
                      <a:pt x="43" y="102"/>
                    </a:cubicBezTo>
                    <a:cubicBezTo>
                      <a:pt x="43" y="105"/>
                      <a:pt x="43" y="105"/>
                      <a:pt x="43" y="105"/>
                    </a:cubicBezTo>
                    <a:cubicBezTo>
                      <a:pt x="42" y="107"/>
                      <a:pt x="42" y="107"/>
                      <a:pt x="42" y="107"/>
                    </a:cubicBezTo>
                    <a:cubicBezTo>
                      <a:pt x="42" y="110"/>
                      <a:pt x="42" y="110"/>
                      <a:pt x="42" y="110"/>
                    </a:cubicBezTo>
                    <a:cubicBezTo>
                      <a:pt x="45" y="115"/>
                      <a:pt x="45" y="115"/>
                      <a:pt x="45" y="115"/>
                    </a:cubicBezTo>
                    <a:cubicBezTo>
                      <a:pt x="48" y="117"/>
                      <a:pt x="48" y="117"/>
                      <a:pt x="48" y="117"/>
                    </a:cubicBezTo>
                    <a:cubicBezTo>
                      <a:pt x="49" y="115"/>
                      <a:pt x="49" y="115"/>
                      <a:pt x="49" y="115"/>
                    </a:cubicBezTo>
                    <a:cubicBezTo>
                      <a:pt x="48" y="113"/>
                      <a:pt x="48" y="113"/>
                      <a:pt x="48" y="113"/>
                    </a:cubicBezTo>
                    <a:cubicBezTo>
                      <a:pt x="49" y="110"/>
                      <a:pt x="49" y="110"/>
                      <a:pt x="49" y="110"/>
                    </a:cubicBezTo>
                    <a:cubicBezTo>
                      <a:pt x="51" y="114"/>
                      <a:pt x="51" y="114"/>
                      <a:pt x="51" y="114"/>
                    </a:cubicBezTo>
                    <a:cubicBezTo>
                      <a:pt x="56" y="116"/>
                      <a:pt x="56" y="116"/>
                      <a:pt x="56" y="116"/>
                    </a:cubicBezTo>
                    <a:cubicBezTo>
                      <a:pt x="57" y="119"/>
                      <a:pt x="57" y="119"/>
                      <a:pt x="57" y="119"/>
                    </a:cubicBezTo>
                    <a:cubicBezTo>
                      <a:pt x="56" y="122"/>
                      <a:pt x="56" y="122"/>
                      <a:pt x="56" y="122"/>
                    </a:cubicBezTo>
                    <a:cubicBezTo>
                      <a:pt x="58" y="124"/>
                      <a:pt x="58" y="124"/>
                      <a:pt x="58" y="124"/>
                    </a:cubicBezTo>
                    <a:cubicBezTo>
                      <a:pt x="58" y="119"/>
                      <a:pt x="58" y="119"/>
                      <a:pt x="58" y="119"/>
                    </a:cubicBezTo>
                    <a:cubicBezTo>
                      <a:pt x="60" y="115"/>
                      <a:pt x="60" y="115"/>
                      <a:pt x="60" y="115"/>
                    </a:cubicBezTo>
                    <a:cubicBezTo>
                      <a:pt x="63" y="115"/>
                      <a:pt x="63" y="115"/>
                      <a:pt x="63" y="115"/>
                    </a:cubicBezTo>
                    <a:cubicBezTo>
                      <a:pt x="65" y="118"/>
                      <a:pt x="65" y="118"/>
                      <a:pt x="65" y="118"/>
                    </a:cubicBezTo>
                    <a:cubicBezTo>
                      <a:pt x="71" y="122"/>
                      <a:pt x="71" y="122"/>
                      <a:pt x="71" y="122"/>
                    </a:cubicBezTo>
                    <a:cubicBezTo>
                      <a:pt x="68" y="118"/>
                      <a:pt x="68" y="118"/>
                      <a:pt x="68" y="118"/>
                    </a:cubicBezTo>
                    <a:cubicBezTo>
                      <a:pt x="69" y="116"/>
                      <a:pt x="69" y="116"/>
                      <a:pt x="69" y="116"/>
                    </a:cubicBezTo>
                    <a:cubicBezTo>
                      <a:pt x="67" y="112"/>
                      <a:pt x="67" y="112"/>
                      <a:pt x="67" y="112"/>
                    </a:cubicBezTo>
                    <a:cubicBezTo>
                      <a:pt x="64" y="106"/>
                      <a:pt x="64" y="106"/>
                      <a:pt x="64" y="106"/>
                    </a:cubicBezTo>
                    <a:cubicBezTo>
                      <a:pt x="62" y="102"/>
                      <a:pt x="62" y="102"/>
                      <a:pt x="62" y="102"/>
                    </a:cubicBezTo>
                    <a:cubicBezTo>
                      <a:pt x="62" y="101"/>
                      <a:pt x="62" y="101"/>
                      <a:pt x="62" y="101"/>
                    </a:cubicBezTo>
                    <a:cubicBezTo>
                      <a:pt x="64" y="101"/>
                      <a:pt x="64" y="101"/>
                      <a:pt x="64" y="101"/>
                    </a:cubicBezTo>
                    <a:cubicBezTo>
                      <a:pt x="69" y="103"/>
                      <a:pt x="69" y="103"/>
                      <a:pt x="69" y="103"/>
                    </a:cubicBezTo>
                    <a:cubicBezTo>
                      <a:pt x="67" y="104"/>
                      <a:pt x="67" y="104"/>
                      <a:pt x="67" y="104"/>
                    </a:cubicBezTo>
                    <a:cubicBezTo>
                      <a:pt x="69" y="106"/>
                      <a:pt x="69" y="106"/>
                      <a:pt x="69" y="106"/>
                    </a:cubicBezTo>
                    <a:cubicBezTo>
                      <a:pt x="71" y="103"/>
                      <a:pt x="71" y="103"/>
                      <a:pt x="71" y="103"/>
                    </a:cubicBezTo>
                    <a:cubicBezTo>
                      <a:pt x="75" y="105"/>
                      <a:pt x="75" y="105"/>
                      <a:pt x="75" y="105"/>
                    </a:cubicBezTo>
                    <a:cubicBezTo>
                      <a:pt x="75" y="103"/>
                      <a:pt x="75" y="103"/>
                      <a:pt x="75" y="103"/>
                    </a:cubicBezTo>
                    <a:cubicBezTo>
                      <a:pt x="73" y="102"/>
                      <a:pt x="73" y="102"/>
                      <a:pt x="73" y="102"/>
                    </a:cubicBezTo>
                    <a:cubicBezTo>
                      <a:pt x="73" y="101"/>
                      <a:pt x="73" y="101"/>
                      <a:pt x="73" y="101"/>
                    </a:cubicBezTo>
                    <a:cubicBezTo>
                      <a:pt x="72" y="100"/>
                      <a:pt x="72" y="100"/>
                      <a:pt x="72" y="100"/>
                    </a:cubicBezTo>
                    <a:cubicBezTo>
                      <a:pt x="68" y="98"/>
                      <a:pt x="68" y="98"/>
                      <a:pt x="68" y="98"/>
                    </a:cubicBezTo>
                    <a:cubicBezTo>
                      <a:pt x="69" y="96"/>
                      <a:pt x="69" y="96"/>
                      <a:pt x="69" y="96"/>
                    </a:cubicBezTo>
                    <a:cubicBezTo>
                      <a:pt x="65" y="94"/>
                      <a:pt x="65" y="94"/>
                      <a:pt x="65" y="94"/>
                    </a:cubicBezTo>
                    <a:cubicBezTo>
                      <a:pt x="69" y="92"/>
                      <a:pt x="69" y="92"/>
                      <a:pt x="69" y="92"/>
                    </a:cubicBezTo>
                    <a:cubicBezTo>
                      <a:pt x="72" y="92"/>
                      <a:pt x="72" y="92"/>
                      <a:pt x="72" y="92"/>
                    </a:cubicBezTo>
                    <a:cubicBezTo>
                      <a:pt x="74" y="91"/>
                      <a:pt x="74" y="91"/>
                      <a:pt x="74" y="91"/>
                    </a:cubicBezTo>
                    <a:cubicBezTo>
                      <a:pt x="79" y="94"/>
                      <a:pt x="79" y="94"/>
                      <a:pt x="79" y="94"/>
                    </a:cubicBezTo>
                    <a:cubicBezTo>
                      <a:pt x="80" y="96"/>
                      <a:pt x="80" y="96"/>
                      <a:pt x="80" y="96"/>
                    </a:cubicBezTo>
                    <a:cubicBezTo>
                      <a:pt x="83" y="96"/>
                      <a:pt x="83" y="96"/>
                      <a:pt x="83" y="96"/>
                    </a:cubicBezTo>
                    <a:cubicBezTo>
                      <a:pt x="84" y="94"/>
                      <a:pt x="84" y="94"/>
                      <a:pt x="84" y="94"/>
                    </a:cubicBezTo>
                    <a:cubicBezTo>
                      <a:pt x="81" y="89"/>
                      <a:pt x="81" y="89"/>
                      <a:pt x="81" y="89"/>
                    </a:cubicBezTo>
                    <a:cubicBezTo>
                      <a:pt x="82" y="85"/>
                      <a:pt x="82" y="85"/>
                      <a:pt x="82" y="85"/>
                    </a:cubicBezTo>
                    <a:cubicBezTo>
                      <a:pt x="81" y="83"/>
                      <a:pt x="81" y="83"/>
                      <a:pt x="81" y="83"/>
                    </a:cubicBezTo>
                    <a:cubicBezTo>
                      <a:pt x="72" y="78"/>
                      <a:pt x="72" y="78"/>
                      <a:pt x="72" y="78"/>
                    </a:cubicBezTo>
                    <a:cubicBezTo>
                      <a:pt x="69" y="77"/>
                      <a:pt x="69" y="77"/>
                      <a:pt x="69" y="77"/>
                    </a:cubicBezTo>
                    <a:cubicBezTo>
                      <a:pt x="68" y="75"/>
                      <a:pt x="68" y="75"/>
                      <a:pt x="68" y="75"/>
                    </a:cubicBezTo>
                    <a:cubicBezTo>
                      <a:pt x="65" y="75"/>
                      <a:pt x="65" y="75"/>
                      <a:pt x="65" y="75"/>
                    </a:cubicBezTo>
                    <a:cubicBezTo>
                      <a:pt x="64" y="73"/>
                      <a:pt x="64" y="73"/>
                      <a:pt x="64" y="73"/>
                    </a:cubicBezTo>
                    <a:cubicBezTo>
                      <a:pt x="60" y="73"/>
                      <a:pt x="60" y="73"/>
                      <a:pt x="60" y="73"/>
                    </a:cubicBezTo>
                    <a:cubicBezTo>
                      <a:pt x="56" y="69"/>
                      <a:pt x="56" y="69"/>
                      <a:pt x="56" y="69"/>
                    </a:cubicBezTo>
                    <a:cubicBezTo>
                      <a:pt x="60" y="69"/>
                      <a:pt x="60" y="69"/>
                      <a:pt x="60" y="69"/>
                    </a:cubicBezTo>
                    <a:cubicBezTo>
                      <a:pt x="63" y="66"/>
                      <a:pt x="63" y="66"/>
                      <a:pt x="63" y="66"/>
                    </a:cubicBezTo>
                    <a:cubicBezTo>
                      <a:pt x="62" y="64"/>
                      <a:pt x="62" y="64"/>
                      <a:pt x="62" y="64"/>
                    </a:cubicBezTo>
                    <a:cubicBezTo>
                      <a:pt x="59" y="63"/>
                      <a:pt x="59" y="63"/>
                      <a:pt x="59" y="63"/>
                    </a:cubicBezTo>
                    <a:cubicBezTo>
                      <a:pt x="61" y="61"/>
                      <a:pt x="61" y="61"/>
                      <a:pt x="61" y="61"/>
                    </a:cubicBezTo>
                    <a:cubicBezTo>
                      <a:pt x="61" y="58"/>
                      <a:pt x="61" y="58"/>
                      <a:pt x="61" y="58"/>
                    </a:cubicBezTo>
                    <a:cubicBezTo>
                      <a:pt x="63" y="60"/>
                      <a:pt x="63" y="60"/>
                      <a:pt x="63" y="60"/>
                    </a:cubicBezTo>
                    <a:cubicBezTo>
                      <a:pt x="66" y="61"/>
                      <a:pt x="66" y="61"/>
                      <a:pt x="66" y="61"/>
                    </a:cubicBezTo>
                    <a:cubicBezTo>
                      <a:pt x="65" y="63"/>
                      <a:pt x="65" y="63"/>
                      <a:pt x="65" y="63"/>
                    </a:cubicBezTo>
                    <a:cubicBezTo>
                      <a:pt x="65" y="65"/>
                      <a:pt x="65" y="65"/>
                      <a:pt x="65" y="65"/>
                    </a:cubicBezTo>
                    <a:cubicBezTo>
                      <a:pt x="67" y="65"/>
                      <a:pt x="67" y="65"/>
                      <a:pt x="67" y="65"/>
                    </a:cubicBezTo>
                    <a:cubicBezTo>
                      <a:pt x="69" y="61"/>
                      <a:pt x="69" y="61"/>
                      <a:pt x="69" y="61"/>
                    </a:cubicBezTo>
                    <a:cubicBezTo>
                      <a:pt x="66" y="58"/>
                      <a:pt x="66" y="58"/>
                      <a:pt x="66" y="58"/>
                    </a:cubicBezTo>
                    <a:cubicBezTo>
                      <a:pt x="60" y="51"/>
                      <a:pt x="60" y="51"/>
                      <a:pt x="60" y="51"/>
                    </a:cubicBezTo>
                    <a:cubicBezTo>
                      <a:pt x="58" y="49"/>
                      <a:pt x="58" y="49"/>
                      <a:pt x="58" y="49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3" y="43"/>
                      <a:pt x="53" y="43"/>
                      <a:pt x="53" y="43"/>
                    </a:cubicBezTo>
                    <a:cubicBezTo>
                      <a:pt x="54" y="41"/>
                      <a:pt x="54" y="41"/>
                      <a:pt x="54" y="41"/>
                    </a:cubicBezTo>
                    <a:cubicBezTo>
                      <a:pt x="54" y="34"/>
                      <a:pt x="54" y="34"/>
                      <a:pt x="54" y="34"/>
                    </a:cubicBezTo>
                    <a:cubicBezTo>
                      <a:pt x="56" y="30"/>
                      <a:pt x="56" y="30"/>
                      <a:pt x="56" y="30"/>
                    </a:cubicBezTo>
                    <a:cubicBezTo>
                      <a:pt x="61" y="29"/>
                      <a:pt x="61" y="29"/>
                      <a:pt x="61" y="29"/>
                    </a:cubicBezTo>
                    <a:cubicBezTo>
                      <a:pt x="61" y="32"/>
                      <a:pt x="61" y="32"/>
                      <a:pt x="61" y="32"/>
                    </a:cubicBezTo>
                    <a:cubicBezTo>
                      <a:pt x="59" y="32"/>
                      <a:pt x="59" y="32"/>
                      <a:pt x="59" y="32"/>
                    </a:cubicBezTo>
                    <a:cubicBezTo>
                      <a:pt x="60" y="34"/>
                      <a:pt x="60" y="34"/>
                      <a:pt x="60" y="34"/>
                    </a:cubicBezTo>
                    <a:cubicBezTo>
                      <a:pt x="65" y="37"/>
                      <a:pt x="65" y="37"/>
                      <a:pt x="65" y="37"/>
                    </a:cubicBezTo>
                    <a:cubicBezTo>
                      <a:pt x="66" y="42"/>
                      <a:pt x="66" y="42"/>
                      <a:pt x="66" y="42"/>
                    </a:cubicBezTo>
                    <a:cubicBezTo>
                      <a:pt x="70" y="44"/>
                      <a:pt x="70" y="44"/>
                      <a:pt x="70" y="44"/>
                    </a:cubicBezTo>
                    <a:cubicBezTo>
                      <a:pt x="74" y="44"/>
                      <a:pt x="74" y="44"/>
                      <a:pt x="74" y="44"/>
                    </a:cubicBezTo>
                    <a:cubicBezTo>
                      <a:pt x="71" y="42"/>
                      <a:pt x="71" y="42"/>
                      <a:pt x="71" y="42"/>
                    </a:cubicBezTo>
                    <a:cubicBezTo>
                      <a:pt x="69" y="40"/>
                      <a:pt x="69" y="40"/>
                      <a:pt x="69" y="40"/>
                    </a:cubicBezTo>
                    <a:cubicBezTo>
                      <a:pt x="70" y="37"/>
                      <a:pt x="70" y="37"/>
                      <a:pt x="70" y="37"/>
                    </a:cubicBezTo>
                    <a:cubicBezTo>
                      <a:pt x="74" y="38"/>
                      <a:pt x="74" y="38"/>
                      <a:pt x="74" y="38"/>
                    </a:cubicBezTo>
                    <a:cubicBezTo>
                      <a:pt x="77" y="42"/>
                      <a:pt x="77" y="42"/>
                      <a:pt x="77" y="42"/>
                    </a:cubicBezTo>
                    <a:cubicBezTo>
                      <a:pt x="80" y="43"/>
                      <a:pt x="80" y="43"/>
                      <a:pt x="80" y="43"/>
                    </a:cubicBezTo>
                    <a:cubicBezTo>
                      <a:pt x="81" y="41"/>
                      <a:pt x="81" y="41"/>
                      <a:pt x="81" y="41"/>
                    </a:cubicBezTo>
                    <a:cubicBezTo>
                      <a:pt x="78" y="39"/>
                      <a:pt x="78" y="39"/>
                      <a:pt x="78" y="39"/>
                    </a:cubicBezTo>
                    <a:cubicBezTo>
                      <a:pt x="76" y="38"/>
                      <a:pt x="76" y="38"/>
                      <a:pt x="76" y="38"/>
                    </a:cubicBezTo>
                    <a:cubicBezTo>
                      <a:pt x="76" y="36"/>
                      <a:pt x="76" y="36"/>
                      <a:pt x="76" y="36"/>
                    </a:cubicBezTo>
                    <a:cubicBezTo>
                      <a:pt x="83" y="36"/>
                      <a:pt x="83" y="36"/>
                      <a:pt x="83" y="36"/>
                    </a:cubicBezTo>
                    <a:cubicBezTo>
                      <a:pt x="85" y="39"/>
                      <a:pt x="85" y="39"/>
                      <a:pt x="85" y="39"/>
                    </a:cubicBezTo>
                    <a:cubicBezTo>
                      <a:pt x="87" y="37"/>
                      <a:pt x="87" y="37"/>
                      <a:pt x="87" y="37"/>
                    </a:cubicBezTo>
                    <a:cubicBezTo>
                      <a:pt x="82" y="34"/>
                      <a:pt x="82" y="34"/>
                      <a:pt x="82" y="34"/>
                    </a:cubicBezTo>
                    <a:cubicBezTo>
                      <a:pt x="78" y="33"/>
                      <a:pt x="78" y="33"/>
                      <a:pt x="78" y="33"/>
                    </a:cubicBezTo>
                    <a:cubicBezTo>
                      <a:pt x="75" y="29"/>
                      <a:pt x="75" y="29"/>
                      <a:pt x="75" y="29"/>
                    </a:cubicBezTo>
                    <a:cubicBezTo>
                      <a:pt x="77" y="27"/>
                      <a:pt x="77" y="27"/>
                      <a:pt x="77" y="27"/>
                    </a:cubicBezTo>
                    <a:cubicBezTo>
                      <a:pt x="81" y="28"/>
                      <a:pt x="81" y="28"/>
                      <a:pt x="81" y="28"/>
                    </a:cubicBezTo>
                    <a:cubicBezTo>
                      <a:pt x="84" y="26"/>
                      <a:pt x="84" y="26"/>
                      <a:pt x="84" y="26"/>
                    </a:cubicBezTo>
                    <a:cubicBezTo>
                      <a:pt x="85" y="21"/>
                      <a:pt x="85" y="21"/>
                      <a:pt x="85" y="21"/>
                    </a:cubicBezTo>
                    <a:cubicBezTo>
                      <a:pt x="88" y="20"/>
                      <a:pt x="88" y="20"/>
                      <a:pt x="88" y="20"/>
                    </a:cubicBezTo>
                    <a:cubicBezTo>
                      <a:pt x="92" y="24"/>
                      <a:pt x="92" y="24"/>
                      <a:pt x="92" y="24"/>
                    </a:cubicBezTo>
                    <a:cubicBezTo>
                      <a:pt x="95" y="24"/>
                      <a:pt x="95" y="24"/>
                      <a:pt x="95" y="24"/>
                    </a:cubicBezTo>
                    <a:cubicBezTo>
                      <a:pt x="99" y="20"/>
                      <a:pt x="99" y="20"/>
                      <a:pt x="99" y="20"/>
                    </a:cubicBezTo>
                    <a:cubicBezTo>
                      <a:pt x="99" y="19"/>
                      <a:pt x="99" y="19"/>
                      <a:pt x="99" y="19"/>
                    </a:cubicBezTo>
                    <a:cubicBezTo>
                      <a:pt x="101" y="19"/>
                      <a:pt x="101" y="19"/>
                      <a:pt x="101" y="19"/>
                    </a:cubicBezTo>
                    <a:cubicBezTo>
                      <a:pt x="103" y="21"/>
                      <a:pt x="103" y="21"/>
                      <a:pt x="103" y="21"/>
                    </a:cubicBezTo>
                    <a:cubicBezTo>
                      <a:pt x="111" y="21"/>
                      <a:pt x="111" y="21"/>
                      <a:pt x="111" y="21"/>
                    </a:cubicBezTo>
                    <a:cubicBezTo>
                      <a:pt x="117" y="23"/>
                      <a:pt x="117" y="23"/>
                      <a:pt x="117" y="23"/>
                    </a:cubicBezTo>
                    <a:cubicBezTo>
                      <a:pt x="121" y="22"/>
                      <a:pt x="121" y="22"/>
                      <a:pt x="121" y="22"/>
                    </a:cubicBezTo>
                    <a:cubicBezTo>
                      <a:pt x="123" y="18"/>
                      <a:pt x="123" y="18"/>
                      <a:pt x="123" y="18"/>
                    </a:cubicBezTo>
                    <a:cubicBezTo>
                      <a:pt x="122" y="14"/>
                      <a:pt x="122" y="14"/>
                      <a:pt x="122" y="14"/>
                    </a:cubicBezTo>
                    <a:cubicBezTo>
                      <a:pt x="127" y="11"/>
                      <a:pt x="127" y="11"/>
                      <a:pt x="127" y="11"/>
                    </a:cubicBezTo>
                    <a:cubicBezTo>
                      <a:pt x="128" y="6"/>
                      <a:pt x="128" y="6"/>
                      <a:pt x="128" y="6"/>
                    </a:cubicBezTo>
                    <a:cubicBezTo>
                      <a:pt x="124" y="5"/>
                      <a:pt x="124" y="5"/>
                      <a:pt x="124" y="5"/>
                    </a:cubicBezTo>
                    <a:cubicBezTo>
                      <a:pt x="125" y="0"/>
                      <a:pt x="125" y="0"/>
                      <a:pt x="125" y="0"/>
                    </a:cubicBezTo>
                    <a:close/>
                    <a:moveTo>
                      <a:pt x="82" y="143"/>
                    </a:moveTo>
                    <a:cubicBezTo>
                      <a:pt x="80" y="141"/>
                      <a:pt x="80" y="141"/>
                      <a:pt x="80" y="141"/>
                    </a:cubicBezTo>
                    <a:cubicBezTo>
                      <a:pt x="80" y="144"/>
                      <a:pt x="80" y="144"/>
                      <a:pt x="80" y="144"/>
                    </a:cubicBezTo>
                    <a:cubicBezTo>
                      <a:pt x="79" y="146"/>
                      <a:pt x="79" y="146"/>
                      <a:pt x="79" y="146"/>
                    </a:cubicBezTo>
                    <a:cubicBezTo>
                      <a:pt x="79" y="149"/>
                      <a:pt x="79" y="149"/>
                      <a:pt x="79" y="149"/>
                    </a:cubicBezTo>
                    <a:cubicBezTo>
                      <a:pt x="82" y="150"/>
                      <a:pt x="82" y="150"/>
                      <a:pt x="82" y="150"/>
                    </a:cubicBezTo>
                    <a:cubicBezTo>
                      <a:pt x="89" y="149"/>
                      <a:pt x="89" y="149"/>
                      <a:pt x="89" y="149"/>
                    </a:cubicBezTo>
                    <a:cubicBezTo>
                      <a:pt x="91" y="150"/>
                      <a:pt x="91" y="150"/>
                      <a:pt x="91" y="150"/>
                    </a:cubicBezTo>
                    <a:cubicBezTo>
                      <a:pt x="94" y="149"/>
                      <a:pt x="94" y="149"/>
                      <a:pt x="94" y="149"/>
                    </a:cubicBezTo>
                    <a:cubicBezTo>
                      <a:pt x="98" y="150"/>
                      <a:pt x="98" y="150"/>
                      <a:pt x="98" y="150"/>
                    </a:cubicBezTo>
                    <a:cubicBezTo>
                      <a:pt x="102" y="153"/>
                      <a:pt x="102" y="153"/>
                      <a:pt x="102" y="153"/>
                    </a:cubicBezTo>
                    <a:cubicBezTo>
                      <a:pt x="102" y="155"/>
                      <a:pt x="102" y="155"/>
                      <a:pt x="102" y="155"/>
                    </a:cubicBezTo>
                    <a:cubicBezTo>
                      <a:pt x="107" y="155"/>
                      <a:pt x="107" y="155"/>
                      <a:pt x="107" y="155"/>
                    </a:cubicBezTo>
                    <a:cubicBezTo>
                      <a:pt x="111" y="152"/>
                      <a:pt x="111" y="152"/>
                      <a:pt x="111" y="152"/>
                    </a:cubicBezTo>
                    <a:cubicBezTo>
                      <a:pt x="115" y="153"/>
                      <a:pt x="115" y="153"/>
                      <a:pt x="115" y="153"/>
                    </a:cubicBezTo>
                    <a:cubicBezTo>
                      <a:pt x="123" y="153"/>
                      <a:pt x="123" y="153"/>
                      <a:pt x="123" y="153"/>
                    </a:cubicBezTo>
                    <a:cubicBezTo>
                      <a:pt x="127" y="153"/>
                      <a:pt x="127" y="153"/>
                      <a:pt x="127" y="153"/>
                    </a:cubicBezTo>
                    <a:cubicBezTo>
                      <a:pt x="130" y="151"/>
                      <a:pt x="130" y="151"/>
                      <a:pt x="130" y="151"/>
                    </a:cubicBezTo>
                    <a:cubicBezTo>
                      <a:pt x="131" y="148"/>
                      <a:pt x="131" y="148"/>
                      <a:pt x="131" y="148"/>
                    </a:cubicBezTo>
                    <a:cubicBezTo>
                      <a:pt x="131" y="146"/>
                      <a:pt x="131" y="146"/>
                      <a:pt x="131" y="146"/>
                    </a:cubicBezTo>
                    <a:cubicBezTo>
                      <a:pt x="131" y="144"/>
                      <a:pt x="131" y="144"/>
                      <a:pt x="131" y="144"/>
                    </a:cubicBezTo>
                    <a:cubicBezTo>
                      <a:pt x="130" y="146"/>
                      <a:pt x="130" y="146"/>
                      <a:pt x="130" y="146"/>
                    </a:cubicBezTo>
                    <a:cubicBezTo>
                      <a:pt x="130" y="148"/>
                      <a:pt x="130" y="148"/>
                      <a:pt x="130" y="148"/>
                    </a:cubicBezTo>
                    <a:cubicBezTo>
                      <a:pt x="127" y="150"/>
                      <a:pt x="127" y="150"/>
                      <a:pt x="127" y="150"/>
                    </a:cubicBezTo>
                    <a:cubicBezTo>
                      <a:pt x="126" y="148"/>
                      <a:pt x="126" y="148"/>
                      <a:pt x="126" y="148"/>
                    </a:cubicBezTo>
                    <a:cubicBezTo>
                      <a:pt x="124" y="149"/>
                      <a:pt x="124" y="149"/>
                      <a:pt x="124" y="149"/>
                    </a:cubicBezTo>
                    <a:cubicBezTo>
                      <a:pt x="122" y="149"/>
                      <a:pt x="122" y="149"/>
                      <a:pt x="122" y="149"/>
                    </a:cubicBezTo>
                    <a:cubicBezTo>
                      <a:pt x="122" y="147"/>
                      <a:pt x="122" y="147"/>
                      <a:pt x="122" y="147"/>
                    </a:cubicBezTo>
                    <a:cubicBezTo>
                      <a:pt x="121" y="144"/>
                      <a:pt x="121" y="144"/>
                      <a:pt x="121" y="144"/>
                    </a:cubicBezTo>
                    <a:cubicBezTo>
                      <a:pt x="119" y="144"/>
                      <a:pt x="119" y="144"/>
                      <a:pt x="119" y="144"/>
                    </a:cubicBezTo>
                    <a:cubicBezTo>
                      <a:pt x="114" y="144"/>
                      <a:pt x="114" y="144"/>
                      <a:pt x="114" y="144"/>
                    </a:cubicBezTo>
                    <a:cubicBezTo>
                      <a:pt x="110" y="142"/>
                      <a:pt x="110" y="142"/>
                      <a:pt x="110" y="142"/>
                    </a:cubicBezTo>
                    <a:cubicBezTo>
                      <a:pt x="104" y="142"/>
                      <a:pt x="104" y="142"/>
                      <a:pt x="104" y="142"/>
                    </a:cubicBezTo>
                    <a:cubicBezTo>
                      <a:pt x="100" y="145"/>
                      <a:pt x="100" y="145"/>
                      <a:pt x="100" y="145"/>
                    </a:cubicBezTo>
                    <a:cubicBezTo>
                      <a:pt x="96" y="146"/>
                      <a:pt x="96" y="146"/>
                      <a:pt x="96" y="146"/>
                    </a:cubicBezTo>
                    <a:cubicBezTo>
                      <a:pt x="93" y="144"/>
                      <a:pt x="93" y="144"/>
                      <a:pt x="93" y="144"/>
                    </a:cubicBezTo>
                    <a:cubicBezTo>
                      <a:pt x="92" y="143"/>
                      <a:pt x="92" y="143"/>
                      <a:pt x="92" y="143"/>
                    </a:cubicBezTo>
                    <a:cubicBezTo>
                      <a:pt x="90" y="143"/>
                      <a:pt x="90" y="143"/>
                      <a:pt x="90" y="143"/>
                    </a:cubicBezTo>
                    <a:cubicBezTo>
                      <a:pt x="91" y="142"/>
                      <a:pt x="91" y="142"/>
                      <a:pt x="91" y="142"/>
                    </a:cubicBezTo>
                    <a:cubicBezTo>
                      <a:pt x="90" y="140"/>
                      <a:pt x="90" y="140"/>
                      <a:pt x="90" y="140"/>
                    </a:cubicBezTo>
                    <a:cubicBezTo>
                      <a:pt x="87" y="140"/>
                      <a:pt x="87" y="140"/>
                      <a:pt x="87" y="140"/>
                    </a:cubicBezTo>
                    <a:cubicBezTo>
                      <a:pt x="88" y="141"/>
                      <a:pt x="88" y="141"/>
                      <a:pt x="88" y="141"/>
                    </a:cubicBezTo>
                    <a:cubicBezTo>
                      <a:pt x="89" y="142"/>
                      <a:pt x="89" y="142"/>
                      <a:pt x="89" y="142"/>
                    </a:cubicBezTo>
                    <a:cubicBezTo>
                      <a:pt x="87" y="142"/>
                      <a:pt x="87" y="142"/>
                      <a:pt x="87" y="142"/>
                    </a:cubicBezTo>
                    <a:cubicBezTo>
                      <a:pt x="85" y="143"/>
                      <a:pt x="85" y="143"/>
                      <a:pt x="85" y="143"/>
                    </a:cubicBezTo>
                    <a:cubicBezTo>
                      <a:pt x="84" y="140"/>
                      <a:pt x="84" y="140"/>
                      <a:pt x="84" y="140"/>
                    </a:cubicBezTo>
                    <a:cubicBezTo>
                      <a:pt x="83" y="140"/>
                      <a:pt x="83" y="140"/>
                      <a:pt x="83" y="140"/>
                    </a:cubicBezTo>
                    <a:cubicBezTo>
                      <a:pt x="83" y="141"/>
                      <a:pt x="83" y="141"/>
                      <a:pt x="83" y="141"/>
                    </a:cubicBezTo>
                    <a:cubicBezTo>
                      <a:pt x="83" y="143"/>
                      <a:pt x="83" y="143"/>
                      <a:pt x="83" y="143"/>
                    </a:cubicBezTo>
                    <a:cubicBezTo>
                      <a:pt x="82" y="143"/>
                      <a:pt x="82" y="143"/>
                      <a:pt x="82" y="143"/>
                    </a:cubicBezTo>
                    <a:close/>
                    <a:moveTo>
                      <a:pt x="5" y="50"/>
                    </a:moveTo>
                    <a:cubicBezTo>
                      <a:pt x="5" y="54"/>
                      <a:pt x="5" y="54"/>
                      <a:pt x="5" y="54"/>
                    </a:cubicBezTo>
                    <a:cubicBezTo>
                      <a:pt x="7" y="56"/>
                      <a:pt x="7" y="56"/>
                      <a:pt x="7" y="56"/>
                    </a:cubicBezTo>
                    <a:cubicBezTo>
                      <a:pt x="9" y="57"/>
                      <a:pt x="9" y="57"/>
                      <a:pt x="9" y="57"/>
                    </a:cubicBezTo>
                    <a:cubicBezTo>
                      <a:pt x="10" y="58"/>
                      <a:pt x="10" y="58"/>
                      <a:pt x="10" y="58"/>
                    </a:cubicBezTo>
                    <a:cubicBezTo>
                      <a:pt x="9" y="59"/>
                      <a:pt x="9" y="59"/>
                      <a:pt x="9" y="59"/>
                    </a:cubicBezTo>
                    <a:cubicBezTo>
                      <a:pt x="6" y="57"/>
                      <a:pt x="6" y="57"/>
                      <a:pt x="6" y="57"/>
                    </a:cubicBezTo>
                    <a:cubicBezTo>
                      <a:pt x="2" y="54"/>
                      <a:pt x="2" y="54"/>
                      <a:pt x="2" y="54"/>
                    </a:cubicBezTo>
                    <a:cubicBezTo>
                      <a:pt x="2" y="53"/>
                      <a:pt x="2" y="53"/>
                      <a:pt x="2" y="53"/>
                    </a:cubicBezTo>
                    <a:cubicBezTo>
                      <a:pt x="0" y="52"/>
                      <a:pt x="0" y="52"/>
                      <a:pt x="0" y="52"/>
                    </a:cubicBezTo>
                    <a:cubicBezTo>
                      <a:pt x="0" y="50"/>
                      <a:pt x="0" y="50"/>
                      <a:pt x="0" y="50"/>
                    </a:cubicBezTo>
                    <a:cubicBezTo>
                      <a:pt x="3" y="49"/>
                      <a:pt x="3" y="49"/>
                      <a:pt x="3" y="49"/>
                    </a:cubicBezTo>
                    <a:cubicBezTo>
                      <a:pt x="5" y="50"/>
                      <a:pt x="5" y="50"/>
                      <a:pt x="5" y="50"/>
                    </a:cubicBezTo>
                    <a:close/>
                    <a:moveTo>
                      <a:pt x="20" y="76"/>
                    </a:moveTo>
                    <a:cubicBezTo>
                      <a:pt x="19" y="75"/>
                      <a:pt x="19" y="75"/>
                      <a:pt x="19" y="75"/>
                    </a:cubicBezTo>
                    <a:cubicBezTo>
                      <a:pt x="21" y="72"/>
                      <a:pt x="21" y="72"/>
                      <a:pt x="21" y="72"/>
                    </a:cubicBezTo>
                    <a:cubicBezTo>
                      <a:pt x="23" y="72"/>
                      <a:pt x="23" y="72"/>
                      <a:pt x="23" y="72"/>
                    </a:cubicBezTo>
                    <a:cubicBezTo>
                      <a:pt x="23" y="75"/>
                      <a:pt x="23" y="75"/>
                      <a:pt x="23" y="75"/>
                    </a:cubicBezTo>
                    <a:cubicBezTo>
                      <a:pt x="22" y="76"/>
                      <a:pt x="22" y="76"/>
                      <a:pt x="22" y="76"/>
                    </a:cubicBezTo>
                    <a:cubicBezTo>
                      <a:pt x="21" y="77"/>
                      <a:pt x="21" y="77"/>
                      <a:pt x="21" y="77"/>
                    </a:cubicBezTo>
                    <a:cubicBezTo>
                      <a:pt x="20" y="76"/>
                      <a:pt x="20" y="76"/>
                      <a:pt x="20" y="76"/>
                    </a:cubicBezTo>
                    <a:close/>
                    <a:moveTo>
                      <a:pt x="20" y="82"/>
                    </a:moveTo>
                    <a:cubicBezTo>
                      <a:pt x="20" y="78"/>
                      <a:pt x="20" y="78"/>
                      <a:pt x="20" y="78"/>
                    </a:cubicBezTo>
                    <a:cubicBezTo>
                      <a:pt x="22" y="80"/>
                      <a:pt x="22" y="80"/>
                      <a:pt x="22" y="80"/>
                    </a:cubicBezTo>
                    <a:cubicBezTo>
                      <a:pt x="23" y="82"/>
                      <a:pt x="23" y="82"/>
                      <a:pt x="23" y="82"/>
                    </a:cubicBezTo>
                    <a:cubicBezTo>
                      <a:pt x="23" y="84"/>
                      <a:pt x="23" y="84"/>
                      <a:pt x="23" y="84"/>
                    </a:cubicBezTo>
                    <a:cubicBezTo>
                      <a:pt x="25" y="85"/>
                      <a:pt x="25" y="85"/>
                      <a:pt x="25" y="85"/>
                    </a:cubicBezTo>
                    <a:cubicBezTo>
                      <a:pt x="25" y="87"/>
                      <a:pt x="25" y="87"/>
                      <a:pt x="25" y="87"/>
                    </a:cubicBezTo>
                    <a:cubicBezTo>
                      <a:pt x="26" y="88"/>
                      <a:pt x="26" y="88"/>
                      <a:pt x="26" y="88"/>
                    </a:cubicBezTo>
                    <a:cubicBezTo>
                      <a:pt x="25" y="90"/>
                      <a:pt x="25" y="90"/>
                      <a:pt x="25" y="90"/>
                    </a:cubicBezTo>
                    <a:cubicBezTo>
                      <a:pt x="22" y="89"/>
                      <a:pt x="22" y="89"/>
                      <a:pt x="22" y="89"/>
                    </a:cubicBezTo>
                    <a:cubicBezTo>
                      <a:pt x="20" y="88"/>
                      <a:pt x="20" y="88"/>
                      <a:pt x="20" y="88"/>
                    </a:cubicBezTo>
                    <a:cubicBezTo>
                      <a:pt x="20" y="86"/>
                      <a:pt x="20" y="86"/>
                      <a:pt x="20" y="86"/>
                    </a:cubicBezTo>
                    <a:cubicBezTo>
                      <a:pt x="19" y="85"/>
                      <a:pt x="19" y="85"/>
                      <a:pt x="19" y="85"/>
                    </a:cubicBezTo>
                    <a:cubicBezTo>
                      <a:pt x="19" y="87"/>
                      <a:pt x="19" y="87"/>
                      <a:pt x="19" y="87"/>
                    </a:cubicBezTo>
                    <a:cubicBezTo>
                      <a:pt x="18" y="88"/>
                      <a:pt x="18" y="88"/>
                      <a:pt x="18" y="88"/>
                    </a:cubicBezTo>
                    <a:cubicBezTo>
                      <a:pt x="16" y="87"/>
                      <a:pt x="16" y="87"/>
                      <a:pt x="16" y="87"/>
                    </a:cubicBezTo>
                    <a:cubicBezTo>
                      <a:pt x="16" y="83"/>
                      <a:pt x="16" y="83"/>
                      <a:pt x="16" y="83"/>
                    </a:cubicBezTo>
                    <a:cubicBezTo>
                      <a:pt x="18" y="82"/>
                      <a:pt x="18" y="82"/>
                      <a:pt x="18" y="82"/>
                    </a:cubicBezTo>
                    <a:cubicBezTo>
                      <a:pt x="20" y="82"/>
                      <a:pt x="20" y="82"/>
                      <a:pt x="20" y="82"/>
                    </a:cubicBezTo>
                    <a:close/>
                    <a:moveTo>
                      <a:pt x="27" y="96"/>
                    </a:moveTo>
                    <a:cubicBezTo>
                      <a:pt x="29" y="97"/>
                      <a:pt x="29" y="97"/>
                      <a:pt x="29" y="97"/>
                    </a:cubicBezTo>
                    <a:cubicBezTo>
                      <a:pt x="26" y="97"/>
                      <a:pt x="26" y="97"/>
                      <a:pt x="26" y="97"/>
                    </a:cubicBezTo>
                    <a:cubicBezTo>
                      <a:pt x="26" y="98"/>
                      <a:pt x="26" y="98"/>
                      <a:pt x="26" y="98"/>
                    </a:cubicBezTo>
                    <a:cubicBezTo>
                      <a:pt x="24" y="97"/>
                      <a:pt x="24" y="97"/>
                      <a:pt x="24" y="97"/>
                    </a:cubicBezTo>
                    <a:cubicBezTo>
                      <a:pt x="21" y="95"/>
                      <a:pt x="21" y="95"/>
                      <a:pt x="21" y="95"/>
                    </a:cubicBezTo>
                    <a:cubicBezTo>
                      <a:pt x="21" y="93"/>
                      <a:pt x="21" y="93"/>
                      <a:pt x="21" y="93"/>
                    </a:cubicBezTo>
                    <a:cubicBezTo>
                      <a:pt x="23" y="92"/>
                      <a:pt x="23" y="92"/>
                      <a:pt x="23" y="92"/>
                    </a:cubicBezTo>
                    <a:cubicBezTo>
                      <a:pt x="25" y="93"/>
                      <a:pt x="25" y="93"/>
                      <a:pt x="25" y="93"/>
                    </a:cubicBezTo>
                    <a:cubicBezTo>
                      <a:pt x="27" y="96"/>
                      <a:pt x="27" y="96"/>
                      <a:pt x="27" y="96"/>
                    </a:cubicBezTo>
                    <a:close/>
                    <a:moveTo>
                      <a:pt x="147" y="136"/>
                    </a:moveTo>
                    <a:cubicBezTo>
                      <a:pt x="146" y="135"/>
                      <a:pt x="146" y="135"/>
                      <a:pt x="146" y="135"/>
                    </a:cubicBezTo>
                    <a:cubicBezTo>
                      <a:pt x="147" y="134"/>
                      <a:pt x="147" y="134"/>
                      <a:pt x="147" y="134"/>
                    </a:cubicBezTo>
                    <a:cubicBezTo>
                      <a:pt x="147" y="135"/>
                      <a:pt x="147" y="135"/>
                      <a:pt x="147" y="135"/>
                    </a:cubicBezTo>
                    <a:cubicBezTo>
                      <a:pt x="147" y="136"/>
                      <a:pt x="147" y="136"/>
                      <a:pt x="147" y="136"/>
                    </a:cubicBezTo>
                    <a:close/>
                    <a:moveTo>
                      <a:pt x="146" y="146"/>
                    </a:moveTo>
                    <a:cubicBezTo>
                      <a:pt x="145" y="142"/>
                      <a:pt x="145" y="142"/>
                      <a:pt x="145" y="142"/>
                    </a:cubicBezTo>
                    <a:cubicBezTo>
                      <a:pt x="144" y="140"/>
                      <a:pt x="144" y="140"/>
                      <a:pt x="144" y="140"/>
                    </a:cubicBezTo>
                    <a:cubicBezTo>
                      <a:pt x="146" y="137"/>
                      <a:pt x="146" y="137"/>
                      <a:pt x="146" y="137"/>
                    </a:cubicBezTo>
                    <a:cubicBezTo>
                      <a:pt x="146" y="139"/>
                      <a:pt x="146" y="139"/>
                      <a:pt x="146" y="139"/>
                    </a:cubicBezTo>
                    <a:cubicBezTo>
                      <a:pt x="148" y="142"/>
                      <a:pt x="148" y="142"/>
                      <a:pt x="148" y="142"/>
                    </a:cubicBezTo>
                    <a:cubicBezTo>
                      <a:pt x="147" y="145"/>
                      <a:pt x="147" y="145"/>
                      <a:pt x="147" y="145"/>
                    </a:cubicBezTo>
                    <a:cubicBezTo>
                      <a:pt x="146" y="146"/>
                      <a:pt x="146" y="146"/>
                      <a:pt x="146" y="146"/>
                    </a:cubicBezTo>
                    <a:close/>
                    <a:moveTo>
                      <a:pt x="156" y="135"/>
                    </a:moveTo>
                    <a:cubicBezTo>
                      <a:pt x="155" y="133"/>
                      <a:pt x="155" y="133"/>
                      <a:pt x="155" y="133"/>
                    </a:cubicBezTo>
                    <a:cubicBezTo>
                      <a:pt x="156" y="131"/>
                      <a:pt x="156" y="131"/>
                      <a:pt x="156" y="131"/>
                    </a:cubicBezTo>
                    <a:cubicBezTo>
                      <a:pt x="155" y="131"/>
                      <a:pt x="155" y="131"/>
                      <a:pt x="155" y="131"/>
                    </a:cubicBezTo>
                    <a:cubicBezTo>
                      <a:pt x="155" y="129"/>
                      <a:pt x="155" y="129"/>
                      <a:pt x="155" y="129"/>
                    </a:cubicBezTo>
                    <a:cubicBezTo>
                      <a:pt x="159" y="125"/>
                      <a:pt x="159" y="125"/>
                      <a:pt x="159" y="125"/>
                    </a:cubicBezTo>
                    <a:cubicBezTo>
                      <a:pt x="164" y="124"/>
                      <a:pt x="164" y="124"/>
                      <a:pt x="164" y="124"/>
                    </a:cubicBezTo>
                    <a:cubicBezTo>
                      <a:pt x="166" y="123"/>
                      <a:pt x="166" y="123"/>
                      <a:pt x="166" y="123"/>
                    </a:cubicBezTo>
                    <a:cubicBezTo>
                      <a:pt x="166" y="124"/>
                      <a:pt x="166" y="124"/>
                      <a:pt x="166" y="124"/>
                    </a:cubicBezTo>
                    <a:cubicBezTo>
                      <a:pt x="165" y="125"/>
                      <a:pt x="165" y="125"/>
                      <a:pt x="165" y="125"/>
                    </a:cubicBezTo>
                    <a:cubicBezTo>
                      <a:pt x="164" y="127"/>
                      <a:pt x="164" y="127"/>
                      <a:pt x="164" y="127"/>
                    </a:cubicBezTo>
                    <a:cubicBezTo>
                      <a:pt x="163" y="129"/>
                      <a:pt x="163" y="129"/>
                      <a:pt x="163" y="129"/>
                    </a:cubicBezTo>
                    <a:cubicBezTo>
                      <a:pt x="163" y="130"/>
                      <a:pt x="163" y="130"/>
                      <a:pt x="163" y="130"/>
                    </a:cubicBezTo>
                    <a:cubicBezTo>
                      <a:pt x="161" y="130"/>
                      <a:pt x="161" y="130"/>
                      <a:pt x="161" y="130"/>
                    </a:cubicBezTo>
                    <a:cubicBezTo>
                      <a:pt x="159" y="132"/>
                      <a:pt x="159" y="132"/>
                      <a:pt x="159" y="132"/>
                    </a:cubicBezTo>
                    <a:cubicBezTo>
                      <a:pt x="157" y="134"/>
                      <a:pt x="157" y="134"/>
                      <a:pt x="157" y="134"/>
                    </a:cubicBezTo>
                    <a:cubicBezTo>
                      <a:pt x="156" y="135"/>
                      <a:pt x="156" y="135"/>
                      <a:pt x="156" y="135"/>
                    </a:cubicBezTo>
                    <a:close/>
                    <a:moveTo>
                      <a:pt x="130" y="122"/>
                    </a:moveTo>
                    <a:cubicBezTo>
                      <a:pt x="128" y="121"/>
                      <a:pt x="128" y="121"/>
                      <a:pt x="128" y="121"/>
                    </a:cubicBezTo>
                    <a:cubicBezTo>
                      <a:pt x="129" y="120"/>
                      <a:pt x="129" y="120"/>
                      <a:pt x="129" y="120"/>
                    </a:cubicBezTo>
                    <a:cubicBezTo>
                      <a:pt x="132" y="119"/>
                      <a:pt x="132" y="119"/>
                      <a:pt x="132" y="119"/>
                    </a:cubicBezTo>
                    <a:cubicBezTo>
                      <a:pt x="134" y="119"/>
                      <a:pt x="134" y="119"/>
                      <a:pt x="134" y="119"/>
                    </a:cubicBezTo>
                    <a:cubicBezTo>
                      <a:pt x="132" y="121"/>
                      <a:pt x="132" y="121"/>
                      <a:pt x="132" y="121"/>
                    </a:cubicBezTo>
                    <a:cubicBezTo>
                      <a:pt x="130" y="122"/>
                      <a:pt x="130" y="122"/>
                      <a:pt x="130" y="122"/>
                    </a:cubicBezTo>
                    <a:close/>
                    <a:moveTo>
                      <a:pt x="130" y="96"/>
                    </a:moveTo>
                    <a:cubicBezTo>
                      <a:pt x="133" y="94"/>
                      <a:pt x="133" y="94"/>
                      <a:pt x="133" y="94"/>
                    </a:cubicBezTo>
                    <a:cubicBezTo>
                      <a:pt x="135" y="94"/>
                      <a:pt x="135" y="94"/>
                      <a:pt x="135" y="94"/>
                    </a:cubicBezTo>
                    <a:cubicBezTo>
                      <a:pt x="137" y="96"/>
                      <a:pt x="137" y="96"/>
                      <a:pt x="137" y="96"/>
                    </a:cubicBezTo>
                    <a:cubicBezTo>
                      <a:pt x="138" y="95"/>
                      <a:pt x="138" y="95"/>
                      <a:pt x="138" y="95"/>
                    </a:cubicBezTo>
                    <a:cubicBezTo>
                      <a:pt x="139" y="95"/>
                      <a:pt x="139" y="95"/>
                      <a:pt x="139" y="95"/>
                    </a:cubicBezTo>
                    <a:cubicBezTo>
                      <a:pt x="139" y="96"/>
                      <a:pt x="139" y="96"/>
                      <a:pt x="139" y="96"/>
                    </a:cubicBezTo>
                    <a:cubicBezTo>
                      <a:pt x="137" y="97"/>
                      <a:pt x="137" y="97"/>
                      <a:pt x="137" y="97"/>
                    </a:cubicBezTo>
                    <a:cubicBezTo>
                      <a:pt x="136" y="99"/>
                      <a:pt x="136" y="99"/>
                      <a:pt x="136" y="99"/>
                    </a:cubicBezTo>
                    <a:cubicBezTo>
                      <a:pt x="134" y="98"/>
                      <a:pt x="134" y="98"/>
                      <a:pt x="134" y="98"/>
                    </a:cubicBezTo>
                    <a:cubicBezTo>
                      <a:pt x="133" y="97"/>
                      <a:pt x="133" y="97"/>
                      <a:pt x="133" y="97"/>
                    </a:cubicBezTo>
                    <a:cubicBezTo>
                      <a:pt x="131" y="97"/>
                      <a:pt x="131" y="97"/>
                      <a:pt x="131" y="97"/>
                    </a:cubicBezTo>
                    <a:cubicBezTo>
                      <a:pt x="129" y="97"/>
                      <a:pt x="129" y="97"/>
                      <a:pt x="129" y="97"/>
                    </a:cubicBezTo>
                    <a:cubicBezTo>
                      <a:pt x="130" y="96"/>
                      <a:pt x="130" y="96"/>
                      <a:pt x="130" y="96"/>
                    </a:cubicBezTo>
                    <a:close/>
                    <a:moveTo>
                      <a:pt x="123" y="77"/>
                    </a:moveTo>
                    <a:cubicBezTo>
                      <a:pt x="124" y="81"/>
                      <a:pt x="124" y="81"/>
                      <a:pt x="124" y="81"/>
                    </a:cubicBezTo>
                    <a:cubicBezTo>
                      <a:pt x="123" y="84"/>
                      <a:pt x="123" y="84"/>
                      <a:pt x="123" y="84"/>
                    </a:cubicBezTo>
                    <a:cubicBezTo>
                      <a:pt x="121" y="85"/>
                      <a:pt x="121" y="85"/>
                      <a:pt x="121" y="85"/>
                    </a:cubicBezTo>
                    <a:cubicBezTo>
                      <a:pt x="119" y="84"/>
                      <a:pt x="119" y="84"/>
                      <a:pt x="119" y="84"/>
                    </a:cubicBezTo>
                    <a:cubicBezTo>
                      <a:pt x="119" y="82"/>
                      <a:pt x="119" y="82"/>
                      <a:pt x="119" y="82"/>
                    </a:cubicBezTo>
                    <a:cubicBezTo>
                      <a:pt x="120" y="82"/>
                      <a:pt x="120" y="82"/>
                      <a:pt x="120" y="82"/>
                    </a:cubicBezTo>
                    <a:cubicBezTo>
                      <a:pt x="120" y="79"/>
                      <a:pt x="120" y="79"/>
                      <a:pt x="120" y="79"/>
                    </a:cubicBezTo>
                    <a:cubicBezTo>
                      <a:pt x="118" y="77"/>
                      <a:pt x="118" y="77"/>
                      <a:pt x="118" y="77"/>
                    </a:cubicBezTo>
                    <a:cubicBezTo>
                      <a:pt x="118" y="76"/>
                      <a:pt x="118" y="76"/>
                      <a:pt x="118" y="76"/>
                    </a:cubicBezTo>
                    <a:cubicBezTo>
                      <a:pt x="120" y="75"/>
                      <a:pt x="120" y="75"/>
                      <a:pt x="120" y="75"/>
                    </a:cubicBezTo>
                    <a:cubicBezTo>
                      <a:pt x="122" y="76"/>
                      <a:pt x="122" y="76"/>
                      <a:pt x="122" y="76"/>
                    </a:cubicBezTo>
                    <a:cubicBezTo>
                      <a:pt x="123" y="77"/>
                      <a:pt x="123" y="77"/>
                      <a:pt x="123" y="77"/>
                    </a:cubicBezTo>
                    <a:close/>
                    <a:moveTo>
                      <a:pt x="118" y="66"/>
                    </a:moveTo>
                    <a:cubicBezTo>
                      <a:pt x="115" y="64"/>
                      <a:pt x="115" y="64"/>
                      <a:pt x="115" y="64"/>
                    </a:cubicBezTo>
                    <a:cubicBezTo>
                      <a:pt x="117" y="61"/>
                      <a:pt x="117" y="61"/>
                      <a:pt x="117" y="61"/>
                    </a:cubicBezTo>
                    <a:cubicBezTo>
                      <a:pt x="121" y="59"/>
                      <a:pt x="121" y="59"/>
                      <a:pt x="121" y="59"/>
                    </a:cubicBezTo>
                    <a:cubicBezTo>
                      <a:pt x="123" y="58"/>
                      <a:pt x="123" y="58"/>
                      <a:pt x="123" y="58"/>
                    </a:cubicBezTo>
                    <a:cubicBezTo>
                      <a:pt x="127" y="57"/>
                      <a:pt x="127" y="57"/>
                      <a:pt x="127" y="57"/>
                    </a:cubicBezTo>
                    <a:cubicBezTo>
                      <a:pt x="128" y="58"/>
                      <a:pt x="128" y="58"/>
                      <a:pt x="128" y="58"/>
                    </a:cubicBezTo>
                    <a:cubicBezTo>
                      <a:pt x="127" y="60"/>
                      <a:pt x="127" y="60"/>
                      <a:pt x="127" y="60"/>
                    </a:cubicBezTo>
                    <a:cubicBezTo>
                      <a:pt x="128" y="60"/>
                      <a:pt x="128" y="60"/>
                      <a:pt x="128" y="60"/>
                    </a:cubicBezTo>
                    <a:cubicBezTo>
                      <a:pt x="129" y="63"/>
                      <a:pt x="129" y="63"/>
                      <a:pt x="129" y="63"/>
                    </a:cubicBezTo>
                    <a:cubicBezTo>
                      <a:pt x="129" y="67"/>
                      <a:pt x="129" y="67"/>
                      <a:pt x="129" y="67"/>
                    </a:cubicBezTo>
                    <a:cubicBezTo>
                      <a:pt x="125" y="67"/>
                      <a:pt x="125" y="67"/>
                      <a:pt x="125" y="67"/>
                    </a:cubicBezTo>
                    <a:cubicBezTo>
                      <a:pt x="122" y="66"/>
                      <a:pt x="122" y="66"/>
                      <a:pt x="122" y="66"/>
                    </a:cubicBezTo>
                    <a:cubicBezTo>
                      <a:pt x="123" y="65"/>
                      <a:pt x="123" y="65"/>
                      <a:pt x="123" y="65"/>
                    </a:cubicBezTo>
                    <a:cubicBezTo>
                      <a:pt x="125" y="63"/>
                      <a:pt x="125" y="63"/>
                      <a:pt x="125" y="63"/>
                    </a:cubicBezTo>
                    <a:cubicBezTo>
                      <a:pt x="125" y="61"/>
                      <a:pt x="125" y="61"/>
                      <a:pt x="125" y="61"/>
                    </a:cubicBezTo>
                    <a:cubicBezTo>
                      <a:pt x="122" y="61"/>
                      <a:pt x="122" y="61"/>
                      <a:pt x="122" y="61"/>
                    </a:cubicBezTo>
                    <a:cubicBezTo>
                      <a:pt x="121" y="63"/>
                      <a:pt x="121" y="63"/>
                      <a:pt x="121" y="63"/>
                    </a:cubicBezTo>
                    <a:cubicBezTo>
                      <a:pt x="121" y="66"/>
                      <a:pt x="121" y="66"/>
                      <a:pt x="121" y="66"/>
                    </a:cubicBezTo>
                    <a:cubicBezTo>
                      <a:pt x="119" y="66"/>
                      <a:pt x="119" y="66"/>
                      <a:pt x="119" y="66"/>
                    </a:cubicBezTo>
                    <a:cubicBezTo>
                      <a:pt x="118" y="66"/>
                      <a:pt x="118" y="66"/>
                      <a:pt x="118" y="66"/>
                    </a:cubicBezTo>
                    <a:close/>
                    <a:moveTo>
                      <a:pt x="108" y="32"/>
                    </a:moveTo>
                    <a:cubicBezTo>
                      <a:pt x="109" y="31"/>
                      <a:pt x="109" y="31"/>
                      <a:pt x="109" y="31"/>
                    </a:cubicBezTo>
                    <a:cubicBezTo>
                      <a:pt x="112" y="30"/>
                      <a:pt x="112" y="30"/>
                      <a:pt x="112" y="30"/>
                    </a:cubicBezTo>
                    <a:cubicBezTo>
                      <a:pt x="114" y="31"/>
                      <a:pt x="114" y="31"/>
                      <a:pt x="114" y="31"/>
                    </a:cubicBezTo>
                    <a:cubicBezTo>
                      <a:pt x="114" y="33"/>
                      <a:pt x="114" y="33"/>
                      <a:pt x="114" y="33"/>
                    </a:cubicBezTo>
                    <a:cubicBezTo>
                      <a:pt x="112" y="33"/>
                      <a:pt x="112" y="33"/>
                      <a:pt x="112" y="33"/>
                    </a:cubicBezTo>
                    <a:cubicBezTo>
                      <a:pt x="108" y="32"/>
                      <a:pt x="108" y="32"/>
                      <a:pt x="108" y="32"/>
                    </a:cubicBezTo>
                    <a:close/>
                    <a:moveTo>
                      <a:pt x="100" y="42"/>
                    </a:moveTo>
                    <a:cubicBezTo>
                      <a:pt x="103" y="42"/>
                      <a:pt x="103" y="42"/>
                      <a:pt x="103" y="42"/>
                    </a:cubicBezTo>
                    <a:cubicBezTo>
                      <a:pt x="104" y="43"/>
                      <a:pt x="104" y="43"/>
                      <a:pt x="104" y="43"/>
                    </a:cubicBezTo>
                    <a:cubicBezTo>
                      <a:pt x="106" y="41"/>
                      <a:pt x="106" y="41"/>
                      <a:pt x="106" y="41"/>
                    </a:cubicBezTo>
                    <a:cubicBezTo>
                      <a:pt x="108" y="42"/>
                      <a:pt x="108" y="42"/>
                      <a:pt x="108" y="42"/>
                    </a:cubicBezTo>
                    <a:cubicBezTo>
                      <a:pt x="106" y="44"/>
                      <a:pt x="106" y="44"/>
                      <a:pt x="106" y="44"/>
                    </a:cubicBezTo>
                    <a:cubicBezTo>
                      <a:pt x="105" y="48"/>
                      <a:pt x="105" y="48"/>
                      <a:pt x="105" y="48"/>
                    </a:cubicBezTo>
                    <a:cubicBezTo>
                      <a:pt x="103" y="47"/>
                      <a:pt x="103" y="47"/>
                      <a:pt x="103" y="47"/>
                    </a:cubicBezTo>
                    <a:cubicBezTo>
                      <a:pt x="102" y="47"/>
                      <a:pt x="102" y="47"/>
                      <a:pt x="102" y="47"/>
                    </a:cubicBezTo>
                    <a:cubicBezTo>
                      <a:pt x="100" y="46"/>
                      <a:pt x="100" y="46"/>
                      <a:pt x="100" y="46"/>
                    </a:cubicBezTo>
                    <a:cubicBezTo>
                      <a:pt x="99" y="43"/>
                      <a:pt x="99" y="43"/>
                      <a:pt x="99" y="43"/>
                    </a:cubicBezTo>
                    <a:cubicBezTo>
                      <a:pt x="100" y="42"/>
                      <a:pt x="100" y="42"/>
                      <a:pt x="100" y="42"/>
                    </a:cubicBezTo>
                    <a:close/>
                    <a:moveTo>
                      <a:pt x="91" y="26"/>
                    </a:moveTo>
                    <a:cubicBezTo>
                      <a:pt x="92" y="25"/>
                      <a:pt x="92" y="25"/>
                      <a:pt x="92" y="25"/>
                    </a:cubicBezTo>
                    <a:cubicBezTo>
                      <a:pt x="95" y="26"/>
                      <a:pt x="95" y="26"/>
                      <a:pt x="95" y="26"/>
                    </a:cubicBezTo>
                    <a:cubicBezTo>
                      <a:pt x="95" y="28"/>
                      <a:pt x="95" y="28"/>
                      <a:pt x="95" y="28"/>
                    </a:cubicBezTo>
                    <a:cubicBezTo>
                      <a:pt x="93" y="30"/>
                      <a:pt x="93" y="30"/>
                      <a:pt x="93" y="30"/>
                    </a:cubicBezTo>
                    <a:cubicBezTo>
                      <a:pt x="92" y="29"/>
                      <a:pt x="92" y="29"/>
                      <a:pt x="92" y="29"/>
                    </a:cubicBezTo>
                    <a:cubicBezTo>
                      <a:pt x="90" y="29"/>
                      <a:pt x="90" y="29"/>
                      <a:pt x="90" y="29"/>
                    </a:cubicBezTo>
                    <a:cubicBezTo>
                      <a:pt x="91" y="26"/>
                      <a:pt x="91" y="26"/>
                      <a:pt x="91" y="26"/>
                    </a:cubicBezTo>
                    <a:close/>
                    <a:moveTo>
                      <a:pt x="73" y="63"/>
                    </a:moveTo>
                    <a:cubicBezTo>
                      <a:pt x="75" y="63"/>
                      <a:pt x="75" y="63"/>
                      <a:pt x="75" y="63"/>
                    </a:cubicBezTo>
                    <a:cubicBezTo>
                      <a:pt x="77" y="63"/>
                      <a:pt x="77" y="63"/>
                      <a:pt x="77" y="63"/>
                    </a:cubicBezTo>
                    <a:cubicBezTo>
                      <a:pt x="77" y="66"/>
                      <a:pt x="77" y="66"/>
                      <a:pt x="77" y="66"/>
                    </a:cubicBezTo>
                    <a:cubicBezTo>
                      <a:pt x="77" y="67"/>
                      <a:pt x="77" y="67"/>
                      <a:pt x="77" y="67"/>
                    </a:cubicBezTo>
                    <a:cubicBezTo>
                      <a:pt x="73" y="63"/>
                      <a:pt x="73" y="63"/>
                      <a:pt x="73" y="63"/>
                    </a:cubicBezTo>
                    <a:close/>
                    <a:moveTo>
                      <a:pt x="70" y="63"/>
                    </a:moveTo>
                    <a:cubicBezTo>
                      <a:pt x="71" y="62"/>
                      <a:pt x="71" y="62"/>
                      <a:pt x="71" y="62"/>
                    </a:cubicBezTo>
                    <a:cubicBezTo>
                      <a:pt x="72" y="63"/>
                      <a:pt x="72" y="63"/>
                      <a:pt x="72" y="63"/>
                    </a:cubicBezTo>
                    <a:cubicBezTo>
                      <a:pt x="71" y="65"/>
                      <a:pt x="71" y="65"/>
                      <a:pt x="71" y="65"/>
                    </a:cubicBezTo>
                    <a:cubicBezTo>
                      <a:pt x="70" y="63"/>
                      <a:pt x="70" y="63"/>
                      <a:pt x="70" y="63"/>
                    </a:cubicBezTo>
                    <a:close/>
                    <a:moveTo>
                      <a:pt x="92" y="67"/>
                    </a:moveTo>
                    <a:cubicBezTo>
                      <a:pt x="93" y="67"/>
                      <a:pt x="93" y="67"/>
                      <a:pt x="93" y="67"/>
                    </a:cubicBezTo>
                    <a:cubicBezTo>
                      <a:pt x="95" y="68"/>
                      <a:pt x="95" y="68"/>
                      <a:pt x="95" y="68"/>
                    </a:cubicBezTo>
                    <a:cubicBezTo>
                      <a:pt x="97" y="69"/>
                      <a:pt x="97" y="69"/>
                      <a:pt x="97" y="69"/>
                    </a:cubicBezTo>
                    <a:cubicBezTo>
                      <a:pt x="97" y="72"/>
                      <a:pt x="97" y="72"/>
                      <a:pt x="97" y="72"/>
                    </a:cubicBezTo>
                    <a:cubicBezTo>
                      <a:pt x="96" y="73"/>
                      <a:pt x="96" y="73"/>
                      <a:pt x="96" y="73"/>
                    </a:cubicBezTo>
                    <a:cubicBezTo>
                      <a:pt x="95" y="71"/>
                      <a:pt x="95" y="71"/>
                      <a:pt x="95" y="71"/>
                    </a:cubicBezTo>
                    <a:cubicBezTo>
                      <a:pt x="94" y="70"/>
                      <a:pt x="94" y="70"/>
                      <a:pt x="94" y="70"/>
                    </a:cubicBezTo>
                    <a:cubicBezTo>
                      <a:pt x="92" y="67"/>
                      <a:pt x="92" y="67"/>
                      <a:pt x="92" y="67"/>
                    </a:cubicBezTo>
                    <a:close/>
                    <a:moveTo>
                      <a:pt x="123" y="103"/>
                    </a:moveTo>
                    <a:cubicBezTo>
                      <a:pt x="122" y="101"/>
                      <a:pt x="122" y="101"/>
                      <a:pt x="122" y="101"/>
                    </a:cubicBezTo>
                    <a:cubicBezTo>
                      <a:pt x="122" y="99"/>
                      <a:pt x="122" y="99"/>
                      <a:pt x="122" y="99"/>
                    </a:cubicBezTo>
                    <a:cubicBezTo>
                      <a:pt x="126" y="98"/>
                      <a:pt x="126" y="98"/>
                      <a:pt x="126" y="98"/>
                    </a:cubicBezTo>
                    <a:cubicBezTo>
                      <a:pt x="126" y="100"/>
                      <a:pt x="126" y="100"/>
                      <a:pt x="126" y="100"/>
                    </a:cubicBezTo>
                    <a:cubicBezTo>
                      <a:pt x="123" y="103"/>
                      <a:pt x="123" y="103"/>
                      <a:pt x="123" y="103"/>
                    </a:cubicBezTo>
                    <a:close/>
                    <a:moveTo>
                      <a:pt x="91" y="121"/>
                    </a:moveTo>
                    <a:cubicBezTo>
                      <a:pt x="93" y="119"/>
                      <a:pt x="93" y="119"/>
                      <a:pt x="93" y="119"/>
                    </a:cubicBezTo>
                    <a:cubicBezTo>
                      <a:pt x="96" y="119"/>
                      <a:pt x="96" y="119"/>
                      <a:pt x="96" y="119"/>
                    </a:cubicBezTo>
                    <a:cubicBezTo>
                      <a:pt x="95" y="121"/>
                      <a:pt x="95" y="121"/>
                      <a:pt x="95" y="121"/>
                    </a:cubicBezTo>
                    <a:cubicBezTo>
                      <a:pt x="93" y="121"/>
                      <a:pt x="93" y="121"/>
                      <a:pt x="93" y="121"/>
                    </a:cubicBezTo>
                    <a:cubicBezTo>
                      <a:pt x="91" y="121"/>
                      <a:pt x="91" y="121"/>
                      <a:pt x="91" y="121"/>
                    </a:cubicBezTo>
                    <a:close/>
                    <a:moveTo>
                      <a:pt x="93" y="110"/>
                    </a:moveTo>
                    <a:cubicBezTo>
                      <a:pt x="95" y="109"/>
                      <a:pt x="95" y="109"/>
                      <a:pt x="95" y="109"/>
                    </a:cubicBezTo>
                    <a:cubicBezTo>
                      <a:pt x="95" y="111"/>
                      <a:pt x="95" y="111"/>
                      <a:pt x="95" y="111"/>
                    </a:cubicBezTo>
                    <a:cubicBezTo>
                      <a:pt x="93" y="110"/>
                      <a:pt x="93" y="110"/>
                      <a:pt x="93" y="110"/>
                    </a:cubicBezTo>
                    <a:close/>
                    <a:moveTo>
                      <a:pt x="92" y="106"/>
                    </a:moveTo>
                    <a:cubicBezTo>
                      <a:pt x="92" y="103"/>
                      <a:pt x="92" y="103"/>
                      <a:pt x="92" y="103"/>
                    </a:cubicBezTo>
                    <a:cubicBezTo>
                      <a:pt x="94" y="104"/>
                      <a:pt x="94" y="104"/>
                      <a:pt x="94" y="104"/>
                    </a:cubicBezTo>
                    <a:cubicBezTo>
                      <a:pt x="94" y="105"/>
                      <a:pt x="94" y="105"/>
                      <a:pt x="94" y="105"/>
                    </a:cubicBezTo>
                    <a:cubicBezTo>
                      <a:pt x="92" y="106"/>
                      <a:pt x="92" y="106"/>
                      <a:pt x="92" y="106"/>
                    </a:cubicBezTo>
                    <a:close/>
                    <a:moveTo>
                      <a:pt x="90" y="102"/>
                    </a:moveTo>
                    <a:cubicBezTo>
                      <a:pt x="90" y="101"/>
                      <a:pt x="90" y="101"/>
                      <a:pt x="90" y="101"/>
                    </a:cubicBezTo>
                    <a:cubicBezTo>
                      <a:pt x="91" y="99"/>
                      <a:pt x="91" y="99"/>
                      <a:pt x="91" y="99"/>
                    </a:cubicBezTo>
                    <a:cubicBezTo>
                      <a:pt x="92" y="101"/>
                      <a:pt x="92" y="101"/>
                      <a:pt x="92" y="101"/>
                    </a:cubicBezTo>
                    <a:cubicBezTo>
                      <a:pt x="90" y="102"/>
                      <a:pt x="90" y="102"/>
                      <a:pt x="90" y="102"/>
                    </a:cubicBezTo>
                    <a:close/>
                    <a:moveTo>
                      <a:pt x="108" y="113"/>
                    </a:moveTo>
                    <a:cubicBezTo>
                      <a:pt x="106" y="112"/>
                      <a:pt x="106" y="112"/>
                      <a:pt x="106" y="112"/>
                    </a:cubicBezTo>
                    <a:cubicBezTo>
                      <a:pt x="107" y="109"/>
                      <a:pt x="107" y="109"/>
                      <a:pt x="107" y="109"/>
                    </a:cubicBezTo>
                    <a:cubicBezTo>
                      <a:pt x="109" y="109"/>
                      <a:pt x="109" y="109"/>
                      <a:pt x="109" y="109"/>
                    </a:cubicBezTo>
                    <a:cubicBezTo>
                      <a:pt x="109" y="111"/>
                      <a:pt x="109" y="111"/>
                      <a:pt x="109" y="111"/>
                    </a:cubicBezTo>
                    <a:cubicBezTo>
                      <a:pt x="108" y="113"/>
                      <a:pt x="108" y="113"/>
                      <a:pt x="108" y="113"/>
                    </a:cubicBezTo>
                    <a:close/>
                    <a:moveTo>
                      <a:pt x="112" y="112"/>
                    </a:moveTo>
                    <a:cubicBezTo>
                      <a:pt x="111" y="110"/>
                      <a:pt x="111" y="110"/>
                      <a:pt x="111" y="110"/>
                    </a:cubicBezTo>
                    <a:cubicBezTo>
                      <a:pt x="114" y="108"/>
                      <a:pt x="114" y="108"/>
                      <a:pt x="114" y="108"/>
                    </a:cubicBezTo>
                    <a:cubicBezTo>
                      <a:pt x="115" y="108"/>
                      <a:pt x="115" y="108"/>
                      <a:pt x="115" y="108"/>
                    </a:cubicBezTo>
                    <a:cubicBezTo>
                      <a:pt x="116" y="110"/>
                      <a:pt x="116" y="110"/>
                      <a:pt x="116" y="110"/>
                    </a:cubicBezTo>
                    <a:cubicBezTo>
                      <a:pt x="114" y="112"/>
                      <a:pt x="114" y="112"/>
                      <a:pt x="114" y="112"/>
                    </a:cubicBezTo>
                    <a:cubicBezTo>
                      <a:pt x="112" y="112"/>
                      <a:pt x="112" y="112"/>
                      <a:pt x="112" y="112"/>
                    </a:cubicBezTo>
                    <a:close/>
                    <a:moveTo>
                      <a:pt x="111" y="104"/>
                    </a:moveTo>
                    <a:cubicBezTo>
                      <a:pt x="111" y="103"/>
                      <a:pt x="111" y="103"/>
                      <a:pt x="111" y="103"/>
                    </a:cubicBezTo>
                    <a:cubicBezTo>
                      <a:pt x="113" y="103"/>
                      <a:pt x="113" y="103"/>
                      <a:pt x="113" y="103"/>
                    </a:cubicBezTo>
                    <a:cubicBezTo>
                      <a:pt x="111" y="104"/>
                      <a:pt x="111" y="104"/>
                      <a:pt x="111" y="104"/>
                    </a:cubicBezTo>
                    <a:close/>
                    <a:moveTo>
                      <a:pt x="106" y="99"/>
                    </a:moveTo>
                    <a:cubicBezTo>
                      <a:pt x="107" y="99"/>
                      <a:pt x="107" y="99"/>
                      <a:pt x="107" y="99"/>
                    </a:cubicBezTo>
                    <a:cubicBezTo>
                      <a:pt x="109" y="100"/>
                      <a:pt x="109" y="100"/>
                      <a:pt x="109" y="100"/>
                    </a:cubicBezTo>
                    <a:cubicBezTo>
                      <a:pt x="109" y="102"/>
                      <a:pt x="109" y="102"/>
                      <a:pt x="109" y="102"/>
                    </a:cubicBezTo>
                    <a:cubicBezTo>
                      <a:pt x="107" y="101"/>
                      <a:pt x="107" y="101"/>
                      <a:pt x="107" y="101"/>
                    </a:cubicBezTo>
                    <a:cubicBezTo>
                      <a:pt x="106" y="99"/>
                      <a:pt x="106" y="99"/>
                      <a:pt x="106" y="99"/>
                    </a:cubicBezTo>
                    <a:close/>
                    <a:moveTo>
                      <a:pt x="97" y="92"/>
                    </a:moveTo>
                    <a:cubicBezTo>
                      <a:pt x="99" y="92"/>
                      <a:pt x="99" y="92"/>
                      <a:pt x="99" y="92"/>
                    </a:cubicBezTo>
                    <a:cubicBezTo>
                      <a:pt x="100" y="94"/>
                      <a:pt x="100" y="94"/>
                      <a:pt x="100" y="94"/>
                    </a:cubicBezTo>
                    <a:cubicBezTo>
                      <a:pt x="104" y="97"/>
                      <a:pt x="104" y="97"/>
                      <a:pt x="104" y="97"/>
                    </a:cubicBezTo>
                    <a:cubicBezTo>
                      <a:pt x="104" y="99"/>
                      <a:pt x="104" y="99"/>
                      <a:pt x="104" y="99"/>
                    </a:cubicBezTo>
                    <a:cubicBezTo>
                      <a:pt x="102" y="99"/>
                      <a:pt x="102" y="99"/>
                      <a:pt x="102" y="99"/>
                    </a:cubicBezTo>
                    <a:cubicBezTo>
                      <a:pt x="98" y="95"/>
                      <a:pt x="98" y="95"/>
                      <a:pt x="98" y="95"/>
                    </a:cubicBezTo>
                    <a:cubicBezTo>
                      <a:pt x="96" y="94"/>
                      <a:pt x="96" y="94"/>
                      <a:pt x="96" y="94"/>
                    </a:cubicBezTo>
                    <a:cubicBezTo>
                      <a:pt x="97" y="92"/>
                      <a:pt x="97" y="92"/>
                      <a:pt x="97" y="92"/>
                    </a:cubicBezTo>
                    <a:close/>
                    <a:moveTo>
                      <a:pt x="61" y="70"/>
                    </a:moveTo>
                    <a:cubicBezTo>
                      <a:pt x="64" y="67"/>
                      <a:pt x="64" y="67"/>
                      <a:pt x="64" y="67"/>
                    </a:cubicBezTo>
                    <a:cubicBezTo>
                      <a:pt x="69" y="67"/>
                      <a:pt x="69" y="67"/>
                      <a:pt x="69" y="67"/>
                    </a:cubicBezTo>
                    <a:cubicBezTo>
                      <a:pt x="72" y="70"/>
                      <a:pt x="72" y="70"/>
                      <a:pt x="72" y="70"/>
                    </a:cubicBezTo>
                    <a:cubicBezTo>
                      <a:pt x="75" y="71"/>
                      <a:pt x="75" y="71"/>
                      <a:pt x="75" y="71"/>
                    </a:cubicBezTo>
                    <a:cubicBezTo>
                      <a:pt x="78" y="73"/>
                      <a:pt x="78" y="73"/>
                      <a:pt x="78" y="73"/>
                    </a:cubicBezTo>
                    <a:cubicBezTo>
                      <a:pt x="79" y="73"/>
                      <a:pt x="79" y="73"/>
                      <a:pt x="79" y="73"/>
                    </a:cubicBezTo>
                    <a:cubicBezTo>
                      <a:pt x="81" y="73"/>
                      <a:pt x="81" y="73"/>
                      <a:pt x="81" y="73"/>
                    </a:cubicBezTo>
                    <a:cubicBezTo>
                      <a:pt x="82" y="73"/>
                      <a:pt x="82" y="73"/>
                      <a:pt x="82" y="73"/>
                    </a:cubicBezTo>
                    <a:cubicBezTo>
                      <a:pt x="86" y="77"/>
                      <a:pt x="86" y="77"/>
                      <a:pt x="86" y="77"/>
                    </a:cubicBezTo>
                    <a:cubicBezTo>
                      <a:pt x="88" y="80"/>
                      <a:pt x="88" y="80"/>
                      <a:pt x="88" y="80"/>
                    </a:cubicBezTo>
                    <a:cubicBezTo>
                      <a:pt x="88" y="82"/>
                      <a:pt x="88" y="82"/>
                      <a:pt x="88" y="82"/>
                    </a:cubicBezTo>
                    <a:cubicBezTo>
                      <a:pt x="88" y="84"/>
                      <a:pt x="88" y="84"/>
                      <a:pt x="88" y="84"/>
                    </a:cubicBezTo>
                    <a:cubicBezTo>
                      <a:pt x="88" y="86"/>
                      <a:pt x="88" y="86"/>
                      <a:pt x="88" y="86"/>
                    </a:cubicBezTo>
                    <a:cubicBezTo>
                      <a:pt x="91" y="89"/>
                      <a:pt x="91" y="89"/>
                      <a:pt x="91" y="89"/>
                    </a:cubicBezTo>
                    <a:cubicBezTo>
                      <a:pt x="92" y="88"/>
                      <a:pt x="92" y="88"/>
                      <a:pt x="92" y="88"/>
                    </a:cubicBezTo>
                    <a:cubicBezTo>
                      <a:pt x="95" y="88"/>
                      <a:pt x="95" y="88"/>
                      <a:pt x="95" y="88"/>
                    </a:cubicBezTo>
                    <a:cubicBezTo>
                      <a:pt x="94" y="92"/>
                      <a:pt x="94" y="92"/>
                      <a:pt x="94" y="92"/>
                    </a:cubicBezTo>
                    <a:cubicBezTo>
                      <a:pt x="92" y="91"/>
                      <a:pt x="92" y="91"/>
                      <a:pt x="92" y="91"/>
                    </a:cubicBezTo>
                    <a:cubicBezTo>
                      <a:pt x="90" y="92"/>
                      <a:pt x="90" y="92"/>
                      <a:pt x="90" y="92"/>
                    </a:cubicBezTo>
                    <a:cubicBezTo>
                      <a:pt x="88" y="90"/>
                      <a:pt x="88" y="90"/>
                      <a:pt x="88" y="90"/>
                    </a:cubicBezTo>
                    <a:cubicBezTo>
                      <a:pt x="87" y="88"/>
                      <a:pt x="87" y="88"/>
                      <a:pt x="87" y="88"/>
                    </a:cubicBezTo>
                    <a:cubicBezTo>
                      <a:pt x="87" y="86"/>
                      <a:pt x="87" y="86"/>
                      <a:pt x="87" y="86"/>
                    </a:cubicBezTo>
                    <a:cubicBezTo>
                      <a:pt x="85" y="85"/>
                      <a:pt x="85" y="85"/>
                      <a:pt x="85" y="85"/>
                    </a:cubicBezTo>
                    <a:cubicBezTo>
                      <a:pt x="83" y="81"/>
                      <a:pt x="83" y="81"/>
                      <a:pt x="83" y="81"/>
                    </a:cubicBezTo>
                    <a:cubicBezTo>
                      <a:pt x="82" y="80"/>
                      <a:pt x="82" y="80"/>
                      <a:pt x="82" y="80"/>
                    </a:cubicBezTo>
                    <a:cubicBezTo>
                      <a:pt x="79" y="80"/>
                      <a:pt x="79" y="80"/>
                      <a:pt x="79" y="80"/>
                    </a:cubicBezTo>
                    <a:cubicBezTo>
                      <a:pt x="76" y="78"/>
                      <a:pt x="76" y="78"/>
                      <a:pt x="76" y="78"/>
                    </a:cubicBezTo>
                    <a:cubicBezTo>
                      <a:pt x="74" y="76"/>
                      <a:pt x="74" y="76"/>
                      <a:pt x="74" y="76"/>
                    </a:cubicBezTo>
                    <a:cubicBezTo>
                      <a:pt x="72" y="75"/>
                      <a:pt x="72" y="75"/>
                      <a:pt x="72" y="75"/>
                    </a:cubicBezTo>
                    <a:cubicBezTo>
                      <a:pt x="71" y="73"/>
                      <a:pt x="71" y="73"/>
                      <a:pt x="71" y="73"/>
                    </a:cubicBezTo>
                    <a:cubicBezTo>
                      <a:pt x="69" y="73"/>
                      <a:pt x="69" y="73"/>
                      <a:pt x="69" y="73"/>
                    </a:cubicBezTo>
                    <a:cubicBezTo>
                      <a:pt x="68" y="71"/>
                      <a:pt x="68" y="71"/>
                      <a:pt x="68" y="71"/>
                    </a:cubicBezTo>
                    <a:cubicBezTo>
                      <a:pt x="66" y="70"/>
                      <a:pt x="66" y="70"/>
                      <a:pt x="66" y="70"/>
                    </a:cubicBezTo>
                    <a:cubicBezTo>
                      <a:pt x="63" y="70"/>
                      <a:pt x="63" y="70"/>
                      <a:pt x="63" y="70"/>
                    </a:cubicBezTo>
                    <a:cubicBezTo>
                      <a:pt x="61" y="70"/>
                      <a:pt x="61" y="70"/>
                      <a:pt x="61" y="70"/>
                    </a:cubicBezTo>
                    <a:close/>
                    <a:moveTo>
                      <a:pt x="67" y="125"/>
                    </a:moveTo>
                    <a:cubicBezTo>
                      <a:pt x="67" y="124"/>
                      <a:pt x="67" y="124"/>
                      <a:pt x="67" y="124"/>
                    </a:cubicBezTo>
                    <a:cubicBezTo>
                      <a:pt x="68" y="126"/>
                      <a:pt x="68" y="126"/>
                      <a:pt x="68" y="126"/>
                    </a:cubicBezTo>
                    <a:cubicBezTo>
                      <a:pt x="70" y="129"/>
                      <a:pt x="70" y="129"/>
                      <a:pt x="70" y="129"/>
                    </a:cubicBezTo>
                    <a:cubicBezTo>
                      <a:pt x="69" y="131"/>
                      <a:pt x="69" y="131"/>
                      <a:pt x="69" y="131"/>
                    </a:cubicBezTo>
                    <a:cubicBezTo>
                      <a:pt x="67" y="131"/>
                      <a:pt x="67" y="131"/>
                      <a:pt x="67" y="131"/>
                    </a:cubicBezTo>
                    <a:cubicBezTo>
                      <a:pt x="67" y="129"/>
                      <a:pt x="67" y="129"/>
                      <a:pt x="67" y="129"/>
                    </a:cubicBezTo>
                    <a:cubicBezTo>
                      <a:pt x="66" y="127"/>
                      <a:pt x="66" y="127"/>
                      <a:pt x="66" y="127"/>
                    </a:cubicBezTo>
                    <a:cubicBezTo>
                      <a:pt x="67" y="125"/>
                      <a:pt x="67" y="125"/>
                      <a:pt x="67" y="125"/>
                    </a:cubicBezTo>
                    <a:close/>
                    <a:moveTo>
                      <a:pt x="67" y="121"/>
                    </a:moveTo>
                    <a:cubicBezTo>
                      <a:pt x="68" y="123"/>
                      <a:pt x="68" y="123"/>
                      <a:pt x="68" y="123"/>
                    </a:cubicBezTo>
                    <a:cubicBezTo>
                      <a:pt x="66" y="123"/>
                      <a:pt x="66" y="123"/>
                      <a:pt x="66" y="123"/>
                    </a:cubicBezTo>
                    <a:lnTo>
                      <a:pt x="67" y="121"/>
                    </a:lnTo>
                    <a:close/>
                  </a:path>
                </a:pathLst>
              </a:custGeom>
              <a:solidFill>
                <a:schemeClr val="accent2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028" name="Freeform 30"/>
              <p:cNvSpPr>
                <a:spLocks/>
              </p:cNvSpPr>
              <p:nvPr userDrawn="1"/>
            </p:nvSpPr>
            <p:spPr bwMode="auto">
              <a:xfrm>
                <a:off x="4234" y="2174"/>
                <a:ext cx="376" cy="292"/>
              </a:xfrm>
              <a:custGeom>
                <a:avLst/>
                <a:gdLst>
                  <a:gd name="T0" fmla="*/ 16 w 376"/>
                  <a:gd name="T1" fmla="*/ 5 h 292"/>
                  <a:gd name="T2" fmla="*/ 34 w 376"/>
                  <a:gd name="T3" fmla="*/ 19 h 292"/>
                  <a:gd name="T4" fmla="*/ 47 w 376"/>
                  <a:gd name="T5" fmla="*/ 19 h 292"/>
                  <a:gd name="T6" fmla="*/ 57 w 376"/>
                  <a:gd name="T7" fmla="*/ 9 h 292"/>
                  <a:gd name="T8" fmla="*/ 70 w 376"/>
                  <a:gd name="T9" fmla="*/ 3 h 292"/>
                  <a:gd name="T10" fmla="*/ 74 w 376"/>
                  <a:gd name="T11" fmla="*/ 10 h 292"/>
                  <a:gd name="T12" fmla="*/ 82 w 376"/>
                  <a:gd name="T13" fmla="*/ 26 h 292"/>
                  <a:gd name="T14" fmla="*/ 91 w 376"/>
                  <a:gd name="T15" fmla="*/ 33 h 292"/>
                  <a:gd name="T16" fmla="*/ 97 w 376"/>
                  <a:gd name="T17" fmla="*/ 47 h 292"/>
                  <a:gd name="T18" fmla="*/ 117 w 376"/>
                  <a:gd name="T19" fmla="*/ 49 h 292"/>
                  <a:gd name="T20" fmla="*/ 145 w 376"/>
                  <a:gd name="T21" fmla="*/ 64 h 292"/>
                  <a:gd name="T22" fmla="*/ 186 w 376"/>
                  <a:gd name="T23" fmla="*/ 61 h 292"/>
                  <a:gd name="T24" fmla="*/ 196 w 376"/>
                  <a:gd name="T25" fmla="*/ 45 h 292"/>
                  <a:gd name="T26" fmla="*/ 219 w 376"/>
                  <a:gd name="T27" fmla="*/ 29 h 292"/>
                  <a:gd name="T28" fmla="*/ 238 w 376"/>
                  <a:gd name="T29" fmla="*/ 27 h 292"/>
                  <a:gd name="T30" fmla="*/ 267 w 376"/>
                  <a:gd name="T31" fmla="*/ 38 h 292"/>
                  <a:gd name="T32" fmla="*/ 285 w 376"/>
                  <a:gd name="T33" fmla="*/ 47 h 292"/>
                  <a:gd name="T34" fmla="*/ 314 w 376"/>
                  <a:gd name="T35" fmla="*/ 67 h 292"/>
                  <a:gd name="T36" fmla="*/ 316 w 376"/>
                  <a:gd name="T37" fmla="*/ 84 h 292"/>
                  <a:gd name="T38" fmla="*/ 317 w 376"/>
                  <a:gd name="T39" fmla="*/ 95 h 292"/>
                  <a:gd name="T40" fmla="*/ 310 w 376"/>
                  <a:gd name="T41" fmla="*/ 109 h 292"/>
                  <a:gd name="T42" fmla="*/ 319 w 376"/>
                  <a:gd name="T43" fmla="*/ 121 h 292"/>
                  <a:gd name="T44" fmla="*/ 319 w 376"/>
                  <a:gd name="T45" fmla="*/ 153 h 292"/>
                  <a:gd name="T46" fmla="*/ 340 w 376"/>
                  <a:gd name="T47" fmla="*/ 174 h 292"/>
                  <a:gd name="T48" fmla="*/ 338 w 376"/>
                  <a:gd name="T49" fmla="*/ 217 h 292"/>
                  <a:gd name="T50" fmla="*/ 358 w 376"/>
                  <a:gd name="T51" fmla="*/ 228 h 292"/>
                  <a:gd name="T52" fmla="*/ 366 w 376"/>
                  <a:gd name="T53" fmla="*/ 245 h 292"/>
                  <a:gd name="T54" fmla="*/ 374 w 376"/>
                  <a:gd name="T55" fmla="*/ 261 h 292"/>
                  <a:gd name="T56" fmla="*/ 351 w 376"/>
                  <a:gd name="T57" fmla="*/ 269 h 292"/>
                  <a:gd name="T58" fmla="*/ 351 w 376"/>
                  <a:gd name="T59" fmla="*/ 289 h 292"/>
                  <a:gd name="T60" fmla="*/ 335 w 376"/>
                  <a:gd name="T61" fmla="*/ 288 h 292"/>
                  <a:gd name="T62" fmla="*/ 326 w 376"/>
                  <a:gd name="T63" fmla="*/ 286 h 292"/>
                  <a:gd name="T64" fmla="*/ 297 w 376"/>
                  <a:gd name="T65" fmla="*/ 284 h 292"/>
                  <a:gd name="T66" fmla="*/ 279 w 376"/>
                  <a:gd name="T67" fmla="*/ 281 h 292"/>
                  <a:gd name="T68" fmla="*/ 263 w 376"/>
                  <a:gd name="T69" fmla="*/ 266 h 292"/>
                  <a:gd name="T70" fmla="*/ 255 w 376"/>
                  <a:gd name="T71" fmla="*/ 252 h 292"/>
                  <a:gd name="T72" fmla="*/ 236 w 376"/>
                  <a:gd name="T73" fmla="*/ 255 h 292"/>
                  <a:gd name="T74" fmla="*/ 209 w 376"/>
                  <a:gd name="T75" fmla="*/ 260 h 292"/>
                  <a:gd name="T76" fmla="*/ 190 w 376"/>
                  <a:gd name="T77" fmla="*/ 254 h 292"/>
                  <a:gd name="T78" fmla="*/ 179 w 376"/>
                  <a:gd name="T79" fmla="*/ 243 h 292"/>
                  <a:gd name="T80" fmla="*/ 159 w 376"/>
                  <a:gd name="T81" fmla="*/ 240 h 292"/>
                  <a:gd name="T82" fmla="*/ 143 w 376"/>
                  <a:gd name="T83" fmla="*/ 220 h 292"/>
                  <a:gd name="T84" fmla="*/ 142 w 376"/>
                  <a:gd name="T85" fmla="*/ 218 h 292"/>
                  <a:gd name="T86" fmla="*/ 129 w 376"/>
                  <a:gd name="T87" fmla="*/ 195 h 292"/>
                  <a:gd name="T88" fmla="*/ 117 w 376"/>
                  <a:gd name="T89" fmla="*/ 196 h 292"/>
                  <a:gd name="T90" fmla="*/ 110 w 376"/>
                  <a:gd name="T91" fmla="*/ 191 h 292"/>
                  <a:gd name="T92" fmla="*/ 106 w 376"/>
                  <a:gd name="T93" fmla="*/ 197 h 292"/>
                  <a:gd name="T94" fmla="*/ 96 w 376"/>
                  <a:gd name="T95" fmla="*/ 192 h 292"/>
                  <a:gd name="T96" fmla="*/ 85 w 376"/>
                  <a:gd name="T97" fmla="*/ 168 h 292"/>
                  <a:gd name="T98" fmla="*/ 75 w 376"/>
                  <a:gd name="T99" fmla="*/ 148 h 292"/>
                  <a:gd name="T100" fmla="*/ 52 w 376"/>
                  <a:gd name="T101" fmla="*/ 138 h 292"/>
                  <a:gd name="T102" fmla="*/ 48 w 376"/>
                  <a:gd name="T103" fmla="*/ 125 h 292"/>
                  <a:gd name="T104" fmla="*/ 40 w 376"/>
                  <a:gd name="T105" fmla="*/ 117 h 292"/>
                  <a:gd name="T106" fmla="*/ 43 w 376"/>
                  <a:gd name="T107" fmla="*/ 100 h 292"/>
                  <a:gd name="T108" fmla="*/ 46 w 376"/>
                  <a:gd name="T109" fmla="*/ 87 h 292"/>
                  <a:gd name="T110" fmla="*/ 49 w 376"/>
                  <a:gd name="T111" fmla="*/ 83 h 292"/>
                  <a:gd name="T112" fmla="*/ 30 w 376"/>
                  <a:gd name="T113" fmla="*/ 76 h 292"/>
                  <a:gd name="T114" fmla="*/ 22 w 376"/>
                  <a:gd name="T115" fmla="*/ 62 h 292"/>
                  <a:gd name="T116" fmla="*/ 15 w 376"/>
                  <a:gd name="T117" fmla="*/ 50 h 292"/>
                  <a:gd name="T118" fmla="*/ 9 w 376"/>
                  <a:gd name="T119" fmla="*/ 29 h 292"/>
                  <a:gd name="T120" fmla="*/ 3 w 376"/>
                  <a:gd name="T121" fmla="*/ 12 h 292"/>
                  <a:gd name="T122" fmla="*/ 9 w 376"/>
                  <a:gd name="T123" fmla="*/ 0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376" h="292">
                    <a:moveTo>
                      <a:pt x="9" y="0"/>
                    </a:moveTo>
                    <a:lnTo>
                      <a:pt x="10" y="0"/>
                    </a:lnTo>
                    <a:lnTo>
                      <a:pt x="12" y="3"/>
                    </a:lnTo>
                    <a:lnTo>
                      <a:pt x="15" y="3"/>
                    </a:lnTo>
                    <a:lnTo>
                      <a:pt x="16" y="5"/>
                    </a:lnTo>
                    <a:lnTo>
                      <a:pt x="16" y="8"/>
                    </a:lnTo>
                    <a:lnTo>
                      <a:pt x="24" y="12"/>
                    </a:lnTo>
                    <a:lnTo>
                      <a:pt x="25" y="16"/>
                    </a:lnTo>
                    <a:lnTo>
                      <a:pt x="30" y="18"/>
                    </a:lnTo>
                    <a:lnTo>
                      <a:pt x="34" y="19"/>
                    </a:lnTo>
                    <a:lnTo>
                      <a:pt x="39" y="22"/>
                    </a:lnTo>
                    <a:lnTo>
                      <a:pt x="40" y="19"/>
                    </a:lnTo>
                    <a:lnTo>
                      <a:pt x="40" y="19"/>
                    </a:lnTo>
                    <a:lnTo>
                      <a:pt x="45" y="18"/>
                    </a:lnTo>
                    <a:lnTo>
                      <a:pt x="47" y="19"/>
                    </a:lnTo>
                    <a:lnTo>
                      <a:pt x="51" y="17"/>
                    </a:lnTo>
                    <a:lnTo>
                      <a:pt x="51" y="15"/>
                    </a:lnTo>
                    <a:lnTo>
                      <a:pt x="52" y="13"/>
                    </a:lnTo>
                    <a:lnTo>
                      <a:pt x="54" y="13"/>
                    </a:lnTo>
                    <a:lnTo>
                      <a:pt x="57" y="9"/>
                    </a:lnTo>
                    <a:lnTo>
                      <a:pt x="59" y="8"/>
                    </a:lnTo>
                    <a:lnTo>
                      <a:pt x="62" y="5"/>
                    </a:lnTo>
                    <a:lnTo>
                      <a:pt x="64" y="4"/>
                    </a:lnTo>
                    <a:lnTo>
                      <a:pt x="68" y="3"/>
                    </a:lnTo>
                    <a:lnTo>
                      <a:pt x="70" y="3"/>
                    </a:lnTo>
                    <a:lnTo>
                      <a:pt x="70" y="3"/>
                    </a:lnTo>
                    <a:lnTo>
                      <a:pt x="72" y="3"/>
                    </a:lnTo>
                    <a:lnTo>
                      <a:pt x="74" y="6"/>
                    </a:lnTo>
                    <a:lnTo>
                      <a:pt x="75" y="8"/>
                    </a:lnTo>
                    <a:lnTo>
                      <a:pt x="74" y="10"/>
                    </a:lnTo>
                    <a:lnTo>
                      <a:pt x="74" y="12"/>
                    </a:lnTo>
                    <a:lnTo>
                      <a:pt x="79" y="15"/>
                    </a:lnTo>
                    <a:lnTo>
                      <a:pt x="73" y="19"/>
                    </a:lnTo>
                    <a:lnTo>
                      <a:pt x="79" y="25"/>
                    </a:lnTo>
                    <a:lnTo>
                      <a:pt x="82" y="26"/>
                    </a:lnTo>
                    <a:lnTo>
                      <a:pt x="83" y="28"/>
                    </a:lnTo>
                    <a:lnTo>
                      <a:pt x="86" y="29"/>
                    </a:lnTo>
                    <a:lnTo>
                      <a:pt x="88" y="28"/>
                    </a:lnTo>
                    <a:lnTo>
                      <a:pt x="88" y="29"/>
                    </a:lnTo>
                    <a:lnTo>
                      <a:pt x="91" y="33"/>
                    </a:lnTo>
                    <a:lnTo>
                      <a:pt x="91" y="37"/>
                    </a:lnTo>
                    <a:lnTo>
                      <a:pt x="90" y="42"/>
                    </a:lnTo>
                    <a:lnTo>
                      <a:pt x="92" y="43"/>
                    </a:lnTo>
                    <a:lnTo>
                      <a:pt x="95" y="44"/>
                    </a:lnTo>
                    <a:lnTo>
                      <a:pt x="97" y="47"/>
                    </a:lnTo>
                    <a:lnTo>
                      <a:pt x="102" y="47"/>
                    </a:lnTo>
                    <a:lnTo>
                      <a:pt x="105" y="48"/>
                    </a:lnTo>
                    <a:lnTo>
                      <a:pt x="110" y="46"/>
                    </a:lnTo>
                    <a:lnTo>
                      <a:pt x="114" y="49"/>
                    </a:lnTo>
                    <a:lnTo>
                      <a:pt x="117" y="49"/>
                    </a:lnTo>
                    <a:lnTo>
                      <a:pt x="117" y="53"/>
                    </a:lnTo>
                    <a:lnTo>
                      <a:pt x="120" y="57"/>
                    </a:lnTo>
                    <a:lnTo>
                      <a:pt x="130" y="60"/>
                    </a:lnTo>
                    <a:lnTo>
                      <a:pt x="134" y="61"/>
                    </a:lnTo>
                    <a:lnTo>
                      <a:pt x="145" y="64"/>
                    </a:lnTo>
                    <a:lnTo>
                      <a:pt x="150" y="64"/>
                    </a:lnTo>
                    <a:lnTo>
                      <a:pt x="162" y="60"/>
                    </a:lnTo>
                    <a:lnTo>
                      <a:pt x="172" y="59"/>
                    </a:lnTo>
                    <a:lnTo>
                      <a:pt x="182" y="60"/>
                    </a:lnTo>
                    <a:lnTo>
                      <a:pt x="186" y="61"/>
                    </a:lnTo>
                    <a:lnTo>
                      <a:pt x="187" y="56"/>
                    </a:lnTo>
                    <a:lnTo>
                      <a:pt x="184" y="52"/>
                    </a:lnTo>
                    <a:lnTo>
                      <a:pt x="183" y="47"/>
                    </a:lnTo>
                    <a:lnTo>
                      <a:pt x="187" y="46"/>
                    </a:lnTo>
                    <a:lnTo>
                      <a:pt x="196" y="45"/>
                    </a:lnTo>
                    <a:lnTo>
                      <a:pt x="198" y="40"/>
                    </a:lnTo>
                    <a:lnTo>
                      <a:pt x="200" y="37"/>
                    </a:lnTo>
                    <a:lnTo>
                      <a:pt x="203" y="37"/>
                    </a:lnTo>
                    <a:lnTo>
                      <a:pt x="210" y="31"/>
                    </a:lnTo>
                    <a:lnTo>
                      <a:pt x="219" y="29"/>
                    </a:lnTo>
                    <a:lnTo>
                      <a:pt x="225" y="31"/>
                    </a:lnTo>
                    <a:lnTo>
                      <a:pt x="226" y="26"/>
                    </a:lnTo>
                    <a:lnTo>
                      <a:pt x="230" y="25"/>
                    </a:lnTo>
                    <a:lnTo>
                      <a:pt x="234" y="27"/>
                    </a:lnTo>
                    <a:lnTo>
                      <a:pt x="238" y="27"/>
                    </a:lnTo>
                    <a:lnTo>
                      <a:pt x="245" y="32"/>
                    </a:lnTo>
                    <a:lnTo>
                      <a:pt x="250" y="34"/>
                    </a:lnTo>
                    <a:lnTo>
                      <a:pt x="261" y="40"/>
                    </a:lnTo>
                    <a:lnTo>
                      <a:pt x="264" y="40"/>
                    </a:lnTo>
                    <a:lnTo>
                      <a:pt x="267" y="38"/>
                    </a:lnTo>
                    <a:lnTo>
                      <a:pt x="274" y="41"/>
                    </a:lnTo>
                    <a:lnTo>
                      <a:pt x="278" y="42"/>
                    </a:lnTo>
                    <a:lnTo>
                      <a:pt x="279" y="46"/>
                    </a:lnTo>
                    <a:lnTo>
                      <a:pt x="281" y="48"/>
                    </a:lnTo>
                    <a:lnTo>
                      <a:pt x="285" y="47"/>
                    </a:lnTo>
                    <a:lnTo>
                      <a:pt x="291" y="48"/>
                    </a:lnTo>
                    <a:lnTo>
                      <a:pt x="299" y="59"/>
                    </a:lnTo>
                    <a:lnTo>
                      <a:pt x="307" y="59"/>
                    </a:lnTo>
                    <a:lnTo>
                      <a:pt x="311" y="61"/>
                    </a:lnTo>
                    <a:lnTo>
                      <a:pt x="314" y="67"/>
                    </a:lnTo>
                    <a:lnTo>
                      <a:pt x="313" y="69"/>
                    </a:lnTo>
                    <a:lnTo>
                      <a:pt x="315" y="73"/>
                    </a:lnTo>
                    <a:lnTo>
                      <a:pt x="314" y="76"/>
                    </a:lnTo>
                    <a:lnTo>
                      <a:pt x="316" y="79"/>
                    </a:lnTo>
                    <a:lnTo>
                      <a:pt x="316" y="84"/>
                    </a:lnTo>
                    <a:lnTo>
                      <a:pt x="316" y="87"/>
                    </a:lnTo>
                    <a:lnTo>
                      <a:pt x="315" y="89"/>
                    </a:lnTo>
                    <a:lnTo>
                      <a:pt x="317" y="92"/>
                    </a:lnTo>
                    <a:lnTo>
                      <a:pt x="316" y="93"/>
                    </a:lnTo>
                    <a:lnTo>
                      <a:pt x="317" y="95"/>
                    </a:lnTo>
                    <a:lnTo>
                      <a:pt x="312" y="99"/>
                    </a:lnTo>
                    <a:lnTo>
                      <a:pt x="309" y="100"/>
                    </a:lnTo>
                    <a:lnTo>
                      <a:pt x="310" y="102"/>
                    </a:lnTo>
                    <a:lnTo>
                      <a:pt x="312" y="105"/>
                    </a:lnTo>
                    <a:lnTo>
                      <a:pt x="310" y="109"/>
                    </a:lnTo>
                    <a:lnTo>
                      <a:pt x="311" y="110"/>
                    </a:lnTo>
                    <a:lnTo>
                      <a:pt x="311" y="116"/>
                    </a:lnTo>
                    <a:lnTo>
                      <a:pt x="311" y="120"/>
                    </a:lnTo>
                    <a:lnTo>
                      <a:pt x="318" y="121"/>
                    </a:lnTo>
                    <a:lnTo>
                      <a:pt x="319" y="121"/>
                    </a:lnTo>
                    <a:lnTo>
                      <a:pt x="313" y="128"/>
                    </a:lnTo>
                    <a:lnTo>
                      <a:pt x="312" y="132"/>
                    </a:lnTo>
                    <a:lnTo>
                      <a:pt x="317" y="142"/>
                    </a:lnTo>
                    <a:lnTo>
                      <a:pt x="320" y="150"/>
                    </a:lnTo>
                    <a:lnTo>
                      <a:pt x="319" y="153"/>
                    </a:lnTo>
                    <a:lnTo>
                      <a:pt x="321" y="155"/>
                    </a:lnTo>
                    <a:lnTo>
                      <a:pt x="321" y="162"/>
                    </a:lnTo>
                    <a:lnTo>
                      <a:pt x="337" y="162"/>
                    </a:lnTo>
                    <a:lnTo>
                      <a:pt x="340" y="169"/>
                    </a:lnTo>
                    <a:lnTo>
                      <a:pt x="340" y="174"/>
                    </a:lnTo>
                    <a:lnTo>
                      <a:pt x="342" y="180"/>
                    </a:lnTo>
                    <a:lnTo>
                      <a:pt x="340" y="182"/>
                    </a:lnTo>
                    <a:lnTo>
                      <a:pt x="327" y="200"/>
                    </a:lnTo>
                    <a:lnTo>
                      <a:pt x="336" y="213"/>
                    </a:lnTo>
                    <a:lnTo>
                      <a:pt x="338" y="217"/>
                    </a:lnTo>
                    <a:lnTo>
                      <a:pt x="343" y="221"/>
                    </a:lnTo>
                    <a:lnTo>
                      <a:pt x="348" y="224"/>
                    </a:lnTo>
                    <a:lnTo>
                      <a:pt x="349" y="226"/>
                    </a:lnTo>
                    <a:lnTo>
                      <a:pt x="355" y="226"/>
                    </a:lnTo>
                    <a:lnTo>
                      <a:pt x="358" y="228"/>
                    </a:lnTo>
                    <a:lnTo>
                      <a:pt x="359" y="230"/>
                    </a:lnTo>
                    <a:lnTo>
                      <a:pt x="364" y="230"/>
                    </a:lnTo>
                    <a:lnTo>
                      <a:pt x="364" y="237"/>
                    </a:lnTo>
                    <a:lnTo>
                      <a:pt x="366" y="241"/>
                    </a:lnTo>
                    <a:lnTo>
                      <a:pt x="366" y="245"/>
                    </a:lnTo>
                    <a:lnTo>
                      <a:pt x="367" y="248"/>
                    </a:lnTo>
                    <a:lnTo>
                      <a:pt x="372" y="248"/>
                    </a:lnTo>
                    <a:lnTo>
                      <a:pt x="376" y="251"/>
                    </a:lnTo>
                    <a:lnTo>
                      <a:pt x="376" y="258"/>
                    </a:lnTo>
                    <a:lnTo>
                      <a:pt x="374" y="261"/>
                    </a:lnTo>
                    <a:lnTo>
                      <a:pt x="369" y="259"/>
                    </a:lnTo>
                    <a:lnTo>
                      <a:pt x="360" y="262"/>
                    </a:lnTo>
                    <a:lnTo>
                      <a:pt x="358" y="263"/>
                    </a:lnTo>
                    <a:lnTo>
                      <a:pt x="353" y="265"/>
                    </a:lnTo>
                    <a:lnTo>
                      <a:pt x="351" y="269"/>
                    </a:lnTo>
                    <a:lnTo>
                      <a:pt x="352" y="272"/>
                    </a:lnTo>
                    <a:lnTo>
                      <a:pt x="350" y="276"/>
                    </a:lnTo>
                    <a:lnTo>
                      <a:pt x="351" y="280"/>
                    </a:lnTo>
                    <a:lnTo>
                      <a:pt x="351" y="286"/>
                    </a:lnTo>
                    <a:lnTo>
                      <a:pt x="351" y="289"/>
                    </a:lnTo>
                    <a:lnTo>
                      <a:pt x="350" y="289"/>
                    </a:lnTo>
                    <a:lnTo>
                      <a:pt x="349" y="290"/>
                    </a:lnTo>
                    <a:lnTo>
                      <a:pt x="346" y="292"/>
                    </a:lnTo>
                    <a:lnTo>
                      <a:pt x="339" y="290"/>
                    </a:lnTo>
                    <a:lnTo>
                      <a:pt x="335" y="288"/>
                    </a:lnTo>
                    <a:lnTo>
                      <a:pt x="333" y="285"/>
                    </a:lnTo>
                    <a:lnTo>
                      <a:pt x="331" y="285"/>
                    </a:lnTo>
                    <a:lnTo>
                      <a:pt x="330" y="288"/>
                    </a:lnTo>
                    <a:lnTo>
                      <a:pt x="329" y="288"/>
                    </a:lnTo>
                    <a:lnTo>
                      <a:pt x="326" y="286"/>
                    </a:lnTo>
                    <a:lnTo>
                      <a:pt x="325" y="287"/>
                    </a:lnTo>
                    <a:lnTo>
                      <a:pt x="321" y="286"/>
                    </a:lnTo>
                    <a:lnTo>
                      <a:pt x="313" y="285"/>
                    </a:lnTo>
                    <a:lnTo>
                      <a:pt x="308" y="284"/>
                    </a:lnTo>
                    <a:lnTo>
                      <a:pt x="297" y="284"/>
                    </a:lnTo>
                    <a:lnTo>
                      <a:pt x="292" y="280"/>
                    </a:lnTo>
                    <a:lnTo>
                      <a:pt x="291" y="280"/>
                    </a:lnTo>
                    <a:lnTo>
                      <a:pt x="287" y="283"/>
                    </a:lnTo>
                    <a:lnTo>
                      <a:pt x="283" y="281"/>
                    </a:lnTo>
                    <a:lnTo>
                      <a:pt x="279" y="281"/>
                    </a:lnTo>
                    <a:lnTo>
                      <a:pt x="269" y="281"/>
                    </a:lnTo>
                    <a:lnTo>
                      <a:pt x="268" y="279"/>
                    </a:lnTo>
                    <a:lnTo>
                      <a:pt x="267" y="278"/>
                    </a:lnTo>
                    <a:lnTo>
                      <a:pt x="267" y="273"/>
                    </a:lnTo>
                    <a:lnTo>
                      <a:pt x="263" y="266"/>
                    </a:lnTo>
                    <a:lnTo>
                      <a:pt x="261" y="260"/>
                    </a:lnTo>
                    <a:lnTo>
                      <a:pt x="258" y="255"/>
                    </a:lnTo>
                    <a:lnTo>
                      <a:pt x="257" y="253"/>
                    </a:lnTo>
                    <a:lnTo>
                      <a:pt x="255" y="253"/>
                    </a:lnTo>
                    <a:lnTo>
                      <a:pt x="255" y="252"/>
                    </a:lnTo>
                    <a:lnTo>
                      <a:pt x="249" y="251"/>
                    </a:lnTo>
                    <a:lnTo>
                      <a:pt x="246" y="252"/>
                    </a:lnTo>
                    <a:lnTo>
                      <a:pt x="241" y="256"/>
                    </a:lnTo>
                    <a:lnTo>
                      <a:pt x="237" y="256"/>
                    </a:lnTo>
                    <a:lnTo>
                      <a:pt x="236" y="255"/>
                    </a:lnTo>
                    <a:lnTo>
                      <a:pt x="236" y="257"/>
                    </a:lnTo>
                    <a:lnTo>
                      <a:pt x="228" y="261"/>
                    </a:lnTo>
                    <a:lnTo>
                      <a:pt x="223" y="266"/>
                    </a:lnTo>
                    <a:lnTo>
                      <a:pt x="215" y="262"/>
                    </a:lnTo>
                    <a:lnTo>
                      <a:pt x="209" y="260"/>
                    </a:lnTo>
                    <a:lnTo>
                      <a:pt x="204" y="261"/>
                    </a:lnTo>
                    <a:lnTo>
                      <a:pt x="203" y="262"/>
                    </a:lnTo>
                    <a:lnTo>
                      <a:pt x="196" y="256"/>
                    </a:lnTo>
                    <a:lnTo>
                      <a:pt x="193" y="256"/>
                    </a:lnTo>
                    <a:lnTo>
                      <a:pt x="190" y="254"/>
                    </a:lnTo>
                    <a:lnTo>
                      <a:pt x="186" y="253"/>
                    </a:lnTo>
                    <a:lnTo>
                      <a:pt x="181" y="247"/>
                    </a:lnTo>
                    <a:lnTo>
                      <a:pt x="182" y="245"/>
                    </a:lnTo>
                    <a:lnTo>
                      <a:pt x="182" y="243"/>
                    </a:lnTo>
                    <a:lnTo>
                      <a:pt x="179" y="243"/>
                    </a:lnTo>
                    <a:lnTo>
                      <a:pt x="178" y="242"/>
                    </a:lnTo>
                    <a:lnTo>
                      <a:pt x="172" y="242"/>
                    </a:lnTo>
                    <a:lnTo>
                      <a:pt x="170" y="241"/>
                    </a:lnTo>
                    <a:lnTo>
                      <a:pt x="165" y="239"/>
                    </a:lnTo>
                    <a:lnTo>
                      <a:pt x="159" y="240"/>
                    </a:lnTo>
                    <a:lnTo>
                      <a:pt x="155" y="237"/>
                    </a:lnTo>
                    <a:lnTo>
                      <a:pt x="149" y="225"/>
                    </a:lnTo>
                    <a:lnTo>
                      <a:pt x="149" y="222"/>
                    </a:lnTo>
                    <a:lnTo>
                      <a:pt x="147" y="223"/>
                    </a:lnTo>
                    <a:lnTo>
                      <a:pt x="143" y="220"/>
                    </a:lnTo>
                    <a:lnTo>
                      <a:pt x="144" y="219"/>
                    </a:lnTo>
                    <a:lnTo>
                      <a:pt x="146" y="220"/>
                    </a:lnTo>
                    <a:lnTo>
                      <a:pt x="147" y="220"/>
                    </a:lnTo>
                    <a:lnTo>
                      <a:pt x="145" y="217"/>
                    </a:lnTo>
                    <a:lnTo>
                      <a:pt x="142" y="218"/>
                    </a:lnTo>
                    <a:lnTo>
                      <a:pt x="140" y="216"/>
                    </a:lnTo>
                    <a:lnTo>
                      <a:pt x="140" y="211"/>
                    </a:lnTo>
                    <a:lnTo>
                      <a:pt x="134" y="203"/>
                    </a:lnTo>
                    <a:lnTo>
                      <a:pt x="133" y="199"/>
                    </a:lnTo>
                    <a:lnTo>
                      <a:pt x="129" y="195"/>
                    </a:lnTo>
                    <a:lnTo>
                      <a:pt x="127" y="194"/>
                    </a:lnTo>
                    <a:lnTo>
                      <a:pt x="121" y="198"/>
                    </a:lnTo>
                    <a:lnTo>
                      <a:pt x="119" y="198"/>
                    </a:lnTo>
                    <a:lnTo>
                      <a:pt x="117" y="195"/>
                    </a:lnTo>
                    <a:lnTo>
                      <a:pt x="117" y="196"/>
                    </a:lnTo>
                    <a:lnTo>
                      <a:pt x="112" y="194"/>
                    </a:lnTo>
                    <a:lnTo>
                      <a:pt x="113" y="192"/>
                    </a:lnTo>
                    <a:lnTo>
                      <a:pt x="113" y="190"/>
                    </a:lnTo>
                    <a:lnTo>
                      <a:pt x="112" y="191"/>
                    </a:lnTo>
                    <a:lnTo>
                      <a:pt x="110" y="191"/>
                    </a:lnTo>
                    <a:lnTo>
                      <a:pt x="107" y="191"/>
                    </a:lnTo>
                    <a:lnTo>
                      <a:pt x="110" y="193"/>
                    </a:lnTo>
                    <a:lnTo>
                      <a:pt x="110" y="196"/>
                    </a:lnTo>
                    <a:lnTo>
                      <a:pt x="108" y="197"/>
                    </a:lnTo>
                    <a:lnTo>
                      <a:pt x="106" y="197"/>
                    </a:lnTo>
                    <a:lnTo>
                      <a:pt x="103" y="195"/>
                    </a:lnTo>
                    <a:lnTo>
                      <a:pt x="103" y="194"/>
                    </a:lnTo>
                    <a:lnTo>
                      <a:pt x="101" y="194"/>
                    </a:lnTo>
                    <a:lnTo>
                      <a:pt x="100" y="193"/>
                    </a:lnTo>
                    <a:lnTo>
                      <a:pt x="96" y="192"/>
                    </a:lnTo>
                    <a:lnTo>
                      <a:pt x="93" y="189"/>
                    </a:lnTo>
                    <a:lnTo>
                      <a:pt x="92" y="178"/>
                    </a:lnTo>
                    <a:lnTo>
                      <a:pt x="86" y="178"/>
                    </a:lnTo>
                    <a:lnTo>
                      <a:pt x="84" y="174"/>
                    </a:lnTo>
                    <a:lnTo>
                      <a:pt x="85" y="168"/>
                    </a:lnTo>
                    <a:lnTo>
                      <a:pt x="89" y="165"/>
                    </a:lnTo>
                    <a:lnTo>
                      <a:pt x="85" y="157"/>
                    </a:lnTo>
                    <a:lnTo>
                      <a:pt x="81" y="155"/>
                    </a:lnTo>
                    <a:lnTo>
                      <a:pt x="78" y="149"/>
                    </a:lnTo>
                    <a:lnTo>
                      <a:pt x="75" y="148"/>
                    </a:lnTo>
                    <a:lnTo>
                      <a:pt x="74" y="148"/>
                    </a:lnTo>
                    <a:lnTo>
                      <a:pt x="60" y="139"/>
                    </a:lnTo>
                    <a:lnTo>
                      <a:pt x="57" y="140"/>
                    </a:lnTo>
                    <a:lnTo>
                      <a:pt x="55" y="141"/>
                    </a:lnTo>
                    <a:lnTo>
                      <a:pt x="52" y="138"/>
                    </a:lnTo>
                    <a:lnTo>
                      <a:pt x="52" y="136"/>
                    </a:lnTo>
                    <a:lnTo>
                      <a:pt x="51" y="134"/>
                    </a:lnTo>
                    <a:lnTo>
                      <a:pt x="52" y="132"/>
                    </a:lnTo>
                    <a:lnTo>
                      <a:pt x="49" y="128"/>
                    </a:lnTo>
                    <a:lnTo>
                      <a:pt x="48" y="125"/>
                    </a:lnTo>
                    <a:lnTo>
                      <a:pt x="44" y="125"/>
                    </a:lnTo>
                    <a:lnTo>
                      <a:pt x="42" y="122"/>
                    </a:lnTo>
                    <a:lnTo>
                      <a:pt x="39" y="122"/>
                    </a:lnTo>
                    <a:lnTo>
                      <a:pt x="39" y="119"/>
                    </a:lnTo>
                    <a:lnTo>
                      <a:pt x="40" y="117"/>
                    </a:lnTo>
                    <a:lnTo>
                      <a:pt x="39" y="115"/>
                    </a:lnTo>
                    <a:lnTo>
                      <a:pt x="40" y="113"/>
                    </a:lnTo>
                    <a:lnTo>
                      <a:pt x="40" y="107"/>
                    </a:lnTo>
                    <a:lnTo>
                      <a:pt x="43" y="105"/>
                    </a:lnTo>
                    <a:lnTo>
                      <a:pt x="43" y="100"/>
                    </a:lnTo>
                    <a:lnTo>
                      <a:pt x="46" y="100"/>
                    </a:lnTo>
                    <a:lnTo>
                      <a:pt x="48" y="99"/>
                    </a:lnTo>
                    <a:lnTo>
                      <a:pt x="48" y="92"/>
                    </a:lnTo>
                    <a:lnTo>
                      <a:pt x="47" y="91"/>
                    </a:lnTo>
                    <a:lnTo>
                      <a:pt x="46" y="87"/>
                    </a:lnTo>
                    <a:lnTo>
                      <a:pt x="48" y="87"/>
                    </a:lnTo>
                    <a:lnTo>
                      <a:pt x="52" y="86"/>
                    </a:lnTo>
                    <a:lnTo>
                      <a:pt x="52" y="85"/>
                    </a:lnTo>
                    <a:lnTo>
                      <a:pt x="52" y="84"/>
                    </a:lnTo>
                    <a:lnTo>
                      <a:pt x="49" y="83"/>
                    </a:lnTo>
                    <a:lnTo>
                      <a:pt x="45" y="83"/>
                    </a:lnTo>
                    <a:lnTo>
                      <a:pt x="42" y="82"/>
                    </a:lnTo>
                    <a:lnTo>
                      <a:pt x="36" y="79"/>
                    </a:lnTo>
                    <a:lnTo>
                      <a:pt x="33" y="78"/>
                    </a:lnTo>
                    <a:lnTo>
                      <a:pt x="30" y="76"/>
                    </a:lnTo>
                    <a:lnTo>
                      <a:pt x="28" y="72"/>
                    </a:lnTo>
                    <a:lnTo>
                      <a:pt x="27" y="69"/>
                    </a:lnTo>
                    <a:lnTo>
                      <a:pt x="24" y="68"/>
                    </a:lnTo>
                    <a:lnTo>
                      <a:pt x="22" y="66"/>
                    </a:lnTo>
                    <a:lnTo>
                      <a:pt x="22" y="62"/>
                    </a:lnTo>
                    <a:lnTo>
                      <a:pt x="20" y="58"/>
                    </a:lnTo>
                    <a:lnTo>
                      <a:pt x="17" y="57"/>
                    </a:lnTo>
                    <a:lnTo>
                      <a:pt x="16" y="58"/>
                    </a:lnTo>
                    <a:lnTo>
                      <a:pt x="17" y="54"/>
                    </a:lnTo>
                    <a:lnTo>
                      <a:pt x="15" y="50"/>
                    </a:lnTo>
                    <a:lnTo>
                      <a:pt x="11" y="44"/>
                    </a:lnTo>
                    <a:lnTo>
                      <a:pt x="7" y="42"/>
                    </a:lnTo>
                    <a:lnTo>
                      <a:pt x="7" y="40"/>
                    </a:lnTo>
                    <a:lnTo>
                      <a:pt x="7" y="35"/>
                    </a:lnTo>
                    <a:lnTo>
                      <a:pt x="9" y="29"/>
                    </a:lnTo>
                    <a:lnTo>
                      <a:pt x="8" y="27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4" y="19"/>
                    </a:lnTo>
                    <a:lnTo>
                      <a:pt x="3" y="12"/>
                    </a:lnTo>
                    <a:lnTo>
                      <a:pt x="1" y="8"/>
                    </a:lnTo>
                    <a:lnTo>
                      <a:pt x="0" y="6"/>
                    </a:lnTo>
                    <a:lnTo>
                      <a:pt x="6" y="6"/>
                    </a:lnTo>
                    <a:lnTo>
                      <a:pt x="8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9" y="0"/>
                    </a:lnTo>
                    <a:close/>
                  </a:path>
                </a:pathLst>
              </a:custGeom>
              <a:solidFill>
                <a:schemeClr val="accent2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029" name="Freeform 31"/>
              <p:cNvSpPr>
                <a:spLocks/>
              </p:cNvSpPr>
              <p:nvPr userDrawn="1"/>
            </p:nvSpPr>
            <p:spPr bwMode="auto">
              <a:xfrm>
                <a:off x="4216" y="2138"/>
                <a:ext cx="66" cy="55"/>
              </a:xfrm>
              <a:custGeom>
                <a:avLst/>
                <a:gdLst>
                  <a:gd name="T0" fmla="*/ 0 w 66"/>
                  <a:gd name="T1" fmla="*/ 4 h 55"/>
                  <a:gd name="T2" fmla="*/ 5 w 66"/>
                  <a:gd name="T3" fmla="*/ 2 h 55"/>
                  <a:gd name="T4" fmla="*/ 14 w 66"/>
                  <a:gd name="T5" fmla="*/ 0 h 55"/>
                  <a:gd name="T6" fmla="*/ 16 w 66"/>
                  <a:gd name="T7" fmla="*/ 1 h 55"/>
                  <a:gd name="T8" fmla="*/ 27 w 66"/>
                  <a:gd name="T9" fmla="*/ 0 h 55"/>
                  <a:gd name="T10" fmla="*/ 31 w 66"/>
                  <a:gd name="T11" fmla="*/ 5 h 55"/>
                  <a:gd name="T12" fmla="*/ 38 w 66"/>
                  <a:gd name="T13" fmla="*/ 6 h 55"/>
                  <a:gd name="T14" fmla="*/ 42 w 66"/>
                  <a:gd name="T15" fmla="*/ 9 h 55"/>
                  <a:gd name="T16" fmla="*/ 40 w 66"/>
                  <a:gd name="T17" fmla="*/ 14 h 55"/>
                  <a:gd name="T18" fmla="*/ 40 w 66"/>
                  <a:gd name="T19" fmla="*/ 17 h 55"/>
                  <a:gd name="T20" fmla="*/ 48 w 66"/>
                  <a:gd name="T21" fmla="*/ 22 h 55"/>
                  <a:gd name="T22" fmla="*/ 48 w 66"/>
                  <a:gd name="T23" fmla="*/ 26 h 55"/>
                  <a:gd name="T24" fmla="*/ 46 w 66"/>
                  <a:gd name="T25" fmla="*/ 29 h 55"/>
                  <a:gd name="T26" fmla="*/ 48 w 66"/>
                  <a:gd name="T27" fmla="*/ 34 h 55"/>
                  <a:gd name="T28" fmla="*/ 56 w 66"/>
                  <a:gd name="T29" fmla="*/ 39 h 55"/>
                  <a:gd name="T30" fmla="*/ 62 w 66"/>
                  <a:gd name="T31" fmla="*/ 39 h 55"/>
                  <a:gd name="T32" fmla="*/ 66 w 66"/>
                  <a:gd name="T33" fmla="*/ 42 h 55"/>
                  <a:gd name="T34" fmla="*/ 61 w 66"/>
                  <a:gd name="T35" fmla="*/ 43 h 55"/>
                  <a:gd name="T36" fmla="*/ 64 w 66"/>
                  <a:gd name="T37" fmla="*/ 48 h 55"/>
                  <a:gd name="T38" fmla="*/ 63 w 66"/>
                  <a:gd name="T39" fmla="*/ 50 h 55"/>
                  <a:gd name="T40" fmla="*/ 63 w 66"/>
                  <a:gd name="T41" fmla="*/ 54 h 55"/>
                  <a:gd name="T42" fmla="*/ 58 w 66"/>
                  <a:gd name="T43" fmla="*/ 55 h 55"/>
                  <a:gd name="T44" fmla="*/ 50 w 66"/>
                  <a:gd name="T45" fmla="*/ 42 h 55"/>
                  <a:gd name="T46" fmla="*/ 46 w 66"/>
                  <a:gd name="T47" fmla="*/ 41 h 55"/>
                  <a:gd name="T48" fmla="*/ 43 w 66"/>
                  <a:gd name="T49" fmla="*/ 36 h 55"/>
                  <a:gd name="T50" fmla="*/ 40 w 66"/>
                  <a:gd name="T51" fmla="*/ 36 h 55"/>
                  <a:gd name="T52" fmla="*/ 37 w 66"/>
                  <a:gd name="T53" fmla="*/ 38 h 55"/>
                  <a:gd name="T54" fmla="*/ 32 w 66"/>
                  <a:gd name="T55" fmla="*/ 33 h 55"/>
                  <a:gd name="T56" fmla="*/ 29 w 66"/>
                  <a:gd name="T57" fmla="*/ 35 h 55"/>
                  <a:gd name="T58" fmla="*/ 27 w 66"/>
                  <a:gd name="T59" fmla="*/ 35 h 55"/>
                  <a:gd name="T60" fmla="*/ 26 w 66"/>
                  <a:gd name="T61" fmla="*/ 33 h 55"/>
                  <a:gd name="T62" fmla="*/ 22 w 66"/>
                  <a:gd name="T63" fmla="*/ 29 h 55"/>
                  <a:gd name="T64" fmla="*/ 19 w 66"/>
                  <a:gd name="T65" fmla="*/ 30 h 55"/>
                  <a:gd name="T66" fmla="*/ 13 w 66"/>
                  <a:gd name="T67" fmla="*/ 29 h 55"/>
                  <a:gd name="T68" fmla="*/ 7 w 66"/>
                  <a:gd name="T69" fmla="*/ 26 h 55"/>
                  <a:gd name="T70" fmla="*/ 7 w 66"/>
                  <a:gd name="T71" fmla="*/ 19 h 55"/>
                  <a:gd name="T72" fmla="*/ 8 w 66"/>
                  <a:gd name="T73" fmla="*/ 14 h 55"/>
                  <a:gd name="T74" fmla="*/ 6 w 66"/>
                  <a:gd name="T75" fmla="*/ 10 h 55"/>
                  <a:gd name="T76" fmla="*/ 3 w 66"/>
                  <a:gd name="T77" fmla="*/ 9 h 55"/>
                  <a:gd name="T78" fmla="*/ 3 w 66"/>
                  <a:gd name="T79" fmla="*/ 7 h 55"/>
                  <a:gd name="T80" fmla="*/ 0 w 66"/>
                  <a:gd name="T81" fmla="*/ 4 h 55"/>
                  <a:gd name="T82" fmla="*/ 0 w 66"/>
                  <a:gd name="T83" fmla="*/ 4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66" h="55">
                    <a:moveTo>
                      <a:pt x="0" y="4"/>
                    </a:moveTo>
                    <a:lnTo>
                      <a:pt x="5" y="2"/>
                    </a:lnTo>
                    <a:lnTo>
                      <a:pt x="14" y="0"/>
                    </a:lnTo>
                    <a:lnTo>
                      <a:pt x="16" y="1"/>
                    </a:lnTo>
                    <a:lnTo>
                      <a:pt x="27" y="0"/>
                    </a:lnTo>
                    <a:lnTo>
                      <a:pt x="31" y="5"/>
                    </a:lnTo>
                    <a:lnTo>
                      <a:pt x="38" y="6"/>
                    </a:lnTo>
                    <a:lnTo>
                      <a:pt x="42" y="9"/>
                    </a:lnTo>
                    <a:lnTo>
                      <a:pt x="40" y="14"/>
                    </a:lnTo>
                    <a:lnTo>
                      <a:pt x="40" y="17"/>
                    </a:lnTo>
                    <a:lnTo>
                      <a:pt x="48" y="22"/>
                    </a:lnTo>
                    <a:lnTo>
                      <a:pt x="48" y="26"/>
                    </a:lnTo>
                    <a:lnTo>
                      <a:pt x="46" y="29"/>
                    </a:lnTo>
                    <a:lnTo>
                      <a:pt x="48" y="34"/>
                    </a:lnTo>
                    <a:lnTo>
                      <a:pt x="56" y="39"/>
                    </a:lnTo>
                    <a:lnTo>
                      <a:pt x="62" y="39"/>
                    </a:lnTo>
                    <a:lnTo>
                      <a:pt x="66" y="42"/>
                    </a:lnTo>
                    <a:lnTo>
                      <a:pt x="61" y="43"/>
                    </a:lnTo>
                    <a:lnTo>
                      <a:pt x="64" y="48"/>
                    </a:lnTo>
                    <a:lnTo>
                      <a:pt x="63" y="50"/>
                    </a:lnTo>
                    <a:lnTo>
                      <a:pt x="63" y="54"/>
                    </a:lnTo>
                    <a:lnTo>
                      <a:pt x="58" y="55"/>
                    </a:lnTo>
                    <a:lnTo>
                      <a:pt x="50" y="42"/>
                    </a:lnTo>
                    <a:lnTo>
                      <a:pt x="46" y="41"/>
                    </a:lnTo>
                    <a:lnTo>
                      <a:pt x="43" y="36"/>
                    </a:lnTo>
                    <a:lnTo>
                      <a:pt x="40" y="36"/>
                    </a:lnTo>
                    <a:lnTo>
                      <a:pt x="37" y="38"/>
                    </a:lnTo>
                    <a:lnTo>
                      <a:pt x="32" y="33"/>
                    </a:lnTo>
                    <a:lnTo>
                      <a:pt x="29" y="35"/>
                    </a:lnTo>
                    <a:lnTo>
                      <a:pt x="27" y="35"/>
                    </a:lnTo>
                    <a:lnTo>
                      <a:pt x="26" y="33"/>
                    </a:lnTo>
                    <a:lnTo>
                      <a:pt x="22" y="29"/>
                    </a:lnTo>
                    <a:lnTo>
                      <a:pt x="19" y="30"/>
                    </a:lnTo>
                    <a:lnTo>
                      <a:pt x="13" y="29"/>
                    </a:lnTo>
                    <a:lnTo>
                      <a:pt x="7" y="26"/>
                    </a:lnTo>
                    <a:lnTo>
                      <a:pt x="7" y="19"/>
                    </a:lnTo>
                    <a:lnTo>
                      <a:pt x="8" y="14"/>
                    </a:lnTo>
                    <a:lnTo>
                      <a:pt x="6" y="10"/>
                    </a:lnTo>
                    <a:lnTo>
                      <a:pt x="3" y="9"/>
                    </a:lnTo>
                    <a:lnTo>
                      <a:pt x="3" y="7"/>
                    </a:lnTo>
                    <a:lnTo>
                      <a:pt x="0" y="4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030" name="Freeform 32"/>
              <p:cNvSpPr>
                <a:spLocks/>
              </p:cNvSpPr>
              <p:nvPr userDrawn="1"/>
            </p:nvSpPr>
            <p:spPr bwMode="auto">
              <a:xfrm>
                <a:off x="4303" y="2371"/>
                <a:ext cx="31" cy="31"/>
              </a:xfrm>
              <a:custGeom>
                <a:avLst/>
                <a:gdLst>
                  <a:gd name="T0" fmla="*/ 0 w 31"/>
                  <a:gd name="T1" fmla="*/ 20 h 31"/>
                  <a:gd name="T2" fmla="*/ 4 w 31"/>
                  <a:gd name="T3" fmla="*/ 12 h 31"/>
                  <a:gd name="T4" fmla="*/ 8 w 31"/>
                  <a:gd name="T5" fmla="*/ 3 h 31"/>
                  <a:gd name="T6" fmla="*/ 16 w 31"/>
                  <a:gd name="T7" fmla="*/ 0 h 31"/>
                  <a:gd name="T8" fmla="*/ 23 w 31"/>
                  <a:gd name="T9" fmla="*/ 2 h 31"/>
                  <a:gd name="T10" fmla="*/ 26 w 31"/>
                  <a:gd name="T11" fmla="*/ 1 h 31"/>
                  <a:gd name="T12" fmla="*/ 28 w 31"/>
                  <a:gd name="T13" fmla="*/ 1 h 31"/>
                  <a:gd name="T14" fmla="*/ 28 w 31"/>
                  <a:gd name="T15" fmla="*/ 2 h 31"/>
                  <a:gd name="T16" fmla="*/ 30 w 31"/>
                  <a:gd name="T17" fmla="*/ 11 h 31"/>
                  <a:gd name="T18" fmla="*/ 20 w 31"/>
                  <a:gd name="T19" fmla="*/ 13 h 31"/>
                  <a:gd name="T20" fmla="*/ 26 w 31"/>
                  <a:gd name="T21" fmla="*/ 18 h 31"/>
                  <a:gd name="T22" fmla="*/ 27 w 31"/>
                  <a:gd name="T23" fmla="*/ 16 h 31"/>
                  <a:gd name="T24" fmla="*/ 28 w 31"/>
                  <a:gd name="T25" fmla="*/ 19 h 31"/>
                  <a:gd name="T26" fmla="*/ 28 w 31"/>
                  <a:gd name="T27" fmla="*/ 22 h 31"/>
                  <a:gd name="T28" fmla="*/ 31 w 31"/>
                  <a:gd name="T29" fmla="*/ 23 h 31"/>
                  <a:gd name="T30" fmla="*/ 30 w 31"/>
                  <a:gd name="T31" fmla="*/ 23 h 31"/>
                  <a:gd name="T32" fmla="*/ 29 w 31"/>
                  <a:gd name="T33" fmla="*/ 24 h 31"/>
                  <a:gd name="T34" fmla="*/ 31 w 31"/>
                  <a:gd name="T35" fmla="*/ 26 h 31"/>
                  <a:gd name="T36" fmla="*/ 20 w 31"/>
                  <a:gd name="T37" fmla="*/ 31 h 31"/>
                  <a:gd name="T38" fmla="*/ 19 w 31"/>
                  <a:gd name="T39" fmla="*/ 25 h 31"/>
                  <a:gd name="T40" fmla="*/ 3 w 31"/>
                  <a:gd name="T41" fmla="*/ 20 h 31"/>
                  <a:gd name="T42" fmla="*/ 0 w 31"/>
                  <a:gd name="T43" fmla="*/ 20 h 31"/>
                  <a:gd name="T44" fmla="*/ 0 w 31"/>
                  <a:gd name="T45" fmla="*/ 2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31" h="31">
                    <a:moveTo>
                      <a:pt x="0" y="20"/>
                    </a:moveTo>
                    <a:lnTo>
                      <a:pt x="4" y="12"/>
                    </a:lnTo>
                    <a:lnTo>
                      <a:pt x="8" y="3"/>
                    </a:lnTo>
                    <a:lnTo>
                      <a:pt x="16" y="0"/>
                    </a:lnTo>
                    <a:lnTo>
                      <a:pt x="23" y="2"/>
                    </a:lnTo>
                    <a:lnTo>
                      <a:pt x="26" y="1"/>
                    </a:lnTo>
                    <a:lnTo>
                      <a:pt x="28" y="1"/>
                    </a:lnTo>
                    <a:lnTo>
                      <a:pt x="28" y="2"/>
                    </a:lnTo>
                    <a:lnTo>
                      <a:pt x="30" y="11"/>
                    </a:lnTo>
                    <a:lnTo>
                      <a:pt x="20" y="13"/>
                    </a:lnTo>
                    <a:lnTo>
                      <a:pt x="26" y="18"/>
                    </a:lnTo>
                    <a:lnTo>
                      <a:pt x="27" y="16"/>
                    </a:lnTo>
                    <a:lnTo>
                      <a:pt x="28" y="19"/>
                    </a:lnTo>
                    <a:lnTo>
                      <a:pt x="28" y="22"/>
                    </a:lnTo>
                    <a:lnTo>
                      <a:pt x="31" y="23"/>
                    </a:lnTo>
                    <a:lnTo>
                      <a:pt x="30" y="23"/>
                    </a:lnTo>
                    <a:lnTo>
                      <a:pt x="29" y="24"/>
                    </a:lnTo>
                    <a:lnTo>
                      <a:pt x="31" y="26"/>
                    </a:lnTo>
                    <a:lnTo>
                      <a:pt x="20" y="31"/>
                    </a:lnTo>
                    <a:lnTo>
                      <a:pt x="19" y="25"/>
                    </a:lnTo>
                    <a:lnTo>
                      <a:pt x="3" y="20"/>
                    </a:lnTo>
                    <a:lnTo>
                      <a:pt x="0" y="20"/>
                    </a:lnTo>
                    <a:lnTo>
                      <a:pt x="0" y="20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031" name="Freeform 33"/>
              <p:cNvSpPr>
                <a:spLocks/>
              </p:cNvSpPr>
              <p:nvPr userDrawn="1"/>
            </p:nvSpPr>
            <p:spPr bwMode="auto">
              <a:xfrm>
                <a:off x="4096" y="2230"/>
                <a:ext cx="116" cy="99"/>
              </a:xfrm>
              <a:custGeom>
                <a:avLst/>
                <a:gdLst>
                  <a:gd name="T0" fmla="*/ 93 w 116"/>
                  <a:gd name="T1" fmla="*/ 55 h 99"/>
                  <a:gd name="T2" fmla="*/ 98 w 116"/>
                  <a:gd name="T3" fmla="*/ 49 h 99"/>
                  <a:gd name="T4" fmla="*/ 97 w 116"/>
                  <a:gd name="T5" fmla="*/ 40 h 99"/>
                  <a:gd name="T6" fmla="*/ 101 w 116"/>
                  <a:gd name="T7" fmla="*/ 29 h 99"/>
                  <a:gd name="T8" fmla="*/ 97 w 116"/>
                  <a:gd name="T9" fmla="*/ 16 h 99"/>
                  <a:gd name="T10" fmla="*/ 107 w 116"/>
                  <a:gd name="T11" fmla="*/ 9 h 99"/>
                  <a:gd name="T12" fmla="*/ 113 w 116"/>
                  <a:gd name="T13" fmla="*/ 6 h 99"/>
                  <a:gd name="T14" fmla="*/ 113 w 116"/>
                  <a:gd name="T15" fmla="*/ 0 h 99"/>
                  <a:gd name="T16" fmla="*/ 101 w 116"/>
                  <a:gd name="T17" fmla="*/ 3 h 99"/>
                  <a:gd name="T18" fmla="*/ 88 w 116"/>
                  <a:gd name="T19" fmla="*/ 3 h 99"/>
                  <a:gd name="T20" fmla="*/ 77 w 116"/>
                  <a:gd name="T21" fmla="*/ 5 h 99"/>
                  <a:gd name="T22" fmla="*/ 69 w 116"/>
                  <a:gd name="T23" fmla="*/ 10 h 99"/>
                  <a:gd name="T24" fmla="*/ 61 w 116"/>
                  <a:gd name="T25" fmla="*/ 11 h 99"/>
                  <a:gd name="T26" fmla="*/ 53 w 116"/>
                  <a:gd name="T27" fmla="*/ 8 h 99"/>
                  <a:gd name="T28" fmla="*/ 39 w 116"/>
                  <a:gd name="T29" fmla="*/ 8 h 99"/>
                  <a:gd name="T30" fmla="*/ 35 w 116"/>
                  <a:gd name="T31" fmla="*/ 10 h 99"/>
                  <a:gd name="T32" fmla="*/ 22 w 116"/>
                  <a:gd name="T33" fmla="*/ 12 h 99"/>
                  <a:gd name="T34" fmla="*/ 17 w 116"/>
                  <a:gd name="T35" fmla="*/ 13 h 99"/>
                  <a:gd name="T36" fmla="*/ 14 w 116"/>
                  <a:gd name="T37" fmla="*/ 22 h 99"/>
                  <a:gd name="T38" fmla="*/ 11 w 116"/>
                  <a:gd name="T39" fmla="*/ 27 h 99"/>
                  <a:gd name="T40" fmla="*/ 3 w 116"/>
                  <a:gd name="T41" fmla="*/ 27 h 99"/>
                  <a:gd name="T42" fmla="*/ 0 w 116"/>
                  <a:gd name="T43" fmla="*/ 28 h 99"/>
                  <a:gd name="T44" fmla="*/ 4 w 116"/>
                  <a:gd name="T45" fmla="*/ 39 h 99"/>
                  <a:gd name="T46" fmla="*/ 5 w 116"/>
                  <a:gd name="T47" fmla="*/ 48 h 99"/>
                  <a:gd name="T48" fmla="*/ 12 w 116"/>
                  <a:gd name="T49" fmla="*/ 55 h 99"/>
                  <a:gd name="T50" fmla="*/ 17 w 116"/>
                  <a:gd name="T51" fmla="*/ 60 h 99"/>
                  <a:gd name="T52" fmla="*/ 18 w 116"/>
                  <a:gd name="T53" fmla="*/ 68 h 99"/>
                  <a:gd name="T54" fmla="*/ 15 w 116"/>
                  <a:gd name="T55" fmla="*/ 69 h 99"/>
                  <a:gd name="T56" fmla="*/ 9 w 116"/>
                  <a:gd name="T57" fmla="*/ 76 h 99"/>
                  <a:gd name="T58" fmla="*/ 6 w 116"/>
                  <a:gd name="T59" fmla="*/ 79 h 99"/>
                  <a:gd name="T60" fmla="*/ 10 w 116"/>
                  <a:gd name="T61" fmla="*/ 83 h 99"/>
                  <a:gd name="T62" fmla="*/ 9 w 116"/>
                  <a:gd name="T63" fmla="*/ 93 h 99"/>
                  <a:gd name="T64" fmla="*/ 17 w 116"/>
                  <a:gd name="T65" fmla="*/ 96 h 99"/>
                  <a:gd name="T66" fmla="*/ 22 w 116"/>
                  <a:gd name="T67" fmla="*/ 98 h 99"/>
                  <a:gd name="T68" fmla="*/ 61 w 116"/>
                  <a:gd name="T69" fmla="*/ 77 h 99"/>
                  <a:gd name="T70" fmla="*/ 61 w 116"/>
                  <a:gd name="T71" fmla="*/ 77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16" h="99">
                    <a:moveTo>
                      <a:pt x="61" y="77"/>
                    </a:moveTo>
                    <a:lnTo>
                      <a:pt x="93" y="55"/>
                    </a:lnTo>
                    <a:lnTo>
                      <a:pt x="95" y="53"/>
                    </a:lnTo>
                    <a:lnTo>
                      <a:pt x="98" y="49"/>
                    </a:lnTo>
                    <a:lnTo>
                      <a:pt x="98" y="43"/>
                    </a:lnTo>
                    <a:lnTo>
                      <a:pt x="97" y="40"/>
                    </a:lnTo>
                    <a:lnTo>
                      <a:pt x="101" y="34"/>
                    </a:lnTo>
                    <a:lnTo>
                      <a:pt x="101" y="29"/>
                    </a:lnTo>
                    <a:lnTo>
                      <a:pt x="97" y="22"/>
                    </a:lnTo>
                    <a:lnTo>
                      <a:pt x="97" y="16"/>
                    </a:lnTo>
                    <a:lnTo>
                      <a:pt x="101" y="11"/>
                    </a:lnTo>
                    <a:lnTo>
                      <a:pt x="107" y="9"/>
                    </a:lnTo>
                    <a:lnTo>
                      <a:pt x="111" y="6"/>
                    </a:lnTo>
                    <a:lnTo>
                      <a:pt x="113" y="6"/>
                    </a:lnTo>
                    <a:lnTo>
                      <a:pt x="116" y="2"/>
                    </a:lnTo>
                    <a:lnTo>
                      <a:pt x="113" y="0"/>
                    </a:lnTo>
                    <a:lnTo>
                      <a:pt x="108" y="0"/>
                    </a:lnTo>
                    <a:lnTo>
                      <a:pt x="101" y="3"/>
                    </a:lnTo>
                    <a:lnTo>
                      <a:pt x="92" y="2"/>
                    </a:lnTo>
                    <a:lnTo>
                      <a:pt x="88" y="3"/>
                    </a:lnTo>
                    <a:lnTo>
                      <a:pt x="83" y="3"/>
                    </a:lnTo>
                    <a:lnTo>
                      <a:pt x="77" y="5"/>
                    </a:lnTo>
                    <a:lnTo>
                      <a:pt x="74" y="8"/>
                    </a:lnTo>
                    <a:lnTo>
                      <a:pt x="69" y="10"/>
                    </a:lnTo>
                    <a:lnTo>
                      <a:pt x="69" y="11"/>
                    </a:lnTo>
                    <a:lnTo>
                      <a:pt x="61" y="11"/>
                    </a:lnTo>
                    <a:lnTo>
                      <a:pt x="55" y="10"/>
                    </a:lnTo>
                    <a:lnTo>
                      <a:pt x="53" y="8"/>
                    </a:lnTo>
                    <a:lnTo>
                      <a:pt x="49" y="7"/>
                    </a:lnTo>
                    <a:lnTo>
                      <a:pt x="39" y="8"/>
                    </a:lnTo>
                    <a:lnTo>
                      <a:pt x="37" y="10"/>
                    </a:lnTo>
                    <a:lnTo>
                      <a:pt x="35" y="10"/>
                    </a:lnTo>
                    <a:lnTo>
                      <a:pt x="26" y="12"/>
                    </a:lnTo>
                    <a:lnTo>
                      <a:pt x="22" y="12"/>
                    </a:lnTo>
                    <a:lnTo>
                      <a:pt x="18" y="11"/>
                    </a:lnTo>
                    <a:lnTo>
                      <a:pt x="17" y="13"/>
                    </a:lnTo>
                    <a:lnTo>
                      <a:pt x="17" y="20"/>
                    </a:lnTo>
                    <a:lnTo>
                      <a:pt x="14" y="22"/>
                    </a:lnTo>
                    <a:lnTo>
                      <a:pt x="15" y="26"/>
                    </a:lnTo>
                    <a:lnTo>
                      <a:pt x="11" y="27"/>
                    </a:lnTo>
                    <a:lnTo>
                      <a:pt x="7" y="28"/>
                    </a:lnTo>
                    <a:lnTo>
                      <a:pt x="3" y="27"/>
                    </a:lnTo>
                    <a:lnTo>
                      <a:pt x="3" y="27"/>
                    </a:lnTo>
                    <a:lnTo>
                      <a:pt x="0" y="28"/>
                    </a:lnTo>
                    <a:lnTo>
                      <a:pt x="1" y="33"/>
                    </a:lnTo>
                    <a:lnTo>
                      <a:pt x="4" y="39"/>
                    </a:lnTo>
                    <a:lnTo>
                      <a:pt x="6" y="44"/>
                    </a:lnTo>
                    <a:lnTo>
                      <a:pt x="5" y="48"/>
                    </a:lnTo>
                    <a:lnTo>
                      <a:pt x="4" y="55"/>
                    </a:lnTo>
                    <a:lnTo>
                      <a:pt x="12" y="55"/>
                    </a:lnTo>
                    <a:lnTo>
                      <a:pt x="14" y="58"/>
                    </a:lnTo>
                    <a:lnTo>
                      <a:pt x="17" y="60"/>
                    </a:lnTo>
                    <a:lnTo>
                      <a:pt x="17" y="65"/>
                    </a:lnTo>
                    <a:lnTo>
                      <a:pt x="18" y="68"/>
                    </a:lnTo>
                    <a:lnTo>
                      <a:pt x="17" y="69"/>
                    </a:lnTo>
                    <a:lnTo>
                      <a:pt x="15" y="69"/>
                    </a:lnTo>
                    <a:lnTo>
                      <a:pt x="11" y="71"/>
                    </a:lnTo>
                    <a:lnTo>
                      <a:pt x="9" y="76"/>
                    </a:lnTo>
                    <a:lnTo>
                      <a:pt x="7" y="79"/>
                    </a:lnTo>
                    <a:lnTo>
                      <a:pt x="6" y="79"/>
                    </a:lnTo>
                    <a:lnTo>
                      <a:pt x="7" y="81"/>
                    </a:lnTo>
                    <a:lnTo>
                      <a:pt x="10" y="83"/>
                    </a:lnTo>
                    <a:lnTo>
                      <a:pt x="10" y="90"/>
                    </a:lnTo>
                    <a:lnTo>
                      <a:pt x="9" y="93"/>
                    </a:lnTo>
                    <a:lnTo>
                      <a:pt x="11" y="93"/>
                    </a:lnTo>
                    <a:lnTo>
                      <a:pt x="17" y="96"/>
                    </a:lnTo>
                    <a:lnTo>
                      <a:pt x="20" y="98"/>
                    </a:lnTo>
                    <a:lnTo>
                      <a:pt x="22" y="98"/>
                    </a:lnTo>
                    <a:lnTo>
                      <a:pt x="24" y="99"/>
                    </a:lnTo>
                    <a:lnTo>
                      <a:pt x="61" y="77"/>
                    </a:lnTo>
                    <a:lnTo>
                      <a:pt x="61" y="77"/>
                    </a:lnTo>
                    <a:lnTo>
                      <a:pt x="61" y="77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032" name="Freeform 34"/>
              <p:cNvSpPr>
                <a:spLocks/>
              </p:cNvSpPr>
              <p:nvPr userDrawn="1"/>
            </p:nvSpPr>
            <p:spPr bwMode="auto">
              <a:xfrm>
                <a:off x="4090" y="2285"/>
                <a:ext cx="24" cy="29"/>
              </a:xfrm>
              <a:custGeom>
                <a:avLst/>
                <a:gdLst>
                  <a:gd name="T0" fmla="*/ 0 w 24"/>
                  <a:gd name="T1" fmla="*/ 28 h 29"/>
                  <a:gd name="T2" fmla="*/ 2 w 24"/>
                  <a:gd name="T3" fmla="*/ 29 h 29"/>
                  <a:gd name="T4" fmla="*/ 8 w 24"/>
                  <a:gd name="T5" fmla="*/ 28 h 29"/>
                  <a:gd name="T6" fmla="*/ 10 w 24"/>
                  <a:gd name="T7" fmla="*/ 25 h 29"/>
                  <a:gd name="T8" fmla="*/ 13 w 24"/>
                  <a:gd name="T9" fmla="*/ 24 h 29"/>
                  <a:gd name="T10" fmla="*/ 15 w 24"/>
                  <a:gd name="T11" fmla="*/ 21 h 29"/>
                  <a:gd name="T12" fmla="*/ 17 w 24"/>
                  <a:gd name="T13" fmla="*/ 16 h 29"/>
                  <a:gd name="T14" fmla="*/ 21 w 24"/>
                  <a:gd name="T15" fmla="*/ 14 h 29"/>
                  <a:gd name="T16" fmla="*/ 23 w 24"/>
                  <a:gd name="T17" fmla="*/ 14 h 29"/>
                  <a:gd name="T18" fmla="*/ 24 w 24"/>
                  <a:gd name="T19" fmla="*/ 13 h 29"/>
                  <a:gd name="T20" fmla="*/ 23 w 24"/>
                  <a:gd name="T21" fmla="*/ 10 h 29"/>
                  <a:gd name="T22" fmla="*/ 23 w 24"/>
                  <a:gd name="T23" fmla="*/ 5 h 29"/>
                  <a:gd name="T24" fmla="*/ 20 w 24"/>
                  <a:gd name="T25" fmla="*/ 3 h 29"/>
                  <a:gd name="T26" fmla="*/ 18 w 24"/>
                  <a:gd name="T27" fmla="*/ 0 h 29"/>
                  <a:gd name="T28" fmla="*/ 10 w 24"/>
                  <a:gd name="T29" fmla="*/ 0 h 29"/>
                  <a:gd name="T30" fmla="*/ 10 w 24"/>
                  <a:gd name="T31" fmla="*/ 0 h 29"/>
                  <a:gd name="T32" fmla="*/ 8 w 24"/>
                  <a:gd name="T33" fmla="*/ 1 h 29"/>
                  <a:gd name="T34" fmla="*/ 7 w 24"/>
                  <a:gd name="T35" fmla="*/ 14 h 29"/>
                  <a:gd name="T36" fmla="*/ 3 w 24"/>
                  <a:gd name="T37" fmla="*/ 19 h 29"/>
                  <a:gd name="T38" fmla="*/ 1 w 24"/>
                  <a:gd name="T39" fmla="*/ 22 h 29"/>
                  <a:gd name="T40" fmla="*/ 1 w 24"/>
                  <a:gd name="T41" fmla="*/ 27 h 29"/>
                  <a:gd name="T42" fmla="*/ 0 w 24"/>
                  <a:gd name="T43" fmla="*/ 28 h 29"/>
                  <a:gd name="T44" fmla="*/ 0 w 24"/>
                  <a:gd name="T45" fmla="*/ 28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4" h="29">
                    <a:moveTo>
                      <a:pt x="0" y="28"/>
                    </a:moveTo>
                    <a:lnTo>
                      <a:pt x="2" y="29"/>
                    </a:lnTo>
                    <a:lnTo>
                      <a:pt x="8" y="28"/>
                    </a:lnTo>
                    <a:lnTo>
                      <a:pt x="10" y="25"/>
                    </a:lnTo>
                    <a:lnTo>
                      <a:pt x="13" y="24"/>
                    </a:lnTo>
                    <a:lnTo>
                      <a:pt x="15" y="21"/>
                    </a:lnTo>
                    <a:lnTo>
                      <a:pt x="17" y="16"/>
                    </a:lnTo>
                    <a:lnTo>
                      <a:pt x="21" y="14"/>
                    </a:lnTo>
                    <a:lnTo>
                      <a:pt x="23" y="14"/>
                    </a:lnTo>
                    <a:lnTo>
                      <a:pt x="24" y="13"/>
                    </a:lnTo>
                    <a:lnTo>
                      <a:pt x="23" y="10"/>
                    </a:lnTo>
                    <a:lnTo>
                      <a:pt x="23" y="5"/>
                    </a:lnTo>
                    <a:lnTo>
                      <a:pt x="20" y="3"/>
                    </a:lnTo>
                    <a:lnTo>
                      <a:pt x="18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8" y="1"/>
                    </a:lnTo>
                    <a:lnTo>
                      <a:pt x="7" y="14"/>
                    </a:lnTo>
                    <a:lnTo>
                      <a:pt x="3" y="19"/>
                    </a:lnTo>
                    <a:lnTo>
                      <a:pt x="1" y="22"/>
                    </a:lnTo>
                    <a:lnTo>
                      <a:pt x="1" y="27"/>
                    </a:lnTo>
                    <a:lnTo>
                      <a:pt x="0" y="28"/>
                    </a:lnTo>
                    <a:lnTo>
                      <a:pt x="0" y="28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033" name="Freeform 35"/>
              <p:cNvSpPr>
                <a:spLocks/>
              </p:cNvSpPr>
              <p:nvPr userDrawn="1"/>
            </p:nvSpPr>
            <p:spPr bwMode="auto">
              <a:xfrm>
                <a:off x="4092" y="2307"/>
                <a:ext cx="74" cy="89"/>
              </a:xfrm>
              <a:custGeom>
                <a:avLst/>
                <a:gdLst>
                  <a:gd name="T0" fmla="*/ 1 w 74"/>
                  <a:gd name="T1" fmla="*/ 78 h 89"/>
                  <a:gd name="T2" fmla="*/ 1 w 74"/>
                  <a:gd name="T3" fmla="*/ 77 h 89"/>
                  <a:gd name="T4" fmla="*/ 1 w 74"/>
                  <a:gd name="T5" fmla="*/ 75 h 89"/>
                  <a:gd name="T6" fmla="*/ 3 w 74"/>
                  <a:gd name="T7" fmla="*/ 73 h 89"/>
                  <a:gd name="T8" fmla="*/ 3 w 74"/>
                  <a:gd name="T9" fmla="*/ 68 h 89"/>
                  <a:gd name="T10" fmla="*/ 4 w 74"/>
                  <a:gd name="T11" fmla="*/ 64 h 89"/>
                  <a:gd name="T12" fmla="*/ 4 w 74"/>
                  <a:gd name="T13" fmla="*/ 59 h 89"/>
                  <a:gd name="T14" fmla="*/ 5 w 74"/>
                  <a:gd name="T15" fmla="*/ 59 h 89"/>
                  <a:gd name="T16" fmla="*/ 5 w 74"/>
                  <a:gd name="T17" fmla="*/ 55 h 89"/>
                  <a:gd name="T18" fmla="*/ 6 w 74"/>
                  <a:gd name="T19" fmla="*/ 50 h 89"/>
                  <a:gd name="T20" fmla="*/ 6 w 74"/>
                  <a:gd name="T21" fmla="*/ 48 h 89"/>
                  <a:gd name="T22" fmla="*/ 7 w 74"/>
                  <a:gd name="T23" fmla="*/ 34 h 89"/>
                  <a:gd name="T24" fmla="*/ 7 w 74"/>
                  <a:gd name="T25" fmla="*/ 31 h 89"/>
                  <a:gd name="T26" fmla="*/ 8 w 74"/>
                  <a:gd name="T27" fmla="*/ 26 h 89"/>
                  <a:gd name="T28" fmla="*/ 8 w 74"/>
                  <a:gd name="T29" fmla="*/ 24 h 89"/>
                  <a:gd name="T30" fmla="*/ 8 w 74"/>
                  <a:gd name="T31" fmla="*/ 22 h 89"/>
                  <a:gd name="T32" fmla="*/ 8 w 74"/>
                  <a:gd name="T33" fmla="*/ 20 h 89"/>
                  <a:gd name="T34" fmla="*/ 9 w 74"/>
                  <a:gd name="T35" fmla="*/ 20 h 89"/>
                  <a:gd name="T36" fmla="*/ 11 w 74"/>
                  <a:gd name="T37" fmla="*/ 18 h 89"/>
                  <a:gd name="T38" fmla="*/ 13 w 74"/>
                  <a:gd name="T39" fmla="*/ 16 h 89"/>
                  <a:gd name="T40" fmla="*/ 15 w 74"/>
                  <a:gd name="T41" fmla="*/ 16 h 89"/>
                  <a:gd name="T42" fmla="*/ 21 w 74"/>
                  <a:gd name="T43" fmla="*/ 19 h 89"/>
                  <a:gd name="T44" fmla="*/ 24 w 74"/>
                  <a:gd name="T45" fmla="*/ 21 h 89"/>
                  <a:gd name="T46" fmla="*/ 26 w 74"/>
                  <a:gd name="T47" fmla="*/ 21 h 89"/>
                  <a:gd name="T48" fmla="*/ 28 w 74"/>
                  <a:gd name="T49" fmla="*/ 22 h 89"/>
                  <a:gd name="T50" fmla="*/ 65 w 74"/>
                  <a:gd name="T51" fmla="*/ 0 h 89"/>
                  <a:gd name="T52" fmla="*/ 74 w 74"/>
                  <a:gd name="T53" fmla="*/ 23 h 89"/>
                  <a:gd name="T54" fmla="*/ 73 w 74"/>
                  <a:gd name="T55" fmla="*/ 23 h 89"/>
                  <a:gd name="T56" fmla="*/ 66 w 74"/>
                  <a:gd name="T57" fmla="*/ 30 h 89"/>
                  <a:gd name="T58" fmla="*/ 39 w 74"/>
                  <a:gd name="T59" fmla="*/ 39 h 89"/>
                  <a:gd name="T60" fmla="*/ 60 w 74"/>
                  <a:gd name="T61" fmla="*/ 61 h 89"/>
                  <a:gd name="T62" fmla="*/ 52 w 74"/>
                  <a:gd name="T63" fmla="*/ 69 h 89"/>
                  <a:gd name="T64" fmla="*/ 52 w 74"/>
                  <a:gd name="T65" fmla="*/ 74 h 89"/>
                  <a:gd name="T66" fmla="*/ 38 w 74"/>
                  <a:gd name="T67" fmla="*/ 76 h 89"/>
                  <a:gd name="T68" fmla="*/ 24 w 74"/>
                  <a:gd name="T69" fmla="*/ 89 h 89"/>
                  <a:gd name="T70" fmla="*/ 6 w 74"/>
                  <a:gd name="T71" fmla="*/ 84 h 89"/>
                  <a:gd name="T72" fmla="*/ 0 w 74"/>
                  <a:gd name="T73" fmla="*/ 84 h 89"/>
                  <a:gd name="T74" fmla="*/ 0 w 74"/>
                  <a:gd name="T75" fmla="*/ 84 h 89"/>
                  <a:gd name="T76" fmla="*/ 1 w 74"/>
                  <a:gd name="T77" fmla="*/ 79 h 89"/>
                  <a:gd name="T78" fmla="*/ 1 w 74"/>
                  <a:gd name="T79" fmla="*/ 77 h 89"/>
                  <a:gd name="T80" fmla="*/ 1 w 74"/>
                  <a:gd name="T81" fmla="*/ 78 h 89"/>
                  <a:gd name="T82" fmla="*/ 1 w 74"/>
                  <a:gd name="T83" fmla="*/ 78 h 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74" h="89">
                    <a:moveTo>
                      <a:pt x="1" y="78"/>
                    </a:moveTo>
                    <a:lnTo>
                      <a:pt x="1" y="77"/>
                    </a:lnTo>
                    <a:lnTo>
                      <a:pt x="1" y="75"/>
                    </a:lnTo>
                    <a:lnTo>
                      <a:pt x="3" y="73"/>
                    </a:lnTo>
                    <a:lnTo>
                      <a:pt x="3" y="68"/>
                    </a:lnTo>
                    <a:lnTo>
                      <a:pt x="4" y="64"/>
                    </a:lnTo>
                    <a:lnTo>
                      <a:pt x="4" y="59"/>
                    </a:lnTo>
                    <a:lnTo>
                      <a:pt x="5" y="59"/>
                    </a:lnTo>
                    <a:lnTo>
                      <a:pt x="5" y="55"/>
                    </a:lnTo>
                    <a:lnTo>
                      <a:pt x="6" y="50"/>
                    </a:lnTo>
                    <a:lnTo>
                      <a:pt x="6" y="48"/>
                    </a:lnTo>
                    <a:lnTo>
                      <a:pt x="7" y="34"/>
                    </a:lnTo>
                    <a:lnTo>
                      <a:pt x="7" y="31"/>
                    </a:lnTo>
                    <a:lnTo>
                      <a:pt x="8" y="26"/>
                    </a:lnTo>
                    <a:lnTo>
                      <a:pt x="8" y="24"/>
                    </a:lnTo>
                    <a:lnTo>
                      <a:pt x="8" y="22"/>
                    </a:lnTo>
                    <a:lnTo>
                      <a:pt x="8" y="20"/>
                    </a:lnTo>
                    <a:lnTo>
                      <a:pt x="9" y="20"/>
                    </a:lnTo>
                    <a:lnTo>
                      <a:pt x="11" y="18"/>
                    </a:lnTo>
                    <a:lnTo>
                      <a:pt x="13" y="16"/>
                    </a:lnTo>
                    <a:lnTo>
                      <a:pt x="15" y="16"/>
                    </a:lnTo>
                    <a:lnTo>
                      <a:pt x="21" y="19"/>
                    </a:lnTo>
                    <a:lnTo>
                      <a:pt x="24" y="21"/>
                    </a:lnTo>
                    <a:lnTo>
                      <a:pt x="26" y="21"/>
                    </a:lnTo>
                    <a:lnTo>
                      <a:pt x="28" y="22"/>
                    </a:lnTo>
                    <a:lnTo>
                      <a:pt x="65" y="0"/>
                    </a:lnTo>
                    <a:lnTo>
                      <a:pt x="74" y="23"/>
                    </a:lnTo>
                    <a:lnTo>
                      <a:pt x="73" y="23"/>
                    </a:lnTo>
                    <a:lnTo>
                      <a:pt x="66" y="30"/>
                    </a:lnTo>
                    <a:lnTo>
                      <a:pt x="39" y="39"/>
                    </a:lnTo>
                    <a:lnTo>
                      <a:pt x="60" y="61"/>
                    </a:lnTo>
                    <a:lnTo>
                      <a:pt x="52" y="69"/>
                    </a:lnTo>
                    <a:lnTo>
                      <a:pt x="52" y="74"/>
                    </a:lnTo>
                    <a:lnTo>
                      <a:pt x="38" y="76"/>
                    </a:lnTo>
                    <a:lnTo>
                      <a:pt x="24" y="89"/>
                    </a:lnTo>
                    <a:lnTo>
                      <a:pt x="6" y="84"/>
                    </a:lnTo>
                    <a:lnTo>
                      <a:pt x="0" y="84"/>
                    </a:lnTo>
                    <a:lnTo>
                      <a:pt x="0" y="84"/>
                    </a:lnTo>
                    <a:lnTo>
                      <a:pt x="1" y="79"/>
                    </a:lnTo>
                    <a:lnTo>
                      <a:pt x="1" y="77"/>
                    </a:lnTo>
                    <a:lnTo>
                      <a:pt x="1" y="78"/>
                    </a:lnTo>
                    <a:lnTo>
                      <a:pt x="1" y="78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034" name="Freeform 36"/>
              <p:cNvSpPr>
                <a:spLocks/>
              </p:cNvSpPr>
              <p:nvPr userDrawn="1"/>
            </p:nvSpPr>
            <p:spPr bwMode="auto">
              <a:xfrm>
                <a:off x="4384" y="2446"/>
                <a:ext cx="14" cy="30"/>
              </a:xfrm>
              <a:custGeom>
                <a:avLst/>
                <a:gdLst>
                  <a:gd name="T0" fmla="*/ 11 w 14"/>
                  <a:gd name="T1" fmla="*/ 30 h 30"/>
                  <a:gd name="T2" fmla="*/ 9 w 14"/>
                  <a:gd name="T3" fmla="*/ 30 h 30"/>
                  <a:gd name="T4" fmla="*/ 2 w 14"/>
                  <a:gd name="T5" fmla="*/ 27 h 30"/>
                  <a:gd name="T6" fmla="*/ 2 w 14"/>
                  <a:gd name="T7" fmla="*/ 25 h 30"/>
                  <a:gd name="T8" fmla="*/ 3 w 14"/>
                  <a:gd name="T9" fmla="*/ 24 h 30"/>
                  <a:gd name="T10" fmla="*/ 3 w 14"/>
                  <a:gd name="T11" fmla="*/ 21 h 30"/>
                  <a:gd name="T12" fmla="*/ 1 w 14"/>
                  <a:gd name="T13" fmla="*/ 19 h 30"/>
                  <a:gd name="T14" fmla="*/ 0 w 14"/>
                  <a:gd name="T15" fmla="*/ 16 h 30"/>
                  <a:gd name="T16" fmla="*/ 1 w 14"/>
                  <a:gd name="T17" fmla="*/ 12 h 30"/>
                  <a:gd name="T18" fmla="*/ 3 w 14"/>
                  <a:gd name="T19" fmla="*/ 12 h 30"/>
                  <a:gd name="T20" fmla="*/ 4 w 14"/>
                  <a:gd name="T21" fmla="*/ 12 h 30"/>
                  <a:gd name="T22" fmla="*/ 3 w 14"/>
                  <a:gd name="T23" fmla="*/ 7 h 30"/>
                  <a:gd name="T24" fmla="*/ 3 w 14"/>
                  <a:gd name="T25" fmla="*/ 7 h 30"/>
                  <a:gd name="T26" fmla="*/ 3 w 14"/>
                  <a:gd name="T27" fmla="*/ 4 h 30"/>
                  <a:gd name="T28" fmla="*/ 4 w 14"/>
                  <a:gd name="T29" fmla="*/ 3 h 30"/>
                  <a:gd name="T30" fmla="*/ 4 w 14"/>
                  <a:gd name="T31" fmla="*/ 1 h 30"/>
                  <a:gd name="T32" fmla="*/ 6 w 14"/>
                  <a:gd name="T33" fmla="*/ 1 h 30"/>
                  <a:gd name="T34" fmla="*/ 6 w 14"/>
                  <a:gd name="T35" fmla="*/ 0 h 30"/>
                  <a:gd name="T36" fmla="*/ 8 w 14"/>
                  <a:gd name="T37" fmla="*/ 0 h 30"/>
                  <a:gd name="T38" fmla="*/ 10 w 14"/>
                  <a:gd name="T39" fmla="*/ 2 h 30"/>
                  <a:gd name="T40" fmla="*/ 10 w 14"/>
                  <a:gd name="T41" fmla="*/ 4 h 30"/>
                  <a:gd name="T42" fmla="*/ 12 w 14"/>
                  <a:gd name="T43" fmla="*/ 4 h 30"/>
                  <a:gd name="T44" fmla="*/ 13 w 14"/>
                  <a:gd name="T45" fmla="*/ 5 h 30"/>
                  <a:gd name="T46" fmla="*/ 11 w 14"/>
                  <a:gd name="T47" fmla="*/ 11 h 30"/>
                  <a:gd name="T48" fmla="*/ 10 w 14"/>
                  <a:gd name="T49" fmla="*/ 11 h 30"/>
                  <a:gd name="T50" fmla="*/ 11 w 14"/>
                  <a:gd name="T51" fmla="*/ 17 h 30"/>
                  <a:gd name="T52" fmla="*/ 12 w 14"/>
                  <a:gd name="T53" fmla="*/ 17 h 30"/>
                  <a:gd name="T54" fmla="*/ 14 w 14"/>
                  <a:gd name="T55" fmla="*/ 20 h 30"/>
                  <a:gd name="T56" fmla="*/ 13 w 14"/>
                  <a:gd name="T57" fmla="*/ 30 h 30"/>
                  <a:gd name="T58" fmla="*/ 11 w 14"/>
                  <a:gd name="T59" fmla="*/ 30 h 30"/>
                  <a:gd name="T60" fmla="*/ 11 w 14"/>
                  <a:gd name="T61" fmla="*/ 30 h 30"/>
                  <a:gd name="T62" fmla="*/ 11 w 14"/>
                  <a:gd name="T63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4" h="30">
                    <a:moveTo>
                      <a:pt x="11" y="30"/>
                    </a:moveTo>
                    <a:lnTo>
                      <a:pt x="9" y="30"/>
                    </a:lnTo>
                    <a:lnTo>
                      <a:pt x="2" y="27"/>
                    </a:lnTo>
                    <a:lnTo>
                      <a:pt x="2" y="25"/>
                    </a:lnTo>
                    <a:lnTo>
                      <a:pt x="3" y="24"/>
                    </a:lnTo>
                    <a:lnTo>
                      <a:pt x="3" y="21"/>
                    </a:lnTo>
                    <a:lnTo>
                      <a:pt x="1" y="19"/>
                    </a:lnTo>
                    <a:lnTo>
                      <a:pt x="0" y="16"/>
                    </a:lnTo>
                    <a:lnTo>
                      <a:pt x="1" y="12"/>
                    </a:lnTo>
                    <a:lnTo>
                      <a:pt x="3" y="12"/>
                    </a:lnTo>
                    <a:lnTo>
                      <a:pt x="4" y="12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3" y="4"/>
                    </a:lnTo>
                    <a:lnTo>
                      <a:pt x="4" y="3"/>
                    </a:lnTo>
                    <a:lnTo>
                      <a:pt x="4" y="1"/>
                    </a:lnTo>
                    <a:lnTo>
                      <a:pt x="6" y="1"/>
                    </a:lnTo>
                    <a:lnTo>
                      <a:pt x="6" y="0"/>
                    </a:lnTo>
                    <a:lnTo>
                      <a:pt x="8" y="0"/>
                    </a:lnTo>
                    <a:lnTo>
                      <a:pt x="10" y="2"/>
                    </a:lnTo>
                    <a:lnTo>
                      <a:pt x="10" y="4"/>
                    </a:lnTo>
                    <a:lnTo>
                      <a:pt x="12" y="4"/>
                    </a:lnTo>
                    <a:lnTo>
                      <a:pt x="13" y="5"/>
                    </a:lnTo>
                    <a:lnTo>
                      <a:pt x="11" y="11"/>
                    </a:lnTo>
                    <a:lnTo>
                      <a:pt x="10" y="11"/>
                    </a:lnTo>
                    <a:lnTo>
                      <a:pt x="11" y="17"/>
                    </a:lnTo>
                    <a:lnTo>
                      <a:pt x="12" y="17"/>
                    </a:lnTo>
                    <a:lnTo>
                      <a:pt x="14" y="20"/>
                    </a:lnTo>
                    <a:lnTo>
                      <a:pt x="13" y="30"/>
                    </a:lnTo>
                    <a:lnTo>
                      <a:pt x="11" y="30"/>
                    </a:lnTo>
                    <a:lnTo>
                      <a:pt x="11" y="30"/>
                    </a:lnTo>
                    <a:lnTo>
                      <a:pt x="11" y="30"/>
                    </a:lnTo>
                    <a:close/>
                  </a:path>
                </a:pathLst>
              </a:custGeom>
              <a:solidFill>
                <a:schemeClr val="accent2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035" name="Freeform 37"/>
              <p:cNvSpPr>
                <a:spLocks noEditPoints="1"/>
              </p:cNvSpPr>
              <p:nvPr userDrawn="1"/>
            </p:nvSpPr>
            <p:spPr bwMode="auto">
              <a:xfrm>
                <a:off x="4245" y="2578"/>
                <a:ext cx="224" cy="133"/>
              </a:xfrm>
              <a:custGeom>
                <a:avLst/>
                <a:gdLst>
                  <a:gd name="T0" fmla="*/ 6 w 224"/>
                  <a:gd name="T1" fmla="*/ 51 h 133"/>
                  <a:gd name="T2" fmla="*/ 11 w 224"/>
                  <a:gd name="T3" fmla="*/ 49 h 133"/>
                  <a:gd name="T4" fmla="*/ 12 w 224"/>
                  <a:gd name="T5" fmla="*/ 39 h 133"/>
                  <a:gd name="T6" fmla="*/ 20 w 224"/>
                  <a:gd name="T7" fmla="*/ 29 h 133"/>
                  <a:gd name="T8" fmla="*/ 37 w 224"/>
                  <a:gd name="T9" fmla="*/ 33 h 133"/>
                  <a:gd name="T10" fmla="*/ 68 w 224"/>
                  <a:gd name="T11" fmla="*/ 48 h 133"/>
                  <a:gd name="T12" fmla="*/ 103 w 224"/>
                  <a:gd name="T13" fmla="*/ 20 h 133"/>
                  <a:gd name="T14" fmla="*/ 171 w 224"/>
                  <a:gd name="T15" fmla="*/ 9 h 133"/>
                  <a:gd name="T16" fmla="*/ 186 w 224"/>
                  <a:gd name="T17" fmla="*/ 37 h 133"/>
                  <a:gd name="T18" fmla="*/ 192 w 224"/>
                  <a:gd name="T19" fmla="*/ 50 h 133"/>
                  <a:gd name="T20" fmla="*/ 179 w 224"/>
                  <a:gd name="T21" fmla="*/ 59 h 133"/>
                  <a:gd name="T22" fmla="*/ 180 w 224"/>
                  <a:gd name="T23" fmla="*/ 65 h 133"/>
                  <a:gd name="T24" fmla="*/ 180 w 224"/>
                  <a:gd name="T25" fmla="*/ 68 h 133"/>
                  <a:gd name="T26" fmla="*/ 169 w 224"/>
                  <a:gd name="T27" fmla="*/ 73 h 133"/>
                  <a:gd name="T28" fmla="*/ 149 w 224"/>
                  <a:gd name="T29" fmla="*/ 78 h 133"/>
                  <a:gd name="T30" fmla="*/ 127 w 224"/>
                  <a:gd name="T31" fmla="*/ 86 h 133"/>
                  <a:gd name="T32" fmla="*/ 123 w 224"/>
                  <a:gd name="T33" fmla="*/ 87 h 133"/>
                  <a:gd name="T34" fmla="*/ 113 w 224"/>
                  <a:gd name="T35" fmla="*/ 97 h 133"/>
                  <a:gd name="T36" fmla="*/ 109 w 224"/>
                  <a:gd name="T37" fmla="*/ 96 h 133"/>
                  <a:gd name="T38" fmla="*/ 106 w 224"/>
                  <a:gd name="T39" fmla="*/ 98 h 133"/>
                  <a:gd name="T40" fmla="*/ 100 w 224"/>
                  <a:gd name="T41" fmla="*/ 96 h 133"/>
                  <a:gd name="T42" fmla="*/ 93 w 224"/>
                  <a:gd name="T43" fmla="*/ 104 h 133"/>
                  <a:gd name="T44" fmla="*/ 84 w 224"/>
                  <a:gd name="T45" fmla="*/ 106 h 133"/>
                  <a:gd name="T46" fmla="*/ 71 w 224"/>
                  <a:gd name="T47" fmla="*/ 109 h 133"/>
                  <a:gd name="T48" fmla="*/ 65 w 224"/>
                  <a:gd name="T49" fmla="*/ 108 h 133"/>
                  <a:gd name="T50" fmla="*/ 62 w 224"/>
                  <a:gd name="T51" fmla="*/ 107 h 133"/>
                  <a:gd name="T52" fmla="*/ 55 w 224"/>
                  <a:gd name="T53" fmla="*/ 110 h 133"/>
                  <a:gd name="T54" fmla="*/ 51 w 224"/>
                  <a:gd name="T55" fmla="*/ 115 h 133"/>
                  <a:gd name="T56" fmla="*/ 43 w 224"/>
                  <a:gd name="T57" fmla="*/ 121 h 133"/>
                  <a:gd name="T58" fmla="*/ 38 w 224"/>
                  <a:gd name="T59" fmla="*/ 119 h 133"/>
                  <a:gd name="T60" fmla="*/ 31 w 224"/>
                  <a:gd name="T61" fmla="*/ 123 h 133"/>
                  <a:gd name="T62" fmla="*/ 25 w 224"/>
                  <a:gd name="T63" fmla="*/ 122 h 133"/>
                  <a:gd name="T64" fmla="*/ 20 w 224"/>
                  <a:gd name="T65" fmla="*/ 120 h 133"/>
                  <a:gd name="T66" fmla="*/ 16 w 224"/>
                  <a:gd name="T67" fmla="*/ 112 h 133"/>
                  <a:gd name="T68" fmla="*/ 16 w 224"/>
                  <a:gd name="T69" fmla="*/ 106 h 133"/>
                  <a:gd name="T70" fmla="*/ 10 w 224"/>
                  <a:gd name="T71" fmla="*/ 96 h 133"/>
                  <a:gd name="T72" fmla="*/ 3 w 224"/>
                  <a:gd name="T73" fmla="*/ 75 h 133"/>
                  <a:gd name="T74" fmla="*/ 1 w 224"/>
                  <a:gd name="T75" fmla="*/ 72 h 133"/>
                  <a:gd name="T76" fmla="*/ 3 w 224"/>
                  <a:gd name="T77" fmla="*/ 70 h 133"/>
                  <a:gd name="T78" fmla="*/ 5 w 224"/>
                  <a:gd name="T79" fmla="*/ 68 h 133"/>
                  <a:gd name="T80" fmla="*/ 4 w 224"/>
                  <a:gd name="T81" fmla="*/ 53 h 133"/>
                  <a:gd name="T82" fmla="*/ 2 w 224"/>
                  <a:gd name="T83" fmla="*/ 51 h 133"/>
                  <a:gd name="T84" fmla="*/ 179 w 224"/>
                  <a:gd name="T85" fmla="*/ 132 h 133"/>
                  <a:gd name="T86" fmla="*/ 188 w 224"/>
                  <a:gd name="T87" fmla="*/ 132 h 133"/>
                  <a:gd name="T88" fmla="*/ 179 w 224"/>
                  <a:gd name="T89" fmla="*/ 132 h 133"/>
                  <a:gd name="T90" fmla="*/ 179 w 224"/>
                  <a:gd name="T91" fmla="*/ 132 h 133"/>
                  <a:gd name="T92" fmla="*/ 204 w 224"/>
                  <a:gd name="T93" fmla="*/ 125 h 133"/>
                  <a:gd name="T94" fmla="*/ 206 w 224"/>
                  <a:gd name="T95" fmla="*/ 120 h 133"/>
                  <a:gd name="T96" fmla="*/ 210 w 224"/>
                  <a:gd name="T97" fmla="*/ 122 h 133"/>
                  <a:gd name="T98" fmla="*/ 214 w 224"/>
                  <a:gd name="T99" fmla="*/ 122 h 133"/>
                  <a:gd name="T100" fmla="*/ 220 w 224"/>
                  <a:gd name="T101" fmla="*/ 123 h 133"/>
                  <a:gd name="T102" fmla="*/ 224 w 224"/>
                  <a:gd name="T103" fmla="*/ 125 h 133"/>
                  <a:gd name="T104" fmla="*/ 219 w 224"/>
                  <a:gd name="T105" fmla="*/ 127 h 133"/>
                  <a:gd name="T106" fmla="*/ 210 w 224"/>
                  <a:gd name="T107" fmla="*/ 130 h 133"/>
                  <a:gd name="T108" fmla="*/ 204 w 224"/>
                  <a:gd name="T109" fmla="*/ 127 h 133"/>
                  <a:gd name="T110" fmla="*/ 201 w 224"/>
                  <a:gd name="T111" fmla="*/ 126 h 1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224" h="133">
                    <a:moveTo>
                      <a:pt x="2" y="51"/>
                    </a:moveTo>
                    <a:lnTo>
                      <a:pt x="6" y="51"/>
                    </a:lnTo>
                    <a:lnTo>
                      <a:pt x="9" y="53"/>
                    </a:lnTo>
                    <a:lnTo>
                      <a:pt x="11" y="49"/>
                    </a:lnTo>
                    <a:lnTo>
                      <a:pt x="16" y="46"/>
                    </a:lnTo>
                    <a:lnTo>
                      <a:pt x="12" y="39"/>
                    </a:lnTo>
                    <a:lnTo>
                      <a:pt x="15" y="31"/>
                    </a:lnTo>
                    <a:lnTo>
                      <a:pt x="20" y="29"/>
                    </a:lnTo>
                    <a:lnTo>
                      <a:pt x="25" y="33"/>
                    </a:lnTo>
                    <a:lnTo>
                      <a:pt x="37" y="33"/>
                    </a:lnTo>
                    <a:lnTo>
                      <a:pt x="52" y="40"/>
                    </a:lnTo>
                    <a:lnTo>
                      <a:pt x="68" y="48"/>
                    </a:lnTo>
                    <a:lnTo>
                      <a:pt x="69" y="64"/>
                    </a:lnTo>
                    <a:lnTo>
                      <a:pt x="103" y="20"/>
                    </a:lnTo>
                    <a:lnTo>
                      <a:pt x="172" y="0"/>
                    </a:lnTo>
                    <a:lnTo>
                      <a:pt x="171" y="9"/>
                    </a:lnTo>
                    <a:lnTo>
                      <a:pt x="188" y="30"/>
                    </a:lnTo>
                    <a:lnTo>
                      <a:pt x="186" y="37"/>
                    </a:lnTo>
                    <a:lnTo>
                      <a:pt x="196" y="49"/>
                    </a:lnTo>
                    <a:lnTo>
                      <a:pt x="192" y="50"/>
                    </a:lnTo>
                    <a:lnTo>
                      <a:pt x="185" y="52"/>
                    </a:lnTo>
                    <a:lnTo>
                      <a:pt x="179" y="59"/>
                    </a:lnTo>
                    <a:lnTo>
                      <a:pt x="178" y="63"/>
                    </a:lnTo>
                    <a:lnTo>
                      <a:pt x="180" y="65"/>
                    </a:lnTo>
                    <a:lnTo>
                      <a:pt x="179" y="66"/>
                    </a:lnTo>
                    <a:lnTo>
                      <a:pt x="180" y="68"/>
                    </a:lnTo>
                    <a:lnTo>
                      <a:pt x="171" y="70"/>
                    </a:lnTo>
                    <a:lnTo>
                      <a:pt x="169" y="73"/>
                    </a:lnTo>
                    <a:lnTo>
                      <a:pt x="161" y="76"/>
                    </a:lnTo>
                    <a:lnTo>
                      <a:pt x="149" y="78"/>
                    </a:lnTo>
                    <a:lnTo>
                      <a:pt x="148" y="80"/>
                    </a:lnTo>
                    <a:lnTo>
                      <a:pt x="127" y="86"/>
                    </a:lnTo>
                    <a:lnTo>
                      <a:pt x="126" y="86"/>
                    </a:lnTo>
                    <a:lnTo>
                      <a:pt x="123" y="87"/>
                    </a:lnTo>
                    <a:lnTo>
                      <a:pt x="119" y="94"/>
                    </a:lnTo>
                    <a:lnTo>
                      <a:pt x="113" y="97"/>
                    </a:lnTo>
                    <a:lnTo>
                      <a:pt x="110" y="97"/>
                    </a:lnTo>
                    <a:lnTo>
                      <a:pt x="109" y="96"/>
                    </a:lnTo>
                    <a:lnTo>
                      <a:pt x="107" y="98"/>
                    </a:lnTo>
                    <a:lnTo>
                      <a:pt x="106" y="98"/>
                    </a:lnTo>
                    <a:lnTo>
                      <a:pt x="103" y="96"/>
                    </a:lnTo>
                    <a:lnTo>
                      <a:pt x="100" y="96"/>
                    </a:lnTo>
                    <a:lnTo>
                      <a:pt x="93" y="101"/>
                    </a:lnTo>
                    <a:lnTo>
                      <a:pt x="93" y="104"/>
                    </a:lnTo>
                    <a:lnTo>
                      <a:pt x="90" y="106"/>
                    </a:lnTo>
                    <a:lnTo>
                      <a:pt x="84" y="106"/>
                    </a:lnTo>
                    <a:lnTo>
                      <a:pt x="75" y="110"/>
                    </a:lnTo>
                    <a:lnTo>
                      <a:pt x="71" y="109"/>
                    </a:lnTo>
                    <a:lnTo>
                      <a:pt x="70" y="107"/>
                    </a:lnTo>
                    <a:lnTo>
                      <a:pt x="65" y="108"/>
                    </a:lnTo>
                    <a:lnTo>
                      <a:pt x="64" y="107"/>
                    </a:lnTo>
                    <a:lnTo>
                      <a:pt x="62" y="107"/>
                    </a:lnTo>
                    <a:lnTo>
                      <a:pt x="59" y="107"/>
                    </a:lnTo>
                    <a:lnTo>
                      <a:pt x="55" y="110"/>
                    </a:lnTo>
                    <a:lnTo>
                      <a:pt x="52" y="115"/>
                    </a:lnTo>
                    <a:lnTo>
                      <a:pt x="51" y="115"/>
                    </a:lnTo>
                    <a:lnTo>
                      <a:pt x="47" y="119"/>
                    </a:lnTo>
                    <a:lnTo>
                      <a:pt x="43" y="121"/>
                    </a:lnTo>
                    <a:lnTo>
                      <a:pt x="41" y="119"/>
                    </a:lnTo>
                    <a:lnTo>
                      <a:pt x="38" y="119"/>
                    </a:lnTo>
                    <a:lnTo>
                      <a:pt x="34" y="122"/>
                    </a:lnTo>
                    <a:lnTo>
                      <a:pt x="31" y="123"/>
                    </a:lnTo>
                    <a:lnTo>
                      <a:pt x="26" y="121"/>
                    </a:lnTo>
                    <a:lnTo>
                      <a:pt x="25" y="122"/>
                    </a:lnTo>
                    <a:lnTo>
                      <a:pt x="21" y="123"/>
                    </a:lnTo>
                    <a:lnTo>
                      <a:pt x="20" y="120"/>
                    </a:lnTo>
                    <a:lnTo>
                      <a:pt x="20" y="116"/>
                    </a:lnTo>
                    <a:lnTo>
                      <a:pt x="16" y="112"/>
                    </a:lnTo>
                    <a:lnTo>
                      <a:pt x="14" y="107"/>
                    </a:lnTo>
                    <a:lnTo>
                      <a:pt x="16" y="106"/>
                    </a:lnTo>
                    <a:lnTo>
                      <a:pt x="15" y="100"/>
                    </a:lnTo>
                    <a:lnTo>
                      <a:pt x="10" y="96"/>
                    </a:lnTo>
                    <a:lnTo>
                      <a:pt x="8" y="80"/>
                    </a:lnTo>
                    <a:lnTo>
                      <a:pt x="3" y="75"/>
                    </a:lnTo>
                    <a:lnTo>
                      <a:pt x="3" y="72"/>
                    </a:lnTo>
                    <a:lnTo>
                      <a:pt x="1" y="72"/>
                    </a:lnTo>
                    <a:lnTo>
                      <a:pt x="0" y="70"/>
                    </a:lnTo>
                    <a:lnTo>
                      <a:pt x="3" y="70"/>
                    </a:lnTo>
                    <a:lnTo>
                      <a:pt x="3" y="68"/>
                    </a:lnTo>
                    <a:lnTo>
                      <a:pt x="5" y="68"/>
                    </a:lnTo>
                    <a:lnTo>
                      <a:pt x="5" y="63"/>
                    </a:lnTo>
                    <a:lnTo>
                      <a:pt x="4" y="53"/>
                    </a:lnTo>
                    <a:lnTo>
                      <a:pt x="2" y="51"/>
                    </a:lnTo>
                    <a:lnTo>
                      <a:pt x="2" y="51"/>
                    </a:lnTo>
                    <a:lnTo>
                      <a:pt x="2" y="51"/>
                    </a:lnTo>
                    <a:close/>
                    <a:moveTo>
                      <a:pt x="179" y="132"/>
                    </a:moveTo>
                    <a:lnTo>
                      <a:pt x="183" y="131"/>
                    </a:lnTo>
                    <a:lnTo>
                      <a:pt x="188" y="132"/>
                    </a:lnTo>
                    <a:lnTo>
                      <a:pt x="184" y="133"/>
                    </a:lnTo>
                    <a:lnTo>
                      <a:pt x="179" y="132"/>
                    </a:lnTo>
                    <a:lnTo>
                      <a:pt x="179" y="132"/>
                    </a:lnTo>
                    <a:lnTo>
                      <a:pt x="179" y="132"/>
                    </a:lnTo>
                    <a:close/>
                    <a:moveTo>
                      <a:pt x="201" y="126"/>
                    </a:moveTo>
                    <a:lnTo>
                      <a:pt x="204" y="125"/>
                    </a:lnTo>
                    <a:lnTo>
                      <a:pt x="204" y="122"/>
                    </a:lnTo>
                    <a:lnTo>
                      <a:pt x="206" y="120"/>
                    </a:lnTo>
                    <a:lnTo>
                      <a:pt x="209" y="121"/>
                    </a:lnTo>
                    <a:lnTo>
                      <a:pt x="210" y="122"/>
                    </a:lnTo>
                    <a:lnTo>
                      <a:pt x="212" y="123"/>
                    </a:lnTo>
                    <a:lnTo>
                      <a:pt x="214" y="122"/>
                    </a:lnTo>
                    <a:lnTo>
                      <a:pt x="218" y="121"/>
                    </a:lnTo>
                    <a:lnTo>
                      <a:pt x="220" y="123"/>
                    </a:lnTo>
                    <a:lnTo>
                      <a:pt x="223" y="123"/>
                    </a:lnTo>
                    <a:lnTo>
                      <a:pt x="224" y="125"/>
                    </a:lnTo>
                    <a:lnTo>
                      <a:pt x="222" y="126"/>
                    </a:lnTo>
                    <a:lnTo>
                      <a:pt x="219" y="127"/>
                    </a:lnTo>
                    <a:lnTo>
                      <a:pt x="215" y="129"/>
                    </a:lnTo>
                    <a:lnTo>
                      <a:pt x="210" y="130"/>
                    </a:lnTo>
                    <a:lnTo>
                      <a:pt x="206" y="129"/>
                    </a:lnTo>
                    <a:lnTo>
                      <a:pt x="204" y="127"/>
                    </a:lnTo>
                    <a:lnTo>
                      <a:pt x="201" y="126"/>
                    </a:lnTo>
                    <a:lnTo>
                      <a:pt x="201" y="126"/>
                    </a:lnTo>
                    <a:close/>
                  </a:path>
                </a:pathLst>
              </a:custGeom>
              <a:solidFill>
                <a:schemeClr val="accent2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036" name="Freeform 38"/>
              <p:cNvSpPr>
                <a:spLocks/>
              </p:cNvSpPr>
              <p:nvPr userDrawn="1"/>
            </p:nvSpPr>
            <p:spPr bwMode="auto">
              <a:xfrm>
                <a:off x="4135" y="2602"/>
                <a:ext cx="123" cy="105"/>
              </a:xfrm>
              <a:custGeom>
                <a:avLst/>
                <a:gdLst>
                  <a:gd name="T0" fmla="*/ 106 w 123"/>
                  <a:gd name="T1" fmla="*/ 98 h 105"/>
                  <a:gd name="T2" fmla="*/ 102 w 123"/>
                  <a:gd name="T3" fmla="*/ 96 h 105"/>
                  <a:gd name="T4" fmla="*/ 98 w 123"/>
                  <a:gd name="T5" fmla="*/ 88 h 105"/>
                  <a:gd name="T6" fmla="*/ 89 w 123"/>
                  <a:gd name="T7" fmla="*/ 82 h 105"/>
                  <a:gd name="T8" fmla="*/ 84 w 123"/>
                  <a:gd name="T9" fmla="*/ 78 h 105"/>
                  <a:gd name="T10" fmla="*/ 80 w 123"/>
                  <a:gd name="T11" fmla="*/ 76 h 105"/>
                  <a:gd name="T12" fmla="*/ 73 w 123"/>
                  <a:gd name="T13" fmla="*/ 73 h 105"/>
                  <a:gd name="T14" fmla="*/ 64 w 123"/>
                  <a:gd name="T15" fmla="*/ 67 h 105"/>
                  <a:gd name="T16" fmla="*/ 56 w 123"/>
                  <a:gd name="T17" fmla="*/ 63 h 105"/>
                  <a:gd name="T18" fmla="*/ 53 w 123"/>
                  <a:gd name="T19" fmla="*/ 65 h 105"/>
                  <a:gd name="T20" fmla="*/ 43 w 123"/>
                  <a:gd name="T21" fmla="*/ 60 h 105"/>
                  <a:gd name="T22" fmla="*/ 40 w 123"/>
                  <a:gd name="T23" fmla="*/ 59 h 105"/>
                  <a:gd name="T24" fmla="*/ 33 w 123"/>
                  <a:gd name="T25" fmla="*/ 63 h 105"/>
                  <a:gd name="T26" fmla="*/ 22 w 123"/>
                  <a:gd name="T27" fmla="*/ 60 h 105"/>
                  <a:gd name="T28" fmla="*/ 20 w 123"/>
                  <a:gd name="T29" fmla="*/ 57 h 105"/>
                  <a:gd name="T30" fmla="*/ 11 w 123"/>
                  <a:gd name="T31" fmla="*/ 68 h 105"/>
                  <a:gd name="T32" fmla="*/ 6 w 123"/>
                  <a:gd name="T33" fmla="*/ 70 h 105"/>
                  <a:gd name="T34" fmla="*/ 1 w 123"/>
                  <a:gd name="T35" fmla="*/ 64 h 105"/>
                  <a:gd name="T36" fmla="*/ 0 w 123"/>
                  <a:gd name="T37" fmla="*/ 52 h 105"/>
                  <a:gd name="T38" fmla="*/ 2 w 123"/>
                  <a:gd name="T39" fmla="*/ 48 h 105"/>
                  <a:gd name="T40" fmla="*/ 6 w 123"/>
                  <a:gd name="T41" fmla="*/ 34 h 105"/>
                  <a:gd name="T42" fmla="*/ 10 w 123"/>
                  <a:gd name="T43" fmla="*/ 28 h 105"/>
                  <a:gd name="T44" fmla="*/ 7 w 123"/>
                  <a:gd name="T45" fmla="*/ 25 h 105"/>
                  <a:gd name="T46" fmla="*/ 9 w 123"/>
                  <a:gd name="T47" fmla="*/ 17 h 105"/>
                  <a:gd name="T48" fmla="*/ 16 w 123"/>
                  <a:gd name="T49" fmla="*/ 15 h 105"/>
                  <a:gd name="T50" fmla="*/ 16 w 123"/>
                  <a:gd name="T51" fmla="*/ 12 h 105"/>
                  <a:gd name="T52" fmla="*/ 20 w 123"/>
                  <a:gd name="T53" fmla="*/ 9 h 105"/>
                  <a:gd name="T54" fmla="*/ 26 w 123"/>
                  <a:gd name="T55" fmla="*/ 7 h 105"/>
                  <a:gd name="T56" fmla="*/ 30 w 123"/>
                  <a:gd name="T57" fmla="*/ 5 h 105"/>
                  <a:gd name="T58" fmla="*/ 36 w 123"/>
                  <a:gd name="T59" fmla="*/ 0 h 105"/>
                  <a:gd name="T60" fmla="*/ 41 w 123"/>
                  <a:gd name="T61" fmla="*/ 4 h 105"/>
                  <a:gd name="T62" fmla="*/ 50 w 123"/>
                  <a:gd name="T63" fmla="*/ 36 h 105"/>
                  <a:gd name="T64" fmla="*/ 53 w 123"/>
                  <a:gd name="T65" fmla="*/ 41 h 105"/>
                  <a:gd name="T66" fmla="*/ 55 w 123"/>
                  <a:gd name="T67" fmla="*/ 44 h 105"/>
                  <a:gd name="T68" fmla="*/ 58 w 123"/>
                  <a:gd name="T69" fmla="*/ 53 h 105"/>
                  <a:gd name="T70" fmla="*/ 61 w 123"/>
                  <a:gd name="T71" fmla="*/ 49 h 105"/>
                  <a:gd name="T72" fmla="*/ 61 w 123"/>
                  <a:gd name="T73" fmla="*/ 46 h 105"/>
                  <a:gd name="T74" fmla="*/ 65 w 123"/>
                  <a:gd name="T75" fmla="*/ 50 h 105"/>
                  <a:gd name="T76" fmla="*/ 66 w 123"/>
                  <a:gd name="T77" fmla="*/ 55 h 105"/>
                  <a:gd name="T78" fmla="*/ 70 w 123"/>
                  <a:gd name="T79" fmla="*/ 56 h 105"/>
                  <a:gd name="T80" fmla="*/ 75 w 123"/>
                  <a:gd name="T81" fmla="*/ 56 h 105"/>
                  <a:gd name="T82" fmla="*/ 81 w 123"/>
                  <a:gd name="T83" fmla="*/ 59 h 105"/>
                  <a:gd name="T84" fmla="*/ 87 w 123"/>
                  <a:gd name="T85" fmla="*/ 63 h 105"/>
                  <a:gd name="T86" fmla="*/ 94 w 123"/>
                  <a:gd name="T87" fmla="*/ 72 h 105"/>
                  <a:gd name="T88" fmla="*/ 101 w 123"/>
                  <a:gd name="T89" fmla="*/ 77 h 105"/>
                  <a:gd name="T90" fmla="*/ 106 w 123"/>
                  <a:gd name="T91" fmla="*/ 80 h 105"/>
                  <a:gd name="T92" fmla="*/ 107 w 123"/>
                  <a:gd name="T93" fmla="*/ 81 h 105"/>
                  <a:gd name="T94" fmla="*/ 112 w 123"/>
                  <a:gd name="T95" fmla="*/ 89 h 105"/>
                  <a:gd name="T96" fmla="*/ 114 w 123"/>
                  <a:gd name="T97" fmla="*/ 94 h 105"/>
                  <a:gd name="T98" fmla="*/ 117 w 123"/>
                  <a:gd name="T99" fmla="*/ 96 h 105"/>
                  <a:gd name="T100" fmla="*/ 121 w 123"/>
                  <a:gd name="T101" fmla="*/ 96 h 105"/>
                  <a:gd name="T102" fmla="*/ 123 w 123"/>
                  <a:gd name="T103" fmla="*/ 97 h 105"/>
                  <a:gd name="T104" fmla="*/ 116 w 123"/>
                  <a:gd name="T105" fmla="*/ 102 h 105"/>
                  <a:gd name="T106" fmla="*/ 110 w 123"/>
                  <a:gd name="T107" fmla="*/ 105 h 1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23" h="105">
                    <a:moveTo>
                      <a:pt x="110" y="105"/>
                    </a:moveTo>
                    <a:lnTo>
                      <a:pt x="106" y="98"/>
                    </a:lnTo>
                    <a:lnTo>
                      <a:pt x="103" y="98"/>
                    </a:lnTo>
                    <a:lnTo>
                      <a:pt x="102" y="96"/>
                    </a:lnTo>
                    <a:lnTo>
                      <a:pt x="101" y="93"/>
                    </a:lnTo>
                    <a:lnTo>
                      <a:pt x="98" y="88"/>
                    </a:lnTo>
                    <a:lnTo>
                      <a:pt x="94" y="88"/>
                    </a:lnTo>
                    <a:lnTo>
                      <a:pt x="89" y="82"/>
                    </a:lnTo>
                    <a:lnTo>
                      <a:pt x="85" y="80"/>
                    </a:lnTo>
                    <a:lnTo>
                      <a:pt x="84" y="78"/>
                    </a:lnTo>
                    <a:lnTo>
                      <a:pt x="80" y="78"/>
                    </a:lnTo>
                    <a:lnTo>
                      <a:pt x="80" y="76"/>
                    </a:lnTo>
                    <a:lnTo>
                      <a:pt x="74" y="76"/>
                    </a:lnTo>
                    <a:lnTo>
                      <a:pt x="73" y="73"/>
                    </a:lnTo>
                    <a:lnTo>
                      <a:pt x="66" y="68"/>
                    </a:lnTo>
                    <a:lnTo>
                      <a:pt x="64" y="67"/>
                    </a:lnTo>
                    <a:lnTo>
                      <a:pt x="60" y="64"/>
                    </a:lnTo>
                    <a:lnTo>
                      <a:pt x="56" y="63"/>
                    </a:lnTo>
                    <a:lnTo>
                      <a:pt x="53" y="64"/>
                    </a:lnTo>
                    <a:lnTo>
                      <a:pt x="53" y="65"/>
                    </a:lnTo>
                    <a:lnTo>
                      <a:pt x="47" y="60"/>
                    </a:lnTo>
                    <a:lnTo>
                      <a:pt x="43" y="60"/>
                    </a:lnTo>
                    <a:lnTo>
                      <a:pt x="43" y="62"/>
                    </a:lnTo>
                    <a:lnTo>
                      <a:pt x="40" y="59"/>
                    </a:lnTo>
                    <a:lnTo>
                      <a:pt x="36" y="60"/>
                    </a:lnTo>
                    <a:lnTo>
                      <a:pt x="33" y="63"/>
                    </a:lnTo>
                    <a:lnTo>
                      <a:pt x="29" y="63"/>
                    </a:lnTo>
                    <a:lnTo>
                      <a:pt x="22" y="60"/>
                    </a:lnTo>
                    <a:lnTo>
                      <a:pt x="22" y="58"/>
                    </a:lnTo>
                    <a:lnTo>
                      <a:pt x="20" y="57"/>
                    </a:lnTo>
                    <a:lnTo>
                      <a:pt x="14" y="67"/>
                    </a:lnTo>
                    <a:lnTo>
                      <a:pt x="11" y="68"/>
                    </a:lnTo>
                    <a:lnTo>
                      <a:pt x="10" y="70"/>
                    </a:lnTo>
                    <a:lnTo>
                      <a:pt x="6" y="70"/>
                    </a:lnTo>
                    <a:lnTo>
                      <a:pt x="2" y="68"/>
                    </a:lnTo>
                    <a:lnTo>
                      <a:pt x="1" y="64"/>
                    </a:lnTo>
                    <a:lnTo>
                      <a:pt x="0" y="57"/>
                    </a:lnTo>
                    <a:lnTo>
                      <a:pt x="0" y="52"/>
                    </a:lnTo>
                    <a:lnTo>
                      <a:pt x="1" y="51"/>
                    </a:lnTo>
                    <a:lnTo>
                      <a:pt x="2" y="48"/>
                    </a:lnTo>
                    <a:lnTo>
                      <a:pt x="5" y="43"/>
                    </a:lnTo>
                    <a:lnTo>
                      <a:pt x="6" y="34"/>
                    </a:lnTo>
                    <a:lnTo>
                      <a:pt x="9" y="29"/>
                    </a:lnTo>
                    <a:lnTo>
                      <a:pt x="10" y="28"/>
                    </a:lnTo>
                    <a:lnTo>
                      <a:pt x="9" y="26"/>
                    </a:lnTo>
                    <a:lnTo>
                      <a:pt x="7" y="25"/>
                    </a:lnTo>
                    <a:lnTo>
                      <a:pt x="9" y="21"/>
                    </a:lnTo>
                    <a:lnTo>
                      <a:pt x="9" y="17"/>
                    </a:lnTo>
                    <a:lnTo>
                      <a:pt x="11" y="15"/>
                    </a:lnTo>
                    <a:lnTo>
                      <a:pt x="16" y="15"/>
                    </a:lnTo>
                    <a:lnTo>
                      <a:pt x="17" y="13"/>
                    </a:lnTo>
                    <a:lnTo>
                      <a:pt x="16" y="12"/>
                    </a:lnTo>
                    <a:lnTo>
                      <a:pt x="16" y="10"/>
                    </a:lnTo>
                    <a:lnTo>
                      <a:pt x="20" y="9"/>
                    </a:lnTo>
                    <a:lnTo>
                      <a:pt x="22" y="7"/>
                    </a:lnTo>
                    <a:lnTo>
                      <a:pt x="26" y="7"/>
                    </a:lnTo>
                    <a:lnTo>
                      <a:pt x="27" y="6"/>
                    </a:lnTo>
                    <a:lnTo>
                      <a:pt x="30" y="5"/>
                    </a:lnTo>
                    <a:lnTo>
                      <a:pt x="33" y="4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41" y="4"/>
                    </a:lnTo>
                    <a:lnTo>
                      <a:pt x="48" y="24"/>
                    </a:lnTo>
                    <a:lnTo>
                      <a:pt x="50" y="36"/>
                    </a:lnTo>
                    <a:lnTo>
                      <a:pt x="52" y="37"/>
                    </a:lnTo>
                    <a:lnTo>
                      <a:pt x="53" y="41"/>
                    </a:lnTo>
                    <a:lnTo>
                      <a:pt x="53" y="43"/>
                    </a:lnTo>
                    <a:lnTo>
                      <a:pt x="55" y="44"/>
                    </a:lnTo>
                    <a:lnTo>
                      <a:pt x="57" y="48"/>
                    </a:lnTo>
                    <a:lnTo>
                      <a:pt x="58" y="53"/>
                    </a:lnTo>
                    <a:lnTo>
                      <a:pt x="61" y="53"/>
                    </a:lnTo>
                    <a:lnTo>
                      <a:pt x="61" y="49"/>
                    </a:lnTo>
                    <a:lnTo>
                      <a:pt x="60" y="49"/>
                    </a:lnTo>
                    <a:lnTo>
                      <a:pt x="61" y="46"/>
                    </a:lnTo>
                    <a:lnTo>
                      <a:pt x="62" y="45"/>
                    </a:lnTo>
                    <a:lnTo>
                      <a:pt x="65" y="50"/>
                    </a:lnTo>
                    <a:lnTo>
                      <a:pt x="64" y="51"/>
                    </a:lnTo>
                    <a:lnTo>
                      <a:pt x="66" y="55"/>
                    </a:lnTo>
                    <a:lnTo>
                      <a:pt x="69" y="57"/>
                    </a:lnTo>
                    <a:lnTo>
                      <a:pt x="70" y="56"/>
                    </a:lnTo>
                    <a:lnTo>
                      <a:pt x="73" y="56"/>
                    </a:lnTo>
                    <a:lnTo>
                      <a:pt x="75" y="56"/>
                    </a:lnTo>
                    <a:lnTo>
                      <a:pt x="77" y="55"/>
                    </a:lnTo>
                    <a:lnTo>
                      <a:pt x="81" y="59"/>
                    </a:lnTo>
                    <a:lnTo>
                      <a:pt x="82" y="61"/>
                    </a:lnTo>
                    <a:lnTo>
                      <a:pt x="87" y="63"/>
                    </a:lnTo>
                    <a:lnTo>
                      <a:pt x="88" y="65"/>
                    </a:lnTo>
                    <a:lnTo>
                      <a:pt x="94" y="72"/>
                    </a:lnTo>
                    <a:lnTo>
                      <a:pt x="97" y="75"/>
                    </a:lnTo>
                    <a:lnTo>
                      <a:pt x="101" y="77"/>
                    </a:lnTo>
                    <a:lnTo>
                      <a:pt x="104" y="80"/>
                    </a:lnTo>
                    <a:lnTo>
                      <a:pt x="106" y="80"/>
                    </a:lnTo>
                    <a:lnTo>
                      <a:pt x="106" y="79"/>
                    </a:lnTo>
                    <a:lnTo>
                      <a:pt x="107" y="81"/>
                    </a:lnTo>
                    <a:lnTo>
                      <a:pt x="109" y="88"/>
                    </a:lnTo>
                    <a:lnTo>
                      <a:pt x="112" y="89"/>
                    </a:lnTo>
                    <a:lnTo>
                      <a:pt x="114" y="92"/>
                    </a:lnTo>
                    <a:lnTo>
                      <a:pt x="114" y="94"/>
                    </a:lnTo>
                    <a:lnTo>
                      <a:pt x="115" y="96"/>
                    </a:lnTo>
                    <a:lnTo>
                      <a:pt x="117" y="96"/>
                    </a:lnTo>
                    <a:lnTo>
                      <a:pt x="119" y="97"/>
                    </a:lnTo>
                    <a:lnTo>
                      <a:pt x="121" y="96"/>
                    </a:lnTo>
                    <a:lnTo>
                      <a:pt x="122" y="97"/>
                    </a:lnTo>
                    <a:lnTo>
                      <a:pt x="123" y="97"/>
                    </a:lnTo>
                    <a:lnTo>
                      <a:pt x="119" y="101"/>
                    </a:lnTo>
                    <a:lnTo>
                      <a:pt x="116" y="102"/>
                    </a:lnTo>
                    <a:lnTo>
                      <a:pt x="114" y="104"/>
                    </a:lnTo>
                    <a:lnTo>
                      <a:pt x="110" y="105"/>
                    </a:lnTo>
                    <a:lnTo>
                      <a:pt x="110" y="105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037" name="Freeform 39"/>
              <p:cNvSpPr>
                <a:spLocks/>
              </p:cNvSpPr>
              <p:nvPr userDrawn="1"/>
            </p:nvSpPr>
            <p:spPr bwMode="auto">
              <a:xfrm>
                <a:off x="4235" y="2699"/>
                <a:ext cx="28" cy="34"/>
              </a:xfrm>
              <a:custGeom>
                <a:avLst/>
                <a:gdLst>
                  <a:gd name="T0" fmla="*/ 21 w 28"/>
                  <a:gd name="T1" fmla="*/ 32 h 34"/>
                  <a:gd name="T2" fmla="*/ 18 w 28"/>
                  <a:gd name="T3" fmla="*/ 30 h 34"/>
                  <a:gd name="T4" fmla="*/ 13 w 28"/>
                  <a:gd name="T5" fmla="*/ 31 h 34"/>
                  <a:gd name="T6" fmla="*/ 8 w 28"/>
                  <a:gd name="T7" fmla="*/ 33 h 34"/>
                  <a:gd name="T8" fmla="*/ 2 w 28"/>
                  <a:gd name="T9" fmla="*/ 34 h 34"/>
                  <a:gd name="T10" fmla="*/ 0 w 28"/>
                  <a:gd name="T11" fmla="*/ 32 h 34"/>
                  <a:gd name="T12" fmla="*/ 3 w 28"/>
                  <a:gd name="T13" fmla="*/ 27 h 34"/>
                  <a:gd name="T14" fmla="*/ 3 w 28"/>
                  <a:gd name="T15" fmla="*/ 24 h 34"/>
                  <a:gd name="T16" fmla="*/ 5 w 28"/>
                  <a:gd name="T17" fmla="*/ 21 h 34"/>
                  <a:gd name="T18" fmla="*/ 5 w 28"/>
                  <a:gd name="T19" fmla="*/ 17 h 34"/>
                  <a:gd name="T20" fmla="*/ 6 w 28"/>
                  <a:gd name="T21" fmla="*/ 14 h 34"/>
                  <a:gd name="T22" fmla="*/ 7 w 28"/>
                  <a:gd name="T23" fmla="*/ 9 h 34"/>
                  <a:gd name="T24" fmla="*/ 14 w 28"/>
                  <a:gd name="T25" fmla="*/ 7 h 34"/>
                  <a:gd name="T26" fmla="*/ 16 w 28"/>
                  <a:gd name="T27" fmla="*/ 5 h 34"/>
                  <a:gd name="T28" fmla="*/ 19 w 28"/>
                  <a:gd name="T29" fmla="*/ 4 h 34"/>
                  <a:gd name="T30" fmla="*/ 23 w 28"/>
                  <a:gd name="T31" fmla="*/ 0 h 34"/>
                  <a:gd name="T32" fmla="*/ 23 w 28"/>
                  <a:gd name="T33" fmla="*/ 0 h 34"/>
                  <a:gd name="T34" fmla="*/ 23 w 28"/>
                  <a:gd name="T35" fmla="*/ 2 h 34"/>
                  <a:gd name="T36" fmla="*/ 27 w 28"/>
                  <a:gd name="T37" fmla="*/ 6 h 34"/>
                  <a:gd name="T38" fmla="*/ 28 w 28"/>
                  <a:gd name="T39" fmla="*/ 6 h 34"/>
                  <a:gd name="T40" fmla="*/ 28 w 28"/>
                  <a:gd name="T41" fmla="*/ 8 h 34"/>
                  <a:gd name="T42" fmla="*/ 28 w 28"/>
                  <a:gd name="T43" fmla="*/ 14 h 34"/>
                  <a:gd name="T44" fmla="*/ 26 w 28"/>
                  <a:gd name="T45" fmla="*/ 14 h 34"/>
                  <a:gd name="T46" fmla="*/ 23 w 28"/>
                  <a:gd name="T47" fmla="*/ 18 h 34"/>
                  <a:gd name="T48" fmla="*/ 20 w 28"/>
                  <a:gd name="T49" fmla="*/ 18 h 34"/>
                  <a:gd name="T50" fmla="*/ 18 w 28"/>
                  <a:gd name="T51" fmla="*/ 20 h 34"/>
                  <a:gd name="T52" fmla="*/ 14 w 28"/>
                  <a:gd name="T53" fmla="*/ 20 h 34"/>
                  <a:gd name="T54" fmla="*/ 16 w 28"/>
                  <a:gd name="T55" fmla="*/ 23 h 34"/>
                  <a:gd name="T56" fmla="*/ 18 w 28"/>
                  <a:gd name="T57" fmla="*/ 23 h 34"/>
                  <a:gd name="T58" fmla="*/ 20 w 28"/>
                  <a:gd name="T59" fmla="*/ 22 h 34"/>
                  <a:gd name="T60" fmla="*/ 25 w 28"/>
                  <a:gd name="T61" fmla="*/ 22 h 34"/>
                  <a:gd name="T62" fmla="*/ 26 w 28"/>
                  <a:gd name="T63" fmla="*/ 23 h 34"/>
                  <a:gd name="T64" fmla="*/ 22 w 28"/>
                  <a:gd name="T65" fmla="*/ 31 h 34"/>
                  <a:gd name="T66" fmla="*/ 21 w 28"/>
                  <a:gd name="T67" fmla="*/ 32 h 34"/>
                  <a:gd name="T68" fmla="*/ 21 w 28"/>
                  <a:gd name="T69" fmla="*/ 32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8" h="34">
                    <a:moveTo>
                      <a:pt x="21" y="32"/>
                    </a:moveTo>
                    <a:lnTo>
                      <a:pt x="18" y="30"/>
                    </a:lnTo>
                    <a:lnTo>
                      <a:pt x="13" y="31"/>
                    </a:lnTo>
                    <a:lnTo>
                      <a:pt x="8" y="33"/>
                    </a:lnTo>
                    <a:lnTo>
                      <a:pt x="2" y="34"/>
                    </a:lnTo>
                    <a:lnTo>
                      <a:pt x="0" y="32"/>
                    </a:lnTo>
                    <a:lnTo>
                      <a:pt x="3" y="27"/>
                    </a:lnTo>
                    <a:lnTo>
                      <a:pt x="3" y="24"/>
                    </a:lnTo>
                    <a:lnTo>
                      <a:pt x="5" y="21"/>
                    </a:lnTo>
                    <a:lnTo>
                      <a:pt x="5" y="17"/>
                    </a:lnTo>
                    <a:lnTo>
                      <a:pt x="6" y="14"/>
                    </a:lnTo>
                    <a:lnTo>
                      <a:pt x="7" y="9"/>
                    </a:lnTo>
                    <a:lnTo>
                      <a:pt x="14" y="7"/>
                    </a:lnTo>
                    <a:lnTo>
                      <a:pt x="16" y="5"/>
                    </a:lnTo>
                    <a:lnTo>
                      <a:pt x="19" y="4"/>
                    </a:lnTo>
                    <a:lnTo>
                      <a:pt x="23" y="0"/>
                    </a:lnTo>
                    <a:lnTo>
                      <a:pt x="23" y="0"/>
                    </a:lnTo>
                    <a:lnTo>
                      <a:pt x="23" y="2"/>
                    </a:lnTo>
                    <a:lnTo>
                      <a:pt x="27" y="6"/>
                    </a:lnTo>
                    <a:lnTo>
                      <a:pt x="28" y="6"/>
                    </a:lnTo>
                    <a:lnTo>
                      <a:pt x="28" y="8"/>
                    </a:lnTo>
                    <a:lnTo>
                      <a:pt x="28" y="14"/>
                    </a:lnTo>
                    <a:lnTo>
                      <a:pt x="26" y="14"/>
                    </a:lnTo>
                    <a:lnTo>
                      <a:pt x="23" y="18"/>
                    </a:lnTo>
                    <a:lnTo>
                      <a:pt x="20" y="18"/>
                    </a:lnTo>
                    <a:lnTo>
                      <a:pt x="18" y="20"/>
                    </a:lnTo>
                    <a:lnTo>
                      <a:pt x="14" y="20"/>
                    </a:lnTo>
                    <a:lnTo>
                      <a:pt x="16" y="23"/>
                    </a:lnTo>
                    <a:lnTo>
                      <a:pt x="18" y="23"/>
                    </a:lnTo>
                    <a:lnTo>
                      <a:pt x="20" y="22"/>
                    </a:lnTo>
                    <a:lnTo>
                      <a:pt x="25" y="22"/>
                    </a:lnTo>
                    <a:lnTo>
                      <a:pt x="26" y="23"/>
                    </a:lnTo>
                    <a:lnTo>
                      <a:pt x="22" y="31"/>
                    </a:lnTo>
                    <a:lnTo>
                      <a:pt x="21" y="32"/>
                    </a:lnTo>
                    <a:lnTo>
                      <a:pt x="21" y="32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038" name="Freeform 40"/>
              <p:cNvSpPr>
                <a:spLocks/>
              </p:cNvSpPr>
              <p:nvPr userDrawn="1"/>
            </p:nvSpPr>
            <p:spPr bwMode="auto">
              <a:xfrm>
                <a:off x="3733" y="2728"/>
                <a:ext cx="239" cy="156"/>
              </a:xfrm>
              <a:custGeom>
                <a:avLst/>
                <a:gdLst>
                  <a:gd name="T0" fmla="*/ 152 w 239"/>
                  <a:gd name="T1" fmla="*/ 6 h 156"/>
                  <a:gd name="T2" fmla="*/ 165 w 239"/>
                  <a:gd name="T3" fmla="*/ 24 h 156"/>
                  <a:gd name="T4" fmla="*/ 163 w 239"/>
                  <a:gd name="T5" fmla="*/ 35 h 156"/>
                  <a:gd name="T6" fmla="*/ 171 w 239"/>
                  <a:gd name="T7" fmla="*/ 42 h 156"/>
                  <a:gd name="T8" fmla="*/ 178 w 239"/>
                  <a:gd name="T9" fmla="*/ 49 h 156"/>
                  <a:gd name="T10" fmla="*/ 191 w 239"/>
                  <a:gd name="T11" fmla="*/ 55 h 156"/>
                  <a:gd name="T12" fmla="*/ 200 w 239"/>
                  <a:gd name="T13" fmla="*/ 61 h 156"/>
                  <a:gd name="T14" fmla="*/ 195 w 239"/>
                  <a:gd name="T15" fmla="*/ 68 h 156"/>
                  <a:gd name="T16" fmla="*/ 207 w 239"/>
                  <a:gd name="T17" fmla="*/ 73 h 156"/>
                  <a:gd name="T18" fmla="*/ 215 w 239"/>
                  <a:gd name="T19" fmla="*/ 83 h 156"/>
                  <a:gd name="T20" fmla="*/ 222 w 239"/>
                  <a:gd name="T21" fmla="*/ 92 h 156"/>
                  <a:gd name="T22" fmla="*/ 231 w 239"/>
                  <a:gd name="T23" fmla="*/ 98 h 156"/>
                  <a:gd name="T24" fmla="*/ 239 w 239"/>
                  <a:gd name="T25" fmla="*/ 109 h 156"/>
                  <a:gd name="T26" fmla="*/ 231 w 239"/>
                  <a:gd name="T27" fmla="*/ 107 h 156"/>
                  <a:gd name="T28" fmla="*/ 215 w 239"/>
                  <a:gd name="T29" fmla="*/ 108 h 156"/>
                  <a:gd name="T30" fmla="*/ 205 w 239"/>
                  <a:gd name="T31" fmla="*/ 106 h 156"/>
                  <a:gd name="T32" fmla="*/ 201 w 239"/>
                  <a:gd name="T33" fmla="*/ 107 h 156"/>
                  <a:gd name="T34" fmla="*/ 189 w 239"/>
                  <a:gd name="T35" fmla="*/ 111 h 156"/>
                  <a:gd name="T36" fmla="*/ 183 w 239"/>
                  <a:gd name="T37" fmla="*/ 110 h 156"/>
                  <a:gd name="T38" fmla="*/ 169 w 239"/>
                  <a:gd name="T39" fmla="*/ 113 h 156"/>
                  <a:gd name="T40" fmla="*/ 156 w 239"/>
                  <a:gd name="T41" fmla="*/ 115 h 156"/>
                  <a:gd name="T42" fmla="*/ 144 w 239"/>
                  <a:gd name="T43" fmla="*/ 119 h 156"/>
                  <a:gd name="T44" fmla="*/ 141 w 239"/>
                  <a:gd name="T45" fmla="*/ 126 h 156"/>
                  <a:gd name="T46" fmla="*/ 128 w 239"/>
                  <a:gd name="T47" fmla="*/ 122 h 156"/>
                  <a:gd name="T48" fmla="*/ 116 w 239"/>
                  <a:gd name="T49" fmla="*/ 120 h 156"/>
                  <a:gd name="T50" fmla="*/ 102 w 239"/>
                  <a:gd name="T51" fmla="*/ 115 h 156"/>
                  <a:gd name="T52" fmla="*/ 91 w 239"/>
                  <a:gd name="T53" fmla="*/ 109 h 156"/>
                  <a:gd name="T54" fmla="*/ 82 w 239"/>
                  <a:gd name="T55" fmla="*/ 113 h 156"/>
                  <a:gd name="T56" fmla="*/ 79 w 239"/>
                  <a:gd name="T57" fmla="*/ 119 h 156"/>
                  <a:gd name="T58" fmla="*/ 78 w 239"/>
                  <a:gd name="T59" fmla="*/ 127 h 156"/>
                  <a:gd name="T60" fmla="*/ 73 w 239"/>
                  <a:gd name="T61" fmla="*/ 135 h 156"/>
                  <a:gd name="T62" fmla="*/ 64 w 239"/>
                  <a:gd name="T63" fmla="*/ 132 h 156"/>
                  <a:gd name="T64" fmla="*/ 49 w 239"/>
                  <a:gd name="T65" fmla="*/ 136 h 156"/>
                  <a:gd name="T66" fmla="*/ 31 w 239"/>
                  <a:gd name="T67" fmla="*/ 156 h 156"/>
                  <a:gd name="T68" fmla="*/ 30 w 239"/>
                  <a:gd name="T69" fmla="*/ 148 h 156"/>
                  <a:gd name="T70" fmla="*/ 14 w 239"/>
                  <a:gd name="T71" fmla="*/ 130 h 156"/>
                  <a:gd name="T72" fmla="*/ 3 w 239"/>
                  <a:gd name="T73" fmla="*/ 119 h 156"/>
                  <a:gd name="T74" fmla="*/ 2 w 239"/>
                  <a:gd name="T75" fmla="*/ 99 h 156"/>
                  <a:gd name="T76" fmla="*/ 3 w 239"/>
                  <a:gd name="T77" fmla="*/ 87 h 156"/>
                  <a:gd name="T78" fmla="*/ 14 w 239"/>
                  <a:gd name="T79" fmla="*/ 69 h 156"/>
                  <a:gd name="T80" fmla="*/ 22 w 239"/>
                  <a:gd name="T81" fmla="*/ 64 h 156"/>
                  <a:gd name="T82" fmla="*/ 35 w 239"/>
                  <a:gd name="T83" fmla="*/ 67 h 156"/>
                  <a:gd name="T84" fmla="*/ 40 w 239"/>
                  <a:gd name="T85" fmla="*/ 59 h 156"/>
                  <a:gd name="T86" fmla="*/ 52 w 239"/>
                  <a:gd name="T87" fmla="*/ 60 h 156"/>
                  <a:gd name="T88" fmla="*/ 77 w 239"/>
                  <a:gd name="T89" fmla="*/ 53 h 156"/>
                  <a:gd name="T90" fmla="*/ 82 w 239"/>
                  <a:gd name="T91" fmla="*/ 45 h 156"/>
                  <a:gd name="T92" fmla="*/ 84 w 239"/>
                  <a:gd name="T93" fmla="*/ 37 h 156"/>
                  <a:gd name="T94" fmla="*/ 101 w 239"/>
                  <a:gd name="T95" fmla="*/ 37 h 156"/>
                  <a:gd name="T96" fmla="*/ 116 w 239"/>
                  <a:gd name="T97" fmla="*/ 31 h 156"/>
                  <a:gd name="T98" fmla="*/ 119 w 239"/>
                  <a:gd name="T99" fmla="*/ 20 h 156"/>
                  <a:gd name="T100" fmla="*/ 128 w 239"/>
                  <a:gd name="T101" fmla="*/ 12 h 156"/>
                  <a:gd name="T102" fmla="*/ 135 w 239"/>
                  <a:gd name="T103" fmla="*/ 5 h 156"/>
                  <a:gd name="T104" fmla="*/ 150 w 239"/>
                  <a:gd name="T105" fmla="*/ 2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39" h="156">
                    <a:moveTo>
                      <a:pt x="151" y="0"/>
                    </a:moveTo>
                    <a:lnTo>
                      <a:pt x="153" y="2"/>
                    </a:lnTo>
                    <a:lnTo>
                      <a:pt x="153" y="5"/>
                    </a:lnTo>
                    <a:lnTo>
                      <a:pt x="152" y="6"/>
                    </a:lnTo>
                    <a:lnTo>
                      <a:pt x="156" y="10"/>
                    </a:lnTo>
                    <a:lnTo>
                      <a:pt x="156" y="11"/>
                    </a:lnTo>
                    <a:lnTo>
                      <a:pt x="162" y="17"/>
                    </a:lnTo>
                    <a:lnTo>
                      <a:pt x="165" y="24"/>
                    </a:lnTo>
                    <a:lnTo>
                      <a:pt x="165" y="27"/>
                    </a:lnTo>
                    <a:lnTo>
                      <a:pt x="165" y="31"/>
                    </a:lnTo>
                    <a:lnTo>
                      <a:pt x="164" y="33"/>
                    </a:lnTo>
                    <a:lnTo>
                      <a:pt x="163" y="35"/>
                    </a:lnTo>
                    <a:lnTo>
                      <a:pt x="163" y="41"/>
                    </a:lnTo>
                    <a:lnTo>
                      <a:pt x="165" y="43"/>
                    </a:lnTo>
                    <a:lnTo>
                      <a:pt x="170" y="43"/>
                    </a:lnTo>
                    <a:lnTo>
                      <a:pt x="171" y="42"/>
                    </a:lnTo>
                    <a:lnTo>
                      <a:pt x="177" y="42"/>
                    </a:lnTo>
                    <a:lnTo>
                      <a:pt x="179" y="43"/>
                    </a:lnTo>
                    <a:lnTo>
                      <a:pt x="177" y="46"/>
                    </a:lnTo>
                    <a:lnTo>
                      <a:pt x="178" y="49"/>
                    </a:lnTo>
                    <a:lnTo>
                      <a:pt x="181" y="52"/>
                    </a:lnTo>
                    <a:lnTo>
                      <a:pt x="185" y="53"/>
                    </a:lnTo>
                    <a:lnTo>
                      <a:pt x="188" y="53"/>
                    </a:lnTo>
                    <a:lnTo>
                      <a:pt x="191" y="55"/>
                    </a:lnTo>
                    <a:lnTo>
                      <a:pt x="192" y="57"/>
                    </a:lnTo>
                    <a:lnTo>
                      <a:pt x="195" y="58"/>
                    </a:lnTo>
                    <a:lnTo>
                      <a:pt x="199" y="59"/>
                    </a:lnTo>
                    <a:lnTo>
                      <a:pt x="200" y="61"/>
                    </a:lnTo>
                    <a:lnTo>
                      <a:pt x="199" y="63"/>
                    </a:lnTo>
                    <a:lnTo>
                      <a:pt x="197" y="65"/>
                    </a:lnTo>
                    <a:lnTo>
                      <a:pt x="196" y="67"/>
                    </a:lnTo>
                    <a:lnTo>
                      <a:pt x="195" y="68"/>
                    </a:lnTo>
                    <a:lnTo>
                      <a:pt x="199" y="72"/>
                    </a:lnTo>
                    <a:lnTo>
                      <a:pt x="202" y="73"/>
                    </a:lnTo>
                    <a:lnTo>
                      <a:pt x="204" y="72"/>
                    </a:lnTo>
                    <a:lnTo>
                      <a:pt x="207" y="73"/>
                    </a:lnTo>
                    <a:lnTo>
                      <a:pt x="208" y="73"/>
                    </a:lnTo>
                    <a:lnTo>
                      <a:pt x="213" y="76"/>
                    </a:lnTo>
                    <a:lnTo>
                      <a:pt x="215" y="78"/>
                    </a:lnTo>
                    <a:lnTo>
                      <a:pt x="215" y="83"/>
                    </a:lnTo>
                    <a:lnTo>
                      <a:pt x="217" y="85"/>
                    </a:lnTo>
                    <a:lnTo>
                      <a:pt x="221" y="87"/>
                    </a:lnTo>
                    <a:lnTo>
                      <a:pt x="222" y="88"/>
                    </a:lnTo>
                    <a:lnTo>
                      <a:pt x="222" y="92"/>
                    </a:lnTo>
                    <a:lnTo>
                      <a:pt x="224" y="93"/>
                    </a:lnTo>
                    <a:lnTo>
                      <a:pt x="230" y="95"/>
                    </a:lnTo>
                    <a:lnTo>
                      <a:pt x="232" y="97"/>
                    </a:lnTo>
                    <a:lnTo>
                      <a:pt x="231" y="98"/>
                    </a:lnTo>
                    <a:lnTo>
                      <a:pt x="232" y="104"/>
                    </a:lnTo>
                    <a:lnTo>
                      <a:pt x="234" y="105"/>
                    </a:lnTo>
                    <a:lnTo>
                      <a:pt x="238" y="107"/>
                    </a:lnTo>
                    <a:lnTo>
                      <a:pt x="239" y="109"/>
                    </a:lnTo>
                    <a:lnTo>
                      <a:pt x="239" y="110"/>
                    </a:lnTo>
                    <a:lnTo>
                      <a:pt x="239" y="110"/>
                    </a:lnTo>
                    <a:lnTo>
                      <a:pt x="235" y="108"/>
                    </a:lnTo>
                    <a:lnTo>
                      <a:pt x="231" y="107"/>
                    </a:lnTo>
                    <a:lnTo>
                      <a:pt x="226" y="110"/>
                    </a:lnTo>
                    <a:lnTo>
                      <a:pt x="225" y="109"/>
                    </a:lnTo>
                    <a:lnTo>
                      <a:pt x="217" y="109"/>
                    </a:lnTo>
                    <a:lnTo>
                      <a:pt x="215" y="108"/>
                    </a:lnTo>
                    <a:lnTo>
                      <a:pt x="212" y="107"/>
                    </a:lnTo>
                    <a:lnTo>
                      <a:pt x="210" y="106"/>
                    </a:lnTo>
                    <a:lnTo>
                      <a:pt x="208" y="106"/>
                    </a:lnTo>
                    <a:lnTo>
                      <a:pt x="205" y="106"/>
                    </a:lnTo>
                    <a:lnTo>
                      <a:pt x="203" y="104"/>
                    </a:lnTo>
                    <a:lnTo>
                      <a:pt x="200" y="104"/>
                    </a:lnTo>
                    <a:lnTo>
                      <a:pt x="200" y="106"/>
                    </a:lnTo>
                    <a:lnTo>
                      <a:pt x="201" y="107"/>
                    </a:lnTo>
                    <a:lnTo>
                      <a:pt x="198" y="111"/>
                    </a:lnTo>
                    <a:lnTo>
                      <a:pt x="196" y="111"/>
                    </a:lnTo>
                    <a:lnTo>
                      <a:pt x="193" y="111"/>
                    </a:lnTo>
                    <a:lnTo>
                      <a:pt x="189" y="111"/>
                    </a:lnTo>
                    <a:lnTo>
                      <a:pt x="187" y="113"/>
                    </a:lnTo>
                    <a:lnTo>
                      <a:pt x="185" y="113"/>
                    </a:lnTo>
                    <a:lnTo>
                      <a:pt x="185" y="111"/>
                    </a:lnTo>
                    <a:lnTo>
                      <a:pt x="183" y="110"/>
                    </a:lnTo>
                    <a:lnTo>
                      <a:pt x="183" y="109"/>
                    </a:lnTo>
                    <a:lnTo>
                      <a:pt x="180" y="109"/>
                    </a:lnTo>
                    <a:lnTo>
                      <a:pt x="172" y="112"/>
                    </a:lnTo>
                    <a:lnTo>
                      <a:pt x="169" y="113"/>
                    </a:lnTo>
                    <a:lnTo>
                      <a:pt x="168" y="115"/>
                    </a:lnTo>
                    <a:lnTo>
                      <a:pt x="161" y="116"/>
                    </a:lnTo>
                    <a:lnTo>
                      <a:pt x="158" y="117"/>
                    </a:lnTo>
                    <a:lnTo>
                      <a:pt x="156" y="115"/>
                    </a:lnTo>
                    <a:lnTo>
                      <a:pt x="152" y="114"/>
                    </a:lnTo>
                    <a:lnTo>
                      <a:pt x="148" y="114"/>
                    </a:lnTo>
                    <a:lnTo>
                      <a:pt x="146" y="117"/>
                    </a:lnTo>
                    <a:lnTo>
                      <a:pt x="144" y="119"/>
                    </a:lnTo>
                    <a:lnTo>
                      <a:pt x="144" y="121"/>
                    </a:lnTo>
                    <a:lnTo>
                      <a:pt x="145" y="123"/>
                    </a:lnTo>
                    <a:lnTo>
                      <a:pt x="144" y="125"/>
                    </a:lnTo>
                    <a:lnTo>
                      <a:pt x="141" y="126"/>
                    </a:lnTo>
                    <a:lnTo>
                      <a:pt x="139" y="125"/>
                    </a:lnTo>
                    <a:lnTo>
                      <a:pt x="134" y="124"/>
                    </a:lnTo>
                    <a:lnTo>
                      <a:pt x="131" y="122"/>
                    </a:lnTo>
                    <a:lnTo>
                      <a:pt x="128" y="122"/>
                    </a:lnTo>
                    <a:lnTo>
                      <a:pt x="126" y="123"/>
                    </a:lnTo>
                    <a:lnTo>
                      <a:pt x="123" y="123"/>
                    </a:lnTo>
                    <a:lnTo>
                      <a:pt x="120" y="123"/>
                    </a:lnTo>
                    <a:lnTo>
                      <a:pt x="116" y="120"/>
                    </a:lnTo>
                    <a:lnTo>
                      <a:pt x="112" y="121"/>
                    </a:lnTo>
                    <a:lnTo>
                      <a:pt x="110" y="120"/>
                    </a:lnTo>
                    <a:lnTo>
                      <a:pt x="105" y="117"/>
                    </a:lnTo>
                    <a:lnTo>
                      <a:pt x="102" y="115"/>
                    </a:lnTo>
                    <a:lnTo>
                      <a:pt x="98" y="111"/>
                    </a:lnTo>
                    <a:lnTo>
                      <a:pt x="96" y="111"/>
                    </a:lnTo>
                    <a:lnTo>
                      <a:pt x="93" y="109"/>
                    </a:lnTo>
                    <a:lnTo>
                      <a:pt x="91" y="109"/>
                    </a:lnTo>
                    <a:lnTo>
                      <a:pt x="90" y="110"/>
                    </a:lnTo>
                    <a:lnTo>
                      <a:pt x="87" y="110"/>
                    </a:lnTo>
                    <a:lnTo>
                      <a:pt x="84" y="113"/>
                    </a:lnTo>
                    <a:lnTo>
                      <a:pt x="82" y="113"/>
                    </a:lnTo>
                    <a:lnTo>
                      <a:pt x="80" y="114"/>
                    </a:lnTo>
                    <a:lnTo>
                      <a:pt x="80" y="116"/>
                    </a:lnTo>
                    <a:lnTo>
                      <a:pt x="79" y="118"/>
                    </a:lnTo>
                    <a:lnTo>
                      <a:pt x="79" y="119"/>
                    </a:lnTo>
                    <a:lnTo>
                      <a:pt x="78" y="121"/>
                    </a:lnTo>
                    <a:lnTo>
                      <a:pt x="75" y="121"/>
                    </a:lnTo>
                    <a:lnTo>
                      <a:pt x="75" y="123"/>
                    </a:lnTo>
                    <a:lnTo>
                      <a:pt x="78" y="127"/>
                    </a:lnTo>
                    <a:lnTo>
                      <a:pt x="77" y="129"/>
                    </a:lnTo>
                    <a:lnTo>
                      <a:pt x="76" y="131"/>
                    </a:lnTo>
                    <a:lnTo>
                      <a:pt x="76" y="134"/>
                    </a:lnTo>
                    <a:lnTo>
                      <a:pt x="73" y="135"/>
                    </a:lnTo>
                    <a:lnTo>
                      <a:pt x="72" y="135"/>
                    </a:lnTo>
                    <a:lnTo>
                      <a:pt x="68" y="134"/>
                    </a:lnTo>
                    <a:lnTo>
                      <a:pt x="67" y="132"/>
                    </a:lnTo>
                    <a:lnTo>
                      <a:pt x="64" y="132"/>
                    </a:lnTo>
                    <a:lnTo>
                      <a:pt x="61" y="132"/>
                    </a:lnTo>
                    <a:lnTo>
                      <a:pt x="59" y="133"/>
                    </a:lnTo>
                    <a:lnTo>
                      <a:pt x="57" y="133"/>
                    </a:lnTo>
                    <a:lnTo>
                      <a:pt x="49" y="136"/>
                    </a:lnTo>
                    <a:lnTo>
                      <a:pt x="47" y="138"/>
                    </a:lnTo>
                    <a:lnTo>
                      <a:pt x="44" y="139"/>
                    </a:lnTo>
                    <a:lnTo>
                      <a:pt x="39" y="142"/>
                    </a:lnTo>
                    <a:lnTo>
                      <a:pt x="31" y="156"/>
                    </a:lnTo>
                    <a:lnTo>
                      <a:pt x="31" y="156"/>
                    </a:lnTo>
                    <a:lnTo>
                      <a:pt x="30" y="155"/>
                    </a:lnTo>
                    <a:lnTo>
                      <a:pt x="30" y="152"/>
                    </a:lnTo>
                    <a:lnTo>
                      <a:pt x="30" y="148"/>
                    </a:lnTo>
                    <a:lnTo>
                      <a:pt x="23" y="143"/>
                    </a:lnTo>
                    <a:lnTo>
                      <a:pt x="21" y="141"/>
                    </a:lnTo>
                    <a:lnTo>
                      <a:pt x="18" y="137"/>
                    </a:lnTo>
                    <a:lnTo>
                      <a:pt x="14" y="130"/>
                    </a:lnTo>
                    <a:lnTo>
                      <a:pt x="13" y="126"/>
                    </a:lnTo>
                    <a:lnTo>
                      <a:pt x="10" y="122"/>
                    </a:lnTo>
                    <a:lnTo>
                      <a:pt x="5" y="120"/>
                    </a:lnTo>
                    <a:lnTo>
                      <a:pt x="3" y="119"/>
                    </a:lnTo>
                    <a:lnTo>
                      <a:pt x="3" y="112"/>
                    </a:lnTo>
                    <a:lnTo>
                      <a:pt x="2" y="108"/>
                    </a:lnTo>
                    <a:lnTo>
                      <a:pt x="1" y="103"/>
                    </a:lnTo>
                    <a:lnTo>
                      <a:pt x="2" y="99"/>
                    </a:lnTo>
                    <a:lnTo>
                      <a:pt x="0" y="95"/>
                    </a:lnTo>
                    <a:lnTo>
                      <a:pt x="0" y="91"/>
                    </a:lnTo>
                    <a:lnTo>
                      <a:pt x="1" y="88"/>
                    </a:lnTo>
                    <a:lnTo>
                      <a:pt x="3" y="87"/>
                    </a:lnTo>
                    <a:lnTo>
                      <a:pt x="7" y="82"/>
                    </a:lnTo>
                    <a:lnTo>
                      <a:pt x="9" y="78"/>
                    </a:lnTo>
                    <a:lnTo>
                      <a:pt x="13" y="72"/>
                    </a:lnTo>
                    <a:lnTo>
                      <a:pt x="14" y="69"/>
                    </a:lnTo>
                    <a:lnTo>
                      <a:pt x="16" y="68"/>
                    </a:lnTo>
                    <a:lnTo>
                      <a:pt x="20" y="63"/>
                    </a:lnTo>
                    <a:lnTo>
                      <a:pt x="20" y="62"/>
                    </a:lnTo>
                    <a:lnTo>
                      <a:pt x="22" y="64"/>
                    </a:lnTo>
                    <a:lnTo>
                      <a:pt x="23" y="68"/>
                    </a:lnTo>
                    <a:lnTo>
                      <a:pt x="26" y="68"/>
                    </a:lnTo>
                    <a:lnTo>
                      <a:pt x="30" y="67"/>
                    </a:lnTo>
                    <a:lnTo>
                      <a:pt x="35" y="67"/>
                    </a:lnTo>
                    <a:lnTo>
                      <a:pt x="36" y="62"/>
                    </a:lnTo>
                    <a:lnTo>
                      <a:pt x="36" y="59"/>
                    </a:lnTo>
                    <a:lnTo>
                      <a:pt x="38" y="57"/>
                    </a:lnTo>
                    <a:lnTo>
                      <a:pt x="40" y="59"/>
                    </a:lnTo>
                    <a:lnTo>
                      <a:pt x="42" y="63"/>
                    </a:lnTo>
                    <a:lnTo>
                      <a:pt x="43" y="64"/>
                    </a:lnTo>
                    <a:lnTo>
                      <a:pt x="47" y="64"/>
                    </a:lnTo>
                    <a:lnTo>
                      <a:pt x="52" y="60"/>
                    </a:lnTo>
                    <a:lnTo>
                      <a:pt x="57" y="58"/>
                    </a:lnTo>
                    <a:lnTo>
                      <a:pt x="61" y="55"/>
                    </a:lnTo>
                    <a:lnTo>
                      <a:pt x="72" y="53"/>
                    </a:lnTo>
                    <a:lnTo>
                      <a:pt x="77" y="53"/>
                    </a:lnTo>
                    <a:lnTo>
                      <a:pt x="79" y="51"/>
                    </a:lnTo>
                    <a:lnTo>
                      <a:pt x="85" y="47"/>
                    </a:lnTo>
                    <a:lnTo>
                      <a:pt x="84" y="45"/>
                    </a:lnTo>
                    <a:lnTo>
                      <a:pt x="82" y="45"/>
                    </a:lnTo>
                    <a:lnTo>
                      <a:pt x="79" y="41"/>
                    </a:lnTo>
                    <a:lnTo>
                      <a:pt x="79" y="38"/>
                    </a:lnTo>
                    <a:lnTo>
                      <a:pt x="81" y="36"/>
                    </a:lnTo>
                    <a:lnTo>
                      <a:pt x="84" y="37"/>
                    </a:lnTo>
                    <a:lnTo>
                      <a:pt x="89" y="36"/>
                    </a:lnTo>
                    <a:lnTo>
                      <a:pt x="92" y="37"/>
                    </a:lnTo>
                    <a:lnTo>
                      <a:pt x="97" y="38"/>
                    </a:lnTo>
                    <a:lnTo>
                      <a:pt x="101" y="37"/>
                    </a:lnTo>
                    <a:lnTo>
                      <a:pt x="108" y="37"/>
                    </a:lnTo>
                    <a:lnTo>
                      <a:pt x="112" y="34"/>
                    </a:lnTo>
                    <a:lnTo>
                      <a:pt x="115" y="33"/>
                    </a:lnTo>
                    <a:lnTo>
                      <a:pt x="116" y="31"/>
                    </a:lnTo>
                    <a:lnTo>
                      <a:pt x="116" y="28"/>
                    </a:lnTo>
                    <a:lnTo>
                      <a:pt x="116" y="25"/>
                    </a:lnTo>
                    <a:lnTo>
                      <a:pt x="119" y="23"/>
                    </a:lnTo>
                    <a:lnTo>
                      <a:pt x="119" y="20"/>
                    </a:lnTo>
                    <a:lnTo>
                      <a:pt x="122" y="17"/>
                    </a:lnTo>
                    <a:lnTo>
                      <a:pt x="122" y="18"/>
                    </a:lnTo>
                    <a:lnTo>
                      <a:pt x="124" y="18"/>
                    </a:lnTo>
                    <a:lnTo>
                      <a:pt x="128" y="12"/>
                    </a:lnTo>
                    <a:lnTo>
                      <a:pt x="130" y="12"/>
                    </a:lnTo>
                    <a:lnTo>
                      <a:pt x="130" y="10"/>
                    </a:lnTo>
                    <a:lnTo>
                      <a:pt x="131" y="8"/>
                    </a:lnTo>
                    <a:lnTo>
                      <a:pt x="135" y="5"/>
                    </a:lnTo>
                    <a:lnTo>
                      <a:pt x="139" y="3"/>
                    </a:lnTo>
                    <a:lnTo>
                      <a:pt x="144" y="3"/>
                    </a:lnTo>
                    <a:lnTo>
                      <a:pt x="145" y="4"/>
                    </a:lnTo>
                    <a:lnTo>
                      <a:pt x="150" y="2"/>
                    </a:lnTo>
                    <a:lnTo>
                      <a:pt x="151" y="0"/>
                    </a:lnTo>
                    <a:lnTo>
                      <a:pt x="151" y="0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039" name="Freeform 41"/>
              <p:cNvSpPr>
                <a:spLocks/>
              </p:cNvSpPr>
              <p:nvPr userDrawn="1"/>
            </p:nvSpPr>
            <p:spPr bwMode="auto">
              <a:xfrm>
                <a:off x="3634" y="2317"/>
                <a:ext cx="286" cy="256"/>
              </a:xfrm>
              <a:custGeom>
                <a:avLst/>
                <a:gdLst>
                  <a:gd name="T0" fmla="*/ 268 w 286"/>
                  <a:gd name="T1" fmla="*/ 249 h 256"/>
                  <a:gd name="T2" fmla="*/ 278 w 286"/>
                  <a:gd name="T3" fmla="*/ 73 h 256"/>
                  <a:gd name="T4" fmla="*/ 273 w 286"/>
                  <a:gd name="T5" fmla="*/ 58 h 256"/>
                  <a:gd name="T6" fmla="*/ 278 w 286"/>
                  <a:gd name="T7" fmla="*/ 47 h 256"/>
                  <a:gd name="T8" fmla="*/ 276 w 286"/>
                  <a:gd name="T9" fmla="*/ 38 h 256"/>
                  <a:gd name="T10" fmla="*/ 279 w 286"/>
                  <a:gd name="T11" fmla="*/ 28 h 256"/>
                  <a:gd name="T12" fmla="*/ 275 w 286"/>
                  <a:gd name="T13" fmla="*/ 20 h 256"/>
                  <a:gd name="T14" fmla="*/ 268 w 286"/>
                  <a:gd name="T15" fmla="*/ 20 h 256"/>
                  <a:gd name="T16" fmla="*/ 253 w 286"/>
                  <a:gd name="T17" fmla="*/ 16 h 256"/>
                  <a:gd name="T18" fmla="*/ 242 w 286"/>
                  <a:gd name="T19" fmla="*/ 14 h 256"/>
                  <a:gd name="T20" fmla="*/ 242 w 286"/>
                  <a:gd name="T21" fmla="*/ 11 h 256"/>
                  <a:gd name="T22" fmla="*/ 234 w 286"/>
                  <a:gd name="T23" fmla="*/ 6 h 256"/>
                  <a:gd name="T24" fmla="*/ 223 w 286"/>
                  <a:gd name="T25" fmla="*/ 4 h 256"/>
                  <a:gd name="T26" fmla="*/ 220 w 286"/>
                  <a:gd name="T27" fmla="*/ 5 h 256"/>
                  <a:gd name="T28" fmla="*/ 215 w 286"/>
                  <a:gd name="T29" fmla="*/ 3 h 256"/>
                  <a:gd name="T30" fmla="*/ 200 w 286"/>
                  <a:gd name="T31" fmla="*/ 7 h 256"/>
                  <a:gd name="T32" fmla="*/ 188 w 286"/>
                  <a:gd name="T33" fmla="*/ 14 h 256"/>
                  <a:gd name="T34" fmla="*/ 184 w 286"/>
                  <a:gd name="T35" fmla="*/ 21 h 256"/>
                  <a:gd name="T36" fmla="*/ 187 w 286"/>
                  <a:gd name="T37" fmla="*/ 34 h 256"/>
                  <a:gd name="T38" fmla="*/ 188 w 286"/>
                  <a:gd name="T39" fmla="*/ 46 h 256"/>
                  <a:gd name="T40" fmla="*/ 182 w 286"/>
                  <a:gd name="T41" fmla="*/ 53 h 256"/>
                  <a:gd name="T42" fmla="*/ 172 w 286"/>
                  <a:gd name="T43" fmla="*/ 58 h 256"/>
                  <a:gd name="T44" fmla="*/ 157 w 286"/>
                  <a:gd name="T45" fmla="*/ 50 h 256"/>
                  <a:gd name="T46" fmla="*/ 143 w 286"/>
                  <a:gd name="T47" fmla="*/ 41 h 256"/>
                  <a:gd name="T48" fmla="*/ 123 w 286"/>
                  <a:gd name="T49" fmla="*/ 35 h 256"/>
                  <a:gd name="T50" fmla="*/ 114 w 286"/>
                  <a:gd name="T51" fmla="*/ 36 h 256"/>
                  <a:gd name="T52" fmla="*/ 103 w 286"/>
                  <a:gd name="T53" fmla="*/ 23 h 256"/>
                  <a:gd name="T54" fmla="*/ 98 w 286"/>
                  <a:gd name="T55" fmla="*/ 11 h 256"/>
                  <a:gd name="T56" fmla="*/ 80 w 286"/>
                  <a:gd name="T57" fmla="*/ 6 h 256"/>
                  <a:gd name="T58" fmla="*/ 64 w 286"/>
                  <a:gd name="T59" fmla="*/ 4 h 256"/>
                  <a:gd name="T60" fmla="*/ 42 w 286"/>
                  <a:gd name="T61" fmla="*/ 4 h 256"/>
                  <a:gd name="T62" fmla="*/ 34 w 286"/>
                  <a:gd name="T63" fmla="*/ 0 h 256"/>
                  <a:gd name="T64" fmla="*/ 35 w 286"/>
                  <a:gd name="T65" fmla="*/ 9 h 256"/>
                  <a:gd name="T66" fmla="*/ 32 w 286"/>
                  <a:gd name="T67" fmla="*/ 15 h 256"/>
                  <a:gd name="T68" fmla="*/ 22 w 286"/>
                  <a:gd name="T69" fmla="*/ 25 h 256"/>
                  <a:gd name="T70" fmla="*/ 14 w 286"/>
                  <a:gd name="T71" fmla="*/ 29 h 256"/>
                  <a:gd name="T72" fmla="*/ 11 w 286"/>
                  <a:gd name="T73" fmla="*/ 33 h 256"/>
                  <a:gd name="T74" fmla="*/ 12 w 286"/>
                  <a:gd name="T75" fmla="*/ 40 h 256"/>
                  <a:gd name="T76" fmla="*/ 12 w 286"/>
                  <a:gd name="T77" fmla="*/ 46 h 256"/>
                  <a:gd name="T78" fmla="*/ 11 w 286"/>
                  <a:gd name="T79" fmla="*/ 49 h 256"/>
                  <a:gd name="T80" fmla="*/ 6 w 286"/>
                  <a:gd name="T81" fmla="*/ 54 h 256"/>
                  <a:gd name="T82" fmla="*/ 3 w 286"/>
                  <a:gd name="T83" fmla="*/ 54 h 256"/>
                  <a:gd name="T84" fmla="*/ 1 w 286"/>
                  <a:gd name="T85" fmla="*/ 55 h 256"/>
                  <a:gd name="T86" fmla="*/ 3 w 286"/>
                  <a:gd name="T87" fmla="*/ 63 h 256"/>
                  <a:gd name="T88" fmla="*/ 6 w 286"/>
                  <a:gd name="T89" fmla="*/ 79 h 256"/>
                  <a:gd name="T90" fmla="*/ 6 w 286"/>
                  <a:gd name="T91" fmla="*/ 87 h 256"/>
                  <a:gd name="T92" fmla="*/ 8 w 286"/>
                  <a:gd name="T93" fmla="*/ 101 h 256"/>
                  <a:gd name="T94" fmla="*/ 6 w 286"/>
                  <a:gd name="T95" fmla="*/ 113 h 256"/>
                  <a:gd name="T96" fmla="*/ 8 w 286"/>
                  <a:gd name="T97" fmla="*/ 123 h 256"/>
                  <a:gd name="T98" fmla="*/ 3 w 286"/>
                  <a:gd name="T99" fmla="*/ 129 h 256"/>
                  <a:gd name="T100" fmla="*/ 0 w 286"/>
                  <a:gd name="T101" fmla="*/ 132 h 256"/>
                  <a:gd name="T102" fmla="*/ 7 w 286"/>
                  <a:gd name="T103" fmla="*/ 141 h 256"/>
                  <a:gd name="T104" fmla="*/ 11 w 286"/>
                  <a:gd name="T105" fmla="*/ 148 h 256"/>
                  <a:gd name="T106" fmla="*/ 12 w 286"/>
                  <a:gd name="T107" fmla="*/ 155 h 256"/>
                  <a:gd name="T108" fmla="*/ 15 w 286"/>
                  <a:gd name="T109" fmla="*/ 163 h 256"/>
                  <a:gd name="T110" fmla="*/ 18 w 286"/>
                  <a:gd name="T111" fmla="*/ 167 h 256"/>
                  <a:gd name="T112" fmla="*/ 31 w 286"/>
                  <a:gd name="T113" fmla="*/ 167 h 256"/>
                  <a:gd name="T114" fmla="*/ 37 w 286"/>
                  <a:gd name="T115" fmla="*/ 174 h 256"/>
                  <a:gd name="T116" fmla="*/ 43 w 286"/>
                  <a:gd name="T117" fmla="*/ 183 h 256"/>
                  <a:gd name="T118" fmla="*/ 48 w 286"/>
                  <a:gd name="T119" fmla="*/ 187 h 256"/>
                  <a:gd name="T120" fmla="*/ 83 w 286"/>
                  <a:gd name="T121" fmla="*/ 198 h 256"/>
                  <a:gd name="T122" fmla="*/ 268 w 286"/>
                  <a:gd name="T123" fmla="*/ 256 h 256"/>
                  <a:gd name="T124" fmla="*/ 268 w 286"/>
                  <a:gd name="T125" fmla="*/ 256 h 2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86" h="256">
                    <a:moveTo>
                      <a:pt x="268" y="256"/>
                    </a:moveTo>
                    <a:lnTo>
                      <a:pt x="268" y="249"/>
                    </a:lnTo>
                    <a:lnTo>
                      <a:pt x="286" y="248"/>
                    </a:lnTo>
                    <a:lnTo>
                      <a:pt x="278" y="73"/>
                    </a:lnTo>
                    <a:lnTo>
                      <a:pt x="276" y="63"/>
                    </a:lnTo>
                    <a:lnTo>
                      <a:pt x="273" y="58"/>
                    </a:lnTo>
                    <a:lnTo>
                      <a:pt x="276" y="54"/>
                    </a:lnTo>
                    <a:lnTo>
                      <a:pt x="278" y="47"/>
                    </a:lnTo>
                    <a:lnTo>
                      <a:pt x="278" y="43"/>
                    </a:lnTo>
                    <a:lnTo>
                      <a:pt x="276" y="38"/>
                    </a:lnTo>
                    <a:lnTo>
                      <a:pt x="278" y="31"/>
                    </a:lnTo>
                    <a:lnTo>
                      <a:pt x="279" y="28"/>
                    </a:lnTo>
                    <a:lnTo>
                      <a:pt x="277" y="23"/>
                    </a:lnTo>
                    <a:lnTo>
                      <a:pt x="275" y="20"/>
                    </a:lnTo>
                    <a:lnTo>
                      <a:pt x="271" y="19"/>
                    </a:lnTo>
                    <a:lnTo>
                      <a:pt x="268" y="20"/>
                    </a:lnTo>
                    <a:lnTo>
                      <a:pt x="256" y="18"/>
                    </a:lnTo>
                    <a:lnTo>
                      <a:pt x="253" y="16"/>
                    </a:lnTo>
                    <a:lnTo>
                      <a:pt x="248" y="16"/>
                    </a:lnTo>
                    <a:lnTo>
                      <a:pt x="242" y="14"/>
                    </a:lnTo>
                    <a:lnTo>
                      <a:pt x="241" y="12"/>
                    </a:lnTo>
                    <a:lnTo>
                      <a:pt x="242" y="11"/>
                    </a:lnTo>
                    <a:lnTo>
                      <a:pt x="242" y="10"/>
                    </a:lnTo>
                    <a:lnTo>
                      <a:pt x="234" y="6"/>
                    </a:lnTo>
                    <a:lnTo>
                      <a:pt x="230" y="6"/>
                    </a:lnTo>
                    <a:lnTo>
                      <a:pt x="223" y="4"/>
                    </a:lnTo>
                    <a:lnTo>
                      <a:pt x="221" y="3"/>
                    </a:lnTo>
                    <a:lnTo>
                      <a:pt x="220" y="5"/>
                    </a:lnTo>
                    <a:lnTo>
                      <a:pt x="216" y="3"/>
                    </a:lnTo>
                    <a:lnTo>
                      <a:pt x="215" y="3"/>
                    </a:lnTo>
                    <a:lnTo>
                      <a:pt x="209" y="6"/>
                    </a:lnTo>
                    <a:lnTo>
                      <a:pt x="200" y="7"/>
                    </a:lnTo>
                    <a:lnTo>
                      <a:pt x="192" y="10"/>
                    </a:lnTo>
                    <a:lnTo>
                      <a:pt x="188" y="14"/>
                    </a:lnTo>
                    <a:lnTo>
                      <a:pt x="186" y="19"/>
                    </a:lnTo>
                    <a:lnTo>
                      <a:pt x="184" y="21"/>
                    </a:lnTo>
                    <a:lnTo>
                      <a:pt x="183" y="30"/>
                    </a:lnTo>
                    <a:lnTo>
                      <a:pt x="187" y="34"/>
                    </a:lnTo>
                    <a:lnTo>
                      <a:pt x="189" y="42"/>
                    </a:lnTo>
                    <a:lnTo>
                      <a:pt x="188" y="46"/>
                    </a:lnTo>
                    <a:lnTo>
                      <a:pt x="183" y="51"/>
                    </a:lnTo>
                    <a:lnTo>
                      <a:pt x="182" y="53"/>
                    </a:lnTo>
                    <a:lnTo>
                      <a:pt x="176" y="57"/>
                    </a:lnTo>
                    <a:lnTo>
                      <a:pt x="172" y="58"/>
                    </a:lnTo>
                    <a:lnTo>
                      <a:pt x="164" y="55"/>
                    </a:lnTo>
                    <a:lnTo>
                      <a:pt x="157" y="50"/>
                    </a:lnTo>
                    <a:lnTo>
                      <a:pt x="152" y="46"/>
                    </a:lnTo>
                    <a:lnTo>
                      <a:pt x="143" y="41"/>
                    </a:lnTo>
                    <a:lnTo>
                      <a:pt x="130" y="36"/>
                    </a:lnTo>
                    <a:lnTo>
                      <a:pt x="123" y="35"/>
                    </a:lnTo>
                    <a:lnTo>
                      <a:pt x="121" y="36"/>
                    </a:lnTo>
                    <a:lnTo>
                      <a:pt x="114" y="36"/>
                    </a:lnTo>
                    <a:lnTo>
                      <a:pt x="108" y="33"/>
                    </a:lnTo>
                    <a:lnTo>
                      <a:pt x="103" y="23"/>
                    </a:lnTo>
                    <a:lnTo>
                      <a:pt x="103" y="17"/>
                    </a:lnTo>
                    <a:lnTo>
                      <a:pt x="98" y="11"/>
                    </a:lnTo>
                    <a:lnTo>
                      <a:pt x="87" y="10"/>
                    </a:lnTo>
                    <a:lnTo>
                      <a:pt x="80" y="6"/>
                    </a:lnTo>
                    <a:lnTo>
                      <a:pt x="70" y="6"/>
                    </a:lnTo>
                    <a:lnTo>
                      <a:pt x="64" y="4"/>
                    </a:lnTo>
                    <a:lnTo>
                      <a:pt x="51" y="6"/>
                    </a:lnTo>
                    <a:lnTo>
                      <a:pt x="42" y="4"/>
                    </a:lnTo>
                    <a:lnTo>
                      <a:pt x="39" y="1"/>
                    </a:lnTo>
                    <a:lnTo>
                      <a:pt x="34" y="0"/>
                    </a:lnTo>
                    <a:lnTo>
                      <a:pt x="34" y="2"/>
                    </a:lnTo>
                    <a:lnTo>
                      <a:pt x="35" y="9"/>
                    </a:lnTo>
                    <a:lnTo>
                      <a:pt x="36" y="10"/>
                    </a:lnTo>
                    <a:lnTo>
                      <a:pt x="32" y="15"/>
                    </a:lnTo>
                    <a:lnTo>
                      <a:pt x="22" y="22"/>
                    </a:lnTo>
                    <a:lnTo>
                      <a:pt x="22" y="25"/>
                    </a:lnTo>
                    <a:lnTo>
                      <a:pt x="19" y="29"/>
                    </a:lnTo>
                    <a:lnTo>
                      <a:pt x="14" y="29"/>
                    </a:lnTo>
                    <a:lnTo>
                      <a:pt x="11" y="31"/>
                    </a:lnTo>
                    <a:lnTo>
                      <a:pt x="11" y="33"/>
                    </a:lnTo>
                    <a:lnTo>
                      <a:pt x="11" y="34"/>
                    </a:lnTo>
                    <a:lnTo>
                      <a:pt x="12" y="40"/>
                    </a:lnTo>
                    <a:lnTo>
                      <a:pt x="13" y="44"/>
                    </a:lnTo>
                    <a:lnTo>
                      <a:pt x="12" y="46"/>
                    </a:lnTo>
                    <a:lnTo>
                      <a:pt x="12" y="47"/>
                    </a:lnTo>
                    <a:lnTo>
                      <a:pt x="11" y="49"/>
                    </a:lnTo>
                    <a:lnTo>
                      <a:pt x="9" y="52"/>
                    </a:lnTo>
                    <a:lnTo>
                      <a:pt x="6" y="54"/>
                    </a:lnTo>
                    <a:lnTo>
                      <a:pt x="6" y="54"/>
                    </a:lnTo>
                    <a:lnTo>
                      <a:pt x="3" y="54"/>
                    </a:lnTo>
                    <a:lnTo>
                      <a:pt x="3" y="54"/>
                    </a:lnTo>
                    <a:lnTo>
                      <a:pt x="1" y="55"/>
                    </a:lnTo>
                    <a:lnTo>
                      <a:pt x="2" y="62"/>
                    </a:lnTo>
                    <a:lnTo>
                      <a:pt x="3" y="63"/>
                    </a:lnTo>
                    <a:lnTo>
                      <a:pt x="6" y="67"/>
                    </a:lnTo>
                    <a:lnTo>
                      <a:pt x="6" y="79"/>
                    </a:lnTo>
                    <a:lnTo>
                      <a:pt x="6" y="85"/>
                    </a:lnTo>
                    <a:lnTo>
                      <a:pt x="6" y="87"/>
                    </a:lnTo>
                    <a:lnTo>
                      <a:pt x="6" y="97"/>
                    </a:lnTo>
                    <a:lnTo>
                      <a:pt x="8" y="101"/>
                    </a:lnTo>
                    <a:lnTo>
                      <a:pt x="7" y="111"/>
                    </a:lnTo>
                    <a:lnTo>
                      <a:pt x="6" y="113"/>
                    </a:lnTo>
                    <a:lnTo>
                      <a:pt x="8" y="118"/>
                    </a:lnTo>
                    <a:lnTo>
                      <a:pt x="8" y="123"/>
                    </a:lnTo>
                    <a:lnTo>
                      <a:pt x="7" y="126"/>
                    </a:lnTo>
                    <a:lnTo>
                      <a:pt x="3" y="129"/>
                    </a:lnTo>
                    <a:lnTo>
                      <a:pt x="2" y="131"/>
                    </a:lnTo>
                    <a:lnTo>
                      <a:pt x="0" y="132"/>
                    </a:lnTo>
                    <a:lnTo>
                      <a:pt x="3" y="135"/>
                    </a:lnTo>
                    <a:lnTo>
                      <a:pt x="7" y="141"/>
                    </a:lnTo>
                    <a:lnTo>
                      <a:pt x="10" y="147"/>
                    </a:lnTo>
                    <a:lnTo>
                      <a:pt x="11" y="148"/>
                    </a:lnTo>
                    <a:lnTo>
                      <a:pt x="13" y="153"/>
                    </a:lnTo>
                    <a:lnTo>
                      <a:pt x="12" y="155"/>
                    </a:lnTo>
                    <a:lnTo>
                      <a:pt x="12" y="160"/>
                    </a:lnTo>
                    <a:lnTo>
                      <a:pt x="15" y="163"/>
                    </a:lnTo>
                    <a:lnTo>
                      <a:pt x="15" y="165"/>
                    </a:lnTo>
                    <a:lnTo>
                      <a:pt x="18" y="167"/>
                    </a:lnTo>
                    <a:lnTo>
                      <a:pt x="25" y="167"/>
                    </a:lnTo>
                    <a:lnTo>
                      <a:pt x="31" y="167"/>
                    </a:lnTo>
                    <a:lnTo>
                      <a:pt x="35" y="170"/>
                    </a:lnTo>
                    <a:lnTo>
                      <a:pt x="37" y="174"/>
                    </a:lnTo>
                    <a:lnTo>
                      <a:pt x="41" y="181"/>
                    </a:lnTo>
                    <a:lnTo>
                      <a:pt x="43" y="183"/>
                    </a:lnTo>
                    <a:lnTo>
                      <a:pt x="45" y="185"/>
                    </a:lnTo>
                    <a:lnTo>
                      <a:pt x="48" y="187"/>
                    </a:lnTo>
                    <a:lnTo>
                      <a:pt x="80" y="195"/>
                    </a:lnTo>
                    <a:lnTo>
                      <a:pt x="83" y="198"/>
                    </a:lnTo>
                    <a:lnTo>
                      <a:pt x="120" y="184"/>
                    </a:lnTo>
                    <a:lnTo>
                      <a:pt x="268" y="256"/>
                    </a:lnTo>
                    <a:lnTo>
                      <a:pt x="268" y="256"/>
                    </a:lnTo>
                    <a:lnTo>
                      <a:pt x="268" y="256"/>
                    </a:lnTo>
                    <a:lnTo>
                      <a:pt x="268" y="256"/>
                    </a:lnTo>
                    <a:close/>
                  </a:path>
                </a:pathLst>
              </a:custGeom>
              <a:solidFill>
                <a:schemeClr val="accent2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040" name="Freeform 42"/>
              <p:cNvSpPr>
                <a:spLocks noEditPoints="1"/>
              </p:cNvSpPr>
              <p:nvPr userDrawn="1"/>
            </p:nvSpPr>
            <p:spPr bwMode="auto">
              <a:xfrm>
                <a:off x="3598" y="2234"/>
                <a:ext cx="72" cy="137"/>
              </a:xfrm>
              <a:custGeom>
                <a:avLst/>
                <a:gdLst>
                  <a:gd name="T0" fmla="*/ 42 w 72"/>
                  <a:gd name="T1" fmla="*/ 137 h 137"/>
                  <a:gd name="T2" fmla="*/ 45 w 72"/>
                  <a:gd name="T3" fmla="*/ 135 h 137"/>
                  <a:gd name="T4" fmla="*/ 48 w 72"/>
                  <a:gd name="T5" fmla="*/ 130 h 137"/>
                  <a:gd name="T6" fmla="*/ 49 w 72"/>
                  <a:gd name="T7" fmla="*/ 127 h 137"/>
                  <a:gd name="T8" fmla="*/ 47 w 72"/>
                  <a:gd name="T9" fmla="*/ 117 h 137"/>
                  <a:gd name="T10" fmla="*/ 47 w 72"/>
                  <a:gd name="T11" fmla="*/ 114 h 137"/>
                  <a:gd name="T12" fmla="*/ 55 w 72"/>
                  <a:gd name="T13" fmla="*/ 112 h 137"/>
                  <a:gd name="T14" fmla="*/ 58 w 72"/>
                  <a:gd name="T15" fmla="*/ 105 h 137"/>
                  <a:gd name="T16" fmla="*/ 72 w 72"/>
                  <a:gd name="T17" fmla="*/ 93 h 137"/>
                  <a:gd name="T18" fmla="*/ 70 w 72"/>
                  <a:gd name="T19" fmla="*/ 85 h 137"/>
                  <a:gd name="T20" fmla="*/ 68 w 72"/>
                  <a:gd name="T21" fmla="*/ 83 h 137"/>
                  <a:gd name="T22" fmla="*/ 63 w 72"/>
                  <a:gd name="T23" fmla="*/ 77 h 137"/>
                  <a:gd name="T24" fmla="*/ 60 w 72"/>
                  <a:gd name="T25" fmla="*/ 73 h 137"/>
                  <a:gd name="T26" fmla="*/ 59 w 72"/>
                  <a:gd name="T27" fmla="*/ 75 h 137"/>
                  <a:gd name="T28" fmla="*/ 55 w 72"/>
                  <a:gd name="T29" fmla="*/ 75 h 137"/>
                  <a:gd name="T30" fmla="*/ 51 w 72"/>
                  <a:gd name="T31" fmla="*/ 73 h 137"/>
                  <a:gd name="T32" fmla="*/ 42 w 72"/>
                  <a:gd name="T33" fmla="*/ 65 h 137"/>
                  <a:gd name="T34" fmla="*/ 54 w 72"/>
                  <a:gd name="T35" fmla="*/ 53 h 137"/>
                  <a:gd name="T36" fmla="*/ 61 w 72"/>
                  <a:gd name="T37" fmla="*/ 47 h 137"/>
                  <a:gd name="T38" fmla="*/ 61 w 72"/>
                  <a:gd name="T39" fmla="*/ 42 h 137"/>
                  <a:gd name="T40" fmla="*/ 59 w 72"/>
                  <a:gd name="T41" fmla="*/ 39 h 137"/>
                  <a:gd name="T42" fmla="*/ 53 w 72"/>
                  <a:gd name="T43" fmla="*/ 31 h 137"/>
                  <a:gd name="T44" fmla="*/ 49 w 72"/>
                  <a:gd name="T45" fmla="*/ 21 h 137"/>
                  <a:gd name="T46" fmla="*/ 54 w 72"/>
                  <a:gd name="T47" fmla="*/ 14 h 137"/>
                  <a:gd name="T48" fmla="*/ 58 w 72"/>
                  <a:gd name="T49" fmla="*/ 6 h 137"/>
                  <a:gd name="T50" fmla="*/ 50 w 72"/>
                  <a:gd name="T51" fmla="*/ 10 h 137"/>
                  <a:gd name="T52" fmla="*/ 45 w 72"/>
                  <a:gd name="T53" fmla="*/ 11 h 137"/>
                  <a:gd name="T54" fmla="*/ 42 w 72"/>
                  <a:gd name="T55" fmla="*/ 5 h 137"/>
                  <a:gd name="T56" fmla="*/ 40 w 72"/>
                  <a:gd name="T57" fmla="*/ 0 h 137"/>
                  <a:gd name="T58" fmla="*/ 35 w 72"/>
                  <a:gd name="T59" fmla="*/ 3 h 137"/>
                  <a:gd name="T60" fmla="*/ 28 w 72"/>
                  <a:gd name="T61" fmla="*/ 1 h 137"/>
                  <a:gd name="T62" fmla="*/ 17 w 72"/>
                  <a:gd name="T63" fmla="*/ 8 h 137"/>
                  <a:gd name="T64" fmla="*/ 17 w 72"/>
                  <a:gd name="T65" fmla="*/ 11 h 137"/>
                  <a:gd name="T66" fmla="*/ 17 w 72"/>
                  <a:gd name="T67" fmla="*/ 18 h 137"/>
                  <a:gd name="T68" fmla="*/ 13 w 72"/>
                  <a:gd name="T69" fmla="*/ 32 h 137"/>
                  <a:gd name="T70" fmla="*/ 17 w 72"/>
                  <a:gd name="T71" fmla="*/ 40 h 137"/>
                  <a:gd name="T72" fmla="*/ 16 w 72"/>
                  <a:gd name="T73" fmla="*/ 42 h 137"/>
                  <a:gd name="T74" fmla="*/ 17 w 72"/>
                  <a:gd name="T75" fmla="*/ 47 h 137"/>
                  <a:gd name="T76" fmla="*/ 13 w 72"/>
                  <a:gd name="T77" fmla="*/ 55 h 137"/>
                  <a:gd name="T78" fmla="*/ 10 w 72"/>
                  <a:gd name="T79" fmla="*/ 59 h 137"/>
                  <a:gd name="T80" fmla="*/ 2 w 72"/>
                  <a:gd name="T81" fmla="*/ 64 h 137"/>
                  <a:gd name="T82" fmla="*/ 1 w 72"/>
                  <a:gd name="T83" fmla="*/ 73 h 137"/>
                  <a:gd name="T84" fmla="*/ 3 w 72"/>
                  <a:gd name="T85" fmla="*/ 80 h 137"/>
                  <a:gd name="T86" fmla="*/ 7 w 72"/>
                  <a:gd name="T87" fmla="*/ 84 h 137"/>
                  <a:gd name="T88" fmla="*/ 14 w 72"/>
                  <a:gd name="T89" fmla="*/ 93 h 137"/>
                  <a:gd name="T90" fmla="*/ 20 w 72"/>
                  <a:gd name="T91" fmla="*/ 96 h 137"/>
                  <a:gd name="T92" fmla="*/ 27 w 72"/>
                  <a:gd name="T93" fmla="*/ 102 h 137"/>
                  <a:gd name="T94" fmla="*/ 39 w 72"/>
                  <a:gd name="T95" fmla="*/ 137 h 137"/>
                  <a:gd name="T96" fmla="*/ 55 w 72"/>
                  <a:gd name="T97" fmla="*/ 71 h 137"/>
                  <a:gd name="T98" fmla="*/ 59 w 72"/>
                  <a:gd name="T99" fmla="*/ 70 h 137"/>
                  <a:gd name="T100" fmla="*/ 58 w 72"/>
                  <a:gd name="T101" fmla="*/ 72 h 137"/>
                  <a:gd name="T102" fmla="*/ 55 w 72"/>
                  <a:gd name="T103" fmla="*/ 71 h 1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72" h="137">
                    <a:moveTo>
                      <a:pt x="39" y="137"/>
                    </a:moveTo>
                    <a:lnTo>
                      <a:pt x="42" y="137"/>
                    </a:lnTo>
                    <a:lnTo>
                      <a:pt x="42" y="137"/>
                    </a:lnTo>
                    <a:lnTo>
                      <a:pt x="45" y="135"/>
                    </a:lnTo>
                    <a:lnTo>
                      <a:pt x="47" y="132"/>
                    </a:lnTo>
                    <a:lnTo>
                      <a:pt x="48" y="130"/>
                    </a:lnTo>
                    <a:lnTo>
                      <a:pt x="48" y="129"/>
                    </a:lnTo>
                    <a:lnTo>
                      <a:pt x="49" y="127"/>
                    </a:lnTo>
                    <a:lnTo>
                      <a:pt x="48" y="123"/>
                    </a:lnTo>
                    <a:lnTo>
                      <a:pt x="47" y="117"/>
                    </a:lnTo>
                    <a:lnTo>
                      <a:pt x="47" y="116"/>
                    </a:lnTo>
                    <a:lnTo>
                      <a:pt x="47" y="114"/>
                    </a:lnTo>
                    <a:lnTo>
                      <a:pt x="50" y="112"/>
                    </a:lnTo>
                    <a:lnTo>
                      <a:pt x="55" y="112"/>
                    </a:lnTo>
                    <a:lnTo>
                      <a:pt x="58" y="108"/>
                    </a:lnTo>
                    <a:lnTo>
                      <a:pt x="58" y="105"/>
                    </a:lnTo>
                    <a:lnTo>
                      <a:pt x="68" y="98"/>
                    </a:lnTo>
                    <a:lnTo>
                      <a:pt x="72" y="93"/>
                    </a:lnTo>
                    <a:lnTo>
                      <a:pt x="71" y="92"/>
                    </a:lnTo>
                    <a:lnTo>
                      <a:pt x="70" y="85"/>
                    </a:lnTo>
                    <a:lnTo>
                      <a:pt x="70" y="83"/>
                    </a:lnTo>
                    <a:lnTo>
                      <a:pt x="68" y="83"/>
                    </a:lnTo>
                    <a:lnTo>
                      <a:pt x="63" y="79"/>
                    </a:lnTo>
                    <a:lnTo>
                      <a:pt x="63" y="77"/>
                    </a:lnTo>
                    <a:lnTo>
                      <a:pt x="63" y="75"/>
                    </a:lnTo>
                    <a:lnTo>
                      <a:pt x="60" y="73"/>
                    </a:lnTo>
                    <a:lnTo>
                      <a:pt x="59" y="74"/>
                    </a:lnTo>
                    <a:lnTo>
                      <a:pt x="59" y="75"/>
                    </a:lnTo>
                    <a:lnTo>
                      <a:pt x="57" y="76"/>
                    </a:lnTo>
                    <a:lnTo>
                      <a:pt x="55" y="75"/>
                    </a:lnTo>
                    <a:lnTo>
                      <a:pt x="54" y="72"/>
                    </a:lnTo>
                    <a:lnTo>
                      <a:pt x="51" y="73"/>
                    </a:lnTo>
                    <a:lnTo>
                      <a:pt x="45" y="70"/>
                    </a:lnTo>
                    <a:lnTo>
                      <a:pt x="42" y="65"/>
                    </a:lnTo>
                    <a:lnTo>
                      <a:pt x="44" y="59"/>
                    </a:lnTo>
                    <a:lnTo>
                      <a:pt x="54" y="53"/>
                    </a:lnTo>
                    <a:lnTo>
                      <a:pt x="59" y="48"/>
                    </a:lnTo>
                    <a:lnTo>
                      <a:pt x="61" y="47"/>
                    </a:lnTo>
                    <a:lnTo>
                      <a:pt x="59" y="45"/>
                    </a:lnTo>
                    <a:lnTo>
                      <a:pt x="61" y="42"/>
                    </a:lnTo>
                    <a:lnTo>
                      <a:pt x="60" y="40"/>
                    </a:lnTo>
                    <a:lnTo>
                      <a:pt x="59" y="39"/>
                    </a:lnTo>
                    <a:lnTo>
                      <a:pt x="59" y="33"/>
                    </a:lnTo>
                    <a:lnTo>
                      <a:pt x="53" y="31"/>
                    </a:lnTo>
                    <a:lnTo>
                      <a:pt x="49" y="26"/>
                    </a:lnTo>
                    <a:lnTo>
                      <a:pt x="49" y="21"/>
                    </a:lnTo>
                    <a:lnTo>
                      <a:pt x="54" y="18"/>
                    </a:lnTo>
                    <a:lnTo>
                      <a:pt x="54" y="14"/>
                    </a:lnTo>
                    <a:lnTo>
                      <a:pt x="58" y="9"/>
                    </a:lnTo>
                    <a:lnTo>
                      <a:pt x="58" y="6"/>
                    </a:lnTo>
                    <a:lnTo>
                      <a:pt x="56" y="5"/>
                    </a:lnTo>
                    <a:lnTo>
                      <a:pt x="50" y="10"/>
                    </a:lnTo>
                    <a:lnTo>
                      <a:pt x="47" y="12"/>
                    </a:lnTo>
                    <a:lnTo>
                      <a:pt x="45" y="11"/>
                    </a:lnTo>
                    <a:lnTo>
                      <a:pt x="42" y="6"/>
                    </a:lnTo>
                    <a:lnTo>
                      <a:pt x="42" y="5"/>
                    </a:lnTo>
                    <a:lnTo>
                      <a:pt x="42" y="2"/>
                    </a:lnTo>
                    <a:lnTo>
                      <a:pt x="40" y="0"/>
                    </a:lnTo>
                    <a:lnTo>
                      <a:pt x="35" y="1"/>
                    </a:lnTo>
                    <a:lnTo>
                      <a:pt x="35" y="3"/>
                    </a:lnTo>
                    <a:lnTo>
                      <a:pt x="33" y="0"/>
                    </a:lnTo>
                    <a:lnTo>
                      <a:pt x="28" y="1"/>
                    </a:lnTo>
                    <a:lnTo>
                      <a:pt x="21" y="5"/>
                    </a:lnTo>
                    <a:lnTo>
                      <a:pt x="17" y="8"/>
                    </a:lnTo>
                    <a:lnTo>
                      <a:pt x="17" y="8"/>
                    </a:lnTo>
                    <a:lnTo>
                      <a:pt x="17" y="11"/>
                    </a:lnTo>
                    <a:lnTo>
                      <a:pt x="17" y="13"/>
                    </a:lnTo>
                    <a:lnTo>
                      <a:pt x="17" y="18"/>
                    </a:lnTo>
                    <a:lnTo>
                      <a:pt x="17" y="24"/>
                    </a:lnTo>
                    <a:lnTo>
                      <a:pt x="13" y="32"/>
                    </a:lnTo>
                    <a:lnTo>
                      <a:pt x="14" y="37"/>
                    </a:lnTo>
                    <a:lnTo>
                      <a:pt x="17" y="40"/>
                    </a:lnTo>
                    <a:lnTo>
                      <a:pt x="17" y="41"/>
                    </a:lnTo>
                    <a:lnTo>
                      <a:pt x="16" y="42"/>
                    </a:lnTo>
                    <a:lnTo>
                      <a:pt x="14" y="45"/>
                    </a:lnTo>
                    <a:lnTo>
                      <a:pt x="17" y="47"/>
                    </a:lnTo>
                    <a:lnTo>
                      <a:pt x="15" y="49"/>
                    </a:lnTo>
                    <a:lnTo>
                      <a:pt x="13" y="55"/>
                    </a:lnTo>
                    <a:lnTo>
                      <a:pt x="11" y="56"/>
                    </a:lnTo>
                    <a:lnTo>
                      <a:pt x="10" y="59"/>
                    </a:lnTo>
                    <a:lnTo>
                      <a:pt x="7" y="59"/>
                    </a:lnTo>
                    <a:lnTo>
                      <a:pt x="2" y="64"/>
                    </a:lnTo>
                    <a:lnTo>
                      <a:pt x="0" y="72"/>
                    </a:lnTo>
                    <a:lnTo>
                      <a:pt x="1" y="73"/>
                    </a:lnTo>
                    <a:lnTo>
                      <a:pt x="4" y="78"/>
                    </a:lnTo>
                    <a:lnTo>
                      <a:pt x="3" y="80"/>
                    </a:lnTo>
                    <a:lnTo>
                      <a:pt x="5" y="84"/>
                    </a:lnTo>
                    <a:lnTo>
                      <a:pt x="7" y="84"/>
                    </a:lnTo>
                    <a:lnTo>
                      <a:pt x="13" y="89"/>
                    </a:lnTo>
                    <a:lnTo>
                      <a:pt x="14" y="93"/>
                    </a:lnTo>
                    <a:lnTo>
                      <a:pt x="19" y="94"/>
                    </a:lnTo>
                    <a:lnTo>
                      <a:pt x="20" y="96"/>
                    </a:lnTo>
                    <a:lnTo>
                      <a:pt x="22" y="97"/>
                    </a:lnTo>
                    <a:lnTo>
                      <a:pt x="27" y="102"/>
                    </a:lnTo>
                    <a:lnTo>
                      <a:pt x="39" y="137"/>
                    </a:lnTo>
                    <a:lnTo>
                      <a:pt x="39" y="137"/>
                    </a:lnTo>
                    <a:lnTo>
                      <a:pt x="39" y="137"/>
                    </a:lnTo>
                    <a:close/>
                    <a:moveTo>
                      <a:pt x="55" y="71"/>
                    </a:moveTo>
                    <a:lnTo>
                      <a:pt x="56" y="70"/>
                    </a:lnTo>
                    <a:lnTo>
                      <a:pt x="59" y="70"/>
                    </a:lnTo>
                    <a:lnTo>
                      <a:pt x="61" y="71"/>
                    </a:lnTo>
                    <a:lnTo>
                      <a:pt x="58" y="72"/>
                    </a:lnTo>
                    <a:lnTo>
                      <a:pt x="55" y="71"/>
                    </a:lnTo>
                    <a:lnTo>
                      <a:pt x="55" y="71"/>
                    </a:lnTo>
                    <a:close/>
                  </a:path>
                </a:pathLst>
              </a:custGeom>
              <a:solidFill>
                <a:schemeClr val="accent2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041" name="Freeform 43"/>
              <p:cNvSpPr>
                <a:spLocks/>
              </p:cNvSpPr>
              <p:nvPr userDrawn="1"/>
            </p:nvSpPr>
            <p:spPr bwMode="auto">
              <a:xfrm>
                <a:off x="3163" y="2423"/>
                <a:ext cx="150" cy="118"/>
              </a:xfrm>
              <a:custGeom>
                <a:avLst/>
                <a:gdLst>
                  <a:gd name="T0" fmla="*/ 150 w 150"/>
                  <a:gd name="T1" fmla="*/ 6 h 118"/>
                  <a:gd name="T2" fmla="*/ 150 w 150"/>
                  <a:gd name="T3" fmla="*/ 1 h 118"/>
                  <a:gd name="T4" fmla="*/ 76 w 150"/>
                  <a:gd name="T5" fmla="*/ 0 h 118"/>
                  <a:gd name="T6" fmla="*/ 68 w 150"/>
                  <a:gd name="T7" fmla="*/ 10 h 118"/>
                  <a:gd name="T8" fmla="*/ 68 w 150"/>
                  <a:gd name="T9" fmla="*/ 16 h 118"/>
                  <a:gd name="T10" fmla="*/ 66 w 150"/>
                  <a:gd name="T11" fmla="*/ 17 h 118"/>
                  <a:gd name="T12" fmla="*/ 52 w 150"/>
                  <a:gd name="T13" fmla="*/ 23 h 118"/>
                  <a:gd name="T14" fmla="*/ 51 w 150"/>
                  <a:gd name="T15" fmla="*/ 27 h 118"/>
                  <a:gd name="T16" fmla="*/ 46 w 150"/>
                  <a:gd name="T17" fmla="*/ 30 h 118"/>
                  <a:gd name="T18" fmla="*/ 47 w 150"/>
                  <a:gd name="T19" fmla="*/ 35 h 118"/>
                  <a:gd name="T20" fmla="*/ 37 w 150"/>
                  <a:gd name="T21" fmla="*/ 50 h 118"/>
                  <a:gd name="T22" fmla="*/ 36 w 150"/>
                  <a:gd name="T23" fmla="*/ 56 h 118"/>
                  <a:gd name="T24" fmla="*/ 27 w 150"/>
                  <a:gd name="T25" fmla="*/ 63 h 118"/>
                  <a:gd name="T26" fmla="*/ 24 w 150"/>
                  <a:gd name="T27" fmla="*/ 64 h 118"/>
                  <a:gd name="T28" fmla="*/ 20 w 150"/>
                  <a:gd name="T29" fmla="*/ 74 h 118"/>
                  <a:gd name="T30" fmla="*/ 21 w 150"/>
                  <a:gd name="T31" fmla="*/ 77 h 118"/>
                  <a:gd name="T32" fmla="*/ 13 w 150"/>
                  <a:gd name="T33" fmla="*/ 86 h 118"/>
                  <a:gd name="T34" fmla="*/ 13 w 150"/>
                  <a:gd name="T35" fmla="*/ 88 h 118"/>
                  <a:gd name="T36" fmla="*/ 15 w 150"/>
                  <a:gd name="T37" fmla="*/ 89 h 118"/>
                  <a:gd name="T38" fmla="*/ 12 w 150"/>
                  <a:gd name="T39" fmla="*/ 91 h 118"/>
                  <a:gd name="T40" fmla="*/ 6 w 150"/>
                  <a:gd name="T41" fmla="*/ 100 h 118"/>
                  <a:gd name="T42" fmla="*/ 3 w 150"/>
                  <a:gd name="T43" fmla="*/ 101 h 118"/>
                  <a:gd name="T44" fmla="*/ 2 w 150"/>
                  <a:gd name="T45" fmla="*/ 104 h 118"/>
                  <a:gd name="T46" fmla="*/ 2 w 150"/>
                  <a:gd name="T47" fmla="*/ 108 h 118"/>
                  <a:gd name="T48" fmla="*/ 0 w 150"/>
                  <a:gd name="T49" fmla="*/ 112 h 118"/>
                  <a:gd name="T50" fmla="*/ 0 w 150"/>
                  <a:gd name="T51" fmla="*/ 118 h 118"/>
                  <a:gd name="T52" fmla="*/ 73 w 150"/>
                  <a:gd name="T53" fmla="*/ 118 h 118"/>
                  <a:gd name="T54" fmla="*/ 72 w 150"/>
                  <a:gd name="T55" fmla="*/ 85 h 118"/>
                  <a:gd name="T56" fmla="*/ 75 w 150"/>
                  <a:gd name="T57" fmla="*/ 80 h 118"/>
                  <a:gd name="T58" fmla="*/ 79 w 150"/>
                  <a:gd name="T59" fmla="*/ 78 h 118"/>
                  <a:gd name="T60" fmla="*/ 84 w 150"/>
                  <a:gd name="T61" fmla="*/ 77 h 118"/>
                  <a:gd name="T62" fmla="*/ 90 w 150"/>
                  <a:gd name="T63" fmla="*/ 77 h 118"/>
                  <a:gd name="T64" fmla="*/ 90 w 150"/>
                  <a:gd name="T65" fmla="*/ 30 h 118"/>
                  <a:gd name="T66" fmla="*/ 149 w 150"/>
                  <a:gd name="T67" fmla="*/ 31 h 118"/>
                  <a:gd name="T68" fmla="*/ 150 w 150"/>
                  <a:gd name="T69" fmla="*/ 6 h 118"/>
                  <a:gd name="T70" fmla="*/ 150 w 150"/>
                  <a:gd name="T71" fmla="*/ 6 h 118"/>
                  <a:gd name="T72" fmla="*/ 150 w 150"/>
                  <a:gd name="T73" fmla="*/ 6 h 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50" h="118">
                    <a:moveTo>
                      <a:pt x="150" y="6"/>
                    </a:moveTo>
                    <a:lnTo>
                      <a:pt x="150" y="1"/>
                    </a:lnTo>
                    <a:lnTo>
                      <a:pt x="76" y="0"/>
                    </a:lnTo>
                    <a:lnTo>
                      <a:pt x="68" y="10"/>
                    </a:lnTo>
                    <a:lnTo>
                      <a:pt x="68" y="16"/>
                    </a:lnTo>
                    <a:lnTo>
                      <a:pt x="66" y="17"/>
                    </a:lnTo>
                    <a:lnTo>
                      <a:pt x="52" y="23"/>
                    </a:lnTo>
                    <a:lnTo>
                      <a:pt x="51" y="27"/>
                    </a:lnTo>
                    <a:lnTo>
                      <a:pt x="46" y="30"/>
                    </a:lnTo>
                    <a:lnTo>
                      <a:pt x="47" y="35"/>
                    </a:lnTo>
                    <a:lnTo>
                      <a:pt x="37" y="50"/>
                    </a:lnTo>
                    <a:lnTo>
                      <a:pt x="36" y="56"/>
                    </a:lnTo>
                    <a:lnTo>
                      <a:pt x="27" y="63"/>
                    </a:lnTo>
                    <a:lnTo>
                      <a:pt x="24" y="64"/>
                    </a:lnTo>
                    <a:lnTo>
                      <a:pt x="20" y="74"/>
                    </a:lnTo>
                    <a:lnTo>
                      <a:pt x="21" y="77"/>
                    </a:lnTo>
                    <a:lnTo>
                      <a:pt x="13" y="86"/>
                    </a:lnTo>
                    <a:lnTo>
                      <a:pt x="13" y="88"/>
                    </a:lnTo>
                    <a:lnTo>
                      <a:pt x="15" y="89"/>
                    </a:lnTo>
                    <a:lnTo>
                      <a:pt x="12" y="91"/>
                    </a:lnTo>
                    <a:lnTo>
                      <a:pt x="6" y="100"/>
                    </a:lnTo>
                    <a:lnTo>
                      <a:pt x="3" y="101"/>
                    </a:lnTo>
                    <a:lnTo>
                      <a:pt x="2" y="104"/>
                    </a:lnTo>
                    <a:lnTo>
                      <a:pt x="2" y="108"/>
                    </a:lnTo>
                    <a:lnTo>
                      <a:pt x="0" y="112"/>
                    </a:lnTo>
                    <a:lnTo>
                      <a:pt x="0" y="118"/>
                    </a:lnTo>
                    <a:lnTo>
                      <a:pt x="73" y="118"/>
                    </a:lnTo>
                    <a:lnTo>
                      <a:pt x="72" y="85"/>
                    </a:lnTo>
                    <a:lnTo>
                      <a:pt x="75" y="80"/>
                    </a:lnTo>
                    <a:lnTo>
                      <a:pt x="79" y="78"/>
                    </a:lnTo>
                    <a:lnTo>
                      <a:pt x="84" y="77"/>
                    </a:lnTo>
                    <a:lnTo>
                      <a:pt x="90" y="77"/>
                    </a:lnTo>
                    <a:lnTo>
                      <a:pt x="90" y="30"/>
                    </a:lnTo>
                    <a:lnTo>
                      <a:pt x="149" y="31"/>
                    </a:lnTo>
                    <a:lnTo>
                      <a:pt x="150" y="6"/>
                    </a:lnTo>
                    <a:lnTo>
                      <a:pt x="150" y="6"/>
                    </a:lnTo>
                    <a:lnTo>
                      <a:pt x="150" y="6"/>
                    </a:lnTo>
                    <a:close/>
                  </a:path>
                </a:pathLst>
              </a:custGeom>
              <a:solidFill>
                <a:schemeClr val="accent2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042" name="Freeform 44"/>
              <p:cNvSpPr>
                <a:spLocks/>
              </p:cNvSpPr>
              <p:nvPr userDrawn="1"/>
            </p:nvSpPr>
            <p:spPr bwMode="auto">
              <a:xfrm>
                <a:off x="3161" y="2429"/>
                <a:ext cx="219" cy="231"/>
              </a:xfrm>
              <a:custGeom>
                <a:avLst/>
                <a:gdLst>
                  <a:gd name="T0" fmla="*/ 75 w 219"/>
                  <a:gd name="T1" fmla="*/ 112 h 231"/>
                  <a:gd name="T2" fmla="*/ 77 w 219"/>
                  <a:gd name="T3" fmla="*/ 74 h 231"/>
                  <a:gd name="T4" fmla="*/ 86 w 219"/>
                  <a:gd name="T5" fmla="*/ 71 h 231"/>
                  <a:gd name="T6" fmla="*/ 92 w 219"/>
                  <a:gd name="T7" fmla="*/ 24 h 231"/>
                  <a:gd name="T8" fmla="*/ 152 w 219"/>
                  <a:gd name="T9" fmla="*/ 0 h 231"/>
                  <a:gd name="T10" fmla="*/ 219 w 219"/>
                  <a:gd name="T11" fmla="*/ 44 h 231"/>
                  <a:gd name="T12" fmla="*/ 196 w 219"/>
                  <a:gd name="T13" fmla="*/ 44 h 231"/>
                  <a:gd name="T14" fmla="*/ 216 w 219"/>
                  <a:gd name="T15" fmla="*/ 203 h 231"/>
                  <a:gd name="T16" fmla="*/ 144 w 219"/>
                  <a:gd name="T17" fmla="*/ 220 h 231"/>
                  <a:gd name="T18" fmla="*/ 140 w 219"/>
                  <a:gd name="T19" fmla="*/ 216 h 231"/>
                  <a:gd name="T20" fmla="*/ 134 w 219"/>
                  <a:gd name="T21" fmla="*/ 220 h 231"/>
                  <a:gd name="T22" fmla="*/ 133 w 219"/>
                  <a:gd name="T23" fmla="*/ 212 h 231"/>
                  <a:gd name="T24" fmla="*/ 119 w 219"/>
                  <a:gd name="T25" fmla="*/ 215 h 231"/>
                  <a:gd name="T26" fmla="*/ 112 w 219"/>
                  <a:gd name="T27" fmla="*/ 222 h 231"/>
                  <a:gd name="T28" fmla="*/ 109 w 219"/>
                  <a:gd name="T29" fmla="*/ 212 h 231"/>
                  <a:gd name="T30" fmla="*/ 99 w 219"/>
                  <a:gd name="T31" fmla="*/ 213 h 231"/>
                  <a:gd name="T32" fmla="*/ 99 w 219"/>
                  <a:gd name="T33" fmla="*/ 223 h 231"/>
                  <a:gd name="T34" fmla="*/ 91 w 219"/>
                  <a:gd name="T35" fmla="*/ 227 h 231"/>
                  <a:gd name="T36" fmla="*/ 87 w 219"/>
                  <a:gd name="T37" fmla="*/ 231 h 231"/>
                  <a:gd name="T38" fmla="*/ 81 w 219"/>
                  <a:gd name="T39" fmla="*/ 225 h 231"/>
                  <a:gd name="T40" fmla="*/ 77 w 219"/>
                  <a:gd name="T41" fmla="*/ 221 h 231"/>
                  <a:gd name="T42" fmla="*/ 73 w 219"/>
                  <a:gd name="T43" fmla="*/ 216 h 231"/>
                  <a:gd name="T44" fmla="*/ 69 w 219"/>
                  <a:gd name="T45" fmla="*/ 208 h 231"/>
                  <a:gd name="T46" fmla="*/ 64 w 219"/>
                  <a:gd name="T47" fmla="*/ 207 h 231"/>
                  <a:gd name="T48" fmla="*/ 59 w 219"/>
                  <a:gd name="T49" fmla="*/ 207 h 231"/>
                  <a:gd name="T50" fmla="*/ 57 w 219"/>
                  <a:gd name="T51" fmla="*/ 204 h 231"/>
                  <a:gd name="T52" fmla="*/ 48 w 219"/>
                  <a:gd name="T53" fmla="*/ 199 h 231"/>
                  <a:gd name="T54" fmla="*/ 36 w 219"/>
                  <a:gd name="T55" fmla="*/ 196 h 231"/>
                  <a:gd name="T56" fmla="*/ 17 w 219"/>
                  <a:gd name="T57" fmla="*/ 201 h 231"/>
                  <a:gd name="T58" fmla="*/ 10 w 219"/>
                  <a:gd name="T59" fmla="*/ 204 h 231"/>
                  <a:gd name="T60" fmla="*/ 8 w 219"/>
                  <a:gd name="T61" fmla="*/ 200 h 231"/>
                  <a:gd name="T62" fmla="*/ 16 w 219"/>
                  <a:gd name="T63" fmla="*/ 182 h 231"/>
                  <a:gd name="T64" fmla="*/ 13 w 219"/>
                  <a:gd name="T65" fmla="*/ 152 h 231"/>
                  <a:gd name="T66" fmla="*/ 10 w 219"/>
                  <a:gd name="T67" fmla="*/ 142 h 231"/>
                  <a:gd name="T68" fmla="*/ 14 w 219"/>
                  <a:gd name="T69" fmla="*/ 137 h 231"/>
                  <a:gd name="T70" fmla="*/ 15 w 219"/>
                  <a:gd name="T71" fmla="*/ 130 h 231"/>
                  <a:gd name="T72" fmla="*/ 7 w 219"/>
                  <a:gd name="T73" fmla="*/ 124 h 231"/>
                  <a:gd name="T74" fmla="*/ 5 w 219"/>
                  <a:gd name="T75" fmla="*/ 119 h 231"/>
                  <a:gd name="T76" fmla="*/ 0 w 219"/>
                  <a:gd name="T77" fmla="*/ 116 h 231"/>
                  <a:gd name="T78" fmla="*/ 2 w 219"/>
                  <a:gd name="T79" fmla="*/ 112 h 2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219" h="231">
                    <a:moveTo>
                      <a:pt x="2" y="112"/>
                    </a:moveTo>
                    <a:lnTo>
                      <a:pt x="75" y="112"/>
                    </a:lnTo>
                    <a:lnTo>
                      <a:pt x="74" y="79"/>
                    </a:lnTo>
                    <a:lnTo>
                      <a:pt x="77" y="74"/>
                    </a:lnTo>
                    <a:lnTo>
                      <a:pt x="81" y="72"/>
                    </a:lnTo>
                    <a:lnTo>
                      <a:pt x="86" y="71"/>
                    </a:lnTo>
                    <a:lnTo>
                      <a:pt x="92" y="71"/>
                    </a:lnTo>
                    <a:lnTo>
                      <a:pt x="92" y="24"/>
                    </a:lnTo>
                    <a:lnTo>
                      <a:pt x="151" y="25"/>
                    </a:lnTo>
                    <a:lnTo>
                      <a:pt x="152" y="0"/>
                    </a:lnTo>
                    <a:lnTo>
                      <a:pt x="219" y="43"/>
                    </a:lnTo>
                    <a:lnTo>
                      <a:pt x="219" y="44"/>
                    </a:lnTo>
                    <a:lnTo>
                      <a:pt x="219" y="43"/>
                    </a:lnTo>
                    <a:lnTo>
                      <a:pt x="196" y="44"/>
                    </a:lnTo>
                    <a:lnTo>
                      <a:pt x="210" y="200"/>
                    </a:lnTo>
                    <a:lnTo>
                      <a:pt x="216" y="203"/>
                    </a:lnTo>
                    <a:lnTo>
                      <a:pt x="210" y="220"/>
                    </a:lnTo>
                    <a:lnTo>
                      <a:pt x="144" y="220"/>
                    </a:lnTo>
                    <a:lnTo>
                      <a:pt x="142" y="219"/>
                    </a:lnTo>
                    <a:lnTo>
                      <a:pt x="140" y="216"/>
                    </a:lnTo>
                    <a:lnTo>
                      <a:pt x="138" y="216"/>
                    </a:lnTo>
                    <a:lnTo>
                      <a:pt x="134" y="220"/>
                    </a:lnTo>
                    <a:lnTo>
                      <a:pt x="133" y="218"/>
                    </a:lnTo>
                    <a:lnTo>
                      <a:pt x="133" y="212"/>
                    </a:lnTo>
                    <a:lnTo>
                      <a:pt x="129" y="211"/>
                    </a:lnTo>
                    <a:lnTo>
                      <a:pt x="119" y="215"/>
                    </a:lnTo>
                    <a:lnTo>
                      <a:pt x="114" y="224"/>
                    </a:lnTo>
                    <a:lnTo>
                      <a:pt x="112" y="222"/>
                    </a:lnTo>
                    <a:lnTo>
                      <a:pt x="110" y="216"/>
                    </a:lnTo>
                    <a:lnTo>
                      <a:pt x="109" y="212"/>
                    </a:lnTo>
                    <a:lnTo>
                      <a:pt x="105" y="212"/>
                    </a:lnTo>
                    <a:lnTo>
                      <a:pt x="99" y="213"/>
                    </a:lnTo>
                    <a:lnTo>
                      <a:pt x="99" y="220"/>
                    </a:lnTo>
                    <a:lnTo>
                      <a:pt x="99" y="223"/>
                    </a:lnTo>
                    <a:lnTo>
                      <a:pt x="97" y="227"/>
                    </a:lnTo>
                    <a:lnTo>
                      <a:pt x="91" y="227"/>
                    </a:lnTo>
                    <a:lnTo>
                      <a:pt x="87" y="231"/>
                    </a:lnTo>
                    <a:lnTo>
                      <a:pt x="87" y="231"/>
                    </a:lnTo>
                    <a:lnTo>
                      <a:pt x="86" y="228"/>
                    </a:lnTo>
                    <a:lnTo>
                      <a:pt x="81" y="225"/>
                    </a:lnTo>
                    <a:lnTo>
                      <a:pt x="78" y="224"/>
                    </a:lnTo>
                    <a:lnTo>
                      <a:pt x="77" y="221"/>
                    </a:lnTo>
                    <a:lnTo>
                      <a:pt x="73" y="220"/>
                    </a:lnTo>
                    <a:lnTo>
                      <a:pt x="73" y="216"/>
                    </a:lnTo>
                    <a:lnTo>
                      <a:pt x="69" y="212"/>
                    </a:lnTo>
                    <a:lnTo>
                      <a:pt x="69" y="208"/>
                    </a:lnTo>
                    <a:lnTo>
                      <a:pt x="67" y="206"/>
                    </a:lnTo>
                    <a:lnTo>
                      <a:pt x="64" y="207"/>
                    </a:lnTo>
                    <a:lnTo>
                      <a:pt x="63" y="206"/>
                    </a:lnTo>
                    <a:lnTo>
                      <a:pt x="59" y="207"/>
                    </a:lnTo>
                    <a:lnTo>
                      <a:pt x="57" y="206"/>
                    </a:lnTo>
                    <a:lnTo>
                      <a:pt x="57" y="204"/>
                    </a:lnTo>
                    <a:lnTo>
                      <a:pt x="53" y="200"/>
                    </a:lnTo>
                    <a:lnTo>
                      <a:pt x="48" y="199"/>
                    </a:lnTo>
                    <a:lnTo>
                      <a:pt x="40" y="196"/>
                    </a:lnTo>
                    <a:lnTo>
                      <a:pt x="36" y="196"/>
                    </a:lnTo>
                    <a:lnTo>
                      <a:pt x="26" y="200"/>
                    </a:lnTo>
                    <a:lnTo>
                      <a:pt x="17" y="201"/>
                    </a:lnTo>
                    <a:lnTo>
                      <a:pt x="13" y="204"/>
                    </a:lnTo>
                    <a:lnTo>
                      <a:pt x="10" y="204"/>
                    </a:lnTo>
                    <a:lnTo>
                      <a:pt x="7" y="206"/>
                    </a:lnTo>
                    <a:lnTo>
                      <a:pt x="8" y="200"/>
                    </a:lnTo>
                    <a:lnTo>
                      <a:pt x="11" y="188"/>
                    </a:lnTo>
                    <a:lnTo>
                      <a:pt x="16" y="182"/>
                    </a:lnTo>
                    <a:lnTo>
                      <a:pt x="17" y="170"/>
                    </a:lnTo>
                    <a:lnTo>
                      <a:pt x="13" y="152"/>
                    </a:lnTo>
                    <a:lnTo>
                      <a:pt x="8" y="143"/>
                    </a:lnTo>
                    <a:lnTo>
                      <a:pt x="10" y="142"/>
                    </a:lnTo>
                    <a:lnTo>
                      <a:pt x="13" y="142"/>
                    </a:lnTo>
                    <a:lnTo>
                      <a:pt x="14" y="137"/>
                    </a:lnTo>
                    <a:lnTo>
                      <a:pt x="12" y="133"/>
                    </a:lnTo>
                    <a:lnTo>
                      <a:pt x="15" y="130"/>
                    </a:lnTo>
                    <a:lnTo>
                      <a:pt x="9" y="122"/>
                    </a:lnTo>
                    <a:lnTo>
                      <a:pt x="7" y="124"/>
                    </a:lnTo>
                    <a:lnTo>
                      <a:pt x="5" y="123"/>
                    </a:lnTo>
                    <a:lnTo>
                      <a:pt x="5" y="119"/>
                    </a:lnTo>
                    <a:lnTo>
                      <a:pt x="1" y="123"/>
                    </a:lnTo>
                    <a:lnTo>
                      <a:pt x="0" y="116"/>
                    </a:lnTo>
                    <a:lnTo>
                      <a:pt x="2" y="113"/>
                    </a:lnTo>
                    <a:lnTo>
                      <a:pt x="2" y="112"/>
                    </a:lnTo>
                    <a:lnTo>
                      <a:pt x="2" y="112"/>
                    </a:lnTo>
                    <a:close/>
                  </a:path>
                </a:pathLst>
              </a:custGeom>
              <a:solidFill>
                <a:schemeClr val="accent2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043" name="Freeform 45"/>
              <p:cNvSpPr>
                <a:spLocks/>
              </p:cNvSpPr>
              <p:nvPr userDrawn="1"/>
            </p:nvSpPr>
            <p:spPr bwMode="auto">
              <a:xfrm>
                <a:off x="3151" y="2625"/>
                <a:ext cx="119" cy="84"/>
              </a:xfrm>
              <a:custGeom>
                <a:avLst/>
                <a:gdLst>
                  <a:gd name="T0" fmla="*/ 20 w 119"/>
                  <a:gd name="T1" fmla="*/ 8 h 84"/>
                  <a:gd name="T2" fmla="*/ 27 w 119"/>
                  <a:gd name="T3" fmla="*/ 5 h 84"/>
                  <a:gd name="T4" fmla="*/ 46 w 119"/>
                  <a:gd name="T5" fmla="*/ 0 h 84"/>
                  <a:gd name="T6" fmla="*/ 58 w 119"/>
                  <a:gd name="T7" fmla="*/ 3 h 84"/>
                  <a:gd name="T8" fmla="*/ 67 w 119"/>
                  <a:gd name="T9" fmla="*/ 8 h 84"/>
                  <a:gd name="T10" fmla="*/ 69 w 119"/>
                  <a:gd name="T11" fmla="*/ 11 h 84"/>
                  <a:gd name="T12" fmla="*/ 74 w 119"/>
                  <a:gd name="T13" fmla="*/ 11 h 84"/>
                  <a:gd name="T14" fmla="*/ 79 w 119"/>
                  <a:gd name="T15" fmla="*/ 12 h 84"/>
                  <a:gd name="T16" fmla="*/ 83 w 119"/>
                  <a:gd name="T17" fmla="*/ 20 h 84"/>
                  <a:gd name="T18" fmla="*/ 87 w 119"/>
                  <a:gd name="T19" fmla="*/ 25 h 84"/>
                  <a:gd name="T20" fmla="*/ 91 w 119"/>
                  <a:gd name="T21" fmla="*/ 29 h 84"/>
                  <a:gd name="T22" fmla="*/ 97 w 119"/>
                  <a:gd name="T23" fmla="*/ 35 h 84"/>
                  <a:gd name="T24" fmla="*/ 100 w 119"/>
                  <a:gd name="T25" fmla="*/ 40 h 84"/>
                  <a:gd name="T26" fmla="*/ 99 w 119"/>
                  <a:gd name="T27" fmla="*/ 50 h 84"/>
                  <a:gd name="T28" fmla="*/ 103 w 119"/>
                  <a:gd name="T29" fmla="*/ 56 h 84"/>
                  <a:gd name="T30" fmla="*/ 108 w 119"/>
                  <a:gd name="T31" fmla="*/ 63 h 84"/>
                  <a:gd name="T32" fmla="*/ 112 w 119"/>
                  <a:gd name="T33" fmla="*/ 64 h 84"/>
                  <a:gd name="T34" fmla="*/ 116 w 119"/>
                  <a:gd name="T35" fmla="*/ 69 h 84"/>
                  <a:gd name="T36" fmla="*/ 114 w 119"/>
                  <a:gd name="T37" fmla="*/ 73 h 84"/>
                  <a:gd name="T38" fmla="*/ 119 w 119"/>
                  <a:gd name="T39" fmla="*/ 78 h 84"/>
                  <a:gd name="T40" fmla="*/ 118 w 119"/>
                  <a:gd name="T41" fmla="*/ 84 h 84"/>
                  <a:gd name="T42" fmla="*/ 114 w 119"/>
                  <a:gd name="T43" fmla="*/ 81 h 84"/>
                  <a:gd name="T44" fmla="*/ 108 w 119"/>
                  <a:gd name="T45" fmla="*/ 78 h 84"/>
                  <a:gd name="T46" fmla="*/ 100 w 119"/>
                  <a:gd name="T47" fmla="*/ 78 h 84"/>
                  <a:gd name="T48" fmla="*/ 91 w 119"/>
                  <a:gd name="T49" fmla="*/ 76 h 84"/>
                  <a:gd name="T50" fmla="*/ 72 w 119"/>
                  <a:gd name="T51" fmla="*/ 72 h 84"/>
                  <a:gd name="T52" fmla="*/ 68 w 119"/>
                  <a:gd name="T53" fmla="*/ 73 h 84"/>
                  <a:gd name="T54" fmla="*/ 47 w 119"/>
                  <a:gd name="T55" fmla="*/ 71 h 84"/>
                  <a:gd name="T56" fmla="*/ 36 w 119"/>
                  <a:gd name="T57" fmla="*/ 78 h 84"/>
                  <a:gd name="T58" fmla="*/ 18 w 119"/>
                  <a:gd name="T59" fmla="*/ 80 h 84"/>
                  <a:gd name="T60" fmla="*/ 15 w 119"/>
                  <a:gd name="T61" fmla="*/ 75 h 84"/>
                  <a:gd name="T62" fmla="*/ 15 w 119"/>
                  <a:gd name="T63" fmla="*/ 75 h 84"/>
                  <a:gd name="T64" fmla="*/ 22 w 119"/>
                  <a:gd name="T65" fmla="*/ 73 h 84"/>
                  <a:gd name="T66" fmla="*/ 12 w 119"/>
                  <a:gd name="T67" fmla="*/ 73 h 84"/>
                  <a:gd name="T68" fmla="*/ 13 w 119"/>
                  <a:gd name="T69" fmla="*/ 71 h 84"/>
                  <a:gd name="T70" fmla="*/ 15 w 119"/>
                  <a:gd name="T71" fmla="*/ 65 h 84"/>
                  <a:gd name="T72" fmla="*/ 29 w 119"/>
                  <a:gd name="T73" fmla="*/ 61 h 84"/>
                  <a:gd name="T74" fmla="*/ 36 w 119"/>
                  <a:gd name="T75" fmla="*/ 57 h 84"/>
                  <a:gd name="T76" fmla="*/ 39 w 119"/>
                  <a:gd name="T77" fmla="*/ 59 h 84"/>
                  <a:gd name="T78" fmla="*/ 44 w 119"/>
                  <a:gd name="T79" fmla="*/ 56 h 84"/>
                  <a:gd name="T80" fmla="*/ 53 w 119"/>
                  <a:gd name="T81" fmla="*/ 59 h 84"/>
                  <a:gd name="T82" fmla="*/ 63 w 119"/>
                  <a:gd name="T83" fmla="*/ 63 h 84"/>
                  <a:gd name="T84" fmla="*/ 68 w 119"/>
                  <a:gd name="T85" fmla="*/ 61 h 84"/>
                  <a:gd name="T86" fmla="*/ 65 w 119"/>
                  <a:gd name="T87" fmla="*/ 59 h 84"/>
                  <a:gd name="T88" fmla="*/ 54 w 119"/>
                  <a:gd name="T89" fmla="*/ 53 h 84"/>
                  <a:gd name="T90" fmla="*/ 43 w 119"/>
                  <a:gd name="T91" fmla="*/ 50 h 84"/>
                  <a:gd name="T92" fmla="*/ 36 w 119"/>
                  <a:gd name="T93" fmla="*/ 51 h 84"/>
                  <a:gd name="T94" fmla="*/ 25 w 119"/>
                  <a:gd name="T95" fmla="*/ 56 h 84"/>
                  <a:gd name="T96" fmla="*/ 15 w 119"/>
                  <a:gd name="T97" fmla="*/ 57 h 84"/>
                  <a:gd name="T98" fmla="*/ 17 w 119"/>
                  <a:gd name="T99" fmla="*/ 54 h 84"/>
                  <a:gd name="T100" fmla="*/ 15 w 119"/>
                  <a:gd name="T101" fmla="*/ 50 h 84"/>
                  <a:gd name="T102" fmla="*/ 11 w 119"/>
                  <a:gd name="T103" fmla="*/ 47 h 84"/>
                  <a:gd name="T104" fmla="*/ 0 w 119"/>
                  <a:gd name="T105" fmla="*/ 35 h 84"/>
                  <a:gd name="T106" fmla="*/ 16 w 119"/>
                  <a:gd name="T107" fmla="*/ 17 h 84"/>
                  <a:gd name="T108" fmla="*/ 17 w 119"/>
                  <a:gd name="T109" fmla="*/ 1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19" h="84">
                    <a:moveTo>
                      <a:pt x="17" y="10"/>
                    </a:moveTo>
                    <a:lnTo>
                      <a:pt x="20" y="8"/>
                    </a:lnTo>
                    <a:lnTo>
                      <a:pt x="23" y="8"/>
                    </a:lnTo>
                    <a:lnTo>
                      <a:pt x="27" y="5"/>
                    </a:lnTo>
                    <a:lnTo>
                      <a:pt x="36" y="4"/>
                    </a:lnTo>
                    <a:lnTo>
                      <a:pt x="46" y="0"/>
                    </a:lnTo>
                    <a:lnTo>
                      <a:pt x="50" y="0"/>
                    </a:lnTo>
                    <a:lnTo>
                      <a:pt x="58" y="3"/>
                    </a:lnTo>
                    <a:lnTo>
                      <a:pt x="63" y="4"/>
                    </a:lnTo>
                    <a:lnTo>
                      <a:pt x="67" y="8"/>
                    </a:lnTo>
                    <a:lnTo>
                      <a:pt x="67" y="10"/>
                    </a:lnTo>
                    <a:lnTo>
                      <a:pt x="69" y="11"/>
                    </a:lnTo>
                    <a:lnTo>
                      <a:pt x="73" y="10"/>
                    </a:lnTo>
                    <a:lnTo>
                      <a:pt x="74" y="11"/>
                    </a:lnTo>
                    <a:lnTo>
                      <a:pt x="77" y="10"/>
                    </a:lnTo>
                    <a:lnTo>
                      <a:pt x="79" y="12"/>
                    </a:lnTo>
                    <a:lnTo>
                      <a:pt x="79" y="16"/>
                    </a:lnTo>
                    <a:lnTo>
                      <a:pt x="83" y="20"/>
                    </a:lnTo>
                    <a:lnTo>
                      <a:pt x="83" y="24"/>
                    </a:lnTo>
                    <a:lnTo>
                      <a:pt x="87" y="25"/>
                    </a:lnTo>
                    <a:lnTo>
                      <a:pt x="88" y="28"/>
                    </a:lnTo>
                    <a:lnTo>
                      <a:pt x="91" y="29"/>
                    </a:lnTo>
                    <a:lnTo>
                      <a:pt x="96" y="32"/>
                    </a:lnTo>
                    <a:lnTo>
                      <a:pt x="97" y="35"/>
                    </a:lnTo>
                    <a:lnTo>
                      <a:pt x="100" y="37"/>
                    </a:lnTo>
                    <a:lnTo>
                      <a:pt x="100" y="40"/>
                    </a:lnTo>
                    <a:lnTo>
                      <a:pt x="101" y="43"/>
                    </a:lnTo>
                    <a:lnTo>
                      <a:pt x="99" y="50"/>
                    </a:lnTo>
                    <a:lnTo>
                      <a:pt x="100" y="52"/>
                    </a:lnTo>
                    <a:lnTo>
                      <a:pt x="103" y="56"/>
                    </a:lnTo>
                    <a:lnTo>
                      <a:pt x="105" y="61"/>
                    </a:lnTo>
                    <a:lnTo>
                      <a:pt x="108" y="63"/>
                    </a:lnTo>
                    <a:lnTo>
                      <a:pt x="110" y="62"/>
                    </a:lnTo>
                    <a:lnTo>
                      <a:pt x="112" y="64"/>
                    </a:lnTo>
                    <a:lnTo>
                      <a:pt x="113" y="67"/>
                    </a:lnTo>
                    <a:lnTo>
                      <a:pt x="116" y="69"/>
                    </a:lnTo>
                    <a:lnTo>
                      <a:pt x="115" y="71"/>
                    </a:lnTo>
                    <a:lnTo>
                      <a:pt x="114" y="73"/>
                    </a:lnTo>
                    <a:lnTo>
                      <a:pt x="114" y="76"/>
                    </a:lnTo>
                    <a:lnTo>
                      <a:pt x="119" y="78"/>
                    </a:lnTo>
                    <a:lnTo>
                      <a:pt x="119" y="81"/>
                    </a:lnTo>
                    <a:lnTo>
                      <a:pt x="118" y="84"/>
                    </a:lnTo>
                    <a:lnTo>
                      <a:pt x="118" y="81"/>
                    </a:lnTo>
                    <a:lnTo>
                      <a:pt x="114" y="81"/>
                    </a:lnTo>
                    <a:lnTo>
                      <a:pt x="112" y="79"/>
                    </a:lnTo>
                    <a:lnTo>
                      <a:pt x="108" y="78"/>
                    </a:lnTo>
                    <a:lnTo>
                      <a:pt x="105" y="80"/>
                    </a:lnTo>
                    <a:lnTo>
                      <a:pt x="100" y="78"/>
                    </a:lnTo>
                    <a:lnTo>
                      <a:pt x="94" y="78"/>
                    </a:lnTo>
                    <a:lnTo>
                      <a:pt x="91" y="76"/>
                    </a:lnTo>
                    <a:lnTo>
                      <a:pt x="83" y="72"/>
                    </a:lnTo>
                    <a:lnTo>
                      <a:pt x="72" y="72"/>
                    </a:lnTo>
                    <a:lnTo>
                      <a:pt x="68" y="72"/>
                    </a:lnTo>
                    <a:lnTo>
                      <a:pt x="68" y="73"/>
                    </a:lnTo>
                    <a:lnTo>
                      <a:pt x="63" y="71"/>
                    </a:lnTo>
                    <a:lnTo>
                      <a:pt x="47" y="71"/>
                    </a:lnTo>
                    <a:lnTo>
                      <a:pt x="40" y="74"/>
                    </a:lnTo>
                    <a:lnTo>
                      <a:pt x="36" y="78"/>
                    </a:lnTo>
                    <a:lnTo>
                      <a:pt x="25" y="77"/>
                    </a:lnTo>
                    <a:lnTo>
                      <a:pt x="18" y="80"/>
                    </a:lnTo>
                    <a:lnTo>
                      <a:pt x="15" y="79"/>
                    </a:lnTo>
                    <a:lnTo>
                      <a:pt x="15" y="75"/>
                    </a:lnTo>
                    <a:lnTo>
                      <a:pt x="13" y="74"/>
                    </a:lnTo>
                    <a:lnTo>
                      <a:pt x="15" y="75"/>
                    </a:lnTo>
                    <a:lnTo>
                      <a:pt x="18" y="75"/>
                    </a:lnTo>
                    <a:lnTo>
                      <a:pt x="22" y="73"/>
                    </a:lnTo>
                    <a:lnTo>
                      <a:pt x="15" y="71"/>
                    </a:lnTo>
                    <a:lnTo>
                      <a:pt x="12" y="73"/>
                    </a:lnTo>
                    <a:lnTo>
                      <a:pt x="11" y="72"/>
                    </a:lnTo>
                    <a:lnTo>
                      <a:pt x="13" y="71"/>
                    </a:lnTo>
                    <a:lnTo>
                      <a:pt x="13" y="66"/>
                    </a:lnTo>
                    <a:lnTo>
                      <a:pt x="15" y="65"/>
                    </a:lnTo>
                    <a:lnTo>
                      <a:pt x="25" y="65"/>
                    </a:lnTo>
                    <a:lnTo>
                      <a:pt x="29" y="61"/>
                    </a:lnTo>
                    <a:lnTo>
                      <a:pt x="32" y="60"/>
                    </a:lnTo>
                    <a:lnTo>
                      <a:pt x="36" y="57"/>
                    </a:lnTo>
                    <a:lnTo>
                      <a:pt x="38" y="58"/>
                    </a:lnTo>
                    <a:lnTo>
                      <a:pt x="39" y="59"/>
                    </a:lnTo>
                    <a:lnTo>
                      <a:pt x="42" y="56"/>
                    </a:lnTo>
                    <a:lnTo>
                      <a:pt x="44" y="56"/>
                    </a:lnTo>
                    <a:lnTo>
                      <a:pt x="49" y="59"/>
                    </a:lnTo>
                    <a:lnTo>
                      <a:pt x="53" y="59"/>
                    </a:lnTo>
                    <a:lnTo>
                      <a:pt x="58" y="60"/>
                    </a:lnTo>
                    <a:lnTo>
                      <a:pt x="63" y="63"/>
                    </a:lnTo>
                    <a:lnTo>
                      <a:pt x="67" y="63"/>
                    </a:lnTo>
                    <a:lnTo>
                      <a:pt x="68" y="61"/>
                    </a:lnTo>
                    <a:lnTo>
                      <a:pt x="67" y="58"/>
                    </a:lnTo>
                    <a:lnTo>
                      <a:pt x="65" y="59"/>
                    </a:lnTo>
                    <a:lnTo>
                      <a:pt x="58" y="53"/>
                    </a:lnTo>
                    <a:lnTo>
                      <a:pt x="54" y="53"/>
                    </a:lnTo>
                    <a:lnTo>
                      <a:pt x="48" y="50"/>
                    </a:lnTo>
                    <a:lnTo>
                      <a:pt x="43" y="50"/>
                    </a:lnTo>
                    <a:lnTo>
                      <a:pt x="40" y="49"/>
                    </a:lnTo>
                    <a:lnTo>
                      <a:pt x="36" y="51"/>
                    </a:lnTo>
                    <a:lnTo>
                      <a:pt x="29" y="56"/>
                    </a:lnTo>
                    <a:lnTo>
                      <a:pt x="25" y="56"/>
                    </a:lnTo>
                    <a:lnTo>
                      <a:pt x="23" y="57"/>
                    </a:lnTo>
                    <a:lnTo>
                      <a:pt x="15" y="57"/>
                    </a:lnTo>
                    <a:lnTo>
                      <a:pt x="15" y="55"/>
                    </a:lnTo>
                    <a:lnTo>
                      <a:pt x="17" y="54"/>
                    </a:lnTo>
                    <a:lnTo>
                      <a:pt x="13" y="51"/>
                    </a:lnTo>
                    <a:lnTo>
                      <a:pt x="15" y="50"/>
                    </a:lnTo>
                    <a:lnTo>
                      <a:pt x="15" y="48"/>
                    </a:lnTo>
                    <a:lnTo>
                      <a:pt x="11" y="47"/>
                    </a:lnTo>
                    <a:lnTo>
                      <a:pt x="7" y="40"/>
                    </a:lnTo>
                    <a:lnTo>
                      <a:pt x="0" y="35"/>
                    </a:lnTo>
                    <a:lnTo>
                      <a:pt x="12" y="25"/>
                    </a:lnTo>
                    <a:lnTo>
                      <a:pt x="16" y="17"/>
                    </a:lnTo>
                    <a:lnTo>
                      <a:pt x="17" y="10"/>
                    </a:lnTo>
                    <a:lnTo>
                      <a:pt x="17" y="10"/>
                    </a:ln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044" name="Freeform 46"/>
              <p:cNvSpPr>
                <a:spLocks noEditPoints="1"/>
              </p:cNvSpPr>
              <p:nvPr userDrawn="1"/>
            </p:nvSpPr>
            <p:spPr bwMode="auto">
              <a:xfrm>
                <a:off x="3230" y="2745"/>
                <a:ext cx="50" cy="61"/>
              </a:xfrm>
              <a:custGeom>
                <a:avLst/>
                <a:gdLst>
                  <a:gd name="T0" fmla="*/ 13 w 50"/>
                  <a:gd name="T1" fmla="*/ 52 h 61"/>
                  <a:gd name="T2" fmla="*/ 13 w 50"/>
                  <a:gd name="T3" fmla="*/ 50 h 61"/>
                  <a:gd name="T4" fmla="*/ 11 w 50"/>
                  <a:gd name="T5" fmla="*/ 48 h 61"/>
                  <a:gd name="T6" fmla="*/ 9 w 50"/>
                  <a:gd name="T7" fmla="*/ 47 h 61"/>
                  <a:gd name="T8" fmla="*/ 8 w 50"/>
                  <a:gd name="T9" fmla="*/ 49 h 61"/>
                  <a:gd name="T10" fmla="*/ 9 w 50"/>
                  <a:gd name="T11" fmla="*/ 50 h 61"/>
                  <a:gd name="T12" fmla="*/ 12 w 50"/>
                  <a:gd name="T13" fmla="*/ 52 h 61"/>
                  <a:gd name="T14" fmla="*/ 13 w 50"/>
                  <a:gd name="T15" fmla="*/ 52 h 61"/>
                  <a:gd name="T16" fmla="*/ 13 w 50"/>
                  <a:gd name="T17" fmla="*/ 52 h 61"/>
                  <a:gd name="T18" fmla="*/ 13 w 50"/>
                  <a:gd name="T19" fmla="*/ 52 h 61"/>
                  <a:gd name="T20" fmla="*/ 1 w 50"/>
                  <a:gd name="T21" fmla="*/ 15 h 61"/>
                  <a:gd name="T22" fmla="*/ 4 w 50"/>
                  <a:gd name="T23" fmla="*/ 15 h 61"/>
                  <a:gd name="T24" fmla="*/ 10 w 50"/>
                  <a:gd name="T25" fmla="*/ 12 h 61"/>
                  <a:gd name="T26" fmla="*/ 10 w 50"/>
                  <a:gd name="T27" fmla="*/ 10 h 61"/>
                  <a:gd name="T28" fmla="*/ 15 w 50"/>
                  <a:gd name="T29" fmla="*/ 5 h 61"/>
                  <a:gd name="T30" fmla="*/ 18 w 50"/>
                  <a:gd name="T31" fmla="*/ 2 h 61"/>
                  <a:gd name="T32" fmla="*/ 22 w 50"/>
                  <a:gd name="T33" fmla="*/ 0 h 61"/>
                  <a:gd name="T34" fmla="*/ 38 w 50"/>
                  <a:gd name="T35" fmla="*/ 0 h 61"/>
                  <a:gd name="T36" fmla="*/ 41 w 50"/>
                  <a:gd name="T37" fmla="*/ 5 h 61"/>
                  <a:gd name="T38" fmla="*/ 43 w 50"/>
                  <a:gd name="T39" fmla="*/ 8 h 61"/>
                  <a:gd name="T40" fmla="*/ 47 w 50"/>
                  <a:gd name="T41" fmla="*/ 16 h 61"/>
                  <a:gd name="T42" fmla="*/ 46 w 50"/>
                  <a:gd name="T43" fmla="*/ 18 h 61"/>
                  <a:gd name="T44" fmla="*/ 50 w 50"/>
                  <a:gd name="T45" fmla="*/ 22 h 61"/>
                  <a:gd name="T46" fmla="*/ 50 w 50"/>
                  <a:gd name="T47" fmla="*/ 25 h 61"/>
                  <a:gd name="T48" fmla="*/ 47 w 50"/>
                  <a:gd name="T49" fmla="*/ 26 h 61"/>
                  <a:gd name="T50" fmla="*/ 47 w 50"/>
                  <a:gd name="T51" fmla="*/ 29 h 61"/>
                  <a:gd name="T52" fmla="*/ 49 w 50"/>
                  <a:gd name="T53" fmla="*/ 30 h 61"/>
                  <a:gd name="T54" fmla="*/ 48 w 50"/>
                  <a:gd name="T55" fmla="*/ 33 h 61"/>
                  <a:gd name="T56" fmla="*/ 47 w 50"/>
                  <a:gd name="T57" fmla="*/ 56 h 61"/>
                  <a:gd name="T58" fmla="*/ 40 w 50"/>
                  <a:gd name="T59" fmla="*/ 61 h 61"/>
                  <a:gd name="T60" fmla="*/ 38 w 50"/>
                  <a:gd name="T61" fmla="*/ 59 h 61"/>
                  <a:gd name="T62" fmla="*/ 30 w 50"/>
                  <a:gd name="T63" fmla="*/ 59 h 61"/>
                  <a:gd name="T64" fmla="*/ 21 w 50"/>
                  <a:gd name="T65" fmla="*/ 55 h 61"/>
                  <a:gd name="T66" fmla="*/ 17 w 50"/>
                  <a:gd name="T67" fmla="*/ 54 h 61"/>
                  <a:gd name="T68" fmla="*/ 18 w 50"/>
                  <a:gd name="T69" fmla="*/ 52 h 61"/>
                  <a:gd name="T70" fmla="*/ 15 w 50"/>
                  <a:gd name="T71" fmla="*/ 49 h 61"/>
                  <a:gd name="T72" fmla="*/ 13 w 50"/>
                  <a:gd name="T73" fmla="*/ 47 h 61"/>
                  <a:gd name="T74" fmla="*/ 14 w 50"/>
                  <a:gd name="T75" fmla="*/ 44 h 61"/>
                  <a:gd name="T76" fmla="*/ 14 w 50"/>
                  <a:gd name="T77" fmla="*/ 43 h 61"/>
                  <a:gd name="T78" fmla="*/ 10 w 50"/>
                  <a:gd name="T79" fmla="*/ 44 h 61"/>
                  <a:gd name="T80" fmla="*/ 6 w 50"/>
                  <a:gd name="T81" fmla="*/ 40 h 61"/>
                  <a:gd name="T82" fmla="*/ 6 w 50"/>
                  <a:gd name="T83" fmla="*/ 36 h 61"/>
                  <a:gd name="T84" fmla="*/ 4 w 50"/>
                  <a:gd name="T85" fmla="*/ 31 h 61"/>
                  <a:gd name="T86" fmla="*/ 0 w 50"/>
                  <a:gd name="T87" fmla="*/ 30 h 61"/>
                  <a:gd name="T88" fmla="*/ 0 w 50"/>
                  <a:gd name="T89" fmla="*/ 27 h 61"/>
                  <a:gd name="T90" fmla="*/ 2 w 50"/>
                  <a:gd name="T91" fmla="*/ 22 h 61"/>
                  <a:gd name="T92" fmla="*/ 0 w 50"/>
                  <a:gd name="T93" fmla="*/ 21 h 61"/>
                  <a:gd name="T94" fmla="*/ 0 w 50"/>
                  <a:gd name="T95" fmla="*/ 18 h 61"/>
                  <a:gd name="T96" fmla="*/ 1 w 50"/>
                  <a:gd name="T97" fmla="*/ 16 h 61"/>
                  <a:gd name="T98" fmla="*/ 1 w 50"/>
                  <a:gd name="T99" fmla="*/ 15 h 61"/>
                  <a:gd name="T100" fmla="*/ 1 w 50"/>
                  <a:gd name="T101" fmla="*/ 15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50" h="61">
                    <a:moveTo>
                      <a:pt x="13" y="52"/>
                    </a:moveTo>
                    <a:lnTo>
                      <a:pt x="13" y="50"/>
                    </a:lnTo>
                    <a:lnTo>
                      <a:pt x="11" y="48"/>
                    </a:lnTo>
                    <a:lnTo>
                      <a:pt x="9" y="47"/>
                    </a:lnTo>
                    <a:lnTo>
                      <a:pt x="8" y="49"/>
                    </a:lnTo>
                    <a:lnTo>
                      <a:pt x="9" y="50"/>
                    </a:lnTo>
                    <a:lnTo>
                      <a:pt x="12" y="52"/>
                    </a:lnTo>
                    <a:lnTo>
                      <a:pt x="13" y="52"/>
                    </a:lnTo>
                    <a:lnTo>
                      <a:pt x="13" y="52"/>
                    </a:lnTo>
                    <a:lnTo>
                      <a:pt x="13" y="52"/>
                    </a:lnTo>
                    <a:close/>
                    <a:moveTo>
                      <a:pt x="1" y="15"/>
                    </a:moveTo>
                    <a:lnTo>
                      <a:pt x="4" y="15"/>
                    </a:lnTo>
                    <a:lnTo>
                      <a:pt x="10" y="12"/>
                    </a:lnTo>
                    <a:lnTo>
                      <a:pt x="10" y="10"/>
                    </a:lnTo>
                    <a:lnTo>
                      <a:pt x="15" y="5"/>
                    </a:lnTo>
                    <a:lnTo>
                      <a:pt x="18" y="2"/>
                    </a:lnTo>
                    <a:lnTo>
                      <a:pt x="22" y="0"/>
                    </a:lnTo>
                    <a:lnTo>
                      <a:pt x="38" y="0"/>
                    </a:lnTo>
                    <a:lnTo>
                      <a:pt x="41" y="5"/>
                    </a:lnTo>
                    <a:lnTo>
                      <a:pt x="43" y="8"/>
                    </a:lnTo>
                    <a:lnTo>
                      <a:pt x="47" y="16"/>
                    </a:lnTo>
                    <a:lnTo>
                      <a:pt x="46" y="18"/>
                    </a:lnTo>
                    <a:lnTo>
                      <a:pt x="50" y="22"/>
                    </a:lnTo>
                    <a:lnTo>
                      <a:pt x="50" y="25"/>
                    </a:lnTo>
                    <a:lnTo>
                      <a:pt x="47" y="26"/>
                    </a:lnTo>
                    <a:lnTo>
                      <a:pt x="47" y="29"/>
                    </a:lnTo>
                    <a:lnTo>
                      <a:pt x="49" y="30"/>
                    </a:lnTo>
                    <a:lnTo>
                      <a:pt x="48" y="33"/>
                    </a:lnTo>
                    <a:lnTo>
                      <a:pt x="47" y="56"/>
                    </a:lnTo>
                    <a:lnTo>
                      <a:pt x="40" y="61"/>
                    </a:lnTo>
                    <a:lnTo>
                      <a:pt x="38" y="59"/>
                    </a:lnTo>
                    <a:lnTo>
                      <a:pt x="30" y="59"/>
                    </a:lnTo>
                    <a:lnTo>
                      <a:pt x="21" y="55"/>
                    </a:lnTo>
                    <a:lnTo>
                      <a:pt x="17" y="54"/>
                    </a:lnTo>
                    <a:lnTo>
                      <a:pt x="18" y="52"/>
                    </a:lnTo>
                    <a:lnTo>
                      <a:pt x="15" y="49"/>
                    </a:lnTo>
                    <a:lnTo>
                      <a:pt x="13" y="47"/>
                    </a:lnTo>
                    <a:lnTo>
                      <a:pt x="14" y="44"/>
                    </a:lnTo>
                    <a:lnTo>
                      <a:pt x="14" y="43"/>
                    </a:lnTo>
                    <a:lnTo>
                      <a:pt x="10" y="44"/>
                    </a:lnTo>
                    <a:lnTo>
                      <a:pt x="6" y="40"/>
                    </a:lnTo>
                    <a:lnTo>
                      <a:pt x="6" y="36"/>
                    </a:lnTo>
                    <a:lnTo>
                      <a:pt x="4" y="31"/>
                    </a:lnTo>
                    <a:lnTo>
                      <a:pt x="0" y="30"/>
                    </a:lnTo>
                    <a:lnTo>
                      <a:pt x="0" y="27"/>
                    </a:lnTo>
                    <a:lnTo>
                      <a:pt x="2" y="22"/>
                    </a:lnTo>
                    <a:lnTo>
                      <a:pt x="0" y="21"/>
                    </a:lnTo>
                    <a:lnTo>
                      <a:pt x="0" y="18"/>
                    </a:lnTo>
                    <a:lnTo>
                      <a:pt x="1" y="16"/>
                    </a:lnTo>
                    <a:lnTo>
                      <a:pt x="1" y="15"/>
                    </a:lnTo>
                    <a:lnTo>
                      <a:pt x="1" y="15"/>
                    </a:ln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045" name="Freeform 47"/>
              <p:cNvSpPr>
                <a:spLocks noEditPoints="1"/>
              </p:cNvSpPr>
              <p:nvPr userDrawn="1"/>
            </p:nvSpPr>
            <p:spPr bwMode="auto">
              <a:xfrm>
                <a:off x="3689" y="2501"/>
                <a:ext cx="214" cy="295"/>
              </a:xfrm>
              <a:custGeom>
                <a:avLst/>
                <a:gdLst>
                  <a:gd name="T0" fmla="*/ 213 w 214"/>
                  <a:gd name="T1" fmla="*/ 72 h 295"/>
                  <a:gd name="T2" fmla="*/ 208 w 214"/>
                  <a:gd name="T3" fmla="*/ 145 h 295"/>
                  <a:gd name="T4" fmla="*/ 197 w 214"/>
                  <a:gd name="T5" fmla="*/ 146 h 295"/>
                  <a:gd name="T6" fmla="*/ 197 w 214"/>
                  <a:gd name="T7" fmla="*/ 156 h 295"/>
                  <a:gd name="T8" fmla="*/ 186 w 214"/>
                  <a:gd name="T9" fmla="*/ 167 h 295"/>
                  <a:gd name="T10" fmla="*/ 186 w 214"/>
                  <a:gd name="T11" fmla="*/ 175 h 295"/>
                  <a:gd name="T12" fmla="*/ 185 w 214"/>
                  <a:gd name="T13" fmla="*/ 182 h 295"/>
                  <a:gd name="T14" fmla="*/ 178 w 214"/>
                  <a:gd name="T15" fmla="*/ 195 h 295"/>
                  <a:gd name="T16" fmla="*/ 185 w 214"/>
                  <a:gd name="T17" fmla="*/ 197 h 295"/>
                  <a:gd name="T18" fmla="*/ 185 w 214"/>
                  <a:gd name="T19" fmla="*/ 202 h 295"/>
                  <a:gd name="T20" fmla="*/ 188 w 214"/>
                  <a:gd name="T21" fmla="*/ 209 h 295"/>
                  <a:gd name="T22" fmla="*/ 195 w 214"/>
                  <a:gd name="T23" fmla="*/ 218 h 295"/>
                  <a:gd name="T24" fmla="*/ 195 w 214"/>
                  <a:gd name="T25" fmla="*/ 226 h 295"/>
                  <a:gd name="T26" fmla="*/ 188 w 214"/>
                  <a:gd name="T27" fmla="*/ 230 h 295"/>
                  <a:gd name="T28" fmla="*/ 175 w 214"/>
                  <a:gd name="T29" fmla="*/ 235 h 295"/>
                  <a:gd name="T30" fmla="*/ 172 w 214"/>
                  <a:gd name="T31" fmla="*/ 239 h 295"/>
                  <a:gd name="T32" fmla="*/ 166 w 214"/>
                  <a:gd name="T33" fmla="*/ 244 h 295"/>
                  <a:gd name="T34" fmla="*/ 160 w 214"/>
                  <a:gd name="T35" fmla="*/ 252 h 295"/>
                  <a:gd name="T36" fmla="*/ 159 w 214"/>
                  <a:gd name="T37" fmla="*/ 260 h 295"/>
                  <a:gd name="T38" fmla="*/ 145 w 214"/>
                  <a:gd name="T39" fmla="*/ 264 h 295"/>
                  <a:gd name="T40" fmla="*/ 133 w 214"/>
                  <a:gd name="T41" fmla="*/ 263 h 295"/>
                  <a:gd name="T42" fmla="*/ 123 w 214"/>
                  <a:gd name="T43" fmla="*/ 265 h 295"/>
                  <a:gd name="T44" fmla="*/ 128 w 214"/>
                  <a:gd name="T45" fmla="*/ 272 h 295"/>
                  <a:gd name="T46" fmla="*/ 121 w 214"/>
                  <a:gd name="T47" fmla="*/ 280 h 295"/>
                  <a:gd name="T48" fmla="*/ 101 w 214"/>
                  <a:gd name="T49" fmla="*/ 285 h 295"/>
                  <a:gd name="T50" fmla="*/ 87 w 214"/>
                  <a:gd name="T51" fmla="*/ 291 h 295"/>
                  <a:gd name="T52" fmla="*/ 82 w 214"/>
                  <a:gd name="T53" fmla="*/ 284 h 295"/>
                  <a:gd name="T54" fmla="*/ 79 w 214"/>
                  <a:gd name="T55" fmla="*/ 294 h 295"/>
                  <a:gd name="T56" fmla="*/ 67 w 214"/>
                  <a:gd name="T57" fmla="*/ 295 h 295"/>
                  <a:gd name="T58" fmla="*/ 64 w 214"/>
                  <a:gd name="T59" fmla="*/ 285 h 295"/>
                  <a:gd name="T60" fmla="*/ 56 w 214"/>
                  <a:gd name="T61" fmla="*/ 274 h 295"/>
                  <a:gd name="T62" fmla="*/ 38 w 214"/>
                  <a:gd name="T63" fmla="*/ 260 h 295"/>
                  <a:gd name="T64" fmla="*/ 36 w 214"/>
                  <a:gd name="T65" fmla="*/ 256 h 295"/>
                  <a:gd name="T66" fmla="*/ 37 w 214"/>
                  <a:gd name="T67" fmla="*/ 247 h 295"/>
                  <a:gd name="T68" fmla="*/ 45 w 214"/>
                  <a:gd name="T69" fmla="*/ 248 h 295"/>
                  <a:gd name="T70" fmla="*/ 53 w 214"/>
                  <a:gd name="T71" fmla="*/ 247 h 295"/>
                  <a:gd name="T72" fmla="*/ 61 w 214"/>
                  <a:gd name="T73" fmla="*/ 249 h 295"/>
                  <a:gd name="T74" fmla="*/ 58 w 214"/>
                  <a:gd name="T75" fmla="*/ 243 h 295"/>
                  <a:gd name="T76" fmla="*/ 50 w 214"/>
                  <a:gd name="T77" fmla="*/ 234 h 295"/>
                  <a:gd name="T78" fmla="*/ 54 w 214"/>
                  <a:gd name="T79" fmla="*/ 223 h 295"/>
                  <a:gd name="T80" fmla="*/ 53 w 214"/>
                  <a:gd name="T81" fmla="*/ 217 h 295"/>
                  <a:gd name="T82" fmla="*/ 50 w 214"/>
                  <a:gd name="T83" fmla="*/ 208 h 295"/>
                  <a:gd name="T84" fmla="*/ 43 w 214"/>
                  <a:gd name="T85" fmla="*/ 197 h 295"/>
                  <a:gd name="T86" fmla="*/ 31 w 214"/>
                  <a:gd name="T87" fmla="*/ 188 h 295"/>
                  <a:gd name="T88" fmla="*/ 22 w 214"/>
                  <a:gd name="T89" fmla="*/ 159 h 295"/>
                  <a:gd name="T90" fmla="*/ 27 w 214"/>
                  <a:gd name="T91" fmla="*/ 156 h 295"/>
                  <a:gd name="T92" fmla="*/ 58 w 214"/>
                  <a:gd name="T93" fmla="*/ 98 h 295"/>
                  <a:gd name="T94" fmla="*/ 66 w 214"/>
                  <a:gd name="T95" fmla="*/ 56 h 295"/>
                  <a:gd name="T96" fmla="*/ 55 w 214"/>
                  <a:gd name="T97" fmla="*/ 34 h 295"/>
                  <a:gd name="T98" fmla="*/ 44 w 214"/>
                  <a:gd name="T99" fmla="*/ 7 h 295"/>
                  <a:gd name="T100" fmla="*/ 4 w 214"/>
                  <a:gd name="T101" fmla="*/ 193 h 295"/>
                  <a:gd name="T102" fmla="*/ 5 w 214"/>
                  <a:gd name="T103" fmla="*/ 190 h 2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214" h="295">
                    <a:moveTo>
                      <a:pt x="44" y="7"/>
                    </a:moveTo>
                    <a:lnTo>
                      <a:pt x="65" y="0"/>
                    </a:lnTo>
                    <a:lnTo>
                      <a:pt x="213" y="72"/>
                    </a:lnTo>
                    <a:lnTo>
                      <a:pt x="214" y="142"/>
                    </a:lnTo>
                    <a:lnTo>
                      <a:pt x="211" y="143"/>
                    </a:lnTo>
                    <a:lnTo>
                      <a:pt x="208" y="145"/>
                    </a:lnTo>
                    <a:lnTo>
                      <a:pt x="205" y="143"/>
                    </a:lnTo>
                    <a:lnTo>
                      <a:pt x="200" y="143"/>
                    </a:lnTo>
                    <a:lnTo>
                      <a:pt x="197" y="146"/>
                    </a:lnTo>
                    <a:lnTo>
                      <a:pt x="197" y="151"/>
                    </a:lnTo>
                    <a:lnTo>
                      <a:pt x="199" y="152"/>
                    </a:lnTo>
                    <a:lnTo>
                      <a:pt x="197" y="156"/>
                    </a:lnTo>
                    <a:lnTo>
                      <a:pt x="190" y="164"/>
                    </a:lnTo>
                    <a:lnTo>
                      <a:pt x="188" y="164"/>
                    </a:lnTo>
                    <a:lnTo>
                      <a:pt x="186" y="167"/>
                    </a:lnTo>
                    <a:lnTo>
                      <a:pt x="186" y="170"/>
                    </a:lnTo>
                    <a:lnTo>
                      <a:pt x="188" y="172"/>
                    </a:lnTo>
                    <a:lnTo>
                      <a:pt x="186" y="175"/>
                    </a:lnTo>
                    <a:lnTo>
                      <a:pt x="183" y="177"/>
                    </a:lnTo>
                    <a:lnTo>
                      <a:pt x="182" y="180"/>
                    </a:lnTo>
                    <a:lnTo>
                      <a:pt x="185" y="182"/>
                    </a:lnTo>
                    <a:lnTo>
                      <a:pt x="186" y="186"/>
                    </a:lnTo>
                    <a:lnTo>
                      <a:pt x="184" y="189"/>
                    </a:lnTo>
                    <a:lnTo>
                      <a:pt x="178" y="195"/>
                    </a:lnTo>
                    <a:lnTo>
                      <a:pt x="178" y="198"/>
                    </a:lnTo>
                    <a:lnTo>
                      <a:pt x="180" y="200"/>
                    </a:lnTo>
                    <a:lnTo>
                      <a:pt x="185" y="197"/>
                    </a:lnTo>
                    <a:lnTo>
                      <a:pt x="187" y="198"/>
                    </a:lnTo>
                    <a:lnTo>
                      <a:pt x="187" y="200"/>
                    </a:lnTo>
                    <a:lnTo>
                      <a:pt x="185" y="202"/>
                    </a:lnTo>
                    <a:lnTo>
                      <a:pt x="187" y="204"/>
                    </a:lnTo>
                    <a:lnTo>
                      <a:pt x="186" y="206"/>
                    </a:lnTo>
                    <a:lnTo>
                      <a:pt x="188" y="209"/>
                    </a:lnTo>
                    <a:lnTo>
                      <a:pt x="188" y="214"/>
                    </a:lnTo>
                    <a:lnTo>
                      <a:pt x="188" y="217"/>
                    </a:lnTo>
                    <a:lnTo>
                      <a:pt x="195" y="218"/>
                    </a:lnTo>
                    <a:lnTo>
                      <a:pt x="197" y="221"/>
                    </a:lnTo>
                    <a:lnTo>
                      <a:pt x="195" y="224"/>
                    </a:lnTo>
                    <a:lnTo>
                      <a:pt x="195" y="226"/>
                    </a:lnTo>
                    <a:lnTo>
                      <a:pt x="194" y="229"/>
                    </a:lnTo>
                    <a:lnTo>
                      <a:pt x="189" y="231"/>
                    </a:lnTo>
                    <a:lnTo>
                      <a:pt x="188" y="230"/>
                    </a:lnTo>
                    <a:lnTo>
                      <a:pt x="183" y="230"/>
                    </a:lnTo>
                    <a:lnTo>
                      <a:pt x="179" y="232"/>
                    </a:lnTo>
                    <a:lnTo>
                      <a:pt x="175" y="235"/>
                    </a:lnTo>
                    <a:lnTo>
                      <a:pt x="174" y="237"/>
                    </a:lnTo>
                    <a:lnTo>
                      <a:pt x="174" y="239"/>
                    </a:lnTo>
                    <a:lnTo>
                      <a:pt x="172" y="239"/>
                    </a:lnTo>
                    <a:lnTo>
                      <a:pt x="168" y="245"/>
                    </a:lnTo>
                    <a:lnTo>
                      <a:pt x="166" y="245"/>
                    </a:lnTo>
                    <a:lnTo>
                      <a:pt x="166" y="244"/>
                    </a:lnTo>
                    <a:lnTo>
                      <a:pt x="163" y="247"/>
                    </a:lnTo>
                    <a:lnTo>
                      <a:pt x="163" y="250"/>
                    </a:lnTo>
                    <a:lnTo>
                      <a:pt x="160" y="252"/>
                    </a:lnTo>
                    <a:lnTo>
                      <a:pt x="160" y="255"/>
                    </a:lnTo>
                    <a:lnTo>
                      <a:pt x="160" y="258"/>
                    </a:lnTo>
                    <a:lnTo>
                      <a:pt x="159" y="260"/>
                    </a:lnTo>
                    <a:lnTo>
                      <a:pt x="156" y="261"/>
                    </a:lnTo>
                    <a:lnTo>
                      <a:pt x="152" y="264"/>
                    </a:lnTo>
                    <a:lnTo>
                      <a:pt x="145" y="264"/>
                    </a:lnTo>
                    <a:lnTo>
                      <a:pt x="141" y="265"/>
                    </a:lnTo>
                    <a:lnTo>
                      <a:pt x="136" y="264"/>
                    </a:lnTo>
                    <a:lnTo>
                      <a:pt x="133" y="263"/>
                    </a:lnTo>
                    <a:lnTo>
                      <a:pt x="128" y="264"/>
                    </a:lnTo>
                    <a:lnTo>
                      <a:pt x="125" y="263"/>
                    </a:lnTo>
                    <a:lnTo>
                      <a:pt x="123" y="265"/>
                    </a:lnTo>
                    <a:lnTo>
                      <a:pt x="123" y="268"/>
                    </a:lnTo>
                    <a:lnTo>
                      <a:pt x="126" y="272"/>
                    </a:lnTo>
                    <a:lnTo>
                      <a:pt x="128" y="272"/>
                    </a:lnTo>
                    <a:lnTo>
                      <a:pt x="129" y="274"/>
                    </a:lnTo>
                    <a:lnTo>
                      <a:pt x="123" y="278"/>
                    </a:lnTo>
                    <a:lnTo>
                      <a:pt x="121" y="280"/>
                    </a:lnTo>
                    <a:lnTo>
                      <a:pt x="116" y="280"/>
                    </a:lnTo>
                    <a:lnTo>
                      <a:pt x="105" y="282"/>
                    </a:lnTo>
                    <a:lnTo>
                      <a:pt x="101" y="285"/>
                    </a:lnTo>
                    <a:lnTo>
                      <a:pt x="96" y="287"/>
                    </a:lnTo>
                    <a:lnTo>
                      <a:pt x="91" y="291"/>
                    </a:lnTo>
                    <a:lnTo>
                      <a:pt x="87" y="291"/>
                    </a:lnTo>
                    <a:lnTo>
                      <a:pt x="86" y="290"/>
                    </a:lnTo>
                    <a:lnTo>
                      <a:pt x="84" y="286"/>
                    </a:lnTo>
                    <a:lnTo>
                      <a:pt x="82" y="284"/>
                    </a:lnTo>
                    <a:lnTo>
                      <a:pt x="80" y="286"/>
                    </a:lnTo>
                    <a:lnTo>
                      <a:pt x="80" y="289"/>
                    </a:lnTo>
                    <a:lnTo>
                      <a:pt x="79" y="294"/>
                    </a:lnTo>
                    <a:lnTo>
                      <a:pt x="74" y="294"/>
                    </a:lnTo>
                    <a:lnTo>
                      <a:pt x="70" y="295"/>
                    </a:lnTo>
                    <a:lnTo>
                      <a:pt x="67" y="295"/>
                    </a:lnTo>
                    <a:lnTo>
                      <a:pt x="66" y="291"/>
                    </a:lnTo>
                    <a:lnTo>
                      <a:pt x="64" y="289"/>
                    </a:lnTo>
                    <a:lnTo>
                      <a:pt x="64" y="285"/>
                    </a:lnTo>
                    <a:lnTo>
                      <a:pt x="60" y="281"/>
                    </a:lnTo>
                    <a:lnTo>
                      <a:pt x="58" y="277"/>
                    </a:lnTo>
                    <a:lnTo>
                      <a:pt x="56" y="274"/>
                    </a:lnTo>
                    <a:lnTo>
                      <a:pt x="49" y="267"/>
                    </a:lnTo>
                    <a:lnTo>
                      <a:pt x="42" y="261"/>
                    </a:lnTo>
                    <a:lnTo>
                      <a:pt x="38" y="260"/>
                    </a:lnTo>
                    <a:lnTo>
                      <a:pt x="38" y="259"/>
                    </a:lnTo>
                    <a:lnTo>
                      <a:pt x="37" y="258"/>
                    </a:lnTo>
                    <a:lnTo>
                      <a:pt x="36" y="256"/>
                    </a:lnTo>
                    <a:lnTo>
                      <a:pt x="36" y="252"/>
                    </a:lnTo>
                    <a:lnTo>
                      <a:pt x="37" y="251"/>
                    </a:lnTo>
                    <a:lnTo>
                      <a:pt x="37" y="247"/>
                    </a:lnTo>
                    <a:lnTo>
                      <a:pt x="39" y="247"/>
                    </a:lnTo>
                    <a:lnTo>
                      <a:pt x="43" y="247"/>
                    </a:lnTo>
                    <a:lnTo>
                      <a:pt x="45" y="248"/>
                    </a:lnTo>
                    <a:lnTo>
                      <a:pt x="48" y="247"/>
                    </a:lnTo>
                    <a:lnTo>
                      <a:pt x="51" y="248"/>
                    </a:lnTo>
                    <a:lnTo>
                      <a:pt x="53" y="247"/>
                    </a:lnTo>
                    <a:lnTo>
                      <a:pt x="58" y="248"/>
                    </a:lnTo>
                    <a:lnTo>
                      <a:pt x="59" y="249"/>
                    </a:lnTo>
                    <a:lnTo>
                      <a:pt x="61" y="249"/>
                    </a:lnTo>
                    <a:lnTo>
                      <a:pt x="63" y="248"/>
                    </a:lnTo>
                    <a:lnTo>
                      <a:pt x="62" y="247"/>
                    </a:lnTo>
                    <a:lnTo>
                      <a:pt x="58" y="243"/>
                    </a:lnTo>
                    <a:lnTo>
                      <a:pt x="57" y="239"/>
                    </a:lnTo>
                    <a:lnTo>
                      <a:pt x="54" y="238"/>
                    </a:lnTo>
                    <a:lnTo>
                      <a:pt x="50" y="234"/>
                    </a:lnTo>
                    <a:lnTo>
                      <a:pt x="50" y="231"/>
                    </a:lnTo>
                    <a:lnTo>
                      <a:pt x="52" y="228"/>
                    </a:lnTo>
                    <a:lnTo>
                      <a:pt x="54" y="223"/>
                    </a:lnTo>
                    <a:lnTo>
                      <a:pt x="52" y="221"/>
                    </a:lnTo>
                    <a:lnTo>
                      <a:pt x="52" y="219"/>
                    </a:lnTo>
                    <a:lnTo>
                      <a:pt x="53" y="217"/>
                    </a:lnTo>
                    <a:lnTo>
                      <a:pt x="53" y="216"/>
                    </a:lnTo>
                    <a:lnTo>
                      <a:pt x="50" y="211"/>
                    </a:lnTo>
                    <a:lnTo>
                      <a:pt x="50" y="208"/>
                    </a:lnTo>
                    <a:lnTo>
                      <a:pt x="48" y="206"/>
                    </a:lnTo>
                    <a:lnTo>
                      <a:pt x="47" y="201"/>
                    </a:lnTo>
                    <a:lnTo>
                      <a:pt x="43" y="197"/>
                    </a:lnTo>
                    <a:lnTo>
                      <a:pt x="34" y="193"/>
                    </a:lnTo>
                    <a:lnTo>
                      <a:pt x="34" y="193"/>
                    </a:lnTo>
                    <a:lnTo>
                      <a:pt x="31" y="188"/>
                    </a:lnTo>
                    <a:lnTo>
                      <a:pt x="26" y="182"/>
                    </a:lnTo>
                    <a:lnTo>
                      <a:pt x="24" y="181"/>
                    </a:lnTo>
                    <a:lnTo>
                      <a:pt x="22" y="159"/>
                    </a:lnTo>
                    <a:lnTo>
                      <a:pt x="23" y="156"/>
                    </a:lnTo>
                    <a:lnTo>
                      <a:pt x="25" y="156"/>
                    </a:lnTo>
                    <a:lnTo>
                      <a:pt x="27" y="156"/>
                    </a:lnTo>
                    <a:lnTo>
                      <a:pt x="28" y="154"/>
                    </a:lnTo>
                    <a:lnTo>
                      <a:pt x="58" y="124"/>
                    </a:lnTo>
                    <a:lnTo>
                      <a:pt x="58" y="98"/>
                    </a:lnTo>
                    <a:lnTo>
                      <a:pt x="62" y="65"/>
                    </a:lnTo>
                    <a:lnTo>
                      <a:pt x="65" y="62"/>
                    </a:lnTo>
                    <a:lnTo>
                      <a:pt x="66" y="56"/>
                    </a:lnTo>
                    <a:lnTo>
                      <a:pt x="54" y="42"/>
                    </a:lnTo>
                    <a:lnTo>
                      <a:pt x="55" y="39"/>
                    </a:lnTo>
                    <a:lnTo>
                      <a:pt x="55" y="34"/>
                    </a:lnTo>
                    <a:lnTo>
                      <a:pt x="46" y="10"/>
                    </a:lnTo>
                    <a:lnTo>
                      <a:pt x="44" y="7"/>
                    </a:lnTo>
                    <a:lnTo>
                      <a:pt x="44" y="7"/>
                    </a:lnTo>
                    <a:lnTo>
                      <a:pt x="44" y="7"/>
                    </a:lnTo>
                    <a:close/>
                    <a:moveTo>
                      <a:pt x="5" y="190"/>
                    </a:moveTo>
                    <a:lnTo>
                      <a:pt x="4" y="193"/>
                    </a:lnTo>
                    <a:lnTo>
                      <a:pt x="1" y="194"/>
                    </a:lnTo>
                    <a:lnTo>
                      <a:pt x="0" y="192"/>
                    </a:lnTo>
                    <a:lnTo>
                      <a:pt x="5" y="190"/>
                    </a:lnTo>
                    <a:lnTo>
                      <a:pt x="5" y="190"/>
                    </a:lnTo>
                    <a:close/>
                  </a:path>
                </a:pathLst>
              </a:custGeom>
              <a:solidFill>
                <a:schemeClr val="accent2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046" name="Freeform 48"/>
              <p:cNvSpPr>
                <a:spLocks/>
              </p:cNvSpPr>
              <p:nvPr userDrawn="1"/>
            </p:nvSpPr>
            <p:spPr bwMode="auto">
              <a:xfrm>
                <a:off x="3474" y="2504"/>
                <a:ext cx="281" cy="211"/>
              </a:xfrm>
              <a:custGeom>
                <a:avLst/>
                <a:gdLst>
                  <a:gd name="T0" fmla="*/ 59 w 281"/>
                  <a:gd name="T1" fmla="*/ 206 h 211"/>
                  <a:gd name="T2" fmla="*/ 52 w 281"/>
                  <a:gd name="T3" fmla="*/ 201 h 211"/>
                  <a:gd name="T4" fmla="*/ 44 w 281"/>
                  <a:gd name="T5" fmla="*/ 199 h 211"/>
                  <a:gd name="T6" fmla="*/ 41 w 281"/>
                  <a:gd name="T7" fmla="*/ 202 h 211"/>
                  <a:gd name="T8" fmla="*/ 35 w 281"/>
                  <a:gd name="T9" fmla="*/ 197 h 211"/>
                  <a:gd name="T10" fmla="*/ 36 w 281"/>
                  <a:gd name="T11" fmla="*/ 192 h 211"/>
                  <a:gd name="T12" fmla="*/ 34 w 281"/>
                  <a:gd name="T13" fmla="*/ 188 h 211"/>
                  <a:gd name="T14" fmla="*/ 24 w 281"/>
                  <a:gd name="T15" fmla="*/ 191 h 211"/>
                  <a:gd name="T16" fmla="*/ 17 w 281"/>
                  <a:gd name="T17" fmla="*/ 179 h 211"/>
                  <a:gd name="T18" fmla="*/ 0 w 281"/>
                  <a:gd name="T19" fmla="*/ 163 h 211"/>
                  <a:gd name="T20" fmla="*/ 3 w 281"/>
                  <a:gd name="T21" fmla="*/ 154 h 211"/>
                  <a:gd name="T22" fmla="*/ 9 w 281"/>
                  <a:gd name="T23" fmla="*/ 152 h 211"/>
                  <a:gd name="T24" fmla="*/ 25 w 281"/>
                  <a:gd name="T25" fmla="*/ 151 h 211"/>
                  <a:gd name="T26" fmla="*/ 38 w 281"/>
                  <a:gd name="T27" fmla="*/ 149 h 211"/>
                  <a:gd name="T28" fmla="*/ 47 w 281"/>
                  <a:gd name="T29" fmla="*/ 147 h 211"/>
                  <a:gd name="T30" fmla="*/ 58 w 281"/>
                  <a:gd name="T31" fmla="*/ 143 h 211"/>
                  <a:gd name="T32" fmla="*/ 68 w 281"/>
                  <a:gd name="T33" fmla="*/ 134 h 211"/>
                  <a:gd name="T34" fmla="*/ 72 w 281"/>
                  <a:gd name="T35" fmla="*/ 127 h 211"/>
                  <a:gd name="T36" fmla="*/ 74 w 281"/>
                  <a:gd name="T37" fmla="*/ 76 h 211"/>
                  <a:gd name="T38" fmla="*/ 125 w 281"/>
                  <a:gd name="T39" fmla="*/ 50 h 211"/>
                  <a:gd name="T40" fmla="*/ 240 w 281"/>
                  <a:gd name="T41" fmla="*/ 8 h 211"/>
                  <a:gd name="T42" fmla="*/ 259 w 281"/>
                  <a:gd name="T43" fmla="*/ 4 h 211"/>
                  <a:gd name="T44" fmla="*/ 270 w 281"/>
                  <a:gd name="T45" fmla="*/ 31 h 211"/>
                  <a:gd name="T46" fmla="*/ 269 w 281"/>
                  <a:gd name="T47" fmla="*/ 39 h 211"/>
                  <a:gd name="T48" fmla="*/ 280 w 281"/>
                  <a:gd name="T49" fmla="*/ 59 h 211"/>
                  <a:gd name="T50" fmla="*/ 273 w 281"/>
                  <a:gd name="T51" fmla="*/ 95 h 211"/>
                  <a:gd name="T52" fmla="*/ 243 w 281"/>
                  <a:gd name="T53" fmla="*/ 151 h 211"/>
                  <a:gd name="T54" fmla="*/ 240 w 281"/>
                  <a:gd name="T55" fmla="*/ 153 h 211"/>
                  <a:gd name="T56" fmla="*/ 237 w 281"/>
                  <a:gd name="T57" fmla="*/ 156 h 211"/>
                  <a:gd name="T58" fmla="*/ 235 w 281"/>
                  <a:gd name="T59" fmla="*/ 177 h 211"/>
                  <a:gd name="T60" fmla="*/ 232 w 281"/>
                  <a:gd name="T61" fmla="*/ 183 h 211"/>
                  <a:gd name="T62" fmla="*/ 229 w 281"/>
                  <a:gd name="T63" fmla="*/ 182 h 211"/>
                  <a:gd name="T64" fmla="*/ 225 w 281"/>
                  <a:gd name="T65" fmla="*/ 185 h 211"/>
                  <a:gd name="T66" fmla="*/ 220 w 281"/>
                  <a:gd name="T67" fmla="*/ 187 h 211"/>
                  <a:gd name="T68" fmla="*/ 212 w 281"/>
                  <a:gd name="T69" fmla="*/ 188 h 211"/>
                  <a:gd name="T70" fmla="*/ 202 w 281"/>
                  <a:gd name="T71" fmla="*/ 185 h 211"/>
                  <a:gd name="T72" fmla="*/ 189 w 281"/>
                  <a:gd name="T73" fmla="*/ 186 h 211"/>
                  <a:gd name="T74" fmla="*/ 176 w 281"/>
                  <a:gd name="T75" fmla="*/ 186 h 211"/>
                  <a:gd name="T76" fmla="*/ 166 w 281"/>
                  <a:gd name="T77" fmla="*/ 195 h 211"/>
                  <a:gd name="T78" fmla="*/ 156 w 281"/>
                  <a:gd name="T79" fmla="*/ 192 h 211"/>
                  <a:gd name="T80" fmla="*/ 146 w 281"/>
                  <a:gd name="T81" fmla="*/ 189 h 211"/>
                  <a:gd name="T82" fmla="*/ 143 w 281"/>
                  <a:gd name="T83" fmla="*/ 186 h 211"/>
                  <a:gd name="T84" fmla="*/ 136 w 281"/>
                  <a:gd name="T85" fmla="*/ 183 h 211"/>
                  <a:gd name="T86" fmla="*/ 130 w 281"/>
                  <a:gd name="T87" fmla="*/ 185 h 211"/>
                  <a:gd name="T88" fmla="*/ 125 w 281"/>
                  <a:gd name="T89" fmla="*/ 186 h 211"/>
                  <a:gd name="T90" fmla="*/ 121 w 281"/>
                  <a:gd name="T91" fmla="*/ 190 h 211"/>
                  <a:gd name="T92" fmla="*/ 113 w 281"/>
                  <a:gd name="T93" fmla="*/ 181 h 211"/>
                  <a:gd name="T94" fmla="*/ 106 w 281"/>
                  <a:gd name="T95" fmla="*/ 177 h 211"/>
                  <a:gd name="T96" fmla="*/ 101 w 281"/>
                  <a:gd name="T97" fmla="*/ 175 h 211"/>
                  <a:gd name="T98" fmla="*/ 94 w 281"/>
                  <a:gd name="T99" fmla="*/ 174 h 211"/>
                  <a:gd name="T100" fmla="*/ 89 w 281"/>
                  <a:gd name="T101" fmla="*/ 176 h 211"/>
                  <a:gd name="T102" fmla="*/ 82 w 281"/>
                  <a:gd name="T103" fmla="*/ 176 h 211"/>
                  <a:gd name="T104" fmla="*/ 76 w 281"/>
                  <a:gd name="T105" fmla="*/ 176 h 211"/>
                  <a:gd name="T106" fmla="*/ 72 w 281"/>
                  <a:gd name="T107" fmla="*/ 178 h 211"/>
                  <a:gd name="T108" fmla="*/ 67 w 281"/>
                  <a:gd name="T109" fmla="*/ 183 h 211"/>
                  <a:gd name="T110" fmla="*/ 68 w 281"/>
                  <a:gd name="T111" fmla="*/ 186 h 211"/>
                  <a:gd name="T112" fmla="*/ 68 w 281"/>
                  <a:gd name="T113" fmla="*/ 191 h 211"/>
                  <a:gd name="T114" fmla="*/ 70 w 281"/>
                  <a:gd name="T115" fmla="*/ 194 h 211"/>
                  <a:gd name="T116" fmla="*/ 62 w 281"/>
                  <a:gd name="T117" fmla="*/ 198 h 211"/>
                  <a:gd name="T118" fmla="*/ 61 w 281"/>
                  <a:gd name="T119" fmla="*/ 202 h 211"/>
                  <a:gd name="T120" fmla="*/ 66 w 281"/>
                  <a:gd name="T121" fmla="*/ 207 h 211"/>
                  <a:gd name="T122" fmla="*/ 63 w 281"/>
                  <a:gd name="T123" fmla="*/ 211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81" h="211">
                    <a:moveTo>
                      <a:pt x="63" y="211"/>
                    </a:moveTo>
                    <a:lnTo>
                      <a:pt x="59" y="206"/>
                    </a:lnTo>
                    <a:lnTo>
                      <a:pt x="56" y="205"/>
                    </a:lnTo>
                    <a:lnTo>
                      <a:pt x="52" y="201"/>
                    </a:lnTo>
                    <a:lnTo>
                      <a:pt x="46" y="196"/>
                    </a:lnTo>
                    <a:lnTo>
                      <a:pt x="44" y="199"/>
                    </a:lnTo>
                    <a:lnTo>
                      <a:pt x="45" y="201"/>
                    </a:lnTo>
                    <a:lnTo>
                      <a:pt x="41" y="202"/>
                    </a:lnTo>
                    <a:lnTo>
                      <a:pt x="38" y="202"/>
                    </a:lnTo>
                    <a:lnTo>
                      <a:pt x="35" y="197"/>
                    </a:lnTo>
                    <a:lnTo>
                      <a:pt x="36" y="194"/>
                    </a:lnTo>
                    <a:lnTo>
                      <a:pt x="36" y="192"/>
                    </a:lnTo>
                    <a:lnTo>
                      <a:pt x="35" y="190"/>
                    </a:lnTo>
                    <a:lnTo>
                      <a:pt x="34" y="188"/>
                    </a:lnTo>
                    <a:lnTo>
                      <a:pt x="32" y="187"/>
                    </a:lnTo>
                    <a:lnTo>
                      <a:pt x="24" y="191"/>
                    </a:lnTo>
                    <a:lnTo>
                      <a:pt x="17" y="186"/>
                    </a:lnTo>
                    <a:lnTo>
                      <a:pt x="17" y="179"/>
                    </a:lnTo>
                    <a:lnTo>
                      <a:pt x="0" y="168"/>
                    </a:lnTo>
                    <a:lnTo>
                      <a:pt x="0" y="163"/>
                    </a:lnTo>
                    <a:lnTo>
                      <a:pt x="2" y="159"/>
                    </a:lnTo>
                    <a:lnTo>
                      <a:pt x="3" y="154"/>
                    </a:lnTo>
                    <a:lnTo>
                      <a:pt x="4" y="151"/>
                    </a:lnTo>
                    <a:lnTo>
                      <a:pt x="9" y="152"/>
                    </a:lnTo>
                    <a:lnTo>
                      <a:pt x="21" y="151"/>
                    </a:lnTo>
                    <a:lnTo>
                      <a:pt x="25" y="151"/>
                    </a:lnTo>
                    <a:lnTo>
                      <a:pt x="30" y="149"/>
                    </a:lnTo>
                    <a:lnTo>
                      <a:pt x="38" y="149"/>
                    </a:lnTo>
                    <a:lnTo>
                      <a:pt x="42" y="149"/>
                    </a:lnTo>
                    <a:lnTo>
                      <a:pt x="47" y="147"/>
                    </a:lnTo>
                    <a:lnTo>
                      <a:pt x="53" y="146"/>
                    </a:lnTo>
                    <a:lnTo>
                      <a:pt x="58" y="143"/>
                    </a:lnTo>
                    <a:lnTo>
                      <a:pt x="67" y="138"/>
                    </a:lnTo>
                    <a:lnTo>
                      <a:pt x="68" y="134"/>
                    </a:lnTo>
                    <a:lnTo>
                      <a:pt x="69" y="128"/>
                    </a:lnTo>
                    <a:lnTo>
                      <a:pt x="72" y="127"/>
                    </a:lnTo>
                    <a:lnTo>
                      <a:pt x="73" y="110"/>
                    </a:lnTo>
                    <a:lnTo>
                      <a:pt x="74" y="76"/>
                    </a:lnTo>
                    <a:lnTo>
                      <a:pt x="102" y="70"/>
                    </a:lnTo>
                    <a:lnTo>
                      <a:pt x="125" y="50"/>
                    </a:lnTo>
                    <a:lnTo>
                      <a:pt x="208" y="0"/>
                    </a:lnTo>
                    <a:lnTo>
                      <a:pt x="240" y="8"/>
                    </a:lnTo>
                    <a:lnTo>
                      <a:pt x="243" y="11"/>
                    </a:lnTo>
                    <a:lnTo>
                      <a:pt x="259" y="4"/>
                    </a:lnTo>
                    <a:lnTo>
                      <a:pt x="261" y="7"/>
                    </a:lnTo>
                    <a:lnTo>
                      <a:pt x="270" y="31"/>
                    </a:lnTo>
                    <a:lnTo>
                      <a:pt x="270" y="36"/>
                    </a:lnTo>
                    <a:lnTo>
                      <a:pt x="269" y="39"/>
                    </a:lnTo>
                    <a:lnTo>
                      <a:pt x="281" y="53"/>
                    </a:lnTo>
                    <a:lnTo>
                      <a:pt x="280" y="59"/>
                    </a:lnTo>
                    <a:lnTo>
                      <a:pt x="277" y="62"/>
                    </a:lnTo>
                    <a:lnTo>
                      <a:pt x="273" y="95"/>
                    </a:lnTo>
                    <a:lnTo>
                      <a:pt x="273" y="121"/>
                    </a:lnTo>
                    <a:lnTo>
                      <a:pt x="243" y="151"/>
                    </a:lnTo>
                    <a:lnTo>
                      <a:pt x="242" y="153"/>
                    </a:lnTo>
                    <a:lnTo>
                      <a:pt x="240" y="153"/>
                    </a:lnTo>
                    <a:lnTo>
                      <a:pt x="238" y="153"/>
                    </a:lnTo>
                    <a:lnTo>
                      <a:pt x="237" y="156"/>
                    </a:lnTo>
                    <a:lnTo>
                      <a:pt x="239" y="178"/>
                    </a:lnTo>
                    <a:lnTo>
                      <a:pt x="235" y="177"/>
                    </a:lnTo>
                    <a:lnTo>
                      <a:pt x="233" y="180"/>
                    </a:lnTo>
                    <a:lnTo>
                      <a:pt x="232" y="183"/>
                    </a:lnTo>
                    <a:lnTo>
                      <a:pt x="231" y="183"/>
                    </a:lnTo>
                    <a:lnTo>
                      <a:pt x="229" y="182"/>
                    </a:lnTo>
                    <a:lnTo>
                      <a:pt x="226" y="183"/>
                    </a:lnTo>
                    <a:lnTo>
                      <a:pt x="225" y="185"/>
                    </a:lnTo>
                    <a:lnTo>
                      <a:pt x="221" y="186"/>
                    </a:lnTo>
                    <a:lnTo>
                      <a:pt x="220" y="187"/>
                    </a:lnTo>
                    <a:lnTo>
                      <a:pt x="215" y="189"/>
                    </a:lnTo>
                    <a:lnTo>
                      <a:pt x="212" y="188"/>
                    </a:lnTo>
                    <a:lnTo>
                      <a:pt x="208" y="188"/>
                    </a:lnTo>
                    <a:lnTo>
                      <a:pt x="202" y="185"/>
                    </a:lnTo>
                    <a:lnTo>
                      <a:pt x="193" y="184"/>
                    </a:lnTo>
                    <a:lnTo>
                      <a:pt x="189" y="186"/>
                    </a:lnTo>
                    <a:lnTo>
                      <a:pt x="180" y="185"/>
                    </a:lnTo>
                    <a:lnTo>
                      <a:pt x="176" y="186"/>
                    </a:lnTo>
                    <a:lnTo>
                      <a:pt x="171" y="192"/>
                    </a:lnTo>
                    <a:lnTo>
                      <a:pt x="166" y="195"/>
                    </a:lnTo>
                    <a:lnTo>
                      <a:pt x="164" y="194"/>
                    </a:lnTo>
                    <a:lnTo>
                      <a:pt x="156" y="192"/>
                    </a:lnTo>
                    <a:lnTo>
                      <a:pt x="152" y="192"/>
                    </a:lnTo>
                    <a:lnTo>
                      <a:pt x="146" y="189"/>
                    </a:lnTo>
                    <a:lnTo>
                      <a:pt x="143" y="187"/>
                    </a:lnTo>
                    <a:lnTo>
                      <a:pt x="143" y="186"/>
                    </a:lnTo>
                    <a:lnTo>
                      <a:pt x="139" y="183"/>
                    </a:lnTo>
                    <a:lnTo>
                      <a:pt x="136" y="183"/>
                    </a:lnTo>
                    <a:lnTo>
                      <a:pt x="136" y="184"/>
                    </a:lnTo>
                    <a:lnTo>
                      <a:pt x="130" y="185"/>
                    </a:lnTo>
                    <a:lnTo>
                      <a:pt x="127" y="186"/>
                    </a:lnTo>
                    <a:lnTo>
                      <a:pt x="125" y="186"/>
                    </a:lnTo>
                    <a:lnTo>
                      <a:pt x="123" y="189"/>
                    </a:lnTo>
                    <a:lnTo>
                      <a:pt x="121" y="190"/>
                    </a:lnTo>
                    <a:lnTo>
                      <a:pt x="118" y="187"/>
                    </a:lnTo>
                    <a:lnTo>
                      <a:pt x="113" y="181"/>
                    </a:lnTo>
                    <a:lnTo>
                      <a:pt x="112" y="179"/>
                    </a:lnTo>
                    <a:lnTo>
                      <a:pt x="106" y="177"/>
                    </a:lnTo>
                    <a:lnTo>
                      <a:pt x="103" y="177"/>
                    </a:lnTo>
                    <a:lnTo>
                      <a:pt x="101" y="175"/>
                    </a:lnTo>
                    <a:lnTo>
                      <a:pt x="96" y="175"/>
                    </a:lnTo>
                    <a:lnTo>
                      <a:pt x="94" y="174"/>
                    </a:lnTo>
                    <a:lnTo>
                      <a:pt x="91" y="174"/>
                    </a:lnTo>
                    <a:lnTo>
                      <a:pt x="89" y="176"/>
                    </a:lnTo>
                    <a:lnTo>
                      <a:pt x="83" y="175"/>
                    </a:lnTo>
                    <a:lnTo>
                      <a:pt x="82" y="176"/>
                    </a:lnTo>
                    <a:lnTo>
                      <a:pt x="79" y="175"/>
                    </a:lnTo>
                    <a:lnTo>
                      <a:pt x="76" y="176"/>
                    </a:lnTo>
                    <a:lnTo>
                      <a:pt x="74" y="177"/>
                    </a:lnTo>
                    <a:lnTo>
                      <a:pt x="72" y="178"/>
                    </a:lnTo>
                    <a:lnTo>
                      <a:pt x="68" y="181"/>
                    </a:lnTo>
                    <a:lnTo>
                      <a:pt x="67" y="183"/>
                    </a:lnTo>
                    <a:lnTo>
                      <a:pt x="68" y="185"/>
                    </a:lnTo>
                    <a:lnTo>
                      <a:pt x="68" y="186"/>
                    </a:lnTo>
                    <a:lnTo>
                      <a:pt x="67" y="187"/>
                    </a:lnTo>
                    <a:lnTo>
                      <a:pt x="68" y="191"/>
                    </a:lnTo>
                    <a:lnTo>
                      <a:pt x="69" y="192"/>
                    </a:lnTo>
                    <a:lnTo>
                      <a:pt x="70" y="194"/>
                    </a:lnTo>
                    <a:lnTo>
                      <a:pt x="66" y="194"/>
                    </a:lnTo>
                    <a:lnTo>
                      <a:pt x="62" y="198"/>
                    </a:lnTo>
                    <a:lnTo>
                      <a:pt x="63" y="200"/>
                    </a:lnTo>
                    <a:lnTo>
                      <a:pt x="61" y="202"/>
                    </a:lnTo>
                    <a:lnTo>
                      <a:pt x="64" y="207"/>
                    </a:lnTo>
                    <a:lnTo>
                      <a:pt x="66" y="207"/>
                    </a:lnTo>
                    <a:lnTo>
                      <a:pt x="66" y="209"/>
                    </a:lnTo>
                    <a:lnTo>
                      <a:pt x="63" y="211"/>
                    </a:lnTo>
                    <a:lnTo>
                      <a:pt x="63" y="211"/>
                    </a:lnTo>
                    <a:close/>
                  </a:path>
                </a:pathLst>
              </a:custGeom>
              <a:solidFill>
                <a:schemeClr val="accent2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047" name="Freeform 49"/>
              <p:cNvSpPr>
                <a:spLocks/>
              </p:cNvSpPr>
              <p:nvPr userDrawn="1"/>
            </p:nvSpPr>
            <p:spPr bwMode="auto">
              <a:xfrm>
                <a:off x="3625" y="2889"/>
                <a:ext cx="105" cy="110"/>
              </a:xfrm>
              <a:custGeom>
                <a:avLst/>
                <a:gdLst>
                  <a:gd name="T0" fmla="*/ 48 w 105"/>
                  <a:gd name="T1" fmla="*/ 1 h 110"/>
                  <a:gd name="T2" fmla="*/ 52 w 105"/>
                  <a:gd name="T3" fmla="*/ 1 h 110"/>
                  <a:gd name="T4" fmla="*/ 58 w 105"/>
                  <a:gd name="T5" fmla="*/ 0 h 110"/>
                  <a:gd name="T6" fmla="*/ 66 w 105"/>
                  <a:gd name="T7" fmla="*/ 0 h 110"/>
                  <a:gd name="T8" fmla="*/ 71 w 105"/>
                  <a:gd name="T9" fmla="*/ 0 h 110"/>
                  <a:gd name="T10" fmla="*/ 74 w 105"/>
                  <a:gd name="T11" fmla="*/ 1 h 110"/>
                  <a:gd name="T12" fmla="*/ 79 w 105"/>
                  <a:gd name="T13" fmla="*/ 1 h 110"/>
                  <a:gd name="T14" fmla="*/ 81 w 105"/>
                  <a:gd name="T15" fmla="*/ 2 h 110"/>
                  <a:gd name="T16" fmla="*/ 80 w 105"/>
                  <a:gd name="T17" fmla="*/ 5 h 110"/>
                  <a:gd name="T18" fmla="*/ 81 w 105"/>
                  <a:gd name="T19" fmla="*/ 13 h 110"/>
                  <a:gd name="T20" fmla="*/ 82 w 105"/>
                  <a:gd name="T21" fmla="*/ 18 h 110"/>
                  <a:gd name="T22" fmla="*/ 86 w 105"/>
                  <a:gd name="T23" fmla="*/ 18 h 110"/>
                  <a:gd name="T24" fmla="*/ 93 w 105"/>
                  <a:gd name="T25" fmla="*/ 17 h 110"/>
                  <a:gd name="T26" fmla="*/ 103 w 105"/>
                  <a:gd name="T27" fmla="*/ 16 h 110"/>
                  <a:gd name="T28" fmla="*/ 105 w 105"/>
                  <a:gd name="T29" fmla="*/ 23 h 110"/>
                  <a:gd name="T30" fmla="*/ 105 w 105"/>
                  <a:gd name="T31" fmla="*/ 26 h 110"/>
                  <a:gd name="T32" fmla="*/ 101 w 105"/>
                  <a:gd name="T33" fmla="*/ 30 h 110"/>
                  <a:gd name="T34" fmla="*/ 98 w 105"/>
                  <a:gd name="T35" fmla="*/ 35 h 110"/>
                  <a:gd name="T36" fmla="*/ 99 w 105"/>
                  <a:gd name="T37" fmla="*/ 39 h 110"/>
                  <a:gd name="T38" fmla="*/ 97 w 105"/>
                  <a:gd name="T39" fmla="*/ 40 h 110"/>
                  <a:gd name="T40" fmla="*/ 95 w 105"/>
                  <a:gd name="T41" fmla="*/ 42 h 110"/>
                  <a:gd name="T42" fmla="*/ 97 w 105"/>
                  <a:gd name="T43" fmla="*/ 45 h 110"/>
                  <a:gd name="T44" fmla="*/ 100 w 105"/>
                  <a:gd name="T45" fmla="*/ 47 h 110"/>
                  <a:gd name="T46" fmla="*/ 103 w 105"/>
                  <a:gd name="T47" fmla="*/ 51 h 110"/>
                  <a:gd name="T48" fmla="*/ 105 w 105"/>
                  <a:gd name="T49" fmla="*/ 57 h 110"/>
                  <a:gd name="T50" fmla="*/ 99 w 105"/>
                  <a:gd name="T51" fmla="*/ 77 h 110"/>
                  <a:gd name="T52" fmla="*/ 100 w 105"/>
                  <a:gd name="T53" fmla="*/ 84 h 110"/>
                  <a:gd name="T54" fmla="*/ 97 w 105"/>
                  <a:gd name="T55" fmla="*/ 81 h 110"/>
                  <a:gd name="T56" fmla="*/ 89 w 105"/>
                  <a:gd name="T57" fmla="*/ 80 h 110"/>
                  <a:gd name="T58" fmla="*/ 84 w 105"/>
                  <a:gd name="T59" fmla="*/ 81 h 110"/>
                  <a:gd name="T60" fmla="*/ 78 w 105"/>
                  <a:gd name="T61" fmla="*/ 79 h 110"/>
                  <a:gd name="T62" fmla="*/ 71 w 105"/>
                  <a:gd name="T63" fmla="*/ 71 h 110"/>
                  <a:gd name="T64" fmla="*/ 70 w 105"/>
                  <a:gd name="T65" fmla="*/ 78 h 110"/>
                  <a:gd name="T66" fmla="*/ 62 w 105"/>
                  <a:gd name="T67" fmla="*/ 81 h 110"/>
                  <a:gd name="T68" fmla="*/ 59 w 105"/>
                  <a:gd name="T69" fmla="*/ 83 h 110"/>
                  <a:gd name="T70" fmla="*/ 54 w 105"/>
                  <a:gd name="T71" fmla="*/ 83 h 110"/>
                  <a:gd name="T72" fmla="*/ 48 w 105"/>
                  <a:gd name="T73" fmla="*/ 85 h 110"/>
                  <a:gd name="T74" fmla="*/ 49 w 105"/>
                  <a:gd name="T75" fmla="*/ 90 h 110"/>
                  <a:gd name="T76" fmla="*/ 55 w 105"/>
                  <a:gd name="T77" fmla="*/ 89 h 110"/>
                  <a:gd name="T78" fmla="*/ 59 w 105"/>
                  <a:gd name="T79" fmla="*/ 92 h 110"/>
                  <a:gd name="T80" fmla="*/ 59 w 105"/>
                  <a:gd name="T81" fmla="*/ 105 h 110"/>
                  <a:gd name="T82" fmla="*/ 53 w 105"/>
                  <a:gd name="T83" fmla="*/ 101 h 110"/>
                  <a:gd name="T84" fmla="*/ 49 w 105"/>
                  <a:gd name="T85" fmla="*/ 103 h 110"/>
                  <a:gd name="T86" fmla="*/ 47 w 105"/>
                  <a:gd name="T87" fmla="*/ 106 h 110"/>
                  <a:gd name="T88" fmla="*/ 43 w 105"/>
                  <a:gd name="T89" fmla="*/ 109 h 110"/>
                  <a:gd name="T90" fmla="*/ 39 w 105"/>
                  <a:gd name="T91" fmla="*/ 105 h 110"/>
                  <a:gd name="T92" fmla="*/ 31 w 105"/>
                  <a:gd name="T93" fmla="*/ 98 h 110"/>
                  <a:gd name="T94" fmla="*/ 17 w 105"/>
                  <a:gd name="T95" fmla="*/ 86 h 110"/>
                  <a:gd name="T96" fmla="*/ 15 w 105"/>
                  <a:gd name="T97" fmla="*/ 82 h 110"/>
                  <a:gd name="T98" fmla="*/ 10 w 105"/>
                  <a:gd name="T99" fmla="*/ 74 h 110"/>
                  <a:gd name="T100" fmla="*/ 6 w 105"/>
                  <a:gd name="T101" fmla="*/ 65 h 110"/>
                  <a:gd name="T102" fmla="*/ 4 w 105"/>
                  <a:gd name="T103" fmla="*/ 61 h 110"/>
                  <a:gd name="T104" fmla="*/ 0 w 105"/>
                  <a:gd name="T105" fmla="*/ 51 h 110"/>
                  <a:gd name="T106" fmla="*/ 9 w 105"/>
                  <a:gd name="T107" fmla="*/ 49 h 110"/>
                  <a:gd name="T108" fmla="*/ 10 w 105"/>
                  <a:gd name="T109" fmla="*/ 35 h 110"/>
                  <a:gd name="T110" fmla="*/ 20 w 105"/>
                  <a:gd name="T111" fmla="*/ 35 h 110"/>
                  <a:gd name="T112" fmla="*/ 11 w 105"/>
                  <a:gd name="T113" fmla="*/ 28 h 110"/>
                  <a:gd name="T114" fmla="*/ 15 w 105"/>
                  <a:gd name="T115" fmla="*/ 23 h 110"/>
                  <a:gd name="T116" fmla="*/ 19 w 105"/>
                  <a:gd name="T117" fmla="*/ 23 h 110"/>
                  <a:gd name="T118" fmla="*/ 22 w 105"/>
                  <a:gd name="T119" fmla="*/ 23 h 110"/>
                  <a:gd name="T120" fmla="*/ 48 w 105"/>
                  <a:gd name="T121" fmla="*/ 2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05" h="110">
                    <a:moveTo>
                      <a:pt x="48" y="2"/>
                    </a:moveTo>
                    <a:lnTo>
                      <a:pt x="48" y="1"/>
                    </a:lnTo>
                    <a:lnTo>
                      <a:pt x="50" y="1"/>
                    </a:lnTo>
                    <a:lnTo>
                      <a:pt x="52" y="1"/>
                    </a:lnTo>
                    <a:lnTo>
                      <a:pt x="54" y="0"/>
                    </a:lnTo>
                    <a:lnTo>
                      <a:pt x="58" y="0"/>
                    </a:lnTo>
                    <a:lnTo>
                      <a:pt x="60" y="0"/>
                    </a:lnTo>
                    <a:lnTo>
                      <a:pt x="66" y="0"/>
                    </a:lnTo>
                    <a:lnTo>
                      <a:pt x="68" y="1"/>
                    </a:lnTo>
                    <a:lnTo>
                      <a:pt x="71" y="0"/>
                    </a:lnTo>
                    <a:lnTo>
                      <a:pt x="73" y="0"/>
                    </a:lnTo>
                    <a:lnTo>
                      <a:pt x="74" y="1"/>
                    </a:lnTo>
                    <a:lnTo>
                      <a:pt x="79" y="1"/>
                    </a:lnTo>
                    <a:lnTo>
                      <a:pt x="79" y="1"/>
                    </a:lnTo>
                    <a:lnTo>
                      <a:pt x="80" y="1"/>
                    </a:lnTo>
                    <a:lnTo>
                      <a:pt x="81" y="2"/>
                    </a:lnTo>
                    <a:lnTo>
                      <a:pt x="81" y="2"/>
                    </a:lnTo>
                    <a:lnTo>
                      <a:pt x="80" y="5"/>
                    </a:lnTo>
                    <a:lnTo>
                      <a:pt x="82" y="8"/>
                    </a:lnTo>
                    <a:lnTo>
                      <a:pt x="81" y="13"/>
                    </a:lnTo>
                    <a:lnTo>
                      <a:pt x="82" y="16"/>
                    </a:lnTo>
                    <a:lnTo>
                      <a:pt x="82" y="18"/>
                    </a:lnTo>
                    <a:lnTo>
                      <a:pt x="83" y="19"/>
                    </a:lnTo>
                    <a:lnTo>
                      <a:pt x="86" y="18"/>
                    </a:lnTo>
                    <a:lnTo>
                      <a:pt x="89" y="18"/>
                    </a:lnTo>
                    <a:lnTo>
                      <a:pt x="93" y="17"/>
                    </a:lnTo>
                    <a:lnTo>
                      <a:pt x="98" y="16"/>
                    </a:lnTo>
                    <a:lnTo>
                      <a:pt x="103" y="16"/>
                    </a:lnTo>
                    <a:lnTo>
                      <a:pt x="105" y="17"/>
                    </a:lnTo>
                    <a:lnTo>
                      <a:pt x="105" y="23"/>
                    </a:lnTo>
                    <a:lnTo>
                      <a:pt x="104" y="24"/>
                    </a:lnTo>
                    <a:lnTo>
                      <a:pt x="105" y="26"/>
                    </a:lnTo>
                    <a:lnTo>
                      <a:pt x="104" y="30"/>
                    </a:lnTo>
                    <a:lnTo>
                      <a:pt x="101" y="30"/>
                    </a:lnTo>
                    <a:lnTo>
                      <a:pt x="98" y="32"/>
                    </a:lnTo>
                    <a:lnTo>
                      <a:pt x="98" y="35"/>
                    </a:lnTo>
                    <a:lnTo>
                      <a:pt x="99" y="36"/>
                    </a:lnTo>
                    <a:lnTo>
                      <a:pt x="99" y="39"/>
                    </a:lnTo>
                    <a:lnTo>
                      <a:pt x="98" y="39"/>
                    </a:lnTo>
                    <a:lnTo>
                      <a:pt x="97" y="40"/>
                    </a:lnTo>
                    <a:lnTo>
                      <a:pt x="95" y="41"/>
                    </a:lnTo>
                    <a:lnTo>
                      <a:pt x="95" y="42"/>
                    </a:lnTo>
                    <a:lnTo>
                      <a:pt x="96" y="44"/>
                    </a:lnTo>
                    <a:lnTo>
                      <a:pt x="97" y="45"/>
                    </a:lnTo>
                    <a:lnTo>
                      <a:pt x="99" y="45"/>
                    </a:lnTo>
                    <a:lnTo>
                      <a:pt x="100" y="47"/>
                    </a:lnTo>
                    <a:lnTo>
                      <a:pt x="102" y="49"/>
                    </a:lnTo>
                    <a:lnTo>
                      <a:pt x="103" y="51"/>
                    </a:lnTo>
                    <a:lnTo>
                      <a:pt x="105" y="53"/>
                    </a:lnTo>
                    <a:lnTo>
                      <a:pt x="105" y="57"/>
                    </a:lnTo>
                    <a:lnTo>
                      <a:pt x="103" y="65"/>
                    </a:lnTo>
                    <a:lnTo>
                      <a:pt x="99" y="77"/>
                    </a:lnTo>
                    <a:lnTo>
                      <a:pt x="100" y="80"/>
                    </a:lnTo>
                    <a:lnTo>
                      <a:pt x="100" y="84"/>
                    </a:lnTo>
                    <a:lnTo>
                      <a:pt x="98" y="84"/>
                    </a:lnTo>
                    <a:lnTo>
                      <a:pt x="97" y="81"/>
                    </a:lnTo>
                    <a:lnTo>
                      <a:pt x="93" y="80"/>
                    </a:lnTo>
                    <a:lnTo>
                      <a:pt x="89" y="80"/>
                    </a:lnTo>
                    <a:lnTo>
                      <a:pt x="87" y="81"/>
                    </a:lnTo>
                    <a:lnTo>
                      <a:pt x="84" y="81"/>
                    </a:lnTo>
                    <a:lnTo>
                      <a:pt x="80" y="82"/>
                    </a:lnTo>
                    <a:lnTo>
                      <a:pt x="78" y="79"/>
                    </a:lnTo>
                    <a:lnTo>
                      <a:pt x="75" y="72"/>
                    </a:lnTo>
                    <a:lnTo>
                      <a:pt x="71" y="71"/>
                    </a:lnTo>
                    <a:lnTo>
                      <a:pt x="69" y="73"/>
                    </a:lnTo>
                    <a:lnTo>
                      <a:pt x="70" y="78"/>
                    </a:lnTo>
                    <a:lnTo>
                      <a:pt x="69" y="81"/>
                    </a:lnTo>
                    <a:lnTo>
                      <a:pt x="62" y="81"/>
                    </a:lnTo>
                    <a:lnTo>
                      <a:pt x="59" y="81"/>
                    </a:lnTo>
                    <a:lnTo>
                      <a:pt x="59" y="83"/>
                    </a:lnTo>
                    <a:lnTo>
                      <a:pt x="58" y="85"/>
                    </a:lnTo>
                    <a:lnTo>
                      <a:pt x="54" y="83"/>
                    </a:lnTo>
                    <a:lnTo>
                      <a:pt x="50" y="83"/>
                    </a:lnTo>
                    <a:lnTo>
                      <a:pt x="48" y="85"/>
                    </a:lnTo>
                    <a:lnTo>
                      <a:pt x="50" y="88"/>
                    </a:lnTo>
                    <a:lnTo>
                      <a:pt x="49" y="90"/>
                    </a:lnTo>
                    <a:lnTo>
                      <a:pt x="52" y="89"/>
                    </a:lnTo>
                    <a:lnTo>
                      <a:pt x="55" y="89"/>
                    </a:lnTo>
                    <a:lnTo>
                      <a:pt x="57" y="90"/>
                    </a:lnTo>
                    <a:lnTo>
                      <a:pt x="59" y="92"/>
                    </a:lnTo>
                    <a:lnTo>
                      <a:pt x="59" y="102"/>
                    </a:lnTo>
                    <a:lnTo>
                      <a:pt x="59" y="105"/>
                    </a:lnTo>
                    <a:lnTo>
                      <a:pt x="55" y="101"/>
                    </a:lnTo>
                    <a:lnTo>
                      <a:pt x="53" y="101"/>
                    </a:lnTo>
                    <a:lnTo>
                      <a:pt x="52" y="103"/>
                    </a:lnTo>
                    <a:lnTo>
                      <a:pt x="49" y="103"/>
                    </a:lnTo>
                    <a:lnTo>
                      <a:pt x="47" y="104"/>
                    </a:lnTo>
                    <a:lnTo>
                      <a:pt x="47" y="106"/>
                    </a:lnTo>
                    <a:lnTo>
                      <a:pt x="44" y="110"/>
                    </a:lnTo>
                    <a:lnTo>
                      <a:pt x="43" y="109"/>
                    </a:lnTo>
                    <a:lnTo>
                      <a:pt x="40" y="108"/>
                    </a:lnTo>
                    <a:lnTo>
                      <a:pt x="39" y="105"/>
                    </a:lnTo>
                    <a:lnTo>
                      <a:pt x="33" y="102"/>
                    </a:lnTo>
                    <a:lnTo>
                      <a:pt x="31" y="98"/>
                    </a:lnTo>
                    <a:lnTo>
                      <a:pt x="23" y="91"/>
                    </a:lnTo>
                    <a:lnTo>
                      <a:pt x="17" y="86"/>
                    </a:lnTo>
                    <a:lnTo>
                      <a:pt x="19" y="86"/>
                    </a:lnTo>
                    <a:lnTo>
                      <a:pt x="15" y="82"/>
                    </a:lnTo>
                    <a:lnTo>
                      <a:pt x="13" y="77"/>
                    </a:lnTo>
                    <a:lnTo>
                      <a:pt x="10" y="74"/>
                    </a:lnTo>
                    <a:lnTo>
                      <a:pt x="10" y="69"/>
                    </a:lnTo>
                    <a:lnTo>
                      <a:pt x="6" y="65"/>
                    </a:lnTo>
                    <a:lnTo>
                      <a:pt x="6" y="63"/>
                    </a:lnTo>
                    <a:lnTo>
                      <a:pt x="4" y="61"/>
                    </a:lnTo>
                    <a:lnTo>
                      <a:pt x="0" y="53"/>
                    </a:lnTo>
                    <a:lnTo>
                      <a:pt x="0" y="51"/>
                    </a:lnTo>
                    <a:lnTo>
                      <a:pt x="5" y="52"/>
                    </a:lnTo>
                    <a:lnTo>
                      <a:pt x="9" y="49"/>
                    </a:lnTo>
                    <a:lnTo>
                      <a:pt x="10" y="40"/>
                    </a:lnTo>
                    <a:lnTo>
                      <a:pt x="10" y="35"/>
                    </a:lnTo>
                    <a:lnTo>
                      <a:pt x="12" y="37"/>
                    </a:lnTo>
                    <a:lnTo>
                      <a:pt x="20" y="35"/>
                    </a:lnTo>
                    <a:lnTo>
                      <a:pt x="15" y="34"/>
                    </a:lnTo>
                    <a:lnTo>
                      <a:pt x="11" y="28"/>
                    </a:lnTo>
                    <a:lnTo>
                      <a:pt x="15" y="27"/>
                    </a:lnTo>
                    <a:lnTo>
                      <a:pt x="15" y="23"/>
                    </a:lnTo>
                    <a:lnTo>
                      <a:pt x="17" y="23"/>
                    </a:lnTo>
                    <a:lnTo>
                      <a:pt x="19" y="23"/>
                    </a:lnTo>
                    <a:lnTo>
                      <a:pt x="21" y="22"/>
                    </a:lnTo>
                    <a:lnTo>
                      <a:pt x="22" y="23"/>
                    </a:lnTo>
                    <a:lnTo>
                      <a:pt x="48" y="23"/>
                    </a:lnTo>
                    <a:lnTo>
                      <a:pt x="48" y="2"/>
                    </a:lnTo>
                    <a:lnTo>
                      <a:pt x="48" y="2"/>
                    </a:lnTo>
                    <a:close/>
                  </a:path>
                </a:pathLst>
              </a:custGeom>
              <a:solidFill>
                <a:schemeClr val="accent2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048" name="Freeform 50"/>
              <p:cNvSpPr>
                <a:spLocks/>
              </p:cNvSpPr>
              <p:nvPr userDrawn="1"/>
            </p:nvSpPr>
            <p:spPr bwMode="auto">
              <a:xfrm>
                <a:off x="3636" y="2891"/>
                <a:ext cx="37" cy="21"/>
              </a:xfrm>
              <a:custGeom>
                <a:avLst/>
                <a:gdLst>
                  <a:gd name="T0" fmla="*/ 4 w 37"/>
                  <a:gd name="T1" fmla="*/ 21 h 21"/>
                  <a:gd name="T2" fmla="*/ 6 w 37"/>
                  <a:gd name="T3" fmla="*/ 21 h 21"/>
                  <a:gd name="T4" fmla="*/ 8 w 37"/>
                  <a:gd name="T5" fmla="*/ 21 h 21"/>
                  <a:gd name="T6" fmla="*/ 10 w 37"/>
                  <a:gd name="T7" fmla="*/ 20 h 21"/>
                  <a:gd name="T8" fmla="*/ 11 w 37"/>
                  <a:gd name="T9" fmla="*/ 21 h 21"/>
                  <a:gd name="T10" fmla="*/ 37 w 37"/>
                  <a:gd name="T11" fmla="*/ 21 h 21"/>
                  <a:gd name="T12" fmla="*/ 37 w 37"/>
                  <a:gd name="T13" fmla="*/ 0 h 21"/>
                  <a:gd name="T14" fmla="*/ 15 w 37"/>
                  <a:gd name="T15" fmla="*/ 0 h 21"/>
                  <a:gd name="T16" fmla="*/ 14 w 37"/>
                  <a:gd name="T17" fmla="*/ 0 h 21"/>
                  <a:gd name="T18" fmla="*/ 11 w 37"/>
                  <a:gd name="T19" fmla="*/ 0 h 21"/>
                  <a:gd name="T20" fmla="*/ 9 w 37"/>
                  <a:gd name="T21" fmla="*/ 0 h 21"/>
                  <a:gd name="T22" fmla="*/ 8 w 37"/>
                  <a:gd name="T23" fmla="*/ 0 h 21"/>
                  <a:gd name="T24" fmla="*/ 10 w 37"/>
                  <a:gd name="T25" fmla="*/ 3 h 21"/>
                  <a:gd name="T26" fmla="*/ 4 w 37"/>
                  <a:gd name="T27" fmla="*/ 10 h 21"/>
                  <a:gd name="T28" fmla="*/ 0 w 37"/>
                  <a:gd name="T29" fmla="*/ 18 h 21"/>
                  <a:gd name="T30" fmla="*/ 4 w 37"/>
                  <a:gd name="T31" fmla="*/ 21 h 21"/>
                  <a:gd name="T32" fmla="*/ 4 w 37"/>
                  <a:gd name="T33" fmla="*/ 21 h 21"/>
                  <a:gd name="T34" fmla="*/ 4 w 37"/>
                  <a:gd name="T35" fmla="*/ 21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7" h="21">
                    <a:moveTo>
                      <a:pt x="4" y="21"/>
                    </a:moveTo>
                    <a:lnTo>
                      <a:pt x="6" y="21"/>
                    </a:lnTo>
                    <a:lnTo>
                      <a:pt x="8" y="21"/>
                    </a:lnTo>
                    <a:lnTo>
                      <a:pt x="10" y="20"/>
                    </a:lnTo>
                    <a:lnTo>
                      <a:pt x="11" y="21"/>
                    </a:lnTo>
                    <a:lnTo>
                      <a:pt x="37" y="21"/>
                    </a:lnTo>
                    <a:lnTo>
                      <a:pt x="37" y="0"/>
                    </a:lnTo>
                    <a:lnTo>
                      <a:pt x="15" y="0"/>
                    </a:lnTo>
                    <a:lnTo>
                      <a:pt x="14" y="0"/>
                    </a:lnTo>
                    <a:lnTo>
                      <a:pt x="11" y="0"/>
                    </a:lnTo>
                    <a:lnTo>
                      <a:pt x="9" y="0"/>
                    </a:lnTo>
                    <a:lnTo>
                      <a:pt x="8" y="0"/>
                    </a:lnTo>
                    <a:lnTo>
                      <a:pt x="10" y="3"/>
                    </a:lnTo>
                    <a:lnTo>
                      <a:pt x="4" y="10"/>
                    </a:lnTo>
                    <a:lnTo>
                      <a:pt x="0" y="18"/>
                    </a:lnTo>
                    <a:lnTo>
                      <a:pt x="4" y="21"/>
                    </a:lnTo>
                    <a:lnTo>
                      <a:pt x="4" y="21"/>
                    </a:lnTo>
                    <a:lnTo>
                      <a:pt x="4" y="21"/>
                    </a:lnTo>
                    <a:close/>
                  </a:path>
                </a:pathLst>
              </a:custGeom>
              <a:solidFill>
                <a:schemeClr val="accent2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049" name="Freeform 51"/>
              <p:cNvSpPr>
                <a:spLocks/>
              </p:cNvSpPr>
              <p:nvPr userDrawn="1"/>
            </p:nvSpPr>
            <p:spPr bwMode="auto">
              <a:xfrm>
                <a:off x="3686" y="2832"/>
                <a:ext cx="352" cy="337"/>
              </a:xfrm>
              <a:custGeom>
                <a:avLst/>
                <a:gdLst>
                  <a:gd name="T0" fmla="*/ 11 w 352"/>
                  <a:gd name="T1" fmla="*/ 188 h 337"/>
                  <a:gd name="T2" fmla="*/ 25 w 352"/>
                  <a:gd name="T3" fmla="*/ 184 h 337"/>
                  <a:gd name="T4" fmla="*/ 40 w 352"/>
                  <a:gd name="T5" fmla="*/ 174 h 337"/>
                  <a:gd name="T6" fmla="*/ 49 w 352"/>
                  <a:gd name="T7" fmla="*/ 185 h 337"/>
                  <a:gd name="T8" fmla="*/ 71 w 352"/>
                  <a:gd name="T9" fmla="*/ 167 h 337"/>
                  <a:gd name="T10" fmla="*/ 74 w 352"/>
                  <a:gd name="T11" fmla="*/ 138 h 337"/>
                  <a:gd name="T12" fmla="*/ 92 w 352"/>
                  <a:gd name="T13" fmla="*/ 118 h 337"/>
                  <a:gd name="T14" fmla="*/ 108 w 352"/>
                  <a:gd name="T15" fmla="*/ 92 h 337"/>
                  <a:gd name="T16" fmla="*/ 112 w 352"/>
                  <a:gd name="T17" fmla="*/ 70 h 337"/>
                  <a:gd name="T18" fmla="*/ 125 w 352"/>
                  <a:gd name="T19" fmla="*/ 41 h 337"/>
                  <a:gd name="T20" fmla="*/ 122 w 352"/>
                  <a:gd name="T21" fmla="*/ 19 h 337"/>
                  <a:gd name="T22" fmla="*/ 127 w 352"/>
                  <a:gd name="T23" fmla="*/ 10 h 337"/>
                  <a:gd name="T24" fmla="*/ 140 w 352"/>
                  <a:gd name="T25" fmla="*/ 5 h 337"/>
                  <a:gd name="T26" fmla="*/ 159 w 352"/>
                  <a:gd name="T27" fmla="*/ 17 h 337"/>
                  <a:gd name="T28" fmla="*/ 178 w 352"/>
                  <a:gd name="T29" fmla="*/ 18 h 337"/>
                  <a:gd name="T30" fmla="*/ 191 w 352"/>
                  <a:gd name="T31" fmla="*/ 17 h 337"/>
                  <a:gd name="T32" fmla="*/ 205 w 352"/>
                  <a:gd name="T33" fmla="*/ 13 h 337"/>
                  <a:gd name="T34" fmla="*/ 230 w 352"/>
                  <a:gd name="T35" fmla="*/ 5 h 337"/>
                  <a:gd name="T36" fmla="*/ 240 w 352"/>
                  <a:gd name="T37" fmla="*/ 7 h 337"/>
                  <a:gd name="T38" fmla="*/ 250 w 352"/>
                  <a:gd name="T39" fmla="*/ 0 h 337"/>
                  <a:gd name="T40" fmla="*/ 264 w 352"/>
                  <a:gd name="T41" fmla="*/ 5 h 337"/>
                  <a:gd name="T42" fmla="*/ 287 w 352"/>
                  <a:gd name="T43" fmla="*/ 6 h 337"/>
                  <a:gd name="T44" fmla="*/ 301 w 352"/>
                  <a:gd name="T45" fmla="*/ 18 h 337"/>
                  <a:gd name="T46" fmla="*/ 314 w 352"/>
                  <a:gd name="T47" fmla="*/ 15 h 337"/>
                  <a:gd name="T48" fmla="*/ 328 w 352"/>
                  <a:gd name="T49" fmla="*/ 12 h 337"/>
                  <a:gd name="T50" fmla="*/ 342 w 352"/>
                  <a:gd name="T51" fmla="*/ 26 h 337"/>
                  <a:gd name="T52" fmla="*/ 351 w 352"/>
                  <a:gd name="T53" fmla="*/ 33 h 337"/>
                  <a:gd name="T54" fmla="*/ 349 w 352"/>
                  <a:gd name="T55" fmla="*/ 56 h 337"/>
                  <a:gd name="T56" fmla="*/ 335 w 352"/>
                  <a:gd name="T57" fmla="*/ 83 h 337"/>
                  <a:gd name="T58" fmla="*/ 324 w 352"/>
                  <a:gd name="T59" fmla="*/ 120 h 337"/>
                  <a:gd name="T60" fmla="*/ 315 w 352"/>
                  <a:gd name="T61" fmla="*/ 151 h 337"/>
                  <a:gd name="T62" fmla="*/ 340 w 352"/>
                  <a:gd name="T63" fmla="*/ 242 h 337"/>
                  <a:gd name="T64" fmla="*/ 307 w 352"/>
                  <a:gd name="T65" fmla="*/ 272 h 337"/>
                  <a:gd name="T66" fmla="*/ 304 w 352"/>
                  <a:gd name="T67" fmla="*/ 285 h 337"/>
                  <a:gd name="T68" fmla="*/ 300 w 352"/>
                  <a:gd name="T69" fmla="*/ 308 h 337"/>
                  <a:gd name="T70" fmla="*/ 319 w 352"/>
                  <a:gd name="T71" fmla="*/ 319 h 337"/>
                  <a:gd name="T72" fmla="*/ 323 w 352"/>
                  <a:gd name="T73" fmla="*/ 337 h 337"/>
                  <a:gd name="T74" fmla="*/ 311 w 352"/>
                  <a:gd name="T75" fmla="*/ 337 h 337"/>
                  <a:gd name="T76" fmla="*/ 285 w 352"/>
                  <a:gd name="T77" fmla="*/ 317 h 337"/>
                  <a:gd name="T78" fmla="*/ 275 w 352"/>
                  <a:gd name="T79" fmla="*/ 304 h 337"/>
                  <a:gd name="T80" fmla="*/ 261 w 352"/>
                  <a:gd name="T81" fmla="*/ 312 h 337"/>
                  <a:gd name="T82" fmla="*/ 242 w 352"/>
                  <a:gd name="T83" fmla="*/ 306 h 337"/>
                  <a:gd name="T84" fmla="*/ 235 w 352"/>
                  <a:gd name="T85" fmla="*/ 298 h 337"/>
                  <a:gd name="T86" fmla="*/ 225 w 352"/>
                  <a:gd name="T87" fmla="*/ 300 h 337"/>
                  <a:gd name="T88" fmla="*/ 217 w 352"/>
                  <a:gd name="T89" fmla="*/ 294 h 337"/>
                  <a:gd name="T90" fmla="*/ 203 w 352"/>
                  <a:gd name="T91" fmla="*/ 297 h 337"/>
                  <a:gd name="T92" fmla="*/ 189 w 352"/>
                  <a:gd name="T93" fmla="*/ 297 h 337"/>
                  <a:gd name="T94" fmla="*/ 187 w 352"/>
                  <a:gd name="T95" fmla="*/ 291 h 337"/>
                  <a:gd name="T96" fmla="*/ 183 w 352"/>
                  <a:gd name="T97" fmla="*/ 277 h 337"/>
                  <a:gd name="T98" fmla="*/ 180 w 352"/>
                  <a:gd name="T99" fmla="*/ 268 h 337"/>
                  <a:gd name="T100" fmla="*/ 178 w 352"/>
                  <a:gd name="T101" fmla="*/ 251 h 337"/>
                  <a:gd name="T102" fmla="*/ 177 w 352"/>
                  <a:gd name="T103" fmla="*/ 238 h 337"/>
                  <a:gd name="T104" fmla="*/ 157 w 352"/>
                  <a:gd name="T105" fmla="*/ 224 h 337"/>
                  <a:gd name="T106" fmla="*/ 134 w 352"/>
                  <a:gd name="T107" fmla="*/ 227 h 337"/>
                  <a:gd name="T108" fmla="*/ 115 w 352"/>
                  <a:gd name="T109" fmla="*/ 241 h 337"/>
                  <a:gd name="T110" fmla="*/ 96 w 352"/>
                  <a:gd name="T111" fmla="*/ 233 h 337"/>
                  <a:gd name="T112" fmla="*/ 88 w 352"/>
                  <a:gd name="T113" fmla="*/ 219 h 337"/>
                  <a:gd name="T114" fmla="*/ 84 w 352"/>
                  <a:gd name="T115" fmla="*/ 205 h 337"/>
                  <a:gd name="T116" fmla="*/ 40 w 352"/>
                  <a:gd name="T117" fmla="*/ 202 h 337"/>
                  <a:gd name="T118" fmla="*/ 19 w 352"/>
                  <a:gd name="T119" fmla="*/ 202 h 337"/>
                  <a:gd name="T120" fmla="*/ 10 w 352"/>
                  <a:gd name="T121" fmla="*/ 205 h 337"/>
                  <a:gd name="T122" fmla="*/ 0 w 352"/>
                  <a:gd name="T123" fmla="*/ 201 h 3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352" h="337">
                    <a:moveTo>
                      <a:pt x="0" y="201"/>
                    </a:moveTo>
                    <a:lnTo>
                      <a:pt x="4" y="199"/>
                    </a:lnTo>
                    <a:lnTo>
                      <a:pt x="8" y="198"/>
                    </a:lnTo>
                    <a:lnTo>
                      <a:pt x="10" y="196"/>
                    </a:lnTo>
                    <a:lnTo>
                      <a:pt x="9" y="189"/>
                    </a:lnTo>
                    <a:lnTo>
                      <a:pt x="11" y="188"/>
                    </a:lnTo>
                    <a:lnTo>
                      <a:pt x="15" y="185"/>
                    </a:lnTo>
                    <a:lnTo>
                      <a:pt x="18" y="181"/>
                    </a:lnTo>
                    <a:lnTo>
                      <a:pt x="21" y="181"/>
                    </a:lnTo>
                    <a:lnTo>
                      <a:pt x="24" y="180"/>
                    </a:lnTo>
                    <a:lnTo>
                      <a:pt x="25" y="182"/>
                    </a:lnTo>
                    <a:lnTo>
                      <a:pt x="25" y="184"/>
                    </a:lnTo>
                    <a:lnTo>
                      <a:pt x="28" y="184"/>
                    </a:lnTo>
                    <a:lnTo>
                      <a:pt x="30" y="181"/>
                    </a:lnTo>
                    <a:lnTo>
                      <a:pt x="31" y="177"/>
                    </a:lnTo>
                    <a:lnTo>
                      <a:pt x="33" y="177"/>
                    </a:lnTo>
                    <a:lnTo>
                      <a:pt x="36" y="178"/>
                    </a:lnTo>
                    <a:lnTo>
                      <a:pt x="40" y="174"/>
                    </a:lnTo>
                    <a:lnTo>
                      <a:pt x="45" y="172"/>
                    </a:lnTo>
                    <a:lnTo>
                      <a:pt x="44" y="174"/>
                    </a:lnTo>
                    <a:lnTo>
                      <a:pt x="42" y="178"/>
                    </a:lnTo>
                    <a:lnTo>
                      <a:pt x="43" y="179"/>
                    </a:lnTo>
                    <a:lnTo>
                      <a:pt x="44" y="182"/>
                    </a:lnTo>
                    <a:lnTo>
                      <a:pt x="49" y="185"/>
                    </a:lnTo>
                    <a:lnTo>
                      <a:pt x="53" y="183"/>
                    </a:lnTo>
                    <a:lnTo>
                      <a:pt x="56" y="179"/>
                    </a:lnTo>
                    <a:lnTo>
                      <a:pt x="63" y="172"/>
                    </a:lnTo>
                    <a:lnTo>
                      <a:pt x="64" y="169"/>
                    </a:lnTo>
                    <a:lnTo>
                      <a:pt x="67" y="167"/>
                    </a:lnTo>
                    <a:lnTo>
                      <a:pt x="71" y="167"/>
                    </a:lnTo>
                    <a:lnTo>
                      <a:pt x="74" y="162"/>
                    </a:lnTo>
                    <a:lnTo>
                      <a:pt x="74" y="159"/>
                    </a:lnTo>
                    <a:lnTo>
                      <a:pt x="75" y="154"/>
                    </a:lnTo>
                    <a:lnTo>
                      <a:pt x="76" y="145"/>
                    </a:lnTo>
                    <a:lnTo>
                      <a:pt x="75" y="143"/>
                    </a:lnTo>
                    <a:lnTo>
                      <a:pt x="74" y="138"/>
                    </a:lnTo>
                    <a:lnTo>
                      <a:pt x="76" y="134"/>
                    </a:lnTo>
                    <a:lnTo>
                      <a:pt x="82" y="128"/>
                    </a:lnTo>
                    <a:lnTo>
                      <a:pt x="82" y="124"/>
                    </a:lnTo>
                    <a:lnTo>
                      <a:pt x="85" y="121"/>
                    </a:lnTo>
                    <a:lnTo>
                      <a:pt x="89" y="118"/>
                    </a:lnTo>
                    <a:lnTo>
                      <a:pt x="92" y="118"/>
                    </a:lnTo>
                    <a:lnTo>
                      <a:pt x="95" y="116"/>
                    </a:lnTo>
                    <a:lnTo>
                      <a:pt x="99" y="115"/>
                    </a:lnTo>
                    <a:lnTo>
                      <a:pt x="104" y="105"/>
                    </a:lnTo>
                    <a:lnTo>
                      <a:pt x="104" y="100"/>
                    </a:lnTo>
                    <a:lnTo>
                      <a:pt x="106" y="94"/>
                    </a:lnTo>
                    <a:lnTo>
                      <a:pt x="108" y="92"/>
                    </a:lnTo>
                    <a:lnTo>
                      <a:pt x="109" y="87"/>
                    </a:lnTo>
                    <a:lnTo>
                      <a:pt x="108" y="86"/>
                    </a:lnTo>
                    <a:lnTo>
                      <a:pt x="109" y="81"/>
                    </a:lnTo>
                    <a:lnTo>
                      <a:pt x="109" y="79"/>
                    </a:lnTo>
                    <a:lnTo>
                      <a:pt x="109" y="74"/>
                    </a:lnTo>
                    <a:lnTo>
                      <a:pt x="112" y="70"/>
                    </a:lnTo>
                    <a:lnTo>
                      <a:pt x="112" y="66"/>
                    </a:lnTo>
                    <a:lnTo>
                      <a:pt x="113" y="62"/>
                    </a:lnTo>
                    <a:lnTo>
                      <a:pt x="112" y="57"/>
                    </a:lnTo>
                    <a:lnTo>
                      <a:pt x="120" y="46"/>
                    </a:lnTo>
                    <a:lnTo>
                      <a:pt x="121" y="43"/>
                    </a:lnTo>
                    <a:lnTo>
                      <a:pt x="125" y="41"/>
                    </a:lnTo>
                    <a:lnTo>
                      <a:pt x="124" y="35"/>
                    </a:lnTo>
                    <a:lnTo>
                      <a:pt x="123" y="31"/>
                    </a:lnTo>
                    <a:lnTo>
                      <a:pt x="123" y="27"/>
                    </a:lnTo>
                    <a:lnTo>
                      <a:pt x="124" y="25"/>
                    </a:lnTo>
                    <a:lnTo>
                      <a:pt x="125" y="23"/>
                    </a:lnTo>
                    <a:lnTo>
                      <a:pt x="122" y="19"/>
                    </a:lnTo>
                    <a:lnTo>
                      <a:pt x="122" y="17"/>
                    </a:lnTo>
                    <a:lnTo>
                      <a:pt x="125" y="17"/>
                    </a:lnTo>
                    <a:lnTo>
                      <a:pt x="126" y="15"/>
                    </a:lnTo>
                    <a:lnTo>
                      <a:pt x="126" y="14"/>
                    </a:lnTo>
                    <a:lnTo>
                      <a:pt x="127" y="12"/>
                    </a:lnTo>
                    <a:lnTo>
                      <a:pt x="127" y="10"/>
                    </a:lnTo>
                    <a:lnTo>
                      <a:pt x="129" y="9"/>
                    </a:lnTo>
                    <a:lnTo>
                      <a:pt x="131" y="9"/>
                    </a:lnTo>
                    <a:lnTo>
                      <a:pt x="134" y="6"/>
                    </a:lnTo>
                    <a:lnTo>
                      <a:pt x="137" y="6"/>
                    </a:lnTo>
                    <a:lnTo>
                      <a:pt x="138" y="5"/>
                    </a:lnTo>
                    <a:lnTo>
                      <a:pt x="140" y="5"/>
                    </a:lnTo>
                    <a:lnTo>
                      <a:pt x="143" y="7"/>
                    </a:lnTo>
                    <a:lnTo>
                      <a:pt x="145" y="7"/>
                    </a:lnTo>
                    <a:lnTo>
                      <a:pt x="149" y="11"/>
                    </a:lnTo>
                    <a:lnTo>
                      <a:pt x="152" y="13"/>
                    </a:lnTo>
                    <a:lnTo>
                      <a:pt x="157" y="16"/>
                    </a:lnTo>
                    <a:lnTo>
                      <a:pt x="159" y="17"/>
                    </a:lnTo>
                    <a:lnTo>
                      <a:pt x="163" y="16"/>
                    </a:lnTo>
                    <a:lnTo>
                      <a:pt x="167" y="19"/>
                    </a:lnTo>
                    <a:lnTo>
                      <a:pt x="170" y="19"/>
                    </a:lnTo>
                    <a:lnTo>
                      <a:pt x="173" y="19"/>
                    </a:lnTo>
                    <a:lnTo>
                      <a:pt x="175" y="18"/>
                    </a:lnTo>
                    <a:lnTo>
                      <a:pt x="178" y="18"/>
                    </a:lnTo>
                    <a:lnTo>
                      <a:pt x="181" y="20"/>
                    </a:lnTo>
                    <a:lnTo>
                      <a:pt x="186" y="21"/>
                    </a:lnTo>
                    <a:lnTo>
                      <a:pt x="188" y="22"/>
                    </a:lnTo>
                    <a:lnTo>
                      <a:pt x="191" y="21"/>
                    </a:lnTo>
                    <a:lnTo>
                      <a:pt x="192" y="19"/>
                    </a:lnTo>
                    <a:lnTo>
                      <a:pt x="191" y="17"/>
                    </a:lnTo>
                    <a:lnTo>
                      <a:pt x="191" y="15"/>
                    </a:lnTo>
                    <a:lnTo>
                      <a:pt x="193" y="13"/>
                    </a:lnTo>
                    <a:lnTo>
                      <a:pt x="195" y="10"/>
                    </a:lnTo>
                    <a:lnTo>
                      <a:pt x="199" y="10"/>
                    </a:lnTo>
                    <a:lnTo>
                      <a:pt x="203" y="11"/>
                    </a:lnTo>
                    <a:lnTo>
                      <a:pt x="205" y="13"/>
                    </a:lnTo>
                    <a:lnTo>
                      <a:pt x="208" y="12"/>
                    </a:lnTo>
                    <a:lnTo>
                      <a:pt x="215" y="11"/>
                    </a:lnTo>
                    <a:lnTo>
                      <a:pt x="216" y="9"/>
                    </a:lnTo>
                    <a:lnTo>
                      <a:pt x="219" y="8"/>
                    </a:lnTo>
                    <a:lnTo>
                      <a:pt x="227" y="5"/>
                    </a:lnTo>
                    <a:lnTo>
                      <a:pt x="230" y="5"/>
                    </a:lnTo>
                    <a:lnTo>
                      <a:pt x="230" y="6"/>
                    </a:lnTo>
                    <a:lnTo>
                      <a:pt x="232" y="7"/>
                    </a:lnTo>
                    <a:lnTo>
                      <a:pt x="232" y="9"/>
                    </a:lnTo>
                    <a:lnTo>
                      <a:pt x="234" y="9"/>
                    </a:lnTo>
                    <a:lnTo>
                      <a:pt x="236" y="7"/>
                    </a:lnTo>
                    <a:lnTo>
                      <a:pt x="240" y="7"/>
                    </a:lnTo>
                    <a:lnTo>
                      <a:pt x="243" y="7"/>
                    </a:lnTo>
                    <a:lnTo>
                      <a:pt x="245" y="7"/>
                    </a:lnTo>
                    <a:lnTo>
                      <a:pt x="248" y="3"/>
                    </a:lnTo>
                    <a:lnTo>
                      <a:pt x="247" y="2"/>
                    </a:lnTo>
                    <a:lnTo>
                      <a:pt x="247" y="0"/>
                    </a:lnTo>
                    <a:lnTo>
                      <a:pt x="250" y="0"/>
                    </a:lnTo>
                    <a:lnTo>
                      <a:pt x="252" y="2"/>
                    </a:lnTo>
                    <a:lnTo>
                      <a:pt x="255" y="2"/>
                    </a:lnTo>
                    <a:lnTo>
                      <a:pt x="257" y="2"/>
                    </a:lnTo>
                    <a:lnTo>
                      <a:pt x="259" y="3"/>
                    </a:lnTo>
                    <a:lnTo>
                      <a:pt x="262" y="4"/>
                    </a:lnTo>
                    <a:lnTo>
                      <a:pt x="264" y="5"/>
                    </a:lnTo>
                    <a:lnTo>
                      <a:pt x="272" y="5"/>
                    </a:lnTo>
                    <a:lnTo>
                      <a:pt x="273" y="6"/>
                    </a:lnTo>
                    <a:lnTo>
                      <a:pt x="278" y="3"/>
                    </a:lnTo>
                    <a:lnTo>
                      <a:pt x="282" y="4"/>
                    </a:lnTo>
                    <a:lnTo>
                      <a:pt x="286" y="6"/>
                    </a:lnTo>
                    <a:lnTo>
                      <a:pt x="287" y="6"/>
                    </a:lnTo>
                    <a:lnTo>
                      <a:pt x="288" y="9"/>
                    </a:lnTo>
                    <a:lnTo>
                      <a:pt x="290" y="12"/>
                    </a:lnTo>
                    <a:lnTo>
                      <a:pt x="292" y="12"/>
                    </a:lnTo>
                    <a:lnTo>
                      <a:pt x="294" y="15"/>
                    </a:lnTo>
                    <a:lnTo>
                      <a:pt x="298" y="17"/>
                    </a:lnTo>
                    <a:lnTo>
                      <a:pt x="301" y="18"/>
                    </a:lnTo>
                    <a:lnTo>
                      <a:pt x="303" y="17"/>
                    </a:lnTo>
                    <a:lnTo>
                      <a:pt x="304" y="15"/>
                    </a:lnTo>
                    <a:lnTo>
                      <a:pt x="307" y="15"/>
                    </a:lnTo>
                    <a:lnTo>
                      <a:pt x="311" y="15"/>
                    </a:lnTo>
                    <a:lnTo>
                      <a:pt x="314" y="15"/>
                    </a:lnTo>
                    <a:lnTo>
                      <a:pt x="314" y="15"/>
                    </a:lnTo>
                    <a:lnTo>
                      <a:pt x="316" y="15"/>
                    </a:lnTo>
                    <a:lnTo>
                      <a:pt x="320" y="15"/>
                    </a:lnTo>
                    <a:lnTo>
                      <a:pt x="321" y="13"/>
                    </a:lnTo>
                    <a:lnTo>
                      <a:pt x="323" y="11"/>
                    </a:lnTo>
                    <a:lnTo>
                      <a:pt x="327" y="11"/>
                    </a:lnTo>
                    <a:lnTo>
                      <a:pt x="328" y="12"/>
                    </a:lnTo>
                    <a:lnTo>
                      <a:pt x="331" y="15"/>
                    </a:lnTo>
                    <a:lnTo>
                      <a:pt x="333" y="18"/>
                    </a:lnTo>
                    <a:lnTo>
                      <a:pt x="334" y="19"/>
                    </a:lnTo>
                    <a:lnTo>
                      <a:pt x="339" y="21"/>
                    </a:lnTo>
                    <a:lnTo>
                      <a:pt x="341" y="23"/>
                    </a:lnTo>
                    <a:lnTo>
                      <a:pt x="342" y="26"/>
                    </a:lnTo>
                    <a:lnTo>
                      <a:pt x="343" y="27"/>
                    </a:lnTo>
                    <a:lnTo>
                      <a:pt x="344" y="30"/>
                    </a:lnTo>
                    <a:lnTo>
                      <a:pt x="344" y="32"/>
                    </a:lnTo>
                    <a:lnTo>
                      <a:pt x="345" y="32"/>
                    </a:lnTo>
                    <a:lnTo>
                      <a:pt x="350" y="32"/>
                    </a:lnTo>
                    <a:lnTo>
                      <a:pt x="351" y="33"/>
                    </a:lnTo>
                    <a:lnTo>
                      <a:pt x="350" y="36"/>
                    </a:lnTo>
                    <a:lnTo>
                      <a:pt x="348" y="38"/>
                    </a:lnTo>
                    <a:lnTo>
                      <a:pt x="348" y="43"/>
                    </a:lnTo>
                    <a:lnTo>
                      <a:pt x="347" y="49"/>
                    </a:lnTo>
                    <a:lnTo>
                      <a:pt x="347" y="54"/>
                    </a:lnTo>
                    <a:lnTo>
                      <a:pt x="349" y="56"/>
                    </a:lnTo>
                    <a:lnTo>
                      <a:pt x="351" y="58"/>
                    </a:lnTo>
                    <a:lnTo>
                      <a:pt x="352" y="60"/>
                    </a:lnTo>
                    <a:lnTo>
                      <a:pt x="352" y="62"/>
                    </a:lnTo>
                    <a:lnTo>
                      <a:pt x="342" y="75"/>
                    </a:lnTo>
                    <a:lnTo>
                      <a:pt x="337" y="80"/>
                    </a:lnTo>
                    <a:lnTo>
                      <a:pt x="335" y="83"/>
                    </a:lnTo>
                    <a:lnTo>
                      <a:pt x="328" y="96"/>
                    </a:lnTo>
                    <a:lnTo>
                      <a:pt x="326" y="98"/>
                    </a:lnTo>
                    <a:lnTo>
                      <a:pt x="326" y="102"/>
                    </a:lnTo>
                    <a:lnTo>
                      <a:pt x="326" y="109"/>
                    </a:lnTo>
                    <a:lnTo>
                      <a:pt x="323" y="116"/>
                    </a:lnTo>
                    <a:lnTo>
                      <a:pt x="324" y="120"/>
                    </a:lnTo>
                    <a:lnTo>
                      <a:pt x="320" y="124"/>
                    </a:lnTo>
                    <a:lnTo>
                      <a:pt x="316" y="128"/>
                    </a:lnTo>
                    <a:lnTo>
                      <a:pt x="313" y="139"/>
                    </a:lnTo>
                    <a:lnTo>
                      <a:pt x="312" y="144"/>
                    </a:lnTo>
                    <a:lnTo>
                      <a:pt x="315" y="147"/>
                    </a:lnTo>
                    <a:lnTo>
                      <a:pt x="315" y="151"/>
                    </a:lnTo>
                    <a:lnTo>
                      <a:pt x="315" y="156"/>
                    </a:lnTo>
                    <a:lnTo>
                      <a:pt x="320" y="191"/>
                    </a:lnTo>
                    <a:lnTo>
                      <a:pt x="325" y="212"/>
                    </a:lnTo>
                    <a:lnTo>
                      <a:pt x="338" y="230"/>
                    </a:lnTo>
                    <a:lnTo>
                      <a:pt x="342" y="244"/>
                    </a:lnTo>
                    <a:lnTo>
                      <a:pt x="340" y="242"/>
                    </a:lnTo>
                    <a:lnTo>
                      <a:pt x="310" y="250"/>
                    </a:lnTo>
                    <a:lnTo>
                      <a:pt x="302" y="263"/>
                    </a:lnTo>
                    <a:lnTo>
                      <a:pt x="303" y="267"/>
                    </a:lnTo>
                    <a:lnTo>
                      <a:pt x="305" y="269"/>
                    </a:lnTo>
                    <a:lnTo>
                      <a:pt x="307" y="270"/>
                    </a:lnTo>
                    <a:lnTo>
                      <a:pt x="307" y="272"/>
                    </a:lnTo>
                    <a:lnTo>
                      <a:pt x="306" y="274"/>
                    </a:lnTo>
                    <a:lnTo>
                      <a:pt x="306" y="275"/>
                    </a:lnTo>
                    <a:lnTo>
                      <a:pt x="306" y="278"/>
                    </a:lnTo>
                    <a:lnTo>
                      <a:pt x="306" y="280"/>
                    </a:lnTo>
                    <a:lnTo>
                      <a:pt x="306" y="284"/>
                    </a:lnTo>
                    <a:lnTo>
                      <a:pt x="304" y="285"/>
                    </a:lnTo>
                    <a:lnTo>
                      <a:pt x="305" y="286"/>
                    </a:lnTo>
                    <a:lnTo>
                      <a:pt x="304" y="288"/>
                    </a:lnTo>
                    <a:lnTo>
                      <a:pt x="300" y="292"/>
                    </a:lnTo>
                    <a:lnTo>
                      <a:pt x="299" y="294"/>
                    </a:lnTo>
                    <a:lnTo>
                      <a:pt x="300" y="303"/>
                    </a:lnTo>
                    <a:lnTo>
                      <a:pt x="300" y="308"/>
                    </a:lnTo>
                    <a:lnTo>
                      <a:pt x="302" y="310"/>
                    </a:lnTo>
                    <a:lnTo>
                      <a:pt x="308" y="315"/>
                    </a:lnTo>
                    <a:lnTo>
                      <a:pt x="309" y="318"/>
                    </a:lnTo>
                    <a:lnTo>
                      <a:pt x="310" y="320"/>
                    </a:lnTo>
                    <a:lnTo>
                      <a:pt x="318" y="320"/>
                    </a:lnTo>
                    <a:lnTo>
                      <a:pt x="319" y="319"/>
                    </a:lnTo>
                    <a:lnTo>
                      <a:pt x="318" y="318"/>
                    </a:lnTo>
                    <a:lnTo>
                      <a:pt x="318" y="316"/>
                    </a:lnTo>
                    <a:lnTo>
                      <a:pt x="321" y="316"/>
                    </a:lnTo>
                    <a:lnTo>
                      <a:pt x="323" y="317"/>
                    </a:lnTo>
                    <a:lnTo>
                      <a:pt x="324" y="335"/>
                    </a:lnTo>
                    <a:lnTo>
                      <a:pt x="323" y="337"/>
                    </a:lnTo>
                    <a:lnTo>
                      <a:pt x="320" y="336"/>
                    </a:lnTo>
                    <a:lnTo>
                      <a:pt x="320" y="335"/>
                    </a:lnTo>
                    <a:lnTo>
                      <a:pt x="320" y="335"/>
                    </a:lnTo>
                    <a:lnTo>
                      <a:pt x="317" y="336"/>
                    </a:lnTo>
                    <a:lnTo>
                      <a:pt x="313" y="337"/>
                    </a:lnTo>
                    <a:lnTo>
                      <a:pt x="311" y="337"/>
                    </a:lnTo>
                    <a:lnTo>
                      <a:pt x="307" y="333"/>
                    </a:lnTo>
                    <a:lnTo>
                      <a:pt x="303" y="329"/>
                    </a:lnTo>
                    <a:lnTo>
                      <a:pt x="300" y="326"/>
                    </a:lnTo>
                    <a:lnTo>
                      <a:pt x="297" y="321"/>
                    </a:lnTo>
                    <a:lnTo>
                      <a:pt x="292" y="318"/>
                    </a:lnTo>
                    <a:lnTo>
                      <a:pt x="285" y="317"/>
                    </a:lnTo>
                    <a:lnTo>
                      <a:pt x="281" y="314"/>
                    </a:lnTo>
                    <a:lnTo>
                      <a:pt x="280" y="312"/>
                    </a:lnTo>
                    <a:lnTo>
                      <a:pt x="277" y="309"/>
                    </a:lnTo>
                    <a:lnTo>
                      <a:pt x="277" y="304"/>
                    </a:lnTo>
                    <a:lnTo>
                      <a:pt x="277" y="303"/>
                    </a:lnTo>
                    <a:lnTo>
                      <a:pt x="275" y="304"/>
                    </a:lnTo>
                    <a:lnTo>
                      <a:pt x="273" y="305"/>
                    </a:lnTo>
                    <a:lnTo>
                      <a:pt x="271" y="309"/>
                    </a:lnTo>
                    <a:lnTo>
                      <a:pt x="271" y="311"/>
                    </a:lnTo>
                    <a:lnTo>
                      <a:pt x="265" y="313"/>
                    </a:lnTo>
                    <a:lnTo>
                      <a:pt x="262" y="313"/>
                    </a:lnTo>
                    <a:lnTo>
                      <a:pt x="261" y="312"/>
                    </a:lnTo>
                    <a:lnTo>
                      <a:pt x="257" y="311"/>
                    </a:lnTo>
                    <a:lnTo>
                      <a:pt x="254" y="310"/>
                    </a:lnTo>
                    <a:lnTo>
                      <a:pt x="250" y="308"/>
                    </a:lnTo>
                    <a:lnTo>
                      <a:pt x="248" y="308"/>
                    </a:lnTo>
                    <a:lnTo>
                      <a:pt x="244" y="306"/>
                    </a:lnTo>
                    <a:lnTo>
                      <a:pt x="242" y="306"/>
                    </a:lnTo>
                    <a:lnTo>
                      <a:pt x="243" y="305"/>
                    </a:lnTo>
                    <a:lnTo>
                      <a:pt x="242" y="302"/>
                    </a:lnTo>
                    <a:lnTo>
                      <a:pt x="241" y="300"/>
                    </a:lnTo>
                    <a:lnTo>
                      <a:pt x="241" y="297"/>
                    </a:lnTo>
                    <a:lnTo>
                      <a:pt x="240" y="297"/>
                    </a:lnTo>
                    <a:lnTo>
                      <a:pt x="235" y="298"/>
                    </a:lnTo>
                    <a:lnTo>
                      <a:pt x="234" y="299"/>
                    </a:lnTo>
                    <a:lnTo>
                      <a:pt x="232" y="299"/>
                    </a:lnTo>
                    <a:lnTo>
                      <a:pt x="229" y="300"/>
                    </a:lnTo>
                    <a:lnTo>
                      <a:pt x="227" y="302"/>
                    </a:lnTo>
                    <a:lnTo>
                      <a:pt x="226" y="301"/>
                    </a:lnTo>
                    <a:lnTo>
                      <a:pt x="225" y="300"/>
                    </a:lnTo>
                    <a:lnTo>
                      <a:pt x="225" y="297"/>
                    </a:lnTo>
                    <a:lnTo>
                      <a:pt x="224" y="297"/>
                    </a:lnTo>
                    <a:lnTo>
                      <a:pt x="221" y="296"/>
                    </a:lnTo>
                    <a:lnTo>
                      <a:pt x="219" y="296"/>
                    </a:lnTo>
                    <a:lnTo>
                      <a:pt x="217" y="295"/>
                    </a:lnTo>
                    <a:lnTo>
                      <a:pt x="217" y="294"/>
                    </a:lnTo>
                    <a:lnTo>
                      <a:pt x="214" y="295"/>
                    </a:lnTo>
                    <a:lnTo>
                      <a:pt x="212" y="296"/>
                    </a:lnTo>
                    <a:lnTo>
                      <a:pt x="208" y="297"/>
                    </a:lnTo>
                    <a:lnTo>
                      <a:pt x="206" y="297"/>
                    </a:lnTo>
                    <a:lnTo>
                      <a:pt x="204" y="297"/>
                    </a:lnTo>
                    <a:lnTo>
                      <a:pt x="203" y="297"/>
                    </a:lnTo>
                    <a:lnTo>
                      <a:pt x="198" y="297"/>
                    </a:lnTo>
                    <a:lnTo>
                      <a:pt x="196" y="297"/>
                    </a:lnTo>
                    <a:lnTo>
                      <a:pt x="193" y="295"/>
                    </a:lnTo>
                    <a:lnTo>
                      <a:pt x="191" y="295"/>
                    </a:lnTo>
                    <a:lnTo>
                      <a:pt x="191" y="296"/>
                    </a:lnTo>
                    <a:lnTo>
                      <a:pt x="189" y="297"/>
                    </a:lnTo>
                    <a:lnTo>
                      <a:pt x="188" y="297"/>
                    </a:lnTo>
                    <a:lnTo>
                      <a:pt x="186" y="297"/>
                    </a:lnTo>
                    <a:lnTo>
                      <a:pt x="185" y="297"/>
                    </a:lnTo>
                    <a:lnTo>
                      <a:pt x="185" y="293"/>
                    </a:lnTo>
                    <a:lnTo>
                      <a:pt x="187" y="292"/>
                    </a:lnTo>
                    <a:lnTo>
                      <a:pt x="187" y="291"/>
                    </a:lnTo>
                    <a:lnTo>
                      <a:pt x="188" y="288"/>
                    </a:lnTo>
                    <a:lnTo>
                      <a:pt x="186" y="287"/>
                    </a:lnTo>
                    <a:lnTo>
                      <a:pt x="185" y="283"/>
                    </a:lnTo>
                    <a:lnTo>
                      <a:pt x="186" y="282"/>
                    </a:lnTo>
                    <a:lnTo>
                      <a:pt x="186" y="280"/>
                    </a:lnTo>
                    <a:lnTo>
                      <a:pt x="183" y="277"/>
                    </a:lnTo>
                    <a:lnTo>
                      <a:pt x="183" y="275"/>
                    </a:lnTo>
                    <a:lnTo>
                      <a:pt x="184" y="274"/>
                    </a:lnTo>
                    <a:lnTo>
                      <a:pt x="184" y="272"/>
                    </a:lnTo>
                    <a:lnTo>
                      <a:pt x="182" y="271"/>
                    </a:lnTo>
                    <a:lnTo>
                      <a:pt x="181" y="269"/>
                    </a:lnTo>
                    <a:lnTo>
                      <a:pt x="180" y="268"/>
                    </a:lnTo>
                    <a:lnTo>
                      <a:pt x="180" y="266"/>
                    </a:lnTo>
                    <a:lnTo>
                      <a:pt x="178" y="264"/>
                    </a:lnTo>
                    <a:lnTo>
                      <a:pt x="178" y="262"/>
                    </a:lnTo>
                    <a:lnTo>
                      <a:pt x="177" y="261"/>
                    </a:lnTo>
                    <a:lnTo>
                      <a:pt x="178" y="257"/>
                    </a:lnTo>
                    <a:lnTo>
                      <a:pt x="178" y="251"/>
                    </a:lnTo>
                    <a:lnTo>
                      <a:pt x="177" y="249"/>
                    </a:lnTo>
                    <a:lnTo>
                      <a:pt x="177" y="248"/>
                    </a:lnTo>
                    <a:lnTo>
                      <a:pt x="178" y="246"/>
                    </a:lnTo>
                    <a:lnTo>
                      <a:pt x="178" y="244"/>
                    </a:lnTo>
                    <a:lnTo>
                      <a:pt x="176" y="241"/>
                    </a:lnTo>
                    <a:lnTo>
                      <a:pt x="177" y="238"/>
                    </a:lnTo>
                    <a:lnTo>
                      <a:pt x="179" y="235"/>
                    </a:lnTo>
                    <a:lnTo>
                      <a:pt x="179" y="232"/>
                    </a:lnTo>
                    <a:lnTo>
                      <a:pt x="179" y="230"/>
                    </a:lnTo>
                    <a:lnTo>
                      <a:pt x="179" y="228"/>
                    </a:lnTo>
                    <a:lnTo>
                      <a:pt x="157" y="226"/>
                    </a:lnTo>
                    <a:lnTo>
                      <a:pt x="157" y="224"/>
                    </a:lnTo>
                    <a:lnTo>
                      <a:pt x="158" y="222"/>
                    </a:lnTo>
                    <a:lnTo>
                      <a:pt x="158" y="220"/>
                    </a:lnTo>
                    <a:lnTo>
                      <a:pt x="152" y="220"/>
                    </a:lnTo>
                    <a:lnTo>
                      <a:pt x="152" y="221"/>
                    </a:lnTo>
                    <a:lnTo>
                      <a:pt x="134" y="222"/>
                    </a:lnTo>
                    <a:lnTo>
                      <a:pt x="134" y="227"/>
                    </a:lnTo>
                    <a:lnTo>
                      <a:pt x="132" y="230"/>
                    </a:lnTo>
                    <a:lnTo>
                      <a:pt x="131" y="231"/>
                    </a:lnTo>
                    <a:lnTo>
                      <a:pt x="131" y="233"/>
                    </a:lnTo>
                    <a:lnTo>
                      <a:pt x="131" y="238"/>
                    </a:lnTo>
                    <a:lnTo>
                      <a:pt x="118" y="239"/>
                    </a:lnTo>
                    <a:lnTo>
                      <a:pt x="115" y="241"/>
                    </a:lnTo>
                    <a:lnTo>
                      <a:pt x="109" y="240"/>
                    </a:lnTo>
                    <a:lnTo>
                      <a:pt x="107" y="240"/>
                    </a:lnTo>
                    <a:lnTo>
                      <a:pt x="104" y="240"/>
                    </a:lnTo>
                    <a:lnTo>
                      <a:pt x="99" y="241"/>
                    </a:lnTo>
                    <a:lnTo>
                      <a:pt x="97" y="239"/>
                    </a:lnTo>
                    <a:lnTo>
                      <a:pt x="96" y="233"/>
                    </a:lnTo>
                    <a:lnTo>
                      <a:pt x="93" y="230"/>
                    </a:lnTo>
                    <a:lnTo>
                      <a:pt x="92" y="228"/>
                    </a:lnTo>
                    <a:lnTo>
                      <a:pt x="90" y="227"/>
                    </a:lnTo>
                    <a:lnTo>
                      <a:pt x="90" y="225"/>
                    </a:lnTo>
                    <a:lnTo>
                      <a:pt x="89" y="223"/>
                    </a:lnTo>
                    <a:lnTo>
                      <a:pt x="88" y="219"/>
                    </a:lnTo>
                    <a:lnTo>
                      <a:pt x="86" y="215"/>
                    </a:lnTo>
                    <a:lnTo>
                      <a:pt x="86" y="213"/>
                    </a:lnTo>
                    <a:lnTo>
                      <a:pt x="87" y="211"/>
                    </a:lnTo>
                    <a:lnTo>
                      <a:pt x="86" y="210"/>
                    </a:lnTo>
                    <a:lnTo>
                      <a:pt x="85" y="208"/>
                    </a:lnTo>
                    <a:lnTo>
                      <a:pt x="84" y="205"/>
                    </a:lnTo>
                    <a:lnTo>
                      <a:pt x="85" y="205"/>
                    </a:lnTo>
                    <a:lnTo>
                      <a:pt x="85" y="202"/>
                    </a:lnTo>
                    <a:lnTo>
                      <a:pt x="66" y="202"/>
                    </a:lnTo>
                    <a:lnTo>
                      <a:pt x="53" y="202"/>
                    </a:lnTo>
                    <a:lnTo>
                      <a:pt x="46" y="202"/>
                    </a:lnTo>
                    <a:lnTo>
                      <a:pt x="40" y="202"/>
                    </a:lnTo>
                    <a:lnTo>
                      <a:pt x="38" y="202"/>
                    </a:lnTo>
                    <a:lnTo>
                      <a:pt x="33" y="202"/>
                    </a:lnTo>
                    <a:lnTo>
                      <a:pt x="28" y="202"/>
                    </a:lnTo>
                    <a:lnTo>
                      <a:pt x="24" y="202"/>
                    </a:lnTo>
                    <a:lnTo>
                      <a:pt x="22" y="202"/>
                    </a:lnTo>
                    <a:lnTo>
                      <a:pt x="19" y="202"/>
                    </a:lnTo>
                    <a:lnTo>
                      <a:pt x="17" y="202"/>
                    </a:lnTo>
                    <a:lnTo>
                      <a:pt x="13" y="203"/>
                    </a:lnTo>
                    <a:lnTo>
                      <a:pt x="12" y="204"/>
                    </a:lnTo>
                    <a:lnTo>
                      <a:pt x="11" y="204"/>
                    </a:lnTo>
                    <a:lnTo>
                      <a:pt x="10" y="205"/>
                    </a:lnTo>
                    <a:lnTo>
                      <a:pt x="10" y="205"/>
                    </a:lnTo>
                    <a:lnTo>
                      <a:pt x="9" y="205"/>
                    </a:lnTo>
                    <a:lnTo>
                      <a:pt x="9" y="205"/>
                    </a:lnTo>
                    <a:lnTo>
                      <a:pt x="7" y="203"/>
                    </a:lnTo>
                    <a:lnTo>
                      <a:pt x="1" y="203"/>
                    </a:lnTo>
                    <a:lnTo>
                      <a:pt x="0" y="201"/>
                    </a:lnTo>
                    <a:lnTo>
                      <a:pt x="0" y="201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050" name="Freeform 52"/>
              <p:cNvSpPr>
                <a:spLocks/>
              </p:cNvSpPr>
              <p:nvPr userDrawn="1"/>
            </p:nvSpPr>
            <p:spPr bwMode="auto">
              <a:xfrm>
                <a:off x="4065" y="3095"/>
                <a:ext cx="58" cy="143"/>
              </a:xfrm>
              <a:custGeom>
                <a:avLst/>
                <a:gdLst>
                  <a:gd name="T0" fmla="*/ 6 w 58"/>
                  <a:gd name="T1" fmla="*/ 0 h 143"/>
                  <a:gd name="T2" fmla="*/ 9 w 58"/>
                  <a:gd name="T3" fmla="*/ 3 h 143"/>
                  <a:gd name="T4" fmla="*/ 13 w 58"/>
                  <a:gd name="T5" fmla="*/ 4 h 143"/>
                  <a:gd name="T6" fmla="*/ 16 w 58"/>
                  <a:gd name="T7" fmla="*/ 4 h 143"/>
                  <a:gd name="T8" fmla="*/ 19 w 58"/>
                  <a:gd name="T9" fmla="*/ 5 h 143"/>
                  <a:gd name="T10" fmla="*/ 22 w 58"/>
                  <a:gd name="T11" fmla="*/ 8 h 143"/>
                  <a:gd name="T12" fmla="*/ 29 w 58"/>
                  <a:gd name="T13" fmla="*/ 15 h 143"/>
                  <a:gd name="T14" fmla="*/ 30 w 58"/>
                  <a:gd name="T15" fmla="*/ 53 h 143"/>
                  <a:gd name="T16" fmla="*/ 32 w 58"/>
                  <a:gd name="T17" fmla="*/ 72 h 143"/>
                  <a:gd name="T18" fmla="*/ 41 w 58"/>
                  <a:gd name="T19" fmla="*/ 77 h 143"/>
                  <a:gd name="T20" fmla="*/ 44 w 58"/>
                  <a:gd name="T21" fmla="*/ 79 h 143"/>
                  <a:gd name="T22" fmla="*/ 51 w 58"/>
                  <a:gd name="T23" fmla="*/ 88 h 143"/>
                  <a:gd name="T24" fmla="*/ 57 w 58"/>
                  <a:gd name="T25" fmla="*/ 98 h 143"/>
                  <a:gd name="T26" fmla="*/ 58 w 58"/>
                  <a:gd name="T27" fmla="*/ 102 h 143"/>
                  <a:gd name="T28" fmla="*/ 55 w 58"/>
                  <a:gd name="T29" fmla="*/ 105 h 143"/>
                  <a:gd name="T30" fmla="*/ 52 w 58"/>
                  <a:gd name="T31" fmla="*/ 106 h 143"/>
                  <a:gd name="T32" fmla="*/ 53 w 58"/>
                  <a:gd name="T33" fmla="*/ 110 h 143"/>
                  <a:gd name="T34" fmla="*/ 55 w 58"/>
                  <a:gd name="T35" fmla="*/ 118 h 143"/>
                  <a:gd name="T36" fmla="*/ 51 w 58"/>
                  <a:gd name="T37" fmla="*/ 123 h 143"/>
                  <a:gd name="T38" fmla="*/ 46 w 58"/>
                  <a:gd name="T39" fmla="*/ 129 h 143"/>
                  <a:gd name="T40" fmla="*/ 43 w 58"/>
                  <a:gd name="T41" fmla="*/ 135 h 143"/>
                  <a:gd name="T42" fmla="*/ 44 w 58"/>
                  <a:gd name="T43" fmla="*/ 142 h 143"/>
                  <a:gd name="T44" fmla="*/ 39 w 58"/>
                  <a:gd name="T45" fmla="*/ 141 h 143"/>
                  <a:gd name="T46" fmla="*/ 38 w 58"/>
                  <a:gd name="T47" fmla="*/ 136 h 143"/>
                  <a:gd name="T48" fmla="*/ 33 w 58"/>
                  <a:gd name="T49" fmla="*/ 133 h 143"/>
                  <a:gd name="T50" fmla="*/ 27 w 58"/>
                  <a:gd name="T51" fmla="*/ 126 h 143"/>
                  <a:gd name="T52" fmla="*/ 26 w 58"/>
                  <a:gd name="T53" fmla="*/ 120 h 143"/>
                  <a:gd name="T54" fmla="*/ 27 w 58"/>
                  <a:gd name="T55" fmla="*/ 113 h 143"/>
                  <a:gd name="T56" fmla="*/ 32 w 58"/>
                  <a:gd name="T57" fmla="*/ 105 h 143"/>
                  <a:gd name="T58" fmla="*/ 32 w 58"/>
                  <a:gd name="T59" fmla="*/ 97 h 143"/>
                  <a:gd name="T60" fmla="*/ 26 w 58"/>
                  <a:gd name="T61" fmla="*/ 92 h 143"/>
                  <a:gd name="T62" fmla="*/ 21 w 58"/>
                  <a:gd name="T63" fmla="*/ 94 h 143"/>
                  <a:gd name="T64" fmla="*/ 17 w 58"/>
                  <a:gd name="T65" fmla="*/ 95 h 143"/>
                  <a:gd name="T66" fmla="*/ 13 w 58"/>
                  <a:gd name="T67" fmla="*/ 91 h 143"/>
                  <a:gd name="T68" fmla="*/ 11 w 58"/>
                  <a:gd name="T69" fmla="*/ 87 h 143"/>
                  <a:gd name="T70" fmla="*/ 6 w 58"/>
                  <a:gd name="T71" fmla="*/ 87 h 143"/>
                  <a:gd name="T72" fmla="*/ 4 w 58"/>
                  <a:gd name="T73" fmla="*/ 81 h 143"/>
                  <a:gd name="T74" fmla="*/ 0 w 58"/>
                  <a:gd name="T75" fmla="*/ 77 h 143"/>
                  <a:gd name="T76" fmla="*/ 5 w 58"/>
                  <a:gd name="T77" fmla="*/ 73 h 143"/>
                  <a:gd name="T78" fmla="*/ 6 w 58"/>
                  <a:gd name="T79" fmla="*/ 69 h 143"/>
                  <a:gd name="T80" fmla="*/ 5 w 58"/>
                  <a:gd name="T81" fmla="*/ 64 h 143"/>
                  <a:gd name="T82" fmla="*/ 9 w 58"/>
                  <a:gd name="T83" fmla="*/ 60 h 143"/>
                  <a:gd name="T84" fmla="*/ 13 w 58"/>
                  <a:gd name="T85" fmla="*/ 57 h 143"/>
                  <a:gd name="T86" fmla="*/ 14 w 58"/>
                  <a:gd name="T87" fmla="*/ 55 h 143"/>
                  <a:gd name="T88" fmla="*/ 12 w 58"/>
                  <a:gd name="T89" fmla="*/ 53 h 143"/>
                  <a:gd name="T90" fmla="*/ 12 w 58"/>
                  <a:gd name="T91" fmla="*/ 50 h 143"/>
                  <a:gd name="T92" fmla="*/ 11 w 58"/>
                  <a:gd name="T93" fmla="*/ 45 h 143"/>
                  <a:gd name="T94" fmla="*/ 12 w 58"/>
                  <a:gd name="T95" fmla="*/ 40 h 143"/>
                  <a:gd name="T96" fmla="*/ 11 w 58"/>
                  <a:gd name="T97" fmla="*/ 34 h 143"/>
                  <a:gd name="T98" fmla="*/ 15 w 58"/>
                  <a:gd name="T99" fmla="*/ 28 h 143"/>
                  <a:gd name="T100" fmla="*/ 16 w 58"/>
                  <a:gd name="T101" fmla="*/ 25 h 143"/>
                  <a:gd name="T102" fmla="*/ 15 w 58"/>
                  <a:gd name="T103" fmla="*/ 19 h 143"/>
                  <a:gd name="T104" fmla="*/ 11 w 58"/>
                  <a:gd name="T105" fmla="*/ 15 h 143"/>
                  <a:gd name="T106" fmla="*/ 14 w 58"/>
                  <a:gd name="T107" fmla="*/ 10 h 143"/>
                  <a:gd name="T108" fmla="*/ 9 w 58"/>
                  <a:gd name="T109" fmla="*/ 7 h 143"/>
                  <a:gd name="T110" fmla="*/ 6 w 58"/>
                  <a:gd name="T111" fmla="*/ 4 h 143"/>
                  <a:gd name="T112" fmla="*/ 6 w 58"/>
                  <a:gd name="T113" fmla="*/ 1 h 1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58" h="143">
                    <a:moveTo>
                      <a:pt x="6" y="1"/>
                    </a:moveTo>
                    <a:lnTo>
                      <a:pt x="6" y="0"/>
                    </a:lnTo>
                    <a:lnTo>
                      <a:pt x="8" y="1"/>
                    </a:lnTo>
                    <a:lnTo>
                      <a:pt x="9" y="3"/>
                    </a:lnTo>
                    <a:lnTo>
                      <a:pt x="12" y="3"/>
                    </a:lnTo>
                    <a:lnTo>
                      <a:pt x="13" y="4"/>
                    </a:lnTo>
                    <a:lnTo>
                      <a:pt x="14" y="4"/>
                    </a:lnTo>
                    <a:lnTo>
                      <a:pt x="16" y="4"/>
                    </a:lnTo>
                    <a:lnTo>
                      <a:pt x="17" y="5"/>
                    </a:lnTo>
                    <a:lnTo>
                      <a:pt x="19" y="5"/>
                    </a:lnTo>
                    <a:lnTo>
                      <a:pt x="19" y="6"/>
                    </a:lnTo>
                    <a:lnTo>
                      <a:pt x="22" y="8"/>
                    </a:lnTo>
                    <a:lnTo>
                      <a:pt x="24" y="10"/>
                    </a:lnTo>
                    <a:lnTo>
                      <a:pt x="29" y="15"/>
                    </a:lnTo>
                    <a:lnTo>
                      <a:pt x="30" y="22"/>
                    </a:lnTo>
                    <a:lnTo>
                      <a:pt x="30" y="53"/>
                    </a:lnTo>
                    <a:lnTo>
                      <a:pt x="29" y="55"/>
                    </a:lnTo>
                    <a:lnTo>
                      <a:pt x="32" y="72"/>
                    </a:lnTo>
                    <a:lnTo>
                      <a:pt x="38" y="75"/>
                    </a:lnTo>
                    <a:lnTo>
                      <a:pt x="41" y="77"/>
                    </a:lnTo>
                    <a:lnTo>
                      <a:pt x="42" y="79"/>
                    </a:lnTo>
                    <a:lnTo>
                      <a:pt x="44" y="79"/>
                    </a:lnTo>
                    <a:lnTo>
                      <a:pt x="50" y="85"/>
                    </a:lnTo>
                    <a:lnTo>
                      <a:pt x="51" y="88"/>
                    </a:lnTo>
                    <a:lnTo>
                      <a:pt x="55" y="94"/>
                    </a:lnTo>
                    <a:lnTo>
                      <a:pt x="57" y="98"/>
                    </a:lnTo>
                    <a:lnTo>
                      <a:pt x="58" y="100"/>
                    </a:lnTo>
                    <a:lnTo>
                      <a:pt x="58" y="102"/>
                    </a:lnTo>
                    <a:lnTo>
                      <a:pt x="56" y="103"/>
                    </a:lnTo>
                    <a:lnTo>
                      <a:pt x="55" y="105"/>
                    </a:lnTo>
                    <a:lnTo>
                      <a:pt x="53" y="105"/>
                    </a:lnTo>
                    <a:lnTo>
                      <a:pt x="52" y="106"/>
                    </a:lnTo>
                    <a:lnTo>
                      <a:pt x="53" y="108"/>
                    </a:lnTo>
                    <a:lnTo>
                      <a:pt x="53" y="110"/>
                    </a:lnTo>
                    <a:lnTo>
                      <a:pt x="55" y="112"/>
                    </a:lnTo>
                    <a:lnTo>
                      <a:pt x="55" y="118"/>
                    </a:lnTo>
                    <a:lnTo>
                      <a:pt x="53" y="120"/>
                    </a:lnTo>
                    <a:lnTo>
                      <a:pt x="51" y="123"/>
                    </a:lnTo>
                    <a:lnTo>
                      <a:pt x="48" y="124"/>
                    </a:lnTo>
                    <a:lnTo>
                      <a:pt x="46" y="129"/>
                    </a:lnTo>
                    <a:lnTo>
                      <a:pt x="45" y="132"/>
                    </a:lnTo>
                    <a:lnTo>
                      <a:pt x="43" y="135"/>
                    </a:lnTo>
                    <a:lnTo>
                      <a:pt x="45" y="140"/>
                    </a:lnTo>
                    <a:lnTo>
                      <a:pt x="44" y="142"/>
                    </a:lnTo>
                    <a:lnTo>
                      <a:pt x="40" y="143"/>
                    </a:lnTo>
                    <a:lnTo>
                      <a:pt x="39" y="141"/>
                    </a:lnTo>
                    <a:lnTo>
                      <a:pt x="41" y="139"/>
                    </a:lnTo>
                    <a:lnTo>
                      <a:pt x="38" y="136"/>
                    </a:lnTo>
                    <a:lnTo>
                      <a:pt x="36" y="134"/>
                    </a:lnTo>
                    <a:lnTo>
                      <a:pt x="33" y="133"/>
                    </a:lnTo>
                    <a:lnTo>
                      <a:pt x="30" y="130"/>
                    </a:lnTo>
                    <a:lnTo>
                      <a:pt x="27" y="126"/>
                    </a:lnTo>
                    <a:lnTo>
                      <a:pt x="27" y="123"/>
                    </a:lnTo>
                    <a:lnTo>
                      <a:pt x="26" y="120"/>
                    </a:lnTo>
                    <a:lnTo>
                      <a:pt x="25" y="117"/>
                    </a:lnTo>
                    <a:lnTo>
                      <a:pt x="27" y="113"/>
                    </a:lnTo>
                    <a:lnTo>
                      <a:pt x="28" y="109"/>
                    </a:lnTo>
                    <a:lnTo>
                      <a:pt x="32" y="105"/>
                    </a:lnTo>
                    <a:lnTo>
                      <a:pt x="32" y="101"/>
                    </a:lnTo>
                    <a:lnTo>
                      <a:pt x="32" y="97"/>
                    </a:lnTo>
                    <a:lnTo>
                      <a:pt x="30" y="94"/>
                    </a:lnTo>
                    <a:lnTo>
                      <a:pt x="26" y="92"/>
                    </a:lnTo>
                    <a:lnTo>
                      <a:pt x="22" y="93"/>
                    </a:lnTo>
                    <a:lnTo>
                      <a:pt x="21" y="94"/>
                    </a:lnTo>
                    <a:lnTo>
                      <a:pt x="18" y="94"/>
                    </a:lnTo>
                    <a:lnTo>
                      <a:pt x="17" y="95"/>
                    </a:lnTo>
                    <a:lnTo>
                      <a:pt x="14" y="93"/>
                    </a:lnTo>
                    <a:lnTo>
                      <a:pt x="13" y="91"/>
                    </a:lnTo>
                    <a:lnTo>
                      <a:pt x="12" y="89"/>
                    </a:lnTo>
                    <a:lnTo>
                      <a:pt x="11" y="87"/>
                    </a:lnTo>
                    <a:lnTo>
                      <a:pt x="10" y="85"/>
                    </a:lnTo>
                    <a:lnTo>
                      <a:pt x="6" y="87"/>
                    </a:lnTo>
                    <a:lnTo>
                      <a:pt x="5" y="85"/>
                    </a:lnTo>
                    <a:lnTo>
                      <a:pt x="4" y="81"/>
                    </a:lnTo>
                    <a:lnTo>
                      <a:pt x="1" y="78"/>
                    </a:lnTo>
                    <a:lnTo>
                      <a:pt x="0" y="77"/>
                    </a:lnTo>
                    <a:lnTo>
                      <a:pt x="2" y="76"/>
                    </a:lnTo>
                    <a:lnTo>
                      <a:pt x="5" y="73"/>
                    </a:lnTo>
                    <a:lnTo>
                      <a:pt x="5" y="70"/>
                    </a:lnTo>
                    <a:lnTo>
                      <a:pt x="6" y="69"/>
                    </a:lnTo>
                    <a:lnTo>
                      <a:pt x="5" y="67"/>
                    </a:lnTo>
                    <a:lnTo>
                      <a:pt x="5" y="64"/>
                    </a:lnTo>
                    <a:lnTo>
                      <a:pt x="6" y="63"/>
                    </a:lnTo>
                    <a:lnTo>
                      <a:pt x="9" y="60"/>
                    </a:lnTo>
                    <a:lnTo>
                      <a:pt x="12" y="59"/>
                    </a:lnTo>
                    <a:lnTo>
                      <a:pt x="13" y="57"/>
                    </a:lnTo>
                    <a:lnTo>
                      <a:pt x="15" y="56"/>
                    </a:lnTo>
                    <a:lnTo>
                      <a:pt x="14" y="55"/>
                    </a:lnTo>
                    <a:lnTo>
                      <a:pt x="12" y="55"/>
                    </a:lnTo>
                    <a:lnTo>
                      <a:pt x="12" y="53"/>
                    </a:lnTo>
                    <a:lnTo>
                      <a:pt x="11" y="50"/>
                    </a:lnTo>
                    <a:lnTo>
                      <a:pt x="12" y="50"/>
                    </a:lnTo>
                    <a:lnTo>
                      <a:pt x="13" y="48"/>
                    </a:lnTo>
                    <a:lnTo>
                      <a:pt x="11" y="45"/>
                    </a:lnTo>
                    <a:lnTo>
                      <a:pt x="13" y="42"/>
                    </a:lnTo>
                    <a:lnTo>
                      <a:pt x="12" y="40"/>
                    </a:lnTo>
                    <a:lnTo>
                      <a:pt x="12" y="37"/>
                    </a:lnTo>
                    <a:lnTo>
                      <a:pt x="11" y="34"/>
                    </a:lnTo>
                    <a:lnTo>
                      <a:pt x="11" y="32"/>
                    </a:lnTo>
                    <a:lnTo>
                      <a:pt x="15" y="28"/>
                    </a:lnTo>
                    <a:lnTo>
                      <a:pt x="15" y="27"/>
                    </a:lnTo>
                    <a:lnTo>
                      <a:pt x="16" y="25"/>
                    </a:lnTo>
                    <a:lnTo>
                      <a:pt x="16" y="22"/>
                    </a:lnTo>
                    <a:lnTo>
                      <a:pt x="15" y="19"/>
                    </a:lnTo>
                    <a:lnTo>
                      <a:pt x="12" y="17"/>
                    </a:lnTo>
                    <a:lnTo>
                      <a:pt x="11" y="15"/>
                    </a:lnTo>
                    <a:lnTo>
                      <a:pt x="14" y="11"/>
                    </a:lnTo>
                    <a:lnTo>
                      <a:pt x="14" y="10"/>
                    </a:lnTo>
                    <a:lnTo>
                      <a:pt x="11" y="9"/>
                    </a:lnTo>
                    <a:lnTo>
                      <a:pt x="9" y="7"/>
                    </a:lnTo>
                    <a:lnTo>
                      <a:pt x="8" y="5"/>
                    </a:lnTo>
                    <a:lnTo>
                      <a:pt x="6" y="4"/>
                    </a:lnTo>
                    <a:lnTo>
                      <a:pt x="6" y="1"/>
                    </a:lnTo>
                    <a:lnTo>
                      <a:pt x="6" y="1"/>
                    </a:lnTo>
                    <a:close/>
                  </a:path>
                </a:pathLst>
              </a:custGeom>
              <a:solidFill>
                <a:schemeClr val="accent2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051" name="Freeform 53"/>
              <p:cNvSpPr>
                <a:spLocks noEditPoints="1"/>
              </p:cNvSpPr>
              <p:nvPr userDrawn="1"/>
            </p:nvSpPr>
            <p:spPr bwMode="auto">
              <a:xfrm>
                <a:off x="2295" y="2595"/>
                <a:ext cx="57" cy="23"/>
              </a:xfrm>
              <a:custGeom>
                <a:avLst/>
                <a:gdLst>
                  <a:gd name="T0" fmla="*/ 52 w 57"/>
                  <a:gd name="T1" fmla="*/ 18 h 23"/>
                  <a:gd name="T2" fmla="*/ 57 w 57"/>
                  <a:gd name="T3" fmla="*/ 22 h 23"/>
                  <a:gd name="T4" fmla="*/ 53 w 57"/>
                  <a:gd name="T5" fmla="*/ 23 h 23"/>
                  <a:gd name="T6" fmla="*/ 52 w 57"/>
                  <a:gd name="T7" fmla="*/ 21 h 23"/>
                  <a:gd name="T8" fmla="*/ 52 w 57"/>
                  <a:gd name="T9" fmla="*/ 18 h 23"/>
                  <a:gd name="T10" fmla="*/ 52 w 57"/>
                  <a:gd name="T11" fmla="*/ 18 h 23"/>
                  <a:gd name="T12" fmla="*/ 52 w 57"/>
                  <a:gd name="T13" fmla="*/ 18 h 23"/>
                  <a:gd name="T14" fmla="*/ 54 w 57"/>
                  <a:gd name="T15" fmla="*/ 8 h 23"/>
                  <a:gd name="T16" fmla="*/ 52 w 57"/>
                  <a:gd name="T17" fmla="*/ 12 h 23"/>
                  <a:gd name="T18" fmla="*/ 55 w 57"/>
                  <a:gd name="T19" fmla="*/ 14 h 23"/>
                  <a:gd name="T20" fmla="*/ 56 w 57"/>
                  <a:gd name="T21" fmla="*/ 11 h 23"/>
                  <a:gd name="T22" fmla="*/ 54 w 57"/>
                  <a:gd name="T23" fmla="*/ 8 h 23"/>
                  <a:gd name="T24" fmla="*/ 54 w 57"/>
                  <a:gd name="T25" fmla="*/ 8 h 23"/>
                  <a:gd name="T26" fmla="*/ 54 w 57"/>
                  <a:gd name="T27" fmla="*/ 8 h 23"/>
                  <a:gd name="T28" fmla="*/ 37 w 57"/>
                  <a:gd name="T29" fmla="*/ 14 h 23"/>
                  <a:gd name="T30" fmla="*/ 34 w 57"/>
                  <a:gd name="T31" fmla="*/ 15 h 23"/>
                  <a:gd name="T32" fmla="*/ 36 w 57"/>
                  <a:gd name="T33" fmla="*/ 18 h 23"/>
                  <a:gd name="T34" fmla="*/ 40 w 57"/>
                  <a:gd name="T35" fmla="*/ 19 h 23"/>
                  <a:gd name="T36" fmla="*/ 37 w 57"/>
                  <a:gd name="T37" fmla="*/ 14 h 23"/>
                  <a:gd name="T38" fmla="*/ 37 w 57"/>
                  <a:gd name="T39" fmla="*/ 14 h 23"/>
                  <a:gd name="T40" fmla="*/ 37 w 57"/>
                  <a:gd name="T41" fmla="*/ 14 h 23"/>
                  <a:gd name="T42" fmla="*/ 29 w 57"/>
                  <a:gd name="T43" fmla="*/ 2 h 23"/>
                  <a:gd name="T44" fmla="*/ 31 w 57"/>
                  <a:gd name="T45" fmla="*/ 0 h 23"/>
                  <a:gd name="T46" fmla="*/ 36 w 57"/>
                  <a:gd name="T47" fmla="*/ 0 h 23"/>
                  <a:gd name="T48" fmla="*/ 33 w 57"/>
                  <a:gd name="T49" fmla="*/ 3 h 23"/>
                  <a:gd name="T50" fmla="*/ 33 w 57"/>
                  <a:gd name="T51" fmla="*/ 7 h 23"/>
                  <a:gd name="T52" fmla="*/ 29 w 57"/>
                  <a:gd name="T53" fmla="*/ 4 h 23"/>
                  <a:gd name="T54" fmla="*/ 29 w 57"/>
                  <a:gd name="T55" fmla="*/ 2 h 23"/>
                  <a:gd name="T56" fmla="*/ 29 w 57"/>
                  <a:gd name="T57" fmla="*/ 2 h 23"/>
                  <a:gd name="T58" fmla="*/ 29 w 57"/>
                  <a:gd name="T59" fmla="*/ 2 h 23"/>
                  <a:gd name="T60" fmla="*/ 4 w 57"/>
                  <a:gd name="T61" fmla="*/ 8 h 23"/>
                  <a:gd name="T62" fmla="*/ 6 w 57"/>
                  <a:gd name="T63" fmla="*/ 10 h 23"/>
                  <a:gd name="T64" fmla="*/ 0 w 57"/>
                  <a:gd name="T65" fmla="*/ 11 h 23"/>
                  <a:gd name="T66" fmla="*/ 4 w 57"/>
                  <a:gd name="T67" fmla="*/ 8 h 23"/>
                  <a:gd name="T68" fmla="*/ 4 w 57"/>
                  <a:gd name="T69" fmla="*/ 8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57" h="23">
                    <a:moveTo>
                      <a:pt x="52" y="18"/>
                    </a:moveTo>
                    <a:lnTo>
                      <a:pt x="57" y="22"/>
                    </a:lnTo>
                    <a:lnTo>
                      <a:pt x="53" y="23"/>
                    </a:lnTo>
                    <a:lnTo>
                      <a:pt x="52" y="21"/>
                    </a:lnTo>
                    <a:lnTo>
                      <a:pt x="52" y="18"/>
                    </a:lnTo>
                    <a:lnTo>
                      <a:pt x="52" y="18"/>
                    </a:lnTo>
                    <a:lnTo>
                      <a:pt x="52" y="18"/>
                    </a:lnTo>
                    <a:close/>
                    <a:moveTo>
                      <a:pt x="54" y="8"/>
                    </a:moveTo>
                    <a:lnTo>
                      <a:pt x="52" y="12"/>
                    </a:lnTo>
                    <a:lnTo>
                      <a:pt x="55" y="14"/>
                    </a:lnTo>
                    <a:lnTo>
                      <a:pt x="56" y="11"/>
                    </a:lnTo>
                    <a:lnTo>
                      <a:pt x="54" y="8"/>
                    </a:lnTo>
                    <a:lnTo>
                      <a:pt x="54" y="8"/>
                    </a:lnTo>
                    <a:lnTo>
                      <a:pt x="54" y="8"/>
                    </a:lnTo>
                    <a:close/>
                    <a:moveTo>
                      <a:pt x="37" y="14"/>
                    </a:moveTo>
                    <a:lnTo>
                      <a:pt x="34" y="15"/>
                    </a:lnTo>
                    <a:lnTo>
                      <a:pt x="36" y="18"/>
                    </a:lnTo>
                    <a:lnTo>
                      <a:pt x="40" y="19"/>
                    </a:lnTo>
                    <a:lnTo>
                      <a:pt x="37" y="14"/>
                    </a:lnTo>
                    <a:lnTo>
                      <a:pt x="37" y="14"/>
                    </a:lnTo>
                    <a:lnTo>
                      <a:pt x="37" y="14"/>
                    </a:lnTo>
                    <a:close/>
                    <a:moveTo>
                      <a:pt x="29" y="2"/>
                    </a:moveTo>
                    <a:lnTo>
                      <a:pt x="31" y="0"/>
                    </a:lnTo>
                    <a:lnTo>
                      <a:pt x="36" y="0"/>
                    </a:lnTo>
                    <a:lnTo>
                      <a:pt x="33" y="3"/>
                    </a:lnTo>
                    <a:lnTo>
                      <a:pt x="33" y="7"/>
                    </a:lnTo>
                    <a:lnTo>
                      <a:pt x="29" y="4"/>
                    </a:lnTo>
                    <a:lnTo>
                      <a:pt x="29" y="2"/>
                    </a:lnTo>
                    <a:lnTo>
                      <a:pt x="29" y="2"/>
                    </a:lnTo>
                    <a:lnTo>
                      <a:pt x="29" y="2"/>
                    </a:lnTo>
                    <a:close/>
                    <a:moveTo>
                      <a:pt x="4" y="8"/>
                    </a:moveTo>
                    <a:lnTo>
                      <a:pt x="6" y="10"/>
                    </a:lnTo>
                    <a:lnTo>
                      <a:pt x="0" y="11"/>
                    </a:lnTo>
                    <a:lnTo>
                      <a:pt x="4" y="8"/>
                    </a:lnTo>
                    <a:lnTo>
                      <a:pt x="4" y="8"/>
                    </a:lnTo>
                    <a:close/>
                  </a:path>
                </a:pathLst>
              </a:custGeom>
              <a:solidFill>
                <a:schemeClr val="accent2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052" name="Freeform 54"/>
              <p:cNvSpPr>
                <a:spLocks noEditPoints="1"/>
              </p:cNvSpPr>
              <p:nvPr userDrawn="1"/>
            </p:nvSpPr>
            <p:spPr bwMode="auto">
              <a:xfrm>
                <a:off x="2251" y="2591"/>
                <a:ext cx="40" cy="13"/>
              </a:xfrm>
              <a:custGeom>
                <a:avLst/>
                <a:gdLst>
                  <a:gd name="T0" fmla="*/ 31 w 40"/>
                  <a:gd name="T1" fmla="*/ 10 h 13"/>
                  <a:gd name="T2" fmla="*/ 34 w 40"/>
                  <a:gd name="T3" fmla="*/ 7 h 13"/>
                  <a:gd name="T4" fmla="*/ 40 w 40"/>
                  <a:gd name="T5" fmla="*/ 9 h 13"/>
                  <a:gd name="T6" fmla="*/ 38 w 40"/>
                  <a:gd name="T7" fmla="*/ 10 h 13"/>
                  <a:gd name="T8" fmla="*/ 31 w 40"/>
                  <a:gd name="T9" fmla="*/ 10 h 13"/>
                  <a:gd name="T10" fmla="*/ 31 w 40"/>
                  <a:gd name="T11" fmla="*/ 10 h 13"/>
                  <a:gd name="T12" fmla="*/ 31 w 40"/>
                  <a:gd name="T13" fmla="*/ 10 h 13"/>
                  <a:gd name="T14" fmla="*/ 28 w 40"/>
                  <a:gd name="T15" fmla="*/ 1 h 13"/>
                  <a:gd name="T16" fmla="*/ 26 w 40"/>
                  <a:gd name="T17" fmla="*/ 0 h 13"/>
                  <a:gd name="T18" fmla="*/ 18 w 40"/>
                  <a:gd name="T19" fmla="*/ 1 h 13"/>
                  <a:gd name="T20" fmla="*/ 5 w 40"/>
                  <a:gd name="T21" fmla="*/ 0 h 13"/>
                  <a:gd name="T22" fmla="*/ 4 w 40"/>
                  <a:gd name="T23" fmla="*/ 2 h 13"/>
                  <a:gd name="T24" fmla="*/ 0 w 40"/>
                  <a:gd name="T25" fmla="*/ 4 h 13"/>
                  <a:gd name="T26" fmla="*/ 1 w 40"/>
                  <a:gd name="T27" fmla="*/ 6 h 13"/>
                  <a:gd name="T28" fmla="*/ 0 w 40"/>
                  <a:gd name="T29" fmla="*/ 8 h 13"/>
                  <a:gd name="T30" fmla="*/ 2 w 40"/>
                  <a:gd name="T31" fmla="*/ 11 h 13"/>
                  <a:gd name="T32" fmla="*/ 10 w 40"/>
                  <a:gd name="T33" fmla="*/ 12 h 13"/>
                  <a:gd name="T34" fmla="*/ 12 w 40"/>
                  <a:gd name="T35" fmla="*/ 13 h 13"/>
                  <a:gd name="T36" fmla="*/ 19 w 40"/>
                  <a:gd name="T37" fmla="*/ 11 h 13"/>
                  <a:gd name="T38" fmla="*/ 22 w 40"/>
                  <a:gd name="T39" fmla="*/ 12 h 13"/>
                  <a:gd name="T40" fmla="*/ 28 w 40"/>
                  <a:gd name="T41" fmla="*/ 9 h 13"/>
                  <a:gd name="T42" fmla="*/ 32 w 40"/>
                  <a:gd name="T43" fmla="*/ 4 h 13"/>
                  <a:gd name="T44" fmla="*/ 29 w 40"/>
                  <a:gd name="T45" fmla="*/ 3 h 13"/>
                  <a:gd name="T46" fmla="*/ 28 w 40"/>
                  <a:gd name="T47" fmla="*/ 1 h 13"/>
                  <a:gd name="T48" fmla="*/ 28 w 40"/>
                  <a:gd name="T49" fmla="*/ 1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40" h="13">
                    <a:moveTo>
                      <a:pt x="31" y="10"/>
                    </a:moveTo>
                    <a:lnTo>
                      <a:pt x="34" y="7"/>
                    </a:lnTo>
                    <a:lnTo>
                      <a:pt x="40" y="9"/>
                    </a:lnTo>
                    <a:lnTo>
                      <a:pt x="38" y="10"/>
                    </a:lnTo>
                    <a:lnTo>
                      <a:pt x="31" y="10"/>
                    </a:lnTo>
                    <a:lnTo>
                      <a:pt x="31" y="10"/>
                    </a:lnTo>
                    <a:lnTo>
                      <a:pt x="31" y="10"/>
                    </a:lnTo>
                    <a:close/>
                    <a:moveTo>
                      <a:pt x="28" y="1"/>
                    </a:moveTo>
                    <a:lnTo>
                      <a:pt x="26" y="0"/>
                    </a:lnTo>
                    <a:lnTo>
                      <a:pt x="18" y="1"/>
                    </a:lnTo>
                    <a:lnTo>
                      <a:pt x="5" y="0"/>
                    </a:lnTo>
                    <a:lnTo>
                      <a:pt x="4" y="2"/>
                    </a:lnTo>
                    <a:lnTo>
                      <a:pt x="0" y="4"/>
                    </a:lnTo>
                    <a:lnTo>
                      <a:pt x="1" y="6"/>
                    </a:lnTo>
                    <a:lnTo>
                      <a:pt x="0" y="8"/>
                    </a:lnTo>
                    <a:lnTo>
                      <a:pt x="2" y="11"/>
                    </a:lnTo>
                    <a:lnTo>
                      <a:pt x="10" y="12"/>
                    </a:lnTo>
                    <a:lnTo>
                      <a:pt x="12" y="13"/>
                    </a:lnTo>
                    <a:lnTo>
                      <a:pt x="19" y="11"/>
                    </a:lnTo>
                    <a:lnTo>
                      <a:pt x="22" y="12"/>
                    </a:lnTo>
                    <a:lnTo>
                      <a:pt x="28" y="9"/>
                    </a:lnTo>
                    <a:lnTo>
                      <a:pt x="32" y="4"/>
                    </a:lnTo>
                    <a:lnTo>
                      <a:pt x="29" y="3"/>
                    </a:lnTo>
                    <a:lnTo>
                      <a:pt x="28" y="1"/>
                    </a:lnTo>
                    <a:lnTo>
                      <a:pt x="28" y="1"/>
                    </a:lnTo>
                    <a:close/>
                  </a:path>
                </a:pathLst>
              </a:custGeom>
              <a:solidFill>
                <a:schemeClr val="accent2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053" name="Freeform 55"/>
              <p:cNvSpPr>
                <a:spLocks noEditPoints="1"/>
              </p:cNvSpPr>
              <p:nvPr userDrawn="1"/>
            </p:nvSpPr>
            <p:spPr bwMode="auto">
              <a:xfrm>
                <a:off x="2164" y="2564"/>
                <a:ext cx="71" cy="45"/>
              </a:xfrm>
              <a:custGeom>
                <a:avLst/>
                <a:gdLst>
                  <a:gd name="T0" fmla="*/ 65 w 71"/>
                  <a:gd name="T1" fmla="*/ 34 h 45"/>
                  <a:gd name="T2" fmla="*/ 66 w 71"/>
                  <a:gd name="T3" fmla="*/ 36 h 45"/>
                  <a:gd name="T4" fmla="*/ 62 w 71"/>
                  <a:gd name="T5" fmla="*/ 32 h 45"/>
                  <a:gd name="T6" fmla="*/ 63 w 71"/>
                  <a:gd name="T7" fmla="*/ 32 h 45"/>
                  <a:gd name="T8" fmla="*/ 8 w 71"/>
                  <a:gd name="T9" fmla="*/ 4 h 45"/>
                  <a:gd name="T10" fmla="*/ 6 w 71"/>
                  <a:gd name="T11" fmla="*/ 9 h 45"/>
                  <a:gd name="T12" fmla="*/ 7 w 71"/>
                  <a:gd name="T13" fmla="*/ 16 h 45"/>
                  <a:gd name="T14" fmla="*/ 3 w 71"/>
                  <a:gd name="T15" fmla="*/ 19 h 45"/>
                  <a:gd name="T16" fmla="*/ 5 w 71"/>
                  <a:gd name="T17" fmla="*/ 25 h 45"/>
                  <a:gd name="T18" fmla="*/ 0 w 71"/>
                  <a:gd name="T19" fmla="*/ 32 h 45"/>
                  <a:gd name="T20" fmla="*/ 2 w 71"/>
                  <a:gd name="T21" fmla="*/ 34 h 45"/>
                  <a:gd name="T22" fmla="*/ 3 w 71"/>
                  <a:gd name="T23" fmla="*/ 42 h 45"/>
                  <a:gd name="T24" fmla="*/ 8 w 71"/>
                  <a:gd name="T25" fmla="*/ 45 h 45"/>
                  <a:gd name="T26" fmla="*/ 12 w 71"/>
                  <a:gd name="T27" fmla="*/ 40 h 45"/>
                  <a:gd name="T28" fmla="*/ 16 w 71"/>
                  <a:gd name="T29" fmla="*/ 33 h 45"/>
                  <a:gd name="T30" fmla="*/ 20 w 71"/>
                  <a:gd name="T31" fmla="*/ 32 h 45"/>
                  <a:gd name="T32" fmla="*/ 25 w 71"/>
                  <a:gd name="T33" fmla="*/ 28 h 45"/>
                  <a:gd name="T34" fmla="*/ 28 w 71"/>
                  <a:gd name="T35" fmla="*/ 33 h 45"/>
                  <a:gd name="T36" fmla="*/ 34 w 71"/>
                  <a:gd name="T37" fmla="*/ 33 h 45"/>
                  <a:gd name="T38" fmla="*/ 45 w 71"/>
                  <a:gd name="T39" fmla="*/ 27 h 45"/>
                  <a:gd name="T40" fmla="*/ 53 w 71"/>
                  <a:gd name="T41" fmla="*/ 27 h 45"/>
                  <a:gd name="T42" fmla="*/ 60 w 71"/>
                  <a:gd name="T43" fmla="*/ 29 h 45"/>
                  <a:gd name="T44" fmla="*/ 67 w 71"/>
                  <a:gd name="T45" fmla="*/ 28 h 45"/>
                  <a:gd name="T46" fmla="*/ 71 w 71"/>
                  <a:gd name="T47" fmla="*/ 25 h 45"/>
                  <a:gd name="T48" fmla="*/ 62 w 71"/>
                  <a:gd name="T49" fmla="*/ 19 h 45"/>
                  <a:gd name="T50" fmla="*/ 54 w 71"/>
                  <a:gd name="T51" fmla="*/ 17 h 45"/>
                  <a:gd name="T52" fmla="*/ 47 w 71"/>
                  <a:gd name="T53" fmla="*/ 15 h 45"/>
                  <a:gd name="T54" fmla="*/ 38 w 71"/>
                  <a:gd name="T55" fmla="*/ 12 h 45"/>
                  <a:gd name="T56" fmla="*/ 46 w 71"/>
                  <a:gd name="T57" fmla="*/ 13 h 45"/>
                  <a:gd name="T58" fmla="*/ 56 w 71"/>
                  <a:gd name="T59" fmla="*/ 12 h 45"/>
                  <a:gd name="T60" fmla="*/ 53 w 71"/>
                  <a:gd name="T61" fmla="*/ 11 h 45"/>
                  <a:gd name="T62" fmla="*/ 43 w 71"/>
                  <a:gd name="T63" fmla="*/ 4 h 45"/>
                  <a:gd name="T64" fmla="*/ 38 w 71"/>
                  <a:gd name="T65" fmla="*/ 4 h 45"/>
                  <a:gd name="T66" fmla="*/ 21 w 71"/>
                  <a:gd name="T67" fmla="*/ 0 h 45"/>
                  <a:gd name="T68" fmla="*/ 15 w 71"/>
                  <a:gd name="T69" fmla="*/ 0 h 45"/>
                  <a:gd name="T70" fmla="*/ 8 w 71"/>
                  <a:gd name="T71" fmla="*/ 4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71" h="45">
                    <a:moveTo>
                      <a:pt x="63" y="32"/>
                    </a:moveTo>
                    <a:lnTo>
                      <a:pt x="65" y="34"/>
                    </a:lnTo>
                    <a:lnTo>
                      <a:pt x="68" y="34"/>
                    </a:lnTo>
                    <a:lnTo>
                      <a:pt x="66" y="36"/>
                    </a:lnTo>
                    <a:lnTo>
                      <a:pt x="63" y="35"/>
                    </a:lnTo>
                    <a:lnTo>
                      <a:pt x="62" y="32"/>
                    </a:lnTo>
                    <a:lnTo>
                      <a:pt x="63" y="32"/>
                    </a:lnTo>
                    <a:lnTo>
                      <a:pt x="63" y="32"/>
                    </a:lnTo>
                    <a:lnTo>
                      <a:pt x="63" y="32"/>
                    </a:lnTo>
                    <a:close/>
                    <a:moveTo>
                      <a:pt x="8" y="4"/>
                    </a:moveTo>
                    <a:lnTo>
                      <a:pt x="8" y="6"/>
                    </a:lnTo>
                    <a:lnTo>
                      <a:pt x="6" y="9"/>
                    </a:lnTo>
                    <a:lnTo>
                      <a:pt x="8" y="12"/>
                    </a:lnTo>
                    <a:lnTo>
                      <a:pt x="7" y="16"/>
                    </a:lnTo>
                    <a:lnTo>
                      <a:pt x="4" y="18"/>
                    </a:lnTo>
                    <a:lnTo>
                      <a:pt x="3" y="19"/>
                    </a:lnTo>
                    <a:lnTo>
                      <a:pt x="5" y="23"/>
                    </a:lnTo>
                    <a:lnTo>
                      <a:pt x="5" y="25"/>
                    </a:lnTo>
                    <a:lnTo>
                      <a:pt x="5" y="27"/>
                    </a:lnTo>
                    <a:lnTo>
                      <a:pt x="0" y="32"/>
                    </a:lnTo>
                    <a:lnTo>
                      <a:pt x="0" y="34"/>
                    </a:lnTo>
                    <a:lnTo>
                      <a:pt x="2" y="34"/>
                    </a:lnTo>
                    <a:lnTo>
                      <a:pt x="4" y="38"/>
                    </a:lnTo>
                    <a:lnTo>
                      <a:pt x="3" y="42"/>
                    </a:lnTo>
                    <a:lnTo>
                      <a:pt x="7" y="43"/>
                    </a:lnTo>
                    <a:lnTo>
                      <a:pt x="8" y="45"/>
                    </a:lnTo>
                    <a:lnTo>
                      <a:pt x="10" y="45"/>
                    </a:lnTo>
                    <a:lnTo>
                      <a:pt x="12" y="40"/>
                    </a:lnTo>
                    <a:lnTo>
                      <a:pt x="16" y="34"/>
                    </a:lnTo>
                    <a:lnTo>
                      <a:pt x="16" y="33"/>
                    </a:lnTo>
                    <a:lnTo>
                      <a:pt x="17" y="30"/>
                    </a:lnTo>
                    <a:lnTo>
                      <a:pt x="20" y="32"/>
                    </a:lnTo>
                    <a:lnTo>
                      <a:pt x="22" y="32"/>
                    </a:lnTo>
                    <a:lnTo>
                      <a:pt x="25" y="28"/>
                    </a:lnTo>
                    <a:lnTo>
                      <a:pt x="27" y="29"/>
                    </a:lnTo>
                    <a:lnTo>
                      <a:pt x="28" y="33"/>
                    </a:lnTo>
                    <a:lnTo>
                      <a:pt x="30" y="34"/>
                    </a:lnTo>
                    <a:lnTo>
                      <a:pt x="34" y="33"/>
                    </a:lnTo>
                    <a:lnTo>
                      <a:pt x="39" y="28"/>
                    </a:lnTo>
                    <a:lnTo>
                      <a:pt x="45" y="27"/>
                    </a:lnTo>
                    <a:lnTo>
                      <a:pt x="51" y="28"/>
                    </a:lnTo>
                    <a:lnTo>
                      <a:pt x="53" y="27"/>
                    </a:lnTo>
                    <a:lnTo>
                      <a:pt x="56" y="29"/>
                    </a:lnTo>
                    <a:lnTo>
                      <a:pt x="60" y="29"/>
                    </a:lnTo>
                    <a:lnTo>
                      <a:pt x="66" y="31"/>
                    </a:lnTo>
                    <a:lnTo>
                      <a:pt x="67" y="28"/>
                    </a:lnTo>
                    <a:lnTo>
                      <a:pt x="69" y="28"/>
                    </a:lnTo>
                    <a:lnTo>
                      <a:pt x="71" y="25"/>
                    </a:lnTo>
                    <a:lnTo>
                      <a:pt x="69" y="23"/>
                    </a:lnTo>
                    <a:lnTo>
                      <a:pt x="62" y="19"/>
                    </a:lnTo>
                    <a:lnTo>
                      <a:pt x="59" y="19"/>
                    </a:lnTo>
                    <a:lnTo>
                      <a:pt x="54" y="17"/>
                    </a:lnTo>
                    <a:lnTo>
                      <a:pt x="52" y="17"/>
                    </a:lnTo>
                    <a:lnTo>
                      <a:pt x="47" y="15"/>
                    </a:lnTo>
                    <a:lnTo>
                      <a:pt x="41" y="12"/>
                    </a:lnTo>
                    <a:lnTo>
                      <a:pt x="38" y="12"/>
                    </a:lnTo>
                    <a:lnTo>
                      <a:pt x="40" y="11"/>
                    </a:lnTo>
                    <a:lnTo>
                      <a:pt x="46" y="13"/>
                    </a:lnTo>
                    <a:lnTo>
                      <a:pt x="53" y="13"/>
                    </a:lnTo>
                    <a:lnTo>
                      <a:pt x="56" y="12"/>
                    </a:lnTo>
                    <a:lnTo>
                      <a:pt x="54" y="10"/>
                    </a:lnTo>
                    <a:lnTo>
                      <a:pt x="53" y="11"/>
                    </a:lnTo>
                    <a:lnTo>
                      <a:pt x="46" y="9"/>
                    </a:lnTo>
                    <a:lnTo>
                      <a:pt x="43" y="4"/>
                    </a:lnTo>
                    <a:lnTo>
                      <a:pt x="40" y="4"/>
                    </a:lnTo>
                    <a:lnTo>
                      <a:pt x="38" y="4"/>
                    </a:lnTo>
                    <a:lnTo>
                      <a:pt x="36" y="3"/>
                    </a:lnTo>
                    <a:lnTo>
                      <a:pt x="21" y="0"/>
                    </a:lnTo>
                    <a:lnTo>
                      <a:pt x="19" y="1"/>
                    </a:lnTo>
                    <a:lnTo>
                      <a:pt x="15" y="0"/>
                    </a:lnTo>
                    <a:lnTo>
                      <a:pt x="10" y="1"/>
                    </a:lnTo>
                    <a:lnTo>
                      <a:pt x="8" y="4"/>
                    </a:lnTo>
                    <a:lnTo>
                      <a:pt x="8" y="4"/>
                    </a:lnTo>
                    <a:close/>
                  </a:path>
                </a:pathLst>
              </a:custGeom>
              <a:solidFill>
                <a:schemeClr val="accent2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054" name="Freeform 56"/>
              <p:cNvSpPr>
                <a:spLocks noEditPoints="1"/>
              </p:cNvSpPr>
              <p:nvPr userDrawn="1"/>
            </p:nvSpPr>
            <p:spPr bwMode="auto">
              <a:xfrm>
                <a:off x="2120" y="2559"/>
                <a:ext cx="52" cy="41"/>
              </a:xfrm>
              <a:custGeom>
                <a:avLst/>
                <a:gdLst>
                  <a:gd name="T0" fmla="*/ 46 w 54"/>
                  <a:gd name="T1" fmla="*/ 39 h 43"/>
                  <a:gd name="T2" fmla="*/ 51 w 54"/>
                  <a:gd name="T3" fmla="*/ 32 h 43"/>
                  <a:gd name="T4" fmla="*/ 49 w 54"/>
                  <a:gd name="T5" fmla="*/ 25 h 43"/>
                  <a:gd name="T6" fmla="*/ 53 w 54"/>
                  <a:gd name="T7" fmla="*/ 22 h 43"/>
                  <a:gd name="T8" fmla="*/ 52 w 54"/>
                  <a:gd name="T9" fmla="*/ 15 h 43"/>
                  <a:gd name="T10" fmla="*/ 54 w 54"/>
                  <a:gd name="T11" fmla="*/ 10 h 43"/>
                  <a:gd name="T12" fmla="*/ 50 w 54"/>
                  <a:gd name="T13" fmla="*/ 9 h 43"/>
                  <a:gd name="T14" fmla="*/ 44 w 54"/>
                  <a:gd name="T15" fmla="*/ 7 h 43"/>
                  <a:gd name="T16" fmla="*/ 33 w 54"/>
                  <a:gd name="T17" fmla="*/ 7 h 43"/>
                  <a:gd name="T18" fmla="*/ 23 w 54"/>
                  <a:gd name="T19" fmla="*/ 6 h 43"/>
                  <a:gd name="T20" fmla="*/ 25 w 54"/>
                  <a:gd name="T21" fmla="*/ 10 h 43"/>
                  <a:gd name="T22" fmla="*/ 35 w 54"/>
                  <a:gd name="T23" fmla="*/ 15 h 43"/>
                  <a:gd name="T24" fmla="*/ 35 w 54"/>
                  <a:gd name="T25" fmla="*/ 23 h 43"/>
                  <a:gd name="T26" fmla="*/ 40 w 54"/>
                  <a:gd name="T27" fmla="*/ 27 h 43"/>
                  <a:gd name="T28" fmla="*/ 43 w 54"/>
                  <a:gd name="T29" fmla="*/ 33 h 43"/>
                  <a:gd name="T30" fmla="*/ 34 w 54"/>
                  <a:gd name="T31" fmla="*/ 34 h 43"/>
                  <a:gd name="T32" fmla="*/ 26 w 54"/>
                  <a:gd name="T33" fmla="*/ 33 h 43"/>
                  <a:gd name="T34" fmla="*/ 17 w 54"/>
                  <a:gd name="T35" fmla="*/ 34 h 43"/>
                  <a:gd name="T36" fmla="*/ 15 w 54"/>
                  <a:gd name="T37" fmla="*/ 31 h 43"/>
                  <a:gd name="T38" fmla="*/ 6 w 54"/>
                  <a:gd name="T39" fmla="*/ 30 h 43"/>
                  <a:gd name="T40" fmla="*/ 0 w 54"/>
                  <a:gd name="T41" fmla="*/ 34 h 43"/>
                  <a:gd name="T42" fmla="*/ 6 w 54"/>
                  <a:gd name="T43" fmla="*/ 37 h 43"/>
                  <a:gd name="T44" fmla="*/ 13 w 54"/>
                  <a:gd name="T45" fmla="*/ 43 h 43"/>
                  <a:gd name="T46" fmla="*/ 16 w 54"/>
                  <a:gd name="T47" fmla="*/ 39 h 43"/>
                  <a:gd name="T48" fmla="*/ 28 w 54"/>
                  <a:gd name="T49" fmla="*/ 40 h 43"/>
                  <a:gd name="T50" fmla="*/ 40 w 54"/>
                  <a:gd name="T51" fmla="*/ 39 h 43"/>
                  <a:gd name="T52" fmla="*/ 46 w 54"/>
                  <a:gd name="T53" fmla="*/ 41 h 43"/>
                  <a:gd name="T54" fmla="*/ 35 w 54"/>
                  <a:gd name="T55" fmla="*/ 0 h 43"/>
                  <a:gd name="T56" fmla="*/ 34 w 54"/>
                  <a:gd name="T57" fmla="*/ 4 h 43"/>
                  <a:gd name="T58" fmla="*/ 24 w 54"/>
                  <a:gd name="T59" fmla="*/ 25 h 43"/>
                  <a:gd name="T60" fmla="*/ 31 w 54"/>
                  <a:gd name="T61" fmla="*/ 26 h 43"/>
                  <a:gd name="T62" fmla="*/ 27 w 54"/>
                  <a:gd name="T63" fmla="*/ 27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54" h="43">
                    <a:moveTo>
                      <a:pt x="46" y="41"/>
                    </a:moveTo>
                    <a:cubicBezTo>
                      <a:pt x="46" y="39"/>
                      <a:pt x="46" y="39"/>
                      <a:pt x="46" y="39"/>
                    </a:cubicBezTo>
                    <a:cubicBezTo>
                      <a:pt x="51" y="34"/>
                      <a:pt x="51" y="34"/>
                      <a:pt x="51" y="34"/>
                    </a:cubicBezTo>
                    <a:cubicBezTo>
                      <a:pt x="51" y="32"/>
                      <a:pt x="51" y="32"/>
                      <a:pt x="51" y="32"/>
                    </a:cubicBezTo>
                    <a:cubicBezTo>
                      <a:pt x="51" y="29"/>
                      <a:pt x="51" y="29"/>
                      <a:pt x="51" y="29"/>
                    </a:cubicBezTo>
                    <a:cubicBezTo>
                      <a:pt x="49" y="25"/>
                      <a:pt x="49" y="25"/>
                      <a:pt x="49" y="25"/>
                    </a:cubicBezTo>
                    <a:cubicBezTo>
                      <a:pt x="50" y="24"/>
                      <a:pt x="50" y="24"/>
                      <a:pt x="50" y="24"/>
                    </a:cubicBezTo>
                    <a:cubicBezTo>
                      <a:pt x="53" y="22"/>
                      <a:pt x="53" y="22"/>
                      <a:pt x="53" y="22"/>
                    </a:cubicBezTo>
                    <a:cubicBezTo>
                      <a:pt x="54" y="18"/>
                      <a:pt x="54" y="18"/>
                      <a:pt x="54" y="18"/>
                    </a:cubicBezTo>
                    <a:cubicBezTo>
                      <a:pt x="52" y="15"/>
                      <a:pt x="52" y="15"/>
                      <a:pt x="52" y="15"/>
                    </a:cubicBezTo>
                    <a:cubicBezTo>
                      <a:pt x="54" y="12"/>
                      <a:pt x="54" y="12"/>
                      <a:pt x="54" y="12"/>
                    </a:cubicBezTo>
                    <a:cubicBezTo>
                      <a:pt x="54" y="10"/>
                      <a:pt x="54" y="10"/>
                      <a:pt x="54" y="10"/>
                    </a:cubicBezTo>
                    <a:cubicBezTo>
                      <a:pt x="54" y="10"/>
                      <a:pt x="54" y="10"/>
                      <a:pt x="54" y="10"/>
                    </a:cubicBezTo>
                    <a:cubicBezTo>
                      <a:pt x="50" y="9"/>
                      <a:pt x="50" y="9"/>
                      <a:pt x="50" y="9"/>
                    </a:cubicBezTo>
                    <a:cubicBezTo>
                      <a:pt x="47" y="10"/>
                      <a:pt x="47" y="10"/>
                      <a:pt x="47" y="10"/>
                    </a:cubicBezTo>
                    <a:cubicBezTo>
                      <a:pt x="44" y="7"/>
                      <a:pt x="44" y="7"/>
                      <a:pt x="44" y="7"/>
                    </a:cubicBezTo>
                    <a:cubicBezTo>
                      <a:pt x="36" y="6"/>
                      <a:pt x="36" y="6"/>
                      <a:pt x="36" y="6"/>
                    </a:cubicBezTo>
                    <a:cubicBezTo>
                      <a:pt x="33" y="7"/>
                      <a:pt x="33" y="7"/>
                      <a:pt x="33" y="7"/>
                    </a:cubicBezTo>
                    <a:cubicBezTo>
                      <a:pt x="30" y="6"/>
                      <a:pt x="30" y="6"/>
                      <a:pt x="30" y="6"/>
                    </a:cubicBezTo>
                    <a:cubicBezTo>
                      <a:pt x="23" y="6"/>
                      <a:pt x="23" y="6"/>
                      <a:pt x="23" y="6"/>
                    </a:cubicBezTo>
                    <a:cubicBezTo>
                      <a:pt x="22" y="8"/>
                      <a:pt x="22" y="8"/>
                      <a:pt x="22" y="8"/>
                    </a:cubicBezTo>
                    <a:cubicBezTo>
                      <a:pt x="25" y="10"/>
                      <a:pt x="25" y="10"/>
                      <a:pt x="25" y="10"/>
                    </a:cubicBezTo>
                    <a:cubicBezTo>
                      <a:pt x="36" y="14"/>
                      <a:pt x="36" y="14"/>
                      <a:pt x="36" y="14"/>
                    </a:cubicBezTo>
                    <a:cubicBezTo>
                      <a:pt x="35" y="15"/>
                      <a:pt x="35" y="15"/>
                      <a:pt x="35" y="15"/>
                    </a:cubicBezTo>
                    <a:cubicBezTo>
                      <a:pt x="36" y="18"/>
                      <a:pt x="36" y="18"/>
                      <a:pt x="36" y="18"/>
                    </a:cubicBezTo>
                    <a:cubicBezTo>
                      <a:pt x="35" y="23"/>
                      <a:pt x="35" y="23"/>
                      <a:pt x="35" y="23"/>
                    </a:cubicBezTo>
                    <a:cubicBezTo>
                      <a:pt x="36" y="26"/>
                      <a:pt x="36" y="26"/>
                      <a:pt x="36" y="26"/>
                    </a:cubicBezTo>
                    <a:cubicBezTo>
                      <a:pt x="40" y="27"/>
                      <a:pt x="40" y="27"/>
                      <a:pt x="40" y="27"/>
                    </a:cubicBezTo>
                    <a:cubicBezTo>
                      <a:pt x="44" y="31"/>
                      <a:pt x="44" y="31"/>
                      <a:pt x="44" y="31"/>
                    </a:cubicBezTo>
                    <a:cubicBezTo>
                      <a:pt x="43" y="33"/>
                      <a:pt x="43" y="33"/>
                      <a:pt x="43" y="33"/>
                    </a:cubicBezTo>
                    <a:cubicBezTo>
                      <a:pt x="35" y="33"/>
                      <a:pt x="35" y="33"/>
                      <a:pt x="35" y="33"/>
                    </a:cubicBezTo>
                    <a:cubicBezTo>
                      <a:pt x="34" y="34"/>
                      <a:pt x="34" y="34"/>
                      <a:pt x="34" y="34"/>
                    </a:cubicBezTo>
                    <a:cubicBezTo>
                      <a:pt x="30" y="33"/>
                      <a:pt x="30" y="33"/>
                      <a:pt x="30" y="33"/>
                    </a:cubicBezTo>
                    <a:cubicBezTo>
                      <a:pt x="26" y="33"/>
                      <a:pt x="26" y="33"/>
                      <a:pt x="26" y="33"/>
                    </a:cubicBezTo>
                    <a:cubicBezTo>
                      <a:pt x="22" y="32"/>
                      <a:pt x="22" y="32"/>
                      <a:pt x="22" y="32"/>
                    </a:cubicBezTo>
                    <a:cubicBezTo>
                      <a:pt x="17" y="34"/>
                      <a:pt x="17" y="34"/>
                      <a:pt x="17" y="34"/>
                    </a:cubicBezTo>
                    <a:cubicBezTo>
                      <a:pt x="17" y="32"/>
                      <a:pt x="17" y="32"/>
                      <a:pt x="17" y="32"/>
                    </a:cubicBezTo>
                    <a:cubicBezTo>
                      <a:pt x="15" y="31"/>
                      <a:pt x="15" y="31"/>
                      <a:pt x="15" y="31"/>
                    </a:cubicBezTo>
                    <a:cubicBezTo>
                      <a:pt x="9" y="33"/>
                      <a:pt x="9" y="33"/>
                      <a:pt x="9" y="33"/>
                    </a:cubicBezTo>
                    <a:cubicBezTo>
                      <a:pt x="6" y="30"/>
                      <a:pt x="6" y="30"/>
                      <a:pt x="6" y="30"/>
                    </a:cubicBezTo>
                    <a:cubicBezTo>
                      <a:pt x="2" y="32"/>
                      <a:pt x="2" y="32"/>
                      <a:pt x="2" y="32"/>
                    </a:cubicBezTo>
                    <a:cubicBezTo>
                      <a:pt x="0" y="34"/>
                      <a:pt x="0" y="34"/>
                      <a:pt x="0" y="34"/>
                    </a:cubicBezTo>
                    <a:cubicBezTo>
                      <a:pt x="2" y="37"/>
                      <a:pt x="2" y="37"/>
                      <a:pt x="2" y="37"/>
                    </a:cubicBezTo>
                    <a:cubicBezTo>
                      <a:pt x="6" y="37"/>
                      <a:pt x="6" y="37"/>
                      <a:pt x="6" y="37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13" y="43"/>
                      <a:pt x="13" y="43"/>
                      <a:pt x="13" y="43"/>
                    </a:cubicBezTo>
                    <a:cubicBezTo>
                      <a:pt x="14" y="40"/>
                      <a:pt x="14" y="40"/>
                      <a:pt x="14" y="40"/>
                    </a:cubicBezTo>
                    <a:cubicBezTo>
                      <a:pt x="16" y="39"/>
                      <a:pt x="16" y="39"/>
                      <a:pt x="16" y="39"/>
                    </a:cubicBezTo>
                    <a:cubicBezTo>
                      <a:pt x="24" y="39"/>
                      <a:pt x="24" y="39"/>
                      <a:pt x="24" y="39"/>
                    </a:cubicBezTo>
                    <a:cubicBezTo>
                      <a:pt x="28" y="40"/>
                      <a:pt x="28" y="40"/>
                      <a:pt x="28" y="40"/>
                    </a:cubicBezTo>
                    <a:cubicBezTo>
                      <a:pt x="38" y="41"/>
                      <a:pt x="38" y="41"/>
                      <a:pt x="38" y="41"/>
                    </a:cubicBezTo>
                    <a:cubicBezTo>
                      <a:pt x="40" y="39"/>
                      <a:pt x="40" y="39"/>
                      <a:pt x="40" y="39"/>
                    </a:cubicBezTo>
                    <a:cubicBezTo>
                      <a:pt x="43" y="41"/>
                      <a:pt x="43" y="41"/>
                      <a:pt x="43" y="41"/>
                    </a:cubicBezTo>
                    <a:cubicBezTo>
                      <a:pt x="46" y="41"/>
                      <a:pt x="46" y="41"/>
                      <a:pt x="46" y="41"/>
                    </a:cubicBezTo>
                    <a:close/>
                    <a:moveTo>
                      <a:pt x="31" y="2"/>
                    </a:moveTo>
                    <a:cubicBezTo>
                      <a:pt x="35" y="0"/>
                      <a:pt x="35" y="0"/>
                      <a:pt x="35" y="0"/>
                    </a:cubicBezTo>
                    <a:cubicBezTo>
                      <a:pt x="41" y="4"/>
                      <a:pt x="41" y="4"/>
                      <a:pt x="41" y="4"/>
                    </a:cubicBezTo>
                    <a:cubicBezTo>
                      <a:pt x="34" y="4"/>
                      <a:pt x="34" y="4"/>
                      <a:pt x="34" y="4"/>
                    </a:cubicBezTo>
                    <a:cubicBezTo>
                      <a:pt x="31" y="2"/>
                      <a:pt x="31" y="2"/>
                      <a:pt x="31" y="2"/>
                    </a:cubicBezTo>
                    <a:close/>
                    <a:moveTo>
                      <a:pt x="24" y="25"/>
                    </a:moveTo>
                    <a:cubicBezTo>
                      <a:pt x="27" y="23"/>
                      <a:pt x="27" y="23"/>
                      <a:pt x="27" y="23"/>
                    </a:cubicBezTo>
                    <a:cubicBezTo>
                      <a:pt x="31" y="26"/>
                      <a:pt x="31" y="26"/>
                      <a:pt x="31" y="26"/>
                    </a:cubicBezTo>
                    <a:cubicBezTo>
                      <a:pt x="32" y="29"/>
                      <a:pt x="32" y="29"/>
                      <a:pt x="32" y="29"/>
                    </a:cubicBezTo>
                    <a:cubicBezTo>
                      <a:pt x="27" y="27"/>
                      <a:pt x="27" y="27"/>
                      <a:pt x="27" y="27"/>
                    </a:cubicBezTo>
                    <a:lnTo>
                      <a:pt x="24" y="25"/>
                    </a:lnTo>
                    <a:close/>
                  </a:path>
                </a:pathLst>
              </a:custGeom>
              <a:solidFill>
                <a:schemeClr val="accent2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055" name="Freeform 57"/>
              <p:cNvSpPr>
                <a:spLocks noEditPoints="1"/>
              </p:cNvSpPr>
              <p:nvPr userDrawn="1"/>
            </p:nvSpPr>
            <p:spPr bwMode="auto">
              <a:xfrm>
                <a:off x="1932" y="2500"/>
                <a:ext cx="196" cy="67"/>
              </a:xfrm>
              <a:custGeom>
                <a:avLst/>
                <a:gdLst>
                  <a:gd name="T0" fmla="*/ 41 w 196"/>
                  <a:gd name="T1" fmla="*/ 25 h 67"/>
                  <a:gd name="T2" fmla="*/ 39 w 196"/>
                  <a:gd name="T3" fmla="*/ 34 h 67"/>
                  <a:gd name="T4" fmla="*/ 36 w 196"/>
                  <a:gd name="T5" fmla="*/ 31 h 67"/>
                  <a:gd name="T6" fmla="*/ 38 w 196"/>
                  <a:gd name="T7" fmla="*/ 29 h 67"/>
                  <a:gd name="T8" fmla="*/ 37 w 196"/>
                  <a:gd name="T9" fmla="*/ 27 h 67"/>
                  <a:gd name="T10" fmla="*/ 12 w 196"/>
                  <a:gd name="T11" fmla="*/ 23 h 67"/>
                  <a:gd name="T12" fmla="*/ 0 w 196"/>
                  <a:gd name="T13" fmla="*/ 24 h 67"/>
                  <a:gd name="T14" fmla="*/ 6 w 196"/>
                  <a:gd name="T15" fmla="*/ 23 h 67"/>
                  <a:gd name="T16" fmla="*/ 13 w 196"/>
                  <a:gd name="T17" fmla="*/ 25 h 67"/>
                  <a:gd name="T18" fmla="*/ 25 w 196"/>
                  <a:gd name="T19" fmla="*/ 20 h 67"/>
                  <a:gd name="T20" fmla="*/ 32 w 196"/>
                  <a:gd name="T21" fmla="*/ 20 h 67"/>
                  <a:gd name="T22" fmla="*/ 44 w 196"/>
                  <a:gd name="T23" fmla="*/ 10 h 67"/>
                  <a:gd name="T24" fmla="*/ 60 w 196"/>
                  <a:gd name="T25" fmla="*/ 12 h 67"/>
                  <a:gd name="T26" fmla="*/ 56 w 196"/>
                  <a:gd name="T27" fmla="*/ 15 h 67"/>
                  <a:gd name="T28" fmla="*/ 67 w 196"/>
                  <a:gd name="T29" fmla="*/ 21 h 67"/>
                  <a:gd name="T30" fmla="*/ 75 w 196"/>
                  <a:gd name="T31" fmla="*/ 23 h 67"/>
                  <a:gd name="T32" fmla="*/ 84 w 196"/>
                  <a:gd name="T33" fmla="*/ 21 h 67"/>
                  <a:gd name="T34" fmla="*/ 92 w 196"/>
                  <a:gd name="T35" fmla="*/ 29 h 67"/>
                  <a:gd name="T36" fmla="*/ 103 w 196"/>
                  <a:gd name="T37" fmla="*/ 31 h 67"/>
                  <a:gd name="T38" fmla="*/ 113 w 196"/>
                  <a:gd name="T39" fmla="*/ 30 h 67"/>
                  <a:gd name="T40" fmla="*/ 125 w 196"/>
                  <a:gd name="T41" fmla="*/ 48 h 67"/>
                  <a:gd name="T42" fmla="*/ 134 w 196"/>
                  <a:gd name="T43" fmla="*/ 49 h 67"/>
                  <a:gd name="T44" fmla="*/ 144 w 196"/>
                  <a:gd name="T45" fmla="*/ 52 h 67"/>
                  <a:gd name="T46" fmla="*/ 133 w 196"/>
                  <a:gd name="T47" fmla="*/ 63 h 67"/>
                  <a:gd name="T48" fmla="*/ 143 w 196"/>
                  <a:gd name="T49" fmla="*/ 65 h 67"/>
                  <a:gd name="T50" fmla="*/ 160 w 196"/>
                  <a:gd name="T51" fmla="*/ 65 h 67"/>
                  <a:gd name="T52" fmla="*/ 178 w 196"/>
                  <a:gd name="T53" fmla="*/ 63 h 67"/>
                  <a:gd name="T54" fmla="*/ 189 w 196"/>
                  <a:gd name="T55" fmla="*/ 62 h 67"/>
                  <a:gd name="T56" fmla="*/ 194 w 196"/>
                  <a:gd name="T57" fmla="*/ 56 h 67"/>
                  <a:gd name="T58" fmla="*/ 180 w 196"/>
                  <a:gd name="T59" fmla="*/ 47 h 67"/>
                  <a:gd name="T60" fmla="*/ 170 w 196"/>
                  <a:gd name="T61" fmla="*/ 44 h 67"/>
                  <a:gd name="T62" fmla="*/ 166 w 196"/>
                  <a:gd name="T63" fmla="*/ 41 h 67"/>
                  <a:gd name="T64" fmla="*/ 155 w 196"/>
                  <a:gd name="T65" fmla="*/ 38 h 67"/>
                  <a:gd name="T66" fmla="*/ 143 w 196"/>
                  <a:gd name="T67" fmla="*/ 34 h 67"/>
                  <a:gd name="T68" fmla="*/ 141 w 196"/>
                  <a:gd name="T69" fmla="*/ 29 h 67"/>
                  <a:gd name="T70" fmla="*/ 131 w 196"/>
                  <a:gd name="T71" fmla="*/ 27 h 67"/>
                  <a:gd name="T72" fmla="*/ 117 w 196"/>
                  <a:gd name="T73" fmla="*/ 18 h 67"/>
                  <a:gd name="T74" fmla="*/ 102 w 196"/>
                  <a:gd name="T75" fmla="*/ 12 h 67"/>
                  <a:gd name="T76" fmla="*/ 92 w 196"/>
                  <a:gd name="T77" fmla="*/ 6 h 67"/>
                  <a:gd name="T78" fmla="*/ 69 w 196"/>
                  <a:gd name="T79" fmla="*/ 4 h 67"/>
                  <a:gd name="T80" fmla="*/ 49 w 196"/>
                  <a:gd name="T81" fmla="*/ 0 h 67"/>
                  <a:gd name="T82" fmla="*/ 27 w 196"/>
                  <a:gd name="T83" fmla="*/ 5 h 67"/>
                  <a:gd name="T84" fmla="*/ 15 w 196"/>
                  <a:gd name="T85" fmla="*/ 13 h 67"/>
                  <a:gd name="T86" fmla="*/ 11 w 196"/>
                  <a:gd name="T87" fmla="*/ 19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96" h="67">
                    <a:moveTo>
                      <a:pt x="37" y="27"/>
                    </a:moveTo>
                    <a:lnTo>
                      <a:pt x="38" y="24"/>
                    </a:lnTo>
                    <a:lnTo>
                      <a:pt x="41" y="25"/>
                    </a:lnTo>
                    <a:lnTo>
                      <a:pt x="45" y="29"/>
                    </a:lnTo>
                    <a:lnTo>
                      <a:pt x="44" y="32"/>
                    </a:lnTo>
                    <a:lnTo>
                      <a:pt x="39" y="34"/>
                    </a:lnTo>
                    <a:lnTo>
                      <a:pt x="35" y="32"/>
                    </a:lnTo>
                    <a:lnTo>
                      <a:pt x="34" y="30"/>
                    </a:lnTo>
                    <a:lnTo>
                      <a:pt x="36" y="31"/>
                    </a:lnTo>
                    <a:lnTo>
                      <a:pt x="38" y="32"/>
                    </a:lnTo>
                    <a:lnTo>
                      <a:pt x="39" y="30"/>
                    </a:lnTo>
                    <a:lnTo>
                      <a:pt x="38" y="29"/>
                    </a:lnTo>
                    <a:lnTo>
                      <a:pt x="37" y="27"/>
                    </a:lnTo>
                    <a:lnTo>
                      <a:pt x="37" y="27"/>
                    </a:lnTo>
                    <a:lnTo>
                      <a:pt x="37" y="27"/>
                    </a:lnTo>
                    <a:close/>
                    <a:moveTo>
                      <a:pt x="11" y="19"/>
                    </a:moveTo>
                    <a:lnTo>
                      <a:pt x="13" y="22"/>
                    </a:lnTo>
                    <a:lnTo>
                      <a:pt x="12" y="23"/>
                    </a:lnTo>
                    <a:lnTo>
                      <a:pt x="9" y="22"/>
                    </a:lnTo>
                    <a:lnTo>
                      <a:pt x="3" y="24"/>
                    </a:lnTo>
                    <a:lnTo>
                      <a:pt x="0" y="24"/>
                    </a:lnTo>
                    <a:lnTo>
                      <a:pt x="0" y="26"/>
                    </a:lnTo>
                    <a:lnTo>
                      <a:pt x="4" y="28"/>
                    </a:lnTo>
                    <a:lnTo>
                      <a:pt x="6" y="23"/>
                    </a:lnTo>
                    <a:lnTo>
                      <a:pt x="8" y="24"/>
                    </a:lnTo>
                    <a:lnTo>
                      <a:pt x="8" y="27"/>
                    </a:lnTo>
                    <a:lnTo>
                      <a:pt x="13" y="25"/>
                    </a:lnTo>
                    <a:lnTo>
                      <a:pt x="16" y="24"/>
                    </a:lnTo>
                    <a:lnTo>
                      <a:pt x="20" y="20"/>
                    </a:lnTo>
                    <a:lnTo>
                      <a:pt x="25" y="20"/>
                    </a:lnTo>
                    <a:lnTo>
                      <a:pt x="27" y="19"/>
                    </a:lnTo>
                    <a:lnTo>
                      <a:pt x="28" y="21"/>
                    </a:lnTo>
                    <a:lnTo>
                      <a:pt x="32" y="20"/>
                    </a:lnTo>
                    <a:lnTo>
                      <a:pt x="38" y="13"/>
                    </a:lnTo>
                    <a:lnTo>
                      <a:pt x="41" y="13"/>
                    </a:lnTo>
                    <a:lnTo>
                      <a:pt x="44" y="10"/>
                    </a:lnTo>
                    <a:lnTo>
                      <a:pt x="48" y="11"/>
                    </a:lnTo>
                    <a:lnTo>
                      <a:pt x="52" y="11"/>
                    </a:lnTo>
                    <a:lnTo>
                      <a:pt x="60" y="12"/>
                    </a:lnTo>
                    <a:lnTo>
                      <a:pt x="62" y="14"/>
                    </a:lnTo>
                    <a:lnTo>
                      <a:pt x="60" y="16"/>
                    </a:lnTo>
                    <a:lnTo>
                      <a:pt x="56" y="15"/>
                    </a:lnTo>
                    <a:lnTo>
                      <a:pt x="53" y="17"/>
                    </a:lnTo>
                    <a:lnTo>
                      <a:pt x="56" y="19"/>
                    </a:lnTo>
                    <a:lnTo>
                      <a:pt x="67" y="21"/>
                    </a:lnTo>
                    <a:lnTo>
                      <a:pt x="69" y="20"/>
                    </a:lnTo>
                    <a:lnTo>
                      <a:pt x="72" y="20"/>
                    </a:lnTo>
                    <a:lnTo>
                      <a:pt x="75" y="23"/>
                    </a:lnTo>
                    <a:lnTo>
                      <a:pt x="80" y="23"/>
                    </a:lnTo>
                    <a:lnTo>
                      <a:pt x="83" y="23"/>
                    </a:lnTo>
                    <a:lnTo>
                      <a:pt x="84" y="21"/>
                    </a:lnTo>
                    <a:lnTo>
                      <a:pt x="87" y="23"/>
                    </a:lnTo>
                    <a:lnTo>
                      <a:pt x="87" y="24"/>
                    </a:lnTo>
                    <a:lnTo>
                      <a:pt x="92" y="29"/>
                    </a:lnTo>
                    <a:lnTo>
                      <a:pt x="97" y="29"/>
                    </a:lnTo>
                    <a:lnTo>
                      <a:pt x="99" y="28"/>
                    </a:lnTo>
                    <a:lnTo>
                      <a:pt x="103" y="31"/>
                    </a:lnTo>
                    <a:lnTo>
                      <a:pt x="106" y="30"/>
                    </a:lnTo>
                    <a:lnTo>
                      <a:pt x="109" y="32"/>
                    </a:lnTo>
                    <a:lnTo>
                      <a:pt x="113" y="30"/>
                    </a:lnTo>
                    <a:lnTo>
                      <a:pt x="116" y="31"/>
                    </a:lnTo>
                    <a:lnTo>
                      <a:pt x="119" y="42"/>
                    </a:lnTo>
                    <a:lnTo>
                      <a:pt x="125" y="48"/>
                    </a:lnTo>
                    <a:lnTo>
                      <a:pt x="128" y="48"/>
                    </a:lnTo>
                    <a:lnTo>
                      <a:pt x="130" y="47"/>
                    </a:lnTo>
                    <a:lnTo>
                      <a:pt x="134" y="49"/>
                    </a:lnTo>
                    <a:lnTo>
                      <a:pt x="140" y="49"/>
                    </a:lnTo>
                    <a:lnTo>
                      <a:pt x="141" y="51"/>
                    </a:lnTo>
                    <a:lnTo>
                      <a:pt x="144" y="52"/>
                    </a:lnTo>
                    <a:lnTo>
                      <a:pt x="144" y="56"/>
                    </a:lnTo>
                    <a:lnTo>
                      <a:pt x="139" y="57"/>
                    </a:lnTo>
                    <a:lnTo>
                      <a:pt x="133" y="63"/>
                    </a:lnTo>
                    <a:lnTo>
                      <a:pt x="133" y="66"/>
                    </a:lnTo>
                    <a:lnTo>
                      <a:pt x="139" y="66"/>
                    </a:lnTo>
                    <a:lnTo>
                      <a:pt x="143" y="65"/>
                    </a:lnTo>
                    <a:lnTo>
                      <a:pt x="147" y="66"/>
                    </a:lnTo>
                    <a:lnTo>
                      <a:pt x="156" y="64"/>
                    </a:lnTo>
                    <a:lnTo>
                      <a:pt x="160" y="65"/>
                    </a:lnTo>
                    <a:lnTo>
                      <a:pt x="167" y="67"/>
                    </a:lnTo>
                    <a:lnTo>
                      <a:pt x="177" y="65"/>
                    </a:lnTo>
                    <a:lnTo>
                      <a:pt x="178" y="63"/>
                    </a:lnTo>
                    <a:lnTo>
                      <a:pt x="179" y="64"/>
                    </a:lnTo>
                    <a:lnTo>
                      <a:pt x="182" y="62"/>
                    </a:lnTo>
                    <a:lnTo>
                      <a:pt x="189" y="62"/>
                    </a:lnTo>
                    <a:lnTo>
                      <a:pt x="194" y="61"/>
                    </a:lnTo>
                    <a:lnTo>
                      <a:pt x="196" y="57"/>
                    </a:lnTo>
                    <a:lnTo>
                      <a:pt x="194" y="56"/>
                    </a:lnTo>
                    <a:lnTo>
                      <a:pt x="191" y="55"/>
                    </a:lnTo>
                    <a:lnTo>
                      <a:pt x="188" y="50"/>
                    </a:lnTo>
                    <a:lnTo>
                      <a:pt x="180" y="47"/>
                    </a:lnTo>
                    <a:lnTo>
                      <a:pt x="171" y="47"/>
                    </a:lnTo>
                    <a:lnTo>
                      <a:pt x="168" y="46"/>
                    </a:lnTo>
                    <a:lnTo>
                      <a:pt x="170" y="44"/>
                    </a:lnTo>
                    <a:lnTo>
                      <a:pt x="172" y="41"/>
                    </a:lnTo>
                    <a:lnTo>
                      <a:pt x="169" y="40"/>
                    </a:lnTo>
                    <a:lnTo>
                      <a:pt x="166" y="41"/>
                    </a:lnTo>
                    <a:lnTo>
                      <a:pt x="162" y="41"/>
                    </a:lnTo>
                    <a:lnTo>
                      <a:pt x="156" y="36"/>
                    </a:lnTo>
                    <a:lnTo>
                      <a:pt x="155" y="38"/>
                    </a:lnTo>
                    <a:lnTo>
                      <a:pt x="152" y="35"/>
                    </a:lnTo>
                    <a:lnTo>
                      <a:pt x="146" y="31"/>
                    </a:lnTo>
                    <a:lnTo>
                      <a:pt x="143" y="34"/>
                    </a:lnTo>
                    <a:lnTo>
                      <a:pt x="142" y="32"/>
                    </a:lnTo>
                    <a:lnTo>
                      <a:pt x="143" y="30"/>
                    </a:lnTo>
                    <a:lnTo>
                      <a:pt x="141" y="29"/>
                    </a:lnTo>
                    <a:lnTo>
                      <a:pt x="139" y="31"/>
                    </a:lnTo>
                    <a:lnTo>
                      <a:pt x="137" y="29"/>
                    </a:lnTo>
                    <a:lnTo>
                      <a:pt x="131" y="27"/>
                    </a:lnTo>
                    <a:lnTo>
                      <a:pt x="126" y="23"/>
                    </a:lnTo>
                    <a:lnTo>
                      <a:pt x="121" y="22"/>
                    </a:lnTo>
                    <a:lnTo>
                      <a:pt x="117" y="18"/>
                    </a:lnTo>
                    <a:lnTo>
                      <a:pt x="107" y="18"/>
                    </a:lnTo>
                    <a:lnTo>
                      <a:pt x="103" y="16"/>
                    </a:lnTo>
                    <a:lnTo>
                      <a:pt x="102" y="12"/>
                    </a:lnTo>
                    <a:lnTo>
                      <a:pt x="97" y="7"/>
                    </a:lnTo>
                    <a:lnTo>
                      <a:pt x="94" y="8"/>
                    </a:lnTo>
                    <a:lnTo>
                      <a:pt x="92" y="6"/>
                    </a:lnTo>
                    <a:lnTo>
                      <a:pt x="79" y="4"/>
                    </a:lnTo>
                    <a:lnTo>
                      <a:pt x="74" y="6"/>
                    </a:lnTo>
                    <a:lnTo>
                      <a:pt x="69" y="4"/>
                    </a:lnTo>
                    <a:lnTo>
                      <a:pt x="66" y="1"/>
                    </a:lnTo>
                    <a:lnTo>
                      <a:pt x="57" y="0"/>
                    </a:lnTo>
                    <a:lnTo>
                      <a:pt x="49" y="0"/>
                    </a:lnTo>
                    <a:lnTo>
                      <a:pt x="46" y="2"/>
                    </a:lnTo>
                    <a:lnTo>
                      <a:pt x="35" y="3"/>
                    </a:lnTo>
                    <a:lnTo>
                      <a:pt x="27" y="5"/>
                    </a:lnTo>
                    <a:lnTo>
                      <a:pt x="26" y="7"/>
                    </a:lnTo>
                    <a:lnTo>
                      <a:pt x="17" y="9"/>
                    </a:lnTo>
                    <a:lnTo>
                      <a:pt x="15" y="13"/>
                    </a:lnTo>
                    <a:lnTo>
                      <a:pt x="11" y="14"/>
                    </a:lnTo>
                    <a:lnTo>
                      <a:pt x="11" y="19"/>
                    </a:lnTo>
                    <a:lnTo>
                      <a:pt x="11" y="19"/>
                    </a:lnTo>
                    <a:close/>
                  </a:path>
                </a:pathLst>
              </a:custGeom>
              <a:solidFill>
                <a:schemeClr val="accent2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056" name="Freeform 58"/>
              <p:cNvSpPr>
                <a:spLocks noEditPoints="1"/>
              </p:cNvSpPr>
              <p:nvPr userDrawn="1"/>
            </p:nvSpPr>
            <p:spPr bwMode="auto">
              <a:xfrm>
                <a:off x="2052" y="2427"/>
                <a:ext cx="104" cy="119"/>
              </a:xfrm>
              <a:custGeom>
                <a:avLst/>
                <a:gdLst>
                  <a:gd name="T0" fmla="*/ 100 w 104"/>
                  <a:gd name="T1" fmla="*/ 105 h 119"/>
                  <a:gd name="T2" fmla="*/ 98 w 104"/>
                  <a:gd name="T3" fmla="*/ 107 h 119"/>
                  <a:gd name="T4" fmla="*/ 98 w 104"/>
                  <a:gd name="T5" fmla="*/ 115 h 119"/>
                  <a:gd name="T6" fmla="*/ 94 w 104"/>
                  <a:gd name="T7" fmla="*/ 114 h 119"/>
                  <a:gd name="T8" fmla="*/ 85 w 104"/>
                  <a:gd name="T9" fmla="*/ 119 h 119"/>
                  <a:gd name="T10" fmla="*/ 96 w 104"/>
                  <a:gd name="T11" fmla="*/ 90 h 119"/>
                  <a:gd name="T12" fmla="*/ 104 w 104"/>
                  <a:gd name="T13" fmla="*/ 93 h 119"/>
                  <a:gd name="T14" fmla="*/ 96 w 104"/>
                  <a:gd name="T15" fmla="*/ 90 h 119"/>
                  <a:gd name="T16" fmla="*/ 85 w 104"/>
                  <a:gd name="T17" fmla="*/ 81 h 119"/>
                  <a:gd name="T18" fmla="*/ 79 w 104"/>
                  <a:gd name="T19" fmla="*/ 89 h 119"/>
                  <a:gd name="T20" fmla="*/ 79 w 104"/>
                  <a:gd name="T21" fmla="*/ 92 h 119"/>
                  <a:gd name="T22" fmla="*/ 85 w 104"/>
                  <a:gd name="T23" fmla="*/ 81 h 119"/>
                  <a:gd name="T24" fmla="*/ 75 w 104"/>
                  <a:gd name="T25" fmla="*/ 78 h 119"/>
                  <a:gd name="T26" fmla="*/ 77 w 104"/>
                  <a:gd name="T27" fmla="*/ 83 h 119"/>
                  <a:gd name="T28" fmla="*/ 75 w 104"/>
                  <a:gd name="T29" fmla="*/ 78 h 119"/>
                  <a:gd name="T30" fmla="*/ 64 w 104"/>
                  <a:gd name="T31" fmla="*/ 70 h 119"/>
                  <a:gd name="T32" fmla="*/ 66 w 104"/>
                  <a:gd name="T33" fmla="*/ 79 h 119"/>
                  <a:gd name="T34" fmla="*/ 62 w 104"/>
                  <a:gd name="T35" fmla="*/ 71 h 119"/>
                  <a:gd name="T36" fmla="*/ 60 w 104"/>
                  <a:gd name="T37" fmla="*/ 64 h 119"/>
                  <a:gd name="T38" fmla="*/ 47 w 104"/>
                  <a:gd name="T39" fmla="*/ 66 h 119"/>
                  <a:gd name="T40" fmla="*/ 48 w 104"/>
                  <a:gd name="T41" fmla="*/ 63 h 119"/>
                  <a:gd name="T42" fmla="*/ 74 w 104"/>
                  <a:gd name="T43" fmla="*/ 59 h 119"/>
                  <a:gd name="T44" fmla="*/ 77 w 104"/>
                  <a:gd name="T45" fmla="*/ 55 h 119"/>
                  <a:gd name="T46" fmla="*/ 57 w 104"/>
                  <a:gd name="T47" fmla="*/ 46 h 119"/>
                  <a:gd name="T48" fmla="*/ 59 w 104"/>
                  <a:gd name="T49" fmla="*/ 55 h 119"/>
                  <a:gd name="T50" fmla="*/ 63 w 104"/>
                  <a:gd name="T51" fmla="*/ 59 h 119"/>
                  <a:gd name="T52" fmla="*/ 59 w 104"/>
                  <a:gd name="T53" fmla="*/ 48 h 119"/>
                  <a:gd name="T54" fmla="*/ 57 w 104"/>
                  <a:gd name="T55" fmla="*/ 46 h 119"/>
                  <a:gd name="T56" fmla="*/ 50 w 104"/>
                  <a:gd name="T57" fmla="*/ 38 h 119"/>
                  <a:gd name="T58" fmla="*/ 45 w 104"/>
                  <a:gd name="T59" fmla="*/ 42 h 119"/>
                  <a:gd name="T60" fmla="*/ 45 w 104"/>
                  <a:gd name="T61" fmla="*/ 34 h 119"/>
                  <a:gd name="T62" fmla="*/ 41 w 104"/>
                  <a:gd name="T63" fmla="*/ 31 h 119"/>
                  <a:gd name="T64" fmla="*/ 28 w 104"/>
                  <a:gd name="T65" fmla="*/ 0 h 119"/>
                  <a:gd name="T66" fmla="*/ 36 w 104"/>
                  <a:gd name="T67" fmla="*/ 9 h 119"/>
                  <a:gd name="T68" fmla="*/ 33 w 104"/>
                  <a:gd name="T69" fmla="*/ 18 h 119"/>
                  <a:gd name="T70" fmla="*/ 30 w 104"/>
                  <a:gd name="T71" fmla="*/ 12 h 119"/>
                  <a:gd name="T72" fmla="*/ 28 w 104"/>
                  <a:gd name="T73" fmla="*/ 2 h 119"/>
                  <a:gd name="T74" fmla="*/ 22 w 104"/>
                  <a:gd name="T75" fmla="*/ 0 h 119"/>
                  <a:gd name="T76" fmla="*/ 7 w 104"/>
                  <a:gd name="T77" fmla="*/ 5 h 119"/>
                  <a:gd name="T78" fmla="*/ 22 w 104"/>
                  <a:gd name="T79" fmla="*/ 6 h 119"/>
                  <a:gd name="T80" fmla="*/ 9 w 104"/>
                  <a:gd name="T81" fmla="*/ 9 h 119"/>
                  <a:gd name="T82" fmla="*/ 0 w 104"/>
                  <a:gd name="T83" fmla="*/ 3 h 119"/>
                  <a:gd name="T84" fmla="*/ 28 w 104"/>
                  <a:gd name="T85" fmla="*/ 34 h 119"/>
                  <a:gd name="T86" fmla="*/ 25 w 104"/>
                  <a:gd name="T87" fmla="*/ 38 h 119"/>
                  <a:gd name="T88" fmla="*/ 23 w 104"/>
                  <a:gd name="T89" fmla="*/ 37 h 119"/>
                  <a:gd name="T90" fmla="*/ 20 w 104"/>
                  <a:gd name="T91" fmla="*/ 52 h 119"/>
                  <a:gd name="T92" fmla="*/ 17 w 104"/>
                  <a:gd name="T93" fmla="*/ 54 h 119"/>
                  <a:gd name="T94" fmla="*/ 16 w 104"/>
                  <a:gd name="T95" fmla="*/ 55 h 119"/>
                  <a:gd name="T96" fmla="*/ 15 w 104"/>
                  <a:gd name="T97" fmla="*/ 55 h 119"/>
                  <a:gd name="T98" fmla="*/ 16 w 104"/>
                  <a:gd name="T99" fmla="*/ 41 h 119"/>
                  <a:gd name="T100" fmla="*/ 12 w 104"/>
                  <a:gd name="T101" fmla="*/ 41 h 119"/>
                  <a:gd name="T102" fmla="*/ 15 w 104"/>
                  <a:gd name="T103" fmla="*/ 47 h 119"/>
                  <a:gd name="T104" fmla="*/ 15 w 104"/>
                  <a:gd name="T105" fmla="*/ 50 h 119"/>
                  <a:gd name="T106" fmla="*/ 15 w 104"/>
                  <a:gd name="T107" fmla="*/ 60 h 119"/>
                  <a:gd name="T108" fmla="*/ 22 w 104"/>
                  <a:gd name="T109" fmla="*/ 61 h 119"/>
                  <a:gd name="T110" fmla="*/ 20 w 104"/>
                  <a:gd name="T111" fmla="*/ 54 h 1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04" h="119">
                    <a:moveTo>
                      <a:pt x="98" y="107"/>
                    </a:moveTo>
                    <a:lnTo>
                      <a:pt x="100" y="108"/>
                    </a:lnTo>
                    <a:lnTo>
                      <a:pt x="100" y="105"/>
                    </a:lnTo>
                    <a:lnTo>
                      <a:pt x="98" y="107"/>
                    </a:lnTo>
                    <a:lnTo>
                      <a:pt x="98" y="107"/>
                    </a:lnTo>
                    <a:lnTo>
                      <a:pt x="98" y="107"/>
                    </a:lnTo>
                    <a:close/>
                    <a:moveTo>
                      <a:pt x="85" y="119"/>
                    </a:moveTo>
                    <a:lnTo>
                      <a:pt x="95" y="118"/>
                    </a:lnTo>
                    <a:lnTo>
                      <a:pt x="98" y="115"/>
                    </a:lnTo>
                    <a:lnTo>
                      <a:pt x="98" y="110"/>
                    </a:lnTo>
                    <a:lnTo>
                      <a:pt x="97" y="111"/>
                    </a:lnTo>
                    <a:lnTo>
                      <a:pt x="94" y="114"/>
                    </a:lnTo>
                    <a:lnTo>
                      <a:pt x="90" y="111"/>
                    </a:lnTo>
                    <a:lnTo>
                      <a:pt x="86" y="114"/>
                    </a:lnTo>
                    <a:lnTo>
                      <a:pt x="85" y="119"/>
                    </a:lnTo>
                    <a:lnTo>
                      <a:pt x="85" y="119"/>
                    </a:lnTo>
                    <a:lnTo>
                      <a:pt x="85" y="119"/>
                    </a:lnTo>
                    <a:close/>
                    <a:moveTo>
                      <a:pt x="96" y="90"/>
                    </a:moveTo>
                    <a:lnTo>
                      <a:pt x="99" y="89"/>
                    </a:lnTo>
                    <a:lnTo>
                      <a:pt x="104" y="92"/>
                    </a:lnTo>
                    <a:lnTo>
                      <a:pt x="104" y="93"/>
                    </a:lnTo>
                    <a:lnTo>
                      <a:pt x="101" y="92"/>
                    </a:lnTo>
                    <a:lnTo>
                      <a:pt x="98" y="92"/>
                    </a:lnTo>
                    <a:lnTo>
                      <a:pt x="96" y="90"/>
                    </a:lnTo>
                    <a:lnTo>
                      <a:pt x="96" y="90"/>
                    </a:lnTo>
                    <a:lnTo>
                      <a:pt x="96" y="90"/>
                    </a:lnTo>
                    <a:close/>
                    <a:moveTo>
                      <a:pt x="85" y="81"/>
                    </a:moveTo>
                    <a:lnTo>
                      <a:pt x="82" y="82"/>
                    </a:lnTo>
                    <a:lnTo>
                      <a:pt x="82" y="85"/>
                    </a:lnTo>
                    <a:lnTo>
                      <a:pt x="79" y="89"/>
                    </a:lnTo>
                    <a:lnTo>
                      <a:pt x="77" y="89"/>
                    </a:lnTo>
                    <a:lnTo>
                      <a:pt x="77" y="91"/>
                    </a:lnTo>
                    <a:lnTo>
                      <a:pt x="79" y="92"/>
                    </a:lnTo>
                    <a:lnTo>
                      <a:pt x="86" y="87"/>
                    </a:lnTo>
                    <a:lnTo>
                      <a:pt x="86" y="83"/>
                    </a:lnTo>
                    <a:lnTo>
                      <a:pt x="85" y="81"/>
                    </a:lnTo>
                    <a:lnTo>
                      <a:pt x="85" y="81"/>
                    </a:lnTo>
                    <a:lnTo>
                      <a:pt x="85" y="81"/>
                    </a:lnTo>
                    <a:close/>
                    <a:moveTo>
                      <a:pt x="75" y="78"/>
                    </a:moveTo>
                    <a:lnTo>
                      <a:pt x="79" y="80"/>
                    </a:lnTo>
                    <a:lnTo>
                      <a:pt x="79" y="83"/>
                    </a:lnTo>
                    <a:lnTo>
                      <a:pt x="77" y="83"/>
                    </a:lnTo>
                    <a:lnTo>
                      <a:pt x="75" y="80"/>
                    </a:lnTo>
                    <a:lnTo>
                      <a:pt x="75" y="78"/>
                    </a:lnTo>
                    <a:lnTo>
                      <a:pt x="75" y="78"/>
                    </a:lnTo>
                    <a:lnTo>
                      <a:pt x="75" y="78"/>
                    </a:lnTo>
                    <a:close/>
                    <a:moveTo>
                      <a:pt x="60" y="64"/>
                    </a:moveTo>
                    <a:lnTo>
                      <a:pt x="64" y="70"/>
                    </a:lnTo>
                    <a:lnTo>
                      <a:pt x="65" y="74"/>
                    </a:lnTo>
                    <a:lnTo>
                      <a:pt x="68" y="80"/>
                    </a:lnTo>
                    <a:lnTo>
                      <a:pt x="66" y="79"/>
                    </a:lnTo>
                    <a:lnTo>
                      <a:pt x="63" y="77"/>
                    </a:lnTo>
                    <a:lnTo>
                      <a:pt x="60" y="73"/>
                    </a:lnTo>
                    <a:lnTo>
                      <a:pt x="62" y="71"/>
                    </a:lnTo>
                    <a:lnTo>
                      <a:pt x="60" y="67"/>
                    </a:lnTo>
                    <a:lnTo>
                      <a:pt x="60" y="64"/>
                    </a:lnTo>
                    <a:lnTo>
                      <a:pt x="60" y="64"/>
                    </a:lnTo>
                    <a:lnTo>
                      <a:pt x="60" y="64"/>
                    </a:lnTo>
                    <a:close/>
                    <a:moveTo>
                      <a:pt x="48" y="63"/>
                    </a:moveTo>
                    <a:lnTo>
                      <a:pt x="47" y="66"/>
                    </a:lnTo>
                    <a:lnTo>
                      <a:pt x="50" y="66"/>
                    </a:lnTo>
                    <a:lnTo>
                      <a:pt x="48" y="63"/>
                    </a:lnTo>
                    <a:lnTo>
                      <a:pt x="48" y="63"/>
                    </a:lnTo>
                    <a:lnTo>
                      <a:pt x="48" y="63"/>
                    </a:lnTo>
                    <a:close/>
                    <a:moveTo>
                      <a:pt x="77" y="55"/>
                    </a:moveTo>
                    <a:lnTo>
                      <a:pt x="74" y="59"/>
                    </a:lnTo>
                    <a:lnTo>
                      <a:pt x="76" y="60"/>
                    </a:lnTo>
                    <a:lnTo>
                      <a:pt x="78" y="57"/>
                    </a:lnTo>
                    <a:lnTo>
                      <a:pt x="77" y="55"/>
                    </a:lnTo>
                    <a:lnTo>
                      <a:pt x="77" y="55"/>
                    </a:lnTo>
                    <a:lnTo>
                      <a:pt x="77" y="55"/>
                    </a:lnTo>
                    <a:close/>
                    <a:moveTo>
                      <a:pt x="57" y="46"/>
                    </a:moveTo>
                    <a:lnTo>
                      <a:pt x="56" y="48"/>
                    </a:lnTo>
                    <a:lnTo>
                      <a:pt x="58" y="51"/>
                    </a:lnTo>
                    <a:lnTo>
                      <a:pt x="59" y="55"/>
                    </a:lnTo>
                    <a:lnTo>
                      <a:pt x="58" y="57"/>
                    </a:lnTo>
                    <a:lnTo>
                      <a:pt x="59" y="59"/>
                    </a:lnTo>
                    <a:lnTo>
                      <a:pt x="63" y="59"/>
                    </a:lnTo>
                    <a:lnTo>
                      <a:pt x="63" y="57"/>
                    </a:lnTo>
                    <a:lnTo>
                      <a:pt x="60" y="52"/>
                    </a:lnTo>
                    <a:lnTo>
                      <a:pt x="59" y="48"/>
                    </a:lnTo>
                    <a:lnTo>
                      <a:pt x="57" y="46"/>
                    </a:lnTo>
                    <a:lnTo>
                      <a:pt x="57" y="46"/>
                    </a:lnTo>
                    <a:lnTo>
                      <a:pt x="57" y="46"/>
                    </a:lnTo>
                    <a:close/>
                    <a:moveTo>
                      <a:pt x="41" y="31"/>
                    </a:moveTo>
                    <a:lnTo>
                      <a:pt x="46" y="33"/>
                    </a:lnTo>
                    <a:lnTo>
                      <a:pt x="50" y="38"/>
                    </a:lnTo>
                    <a:lnTo>
                      <a:pt x="48" y="43"/>
                    </a:lnTo>
                    <a:lnTo>
                      <a:pt x="46" y="44"/>
                    </a:lnTo>
                    <a:lnTo>
                      <a:pt x="45" y="42"/>
                    </a:lnTo>
                    <a:lnTo>
                      <a:pt x="47" y="41"/>
                    </a:lnTo>
                    <a:lnTo>
                      <a:pt x="48" y="38"/>
                    </a:lnTo>
                    <a:lnTo>
                      <a:pt x="45" y="34"/>
                    </a:lnTo>
                    <a:lnTo>
                      <a:pt x="41" y="33"/>
                    </a:lnTo>
                    <a:lnTo>
                      <a:pt x="41" y="31"/>
                    </a:lnTo>
                    <a:lnTo>
                      <a:pt x="41" y="31"/>
                    </a:lnTo>
                    <a:lnTo>
                      <a:pt x="41" y="31"/>
                    </a:lnTo>
                    <a:close/>
                    <a:moveTo>
                      <a:pt x="22" y="0"/>
                    </a:moveTo>
                    <a:lnTo>
                      <a:pt x="28" y="0"/>
                    </a:lnTo>
                    <a:lnTo>
                      <a:pt x="33" y="3"/>
                    </a:lnTo>
                    <a:lnTo>
                      <a:pt x="34" y="7"/>
                    </a:lnTo>
                    <a:lnTo>
                      <a:pt x="36" y="9"/>
                    </a:lnTo>
                    <a:lnTo>
                      <a:pt x="36" y="13"/>
                    </a:lnTo>
                    <a:lnTo>
                      <a:pt x="33" y="15"/>
                    </a:lnTo>
                    <a:lnTo>
                      <a:pt x="33" y="18"/>
                    </a:lnTo>
                    <a:lnTo>
                      <a:pt x="30" y="22"/>
                    </a:lnTo>
                    <a:lnTo>
                      <a:pt x="32" y="15"/>
                    </a:lnTo>
                    <a:lnTo>
                      <a:pt x="30" y="12"/>
                    </a:lnTo>
                    <a:lnTo>
                      <a:pt x="33" y="10"/>
                    </a:lnTo>
                    <a:lnTo>
                      <a:pt x="29" y="5"/>
                    </a:lnTo>
                    <a:lnTo>
                      <a:pt x="28" y="2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close/>
                    <a:moveTo>
                      <a:pt x="0" y="3"/>
                    </a:moveTo>
                    <a:lnTo>
                      <a:pt x="5" y="3"/>
                    </a:lnTo>
                    <a:lnTo>
                      <a:pt x="7" y="5"/>
                    </a:lnTo>
                    <a:lnTo>
                      <a:pt x="13" y="2"/>
                    </a:lnTo>
                    <a:lnTo>
                      <a:pt x="18" y="2"/>
                    </a:lnTo>
                    <a:lnTo>
                      <a:pt x="22" y="6"/>
                    </a:lnTo>
                    <a:lnTo>
                      <a:pt x="19" y="5"/>
                    </a:lnTo>
                    <a:lnTo>
                      <a:pt x="15" y="4"/>
                    </a:lnTo>
                    <a:lnTo>
                      <a:pt x="9" y="9"/>
                    </a:lnTo>
                    <a:lnTo>
                      <a:pt x="5" y="9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close/>
                    <a:moveTo>
                      <a:pt x="23" y="37"/>
                    </a:moveTo>
                    <a:lnTo>
                      <a:pt x="28" y="34"/>
                    </a:lnTo>
                    <a:lnTo>
                      <a:pt x="32" y="35"/>
                    </a:lnTo>
                    <a:lnTo>
                      <a:pt x="30" y="38"/>
                    </a:lnTo>
                    <a:lnTo>
                      <a:pt x="25" y="38"/>
                    </a:lnTo>
                    <a:lnTo>
                      <a:pt x="23" y="37"/>
                    </a:lnTo>
                    <a:lnTo>
                      <a:pt x="23" y="37"/>
                    </a:lnTo>
                    <a:lnTo>
                      <a:pt x="23" y="37"/>
                    </a:lnTo>
                    <a:close/>
                    <a:moveTo>
                      <a:pt x="17" y="54"/>
                    </a:moveTo>
                    <a:lnTo>
                      <a:pt x="16" y="53"/>
                    </a:lnTo>
                    <a:lnTo>
                      <a:pt x="20" y="52"/>
                    </a:lnTo>
                    <a:lnTo>
                      <a:pt x="17" y="54"/>
                    </a:lnTo>
                    <a:lnTo>
                      <a:pt x="17" y="54"/>
                    </a:lnTo>
                    <a:lnTo>
                      <a:pt x="17" y="54"/>
                    </a:lnTo>
                    <a:close/>
                    <a:moveTo>
                      <a:pt x="15" y="55"/>
                    </a:moveTo>
                    <a:lnTo>
                      <a:pt x="15" y="53"/>
                    </a:lnTo>
                    <a:lnTo>
                      <a:pt x="16" y="55"/>
                    </a:lnTo>
                    <a:lnTo>
                      <a:pt x="15" y="55"/>
                    </a:lnTo>
                    <a:lnTo>
                      <a:pt x="15" y="55"/>
                    </a:lnTo>
                    <a:lnTo>
                      <a:pt x="15" y="55"/>
                    </a:lnTo>
                    <a:close/>
                    <a:moveTo>
                      <a:pt x="15" y="50"/>
                    </a:moveTo>
                    <a:lnTo>
                      <a:pt x="19" y="47"/>
                    </a:lnTo>
                    <a:lnTo>
                      <a:pt x="16" y="41"/>
                    </a:lnTo>
                    <a:lnTo>
                      <a:pt x="15" y="37"/>
                    </a:lnTo>
                    <a:lnTo>
                      <a:pt x="13" y="36"/>
                    </a:lnTo>
                    <a:lnTo>
                      <a:pt x="12" y="41"/>
                    </a:lnTo>
                    <a:lnTo>
                      <a:pt x="9" y="46"/>
                    </a:lnTo>
                    <a:lnTo>
                      <a:pt x="11" y="49"/>
                    </a:lnTo>
                    <a:lnTo>
                      <a:pt x="15" y="47"/>
                    </a:lnTo>
                    <a:lnTo>
                      <a:pt x="15" y="50"/>
                    </a:lnTo>
                    <a:lnTo>
                      <a:pt x="15" y="50"/>
                    </a:lnTo>
                    <a:lnTo>
                      <a:pt x="15" y="50"/>
                    </a:lnTo>
                    <a:close/>
                    <a:moveTo>
                      <a:pt x="20" y="54"/>
                    </a:moveTo>
                    <a:lnTo>
                      <a:pt x="15" y="57"/>
                    </a:lnTo>
                    <a:lnTo>
                      <a:pt x="15" y="60"/>
                    </a:lnTo>
                    <a:lnTo>
                      <a:pt x="17" y="65"/>
                    </a:lnTo>
                    <a:lnTo>
                      <a:pt x="20" y="64"/>
                    </a:lnTo>
                    <a:lnTo>
                      <a:pt x="22" y="61"/>
                    </a:lnTo>
                    <a:lnTo>
                      <a:pt x="21" y="58"/>
                    </a:lnTo>
                    <a:lnTo>
                      <a:pt x="21" y="56"/>
                    </a:lnTo>
                    <a:lnTo>
                      <a:pt x="20" y="54"/>
                    </a:lnTo>
                    <a:lnTo>
                      <a:pt x="20" y="54"/>
                    </a:lnTo>
                    <a:close/>
                  </a:path>
                </a:pathLst>
              </a:custGeom>
              <a:solidFill>
                <a:schemeClr val="accent2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057" name="Freeform 59"/>
              <p:cNvSpPr>
                <a:spLocks/>
              </p:cNvSpPr>
              <p:nvPr userDrawn="1"/>
            </p:nvSpPr>
            <p:spPr bwMode="auto">
              <a:xfrm>
                <a:off x="1959" y="2754"/>
                <a:ext cx="102" cy="45"/>
              </a:xfrm>
              <a:custGeom>
                <a:avLst/>
                <a:gdLst>
                  <a:gd name="T0" fmla="*/ 87 w 102"/>
                  <a:gd name="T1" fmla="*/ 40 h 45"/>
                  <a:gd name="T2" fmla="*/ 82 w 102"/>
                  <a:gd name="T3" fmla="*/ 29 h 45"/>
                  <a:gd name="T4" fmla="*/ 86 w 102"/>
                  <a:gd name="T5" fmla="*/ 24 h 45"/>
                  <a:gd name="T6" fmla="*/ 89 w 102"/>
                  <a:gd name="T7" fmla="*/ 22 h 45"/>
                  <a:gd name="T8" fmla="*/ 86 w 102"/>
                  <a:gd name="T9" fmla="*/ 20 h 45"/>
                  <a:gd name="T10" fmla="*/ 83 w 102"/>
                  <a:gd name="T11" fmla="*/ 24 h 45"/>
                  <a:gd name="T12" fmla="*/ 80 w 102"/>
                  <a:gd name="T13" fmla="*/ 19 h 45"/>
                  <a:gd name="T14" fmla="*/ 74 w 102"/>
                  <a:gd name="T15" fmla="*/ 14 h 45"/>
                  <a:gd name="T16" fmla="*/ 68 w 102"/>
                  <a:gd name="T17" fmla="*/ 9 h 45"/>
                  <a:gd name="T18" fmla="*/ 59 w 102"/>
                  <a:gd name="T19" fmla="*/ 13 h 45"/>
                  <a:gd name="T20" fmla="*/ 60 w 102"/>
                  <a:gd name="T21" fmla="*/ 17 h 45"/>
                  <a:gd name="T22" fmla="*/ 54 w 102"/>
                  <a:gd name="T23" fmla="*/ 24 h 45"/>
                  <a:gd name="T24" fmla="*/ 45 w 102"/>
                  <a:gd name="T25" fmla="*/ 27 h 45"/>
                  <a:gd name="T26" fmla="*/ 46 w 102"/>
                  <a:gd name="T27" fmla="*/ 31 h 45"/>
                  <a:gd name="T28" fmla="*/ 52 w 102"/>
                  <a:gd name="T29" fmla="*/ 35 h 45"/>
                  <a:gd name="T30" fmla="*/ 50 w 102"/>
                  <a:gd name="T31" fmla="*/ 40 h 45"/>
                  <a:gd name="T32" fmla="*/ 44 w 102"/>
                  <a:gd name="T33" fmla="*/ 42 h 45"/>
                  <a:gd name="T34" fmla="*/ 37 w 102"/>
                  <a:gd name="T35" fmla="*/ 45 h 45"/>
                  <a:gd name="T36" fmla="*/ 37 w 102"/>
                  <a:gd name="T37" fmla="*/ 40 h 45"/>
                  <a:gd name="T38" fmla="*/ 36 w 102"/>
                  <a:gd name="T39" fmla="*/ 34 h 45"/>
                  <a:gd name="T40" fmla="*/ 32 w 102"/>
                  <a:gd name="T41" fmla="*/ 32 h 45"/>
                  <a:gd name="T42" fmla="*/ 33 w 102"/>
                  <a:gd name="T43" fmla="*/ 35 h 45"/>
                  <a:gd name="T44" fmla="*/ 28 w 102"/>
                  <a:gd name="T45" fmla="*/ 38 h 45"/>
                  <a:gd name="T46" fmla="*/ 23 w 102"/>
                  <a:gd name="T47" fmla="*/ 31 h 45"/>
                  <a:gd name="T48" fmla="*/ 16 w 102"/>
                  <a:gd name="T49" fmla="*/ 27 h 45"/>
                  <a:gd name="T50" fmla="*/ 14 w 102"/>
                  <a:gd name="T51" fmla="*/ 25 h 45"/>
                  <a:gd name="T52" fmla="*/ 10 w 102"/>
                  <a:gd name="T53" fmla="*/ 24 h 45"/>
                  <a:gd name="T54" fmla="*/ 4 w 102"/>
                  <a:gd name="T55" fmla="*/ 24 h 45"/>
                  <a:gd name="T56" fmla="*/ 0 w 102"/>
                  <a:gd name="T57" fmla="*/ 23 h 45"/>
                  <a:gd name="T58" fmla="*/ 0 w 102"/>
                  <a:gd name="T59" fmla="*/ 18 h 45"/>
                  <a:gd name="T60" fmla="*/ 1 w 102"/>
                  <a:gd name="T61" fmla="*/ 12 h 45"/>
                  <a:gd name="T62" fmla="*/ 0 w 102"/>
                  <a:gd name="T63" fmla="*/ 9 h 45"/>
                  <a:gd name="T64" fmla="*/ 2 w 102"/>
                  <a:gd name="T65" fmla="*/ 4 h 45"/>
                  <a:gd name="T66" fmla="*/ 7 w 102"/>
                  <a:gd name="T67" fmla="*/ 3 h 45"/>
                  <a:gd name="T68" fmla="*/ 10 w 102"/>
                  <a:gd name="T69" fmla="*/ 7 h 45"/>
                  <a:gd name="T70" fmla="*/ 14 w 102"/>
                  <a:gd name="T71" fmla="*/ 7 h 45"/>
                  <a:gd name="T72" fmla="*/ 13 w 102"/>
                  <a:gd name="T73" fmla="*/ 8 h 45"/>
                  <a:gd name="T74" fmla="*/ 13 w 102"/>
                  <a:gd name="T75" fmla="*/ 10 h 45"/>
                  <a:gd name="T76" fmla="*/ 20 w 102"/>
                  <a:gd name="T77" fmla="*/ 12 h 45"/>
                  <a:gd name="T78" fmla="*/ 17 w 102"/>
                  <a:gd name="T79" fmla="*/ 8 h 45"/>
                  <a:gd name="T80" fmla="*/ 22 w 102"/>
                  <a:gd name="T81" fmla="*/ 9 h 45"/>
                  <a:gd name="T82" fmla="*/ 35 w 102"/>
                  <a:gd name="T83" fmla="*/ 14 h 45"/>
                  <a:gd name="T84" fmla="*/ 42 w 102"/>
                  <a:gd name="T85" fmla="*/ 10 h 45"/>
                  <a:gd name="T86" fmla="*/ 58 w 102"/>
                  <a:gd name="T87" fmla="*/ 4 h 45"/>
                  <a:gd name="T88" fmla="*/ 65 w 102"/>
                  <a:gd name="T89" fmla="*/ 0 h 45"/>
                  <a:gd name="T90" fmla="*/ 69 w 102"/>
                  <a:gd name="T91" fmla="*/ 3 h 45"/>
                  <a:gd name="T92" fmla="*/ 80 w 102"/>
                  <a:gd name="T93" fmla="*/ 4 h 45"/>
                  <a:gd name="T94" fmla="*/ 92 w 102"/>
                  <a:gd name="T95" fmla="*/ 9 h 45"/>
                  <a:gd name="T96" fmla="*/ 96 w 102"/>
                  <a:gd name="T97" fmla="*/ 14 h 45"/>
                  <a:gd name="T98" fmla="*/ 100 w 102"/>
                  <a:gd name="T99" fmla="*/ 17 h 45"/>
                  <a:gd name="T100" fmla="*/ 100 w 102"/>
                  <a:gd name="T101" fmla="*/ 23 h 45"/>
                  <a:gd name="T102" fmla="*/ 99 w 102"/>
                  <a:gd name="T103" fmla="*/ 31 h 45"/>
                  <a:gd name="T104" fmla="*/ 95 w 102"/>
                  <a:gd name="T105" fmla="*/ 38 h 45"/>
                  <a:gd name="T106" fmla="*/ 91 w 102"/>
                  <a:gd name="T107" fmla="*/ 43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02" h="45">
                    <a:moveTo>
                      <a:pt x="91" y="43"/>
                    </a:moveTo>
                    <a:lnTo>
                      <a:pt x="87" y="40"/>
                    </a:lnTo>
                    <a:lnTo>
                      <a:pt x="83" y="34"/>
                    </a:lnTo>
                    <a:lnTo>
                      <a:pt x="82" y="29"/>
                    </a:lnTo>
                    <a:lnTo>
                      <a:pt x="83" y="29"/>
                    </a:lnTo>
                    <a:lnTo>
                      <a:pt x="86" y="24"/>
                    </a:lnTo>
                    <a:lnTo>
                      <a:pt x="87" y="24"/>
                    </a:lnTo>
                    <a:lnTo>
                      <a:pt x="89" y="22"/>
                    </a:lnTo>
                    <a:lnTo>
                      <a:pt x="88" y="20"/>
                    </a:lnTo>
                    <a:lnTo>
                      <a:pt x="86" y="20"/>
                    </a:lnTo>
                    <a:lnTo>
                      <a:pt x="85" y="23"/>
                    </a:lnTo>
                    <a:lnTo>
                      <a:pt x="83" y="24"/>
                    </a:lnTo>
                    <a:lnTo>
                      <a:pt x="81" y="22"/>
                    </a:lnTo>
                    <a:lnTo>
                      <a:pt x="80" y="19"/>
                    </a:lnTo>
                    <a:lnTo>
                      <a:pt x="77" y="14"/>
                    </a:lnTo>
                    <a:lnTo>
                      <a:pt x="74" y="14"/>
                    </a:lnTo>
                    <a:lnTo>
                      <a:pt x="71" y="11"/>
                    </a:lnTo>
                    <a:lnTo>
                      <a:pt x="68" y="9"/>
                    </a:lnTo>
                    <a:lnTo>
                      <a:pt x="65" y="10"/>
                    </a:lnTo>
                    <a:lnTo>
                      <a:pt x="59" y="13"/>
                    </a:lnTo>
                    <a:lnTo>
                      <a:pt x="58" y="16"/>
                    </a:lnTo>
                    <a:lnTo>
                      <a:pt x="60" y="17"/>
                    </a:lnTo>
                    <a:lnTo>
                      <a:pt x="60" y="19"/>
                    </a:lnTo>
                    <a:lnTo>
                      <a:pt x="54" y="24"/>
                    </a:lnTo>
                    <a:lnTo>
                      <a:pt x="48" y="25"/>
                    </a:lnTo>
                    <a:lnTo>
                      <a:pt x="45" y="27"/>
                    </a:lnTo>
                    <a:lnTo>
                      <a:pt x="44" y="29"/>
                    </a:lnTo>
                    <a:lnTo>
                      <a:pt x="46" y="31"/>
                    </a:lnTo>
                    <a:lnTo>
                      <a:pt x="49" y="33"/>
                    </a:lnTo>
                    <a:lnTo>
                      <a:pt x="52" y="35"/>
                    </a:lnTo>
                    <a:lnTo>
                      <a:pt x="52" y="39"/>
                    </a:lnTo>
                    <a:lnTo>
                      <a:pt x="50" y="40"/>
                    </a:lnTo>
                    <a:lnTo>
                      <a:pt x="46" y="39"/>
                    </a:lnTo>
                    <a:lnTo>
                      <a:pt x="44" y="42"/>
                    </a:lnTo>
                    <a:lnTo>
                      <a:pt x="42" y="45"/>
                    </a:lnTo>
                    <a:lnTo>
                      <a:pt x="37" y="45"/>
                    </a:lnTo>
                    <a:lnTo>
                      <a:pt x="36" y="42"/>
                    </a:lnTo>
                    <a:lnTo>
                      <a:pt x="37" y="40"/>
                    </a:lnTo>
                    <a:lnTo>
                      <a:pt x="36" y="36"/>
                    </a:lnTo>
                    <a:lnTo>
                      <a:pt x="36" y="34"/>
                    </a:lnTo>
                    <a:lnTo>
                      <a:pt x="35" y="32"/>
                    </a:lnTo>
                    <a:lnTo>
                      <a:pt x="32" y="32"/>
                    </a:lnTo>
                    <a:lnTo>
                      <a:pt x="31" y="34"/>
                    </a:lnTo>
                    <a:lnTo>
                      <a:pt x="33" y="35"/>
                    </a:lnTo>
                    <a:lnTo>
                      <a:pt x="31" y="38"/>
                    </a:lnTo>
                    <a:lnTo>
                      <a:pt x="28" y="38"/>
                    </a:lnTo>
                    <a:lnTo>
                      <a:pt x="25" y="36"/>
                    </a:lnTo>
                    <a:lnTo>
                      <a:pt x="23" y="31"/>
                    </a:lnTo>
                    <a:lnTo>
                      <a:pt x="22" y="28"/>
                    </a:lnTo>
                    <a:lnTo>
                      <a:pt x="16" y="27"/>
                    </a:lnTo>
                    <a:lnTo>
                      <a:pt x="14" y="26"/>
                    </a:lnTo>
                    <a:lnTo>
                      <a:pt x="14" y="25"/>
                    </a:lnTo>
                    <a:lnTo>
                      <a:pt x="12" y="23"/>
                    </a:lnTo>
                    <a:lnTo>
                      <a:pt x="10" y="24"/>
                    </a:lnTo>
                    <a:lnTo>
                      <a:pt x="7" y="25"/>
                    </a:lnTo>
                    <a:lnTo>
                      <a:pt x="4" y="24"/>
                    </a:lnTo>
                    <a:lnTo>
                      <a:pt x="1" y="24"/>
                    </a:lnTo>
                    <a:lnTo>
                      <a:pt x="0" y="23"/>
                    </a:lnTo>
                    <a:lnTo>
                      <a:pt x="0" y="21"/>
                    </a:lnTo>
                    <a:lnTo>
                      <a:pt x="0" y="18"/>
                    </a:lnTo>
                    <a:lnTo>
                      <a:pt x="3" y="16"/>
                    </a:lnTo>
                    <a:lnTo>
                      <a:pt x="1" y="12"/>
                    </a:lnTo>
                    <a:lnTo>
                      <a:pt x="0" y="12"/>
                    </a:lnTo>
                    <a:lnTo>
                      <a:pt x="0" y="9"/>
                    </a:lnTo>
                    <a:lnTo>
                      <a:pt x="2" y="7"/>
                    </a:lnTo>
                    <a:lnTo>
                      <a:pt x="2" y="4"/>
                    </a:lnTo>
                    <a:lnTo>
                      <a:pt x="3" y="3"/>
                    </a:lnTo>
                    <a:lnTo>
                      <a:pt x="7" y="3"/>
                    </a:lnTo>
                    <a:lnTo>
                      <a:pt x="8" y="5"/>
                    </a:lnTo>
                    <a:lnTo>
                      <a:pt x="10" y="7"/>
                    </a:lnTo>
                    <a:lnTo>
                      <a:pt x="12" y="7"/>
                    </a:lnTo>
                    <a:lnTo>
                      <a:pt x="14" y="7"/>
                    </a:lnTo>
                    <a:lnTo>
                      <a:pt x="15" y="8"/>
                    </a:lnTo>
                    <a:lnTo>
                      <a:pt x="13" y="8"/>
                    </a:lnTo>
                    <a:lnTo>
                      <a:pt x="12" y="9"/>
                    </a:lnTo>
                    <a:lnTo>
                      <a:pt x="13" y="10"/>
                    </a:lnTo>
                    <a:lnTo>
                      <a:pt x="17" y="12"/>
                    </a:lnTo>
                    <a:lnTo>
                      <a:pt x="20" y="12"/>
                    </a:lnTo>
                    <a:lnTo>
                      <a:pt x="20" y="10"/>
                    </a:lnTo>
                    <a:lnTo>
                      <a:pt x="17" y="8"/>
                    </a:lnTo>
                    <a:lnTo>
                      <a:pt x="19" y="7"/>
                    </a:lnTo>
                    <a:lnTo>
                      <a:pt x="22" y="9"/>
                    </a:lnTo>
                    <a:lnTo>
                      <a:pt x="29" y="14"/>
                    </a:lnTo>
                    <a:lnTo>
                      <a:pt x="35" y="14"/>
                    </a:lnTo>
                    <a:lnTo>
                      <a:pt x="38" y="14"/>
                    </a:lnTo>
                    <a:lnTo>
                      <a:pt x="42" y="10"/>
                    </a:lnTo>
                    <a:lnTo>
                      <a:pt x="52" y="6"/>
                    </a:lnTo>
                    <a:lnTo>
                      <a:pt x="58" y="4"/>
                    </a:lnTo>
                    <a:lnTo>
                      <a:pt x="64" y="1"/>
                    </a:lnTo>
                    <a:lnTo>
                      <a:pt x="65" y="0"/>
                    </a:lnTo>
                    <a:lnTo>
                      <a:pt x="68" y="2"/>
                    </a:lnTo>
                    <a:lnTo>
                      <a:pt x="69" y="3"/>
                    </a:lnTo>
                    <a:lnTo>
                      <a:pt x="71" y="4"/>
                    </a:lnTo>
                    <a:lnTo>
                      <a:pt x="80" y="4"/>
                    </a:lnTo>
                    <a:lnTo>
                      <a:pt x="85" y="5"/>
                    </a:lnTo>
                    <a:lnTo>
                      <a:pt x="92" y="9"/>
                    </a:lnTo>
                    <a:lnTo>
                      <a:pt x="95" y="12"/>
                    </a:lnTo>
                    <a:lnTo>
                      <a:pt x="96" y="14"/>
                    </a:lnTo>
                    <a:lnTo>
                      <a:pt x="98" y="16"/>
                    </a:lnTo>
                    <a:lnTo>
                      <a:pt x="100" y="17"/>
                    </a:lnTo>
                    <a:lnTo>
                      <a:pt x="99" y="21"/>
                    </a:lnTo>
                    <a:lnTo>
                      <a:pt x="100" y="23"/>
                    </a:lnTo>
                    <a:lnTo>
                      <a:pt x="102" y="28"/>
                    </a:lnTo>
                    <a:lnTo>
                      <a:pt x="99" y="31"/>
                    </a:lnTo>
                    <a:lnTo>
                      <a:pt x="97" y="36"/>
                    </a:lnTo>
                    <a:lnTo>
                      <a:pt x="95" y="38"/>
                    </a:lnTo>
                    <a:lnTo>
                      <a:pt x="93" y="38"/>
                    </a:lnTo>
                    <a:lnTo>
                      <a:pt x="91" y="43"/>
                    </a:lnTo>
                    <a:lnTo>
                      <a:pt x="91" y="43"/>
                    </a:lnTo>
                    <a:close/>
                  </a:path>
                </a:pathLst>
              </a:custGeom>
              <a:solidFill>
                <a:schemeClr val="accent2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058" name="Freeform 60"/>
              <p:cNvSpPr>
                <a:spLocks/>
              </p:cNvSpPr>
              <p:nvPr userDrawn="1"/>
            </p:nvSpPr>
            <p:spPr bwMode="auto">
              <a:xfrm>
                <a:off x="1904" y="2725"/>
                <a:ext cx="62" cy="58"/>
              </a:xfrm>
              <a:custGeom>
                <a:avLst/>
                <a:gdLst>
                  <a:gd name="T0" fmla="*/ 55 w 62"/>
                  <a:gd name="T1" fmla="*/ 52 h 58"/>
                  <a:gd name="T2" fmla="*/ 55 w 62"/>
                  <a:gd name="T3" fmla="*/ 54 h 58"/>
                  <a:gd name="T4" fmla="*/ 55 w 62"/>
                  <a:gd name="T5" fmla="*/ 58 h 58"/>
                  <a:gd name="T6" fmla="*/ 52 w 62"/>
                  <a:gd name="T7" fmla="*/ 56 h 58"/>
                  <a:gd name="T8" fmla="*/ 50 w 62"/>
                  <a:gd name="T9" fmla="*/ 55 h 58"/>
                  <a:gd name="T10" fmla="*/ 47 w 62"/>
                  <a:gd name="T11" fmla="*/ 47 h 58"/>
                  <a:gd name="T12" fmla="*/ 43 w 62"/>
                  <a:gd name="T13" fmla="*/ 47 h 58"/>
                  <a:gd name="T14" fmla="*/ 46 w 62"/>
                  <a:gd name="T15" fmla="*/ 49 h 58"/>
                  <a:gd name="T16" fmla="*/ 48 w 62"/>
                  <a:gd name="T17" fmla="*/ 54 h 58"/>
                  <a:gd name="T18" fmla="*/ 43 w 62"/>
                  <a:gd name="T19" fmla="*/ 53 h 58"/>
                  <a:gd name="T20" fmla="*/ 37 w 62"/>
                  <a:gd name="T21" fmla="*/ 49 h 58"/>
                  <a:gd name="T22" fmla="*/ 40 w 62"/>
                  <a:gd name="T23" fmla="*/ 44 h 58"/>
                  <a:gd name="T24" fmla="*/ 35 w 62"/>
                  <a:gd name="T25" fmla="*/ 37 h 58"/>
                  <a:gd name="T26" fmla="*/ 30 w 62"/>
                  <a:gd name="T27" fmla="*/ 34 h 58"/>
                  <a:gd name="T28" fmla="*/ 24 w 62"/>
                  <a:gd name="T29" fmla="*/ 28 h 58"/>
                  <a:gd name="T30" fmla="*/ 20 w 62"/>
                  <a:gd name="T31" fmla="*/ 22 h 58"/>
                  <a:gd name="T32" fmla="*/ 13 w 62"/>
                  <a:gd name="T33" fmla="*/ 18 h 58"/>
                  <a:gd name="T34" fmla="*/ 13 w 62"/>
                  <a:gd name="T35" fmla="*/ 21 h 58"/>
                  <a:gd name="T36" fmla="*/ 19 w 62"/>
                  <a:gd name="T37" fmla="*/ 28 h 58"/>
                  <a:gd name="T38" fmla="*/ 15 w 62"/>
                  <a:gd name="T39" fmla="*/ 32 h 58"/>
                  <a:gd name="T40" fmla="*/ 11 w 62"/>
                  <a:gd name="T41" fmla="*/ 27 h 58"/>
                  <a:gd name="T42" fmla="*/ 1 w 62"/>
                  <a:gd name="T43" fmla="*/ 22 h 58"/>
                  <a:gd name="T44" fmla="*/ 2 w 62"/>
                  <a:gd name="T45" fmla="*/ 14 h 58"/>
                  <a:gd name="T46" fmla="*/ 4 w 62"/>
                  <a:gd name="T47" fmla="*/ 10 h 58"/>
                  <a:gd name="T48" fmla="*/ 0 w 62"/>
                  <a:gd name="T49" fmla="*/ 8 h 58"/>
                  <a:gd name="T50" fmla="*/ 3 w 62"/>
                  <a:gd name="T51" fmla="*/ 3 h 58"/>
                  <a:gd name="T52" fmla="*/ 3 w 62"/>
                  <a:gd name="T53" fmla="*/ 2 h 58"/>
                  <a:gd name="T54" fmla="*/ 10 w 62"/>
                  <a:gd name="T55" fmla="*/ 0 h 58"/>
                  <a:gd name="T56" fmla="*/ 23 w 62"/>
                  <a:gd name="T57" fmla="*/ 3 h 58"/>
                  <a:gd name="T58" fmla="*/ 30 w 62"/>
                  <a:gd name="T59" fmla="*/ 5 h 58"/>
                  <a:gd name="T60" fmla="*/ 33 w 62"/>
                  <a:gd name="T61" fmla="*/ 7 h 58"/>
                  <a:gd name="T62" fmla="*/ 38 w 62"/>
                  <a:gd name="T63" fmla="*/ 10 h 58"/>
                  <a:gd name="T64" fmla="*/ 39 w 62"/>
                  <a:gd name="T65" fmla="*/ 11 h 58"/>
                  <a:gd name="T66" fmla="*/ 43 w 62"/>
                  <a:gd name="T67" fmla="*/ 9 h 58"/>
                  <a:gd name="T68" fmla="*/ 47 w 62"/>
                  <a:gd name="T69" fmla="*/ 12 h 58"/>
                  <a:gd name="T70" fmla="*/ 49 w 62"/>
                  <a:gd name="T71" fmla="*/ 19 h 58"/>
                  <a:gd name="T72" fmla="*/ 55 w 62"/>
                  <a:gd name="T73" fmla="*/ 26 h 58"/>
                  <a:gd name="T74" fmla="*/ 59 w 62"/>
                  <a:gd name="T75" fmla="*/ 29 h 58"/>
                  <a:gd name="T76" fmla="*/ 62 w 62"/>
                  <a:gd name="T77" fmla="*/ 32 h 58"/>
                  <a:gd name="T78" fmla="*/ 57 w 62"/>
                  <a:gd name="T79" fmla="*/ 33 h 58"/>
                  <a:gd name="T80" fmla="*/ 55 w 62"/>
                  <a:gd name="T81" fmla="*/ 38 h 58"/>
                  <a:gd name="T82" fmla="*/ 56 w 62"/>
                  <a:gd name="T83" fmla="*/ 41 h 58"/>
                  <a:gd name="T84" fmla="*/ 55 w 62"/>
                  <a:gd name="T85" fmla="*/ 47 h 58"/>
                  <a:gd name="T86" fmla="*/ 55 w 62"/>
                  <a:gd name="T87" fmla="*/ 52 h 58"/>
                  <a:gd name="T88" fmla="*/ 55 w 62"/>
                  <a:gd name="T89" fmla="*/ 52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62" h="58">
                    <a:moveTo>
                      <a:pt x="55" y="52"/>
                    </a:moveTo>
                    <a:lnTo>
                      <a:pt x="55" y="52"/>
                    </a:lnTo>
                    <a:lnTo>
                      <a:pt x="56" y="53"/>
                    </a:lnTo>
                    <a:lnTo>
                      <a:pt x="55" y="54"/>
                    </a:lnTo>
                    <a:lnTo>
                      <a:pt x="56" y="56"/>
                    </a:lnTo>
                    <a:lnTo>
                      <a:pt x="55" y="58"/>
                    </a:lnTo>
                    <a:lnTo>
                      <a:pt x="53" y="57"/>
                    </a:lnTo>
                    <a:lnTo>
                      <a:pt x="52" y="56"/>
                    </a:lnTo>
                    <a:lnTo>
                      <a:pt x="51" y="55"/>
                    </a:lnTo>
                    <a:lnTo>
                      <a:pt x="50" y="55"/>
                    </a:lnTo>
                    <a:lnTo>
                      <a:pt x="50" y="51"/>
                    </a:lnTo>
                    <a:lnTo>
                      <a:pt x="47" y="47"/>
                    </a:lnTo>
                    <a:lnTo>
                      <a:pt x="45" y="46"/>
                    </a:lnTo>
                    <a:lnTo>
                      <a:pt x="43" y="47"/>
                    </a:lnTo>
                    <a:lnTo>
                      <a:pt x="43" y="47"/>
                    </a:lnTo>
                    <a:lnTo>
                      <a:pt x="46" y="49"/>
                    </a:lnTo>
                    <a:lnTo>
                      <a:pt x="48" y="51"/>
                    </a:lnTo>
                    <a:lnTo>
                      <a:pt x="48" y="54"/>
                    </a:lnTo>
                    <a:lnTo>
                      <a:pt x="46" y="55"/>
                    </a:lnTo>
                    <a:lnTo>
                      <a:pt x="43" y="53"/>
                    </a:lnTo>
                    <a:lnTo>
                      <a:pt x="39" y="52"/>
                    </a:lnTo>
                    <a:lnTo>
                      <a:pt x="37" y="49"/>
                    </a:lnTo>
                    <a:lnTo>
                      <a:pt x="37" y="47"/>
                    </a:lnTo>
                    <a:lnTo>
                      <a:pt x="40" y="44"/>
                    </a:lnTo>
                    <a:lnTo>
                      <a:pt x="39" y="42"/>
                    </a:lnTo>
                    <a:lnTo>
                      <a:pt x="35" y="37"/>
                    </a:lnTo>
                    <a:lnTo>
                      <a:pt x="33" y="36"/>
                    </a:lnTo>
                    <a:lnTo>
                      <a:pt x="30" y="34"/>
                    </a:lnTo>
                    <a:lnTo>
                      <a:pt x="25" y="31"/>
                    </a:lnTo>
                    <a:lnTo>
                      <a:pt x="24" y="28"/>
                    </a:lnTo>
                    <a:lnTo>
                      <a:pt x="20" y="25"/>
                    </a:lnTo>
                    <a:lnTo>
                      <a:pt x="20" y="22"/>
                    </a:lnTo>
                    <a:lnTo>
                      <a:pt x="17" y="20"/>
                    </a:lnTo>
                    <a:lnTo>
                      <a:pt x="13" y="18"/>
                    </a:lnTo>
                    <a:lnTo>
                      <a:pt x="12" y="19"/>
                    </a:lnTo>
                    <a:lnTo>
                      <a:pt x="13" y="21"/>
                    </a:lnTo>
                    <a:lnTo>
                      <a:pt x="18" y="25"/>
                    </a:lnTo>
                    <a:lnTo>
                      <a:pt x="19" y="28"/>
                    </a:lnTo>
                    <a:lnTo>
                      <a:pt x="17" y="32"/>
                    </a:lnTo>
                    <a:lnTo>
                      <a:pt x="15" y="32"/>
                    </a:lnTo>
                    <a:lnTo>
                      <a:pt x="13" y="29"/>
                    </a:lnTo>
                    <a:lnTo>
                      <a:pt x="11" y="27"/>
                    </a:lnTo>
                    <a:lnTo>
                      <a:pt x="6" y="27"/>
                    </a:lnTo>
                    <a:lnTo>
                      <a:pt x="1" y="22"/>
                    </a:lnTo>
                    <a:lnTo>
                      <a:pt x="0" y="19"/>
                    </a:lnTo>
                    <a:lnTo>
                      <a:pt x="2" y="14"/>
                    </a:lnTo>
                    <a:lnTo>
                      <a:pt x="5" y="14"/>
                    </a:lnTo>
                    <a:lnTo>
                      <a:pt x="4" y="10"/>
                    </a:lnTo>
                    <a:lnTo>
                      <a:pt x="1" y="9"/>
                    </a:lnTo>
                    <a:lnTo>
                      <a:pt x="0" y="8"/>
                    </a:lnTo>
                    <a:lnTo>
                      <a:pt x="1" y="7"/>
                    </a:lnTo>
                    <a:lnTo>
                      <a:pt x="3" y="3"/>
                    </a:lnTo>
                    <a:lnTo>
                      <a:pt x="2" y="3"/>
                    </a:lnTo>
                    <a:lnTo>
                      <a:pt x="3" y="2"/>
                    </a:lnTo>
                    <a:lnTo>
                      <a:pt x="3" y="1"/>
                    </a:lnTo>
                    <a:lnTo>
                      <a:pt x="10" y="0"/>
                    </a:lnTo>
                    <a:lnTo>
                      <a:pt x="19" y="3"/>
                    </a:lnTo>
                    <a:lnTo>
                      <a:pt x="23" y="3"/>
                    </a:lnTo>
                    <a:lnTo>
                      <a:pt x="28" y="2"/>
                    </a:lnTo>
                    <a:lnTo>
                      <a:pt x="30" y="5"/>
                    </a:lnTo>
                    <a:lnTo>
                      <a:pt x="33" y="6"/>
                    </a:lnTo>
                    <a:lnTo>
                      <a:pt x="33" y="7"/>
                    </a:lnTo>
                    <a:lnTo>
                      <a:pt x="36" y="11"/>
                    </a:lnTo>
                    <a:lnTo>
                      <a:pt x="38" y="10"/>
                    </a:lnTo>
                    <a:lnTo>
                      <a:pt x="40" y="10"/>
                    </a:lnTo>
                    <a:lnTo>
                      <a:pt x="39" y="11"/>
                    </a:lnTo>
                    <a:lnTo>
                      <a:pt x="43" y="11"/>
                    </a:lnTo>
                    <a:lnTo>
                      <a:pt x="43" y="9"/>
                    </a:lnTo>
                    <a:lnTo>
                      <a:pt x="45" y="9"/>
                    </a:lnTo>
                    <a:lnTo>
                      <a:pt x="47" y="12"/>
                    </a:lnTo>
                    <a:lnTo>
                      <a:pt x="47" y="15"/>
                    </a:lnTo>
                    <a:lnTo>
                      <a:pt x="49" y="19"/>
                    </a:lnTo>
                    <a:lnTo>
                      <a:pt x="53" y="23"/>
                    </a:lnTo>
                    <a:lnTo>
                      <a:pt x="55" y="26"/>
                    </a:lnTo>
                    <a:lnTo>
                      <a:pt x="56" y="28"/>
                    </a:lnTo>
                    <a:lnTo>
                      <a:pt x="59" y="29"/>
                    </a:lnTo>
                    <a:lnTo>
                      <a:pt x="61" y="31"/>
                    </a:lnTo>
                    <a:lnTo>
                      <a:pt x="62" y="32"/>
                    </a:lnTo>
                    <a:lnTo>
                      <a:pt x="58" y="32"/>
                    </a:lnTo>
                    <a:lnTo>
                      <a:pt x="57" y="33"/>
                    </a:lnTo>
                    <a:lnTo>
                      <a:pt x="57" y="36"/>
                    </a:lnTo>
                    <a:lnTo>
                      <a:pt x="55" y="38"/>
                    </a:lnTo>
                    <a:lnTo>
                      <a:pt x="55" y="41"/>
                    </a:lnTo>
                    <a:lnTo>
                      <a:pt x="56" y="41"/>
                    </a:lnTo>
                    <a:lnTo>
                      <a:pt x="58" y="45"/>
                    </a:lnTo>
                    <a:lnTo>
                      <a:pt x="55" y="47"/>
                    </a:lnTo>
                    <a:lnTo>
                      <a:pt x="55" y="50"/>
                    </a:lnTo>
                    <a:lnTo>
                      <a:pt x="55" y="52"/>
                    </a:lnTo>
                    <a:lnTo>
                      <a:pt x="55" y="52"/>
                    </a:lnTo>
                    <a:lnTo>
                      <a:pt x="55" y="52"/>
                    </a:lnTo>
                    <a:lnTo>
                      <a:pt x="55" y="52"/>
                    </a:lnTo>
                    <a:close/>
                  </a:path>
                </a:pathLst>
              </a:custGeom>
              <a:solidFill>
                <a:schemeClr val="accent2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059" name="Freeform 61"/>
              <p:cNvSpPr>
                <a:spLocks/>
              </p:cNvSpPr>
              <p:nvPr userDrawn="1"/>
            </p:nvSpPr>
            <p:spPr bwMode="auto">
              <a:xfrm>
                <a:off x="1874" y="2655"/>
                <a:ext cx="85" cy="81"/>
              </a:xfrm>
              <a:custGeom>
                <a:avLst/>
                <a:gdLst>
                  <a:gd name="T0" fmla="*/ 34 w 89"/>
                  <a:gd name="T1" fmla="*/ 75 h 84"/>
                  <a:gd name="T2" fmla="*/ 41 w 89"/>
                  <a:gd name="T3" fmla="*/ 73 h 84"/>
                  <a:gd name="T4" fmla="*/ 55 w 89"/>
                  <a:gd name="T5" fmla="*/ 76 h 84"/>
                  <a:gd name="T6" fmla="*/ 62 w 89"/>
                  <a:gd name="T7" fmla="*/ 78 h 84"/>
                  <a:gd name="T8" fmla="*/ 65 w 89"/>
                  <a:gd name="T9" fmla="*/ 80 h 84"/>
                  <a:gd name="T10" fmla="*/ 71 w 89"/>
                  <a:gd name="T11" fmla="*/ 83 h 84"/>
                  <a:gd name="T12" fmla="*/ 73 w 89"/>
                  <a:gd name="T13" fmla="*/ 82 h 84"/>
                  <a:gd name="T14" fmla="*/ 74 w 89"/>
                  <a:gd name="T15" fmla="*/ 79 h 84"/>
                  <a:gd name="T16" fmla="*/ 71 w 89"/>
                  <a:gd name="T17" fmla="*/ 72 h 84"/>
                  <a:gd name="T18" fmla="*/ 75 w 89"/>
                  <a:gd name="T19" fmla="*/ 65 h 84"/>
                  <a:gd name="T20" fmla="*/ 74 w 89"/>
                  <a:gd name="T21" fmla="*/ 63 h 84"/>
                  <a:gd name="T22" fmla="*/ 71 w 89"/>
                  <a:gd name="T23" fmla="*/ 66 h 84"/>
                  <a:gd name="T24" fmla="*/ 72 w 89"/>
                  <a:gd name="T25" fmla="*/ 60 h 84"/>
                  <a:gd name="T26" fmla="*/ 74 w 89"/>
                  <a:gd name="T27" fmla="*/ 54 h 84"/>
                  <a:gd name="T28" fmla="*/ 76 w 89"/>
                  <a:gd name="T29" fmla="*/ 46 h 84"/>
                  <a:gd name="T30" fmla="*/ 77 w 89"/>
                  <a:gd name="T31" fmla="*/ 48 h 84"/>
                  <a:gd name="T32" fmla="*/ 77 w 89"/>
                  <a:gd name="T33" fmla="*/ 55 h 84"/>
                  <a:gd name="T34" fmla="*/ 79 w 89"/>
                  <a:gd name="T35" fmla="*/ 52 h 84"/>
                  <a:gd name="T36" fmla="*/ 80 w 89"/>
                  <a:gd name="T37" fmla="*/ 37 h 84"/>
                  <a:gd name="T38" fmla="*/ 79 w 89"/>
                  <a:gd name="T39" fmla="*/ 33 h 84"/>
                  <a:gd name="T40" fmla="*/ 78 w 89"/>
                  <a:gd name="T41" fmla="*/ 30 h 84"/>
                  <a:gd name="T42" fmla="*/ 81 w 89"/>
                  <a:gd name="T43" fmla="*/ 29 h 84"/>
                  <a:gd name="T44" fmla="*/ 83 w 89"/>
                  <a:gd name="T45" fmla="*/ 25 h 84"/>
                  <a:gd name="T46" fmla="*/ 87 w 89"/>
                  <a:gd name="T47" fmla="*/ 19 h 84"/>
                  <a:gd name="T48" fmla="*/ 86 w 89"/>
                  <a:gd name="T49" fmla="*/ 16 h 84"/>
                  <a:gd name="T50" fmla="*/ 87 w 89"/>
                  <a:gd name="T51" fmla="*/ 12 h 84"/>
                  <a:gd name="T52" fmla="*/ 86 w 89"/>
                  <a:gd name="T53" fmla="*/ 4 h 84"/>
                  <a:gd name="T54" fmla="*/ 89 w 89"/>
                  <a:gd name="T55" fmla="*/ 1 h 84"/>
                  <a:gd name="T56" fmla="*/ 84 w 89"/>
                  <a:gd name="T57" fmla="*/ 1 h 84"/>
                  <a:gd name="T58" fmla="*/ 81 w 89"/>
                  <a:gd name="T59" fmla="*/ 0 h 84"/>
                  <a:gd name="T60" fmla="*/ 78 w 89"/>
                  <a:gd name="T61" fmla="*/ 3 h 84"/>
                  <a:gd name="T62" fmla="*/ 72 w 89"/>
                  <a:gd name="T63" fmla="*/ 7 h 84"/>
                  <a:gd name="T64" fmla="*/ 68 w 89"/>
                  <a:gd name="T65" fmla="*/ 9 h 84"/>
                  <a:gd name="T66" fmla="*/ 62 w 89"/>
                  <a:gd name="T67" fmla="*/ 9 h 84"/>
                  <a:gd name="T68" fmla="*/ 59 w 89"/>
                  <a:gd name="T69" fmla="*/ 6 h 84"/>
                  <a:gd name="T70" fmla="*/ 57 w 89"/>
                  <a:gd name="T71" fmla="*/ 9 h 84"/>
                  <a:gd name="T72" fmla="*/ 50 w 89"/>
                  <a:gd name="T73" fmla="*/ 14 h 84"/>
                  <a:gd name="T74" fmla="*/ 48 w 89"/>
                  <a:gd name="T75" fmla="*/ 17 h 84"/>
                  <a:gd name="T76" fmla="*/ 40 w 89"/>
                  <a:gd name="T77" fmla="*/ 22 h 84"/>
                  <a:gd name="T78" fmla="*/ 36 w 89"/>
                  <a:gd name="T79" fmla="*/ 23 h 84"/>
                  <a:gd name="T80" fmla="*/ 32 w 89"/>
                  <a:gd name="T81" fmla="*/ 21 h 84"/>
                  <a:gd name="T82" fmla="*/ 21 w 89"/>
                  <a:gd name="T83" fmla="*/ 24 h 84"/>
                  <a:gd name="T84" fmla="*/ 16 w 89"/>
                  <a:gd name="T85" fmla="*/ 28 h 84"/>
                  <a:gd name="T86" fmla="*/ 15 w 89"/>
                  <a:gd name="T87" fmla="*/ 36 h 84"/>
                  <a:gd name="T88" fmla="*/ 9 w 89"/>
                  <a:gd name="T89" fmla="*/ 39 h 84"/>
                  <a:gd name="T90" fmla="*/ 6 w 89"/>
                  <a:gd name="T91" fmla="*/ 41 h 84"/>
                  <a:gd name="T92" fmla="*/ 1 w 89"/>
                  <a:gd name="T93" fmla="*/ 40 h 84"/>
                  <a:gd name="T94" fmla="*/ 7 w 89"/>
                  <a:gd name="T95" fmla="*/ 50 h 84"/>
                  <a:gd name="T96" fmla="*/ 10 w 89"/>
                  <a:gd name="T97" fmla="*/ 54 h 84"/>
                  <a:gd name="T98" fmla="*/ 21 w 89"/>
                  <a:gd name="T99" fmla="*/ 65 h 84"/>
                  <a:gd name="T100" fmla="*/ 32 w 89"/>
                  <a:gd name="T101" fmla="*/ 75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89" h="84">
                    <a:moveTo>
                      <a:pt x="33" y="76"/>
                    </a:moveTo>
                    <a:cubicBezTo>
                      <a:pt x="34" y="75"/>
                      <a:pt x="34" y="75"/>
                      <a:pt x="34" y="75"/>
                    </a:cubicBezTo>
                    <a:cubicBezTo>
                      <a:pt x="34" y="74"/>
                      <a:pt x="34" y="74"/>
                      <a:pt x="34" y="74"/>
                    </a:cubicBezTo>
                    <a:cubicBezTo>
                      <a:pt x="41" y="73"/>
                      <a:pt x="41" y="73"/>
                      <a:pt x="41" y="73"/>
                    </a:cubicBezTo>
                    <a:cubicBezTo>
                      <a:pt x="51" y="76"/>
                      <a:pt x="51" y="76"/>
                      <a:pt x="51" y="76"/>
                    </a:cubicBezTo>
                    <a:cubicBezTo>
                      <a:pt x="55" y="76"/>
                      <a:pt x="55" y="76"/>
                      <a:pt x="55" y="76"/>
                    </a:cubicBezTo>
                    <a:cubicBezTo>
                      <a:pt x="60" y="75"/>
                      <a:pt x="60" y="75"/>
                      <a:pt x="60" y="75"/>
                    </a:cubicBezTo>
                    <a:cubicBezTo>
                      <a:pt x="62" y="78"/>
                      <a:pt x="62" y="78"/>
                      <a:pt x="62" y="78"/>
                    </a:cubicBezTo>
                    <a:cubicBezTo>
                      <a:pt x="65" y="79"/>
                      <a:pt x="65" y="79"/>
                      <a:pt x="65" y="79"/>
                    </a:cubicBezTo>
                    <a:cubicBezTo>
                      <a:pt x="65" y="80"/>
                      <a:pt x="65" y="80"/>
                      <a:pt x="65" y="80"/>
                    </a:cubicBezTo>
                    <a:cubicBezTo>
                      <a:pt x="69" y="84"/>
                      <a:pt x="69" y="84"/>
                      <a:pt x="69" y="84"/>
                    </a:cubicBezTo>
                    <a:cubicBezTo>
                      <a:pt x="71" y="83"/>
                      <a:pt x="71" y="83"/>
                      <a:pt x="71" y="83"/>
                    </a:cubicBezTo>
                    <a:cubicBezTo>
                      <a:pt x="73" y="83"/>
                      <a:pt x="73" y="83"/>
                      <a:pt x="73" y="83"/>
                    </a:cubicBezTo>
                    <a:cubicBezTo>
                      <a:pt x="73" y="82"/>
                      <a:pt x="73" y="82"/>
                      <a:pt x="73" y="82"/>
                    </a:cubicBezTo>
                    <a:cubicBezTo>
                      <a:pt x="75" y="81"/>
                      <a:pt x="75" y="81"/>
                      <a:pt x="75" y="81"/>
                    </a:cubicBezTo>
                    <a:cubicBezTo>
                      <a:pt x="74" y="79"/>
                      <a:pt x="74" y="79"/>
                      <a:pt x="74" y="79"/>
                    </a:cubicBezTo>
                    <a:cubicBezTo>
                      <a:pt x="72" y="76"/>
                      <a:pt x="72" y="76"/>
                      <a:pt x="72" y="76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74" y="68"/>
                      <a:pt x="74" y="68"/>
                      <a:pt x="74" y="68"/>
                    </a:cubicBezTo>
                    <a:cubicBezTo>
                      <a:pt x="75" y="65"/>
                      <a:pt x="75" y="65"/>
                      <a:pt x="75" y="65"/>
                    </a:cubicBezTo>
                    <a:cubicBezTo>
                      <a:pt x="75" y="61"/>
                      <a:pt x="75" y="61"/>
                      <a:pt x="75" y="61"/>
                    </a:cubicBezTo>
                    <a:cubicBezTo>
                      <a:pt x="74" y="63"/>
                      <a:pt x="74" y="63"/>
                      <a:pt x="74" y="63"/>
                    </a:cubicBezTo>
                    <a:cubicBezTo>
                      <a:pt x="73" y="65"/>
                      <a:pt x="73" y="65"/>
                      <a:pt x="73" y="65"/>
                    </a:cubicBezTo>
                    <a:cubicBezTo>
                      <a:pt x="71" y="66"/>
                      <a:pt x="71" y="66"/>
                      <a:pt x="71" y="66"/>
                    </a:cubicBezTo>
                    <a:cubicBezTo>
                      <a:pt x="71" y="63"/>
                      <a:pt x="71" y="63"/>
                      <a:pt x="71" y="63"/>
                    </a:cubicBezTo>
                    <a:cubicBezTo>
                      <a:pt x="72" y="60"/>
                      <a:pt x="72" y="60"/>
                      <a:pt x="72" y="60"/>
                    </a:cubicBezTo>
                    <a:cubicBezTo>
                      <a:pt x="74" y="56"/>
                      <a:pt x="74" y="56"/>
                      <a:pt x="74" y="56"/>
                    </a:cubicBezTo>
                    <a:cubicBezTo>
                      <a:pt x="74" y="54"/>
                      <a:pt x="74" y="54"/>
                      <a:pt x="74" y="54"/>
                    </a:cubicBezTo>
                    <a:cubicBezTo>
                      <a:pt x="74" y="51"/>
                      <a:pt x="74" y="51"/>
                      <a:pt x="74" y="51"/>
                    </a:cubicBezTo>
                    <a:cubicBezTo>
                      <a:pt x="76" y="46"/>
                      <a:pt x="76" y="46"/>
                      <a:pt x="76" y="46"/>
                    </a:cubicBezTo>
                    <a:cubicBezTo>
                      <a:pt x="78" y="46"/>
                      <a:pt x="78" y="46"/>
                      <a:pt x="78" y="46"/>
                    </a:cubicBezTo>
                    <a:cubicBezTo>
                      <a:pt x="77" y="48"/>
                      <a:pt x="77" y="48"/>
                      <a:pt x="77" y="48"/>
                    </a:cubicBezTo>
                    <a:cubicBezTo>
                      <a:pt x="77" y="48"/>
                      <a:pt x="77" y="50"/>
                      <a:pt x="77" y="51"/>
                    </a:cubicBezTo>
                    <a:cubicBezTo>
                      <a:pt x="77" y="55"/>
                      <a:pt x="77" y="55"/>
                      <a:pt x="77" y="55"/>
                    </a:cubicBezTo>
                    <a:cubicBezTo>
                      <a:pt x="78" y="55"/>
                      <a:pt x="78" y="55"/>
                      <a:pt x="78" y="55"/>
                    </a:cubicBezTo>
                    <a:cubicBezTo>
                      <a:pt x="79" y="52"/>
                      <a:pt x="79" y="52"/>
                      <a:pt x="79" y="52"/>
                    </a:cubicBezTo>
                    <a:cubicBezTo>
                      <a:pt x="80" y="45"/>
                      <a:pt x="80" y="45"/>
                      <a:pt x="80" y="45"/>
                    </a:cubicBezTo>
                    <a:cubicBezTo>
                      <a:pt x="80" y="37"/>
                      <a:pt x="80" y="37"/>
                      <a:pt x="80" y="37"/>
                    </a:cubicBezTo>
                    <a:cubicBezTo>
                      <a:pt x="81" y="35"/>
                      <a:pt x="81" y="35"/>
                      <a:pt x="81" y="35"/>
                    </a:cubicBezTo>
                    <a:cubicBezTo>
                      <a:pt x="79" y="33"/>
                      <a:pt x="79" y="33"/>
                      <a:pt x="79" y="33"/>
                    </a:cubicBezTo>
                    <a:cubicBezTo>
                      <a:pt x="78" y="32"/>
                      <a:pt x="78" y="32"/>
                      <a:pt x="78" y="32"/>
                    </a:cubicBezTo>
                    <a:cubicBezTo>
                      <a:pt x="78" y="30"/>
                      <a:pt x="78" y="30"/>
                      <a:pt x="78" y="30"/>
                    </a:cubicBezTo>
                    <a:cubicBezTo>
                      <a:pt x="79" y="29"/>
                      <a:pt x="79" y="29"/>
                      <a:pt x="79" y="29"/>
                    </a:cubicBezTo>
                    <a:cubicBezTo>
                      <a:pt x="81" y="29"/>
                      <a:pt x="81" y="29"/>
                      <a:pt x="81" y="29"/>
                    </a:cubicBezTo>
                    <a:cubicBezTo>
                      <a:pt x="81" y="30"/>
                      <a:pt x="81" y="30"/>
                      <a:pt x="81" y="30"/>
                    </a:cubicBezTo>
                    <a:cubicBezTo>
                      <a:pt x="83" y="25"/>
                      <a:pt x="83" y="25"/>
                      <a:pt x="83" y="25"/>
                    </a:cubicBezTo>
                    <a:cubicBezTo>
                      <a:pt x="86" y="22"/>
                      <a:pt x="86" y="22"/>
                      <a:pt x="86" y="22"/>
                    </a:cubicBezTo>
                    <a:cubicBezTo>
                      <a:pt x="87" y="19"/>
                      <a:pt x="87" y="19"/>
                      <a:pt x="87" y="19"/>
                    </a:cubicBezTo>
                    <a:cubicBezTo>
                      <a:pt x="87" y="17"/>
                      <a:pt x="87" y="17"/>
                      <a:pt x="87" y="17"/>
                    </a:cubicBezTo>
                    <a:cubicBezTo>
                      <a:pt x="86" y="16"/>
                      <a:pt x="86" y="16"/>
                      <a:pt x="86" y="16"/>
                    </a:cubicBezTo>
                    <a:cubicBezTo>
                      <a:pt x="85" y="14"/>
                      <a:pt x="85" y="14"/>
                      <a:pt x="85" y="14"/>
                    </a:cubicBezTo>
                    <a:cubicBezTo>
                      <a:pt x="87" y="12"/>
                      <a:pt x="87" y="12"/>
                      <a:pt x="87" y="12"/>
                    </a:cubicBezTo>
                    <a:cubicBezTo>
                      <a:pt x="86" y="9"/>
                      <a:pt x="86" y="9"/>
                      <a:pt x="86" y="9"/>
                    </a:cubicBezTo>
                    <a:cubicBezTo>
                      <a:pt x="86" y="4"/>
                      <a:pt x="86" y="4"/>
                      <a:pt x="86" y="4"/>
                    </a:cubicBezTo>
                    <a:cubicBezTo>
                      <a:pt x="87" y="2"/>
                      <a:pt x="87" y="2"/>
                      <a:pt x="87" y="2"/>
                    </a:cubicBezTo>
                    <a:cubicBezTo>
                      <a:pt x="89" y="1"/>
                      <a:pt x="89" y="1"/>
                      <a:pt x="89" y="1"/>
                    </a:cubicBezTo>
                    <a:cubicBezTo>
                      <a:pt x="86" y="1"/>
                      <a:pt x="86" y="1"/>
                      <a:pt x="86" y="1"/>
                    </a:cubicBezTo>
                    <a:cubicBezTo>
                      <a:pt x="84" y="1"/>
                      <a:pt x="84" y="1"/>
                      <a:pt x="84" y="1"/>
                    </a:cubicBezTo>
                    <a:cubicBezTo>
                      <a:pt x="83" y="0"/>
                      <a:pt x="83" y="0"/>
                      <a:pt x="83" y="0"/>
                    </a:cubicBezTo>
                    <a:cubicBezTo>
                      <a:pt x="81" y="0"/>
                      <a:pt x="81" y="0"/>
                      <a:pt x="81" y="0"/>
                    </a:cubicBezTo>
                    <a:cubicBezTo>
                      <a:pt x="79" y="1"/>
                      <a:pt x="79" y="1"/>
                      <a:pt x="79" y="1"/>
                    </a:cubicBezTo>
                    <a:cubicBezTo>
                      <a:pt x="78" y="3"/>
                      <a:pt x="78" y="3"/>
                      <a:pt x="78" y="3"/>
                    </a:cubicBezTo>
                    <a:cubicBezTo>
                      <a:pt x="76" y="4"/>
                      <a:pt x="76" y="4"/>
                      <a:pt x="76" y="4"/>
                    </a:cubicBezTo>
                    <a:cubicBezTo>
                      <a:pt x="72" y="7"/>
                      <a:pt x="72" y="7"/>
                      <a:pt x="72" y="7"/>
                    </a:cubicBezTo>
                    <a:cubicBezTo>
                      <a:pt x="69" y="7"/>
                      <a:pt x="69" y="7"/>
                      <a:pt x="69" y="7"/>
                    </a:cubicBezTo>
                    <a:cubicBezTo>
                      <a:pt x="68" y="9"/>
                      <a:pt x="68" y="9"/>
                      <a:pt x="68" y="9"/>
                    </a:cubicBezTo>
                    <a:cubicBezTo>
                      <a:pt x="66" y="9"/>
                      <a:pt x="66" y="9"/>
                      <a:pt x="66" y="9"/>
                    </a:cubicBezTo>
                    <a:cubicBezTo>
                      <a:pt x="62" y="9"/>
                      <a:pt x="62" y="9"/>
                      <a:pt x="62" y="9"/>
                    </a:cubicBezTo>
                    <a:cubicBezTo>
                      <a:pt x="62" y="8"/>
                      <a:pt x="62" y="8"/>
                      <a:pt x="62" y="8"/>
                    </a:cubicBezTo>
                    <a:cubicBezTo>
                      <a:pt x="59" y="6"/>
                      <a:pt x="59" y="6"/>
                      <a:pt x="59" y="6"/>
                    </a:cubicBezTo>
                    <a:cubicBezTo>
                      <a:pt x="57" y="6"/>
                      <a:pt x="57" y="6"/>
                      <a:pt x="57" y="6"/>
                    </a:cubicBezTo>
                    <a:cubicBezTo>
                      <a:pt x="57" y="9"/>
                      <a:pt x="57" y="9"/>
                      <a:pt x="57" y="9"/>
                    </a:cubicBezTo>
                    <a:cubicBezTo>
                      <a:pt x="53" y="9"/>
                      <a:pt x="53" y="9"/>
                      <a:pt x="53" y="9"/>
                    </a:cubicBezTo>
                    <a:cubicBezTo>
                      <a:pt x="50" y="14"/>
                      <a:pt x="50" y="14"/>
                      <a:pt x="50" y="14"/>
                    </a:cubicBezTo>
                    <a:cubicBezTo>
                      <a:pt x="50" y="16"/>
                      <a:pt x="50" y="16"/>
                      <a:pt x="50" y="16"/>
                    </a:cubicBezTo>
                    <a:cubicBezTo>
                      <a:pt x="48" y="17"/>
                      <a:pt x="48" y="17"/>
                      <a:pt x="48" y="17"/>
                    </a:cubicBezTo>
                    <a:cubicBezTo>
                      <a:pt x="44" y="20"/>
                      <a:pt x="44" y="20"/>
                      <a:pt x="44" y="20"/>
                    </a:cubicBezTo>
                    <a:cubicBezTo>
                      <a:pt x="40" y="22"/>
                      <a:pt x="40" y="22"/>
                      <a:pt x="40" y="22"/>
                    </a:cubicBezTo>
                    <a:cubicBezTo>
                      <a:pt x="39" y="24"/>
                      <a:pt x="39" y="24"/>
                      <a:pt x="39" y="24"/>
                    </a:cubicBezTo>
                    <a:cubicBezTo>
                      <a:pt x="36" y="23"/>
                      <a:pt x="36" y="23"/>
                      <a:pt x="36" y="23"/>
                    </a:cubicBezTo>
                    <a:cubicBezTo>
                      <a:pt x="34" y="23"/>
                      <a:pt x="34" y="23"/>
                      <a:pt x="34" y="23"/>
                    </a:cubicBezTo>
                    <a:cubicBezTo>
                      <a:pt x="32" y="21"/>
                      <a:pt x="32" y="21"/>
                      <a:pt x="32" y="21"/>
                    </a:cubicBezTo>
                    <a:cubicBezTo>
                      <a:pt x="28" y="21"/>
                      <a:pt x="28" y="21"/>
                      <a:pt x="28" y="21"/>
                    </a:cubicBezTo>
                    <a:cubicBezTo>
                      <a:pt x="21" y="24"/>
                      <a:pt x="21" y="24"/>
                      <a:pt x="21" y="24"/>
                    </a:cubicBezTo>
                    <a:cubicBezTo>
                      <a:pt x="15" y="25"/>
                      <a:pt x="15" y="25"/>
                      <a:pt x="15" y="25"/>
                    </a:cubicBezTo>
                    <a:cubicBezTo>
                      <a:pt x="16" y="28"/>
                      <a:pt x="16" y="28"/>
                      <a:pt x="16" y="28"/>
                    </a:cubicBezTo>
                    <a:cubicBezTo>
                      <a:pt x="16" y="31"/>
                      <a:pt x="16" y="31"/>
                      <a:pt x="16" y="31"/>
                    </a:cubicBezTo>
                    <a:cubicBezTo>
                      <a:pt x="15" y="36"/>
                      <a:pt x="15" y="36"/>
                      <a:pt x="15" y="36"/>
                    </a:cubicBezTo>
                    <a:cubicBezTo>
                      <a:pt x="14" y="38"/>
                      <a:pt x="14" y="38"/>
                      <a:pt x="14" y="38"/>
                    </a:cubicBezTo>
                    <a:cubicBezTo>
                      <a:pt x="9" y="39"/>
                      <a:pt x="9" y="39"/>
                      <a:pt x="9" y="39"/>
                    </a:cubicBezTo>
                    <a:cubicBezTo>
                      <a:pt x="6" y="39"/>
                      <a:pt x="6" y="39"/>
                      <a:pt x="6" y="39"/>
                    </a:cubicBezTo>
                    <a:cubicBezTo>
                      <a:pt x="6" y="41"/>
                      <a:pt x="6" y="41"/>
                      <a:pt x="6" y="41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1" y="40"/>
                      <a:pt x="1" y="40"/>
                      <a:pt x="1" y="40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7" y="50"/>
                      <a:pt x="7" y="50"/>
                      <a:pt x="7" y="50"/>
                    </a:cubicBezTo>
                    <a:cubicBezTo>
                      <a:pt x="10" y="52"/>
                      <a:pt x="10" y="52"/>
                      <a:pt x="10" y="52"/>
                    </a:cubicBezTo>
                    <a:cubicBezTo>
                      <a:pt x="10" y="54"/>
                      <a:pt x="10" y="54"/>
                      <a:pt x="10" y="54"/>
                    </a:cubicBezTo>
                    <a:cubicBezTo>
                      <a:pt x="16" y="59"/>
                      <a:pt x="16" y="59"/>
                      <a:pt x="16" y="59"/>
                    </a:cubicBezTo>
                    <a:cubicBezTo>
                      <a:pt x="21" y="65"/>
                      <a:pt x="21" y="65"/>
                      <a:pt x="21" y="65"/>
                    </a:cubicBezTo>
                    <a:cubicBezTo>
                      <a:pt x="29" y="75"/>
                      <a:pt x="29" y="75"/>
                      <a:pt x="29" y="75"/>
                    </a:cubicBezTo>
                    <a:cubicBezTo>
                      <a:pt x="32" y="75"/>
                      <a:pt x="32" y="75"/>
                      <a:pt x="32" y="75"/>
                    </a:cubicBezTo>
                    <a:lnTo>
                      <a:pt x="33" y="76"/>
                    </a:lnTo>
                    <a:close/>
                  </a:path>
                </a:pathLst>
              </a:custGeom>
              <a:solidFill>
                <a:schemeClr val="accent2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060" name="Freeform 62"/>
              <p:cNvSpPr>
                <a:spLocks/>
              </p:cNvSpPr>
              <p:nvPr userDrawn="1"/>
            </p:nvSpPr>
            <p:spPr bwMode="auto">
              <a:xfrm>
                <a:off x="1837" y="2635"/>
                <a:ext cx="123" cy="58"/>
              </a:xfrm>
              <a:custGeom>
                <a:avLst/>
                <a:gdLst>
                  <a:gd name="T0" fmla="*/ 46 w 123"/>
                  <a:gd name="T1" fmla="*/ 58 h 58"/>
                  <a:gd name="T2" fmla="*/ 52 w 123"/>
                  <a:gd name="T3" fmla="*/ 55 h 58"/>
                  <a:gd name="T4" fmla="*/ 53 w 123"/>
                  <a:gd name="T5" fmla="*/ 47 h 58"/>
                  <a:gd name="T6" fmla="*/ 57 w 123"/>
                  <a:gd name="T7" fmla="*/ 43 h 58"/>
                  <a:gd name="T8" fmla="*/ 68 w 123"/>
                  <a:gd name="T9" fmla="*/ 40 h 58"/>
                  <a:gd name="T10" fmla="*/ 72 w 123"/>
                  <a:gd name="T11" fmla="*/ 42 h 58"/>
                  <a:gd name="T12" fmla="*/ 76 w 123"/>
                  <a:gd name="T13" fmla="*/ 41 h 58"/>
                  <a:gd name="T14" fmla="*/ 83 w 123"/>
                  <a:gd name="T15" fmla="*/ 37 h 58"/>
                  <a:gd name="T16" fmla="*/ 85 w 123"/>
                  <a:gd name="T17" fmla="*/ 34 h 58"/>
                  <a:gd name="T18" fmla="*/ 92 w 123"/>
                  <a:gd name="T19" fmla="*/ 29 h 58"/>
                  <a:gd name="T20" fmla="*/ 94 w 123"/>
                  <a:gd name="T21" fmla="*/ 26 h 58"/>
                  <a:gd name="T22" fmla="*/ 97 w 123"/>
                  <a:gd name="T23" fmla="*/ 29 h 58"/>
                  <a:gd name="T24" fmla="*/ 102 w 123"/>
                  <a:gd name="T25" fmla="*/ 29 h 58"/>
                  <a:gd name="T26" fmla="*/ 106 w 123"/>
                  <a:gd name="T27" fmla="*/ 27 h 58"/>
                  <a:gd name="T28" fmla="*/ 112 w 123"/>
                  <a:gd name="T29" fmla="*/ 23 h 58"/>
                  <a:gd name="T30" fmla="*/ 115 w 123"/>
                  <a:gd name="T31" fmla="*/ 20 h 58"/>
                  <a:gd name="T32" fmla="*/ 118 w 123"/>
                  <a:gd name="T33" fmla="*/ 21 h 58"/>
                  <a:gd name="T34" fmla="*/ 122 w 123"/>
                  <a:gd name="T35" fmla="*/ 21 h 58"/>
                  <a:gd name="T36" fmla="*/ 122 w 123"/>
                  <a:gd name="T37" fmla="*/ 18 h 58"/>
                  <a:gd name="T38" fmla="*/ 114 w 123"/>
                  <a:gd name="T39" fmla="*/ 14 h 58"/>
                  <a:gd name="T40" fmla="*/ 115 w 123"/>
                  <a:gd name="T41" fmla="*/ 17 h 58"/>
                  <a:gd name="T42" fmla="*/ 106 w 123"/>
                  <a:gd name="T43" fmla="*/ 17 h 58"/>
                  <a:gd name="T44" fmla="*/ 101 w 123"/>
                  <a:gd name="T45" fmla="*/ 15 h 58"/>
                  <a:gd name="T46" fmla="*/ 99 w 123"/>
                  <a:gd name="T47" fmla="*/ 13 h 58"/>
                  <a:gd name="T48" fmla="*/ 101 w 123"/>
                  <a:gd name="T49" fmla="*/ 11 h 58"/>
                  <a:gd name="T50" fmla="*/ 105 w 123"/>
                  <a:gd name="T51" fmla="*/ 11 h 58"/>
                  <a:gd name="T52" fmla="*/ 111 w 123"/>
                  <a:gd name="T53" fmla="*/ 12 h 58"/>
                  <a:gd name="T54" fmla="*/ 103 w 123"/>
                  <a:gd name="T55" fmla="*/ 7 h 58"/>
                  <a:gd name="T56" fmla="*/ 97 w 123"/>
                  <a:gd name="T57" fmla="*/ 7 h 58"/>
                  <a:gd name="T58" fmla="*/ 95 w 123"/>
                  <a:gd name="T59" fmla="*/ 9 h 58"/>
                  <a:gd name="T60" fmla="*/ 84 w 123"/>
                  <a:gd name="T61" fmla="*/ 6 h 58"/>
                  <a:gd name="T62" fmla="*/ 72 w 123"/>
                  <a:gd name="T63" fmla="*/ 2 h 58"/>
                  <a:gd name="T64" fmla="*/ 67 w 123"/>
                  <a:gd name="T65" fmla="*/ 2 h 58"/>
                  <a:gd name="T66" fmla="*/ 66 w 123"/>
                  <a:gd name="T67" fmla="*/ 5 h 58"/>
                  <a:gd name="T68" fmla="*/ 60 w 123"/>
                  <a:gd name="T69" fmla="*/ 5 h 58"/>
                  <a:gd name="T70" fmla="*/ 47 w 123"/>
                  <a:gd name="T71" fmla="*/ 6 h 58"/>
                  <a:gd name="T72" fmla="*/ 32 w 123"/>
                  <a:gd name="T73" fmla="*/ 9 h 58"/>
                  <a:gd name="T74" fmla="*/ 29 w 123"/>
                  <a:gd name="T75" fmla="*/ 9 h 58"/>
                  <a:gd name="T76" fmla="*/ 25 w 123"/>
                  <a:gd name="T77" fmla="*/ 14 h 58"/>
                  <a:gd name="T78" fmla="*/ 17 w 123"/>
                  <a:gd name="T79" fmla="*/ 16 h 58"/>
                  <a:gd name="T80" fmla="*/ 9 w 123"/>
                  <a:gd name="T81" fmla="*/ 23 h 58"/>
                  <a:gd name="T82" fmla="*/ 8 w 123"/>
                  <a:gd name="T83" fmla="*/ 32 h 58"/>
                  <a:gd name="T84" fmla="*/ 3 w 123"/>
                  <a:gd name="T85" fmla="*/ 36 h 58"/>
                  <a:gd name="T86" fmla="*/ 3 w 123"/>
                  <a:gd name="T87" fmla="*/ 37 h 58"/>
                  <a:gd name="T88" fmla="*/ 3 w 123"/>
                  <a:gd name="T89" fmla="*/ 50 h 58"/>
                  <a:gd name="T90" fmla="*/ 11 w 123"/>
                  <a:gd name="T91" fmla="*/ 53 h 58"/>
                  <a:gd name="T92" fmla="*/ 17 w 123"/>
                  <a:gd name="T93" fmla="*/ 55 h 58"/>
                  <a:gd name="T94" fmla="*/ 16 w 123"/>
                  <a:gd name="T95" fmla="*/ 52 h 58"/>
                  <a:gd name="T96" fmla="*/ 22 w 123"/>
                  <a:gd name="T97" fmla="*/ 56 h 58"/>
                  <a:gd name="T98" fmla="*/ 33 w 123"/>
                  <a:gd name="T99" fmla="*/ 58 h 58"/>
                  <a:gd name="T100" fmla="*/ 35 w 123"/>
                  <a:gd name="T101" fmla="*/ 53 h 58"/>
                  <a:gd name="T102" fmla="*/ 37 w 123"/>
                  <a:gd name="T103" fmla="*/ 53 h 58"/>
                  <a:gd name="T104" fmla="*/ 40 w 123"/>
                  <a:gd name="T105" fmla="*/ 54 h 58"/>
                  <a:gd name="T106" fmla="*/ 42 w 123"/>
                  <a:gd name="T107" fmla="*/ 54 h 58"/>
                  <a:gd name="T108" fmla="*/ 43 w 123"/>
                  <a:gd name="T109" fmla="*/ 58 h 58"/>
                  <a:gd name="T110" fmla="*/ 43 w 123"/>
                  <a:gd name="T111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23" h="58">
                    <a:moveTo>
                      <a:pt x="43" y="58"/>
                    </a:moveTo>
                    <a:lnTo>
                      <a:pt x="46" y="58"/>
                    </a:lnTo>
                    <a:lnTo>
                      <a:pt x="51" y="57"/>
                    </a:lnTo>
                    <a:lnTo>
                      <a:pt x="52" y="55"/>
                    </a:lnTo>
                    <a:lnTo>
                      <a:pt x="53" y="50"/>
                    </a:lnTo>
                    <a:lnTo>
                      <a:pt x="53" y="47"/>
                    </a:lnTo>
                    <a:lnTo>
                      <a:pt x="52" y="44"/>
                    </a:lnTo>
                    <a:lnTo>
                      <a:pt x="57" y="43"/>
                    </a:lnTo>
                    <a:lnTo>
                      <a:pt x="64" y="40"/>
                    </a:lnTo>
                    <a:lnTo>
                      <a:pt x="68" y="40"/>
                    </a:lnTo>
                    <a:lnTo>
                      <a:pt x="70" y="42"/>
                    </a:lnTo>
                    <a:lnTo>
                      <a:pt x="72" y="42"/>
                    </a:lnTo>
                    <a:lnTo>
                      <a:pt x="75" y="43"/>
                    </a:lnTo>
                    <a:lnTo>
                      <a:pt x="76" y="41"/>
                    </a:lnTo>
                    <a:lnTo>
                      <a:pt x="79" y="39"/>
                    </a:lnTo>
                    <a:lnTo>
                      <a:pt x="83" y="37"/>
                    </a:lnTo>
                    <a:lnTo>
                      <a:pt x="85" y="36"/>
                    </a:lnTo>
                    <a:lnTo>
                      <a:pt x="85" y="34"/>
                    </a:lnTo>
                    <a:lnTo>
                      <a:pt x="88" y="29"/>
                    </a:lnTo>
                    <a:lnTo>
                      <a:pt x="92" y="29"/>
                    </a:lnTo>
                    <a:lnTo>
                      <a:pt x="92" y="26"/>
                    </a:lnTo>
                    <a:lnTo>
                      <a:pt x="94" y="26"/>
                    </a:lnTo>
                    <a:lnTo>
                      <a:pt x="97" y="28"/>
                    </a:lnTo>
                    <a:lnTo>
                      <a:pt x="97" y="29"/>
                    </a:lnTo>
                    <a:lnTo>
                      <a:pt x="100" y="29"/>
                    </a:lnTo>
                    <a:lnTo>
                      <a:pt x="102" y="29"/>
                    </a:lnTo>
                    <a:lnTo>
                      <a:pt x="103" y="27"/>
                    </a:lnTo>
                    <a:lnTo>
                      <a:pt x="106" y="27"/>
                    </a:lnTo>
                    <a:lnTo>
                      <a:pt x="110" y="24"/>
                    </a:lnTo>
                    <a:lnTo>
                      <a:pt x="112" y="23"/>
                    </a:lnTo>
                    <a:lnTo>
                      <a:pt x="113" y="21"/>
                    </a:lnTo>
                    <a:lnTo>
                      <a:pt x="115" y="20"/>
                    </a:lnTo>
                    <a:lnTo>
                      <a:pt x="117" y="20"/>
                    </a:lnTo>
                    <a:lnTo>
                      <a:pt x="118" y="21"/>
                    </a:lnTo>
                    <a:lnTo>
                      <a:pt x="120" y="21"/>
                    </a:lnTo>
                    <a:lnTo>
                      <a:pt x="122" y="21"/>
                    </a:lnTo>
                    <a:lnTo>
                      <a:pt x="123" y="20"/>
                    </a:lnTo>
                    <a:lnTo>
                      <a:pt x="122" y="18"/>
                    </a:lnTo>
                    <a:lnTo>
                      <a:pt x="118" y="15"/>
                    </a:lnTo>
                    <a:lnTo>
                      <a:pt x="114" y="14"/>
                    </a:lnTo>
                    <a:lnTo>
                      <a:pt x="114" y="14"/>
                    </a:lnTo>
                    <a:lnTo>
                      <a:pt x="115" y="17"/>
                    </a:lnTo>
                    <a:lnTo>
                      <a:pt x="111" y="17"/>
                    </a:lnTo>
                    <a:lnTo>
                      <a:pt x="106" y="17"/>
                    </a:lnTo>
                    <a:lnTo>
                      <a:pt x="104" y="15"/>
                    </a:lnTo>
                    <a:lnTo>
                      <a:pt x="101" y="15"/>
                    </a:lnTo>
                    <a:lnTo>
                      <a:pt x="99" y="15"/>
                    </a:lnTo>
                    <a:lnTo>
                      <a:pt x="99" y="13"/>
                    </a:lnTo>
                    <a:lnTo>
                      <a:pt x="101" y="13"/>
                    </a:lnTo>
                    <a:lnTo>
                      <a:pt x="101" y="11"/>
                    </a:lnTo>
                    <a:lnTo>
                      <a:pt x="102" y="10"/>
                    </a:lnTo>
                    <a:lnTo>
                      <a:pt x="105" y="11"/>
                    </a:lnTo>
                    <a:lnTo>
                      <a:pt x="110" y="13"/>
                    </a:lnTo>
                    <a:lnTo>
                      <a:pt x="111" y="12"/>
                    </a:lnTo>
                    <a:lnTo>
                      <a:pt x="108" y="9"/>
                    </a:lnTo>
                    <a:lnTo>
                      <a:pt x="103" y="7"/>
                    </a:lnTo>
                    <a:lnTo>
                      <a:pt x="100" y="7"/>
                    </a:lnTo>
                    <a:lnTo>
                      <a:pt x="97" y="7"/>
                    </a:lnTo>
                    <a:lnTo>
                      <a:pt x="95" y="6"/>
                    </a:lnTo>
                    <a:lnTo>
                      <a:pt x="95" y="9"/>
                    </a:lnTo>
                    <a:lnTo>
                      <a:pt x="92" y="7"/>
                    </a:lnTo>
                    <a:lnTo>
                      <a:pt x="84" y="6"/>
                    </a:lnTo>
                    <a:lnTo>
                      <a:pt x="76" y="6"/>
                    </a:lnTo>
                    <a:lnTo>
                      <a:pt x="72" y="2"/>
                    </a:lnTo>
                    <a:lnTo>
                      <a:pt x="68" y="0"/>
                    </a:lnTo>
                    <a:lnTo>
                      <a:pt x="67" y="2"/>
                    </a:lnTo>
                    <a:lnTo>
                      <a:pt x="69" y="4"/>
                    </a:lnTo>
                    <a:lnTo>
                      <a:pt x="66" y="5"/>
                    </a:lnTo>
                    <a:lnTo>
                      <a:pt x="64" y="6"/>
                    </a:lnTo>
                    <a:lnTo>
                      <a:pt x="60" y="5"/>
                    </a:lnTo>
                    <a:lnTo>
                      <a:pt x="55" y="7"/>
                    </a:lnTo>
                    <a:lnTo>
                      <a:pt x="47" y="6"/>
                    </a:lnTo>
                    <a:lnTo>
                      <a:pt x="36" y="6"/>
                    </a:lnTo>
                    <a:lnTo>
                      <a:pt x="32" y="9"/>
                    </a:lnTo>
                    <a:lnTo>
                      <a:pt x="29" y="7"/>
                    </a:lnTo>
                    <a:lnTo>
                      <a:pt x="29" y="9"/>
                    </a:lnTo>
                    <a:lnTo>
                      <a:pt x="26" y="10"/>
                    </a:lnTo>
                    <a:lnTo>
                      <a:pt x="25" y="14"/>
                    </a:lnTo>
                    <a:lnTo>
                      <a:pt x="19" y="17"/>
                    </a:lnTo>
                    <a:lnTo>
                      <a:pt x="17" y="16"/>
                    </a:lnTo>
                    <a:lnTo>
                      <a:pt x="13" y="20"/>
                    </a:lnTo>
                    <a:lnTo>
                      <a:pt x="9" y="23"/>
                    </a:lnTo>
                    <a:lnTo>
                      <a:pt x="10" y="27"/>
                    </a:lnTo>
                    <a:lnTo>
                      <a:pt x="8" y="32"/>
                    </a:lnTo>
                    <a:lnTo>
                      <a:pt x="3" y="35"/>
                    </a:lnTo>
                    <a:lnTo>
                      <a:pt x="3" y="36"/>
                    </a:lnTo>
                    <a:lnTo>
                      <a:pt x="3" y="37"/>
                    </a:lnTo>
                    <a:lnTo>
                      <a:pt x="3" y="37"/>
                    </a:lnTo>
                    <a:lnTo>
                      <a:pt x="0" y="46"/>
                    </a:lnTo>
                    <a:lnTo>
                      <a:pt x="3" y="50"/>
                    </a:lnTo>
                    <a:lnTo>
                      <a:pt x="5" y="50"/>
                    </a:lnTo>
                    <a:lnTo>
                      <a:pt x="11" y="53"/>
                    </a:lnTo>
                    <a:lnTo>
                      <a:pt x="16" y="56"/>
                    </a:lnTo>
                    <a:lnTo>
                      <a:pt x="17" y="55"/>
                    </a:lnTo>
                    <a:lnTo>
                      <a:pt x="15" y="53"/>
                    </a:lnTo>
                    <a:lnTo>
                      <a:pt x="16" y="52"/>
                    </a:lnTo>
                    <a:lnTo>
                      <a:pt x="19" y="53"/>
                    </a:lnTo>
                    <a:lnTo>
                      <a:pt x="22" y="56"/>
                    </a:lnTo>
                    <a:lnTo>
                      <a:pt x="24" y="58"/>
                    </a:lnTo>
                    <a:lnTo>
                      <a:pt x="33" y="58"/>
                    </a:lnTo>
                    <a:lnTo>
                      <a:pt x="36" y="55"/>
                    </a:lnTo>
                    <a:lnTo>
                      <a:pt x="35" y="53"/>
                    </a:lnTo>
                    <a:lnTo>
                      <a:pt x="36" y="52"/>
                    </a:lnTo>
                    <a:lnTo>
                      <a:pt x="37" y="53"/>
                    </a:lnTo>
                    <a:lnTo>
                      <a:pt x="38" y="54"/>
                    </a:lnTo>
                    <a:lnTo>
                      <a:pt x="40" y="54"/>
                    </a:lnTo>
                    <a:lnTo>
                      <a:pt x="40" y="53"/>
                    </a:lnTo>
                    <a:lnTo>
                      <a:pt x="42" y="54"/>
                    </a:lnTo>
                    <a:lnTo>
                      <a:pt x="42" y="56"/>
                    </a:lnTo>
                    <a:lnTo>
                      <a:pt x="43" y="58"/>
                    </a:lnTo>
                    <a:lnTo>
                      <a:pt x="43" y="58"/>
                    </a:lnTo>
                    <a:lnTo>
                      <a:pt x="43" y="58"/>
                    </a:lnTo>
                    <a:close/>
                  </a:path>
                </a:pathLst>
              </a:custGeom>
              <a:solidFill>
                <a:schemeClr val="accent2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061" name="Freeform 63"/>
              <p:cNvSpPr>
                <a:spLocks/>
              </p:cNvSpPr>
              <p:nvPr userDrawn="1"/>
            </p:nvSpPr>
            <p:spPr bwMode="auto">
              <a:xfrm>
                <a:off x="1790" y="2605"/>
                <a:ext cx="76" cy="76"/>
              </a:xfrm>
              <a:custGeom>
                <a:avLst/>
                <a:gdLst>
                  <a:gd name="T0" fmla="*/ 38 w 76"/>
                  <a:gd name="T1" fmla="*/ 76 h 76"/>
                  <a:gd name="T2" fmla="*/ 39 w 76"/>
                  <a:gd name="T3" fmla="*/ 74 h 76"/>
                  <a:gd name="T4" fmla="*/ 39 w 76"/>
                  <a:gd name="T5" fmla="*/ 72 h 76"/>
                  <a:gd name="T6" fmla="*/ 42 w 76"/>
                  <a:gd name="T7" fmla="*/ 69 h 76"/>
                  <a:gd name="T8" fmla="*/ 47 w 76"/>
                  <a:gd name="T9" fmla="*/ 68 h 76"/>
                  <a:gd name="T10" fmla="*/ 50 w 76"/>
                  <a:gd name="T11" fmla="*/ 67 h 76"/>
                  <a:gd name="T12" fmla="*/ 50 w 76"/>
                  <a:gd name="T13" fmla="*/ 65 h 76"/>
                  <a:gd name="T14" fmla="*/ 55 w 76"/>
                  <a:gd name="T15" fmla="*/ 62 h 76"/>
                  <a:gd name="T16" fmla="*/ 57 w 76"/>
                  <a:gd name="T17" fmla="*/ 57 h 76"/>
                  <a:gd name="T18" fmla="*/ 56 w 76"/>
                  <a:gd name="T19" fmla="*/ 53 h 76"/>
                  <a:gd name="T20" fmla="*/ 60 w 76"/>
                  <a:gd name="T21" fmla="*/ 50 h 76"/>
                  <a:gd name="T22" fmla="*/ 64 w 76"/>
                  <a:gd name="T23" fmla="*/ 46 h 76"/>
                  <a:gd name="T24" fmla="*/ 66 w 76"/>
                  <a:gd name="T25" fmla="*/ 47 h 76"/>
                  <a:gd name="T26" fmla="*/ 72 w 76"/>
                  <a:gd name="T27" fmla="*/ 44 h 76"/>
                  <a:gd name="T28" fmla="*/ 73 w 76"/>
                  <a:gd name="T29" fmla="*/ 40 h 76"/>
                  <a:gd name="T30" fmla="*/ 76 w 76"/>
                  <a:gd name="T31" fmla="*/ 39 h 76"/>
                  <a:gd name="T32" fmla="*/ 76 w 76"/>
                  <a:gd name="T33" fmla="*/ 37 h 76"/>
                  <a:gd name="T34" fmla="*/ 75 w 76"/>
                  <a:gd name="T35" fmla="*/ 36 h 76"/>
                  <a:gd name="T36" fmla="*/ 71 w 76"/>
                  <a:gd name="T37" fmla="*/ 35 h 76"/>
                  <a:gd name="T38" fmla="*/ 70 w 76"/>
                  <a:gd name="T39" fmla="*/ 38 h 76"/>
                  <a:gd name="T40" fmla="*/ 67 w 76"/>
                  <a:gd name="T41" fmla="*/ 36 h 76"/>
                  <a:gd name="T42" fmla="*/ 64 w 76"/>
                  <a:gd name="T43" fmla="*/ 36 h 76"/>
                  <a:gd name="T44" fmla="*/ 63 w 76"/>
                  <a:gd name="T45" fmla="*/ 34 h 76"/>
                  <a:gd name="T46" fmla="*/ 61 w 76"/>
                  <a:gd name="T47" fmla="*/ 34 h 76"/>
                  <a:gd name="T48" fmla="*/ 61 w 76"/>
                  <a:gd name="T49" fmla="*/ 33 h 76"/>
                  <a:gd name="T50" fmla="*/ 58 w 76"/>
                  <a:gd name="T51" fmla="*/ 33 h 76"/>
                  <a:gd name="T52" fmla="*/ 59 w 76"/>
                  <a:gd name="T53" fmla="*/ 1 h 76"/>
                  <a:gd name="T54" fmla="*/ 59 w 76"/>
                  <a:gd name="T55" fmla="*/ 0 h 76"/>
                  <a:gd name="T56" fmla="*/ 26 w 76"/>
                  <a:gd name="T57" fmla="*/ 0 h 76"/>
                  <a:gd name="T58" fmla="*/ 26 w 76"/>
                  <a:gd name="T59" fmla="*/ 9 h 76"/>
                  <a:gd name="T60" fmla="*/ 18 w 76"/>
                  <a:gd name="T61" fmla="*/ 9 h 76"/>
                  <a:gd name="T62" fmla="*/ 20 w 76"/>
                  <a:gd name="T63" fmla="*/ 12 h 76"/>
                  <a:gd name="T64" fmla="*/ 21 w 76"/>
                  <a:gd name="T65" fmla="*/ 14 h 76"/>
                  <a:gd name="T66" fmla="*/ 25 w 76"/>
                  <a:gd name="T67" fmla="*/ 17 h 76"/>
                  <a:gd name="T68" fmla="*/ 28 w 76"/>
                  <a:gd name="T69" fmla="*/ 19 h 76"/>
                  <a:gd name="T70" fmla="*/ 30 w 76"/>
                  <a:gd name="T71" fmla="*/ 19 h 76"/>
                  <a:gd name="T72" fmla="*/ 31 w 76"/>
                  <a:gd name="T73" fmla="*/ 22 h 76"/>
                  <a:gd name="T74" fmla="*/ 32 w 76"/>
                  <a:gd name="T75" fmla="*/ 24 h 76"/>
                  <a:gd name="T76" fmla="*/ 33 w 76"/>
                  <a:gd name="T77" fmla="*/ 26 h 76"/>
                  <a:gd name="T78" fmla="*/ 36 w 76"/>
                  <a:gd name="T79" fmla="*/ 26 h 76"/>
                  <a:gd name="T80" fmla="*/ 38 w 76"/>
                  <a:gd name="T81" fmla="*/ 26 h 76"/>
                  <a:gd name="T82" fmla="*/ 38 w 76"/>
                  <a:gd name="T83" fmla="*/ 28 h 76"/>
                  <a:gd name="T84" fmla="*/ 36 w 76"/>
                  <a:gd name="T85" fmla="*/ 31 h 76"/>
                  <a:gd name="T86" fmla="*/ 13 w 76"/>
                  <a:gd name="T87" fmla="*/ 31 h 76"/>
                  <a:gd name="T88" fmla="*/ 1 w 76"/>
                  <a:gd name="T89" fmla="*/ 48 h 76"/>
                  <a:gd name="T90" fmla="*/ 2 w 76"/>
                  <a:gd name="T91" fmla="*/ 50 h 76"/>
                  <a:gd name="T92" fmla="*/ 2 w 76"/>
                  <a:gd name="T93" fmla="*/ 51 h 76"/>
                  <a:gd name="T94" fmla="*/ 2 w 76"/>
                  <a:gd name="T95" fmla="*/ 53 h 76"/>
                  <a:gd name="T96" fmla="*/ 2 w 76"/>
                  <a:gd name="T97" fmla="*/ 55 h 76"/>
                  <a:gd name="T98" fmla="*/ 3 w 76"/>
                  <a:gd name="T99" fmla="*/ 55 h 76"/>
                  <a:gd name="T100" fmla="*/ 3 w 76"/>
                  <a:gd name="T101" fmla="*/ 57 h 76"/>
                  <a:gd name="T102" fmla="*/ 1 w 76"/>
                  <a:gd name="T103" fmla="*/ 58 h 76"/>
                  <a:gd name="T104" fmla="*/ 0 w 76"/>
                  <a:gd name="T105" fmla="*/ 60 h 76"/>
                  <a:gd name="T106" fmla="*/ 0 w 76"/>
                  <a:gd name="T107" fmla="*/ 60 h 76"/>
                  <a:gd name="T108" fmla="*/ 3 w 76"/>
                  <a:gd name="T109" fmla="*/ 64 h 76"/>
                  <a:gd name="T110" fmla="*/ 5 w 76"/>
                  <a:gd name="T111" fmla="*/ 68 h 76"/>
                  <a:gd name="T112" fmla="*/ 8 w 76"/>
                  <a:gd name="T113" fmla="*/ 68 h 76"/>
                  <a:gd name="T114" fmla="*/ 11 w 76"/>
                  <a:gd name="T115" fmla="*/ 70 h 76"/>
                  <a:gd name="T116" fmla="*/ 20 w 76"/>
                  <a:gd name="T117" fmla="*/ 74 h 76"/>
                  <a:gd name="T118" fmla="*/ 26 w 76"/>
                  <a:gd name="T119" fmla="*/ 74 h 76"/>
                  <a:gd name="T120" fmla="*/ 30 w 76"/>
                  <a:gd name="T121" fmla="*/ 74 h 76"/>
                  <a:gd name="T122" fmla="*/ 38 w 76"/>
                  <a:gd name="T123" fmla="*/ 76 h 76"/>
                  <a:gd name="T124" fmla="*/ 38 w 76"/>
                  <a:gd name="T125" fmla="*/ 76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76" h="76">
                    <a:moveTo>
                      <a:pt x="38" y="76"/>
                    </a:moveTo>
                    <a:lnTo>
                      <a:pt x="39" y="74"/>
                    </a:lnTo>
                    <a:lnTo>
                      <a:pt x="39" y="72"/>
                    </a:lnTo>
                    <a:lnTo>
                      <a:pt x="42" y="69"/>
                    </a:lnTo>
                    <a:lnTo>
                      <a:pt x="47" y="68"/>
                    </a:lnTo>
                    <a:lnTo>
                      <a:pt x="50" y="67"/>
                    </a:lnTo>
                    <a:lnTo>
                      <a:pt x="50" y="65"/>
                    </a:lnTo>
                    <a:lnTo>
                      <a:pt x="55" y="62"/>
                    </a:lnTo>
                    <a:lnTo>
                      <a:pt x="57" y="57"/>
                    </a:lnTo>
                    <a:lnTo>
                      <a:pt x="56" y="53"/>
                    </a:lnTo>
                    <a:lnTo>
                      <a:pt x="60" y="50"/>
                    </a:lnTo>
                    <a:lnTo>
                      <a:pt x="64" y="46"/>
                    </a:lnTo>
                    <a:lnTo>
                      <a:pt x="66" y="47"/>
                    </a:lnTo>
                    <a:lnTo>
                      <a:pt x="72" y="44"/>
                    </a:lnTo>
                    <a:lnTo>
                      <a:pt x="73" y="40"/>
                    </a:lnTo>
                    <a:lnTo>
                      <a:pt x="76" y="39"/>
                    </a:lnTo>
                    <a:lnTo>
                      <a:pt x="76" y="37"/>
                    </a:lnTo>
                    <a:lnTo>
                      <a:pt x="75" y="36"/>
                    </a:lnTo>
                    <a:lnTo>
                      <a:pt x="71" y="35"/>
                    </a:lnTo>
                    <a:lnTo>
                      <a:pt x="70" y="38"/>
                    </a:lnTo>
                    <a:lnTo>
                      <a:pt x="67" y="36"/>
                    </a:lnTo>
                    <a:lnTo>
                      <a:pt x="64" y="36"/>
                    </a:lnTo>
                    <a:lnTo>
                      <a:pt x="63" y="34"/>
                    </a:lnTo>
                    <a:lnTo>
                      <a:pt x="61" y="34"/>
                    </a:lnTo>
                    <a:lnTo>
                      <a:pt x="61" y="33"/>
                    </a:lnTo>
                    <a:lnTo>
                      <a:pt x="58" y="33"/>
                    </a:lnTo>
                    <a:lnTo>
                      <a:pt x="59" y="1"/>
                    </a:lnTo>
                    <a:lnTo>
                      <a:pt x="59" y="0"/>
                    </a:lnTo>
                    <a:lnTo>
                      <a:pt x="26" y="0"/>
                    </a:lnTo>
                    <a:lnTo>
                      <a:pt x="26" y="9"/>
                    </a:lnTo>
                    <a:lnTo>
                      <a:pt x="18" y="9"/>
                    </a:lnTo>
                    <a:lnTo>
                      <a:pt x="20" y="12"/>
                    </a:lnTo>
                    <a:lnTo>
                      <a:pt x="21" y="14"/>
                    </a:lnTo>
                    <a:lnTo>
                      <a:pt x="25" y="17"/>
                    </a:lnTo>
                    <a:lnTo>
                      <a:pt x="28" y="19"/>
                    </a:lnTo>
                    <a:lnTo>
                      <a:pt x="30" y="19"/>
                    </a:lnTo>
                    <a:lnTo>
                      <a:pt x="31" y="22"/>
                    </a:lnTo>
                    <a:lnTo>
                      <a:pt x="32" y="24"/>
                    </a:lnTo>
                    <a:lnTo>
                      <a:pt x="33" y="26"/>
                    </a:lnTo>
                    <a:lnTo>
                      <a:pt x="36" y="26"/>
                    </a:lnTo>
                    <a:lnTo>
                      <a:pt x="38" y="26"/>
                    </a:lnTo>
                    <a:lnTo>
                      <a:pt x="38" y="28"/>
                    </a:lnTo>
                    <a:lnTo>
                      <a:pt x="36" y="31"/>
                    </a:lnTo>
                    <a:lnTo>
                      <a:pt x="13" y="31"/>
                    </a:lnTo>
                    <a:lnTo>
                      <a:pt x="1" y="48"/>
                    </a:lnTo>
                    <a:lnTo>
                      <a:pt x="2" y="50"/>
                    </a:lnTo>
                    <a:lnTo>
                      <a:pt x="2" y="51"/>
                    </a:lnTo>
                    <a:lnTo>
                      <a:pt x="2" y="53"/>
                    </a:lnTo>
                    <a:lnTo>
                      <a:pt x="2" y="55"/>
                    </a:lnTo>
                    <a:lnTo>
                      <a:pt x="3" y="55"/>
                    </a:lnTo>
                    <a:lnTo>
                      <a:pt x="3" y="57"/>
                    </a:lnTo>
                    <a:lnTo>
                      <a:pt x="1" y="58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3" y="64"/>
                    </a:lnTo>
                    <a:lnTo>
                      <a:pt x="5" y="68"/>
                    </a:lnTo>
                    <a:lnTo>
                      <a:pt x="8" y="68"/>
                    </a:lnTo>
                    <a:lnTo>
                      <a:pt x="11" y="70"/>
                    </a:lnTo>
                    <a:lnTo>
                      <a:pt x="20" y="74"/>
                    </a:lnTo>
                    <a:lnTo>
                      <a:pt x="26" y="74"/>
                    </a:lnTo>
                    <a:lnTo>
                      <a:pt x="30" y="74"/>
                    </a:lnTo>
                    <a:lnTo>
                      <a:pt x="38" y="76"/>
                    </a:lnTo>
                    <a:lnTo>
                      <a:pt x="38" y="76"/>
                    </a:lnTo>
                    <a:close/>
                  </a:path>
                </a:pathLst>
              </a:custGeom>
              <a:solidFill>
                <a:schemeClr val="accent2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062" name="Freeform 64"/>
              <p:cNvSpPr>
                <a:spLocks/>
              </p:cNvSpPr>
              <p:nvPr userDrawn="1"/>
            </p:nvSpPr>
            <p:spPr bwMode="auto">
              <a:xfrm>
                <a:off x="2481" y="2826"/>
                <a:ext cx="52" cy="73"/>
              </a:xfrm>
              <a:custGeom>
                <a:avLst/>
                <a:gdLst>
                  <a:gd name="T0" fmla="*/ 0 w 52"/>
                  <a:gd name="T1" fmla="*/ 58 h 73"/>
                  <a:gd name="T2" fmla="*/ 1 w 52"/>
                  <a:gd name="T3" fmla="*/ 60 h 73"/>
                  <a:gd name="T4" fmla="*/ 2 w 52"/>
                  <a:gd name="T5" fmla="*/ 63 h 73"/>
                  <a:gd name="T6" fmla="*/ 3 w 52"/>
                  <a:gd name="T7" fmla="*/ 64 h 73"/>
                  <a:gd name="T8" fmla="*/ 3 w 52"/>
                  <a:gd name="T9" fmla="*/ 65 h 73"/>
                  <a:gd name="T10" fmla="*/ 6 w 52"/>
                  <a:gd name="T11" fmla="*/ 67 h 73"/>
                  <a:gd name="T12" fmla="*/ 9 w 52"/>
                  <a:gd name="T13" fmla="*/ 68 h 73"/>
                  <a:gd name="T14" fmla="*/ 11 w 52"/>
                  <a:gd name="T15" fmla="*/ 66 h 73"/>
                  <a:gd name="T16" fmla="*/ 14 w 52"/>
                  <a:gd name="T17" fmla="*/ 65 h 73"/>
                  <a:gd name="T18" fmla="*/ 16 w 52"/>
                  <a:gd name="T19" fmla="*/ 65 h 73"/>
                  <a:gd name="T20" fmla="*/ 16 w 52"/>
                  <a:gd name="T21" fmla="*/ 66 h 73"/>
                  <a:gd name="T22" fmla="*/ 17 w 52"/>
                  <a:gd name="T23" fmla="*/ 67 h 73"/>
                  <a:gd name="T24" fmla="*/ 17 w 52"/>
                  <a:gd name="T25" fmla="*/ 72 h 73"/>
                  <a:gd name="T26" fmla="*/ 19 w 52"/>
                  <a:gd name="T27" fmla="*/ 73 h 73"/>
                  <a:gd name="T28" fmla="*/ 23 w 52"/>
                  <a:gd name="T29" fmla="*/ 70 h 73"/>
                  <a:gd name="T30" fmla="*/ 23 w 52"/>
                  <a:gd name="T31" fmla="*/ 67 h 73"/>
                  <a:gd name="T32" fmla="*/ 25 w 52"/>
                  <a:gd name="T33" fmla="*/ 66 h 73"/>
                  <a:gd name="T34" fmla="*/ 29 w 52"/>
                  <a:gd name="T35" fmla="*/ 65 h 73"/>
                  <a:gd name="T36" fmla="*/ 31 w 52"/>
                  <a:gd name="T37" fmla="*/ 62 h 73"/>
                  <a:gd name="T38" fmla="*/ 34 w 52"/>
                  <a:gd name="T39" fmla="*/ 57 h 73"/>
                  <a:gd name="T40" fmla="*/ 38 w 52"/>
                  <a:gd name="T41" fmla="*/ 49 h 73"/>
                  <a:gd name="T42" fmla="*/ 38 w 52"/>
                  <a:gd name="T43" fmla="*/ 46 h 73"/>
                  <a:gd name="T44" fmla="*/ 42 w 52"/>
                  <a:gd name="T45" fmla="*/ 41 h 73"/>
                  <a:gd name="T46" fmla="*/ 47 w 52"/>
                  <a:gd name="T47" fmla="*/ 35 h 73"/>
                  <a:gd name="T48" fmla="*/ 48 w 52"/>
                  <a:gd name="T49" fmla="*/ 33 h 73"/>
                  <a:gd name="T50" fmla="*/ 48 w 52"/>
                  <a:gd name="T51" fmla="*/ 33 h 73"/>
                  <a:gd name="T52" fmla="*/ 52 w 52"/>
                  <a:gd name="T53" fmla="*/ 28 h 73"/>
                  <a:gd name="T54" fmla="*/ 51 w 52"/>
                  <a:gd name="T55" fmla="*/ 24 h 73"/>
                  <a:gd name="T56" fmla="*/ 48 w 52"/>
                  <a:gd name="T57" fmla="*/ 21 h 73"/>
                  <a:gd name="T58" fmla="*/ 46 w 52"/>
                  <a:gd name="T59" fmla="*/ 22 h 73"/>
                  <a:gd name="T60" fmla="*/ 44 w 52"/>
                  <a:gd name="T61" fmla="*/ 21 h 73"/>
                  <a:gd name="T62" fmla="*/ 44 w 52"/>
                  <a:gd name="T63" fmla="*/ 18 h 73"/>
                  <a:gd name="T64" fmla="*/ 38 w 52"/>
                  <a:gd name="T65" fmla="*/ 11 h 73"/>
                  <a:gd name="T66" fmla="*/ 36 w 52"/>
                  <a:gd name="T67" fmla="*/ 10 h 73"/>
                  <a:gd name="T68" fmla="*/ 31 w 52"/>
                  <a:gd name="T69" fmla="*/ 6 h 73"/>
                  <a:gd name="T70" fmla="*/ 21 w 52"/>
                  <a:gd name="T71" fmla="*/ 3 h 73"/>
                  <a:gd name="T72" fmla="*/ 17 w 52"/>
                  <a:gd name="T73" fmla="*/ 1 h 73"/>
                  <a:gd name="T74" fmla="*/ 11 w 52"/>
                  <a:gd name="T75" fmla="*/ 0 h 73"/>
                  <a:gd name="T76" fmla="*/ 8 w 52"/>
                  <a:gd name="T77" fmla="*/ 3 h 73"/>
                  <a:gd name="T78" fmla="*/ 4 w 52"/>
                  <a:gd name="T79" fmla="*/ 4 h 73"/>
                  <a:gd name="T80" fmla="*/ 4 w 52"/>
                  <a:gd name="T81" fmla="*/ 4 h 73"/>
                  <a:gd name="T82" fmla="*/ 4 w 52"/>
                  <a:gd name="T83" fmla="*/ 5 h 73"/>
                  <a:gd name="T84" fmla="*/ 3 w 52"/>
                  <a:gd name="T85" fmla="*/ 6 h 73"/>
                  <a:gd name="T86" fmla="*/ 0 w 52"/>
                  <a:gd name="T87" fmla="*/ 10 h 73"/>
                  <a:gd name="T88" fmla="*/ 0 w 52"/>
                  <a:gd name="T89" fmla="*/ 15 h 73"/>
                  <a:gd name="T90" fmla="*/ 1 w 52"/>
                  <a:gd name="T91" fmla="*/ 19 h 73"/>
                  <a:gd name="T92" fmla="*/ 1 w 52"/>
                  <a:gd name="T93" fmla="*/ 22 h 73"/>
                  <a:gd name="T94" fmla="*/ 1 w 52"/>
                  <a:gd name="T95" fmla="*/ 25 h 73"/>
                  <a:gd name="T96" fmla="*/ 4 w 52"/>
                  <a:gd name="T97" fmla="*/ 27 h 73"/>
                  <a:gd name="T98" fmla="*/ 6 w 52"/>
                  <a:gd name="T99" fmla="*/ 30 h 73"/>
                  <a:gd name="T100" fmla="*/ 8 w 52"/>
                  <a:gd name="T101" fmla="*/ 33 h 73"/>
                  <a:gd name="T102" fmla="*/ 9 w 52"/>
                  <a:gd name="T103" fmla="*/ 37 h 73"/>
                  <a:gd name="T104" fmla="*/ 10 w 52"/>
                  <a:gd name="T105" fmla="*/ 39 h 73"/>
                  <a:gd name="T106" fmla="*/ 9 w 52"/>
                  <a:gd name="T107" fmla="*/ 42 h 73"/>
                  <a:gd name="T108" fmla="*/ 6 w 52"/>
                  <a:gd name="T109" fmla="*/ 44 h 73"/>
                  <a:gd name="T110" fmla="*/ 6 w 52"/>
                  <a:gd name="T111" fmla="*/ 49 h 73"/>
                  <a:gd name="T112" fmla="*/ 8 w 52"/>
                  <a:gd name="T113" fmla="*/ 51 h 73"/>
                  <a:gd name="T114" fmla="*/ 6 w 52"/>
                  <a:gd name="T115" fmla="*/ 55 h 73"/>
                  <a:gd name="T116" fmla="*/ 1 w 52"/>
                  <a:gd name="T117" fmla="*/ 58 h 73"/>
                  <a:gd name="T118" fmla="*/ 0 w 52"/>
                  <a:gd name="T119" fmla="*/ 58 h 73"/>
                  <a:gd name="T120" fmla="*/ 0 w 52"/>
                  <a:gd name="T121" fmla="*/ 58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52" h="73">
                    <a:moveTo>
                      <a:pt x="0" y="58"/>
                    </a:moveTo>
                    <a:lnTo>
                      <a:pt x="1" y="60"/>
                    </a:lnTo>
                    <a:lnTo>
                      <a:pt x="2" y="63"/>
                    </a:lnTo>
                    <a:lnTo>
                      <a:pt x="3" y="64"/>
                    </a:lnTo>
                    <a:lnTo>
                      <a:pt x="3" y="65"/>
                    </a:lnTo>
                    <a:lnTo>
                      <a:pt x="6" y="67"/>
                    </a:lnTo>
                    <a:lnTo>
                      <a:pt x="9" y="68"/>
                    </a:lnTo>
                    <a:lnTo>
                      <a:pt x="11" y="66"/>
                    </a:lnTo>
                    <a:lnTo>
                      <a:pt x="14" y="65"/>
                    </a:lnTo>
                    <a:lnTo>
                      <a:pt x="16" y="65"/>
                    </a:lnTo>
                    <a:lnTo>
                      <a:pt x="16" y="66"/>
                    </a:lnTo>
                    <a:lnTo>
                      <a:pt x="17" y="67"/>
                    </a:lnTo>
                    <a:lnTo>
                      <a:pt x="17" y="72"/>
                    </a:lnTo>
                    <a:lnTo>
                      <a:pt x="19" y="73"/>
                    </a:lnTo>
                    <a:lnTo>
                      <a:pt x="23" y="70"/>
                    </a:lnTo>
                    <a:lnTo>
                      <a:pt x="23" y="67"/>
                    </a:lnTo>
                    <a:lnTo>
                      <a:pt x="25" y="66"/>
                    </a:lnTo>
                    <a:lnTo>
                      <a:pt x="29" y="65"/>
                    </a:lnTo>
                    <a:lnTo>
                      <a:pt x="31" y="62"/>
                    </a:lnTo>
                    <a:lnTo>
                      <a:pt x="34" y="57"/>
                    </a:lnTo>
                    <a:lnTo>
                      <a:pt x="38" y="49"/>
                    </a:lnTo>
                    <a:lnTo>
                      <a:pt x="38" y="46"/>
                    </a:lnTo>
                    <a:lnTo>
                      <a:pt x="42" y="41"/>
                    </a:lnTo>
                    <a:lnTo>
                      <a:pt x="47" y="35"/>
                    </a:lnTo>
                    <a:lnTo>
                      <a:pt x="48" y="33"/>
                    </a:lnTo>
                    <a:lnTo>
                      <a:pt x="48" y="33"/>
                    </a:lnTo>
                    <a:lnTo>
                      <a:pt x="52" y="28"/>
                    </a:lnTo>
                    <a:lnTo>
                      <a:pt x="51" y="24"/>
                    </a:lnTo>
                    <a:lnTo>
                      <a:pt x="48" y="21"/>
                    </a:lnTo>
                    <a:lnTo>
                      <a:pt x="46" y="22"/>
                    </a:lnTo>
                    <a:lnTo>
                      <a:pt x="44" y="21"/>
                    </a:lnTo>
                    <a:lnTo>
                      <a:pt x="44" y="18"/>
                    </a:lnTo>
                    <a:lnTo>
                      <a:pt x="38" y="11"/>
                    </a:lnTo>
                    <a:lnTo>
                      <a:pt x="36" y="10"/>
                    </a:lnTo>
                    <a:lnTo>
                      <a:pt x="31" y="6"/>
                    </a:lnTo>
                    <a:lnTo>
                      <a:pt x="21" y="3"/>
                    </a:lnTo>
                    <a:lnTo>
                      <a:pt x="17" y="1"/>
                    </a:lnTo>
                    <a:lnTo>
                      <a:pt x="11" y="0"/>
                    </a:lnTo>
                    <a:lnTo>
                      <a:pt x="8" y="3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5"/>
                    </a:lnTo>
                    <a:lnTo>
                      <a:pt x="3" y="6"/>
                    </a:lnTo>
                    <a:lnTo>
                      <a:pt x="0" y="10"/>
                    </a:lnTo>
                    <a:lnTo>
                      <a:pt x="0" y="15"/>
                    </a:lnTo>
                    <a:lnTo>
                      <a:pt x="1" y="19"/>
                    </a:lnTo>
                    <a:lnTo>
                      <a:pt x="1" y="22"/>
                    </a:lnTo>
                    <a:lnTo>
                      <a:pt x="1" y="25"/>
                    </a:lnTo>
                    <a:lnTo>
                      <a:pt x="4" y="27"/>
                    </a:lnTo>
                    <a:lnTo>
                      <a:pt x="6" y="30"/>
                    </a:lnTo>
                    <a:lnTo>
                      <a:pt x="8" y="33"/>
                    </a:lnTo>
                    <a:lnTo>
                      <a:pt x="9" y="37"/>
                    </a:lnTo>
                    <a:lnTo>
                      <a:pt x="10" y="39"/>
                    </a:lnTo>
                    <a:lnTo>
                      <a:pt x="9" y="42"/>
                    </a:lnTo>
                    <a:lnTo>
                      <a:pt x="6" y="44"/>
                    </a:lnTo>
                    <a:lnTo>
                      <a:pt x="6" y="49"/>
                    </a:lnTo>
                    <a:lnTo>
                      <a:pt x="8" y="51"/>
                    </a:lnTo>
                    <a:lnTo>
                      <a:pt x="6" y="55"/>
                    </a:lnTo>
                    <a:lnTo>
                      <a:pt x="1" y="58"/>
                    </a:lnTo>
                    <a:lnTo>
                      <a:pt x="0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chemeClr val="accent2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063" name="Freeform 65"/>
              <p:cNvSpPr>
                <a:spLocks/>
              </p:cNvSpPr>
              <p:nvPr userDrawn="1"/>
            </p:nvSpPr>
            <p:spPr bwMode="auto">
              <a:xfrm>
                <a:off x="2416" y="2819"/>
                <a:ext cx="75" cy="78"/>
              </a:xfrm>
              <a:custGeom>
                <a:avLst/>
                <a:gdLst>
                  <a:gd name="T0" fmla="*/ 30 w 75"/>
                  <a:gd name="T1" fmla="*/ 75 h 78"/>
                  <a:gd name="T2" fmla="*/ 33 w 75"/>
                  <a:gd name="T3" fmla="*/ 76 h 78"/>
                  <a:gd name="T4" fmla="*/ 40 w 75"/>
                  <a:gd name="T5" fmla="*/ 77 h 78"/>
                  <a:gd name="T6" fmla="*/ 39 w 75"/>
                  <a:gd name="T7" fmla="*/ 72 h 78"/>
                  <a:gd name="T8" fmla="*/ 35 w 75"/>
                  <a:gd name="T9" fmla="*/ 68 h 78"/>
                  <a:gd name="T10" fmla="*/ 39 w 75"/>
                  <a:gd name="T11" fmla="*/ 62 h 78"/>
                  <a:gd name="T12" fmla="*/ 51 w 75"/>
                  <a:gd name="T13" fmla="*/ 62 h 78"/>
                  <a:gd name="T14" fmla="*/ 60 w 75"/>
                  <a:gd name="T15" fmla="*/ 61 h 78"/>
                  <a:gd name="T16" fmla="*/ 66 w 75"/>
                  <a:gd name="T17" fmla="*/ 65 h 78"/>
                  <a:gd name="T18" fmla="*/ 73 w 75"/>
                  <a:gd name="T19" fmla="*/ 58 h 78"/>
                  <a:gd name="T20" fmla="*/ 71 w 75"/>
                  <a:gd name="T21" fmla="*/ 51 h 78"/>
                  <a:gd name="T22" fmla="*/ 75 w 75"/>
                  <a:gd name="T23" fmla="*/ 46 h 78"/>
                  <a:gd name="T24" fmla="*/ 73 w 75"/>
                  <a:gd name="T25" fmla="*/ 40 h 78"/>
                  <a:gd name="T26" fmla="*/ 69 w 75"/>
                  <a:gd name="T27" fmla="*/ 34 h 78"/>
                  <a:gd name="T28" fmla="*/ 66 w 75"/>
                  <a:gd name="T29" fmla="*/ 29 h 78"/>
                  <a:gd name="T30" fmla="*/ 65 w 75"/>
                  <a:gd name="T31" fmla="*/ 22 h 78"/>
                  <a:gd name="T32" fmla="*/ 68 w 75"/>
                  <a:gd name="T33" fmla="*/ 13 h 78"/>
                  <a:gd name="T34" fmla="*/ 69 w 75"/>
                  <a:gd name="T35" fmla="*/ 11 h 78"/>
                  <a:gd name="T36" fmla="*/ 73 w 75"/>
                  <a:gd name="T37" fmla="*/ 5 h 78"/>
                  <a:gd name="T38" fmla="*/ 62 w 75"/>
                  <a:gd name="T39" fmla="*/ 3 h 78"/>
                  <a:gd name="T40" fmla="*/ 53 w 75"/>
                  <a:gd name="T41" fmla="*/ 0 h 78"/>
                  <a:gd name="T42" fmla="*/ 44 w 75"/>
                  <a:gd name="T43" fmla="*/ 1 h 78"/>
                  <a:gd name="T44" fmla="*/ 31 w 75"/>
                  <a:gd name="T45" fmla="*/ 1 h 78"/>
                  <a:gd name="T46" fmla="*/ 17 w 75"/>
                  <a:gd name="T47" fmla="*/ 3 h 78"/>
                  <a:gd name="T48" fmla="*/ 17 w 75"/>
                  <a:gd name="T49" fmla="*/ 7 h 78"/>
                  <a:gd name="T50" fmla="*/ 17 w 75"/>
                  <a:gd name="T51" fmla="*/ 13 h 78"/>
                  <a:gd name="T52" fmla="*/ 11 w 75"/>
                  <a:gd name="T53" fmla="*/ 17 h 78"/>
                  <a:gd name="T54" fmla="*/ 3 w 75"/>
                  <a:gd name="T55" fmla="*/ 22 h 78"/>
                  <a:gd name="T56" fmla="*/ 0 w 75"/>
                  <a:gd name="T57" fmla="*/ 33 h 78"/>
                  <a:gd name="T58" fmla="*/ 4 w 75"/>
                  <a:gd name="T59" fmla="*/ 37 h 78"/>
                  <a:gd name="T60" fmla="*/ 7 w 75"/>
                  <a:gd name="T61" fmla="*/ 41 h 78"/>
                  <a:gd name="T62" fmla="*/ 9 w 75"/>
                  <a:gd name="T63" fmla="*/ 47 h 78"/>
                  <a:gd name="T64" fmla="*/ 14 w 75"/>
                  <a:gd name="T65" fmla="*/ 49 h 78"/>
                  <a:gd name="T66" fmla="*/ 16 w 75"/>
                  <a:gd name="T67" fmla="*/ 52 h 78"/>
                  <a:gd name="T68" fmla="*/ 17 w 75"/>
                  <a:gd name="T69" fmla="*/ 61 h 78"/>
                  <a:gd name="T70" fmla="*/ 22 w 75"/>
                  <a:gd name="T71" fmla="*/ 66 h 78"/>
                  <a:gd name="T72" fmla="*/ 26 w 75"/>
                  <a:gd name="T73" fmla="*/ 71 h 78"/>
                  <a:gd name="T74" fmla="*/ 27 w 75"/>
                  <a:gd name="T75" fmla="*/ 73 h 78"/>
                  <a:gd name="T76" fmla="*/ 30 w 75"/>
                  <a:gd name="T77" fmla="*/ 75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75" h="78">
                    <a:moveTo>
                      <a:pt x="30" y="75"/>
                    </a:moveTo>
                    <a:lnTo>
                      <a:pt x="30" y="75"/>
                    </a:lnTo>
                    <a:lnTo>
                      <a:pt x="32" y="75"/>
                    </a:lnTo>
                    <a:lnTo>
                      <a:pt x="33" y="76"/>
                    </a:lnTo>
                    <a:lnTo>
                      <a:pt x="38" y="78"/>
                    </a:lnTo>
                    <a:lnTo>
                      <a:pt x="40" y="77"/>
                    </a:lnTo>
                    <a:lnTo>
                      <a:pt x="41" y="76"/>
                    </a:lnTo>
                    <a:lnTo>
                      <a:pt x="39" y="72"/>
                    </a:lnTo>
                    <a:lnTo>
                      <a:pt x="39" y="71"/>
                    </a:lnTo>
                    <a:lnTo>
                      <a:pt x="35" y="68"/>
                    </a:lnTo>
                    <a:lnTo>
                      <a:pt x="36" y="64"/>
                    </a:lnTo>
                    <a:lnTo>
                      <a:pt x="39" y="62"/>
                    </a:lnTo>
                    <a:lnTo>
                      <a:pt x="43" y="63"/>
                    </a:lnTo>
                    <a:lnTo>
                      <a:pt x="51" y="62"/>
                    </a:lnTo>
                    <a:lnTo>
                      <a:pt x="55" y="61"/>
                    </a:lnTo>
                    <a:lnTo>
                      <a:pt x="60" y="61"/>
                    </a:lnTo>
                    <a:lnTo>
                      <a:pt x="63" y="64"/>
                    </a:lnTo>
                    <a:lnTo>
                      <a:pt x="66" y="65"/>
                    </a:lnTo>
                    <a:lnTo>
                      <a:pt x="71" y="62"/>
                    </a:lnTo>
                    <a:lnTo>
                      <a:pt x="73" y="58"/>
                    </a:lnTo>
                    <a:lnTo>
                      <a:pt x="71" y="56"/>
                    </a:lnTo>
                    <a:lnTo>
                      <a:pt x="71" y="51"/>
                    </a:lnTo>
                    <a:lnTo>
                      <a:pt x="74" y="49"/>
                    </a:lnTo>
                    <a:lnTo>
                      <a:pt x="75" y="46"/>
                    </a:lnTo>
                    <a:lnTo>
                      <a:pt x="74" y="44"/>
                    </a:lnTo>
                    <a:lnTo>
                      <a:pt x="73" y="40"/>
                    </a:lnTo>
                    <a:lnTo>
                      <a:pt x="71" y="37"/>
                    </a:lnTo>
                    <a:lnTo>
                      <a:pt x="69" y="34"/>
                    </a:lnTo>
                    <a:lnTo>
                      <a:pt x="66" y="32"/>
                    </a:lnTo>
                    <a:lnTo>
                      <a:pt x="66" y="29"/>
                    </a:lnTo>
                    <a:lnTo>
                      <a:pt x="66" y="26"/>
                    </a:lnTo>
                    <a:lnTo>
                      <a:pt x="65" y="22"/>
                    </a:lnTo>
                    <a:lnTo>
                      <a:pt x="65" y="17"/>
                    </a:lnTo>
                    <a:lnTo>
                      <a:pt x="68" y="13"/>
                    </a:lnTo>
                    <a:lnTo>
                      <a:pt x="69" y="12"/>
                    </a:lnTo>
                    <a:lnTo>
                      <a:pt x="69" y="11"/>
                    </a:lnTo>
                    <a:lnTo>
                      <a:pt x="73" y="7"/>
                    </a:lnTo>
                    <a:lnTo>
                      <a:pt x="73" y="5"/>
                    </a:lnTo>
                    <a:lnTo>
                      <a:pt x="69" y="4"/>
                    </a:lnTo>
                    <a:lnTo>
                      <a:pt x="62" y="3"/>
                    </a:lnTo>
                    <a:lnTo>
                      <a:pt x="55" y="0"/>
                    </a:lnTo>
                    <a:lnTo>
                      <a:pt x="53" y="0"/>
                    </a:lnTo>
                    <a:lnTo>
                      <a:pt x="49" y="2"/>
                    </a:lnTo>
                    <a:lnTo>
                      <a:pt x="44" y="1"/>
                    </a:lnTo>
                    <a:lnTo>
                      <a:pt x="37" y="3"/>
                    </a:lnTo>
                    <a:lnTo>
                      <a:pt x="31" y="1"/>
                    </a:lnTo>
                    <a:lnTo>
                      <a:pt x="22" y="1"/>
                    </a:lnTo>
                    <a:lnTo>
                      <a:pt x="17" y="3"/>
                    </a:lnTo>
                    <a:lnTo>
                      <a:pt x="17" y="7"/>
                    </a:lnTo>
                    <a:lnTo>
                      <a:pt x="17" y="7"/>
                    </a:lnTo>
                    <a:lnTo>
                      <a:pt x="17" y="10"/>
                    </a:lnTo>
                    <a:lnTo>
                      <a:pt x="17" y="13"/>
                    </a:lnTo>
                    <a:lnTo>
                      <a:pt x="14" y="16"/>
                    </a:lnTo>
                    <a:lnTo>
                      <a:pt x="11" y="17"/>
                    </a:lnTo>
                    <a:lnTo>
                      <a:pt x="6" y="18"/>
                    </a:lnTo>
                    <a:lnTo>
                      <a:pt x="3" y="22"/>
                    </a:lnTo>
                    <a:lnTo>
                      <a:pt x="3" y="26"/>
                    </a:lnTo>
                    <a:lnTo>
                      <a:pt x="0" y="33"/>
                    </a:lnTo>
                    <a:lnTo>
                      <a:pt x="0" y="35"/>
                    </a:lnTo>
                    <a:lnTo>
                      <a:pt x="4" y="37"/>
                    </a:lnTo>
                    <a:lnTo>
                      <a:pt x="6" y="39"/>
                    </a:lnTo>
                    <a:lnTo>
                      <a:pt x="7" y="41"/>
                    </a:lnTo>
                    <a:lnTo>
                      <a:pt x="9" y="44"/>
                    </a:lnTo>
                    <a:lnTo>
                      <a:pt x="9" y="47"/>
                    </a:lnTo>
                    <a:lnTo>
                      <a:pt x="11" y="49"/>
                    </a:lnTo>
                    <a:lnTo>
                      <a:pt x="14" y="49"/>
                    </a:lnTo>
                    <a:lnTo>
                      <a:pt x="15" y="50"/>
                    </a:lnTo>
                    <a:lnTo>
                      <a:pt x="16" y="52"/>
                    </a:lnTo>
                    <a:lnTo>
                      <a:pt x="17" y="57"/>
                    </a:lnTo>
                    <a:lnTo>
                      <a:pt x="17" y="61"/>
                    </a:lnTo>
                    <a:lnTo>
                      <a:pt x="18" y="62"/>
                    </a:lnTo>
                    <a:lnTo>
                      <a:pt x="22" y="66"/>
                    </a:lnTo>
                    <a:lnTo>
                      <a:pt x="22" y="69"/>
                    </a:lnTo>
                    <a:lnTo>
                      <a:pt x="26" y="71"/>
                    </a:lnTo>
                    <a:lnTo>
                      <a:pt x="26" y="72"/>
                    </a:lnTo>
                    <a:lnTo>
                      <a:pt x="27" y="73"/>
                    </a:lnTo>
                    <a:lnTo>
                      <a:pt x="30" y="75"/>
                    </a:lnTo>
                    <a:lnTo>
                      <a:pt x="30" y="75"/>
                    </a:lnTo>
                    <a:close/>
                  </a:path>
                </a:pathLst>
              </a:custGeom>
              <a:solidFill>
                <a:schemeClr val="accent2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064" name="Freeform 66"/>
              <p:cNvSpPr>
                <a:spLocks noEditPoints="1"/>
              </p:cNvSpPr>
              <p:nvPr userDrawn="1"/>
            </p:nvSpPr>
            <p:spPr bwMode="auto">
              <a:xfrm>
                <a:off x="2136" y="2700"/>
                <a:ext cx="246" cy="218"/>
              </a:xfrm>
              <a:custGeom>
                <a:avLst/>
                <a:gdLst>
                  <a:gd name="T0" fmla="*/ 145 w 257"/>
                  <a:gd name="T1" fmla="*/ 228 h 228"/>
                  <a:gd name="T2" fmla="*/ 171 w 257"/>
                  <a:gd name="T3" fmla="*/ 205 h 228"/>
                  <a:gd name="T4" fmla="*/ 181 w 257"/>
                  <a:gd name="T5" fmla="*/ 193 h 228"/>
                  <a:gd name="T6" fmla="*/ 171 w 257"/>
                  <a:gd name="T7" fmla="*/ 173 h 228"/>
                  <a:gd name="T8" fmla="*/ 165 w 257"/>
                  <a:gd name="T9" fmla="*/ 161 h 228"/>
                  <a:gd name="T10" fmla="*/ 194 w 257"/>
                  <a:gd name="T11" fmla="*/ 165 h 228"/>
                  <a:gd name="T12" fmla="*/ 223 w 257"/>
                  <a:gd name="T13" fmla="*/ 155 h 228"/>
                  <a:gd name="T14" fmla="*/ 234 w 257"/>
                  <a:gd name="T15" fmla="*/ 134 h 228"/>
                  <a:gd name="T16" fmla="*/ 234 w 257"/>
                  <a:gd name="T17" fmla="*/ 110 h 228"/>
                  <a:gd name="T18" fmla="*/ 250 w 257"/>
                  <a:gd name="T19" fmla="*/ 104 h 228"/>
                  <a:gd name="T20" fmla="*/ 244 w 257"/>
                  <a:gd name="T21" fmla="*/ 89 h 228"/>
                  <a:gd name="T22" fmla="*/ 256 w 257"/>
                  <a:gd name="T23" fmla="*/ 78 h 228"/>
                  <a:gd name="T24" fmla="*/ 237 w 257"/>
                  <a:gd name="T25" fmla="*/ 75 h 228"/>
                  <a:gd name="T26" fmla="*/ 225 w 257"/>
                  <a:gd name="T27" fmla="*/ 75 h 228"/>
                  <a:gd name="T28" fmla="*/ 237 w 257"/>
                  <a:gd name="T29" fmla="*/ 66 h 228"/>
                  <a:gd name="T30" fmla="*/ 221 w 257"/>
                  <a:gd name="T31" fmla="*/ 56 h 228"/>
                  <a:gd name="T32" fmla="*/ 208 w 257"/>
                  <a:gd name="T33" fmla="*/ 49 h 228"/>
                  <a:gd name="T34" fmla="*/ 198 w 257"/>
                  <a:gd name="T35" fmla="*/ 44 h 228"/>
                  <a:gd name="T36" fmla="*/ 217 w 257"/>
                  <a:gd name="T37" fmla="*/ 38 h 228"/>
                  <a:gd name="T38" fmla="*/ 193 w 257"/>
                  <a:gd name="T39" fmla="*/ 35 h 228"/>
                  <a:gd name="T40" fmla="*/ 168 w 257"/>
                  <a:gd name="T41" fmla="*/ 42 h 228"/>
                  <a:gd name="T42" fmla="*/ 151 w 257"/>
                  <a:gd name="T43" fmla="*/ 47 h 228"/>
                  <a:gd name="T44" fmla="*/ 111 w 257"/>
                  <a:gd name="T45" fmla="*/ 42 h 228"/>
                  <a:gd name="T46" fmla="*/ 100 w 257"/>
                  <a:gd name="T47" fmla="*/ 34 h 228"/>
                  <a:gd name="T48" fmla="*/ 78 w 257"/>
                  <a:gd name="T49" fmla="*/ 23 h 228"/>
                  <a:gd name="T50" fmla="*/ 68 w 257"/>
                  <a:gd name="T51" fmla="*/ 7 h 228"/>
                  <a:gd name="T52" fmla="*/ 59 w 257"/>
                  <a:gd name="T53" fmla="*/ 20 h 228"/>
                  <a:gd name="T54" fmla="*/ 65 w 257"/>
                  <a:gd name="T55" fmla="*/ 25 h 228"/>
                  <a:gd name="T56" fmla="*/ 54 w 257"/>
                  <a:gd name="T57" fmla="*/ 27 h 228"/>
                  <a:gd name="T58" fmla="*/ 37 w 257"/>
                  <a:gd name="T59" fmla="*/ 42 h 228"/>
                  <a:gd name="T60" fmla="*/ 30 w 257"/>
                  <a:gd name="T61" fmla="*/ 68 h 228"/>
                  <a:gd name="T62" fmla="*/ 25 w 257"/>
                  <a:gd name="T63" fmla="*/ 51 h 228"/>
                  <a:gd name="T64" fmla="*/ 31 w 257"/>
                  <a:gd name="T65" fmla="*/ 31 h 228"/>
                  <a:gd name="T66" fmla="*/ 31 w 257"/>
                  <a:gd name="T67" fmla="*/ 19 h 228"/>
                  <a:gd name="T68" fmla="*/ 27 w 257"/>
                  <a:gd name="T69" fmla="*/ 18 h 228"/>
                  <a:gd name="T70" fmla="*/ 10 w 257"/>
                  <a:gd name="T71" fmla="*/ 36 h 228"/>
                  <a:gd name="T72" fmla="*/ 1 w 257"/>
                  <a:gd name="T73" fmla="*/ 64 h 228"/>
                  <a:gd name="T74" fmla="*/ 17 w 257"/>
                  <a:gd name="T75" fmla="*/ 84 h 228"/>
                  <a:gd name="T76" fmla="*/ 15 w 257"/>
                  <a:gd name="T77" fmla="*/ 99 h 228"/>
                  <a:gd name="T78" fmla="*/ 35 w 257"/>
                  <a:gd name="T79" fmla="*/ 105 h 228"/>
                  <a:gd name="T80" fmla="*/ 58 w 257"/>
                  <a:gd name="T81" fmla="*/ 106 h 228"/>
                  <a:gd name="T82" fmla="*/ 84 w 257"/>
                  <a:gd name="T83" fmla="*/ 120 h 228"/>
                  <a:gd name="T84" fmla="*/ 103 w 257"/>
                  <a:gd name="T85" fmla="*/ 121 h 228"/>
                  <a:gd name="T86" fmla="*/ 110 w 257"/>
                  <a:gd name="T87" fmla="*/ 132 h 228"/>
                  <a:gd name="T88" fmla="*/ 104 w 257"/>
                  <a:gd name="T89" fmla="*/ 148 h 228"/>
                  <a:gd name="T90" fmla="*/ 105 w 257"/>
                  <a:gd name="T91" fmla="*/ 166 h 228"/>
                  <a:gd name="T92" fmla="*/ 107 w 257"/>
                  <a:gd name="T93" fmla="*/ 189 h 228"/>
                  <a:gd name="T94" fmla="*/ 112 w 257"/>
                  <a:gd name="T95" fmla="*/ 199 h 228"/>
                  <a:gd name="T96" fmla="*/ 92 w 257"/>
                  <a:gd name="T97" fmla="*/ 6 h 228"/>
                  <a:gd name="T98" fmla="*/ 94 w 257"/>
                  <a:gd name="T99" fmla="*/ 9 h 228"/>
                  <a:gd name="T100" fmla="*/ 85 w 257"/>
                  <a:gd name="T101" fmla="*/ 10 h 228"/>
                  <a:gd name="T102" fmla="*/ 64 w 257"/>
                  <a:gd name="T103" fmla="*/ 3 h 228"/>
                  <a:gd name="T104" fmla="*/ 174 w 257"/>
                  <a:gd name="T105" fmla="*/ 29 h 228"/>
                  <a:gd name="T106" fmla="*/ 176 w 257"/>
                  <a:gd name="T107" fmla="*/ 32 h 2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57" h="228">
                    <a:moveTo>
                      <a:pt x="118" y="217"/>
                    </a:moveTo>
                    <a:cubicBezTo>
                      <a:pt x="125" y="222"/>
                      <a:pt x="125" y="222"/>
                      <a:pt x="125" y="222"/>
                    </a:cubicBezTo>
                    <a:cubicBezTo>
                      <a:pt x="133" y="228"/>
                      <a:pt x="133" y="228"/>
                      <a:pt x="133" y="228"/>
                    </a:cubicBezTo>
                    <a:cubicBezTo>
                      <a:pt x="137" y="228"/>
                      <a:pt x="137" y="228"/>
                      <a:pt x="137" y="228"/>
                    </a:cubicBezTo>
                    <a:cubicBezTo>
                      <a:pt x="145" y="228"/>
                      <a:pt x="145" y="228"/>
                      <a:pt x="145" y="228"/>
                    </a:cubicBezTo>
                    <a:cubicBezTo>
                      <a:pt x="150" y="223"/>
                      <a:pt x="150" y="223"/>
                      <a:pt x="150" y="223"/>
                    </a:cubicBezTo>
                    <a:cubicBezTo>
                      <a:pt x="156" y="218"/>
                      <a:pt x="156" y="218"/>
                      <a:pt x="156" y="218"/>
                    </a:cubicBezTo>
                    <a:cubicBezTo>
                      <a:pt x="160" y="215"/>
                      <a:pt x="160" y="215"/>
                      <a:pt x="160" y="215"/>
                    </a:cubicBezTo>
                    <a:cubicBezTo>
                      <a:pt x="169" y="210"/>
                      <a:pt x="169" y="210"/>
                      <a:pt x="169" y="210"/>
                    </a:cubicBezTo>
                    <a:cubicBezTo>
                      <a:pt x="171" y="205"/>
                      <a:pt x="171" y="205"/>
                      <a:pt x="171" y="205"/>
                    </a:cubicBezTo>
                    <a:cubicBezTo>
                      <a:pt x="174" y="202"/>
                      <a:pt x="174" y="202"/>
                      <a:pt x="174" y="202"/>
                    </a:cubicBezTo>
                    <a:cubicBezTo>
                      <a:pt x="183" y="200"/>
                      <a:pt x="183" y="200"/>
                      <a:pt x="183" y="200"/>
                    </a:cubicBezTo>
                    <a:cubicBezTo>
                      <a:pt x="188" y="198"/>
                      <a:pt x="188" y="198"/>
                      <a:pt x="188" y="198"/>
                    </a:cubicBezTo>
                    <a:cubicBezTo>
                      <a:pt x="188" y="194"/>
                      <a:pt x="188" y="194"/>
                      <a:pt x="188" y="194"/>
                    </a:cubicBezTo>
                    <a:cubicBezTo>
                      <a:pt x="181" y="193"/>
                      <a:pt x="181" y="193"/>
                      <a:pt x="181" y="193"/>
                    </a:cubicBezTo>
                    <a:cubicBezTo>
                      <a:pt x="175" y="194"/>
                      <a:pt x="175" y="194"/>
                      <a:pt x="175" y="194"/>
                    </a:cubicBezTo>
                    <a:cubicBezTo>
                      <a:pt x="167" y="191"/>
                      <a:pt x="167" y="191"/>
                      <a:pt x="167" y="191"/>
                    </a:cubicBezTo>
                    <a:cubicBezTo>
                      <a:pt x="168" y="185"/>
                      <a:pt x="168" y="185"/>
                      <a:pt x="168" y="185"/>
                    </a:cubicBezTo>
                    <a:cubicBezTo>
                      <a:pt x="166" y="181"/>
                      <a:pt x="166" y="181"/>
                      <a:pt x="166" y="181"/>
                    </a:cubicBezTo>
                    <a:cubicBezTo>
                      <a:pt x="171" y="173"/>
                      <a:pt x="171" y="173"/>
                      <a:pt x="171" y="173"/>
                    </a:cubicBezTo>
                    <a:cubicBezTo>
                      <a:pt x="170" y="170"/>
                      <a:pt x="170" y="170"/>
                      <a:pt x="170" y="170"/>
                    </a:cubicBezTo>
                    <a:cubicBezTo>
                      <a:pt x="166" y="166"/>
                      <a:pt x="166" y="166"/>
                      <a:pt x="166" y="166"/>
                    </a:cubicBezTo>
                    <a:cubicBezTo>
                      <a:pt x="162" y="164"/>
                      <a:pt x="162" y="164"/>
                      <a:pt x="162" y="164"/>
                    </a:cubicBezTo>
                    <a:cubicBezTo>
                      <a:pt x="159" y="160"/>
                      <a:pt x="159" y="160"/>
                      <a:pt x="159" y="160"/>
                    </a:cubicBezTo>
                    <a:cubicBezTo>
                      <a:pt x="165" y="161"/>
                      <a:pt x="165" y="161"/>
                      <a:pt x="165" y="161"/>
                    </a:cubicBezTo>
                    <a:cubicBezTo>
                      <a:pt x="171" y="162"/>
                      <a:pt x="171" y="162"/>
                      <a:pt x="171" y="162"/>
                    </a:cubicBezTo>
                    <a:cubicBezTo>
                      <a:pt x="177" y="166"/>
                      <a:pt x="177" y="166"/>
                      <a:pt x="177" y="166"/>
                    </a:cubicBezTo>
                    <a:cubicBezTo>
                      <a:pt x="183" y="165"/>
                      <a:pt x="183" y="165"/>
                      <a:pt x="183" y="165"/>
                    </a:cubicBezTo>
                    <a:cubicBezTo>
                      <a:pt x="192" y="164"/>
                      <a:pt x="192" y="164"/>
                      <a:pt x="192" y="164"/>
                    </a:cubicBezTo>
                    <a:cubicBezTo>
                      <a:pt x="194" y="165"/>
                      <a:pt x="194" y="165"/>
                      <a:pt x="194" y="165"/>
                    </a:cubicBezTo>
                    <a:cubicBezTo>
                      <a:pt x="200" y="163"/>
                      <a:pt x="200" y="163"/>
                      <a:pt x="200" y="163"/>
                    </a:cubicBezTo>
                    <a:cubicBezTo>
                      <a:pt x="206" y="158"/>
                      <a:pt x="206" y="158"/>
                      <a:pt x="206" y="158"/>
                    </a:cubicBezTo>
                    <a:cubicBezTo>
                      <a:pt x="212" y="157"/>
                      <a:pt x="212" y="157"/>
                      <a:pt x="212" y="157"/>
                    </a:cubicBezTo>
                    <a:cubicBezTo>
                      <a:pt x="215" y="159"/>
                      <a:pt x="215" y="159"/>
                      <a:pt x="215" y="159"/>
                    </a:cubicBezTo>
                    <a:cubicBezTo>
                      <a:pt x="223" y="155"/>
                      <a:pt x="223" y="155"/>
                      <a:pt x="223" y="155"/>
                    </a:cubicBezTo>
                    <a:cubicBezTo>
                      <a:pt x="230" y="155"/>
                      <a:pt x="230" y="155"/>
                      <a:pt x="230" y="155"/>
                    </a:cubicBezTo>
                    <a:cubicBezTo>
                      <a:pt x="240" y="148"/>
                      <a:pt x="240" y="148"/>
                      <a:pt x="240" y="148"/>
                    </a:cubicBezTo>
                    <a:cubicBezTo>
                      <a:pt x="241" y="144"/>
                      <a:pt x="241" y="144"/>
                      <a:pt x="241" y="144"/>
                    </a:cubicBezTo>
                    <a:cubicBezTo>
                      <a:pt x="241" y="139"/>
                      <a:pt x="241" y="139"/>
                      <a:pt x="241" y="139"/>
                    </a:cubicBezTo>
                    <a:cubicBezTo>
                      <a:pt x="234" y="134"/>
                      <a:pt x="234" y="134"/>
                      <a:pt x="234" y="134"/>
                    </a:cubicBezTo>
                    <a:cubicBezTo>
                      <a:pt x="229" y="127"/>
                      <a:pt x="229" y="127"/>
                      <a:pt x="229" y="127"/>
                    </a:cubicBezTo>
                    <a:cubicBezTo>
                      <a:pt x="227" y="122"/>
                      <a:pt x="227" y="122"/>
                      <a:pt x="227" y="122"/>
                    </a:cubicBezTo>
                    <a:cubicBezTo>
                      <a:pt x="231" y="119"/>
                      <a:pt x="231" y="119"/>
                      <a:pt x="231" y="119"/>
                    </a:cubicBezTo>
                    <a:cubicBezTo>
                      <a:pt x="232" y="113"/>
                      <a:pt x="232" y="113"/>
                      <a:pt x="232" y="113"/>
                    </a:cubicBezTo>
                    <a:cubicBezTo>
                      <a:pt x="234" y="110"/>
                      <a:pt x="234" y="110"/>
                      <a:pt x="234" y="110"/>
                    </a:cubicBezTo>
                    <a:cubicBezTo>
                      <a:pt x="237" y="112"/>
                      <a:pt x="237" y="112"/>
                      <a:pt x="237" y="112"/>
                    </a:cubicBezTo>
                    <a:cubicBezTo>
                      <a:pt x="240" y="110"/>
                      <a:pt x="240" y="110"/>
                      <a:pt x="240" y="110"/>
                    </a:cubicBezTo>
                    <a:cubicBezTo>
                      <a:pt x="243" y="112"/>
                      <a:pt x="243" y="112"/>
                      <a:pt x="243" y="112"/>
                    </a:cubicBezTo>
                    <a:cubicBezTo>
                      <a:pt x="250" y="109"/>
                      <a:pt x="250" y="109"/>
                      <a:pt x="250" y="109"/>
                    </a:cubicBezTo>
                    <a:cubicBezTo>
                      <a:pt x="250" y="104"/>
                      <a:pt x="250" y="104"/>
                      <a:pt x="250" y="104"/>
                    </a:cubicBezTo>
                    <a:cubicBezTo>
                      <a:pt x="246" y="102"/>
                      <a:pt x="246" y="102"/>
                      <a:pt x="246" y="102"/>
                    </a:cubicBezTo>
                    <a:cubicBezTo>
                      <a:pt x="241" y="102"/>
                      <a:pt x="241" y="102"/>
                      <a:pt x="241" y="102"/>
                    </a:cubicBezTo>
                    <a:cubicBezTo>
                      <a:pt x="240" y="98"/>
                      <a:pt x="240" y="98"/>
                      <a:pt x="240" y="98"/>
                    </a:cubicBezTo>
                    <a:cubicBezTo>
                      <a:pt x="238" y="95"/>
                      <a:pt x="238" y="95"/>
                      <a:pt x="238" y="95"/>
                    </a:cubicBezTo>
                    <a:cubicBezTo>
                      <a:pt x="244" y="89"/>
                      <a:pt x="244" y="89"/>
                      <a:pt x="244" y="89"/>
                    </a:cubicBezTo>
                    <a:cubicBezTo>
                      <a:pt x="246" y="90"/>
                      <a:pt x="246" y="90"/>
                      <a:pt x="246" y="90"/>
                    </a:cubicBezTo>
                    <a:cubicBezTo>
                      <a:pt x="250" y="87"/>
                      <a:pt x="250" y="87"/>
                      <a:pt x="250" y="87"/>
                    </a:cubicBezTo>
                    <a:cubicBezTo>
                      <a:pt x="256" y="80"/>
                      <a:pt x="256" y="80"/>
                      <a:pt x="256" y="80"/>
                    </a:cubicBezTo>
                    <a:cubicBezTo>
                      <a:pt x="257" y="78"/>
                      <a:pt x="257" y="78"/>
                      <a:pt x="257" y="78"/>
                    </a:cubicBezTo>
                    <a:cubicBezTo>
                      <a:pt x="256" y="78"/>
                      <a:pt x="256" y="78"/>
                      <a:pt x="256" y="78"/>
                    </a:cubicBezTo>
                    <a:cubicBezTo>
                      <a:pt x="248" y="74"/>
                      <a:pt x="248" y="74"/>
                      <a:pt x="248" y="74"/>
                    </a:cubicBezTo>
                    <a:cubicBezTo>
                      <a:pt x="246" y="74"/>
                      <a:pt x="246" y="74"/>
                      <a:pt x="246" y="74"/>
                    </a:cubicBezTo>
                    <a:cubicBezTo>
                      <a:pt x="243" y="75"/>
                      <a:pt x="243" y="75"/>
                      <a:pt x="243" y="75"/>
                    </a:cubicBezTo>
                    <a:cubicBezTo>
                      <a:pt x="239" y="75"/>
                      <a:pt x="239" y="75"/>
                      <a:pt x="239" y="75"/>
                    </a:cubicBezTo>
                    <a:cubicBezTo>
                      <a:pt x="237" y="75"/>
                      <a:pt x="237" y="75"/>
                      <a:pt x="237" y="75"/>
                    </a:cubicBezTo>
                    <a:cubicBezTo>
                      <a:pt x="234" y="76"/>
                      <a:pt x="234" y="76"/>
                      <a:pt x="234" y="76"/>
                    </a:cubicBezTo>
                    <a:cubicBezTo>
                      <a:pt x="228" y="77"/>
                      <a:pt x="228" y="77"/>
                      <a:pt x="228" y="77"/>
                    </a:cubicBezTo>
                    <a:cubicBezTo>
                      <a:pt x="223" y="76"/>
                      <a:pt x="223" y="76"/>
                      <a:pt x="223" y="76"/>
                    </a:cubicBezTo>
                    <a:cubicBezTo>
                      <a:pt x="221" y="76"/>
                      <a:pt x="221" y="76"/>
                      <a:pt x="221" y="76"/>
                    </a:cubicBezTo>
                    <a:cubicBezTo>
                      <a:pt x="225" y="75"/>
                      <a:pt x="225" y="75"/>
                      <a:pt x="225" y="75"/>
                    </a:cubicBezTo>
                    <a:cubicBezTo>
                      <a:pt x="227" y="76"/>
                      <a:pt x="227" y="76"/>
                      <a:pt x="227" y="76"/>
                    </a:cubicBezTo>
                    <a:cubicBezTo>
                      <a:pt x="230" y="74"/>
                      <a:pt x="230" y="74"/>
                      <a:pt x="230" y="74"/>
                    </a:cubicBezTo>
                    <a:cubicBezTo>
                      <a:pt x="232" y="71"/>
                      <a:pt x="232" y="71"/>
                      <a:pt x="232" y="71"/>
                    </a:cubicBezTo>
                    <a:cubicBezTo>
                      <a:pt x="236" y="68"/>
                      <a:pt x="236" y="68"/>
                      <a:pt x="236" y="68"/>
                    </a:cubicBezTo>
                    <a:cubicBezTo>
                      <a:pt x="237" y="66"/>
                      <a:pt x="237" y="66"/>
                      <a:pt x="237" y="66"/>
                    </a:cubicBezTo>
                    <a:cubicBezTo>
                      <a:pt x="234" y="65"/>
                      <a:pt x="234" y="65"/>
                      <a:pt x="234" y="65"/>
                    </a:cubicBezTo>
                    <a:cubicBezTo>
                      <a:pt x="234" y="63"/>
                      <a:pt x="234" y="63"/>
                      <a:pt x="234" y="63"/>
                    </a:cubicBezTo>
                    <a:cubicBezTo>
                      <a:pt x="233" y="60"/>
                      <a:pt x="233" y="60"/>
                      <a:pt x="233" y="60"/>
                    </a:cubicBezTo>
                    <a:cubicBezTo>
                      <a:pt x="228" y="58"/>
                      <a:pt x="228" y="58"/>
                      <a:pt x="228" y="58"/>
                    </a:cubicBezTo>
                    <a:cubicBezTo>
                      <a:pt x="221" y="56"/>
                      <a:pt x="221" y="56"/>
                      <a:pt x="221" y="56"/>
                    </a:cubicBezTo>
                    <a:cubicBezTo>
                      <a:pt x="220" y="54"/>
                      <a:pt x="220" y="54"/>
                      <a:pt x="220" y="54"/>
                    </a:cubicBezTo>
                    <a:cubicBezTo>
                      <a:pt x="217" y="53"/>
                      <a:pt x="217" y="53"/>
                      <a:pt x="217" y="53"/>
                    </a:cubicBezTo>
                    <a:cubicBezTo>
                      <a:pt x="213" y="53"/>
                      <a:pt x="213" y="53"/>
                      <a:pt x="213" y="53"/>
                    </a:cubicBezTo>
                    <a:cubicBezTo>
                      <a:pt x="212" y="51"/>
                      <a:pt x="212" y="51"/>
                      <a:pt x="212" y="51"/>
                    </a:cubicBezTo>
                    <a:cubicBezTo>
                      <a:pt x="208" y="49"/>
                      <a:pt x="208" y="49"/>
                      <a:pt x="208" y="49"/>
                    </a:cubicBezTo>
                    <a:cubicBezTo>
                      <a:pt x="206" y="49"/>
                      <a:pt x="206" y="49"/>
                      <a:pt x="206" y="49"/>
                    </a:cubicBezTo>
                    <a:cubicBezTo>
                      <a:pt x="206" y="53"/>
                      <a:pt x="206" y="53"/>
                      <a:pt x="206" y="53"/>
                    </a:cubicBezTo>
                    <a:cubicBezTo>
                      <a:pt x="204" y="49"/>
                      <a:pt x="204" y="49"/>
                      <a:pt x="204" y="49"/>
                    </a:cubicBezTo>
                    <a:cubicBezTo>
                      <a:pt x="202" y="46"/>
                      <a:pt x="202" y="46"/>
                      <a:pt x="202" y="46"/>
                    </a:cubicBezTo>
                    <a:cubicBezTo>
                      <a:pt x="198" y="44"/>
                      <a:pt x="198" y="44"/>
                      <a:pt x="198" y="44"/>
                    </a:cubicBezTo>
                    <a:cubicBezTo>
                      <a:pt x="197" y="42"/>
                      <a:pt x="197" y="42"/>
                      <a:pt x="197" y="42"/>
                    </a:cubicBezTo>
                    <a:cubicBezTo>
                      <a:pt x="199" y="40"/>
                      <a:pt x="199" y="40"/>
                      <a:pt x="199" y="40"/>
                    </a:cubicBezTo>
                    <a:cubicBezTo>
                      <a:pt x="208" y="41"/>
                      <a:pt x="208" y="41"/>
                      <a:pt x="208" y="41"/>
                    </a:cubicBezTo>
                    <a:cubicBezTo>
                      <a:pt x="211" y="38"/>
                      <a:pt x="211" y="38"/>
                      <a:pt x="211" y="38"/>
                    </a:cubicBezTo>
                    <a:cubicBezTo>
                      <a:pt x="217" y="38"/>
                      <a:pt x="217" y="38"/>
                      <a:pt x="217" y="38"/>
                    </a:cubicBezTo>
                    <a:cubicBezTo>
                      <a:pt x="217" y="35"/>
                      <a:pt x="217" y="35"/>
                      <a:pt x="217" y="35"/>
                    </a:cubicBezTo>
                    <a:cubicBezTo>
                      <a:pt x="212" y="36"/>
                      <a:pt x="212" y="36"/>
                      <a:pt x="212" y="36"/>
                    </a:cubicBezTo>
                    <a:cubicBezTo>
                      <a:pt x="204" y="34"/>
                      <a:pt x="204" y="34"/>
                      <a:pt x="204" y="34"/>
                    </a:cubicBezTo>
                    <a:cubicBezTo>
                      <a:pt x="197" y="35"/>
                      <a:pt x="197" y="35"/>
                      <a:pt x="197" y="35"/>
                    </a:cubicBezTo>
                    <a:cubicBezTo>
                      <a:pt x="193" y="35"/>
                      <a:pt x="193" y="35"/>
                      <a:pt x="193" y="35"/>
                    </a:cubicBezTo>
                    <a:cubicBezTo>
                      <a:pt x="185" y="38"/>
                      <a:pt x="185" y="38"/>
                      <a:pt x="185" y="38"/>
                    </a:cubicBezTo>
                    <a:cubicBezTo>
                      <a:pt x="182" y="36"/>
                      <a:pt x="182" y="36"/>
                      <a:pt x="182" y="36"/>
                    </a:cubicBezTo>
                    <a:cubicBezTo>
                      <a:pt x="178" y="37"/>
                      <a:pt x="178" y="37"/>
                      <a:pt x="178" y="37"/>
                    </a:cubicBezTo>
                    <a:cubicBezTo>
                      <a:pt x="171" y="42"/>
                      <a:pt x="171" y="42"/>
                      <a:pt x="171" y="42"/>
                    </a:cubicBezTo>
                    <a:cubicBezTo>
                      <a:pt x="168" y="42"/>
                      <a:pt x="168" y="42"/>
                      <a:pt x="168" y="42"/>
                    </a:cubicBezTo>
                    <a:cubicBezTo>
                      <a:pt x="163" y="45"/>
                      <a:pt x="163" y="45"/>
                      <a:pt x="163" y="45"/>
                    </a:cubicBezTo>
                    <a:cubicBezTo>
                      <a:pt x="162" y="47"/>
                      <a:pt x="162" y="47"/>
                      <a:pt x="162" y="47"/>
                    </a:cubicBezTo>
                    <a:cubicBezTo>
                      <a:pt x="156" y="47"/>
                      <a:pt x="156" y="47"/>
                      <a:pt x="156" y="47"/>
                    </a:cubicBezTo>
                    <a:cubicBezTo>
                      <a:pt x="154" y="48"/>
                      <a:pt x="154" y="48"/>
                      <a:pt x="154" y="48"/>
                    </a:cubicBezTo>
                    <a:cubicBezTo>
                      <a:pt x="151" y="47"/>
                      <a:pt x="151" y="47"/>
                      <a:pt x="151" y="47"/>
                    </a:cubicBezTo>
                    <a:cubicBezTo>
                      <a:pt x="143" y="42"/>
                      <a:pt x="143" y="42"/>
                      <a:pt x="143" y="42"/>
                    </a:cubicBezTo>
                    <a:cubicBezTo>
                      <a:pt x="141" y="38"/>
                      <a:pt x="141" y="38"/>
                      <a:pt x="141" y="38"/>
                    </a:cubicBezTo>
                    <a:cubicBezTo>
                      <a:pt x="139" y="38"/>
                      <a:pt x="139" y="38"/>
                      <a:pt x="139" y="38"/>
                    </a:cubicBezTo>
                    <a:cubicBezTo>
                      <a:pt x="129" y="39"/>
                      <a:pt x="129" y="39"/>
                      <a:pt x="129" y="39"/>
                    </a:cubicBezTo>
                    <a:cubicBezTo>
                      <a:pt x="111" y="42"/>
                      <a:pt x="111" y="42"/>
                      <a:pt x="111" y="42"/>
                    </a:cubicBezTo>
                    <a:cubicBezTo>
                      <a:pt x="102" y="42"/>
                      <a:pt x="102" y="42"/>
                      <a:pt x="102" y="42"/>
                    </a:cubicBezTo>
                    <a:cubicBezTo>
                      <a:pt x="99" y="40"/>
                      <a:pt x="99" y="40"/>
                      <a:pt x="99" y="40"/>
                    </a:cubicBezTo>
                    <a:cubicBezTo>
                      <a:pt x="97" y="37"/>
                      <a:pt x="97" y="37"/>
                      <a:pt x="97" y="37"/>
                    </a:cubicBezTo>
                    <a:cubicBezTo>
                      <a:pt x="97" y="34"/>
                      <a:pt x="97" y="34"/>
                      <a:pt x="97" y="34"/>
                    </a:cubicBezTo>
                    <a:cubicBezTo>
                      <a:pt x="100" y="34"/>
                      <a:pt x="100" y="34"/>
                      <a:pt x="100" y="34"/>
                    </a:cubicBezTo>
                    <a:cubicBezTo>
                      <a:pt x="99" y="30"/>
                      <a:pt x="99" y="30"/>
                      <a:pt x="99" y="30"/>
                    </a:cubicBezTo>
                    <a:cubicBezTo>
                      <a:pt x="95" y="25"/>
                      <a:pt x="95" y="25"/>
                      <a:pt x="95" y="25"/>
                    </a:cubicBezTo>
                    <a:cubicBezTo>
                      <a:pt x="92" y="24"/>
                      <a:pt x="92" y="24"/>
                      <a:pt x="92" y="24"/>
                    </a:cubicBezTo>
                    <a:cubicBezTo>
                      <a:pt x="83" y="25"/>
                      <a:pt x="83" y="25"/>
                      <a:pt x="83" y="25"/>
                    </a:cubicBezTo>
                    <a:cubicBezTo>
                      <a:pt x="78" y="23"/>
                      <a:pt x="78" y="23"/>
                      <a:pt x="78" y="23"/>
                    </a:cubicBezTo>
                    <a:cubicBezTo>
                      <a:pt x="75" y="22"/>
                      <a:pt x="75" y="22"/>
                      <a:pt x="75" y="22"/>
                    </a:cubicBezTo>
                    <a:cubicBezTo>
                      <a:pt x="73" y="23"/>
                      <a:pt x="73" y="23"/>
                      <a:pt x="73" y="23"/>
                    </a:cubicBezTo>
                    <a:cubicBezTo>
                      <a:pt x="70" y="18"/>
                      <a:pt x="70" y="18"/>
                      <a:pt x="70" y="18"/>
                    </a:cubicBezTo>
                    <a:cubicBezTo>
                      <a:pt x="70" y="13"/>
                      <a:pt x="70" y="13"/>
                      <a:pt x="70" y="13"/>
                    </a:cubicBezTo>
                    <a:cubicBezTo>
                      <a:pt x="68" y="7"/>
                      <a:pt x="68" y="7"/>
                      <a:pt x="68" y="7"/>
                    </a:cubicBezTo>
                    <a:cubicBezTo>
                      <a:pt x="67" y="7"/>
                      <a:pt x="67" y="7"/>
                      <a:pt x="67" y="7"/>
                    </a:cubicBezTo>
                    <a:cubicBezTo>
                      <a:pt x="61" y="9"/>
                      <a:pt x="61" y="9"/>
                      <a:pt x="61" y="9"/>
                    </a:cubicBezTo>
                    <a:cubicBezTo>
                      <a:pt x="56" y="15"/>
                      <a:pt x="56" y="15"/>
                      <a:pt x="56" y="15"/>
                    </a:cubicBezTo>
                    <a:cubicBezTo>
                      <a:pt x="57" y="19"/>
                      <a:pt x="57" y="19"/>
                      <a:pt x="57" y="19"/>
                    </a:cubicBezTo>
                    <a:cubicBezTo>
                      <a:pt x="59" y="20"/>
                      <a:pt x="59" y="20"/>
                      <a:pt x="59" y="20"/>
                    </a:cubicBezTo>
                    <a:cubicBezTo>
                      <a:pt x="63" y="18"/>
                      <a:pt x="63" y="18"/>
                      <a:pt x="63" y="18"/>
                    </a:cubicBezTo>
                    <a:cubicBezTo>
                      <a:pt x="66" y="19"/>
                      <a:pt x="66" y="19"/>
                      <a:pt x="66" y="19"/>
                    </a:cubicBezTo>
                    <a:cubicBezTo>
                      <a:pt x="69" y="22"/>
                      <a:pt x="69" y="22"/>
                      <a:pt x="69" y="22"/>
                    </a:cubicBezTo>
                    <a:cubicBezTo>
                      <a:pt x="69" y="24"/>
                      <a:pt x="69" y="24"/>
                      <a:pt x="69" y="24"/>
                    </a:cubicBezTo>
                    <a:cubicBezTo>
                      <a:pt x="65" y="25"/>
                      <a:pt x="65" y="25"/>
                      <a:pt x="65" y="25"/>
                    </a:cubicBezTo>
                    <a:cubicBezTo>
                      <a:pt x="61" y="23"/>
                      <a:pt x="61" y="23"/>
                      <a:pt x="61" y="23"/>
                    </a:cubicBezTo>
                    <a:cubicBezTo>
                      <a:pt x="60" y="22"/>
                      <a:pt x="60" y="22"/>
                      <a:pt x="60" y="22"/>
                    </a:cubicBezTo>
                    <a:cubicBezTo>
                      <a:pt x="59" y="23"/>
                      <a:pt x="59" y="23"/>
                      <a:pt x="59" y="23"/>
                    </a:cubicBezTo>
                    <a:cubicBezTo>
                      <a:pt x="59" y="25"/>
                      <a:pt x="59" y="25"/>
                      <a:pt x="59" y="25"/>
                    </a:cubicBezTo>
                    <a:cubicBezTo>
                      <a:pt x="54" y="27"/>
                      <a:pt x="54" y="27"/>
                      <a:pt x="54" y="27"/>
                    </a:cubicBezTo>
                    <a:cubicBezTo>
                      <a:pt x="46" y="28"/>
                      <a:pt x="46" y="28"/>
                      <a:pt x="46" y="28"/>
                    </a:cubicBezTo>
                    <a:cubicBezTo>
                      <a:pt x="37" y="32"/>
                      <a:pt x="37" y="32"/>
                      <a:pt x="37" y="32"/>
                    </a:cubicBezTo>
                    <a:cubicBezTo>
                      <a:pt x="35" y="35"/>
                      <a:pt x="35" y="35"/>
                      <a:pt x="35" y="35"/>
                    </a:cubicBezTo>
                    <a:cubicBezTo>
                      <a:pt x="35" y="38"/>
                      <a:pt x="35" y="38"/>
                      <a:pt x="35" y="38"/>
                    </a:cubicBezTo>
                    <a:cubicBezTo>
                      <a:pt x="37" y="42"/>
                      <a:pt x="37" y="42"/>
                      <a:pt x="37" y="42"/>
                    </a:cubicBezTo>
                    <a:cubicBezTo>
                      <a:pt x="37" y="50"/>
                      <a:pt x="37" y="50"/>
                      <a:pt x="37" y="50"/>
                    </a:cubicBezTo>
                    <a:cubicBezTo>
                      <a:pt x="38" y="55"/>
                      <a:pt x="38" y="55"/>
                      <a:pt x="38" y="55"/>
                    </a:cubicBezTo>
                    <a:cubicBezTo>
                      <a:pt x="39" y="59"/>
                      <a:pt x="39" y="59"/>
                      <a:pt x="39" y="59"/>
                    </a:cubicBezTo>
                    <a:cubicBezTo>
                      <a:pt x="36" y="65"/>
                      <a:pt x="36" y="65"/>
                      <a:pt x="36" y="65"/>
                    </a:cubicBezTo>
                    <a:cubicBezTo>
                      <a:pt x="30" y="68"/>
                      <a:pt x="30" y="68"/>
                      <a:pt x="30" y="68"/>
                    </a:cubicBezTo>
                    <a:cubicBezTo>
                      <a:pt x="26" y="68"/>
                      <a:pt x="26" y="68"/>
                      <a:pt x="26" y="68"/>
                    </a:cubicBezTo>
                    <a:cubicBezTo>
                      <a:pt x="26" y="62"/>
                      <a:pt x="26" y="62"/>
                      <a:pt x="26" y="62"/>
                    </a:cubicBezTo>
                    <a:cubicBezTo>
                      <a:pt x="23" y="58"/>
                      <a:pt x="23" y="58"/>
                      <a:pt x="23" y="58"/>
                    </a:cubicBezTo>
                    <a:cubicBezTo>
                      <a:pt x="21" y="54"/>
                      <a:pt x="21" y="54"/>
                      <a:pt x="21" y="54"/>
                    </a:cubicBezTo>
                    <a:cubicBezTo>
                      <a:pt x="25" y="51"/>
                      <a:pt x="25" y="51"/>
                      <a:pt x="25" y="51"/>
                    </a:cubicBezTo>
                    <a:cubicBezTo>
                      <a:pt x="25" y="49"/>
                      <a:pt x="25" y="49"/>
                      <a:pt x="25" y="49"/>
                    </a:cubicBezTo>
                    <a:cubicBezTo>
                      <a:pt x="33" y="42"/>
                      <a:pt x="33" y="42"/>
                      <a:pt x="33" y="42"/>
                    </a:cubicBezTo>
                    <a:cubicBezTo>
                      <a:pt x="33" y="36"/>
                      <a:pt x="33" y="36"/>
                      <a:pt x="33" y="36"/>
                    </a:cubicBezTo>
                    <a:cubicBezTo>
                      <a:pt x="30" y="33"/>
                      <a:pt x="30" y="33"/>
                      <a:pt x="30" y="33"/>
                    </a:cubicBezTo>
                    <a:cubicBezTo>
                      <a:pt x="31" y="31"/>
                      <a:pt x="31" y="31"/>
                      <a:pt x="31" y="31"/>
                    </a:cubicBezTo>
                    <a:cubicBezTo>
                      <a:pt x="30" y="29"/>
                      <a:pt x="30" y="29"/>
                      <a:pt x="30" y="29"/>
                    </a:cubicBezTo>
                    <a:cubicBezTo>
                      <a:pt x="27" y="26"/>
                      <a:pt x="27" y="26"/>
                      <a:pt x="27" y="26"/>
                    </a:cubicBezTo>
                    <a:cubicBezTo>
                      <a:pt x="26" y="23"/>
                      <a:pt x="26" y="23"/>
                      <a:pt x="26" y="23"/>
                    </a:cubicBezTo>
                    <a:cubicBezTo>
                      <a:pt x="27" y="21"/>
                      <a:pt x="27" y="21"/>
                      <a:pt x="27" y="21"/>
                    </a:cubicBezTo>
                    <a:cubicBezTo>
                      <a:pt x="31" y="19"/>
                      <a:pt x="31" y="19"/>
                      <a:pt x="31" y="19"/>
                    </a:cubicBezTo>
                    <a:cubicBezTo>
                      <a:pt x="36" y="18"/>
                      <a:pt x="36" y="18"/>
                      <a:pt x="36" y="18"/>
                    </a:cubicBezTo>
                    <a:cubicBezTo>
                      <a:pt x="40" y="13"/>
                      <a:pt x="40" y="13"/>
                      <a:pt x="40" y="13"/>
                    </a:cubicBezTo>
                    <a:cubicBezTo>
                      <a:pt x="38" y="13"/>
                      <a:pt x="38" y="13"/>
                      <a:pt x="38" y="13"/>
                    </a:cubicBezTo>
                    <a:cubicBezTo>
                      <a:pt x="37" y="14"/>
                      <a:pt x="37" y="14"/>
                      <a:pt x="37" y="14"/>
                    </a:cubicBezTo>
                    <a:cubicBezTo>
                      <a:pt x="27" y="18"/>
                      <a:pt x="27" y="18"/>
                      <a:pt x="27" y="18"/>
                    </a:cubicBezTo>
                    <a:cubicBezTo>
                      <a:pt x="21" y="26"/>
                      <a:pt x="21" y="26"/>
                      <a:pt x="21" y="26"/>
                    </a:cubicBezTo>
                    <a:cubicBezTo>
                      <a:pt x="19" y="28"/>
                      <a:pt x="19" y="28"/>
                      <a:pt x="19" y="28"/>
                    </a:cubicBezTo>
                    <a:cubicBezTo>
                      <a:pt x="16" y="29"/>
                      <a:pt x="16" y="29"/>
                      <a:pt x="16" y="29"/>
                    </a:cubicBezTo>
                    <a:cubicBezTo>
                      <a:pt x="13" y="34"/>
                      <a:pt x="13" y="34"/>
                      <a:pt x="13" y="34"/>
                    </a:cubicBezTo>
                    <a:cubicBezTo>
                      <a:pt x="10" y="36"/>
                      <a:pt x="10" y="36"/>
                      <a:pt x="10" y="36"/>
                    </a:cubicBezTo>
                    <a:cubicBezTo>
                      <a:pt x="4" y="44"/>
                      <a:pt x="4" y="44"/>
                      <a:pt x="4" y="44"/>
                    </a:cubicBezTo>
                    <a:cubicBezTo>
                      <a:pt x="3" y="48"/>
                      <a:pt x="3" y="48"/>
                      <a:pt x="3" y="48"/>
                    </a:cubicBezTo>
                    <a:cubicBezTo>
                      <a:pt x="4" y="51"/>
                      <a:pt x="4" y="51"/>
                      <a:pt x="4" y="51"/>
                    </a:cubicBezTo>
                    <a:cubicBezTo>
                      <a:pt x="3" y="58"/>
                      <a:pt x="3" y="58"/>
                      <a:pt x="3" y="58"/>
                    </a:cubicBezTo>
                    <a:cubicBezTo>
                      <a:pt x="1" y="64"/>
                      <a:pt x="1" y="64"/>
                      <a:pt x="1" y="64"/>
                    </a:cubicBezTo>
                    <a:cubicBezTo>
                      <a:pt x="0" y="65"/>
                      <a:pt x="0" y="65"/>
                      <a:pt x="0" y="65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6" y="65"/>
                      <a:pt x="6" y="65"/>
                      <a:pt x="6" y="65"/>
                    </a:cubicBezTo>
                    <a:cubicBezTo>
                      <a:pt x="14" y="79"/>
                      <a:pt x="14" y="79"/>
                      <a:pt x="14" y="79"/>
                    </a:cubicBezTo>
                    <a:cubicBezTo>
                      <a:pt x="17" y="84"/>
                      <a:pt x="17" y="84"/>
                      <a:pt x="17" y="84"/>
                    </a:cubicBezTo>
                    <a:cubicBezTo>
                      <a:pt x="18" y="87"/>
                      <a:pt x="18" y="87"/>
                      <a:pt x="18" y="87"/>
                    </a:cubicBezTo>
                    <a:cubicBezTo>
                      <a:pt x="16" y="91"/>
                      <a:pt x="16" y="91"/>
                      <a:pt x="16" y="91"/>
                    </a:cubicBezTo>
                    <a:cubicBezTo>
                      <a:pt x="16" y="94"/>
                      <a:pt x="16" y="94"/>
                      <a:pt x="16" y="94"/>
                    </a:cubicBezTo>
                    <a:cubicBezTo>
                      <a:pt x="15" y="96"/>
                      <a:pt x="15" y="96"/>
                      <a:pt x="15" y="96"/>
                    </a:cubicBezTo>
                    <a:cubicBezTo>
                      <a:pt x="15" y="99"/>
                      <a:pt x="15" y="99"/>
                      <a:pt x="15" y="99"/>
                    </a:cubicBezTo>
                    <a:cubicBezTo>
                      <a:pt x="20" y="102"/>
                      <a:pt x="20" y="102"/>
                      <a:pt x="20" y="102"/>
                    </a:cubicBezTo>
                    <a:cubicBezTo>
                      <a:pt x="25" y="104"/>
                      <a:pt x="25" y="104"/>
                      <a:pt x="25" y="104"/>
                    </a:cubicBezTo>
                    <a:cubicBezTo>
                      <a:pt x="28" y="105"/>
                      <a:pt x="28" y="105"/>
                      <a:pt x="28" y="105"/>
                    </a:cubicBezTo>
                    <a:cubicBezTo>
                      <a:pt x="32" y="107"/>
                      <a:pt x="32" y="107"/>
                      <a:pt x="32" y="107"/>
                    </a:cubicBezTo>
                    <a:cubicBezTo>
                      <a:pt x="35" y="105"/>
                      <a:pt x="35" y="105"/>
                      <a:pt x="35" y="105"/>
                    </a:cubicBezTo>
                    <a:cubicBezTo>
                      <a:pt x="40" y="105"/>
                      <a:pt x="40" y="105"/>
                      <a:pt x="40" y="105"/>
                    </a:cubicBezTo>
                    <a:cubicBezTo>
                      <a:pt x="45" y="107"/>
                      <a:pt x="45" y="107"/>
                      <a:pt x="45" y="107"/>
                    </a:cubicBezTo>
                    <a:cubicBezTo>
                      <a:pt x="46" y="105"/>
                      <a:pt x="46" y="105"/>
                      <a:pt x="46" y="105"/>
                    </a:cubicBezTo>
                    <a:cubicBezTo>
                      <a:pt x="52" y="104"/>
                      <a:pt x="52" y="104"/>
                      <a:pt x="52" y="104"/>
                    </a:cubicBezTo>
                    <a:cubicBezTo>
                      <a:pt x="58" y="106"/>
                      <a:pt x="58" y="106"/>
                      <a:pt x="58" y="106"/>
                    </a:cubicBezTo>
                    <a:cubicBezTo>
                      <a:pt x="62" y="107"/>
                      <a:pt x="62" y="107"/>
                      <a:pt x="62" y="107"/>
                    </a:cubicBezTo>
                    <a:cubicBezTo>
                      <a:pt x="76" y="121"/>
                      <a:pt x="76" y="121"/>
                      <a:pt x="76" y="121"/>
                    </a:cubicBezTo>
                    <a:cubicBezTo>
                      <a:pt x="81" y="120"/>
                      <a:pt x="81" y="120"/>
                      <a:pt x="81" y="120"/>
                    </a:cubicBezTo>
                    <a:cubicBezTo>
                      <a:pt x="83" y="121"/>
                      <a:pt x="83" y="121"/>
                      <a:pt x="83" y="121"/>
                    </a:cubicBezTo>
                    <a:cubicBezTo>
                      <a:pt x="84" y="120"/>
                      <a:pt x="84" y="120"/>
                      <a:pt x="84" y="120"/>
                    </a:cubicBezTo>
                    <a:cubicBezTo>
                      <a:pt x="88" y="122"/>
                      <a:pt x="88" y="122"/>
                      <a:pt x="88" y="122"/>
                    </a:cubicBezTo>
                    <a:cubicBezTo>
                      <a:pt x="91" y="123"/>
                      <a:pt x="91" y="123"/>
                      <a:pt x="91" y="123"/>
                    </a:cubicBezTo>
                    <a:cubicBezTo>
                      <a:pt x="94" y="121"/>
                      <a:pt x="94" y="121"/>
                      <a:pt x="94" y="121"/>
                    </a:cubicBezTo>
                    <a:cubicBezTo>
                      <a:pt x="98" y="121"/>
                      <a:pt x="98" y="121"/>
                      <a:pt x="98" y="121"/>
                    </a:cubicBezTo>
                    <a:cubicBezTo>
                      <a:pt x="103" y="121"/>
                      <a:pt x="103" y="121"/>
                      <a:pt x="103" y="121"/>
                    </a:cubicBezTo>
                    <a:cubicBezTo>
                      <a:pt x="104" y="120"/>
                      <a:pt x="104" y="120"/>
                      <a:pt x="104" y="120"/>
                    </a:cubicBezTo>
                    <a:cubicBezTo>
                      <a:pt x="108" y="120"/>
                      <a:pt x="108" y="120"/>
                      <a:pt x="108" y="120"/>
                    </a:cubicBezTo>
                    <a:cubicBezTo>
                      <a:pt x="111" y="122"/>
                      <a:pt x="111" y="122"/>
                      <a:pt x="111" y="122"/>
                    </a:cubicBezTo>
                    <a:cubicBezTo>
                      <a:pt x="112" y="129"/>
                      <a:pt x="112" y="129"/>
                      <a:pt x="112" y="129"/>
                    </a:cubicBezTo>
                    <a:cubicBezTo>
                      <a:pt x="110" y="132"/>
                      <a:pt x="110" y="132"/>
                      <a:pt x="110" y="132"/>
                    </a:cubicBezTo>
                    <a:cubicBezTo>
                      <a:pt x="110" y="135"/>
                      <a:pt x="110" y="135"/>
                      <a:pt x="110" y="135"/>
                    </a:cubicBezTo>
                    <a:cubicBezTo>
                      <a:pt x="109" y="137"/>
                      <a:pt x="109" y="137"/>
                      <a:pt x="109" y="137"/>
                    </a:cubicBezTo>
                    <a:cubicBezTo>
                      <a:pt x="105" y="139"/>
                      <a:pt x="105" y="139"/>
                      <a:pt x="105" y="139"/>
                    </a:cubicBezTo>
                    <a:cubicBezTo>
                      <a:pt x="102" y="141"/>
                      <a:pt x="102" y="141"/>
                      <a:pt x="102" y="141"/>
                    </a:cubicBezTo>
                    <a:cubicBezTo>
                      <a:pt x="104" y="148"/>
                      <a:pt x="104" y="148"/>
                      <a:pt x="104" y="148"/>
                    </a:cubicBezTo>
                    <a:cubicBezTo>
                      <a:pt x="104" y="150"/>
                      <a:pt x="104" y="150"/>
                      <a:pt x="104" y="150"/>
                    </a:cubicBezTo>
                    <a:cubicBezTo>
                      <a:pt x="103" y="155"/>
                      <a:pt x="103" y="155"/>
                      <a:pt x="103" y="155"/>
                    </a:cubicBezTo>
                    <a:cubicBezTo>
                      <a:pt x="103" y="161"/>
                      <a:pt x="103" y="161"/>
                      <a:pt x="103" y="161"/>
                    </a:cubicBezTo>
                    <a:cubicBezTo>
                      <a:pt x="105" y="164"/>
                      <a:pt x="105" y="164"/>
                      <a:pt x="105" y="164"/>
                    </a:cubicBezTo>
                    <a:cubicBezTo>
                      <a:pt x="105" y="166"/>
                      <a:pt x="105" y="166"/>
                      <a:pt x="105" y="166"/>
                    </a:cubicBezTo>
                    <a:cubicBezTo>
                      <a:pt x="109" y="176"/>
                      <a:pt x="109" y="176"/>
                      <a:pt x="109" y="176"/>
                    </a:cubicBezTo>
                    <a:cubicBezTo>
                      <a:pt x="103" y="187"/>
                      <a:pt x="103" y="187"/>
                      <a:pt x="103" y="187"/>
                    </a:cubicBezTo>
                    <a:cubicBezTo>
                      <a:pt x="103" y="189"/>
                      <a:pt x="103" y="189"/>
                      <a:pt x="103" y="189"/>
                    </a:cubicBezTo>
                    <a:cubicBezTo>
                      <a:pt x="105" y="190"/>
                      <a:pt x="105" y="190"/>
                      <a:pt x="105" y="190"/>
                    </a:cubicBezTo>
                    <a:cubicBezTo>
                      <a:pt x="107" y="189"/>
                      <a:pt x="107" y="189"/>
                      <a:pt x="107" y="189"/>
                    </a:cubicBezTo>
                    <a:cubicBezTo>
                      <a:pt x="108" y="190"/>
                      <a:pt x="108" y="190"/>
                      <a:pt x="108" y="190"/>
                    </a:cubicBezTo>
                    <a:cubicBezTo>
                      <a:pt x="109" y="193"/>
                      <a:pt x="109" y="193"/>
                      <a:pt x="109" y="193"/>
                    </a:cubicBezTo>
                    <a:cubicBezTo>
                      <a:pt x="111" y="194"/>
                      <a:pt x="111" y="194"/>
                      <a:pt x="111" y="194"/>
                    </a:cubicBezTo>
                    <a:cubicBezTo>
                      <a:pt x="113" y="197"/>
                      <a:pt x="113" y="197"/>
                      <a:pt x="113" y="197"/>
                    </a:cubicBezTo>
                    <a:cubicBezTo>
                      <a:pt x="112" y="199"/>
                      <a:pt x="112" y="199"/>
                      <a:pt x="112" y="199"/>
                    </a:cubicBezTo>
                    <a:cubicBezTo>
                      <a:pt x="114" y="204"/>
                      <a:pt x="114" y="204"/>
                      <a:pt x="114" y="204"/>
                    </a:cubicBezTo>
                    <a:cubicBezTo>
                      <a:pt x="118" y="213"/>
                      <a:pt x="118" y="213"/>
                      <a:pt x="118" y="213"/>
                    </a:cubicBezTo>
                    <a:cubicBezTo>
                      <a:pt x="118" y="217"/>
                      <a:pt x="118" y="217"/>
                      <a:pt x="118" y="217"/>
                    </a:cubicBezTo>
                    <a:cubicBezTo>
                      <a:pt x="118" y="217"/>
                      <a:pt x="118" y="217"/>
                      <a:pt x="118" y="217"/>
                    </a:cubicBezTo>
                    <a:close/>
                    <a:moveTo>
                      <a:pt x="92" y="6"/>
                    </a:moveTo>
                    <a:cubicBezTo>
                      <a:pt x="96" y="5"/>
                      <a:pt x="96" y="5"/>
                      <a:pt x="96" y="5"/>
                    </a:cubicBezTo>
                    <a:cubicBezTo>
                      <a:pt x="100" y="9"/>
                      <a:pt x="100" y="9"/>
                      <a:pt x="100" y="9"/>
                    </a:cubicBezTo>
                    <a:cubicBezTo>
                      <a:pt x="99" y="12"/>
                      <a:pt x="99" y="12"/>
                      <a:pt x="99" y="12"/>
                    </a:cubicBezTo>
                    <a:cubicBezTo>
                      <a:pt x="97" y="9"/>
                      <a:pt x="97" y="9"/>
                      <a:pt x="97" y="9"/>
                    </a:cubicBezTo>
                    <a:cubicBezTo>
                      <a:pt x="94" y="9"/>
                      <a:pt x="94" y="9"/>
                      <a:pt x="94" y="9"/>
                    </a:cubicBezTo>
                    <a:cubicBezTo>
                      <a:pt x="92" y="6"/>
                      <a:pt x="92" y="6"/>
                      <a:pt x="92" y="6"/>
                    </a:cubicBezTo>
                    <a:close/>
                    <a:moveTo>
                      <a:pt x="80" y="4"/>
                    </a:moveTo>
                    <a:cubicBezTo>
                      <a:pt x="83" y="8"/>
                      <a:pt x="83" y="8"/>
                      <a:pt x="83" y="8"/>
                    </a:cubicBezTo>
                    <a:cubicBezTo>
                      <a:pt x="87" y="8"/>
                      <a:pt x="87" y="8"/>
                      <a:pt x="87" y="8"/>
                    </a:cubicBezTo>
                    <a:cubicBezTo>
                      <a:pt x="85" y="10"/>
                      <a:pt x="85" y="10"/>
                      <a:pt x="85" y="10"/>
                    </a:cubicBezTo>
                    <a:cubicBezTo>
                      <a:pt x="80" y="9"/>
                      <a:pt x="80" y="9"/>
                      <a:pt x="80" y="9"/>
                    </a:cubicBezTo>
                    <a:cubicBezTo>
                      <a:pt x="79" y="6"/>
                      <a:pt x="79" y="6"/>
                      <a:pt x="79" y="6"/>
                    </a:cubicBezTo>
                    <a:cubicBezTo>
                      <a:pt x="80" y="4"/>
                      <a:pt x="80" y="4"/>
                      <a:pt x="80" y="4"/>
                    </a:cubicBezTo>
                    <a:close/>
                    <a:moveTo>
                      <a:pt x="61" y="0"/>
                    </a:moveTo>
                    <a:cubicBezTo>
                      <a:pt x="64" y="3"/>
                      <a:pt x="64" y="3"/>
                      <a:pt x="64" y="3"/>
                    </a:cubicBezTo>
                    <a:cubicBezTo>
                      <a:pt x="68" y="3"/>
                      <a:pt x="68" y="3"/>
                      <a:pt x="68" y="3"/>
                    </a:cubicBezTo>
                    <a:cubicBezTo>
                      <a:pt x="64" y="0"/>
                      <a:pt x="64" y="0"/>
                      <a:pt x="64" y="0"/>
                    </a:cubicBezTo>
                    <a:cubicBezTo>
                      <a:pt x="61" y="0"/>
                      <a:pt x="61" y="0"/>
                      <a:pt x="61" y="0"/>
                    </a:cubicBezTo>
                    <a:close/>
                    <a:moveTo>
                      <a:pt x="170" y="31"/>
                    </a:moveTo>
                    <a:cubicBezTo>
                      <a:pt x="174" y="29"/>
                      <a:pt x="174" y="29"/>
                      <a:pt x="174" y="29"/>
                    </a:cubicBezTo>
                    <a:cubicBezTo>
                      <a:pt x="176" y="31"/>
                      <a:pt x="176" y="31"/>
                      <a:pt x="176" y="31"/>
                    </a:cubicBezTo>
                    <a:cubicBezTo>
                      <a:pt x="181" y="27"/>
                      <a:pt x="181" y="27"/>
                      <a:pt x="181" y="27"/>
                    </a:cubicBezTo>
                    <a:cubicBezTo>
                      <a:pt x="183" y="29"/>
                      <a:pt x="183" y="29"/>
                      <a:pt x="183" y="29"/>
                    </a:cubicBezTo>
                    <a:cubicBezTo>
                      <a:pt x="180" y="33"/>
                      <a:pt x="180" y="33"/>
                      <a:pt x="180" y="33"/>
                    </a:cubicBezTo>
                    <a:cubicBezTo>
                      <a:pt x="176" y="32"/>
                      <a:pt x="176" y="32"/>
                      <a:pt x="176" y="32"/>
                    </a:cubicBezTo>
                    <a:cubicBezTo>
                      <a:pt x="172" y="33"/>
                      <a:pt x="172" y="33"/>
                      <a:pt x="172" y="33"/>
                    </a:cubicBezTo>
                    <a:cubicBezTo>
                      <a:pt x="170" y="31"/>
                      <a:pt x="170" y="31"/>
                      <a:pt x="170" y="31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065" name="Freeform 67"/>
              <p:cNvSpPr>
                <a:spLocks/>
              </p:cNvSpPr>
              <p:nvPr userDrawn="1"/>
            </p:nvSpPr>
            <p:spPr bwMode="auto">
              <a:xfrm>
                <a:off x="2028" y="2703"/>
                <a:ext cx="221" cy="303"/>
              </a:xfrm>
              <a:custGeom>
                <a:avLst/>
                <a:gdLst>
                  <a:gd name="T0" fmla="*/ 180 w 221"/>
                  <a:gd name="T1" fmla="*/ 248 h 303"/>
                  <a:gd name="T2" fmla="*/ 177 w 221"/>
                  <a:gd name="T3" fmla="*/ 217 h 303"/>
                  <a:gd name="T4" fmla="*/ 180 w 221"/>
                  <a:gd name="T5" fmla="*/ 209 h 303"/>
                  <a:gd name="T6" fmla="*/ 195 w 221"/>
                  <a:gd name="T7" fmla="*/ 194 h 303"/>
                  <a:gd name="T8" fmla="*/ 211 w 221"/>
                  <a:gd name="T9" fmla="*/ 190 h 303"/>
                  <a:gd name="T10" fmla="*/ 221 w 221"/>
                  <a:gd name="T11" fmla="*/ 205 h 303"/>
                  <a:gd name="T12" fmla="*/ 214 w 221"/>
                  <a:gd name="T13" fmla="*/ 183 h 303"/>
                  <a:gd name="T14" fmla="*/ 207 w 221"/>
                  <a:gd name="T15" fmla="*/ 178 h 303"/>
                  <a:gd name="T16" fmla="*/ 207 w 221"/>
                  <a:gd name="T17" fmla="*/ 151 h 303"/>
                  <a:gd name="T18" fmla="*/ 209 w 221"/>
                  <a:gd name="T19" fmla="*/ 130 h 303"/>
                  <a:gd name="T20" fmla="*/ 214 w 221"/>
                  <a:gd name="T21" fmla="*/ 114 h 303"/>
                  <a:gd name="T22" fmla="*/ 198 w 221"/>
                  <a:gd name="T23" fmla="*/ 113 h 303"/>
                  <a:gd name="T24" fmla="*/ 186 w 221"/>
                  <a:gd name="T25" fmla="*/ 112 h 303"/>
                  <a:gd name="T26" fmla="*/ 152 w 221"/>
                  <a:gd name="T27" fmla="*/ 98 h 303"/>
                  <a:gd name="T28" fmla="*/ 135 w 221"/>
                  <a:gd name="T29" fmla="*/ 98 h 303"/>
                  <a:gd name="T30" fmla="*/ 124 w 221"/>
                  <a:gd name="T31" fmla="*/ 87 h 303"/>
                  <a:gd name="T32" fmla="*/ 114 w 221"/>
                  <a:gd name="T33" fmla="*/ 59 h 303"/>
                  <a:gd name="T34" fmla="*/ 112 w 221"/>
                  <a:gd name="T35" fmla="*/ 46 h 303"/>
                  <a:gd name="T36" fmla="*/ 124 w 221"/>
                  <a:gd name="T37" fmla="*/ 25 h 303"/>
                  <a:gd name="T38" fmla="*/ 145 w 221"/>
                  <a:gd name="T39" fmla="*/ 10 h 303"/>
                  <a:gd name="T40" fmla="*/ 147 w 221"/>
                  <a:gd name="T41" fmla="*/ 3 h 303"/>
                  <a:gd name="T42" fmla="*/ 134 w 221"/>
                  <a:gd name="T43" fmla="*/ 3 h 303"/>
                  <a:gd name="T44" fmla="*/ 127 w 221"/>
                  <a:gd name="T45" fmla="*/ 9 h 303"/>
                  <a:gd name="T46" fmla="*/ 106 w 221"/>
                  <a:gd name="T47" fmla="*/ 20 h 303"/>
                  <a:gd name="T48" fmla="*/ 92 w 221"/>
                  <a:gd name="T49" fmla="*/ 27 h 303"/>
                  <a:gd name="T50" fmla="*/ 87 w 221"/>
                  <a:gd name="T51" fmla="*/ 28 h 303"/>
                  <a:gd name="T52" fmla="*/ 73 w 221"/>
                  <a:gd name="T53" fmla="*/ 28 h 303"/>
                  <a:gd name="T54" fmla="*/ 63 w 221"/>
                  <a:gd name="T55" fmla="*/ 46 h 303"/>
                  <a:gd name="T56" fmla="*/ 59 w 221"/>
                  <a:gd name="T57" fmla="*/ 55 h 303"/>
                  <a:gd name="T58" fmla="*/ 43 w 221"/>
                  <a:gd name="T59" fmla="*/ 67 h 303"/>
                  <a:gd name="T60" fmla="*/ 42 w 221"/>
                  <a:gd name="T61" fmla="*/ 82 h 303"/>
                  <a:gd name="T62" fmla="*/ 36 w 221"/>
                  <a:gd name="T63" fmla="*/ 75 h 303"/>
                  <a:gd name="T64" fmla="*/ 33 w 221"/>
                  <a:gd name="T65" fmla="*/ 79 h 303"/>
                  <a:gd name="T66" fmla="*/ 22 w 221"/>
                  <a:gd name="T67" fmla="*/ 94 h 303"/>
                  <a:gd name="T68" fmla="*/ 29 w 221"/>
                  <a:gd name="T69" fmla="*/ 107 h 303"/>
                  <a:gd name="T70" fmla="*/ 30 w 221"/>
                  <a:gd name="T71" fmla="*/ 116 h 303"/>
                  <a:gd name="T72" fmla="*/ 30 w 221"/>
                  <a:gd name="T73" fmla="*/ 128 h 303"/>
                  <a:gd name="T74" fmla="*/ 28 w 221"/>
                  <a:gd name="T75" fmla="*/ 151 h 303"/>
                  <a:gd name="T76" fmla="*/ 37 w 221"/>
                  <a:gd name="T77" fmla="*/ 157 h 303"/>
                  <a:gd name="T78" fmla="*/ 25 w 221"/>
                  <a:gd name="T79" fmla="*/ 175 h 303"/>
                  <a:gd name="T80" fmla="*/ 1 w 221"/>
                  <a:gd name="T81" fmla="*/ 198 h 303"/>
                  <a:gd name="T82" fmla="*/ 23 w 221"/>
                  <a:gd name="T83" fmla="*/ 212 h 303"/>
                  <a:gd name="T84" fmla="*/ 40 w 221"/>
                  <a:gd name="T85" fmla="*/ 226 h 303"/>
                  <a:gd name="T86" fmla="*/ 53 w 221"/>
                  <a:gd name="T87" fmla="*/ 221 h 303"/>
                  <a:gd name="T88" fmla="*/ 66 w 221"/>
                  <a:gd name="T89" fmla="*/ 228 h 303"/>
                  <a:gd name="T90" fmla="*/ 81 w 221"/>
                  <a:gd name="T91" fmla="*/ 232 h 303"/>
                  <a:gd name="T92" fmla="*/ 92 w 221"/>
                  <a:gd name="T93" fmla="*/ 248 h 303"/>
                  <a:gd name="T94" fmla="*/ 108 w 221"/>
                  <a:gd name="T95" fmla="*/ 262 h 303"/>
                  <a:gd name="T96" fmla="*/ 117 w 221"/>
                  <a:gd name="T97" fmla="*/ 272 h 303"/>
                  <a:gd name="T98" fmla="*/ 137 w 221"/>
                  <a:gd name="T99" fmla="*/ 269 h 303"/>
                  <a:gd name="T100" fmla="*/ 155 w 221"/>
                  <a:gd name="T101" fmla="*/ 270 h 303"/>
                  <a:gd name="T102" fmla="*/ 153 w 221"/>
                  <a:gd name="T103" fmla="*/ 296 h 303"/>
                  <a:gd name="T104" fmla="*/ 166 w 221"/>
                  <a:gd name="T105" fmla="*/ 303 h 3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21" h="303">
                    <a:moveTo>
                      <a:pt x="166" y="303"/>
                    </a:moveTo>
                    <a:lnTo>
                      <a:pt x="169" y="294"/>
                    </a:lnTo>
                    <a:lnTo>
                      <a:pt x="179" y="256"/>
                    </a:lnTo>
                    <a:lnTo>
                      <a:pt x="180" y="254"/>
                    </a:lnTo>
                    <a:lnTo>
                      <a:pt x="180" y="248"/>
                    </a:lnTo>
                    <a:lnTo>
                      <a:pt x="175" y="240"/>
                    </a:lnTo>
                    <a:lnTo>
                      <a:pt x="168" y="235"/>
                    </a:lnTo>
                    <a:lnTo>
                      <a:pt x="166" y="231"/>
                    </a:lnTo>
                    <a:lnTo>
                      <a:pt x="165" y="222"/>
                    </a:lnTo>
                    <a:lnTo>
                      <a:pt x="177" y="217"/>
                    </a:lnTo>
                    <a:lnTo>
                      <a:pt x="181" y="220"/>
                    </a:lnTo>
                    <a:lnTo>
                      <a:pt x="182" y="217"/>
                    </a:lnTo>
                    <a:lnTo>
                      <a:pt x="180" y="215"/>
                    </a:lnTo>
                    <a:lnTo>
                      <a:pt x="182" y="213"/>
                    </a:lnTo>
                    <a:lnTo>
                      <a:pt x="180" y="209"/>
                    </a:lnTo>
                    <a:lnTo>
                      <a:pt x="172" y="207"/>
                    </a:lnTo>
                    <a:lnTo>
                      <a:pt x="170" y="202"/>
                    </a:lnTo>
                    <a:lnTo>
                      <a:pt x="172" y="196"/>
                    </a:lnTo>
                    <a:lnTo>
                      <a:pt x="192" y="196"/>
                    </a:lnTo>
                    <a:lnTo>
                      <a:pt x="195" y="194"/>
                    </a:lnTo>
                    <a:lnTo>
                      <a:pt x="198" y="194"/>
                    </a:lnTo>
                    <a:lnTo>
                      <a:pt x="201" y="196"/>
                    </a:lnTo>
                    <a:lnTo>
                      <a:pt x="203" y="195"/>
                    </a:lnTo>
                    <a:lnTo>
                      <a:pt x="207" y="191"/>
                    </a:lnTo>
                    <a:lnTo>
                      <a:pt x="211" y="190"/>
                    </a:lnTo>
                    <a:lnTo>
                      <a:pt x="212" y="193"/>
                    </a:lnTo>
                    <a:lnTo>
                      <a:pt x="215" y="196"/>
                    </a:lnTo>
                    <a:lnTo>
                      <a:pt x="216" y="201"/>
                    </a:lnTo>
                    <a:lnTo>
                      <a:pt x="216" y="206"/>
                    </a:lnTo>
                    <a:lnTo>
                      <a:pt x="221" y="205"/>
                    </a:lnTo>
                    <a:lnTo>
                      <a:pt x="221" y="201"/>
                    </a:lnTo>
                    <a:lnTo>
                      <a:pt x="217" y="192"/>
                    </a:lnTo>
                    <a:lnTo>
                      <a:pt x="215" y="188"/>
                    </a:lnTo>
                    <a:lnTo>
                      <a:pt x="216" y="186"/>
                    </a:lnTo>
                    <a:lnTo>
                      <a:pt x="214" y="183"/>
                    </a:lnTo>
                    <a:lnTo>
                      <a:pt x="212" y="182"/>
                    </a:lnTo>
                    <a:lnTo>
                      <a:pt x="211" y="179"/>
                    </a:lnTo>
                    <a:lnTo>
                      <a:pt x="211" y="178"/>
                    </a:lnTo>
                    <a:lnTo>
                      <a:pt x="209" y="179"/>
                    </a:lnTo>
                    <a:lnTo>
                      <a:pt x="207" y="178"/>
                    </a:lnTo>
                    <a:lnTo>
                      <a:pt x="207" y="176"/>
                    </a:lnTo>
                    <a:lnTo>
                      <a:pt x="212" y="166"/>
                    </a:lnTo>
                    <a:lnTo>
                      <a:pt x="209" y="156"/>
                    </a:lnTo>
                    <a:lnTo>
                      <a:pt x="209" y="154"/>
                    </a:lnTo>
                    <a:lnTo>
                      <a:pt x="207" y="151"/>
                    </a:lnTo>
                    <a:lnTo>
                      <a:pt x="207" y="145"/>
                    </a:lnTo>
                    <a:lnTo>
                      <a:pt x="208" y="141"/>
                    </a:lnTo>
                    <a:lnTo>
                      <a:pt x="208" y="139"/>
                    </a:lnTo>
                    <a:lnTo>
                      <a:pt x="206" y="132"/>
                    </a:lnTo>
                    <a:lnTo>
                      <a:pt x="209" y="130"/>
                    </a:lnTo>
                    <a:lnTo>
                      <a:pt x="212" y="128"/>
                    </a:lnTo>
                    <a:lnTo>
                      <a:pt x="213" y="126"/>
                    </a:lnTo>
                    <a:lnTo>
                      <a:pt x="213" y="123"/>
                    </a:lnTo>
                    <a:lnTo>
                      <a:pt x="215" y="121"/>
                    </a:lnTo>
                    <a:lnTo>
                      <a:pt x="214" y="114"/>
                    </a:lnTo>
                    <a:lnTo>
                      <a:pt x="211" y="112"/>
                    </a:lnTo>
                    <a:lnTo>
                      <a:pt x="208" y="112"/>
                    </a:lnTo>
                    <a:lnTo>
                      <a:pt x="207" y="113"/>
                    </a:lnTo>
                    <a:lnTo>
                      <a:pt x="202" y="113"/>
                    </a:lnTo>
                    <a:lnTo>
                      <a:pt x="198" y="113"/>
                    </a:lnTo>
                    <a:lnTo>
                      <a:pt x="195" y="115"/>
                    </a:lnTo>
                    <a:lnTo>
                      <a:pt x="192" y="114"/>
                    </a:lnTo>
                    <a:lnTo>
                      <a:pt x="189" y="112"/>
                    </a:lnTo>
                    <a:lnTo>
                      <a:pt x="188" y="113"/>
                    </a:lnTo>
                    <a:lnTo>
                      <a:pt x="186" y="112"/>
                    </a:lnTo>
                    <a:lnTo>
                      <a:pt x="181" y="113"/>
                    </a:lnTo>
                    <a:lnTo>
                      <a:pt x="168" y="100"/>
                    </a:lnTo>
                    <a:lnTo>
                      <a:pt x="164" y="99"/>
                    </a:lnTo>
                    <a:lnTo>
                      <a:pt x="158" y="97"/>
                    </a:lnTo>
                    <a:lnTo>
                      <a:pt x="152" y="98"/>
                    </a:lnTo>
                    <a:lnTo>
                      <a:pt x="151" y="100"/>
                    </a:lnTo>
                    <a:lnTo>
                      <a:pt x="146" y="98"/>
                    </a:lnTo>
                    <a:lnTo>
                      <a:pt x="143" y="98"/>
                    </a:lnTo>
                    <a:lnTo>
                      <a:pt x="139" y="100"/>
                    </a:lnTo>
                    <a:lnTo>
                      <a:pt x="135" y="98"/>
                    </a:lnTo>
                    <a:lnTo>
                      <a:pt x="132" y="97"/>
                    </a:lnTo>
                    <a:lnTo>
                      <a:pt x="127" y="95"/>
                    </a:lnTo>
                    <a:lnTo>
                      <a:pt x="123" y="92"/>
                    </a:lnTo>
                    <a:lnTo>
                      <a:pt x="123" y="89"/>
                    </a:lnTo>
                    <a:lnTo>
                      <a:pt x="124" y="87"/>
                    </a:lnTo>
                    <a:lnTo>
                      <a:pt x="124" y="84"/>
                    </a:lnTo>
                    <a:lnTo>
                      <a:pt x="125" y="80"/>
                    </a:lnTo>
                    <a:lnTo>
                      <a:pt x="125" y="78"/>
                    </a:lnTo>
                    <a:lnTo>
                      <a:pt x="122" y="73"/>
                    </a:lnTo>
                    <a:lnTo>
                      <a:pt x="114" y="59"/>
                    </a:lnTo>
                    <a:lnTo>
                      <a:pt x="111" y="59"/>
                    </a:lnTo>
                    <a:lnTo>
                      <a:pt x="108" y="59"/>
                    </a:lnTo>
                    <a:lnTo>
                      <a:pt x="109" y="58"/>
                    </a:lnTo>
                    <a:lnTo>
                      <a:pt x="111" y="53"/>
                    </a:lnTo>
                    <a:lnTo>
                      <a:pt x="112" y="46"/>
                    </a:lnTo>
                    <a:lnTo>
                      <a:pt x="111" y="43"/>
                    </a:lnTo>
                    <a:lnTo>
                      <a:pt x="112" y="39"/>
                    </a:lnTo>
                    <a:lnTo>
                      <a:pt x="118" y="32"/>
                    </a:lnTo>
                    <a:lnTo>
                      <a:pt x="121" y="30"/>
                    </a:lnTo>
                    <a:lnTo>
                      <a:pt x="124" y="25"/>
                    </a:lnTo>
                    <a:lnTo>
                      <a:pt x="126" y="24"/>
                    </a:lnTo>
                    <a:lnTo>
                      <a:pt x="128" y="22"/>
                    </a:lnTo>
                    <a:lnTo>
                      <a:pt x="134" y="15"/>
                    </a:lnTo>
                    <a:lnTo>
                      <a:pt x="144" y="11"/>
                    </a:lnTo>
                    <a:lnTo>
                      <a:pt x="145" y="10"/>
                    </a:lnTo>
                    <a:lnTo>
                      <a:pt x="146" y="10"/>
                    </a:lnTo>
                    <a:lnTo>
                      <a:pt x="146" y="10"/>
                    </a:lnTo>
                    <a:lnTo>
                      <a:pt x="149" y="8"/>
                    </a:lnTo>
                    <a:lnTo>
                      <a:pt x="149" y="6"/>
                    </a:lnTo>
                    <a:lnTo>
                      <a:pt x="147" y="3"/>
                    </a:lnTo>
                    <a:lnTo>
                      <a:pt x="141" y="0"/>
                    </a:lnTo>
                    <a:lnTo>
                      <a:pt x="139" y="0"/>
                    </a:lnTo>
                    <a:lnTo>
                      <a:pt x="138" y="1"/>
                    </a:lnTo>
                    <a:lnTo>
                      <a:pt x="137" y="3"/>
                    </a:lnTo>
                    <a:lnTo>
                      <a:pt x="134" y="3"/>
                    </a:lnTo>
                    <a:lnTo>
                      <a:pt x="133" y="4"/>
                    </a:lnTo>
                    <a:lnTo>
                      <a:pt x="130" y="4"/>
                    </a:lnTo>
                    <a:lnTo>
                      <a:pt x="127" y="5"/>
                    </a:lnTo>
                    <a:lnTo>
                      <a:pt x="125" y="7"/>
                    </a:lnTo>
                    <a:lnTo>
                      <a:pt x="127" y="9"/>
                    </a:lnTo>
                    <a:lnTo>
                      <a:pt x="126" y="11"/>
                    </a:lnTo>
                    <a:lnTo>
                      <a:pt x="122" y="13"/>
                    </a:lnTo>
                    <a:lnTo>
                      <a:pt x="115" y="16"/>
                    </a:lnTo>
                    <a:lnTo>
                      <a:pt x="111" y="19"/>
                    </a:lnTo>
                    <a:lnTo>
                      <a:pt x="106" y="20"/>
                    </a:lnTo>
                    <a:lnTo>
                      <a:pt x="101" y="20"/>
                    </a:lnTo>
                    <a:lnTo>
                      <a:pt x="95" y="20"/>
                    </a:lnTo>
                    <a:lnTo>
                      <a:pt x="91" y="22"/>
                    </a:lnTo>
                    <a:lnTo>
                      <a:pt x="91" y="24"/>
                    </a:lnTo>
                    <a:lnTo>
                      <a:pt x="92" y="27"/>
                    </a:lnTo>
                    <a:lnTo>
                      <a:pt x="92" y="30"/>
                    </a:lnTo>
                    <a:lnTo>
                      <a:pt x="89" y="32"/>
                    </a:lnTo>
                    <a:lnTo>
                      <a:pt x="87" y="32"/>
                    </a:lnTo>
                    <a:lnTo>
                      <a:pt x="88" y="29"/>
                    </a:lnTo>
                    <a:lnTo>
                      <a:pt x="87" y="28"/>
                    </a:lnTo>
                    <a:lnTo>
                      <a:pt x="90" y="27"/>
                    </a:lnTo>
                    <a:lnTo>
                      <a:pt x="86" y="26"/>
                    </a:lnTo>
                    <a:lnTo>
                      <a:pt x="82" y="24"/>
                    </a:lnTo>
                    <a:lnTo>
                      <a:pt x="80" y="24"/>
                    </a:lnTo>
                    <a:lnTo>
                      <a:pt x="73" y="28"/>
                    </a:lnTo>
                    <a:lnTo>
                      <a:pt x="72" y="31"/>
                    </a:lnTo>
                    <a:lnTo>
                      <a:pt x="68" y="36"/>
                    </a:lnTo>
                    <a:lnTo>
                      <a:pt x="62" y="44"/>
                    </a:lnTo>
                    <a:lnTo>
                      <a:pt x="62" y="47"/>
                    </a:lnTo>
                    <a:lnTo>
                      <a:pt x="63" y="46"/>
                    </a:lnTo>
                    <a:lnTo>
                      <a:pt x="65" y="47"/>
                    </a:lnTo>
                    <a:lnTo>
                      <a:pt x="65" y="50"/>
                    </a:lnTo>
                    <a:lnTo>
                      <a:pt x="64" y="54"/>
                    </a:lnTo>
                    <a:lnTo>
                      <a:pt x="61" y="55"/>
                    </a:lnTo>
                    <a:lnTo>
                      <a:pt x="59" y="55"/>
                    </a:lnTo>
                    <a:lnTo>
                      <a:pt x="56" y="57"/>
                    </a:lnTo>
                    <a:lnTo>
                      <a:pt x="51" y="61"/>
                    </a:lnTo>
                    <a:lnTo>
                      <a:pt x="49" y="62"/>
                    </a:lnTo>
                    <a:lnTo>
                      <a:pt x="45" y="67"/>
                    </a:lnTo>
                    <a:lnTo>
                      <a:pt x="43" y="67"/>
                    </a:lnTo>
                    <a:lnTo>
                      <a:pt x="40" y="67"/>
                    </a:lnTo>
                    <a:lnTo>
                      <a:pt x="41" y="71"/>
                    </a:lnTo>
                    <a:lnTo>
                      <a:pt x="44" y="74"/>
                    </a:lnTo>
                    <a:lnTo>
                      <a:pt x="44" y="79"/>
                    </a:lnTo>
                    <a:lnTo>
                      <a:pt x="42" y="82"/>
                    </a:lnTo>
                    <a:lnTo>
                      <a:pt x="40" y="82"/>
                    </a:lnTo>
                    <a:lnTo>
                      <a:pt x="38" y="80"/>
                    </a:lnTo>
                    <a:lnTo>
                      <a:pt x="38" y="79"/>
                    </a:lnTo>
                    <a:lnTo>
                      <a:pt x="39" y="77"/>
                    </a:lnTo>
                    <a:lnTo>
                      <a:pt x="36" y="75"/>
                    </a:lnTo>
                    <a:lnTo>
                      <a:pt x="35" y="72"/>
                    </a:lnTo>
                    <a:lnTo>
                      <a:pt x="31" y="68"/>
                    </a:lnTo>
                    <a:lnTo>
                      <a:pt x="30" y="72"/>
                    </a:lnTo>
                    <a:lnTo>
                      <a:pt x="31" y="74"/>
                    </a:lnTo>
                    <a:lnTo>
                      <a:pt x="33" y="79"/>
                    </a:lnTo>
                    <a:lnTo>
                      <a:pt x="30" y="82"/>
                    </a:lnTo>
                    <a:lnTo>
                      <a:pt x="28" y="87"/>
                    </a:lnTo>
                    <a:lnTo>
                      <a:pt x="26" y="89"/>
                    </a:lnTo>
                    <a:lnTo>
                      <a:pt x="24" y="89"/>
                    </a:lnTo>
                    <a:lnTo>
                      <a:pt x="22" y="94"/>
                    </a:lnTo>
                    <a:lnTo>
                      <a:pt x="22" y="95"/>
                    </a:lnTo>
                    <a:lnTo>
                      <a:pt x="23" y="99"/>
                    </a:lnTo>
                    <a:lnTo>
                      <a:pt x="24" y="103"/>
                    </a:lnTo>
                    <a:lnTo>
                      <a:pt x="27" y="107"/>
                    </a:lnTo>
                    <a:lnTo>
                      <a:pt x="29" y="107"/>
                    </a:lnTo>
                    <a:lnTo>
                      <a:pt x="31" y="106"/>
                    </a:lnTo>
                    <a:lnTo>
                      <a:pt x="32" y="108"/>
                    </a:lnTo>
                    <a:lnTo>
                      <a:pt x="32" y="112"/>
                    </a:lnTo>
                    <a:lnTo>
                      <a:pt x="30" y="114"/>
                    </a:lnTo>
                    <a:lnTo>
                      <a:pt x="30" y="116"/>
                    </a:lnTo>
                    <a:lnTo>
                      <a:pt x="32" y="118"/>
                    </a:lnTo>
                    <a:lnTo>
                      <a:pt x="32" y="123"/>
                    </a:lnTo>
                    <a:lnTo>
                      <a:pt x="30" y="124"/>
                    </a:lnTo>
                    <a:lnTo>
                      <a:pt x="28" y="127"/>
                    </a:lnTo>
                    <a:lnTo>
                      <a:pt x="30" y="128"/>
                    </a:lnTo>
                    <a:lnTo>
                      <a:pt x="31" y="131"/>
                    </a:lnTo>
                    <a:lnTo>
                      <a:pt x="31" y="137"/>
                    </a:lnTo>
                    <a:lnTo>
                      <a:pt x="31" y="145"/>
                    </a:lnTo>
                    <a:lnTo>
                      <a:pt x="28" y="148"/>
                    </a:lnTo>
                    <a:lnTo>
                      <a:pt x="28" y="151"/>
                    </a:lnTo>
                    <a:lnTo>
                      <a:pt x="30" y="154"/>
                    </a:lnTo>
                    <a:lnTo>
                      <a:pt x="34" y="152"/>
                    </a:lnTo>
                    <a:lnTo>
                      <a:pt x="33" y="154"/>
                    </a:lnTo>
                    <a:lnTo>
                      <a:pt x="35" y="157"/>
                    </a:lnTo>
                    <a:lnTo>
                      <a:pt x="37" y="157"/>
                    </a:lnTo>
                    <a:lnTo>
                      <a:pt x="37" y="158"/>
                    </a:lnTo>
                    <a:lnTo>
                      <a:pt x="35" y="161"/>
                    </a:lnTo>
                    <a:lnTo>
                      <a:pt x="34" y="165"/>
                    </a:lnTo>
                    <a:lnTo>
                      <a:pt x="26" y="171"/>
                    </a:lnTo>
                    <a:lnTo>
                      <a:pt x="25" y="175"/>
                    </a:lnTo>
                    <a:lnTo>
                      <a:pt x="19" y="180"/>
                    </a:lnTo>
                    <a:lnTo>
                      <a:pt x="13" y="181"/>
                    </a:lnTo>
                    <a:lnTo>
                      <a:pt x="7" y="185"/>
                    </a:lnTo>
                    <a:lnTo>
                      <a:pt x="2" y="192"/>
                    </a:lnTo>
                    <a:lnTo>
                      <a:pt x="1" y="198"/>
                    </a:lnTo>
                    <a:lnTo>
                      <a:pt x="0" y="202"/>
                    </a:lnTo>
                    <a:lnTo>
                      <a:pt x="6" y="204"/>
                    </a:lnTo>
                    <a:lnTo>
                      <a:pt x="12" y="208"/>
                    </a:lnTo>
                    <a:lnTo>
                      <a:pt x="20" y="212"/>
                    </a:lnTo>
                    <a:lnTo>
                      <a:pt x="23" y="212"/>
                    </a:lnTo>
                    <a:lnTo>
                      <a:pt x="28" y="217"/>
                    </a:lnTo>
                    <a:lnTo>
                      <a:pt x="27" y="220"/>
                    </a:lnTo>
                    <a:lnTo>
                      <a:pt x="28" y="222"/>
                    </a:lnTo>
                    <a:lnTo>
                      <a:pt x="34" y="223"/>
                    </a:lnTo>
                    <a:lnTo>
                      <a:pt x="40" y="226"/>
                    </a:lnTo>
                    <a:lnTo>
                      <a:pt x="42" y="227"/>
                    </a:lnTo>
                    <a:lnTo>
                      <a:pt x="48" y="229"/>
                    </a:lnTo>
                    <a:lnTo>
                      <a:pt x="50" y="227"/>
                    </a:lnTo>
                    <a:lnTo>
                      <a:pt x="50" y="223"/>
                    </a:lnTo>
                    <a:lnTo>
                      <a:pt x="53" y="221"/>
                    </a:lnTo>
                    <a:lnTo>
                      <a:pt x="54" y="221"/>
                    </a:lnTo>
                    <a:lnTo>
                      <a:pt x="60" y="223"/>
                    </a:lnTo>
                    <a:lnTo>
                      <a:pt x="62" y="224"/>
                    </a:lnTo>
                    <a:lnTo>
                      <a:pt x="63" y="227"/>
                    </a:lnTo>
                    <a:lnTo>
                      <a:pt x="66" y="228"/>
                    </a:lnTo>
                    <a:lnTo>
                      <a:pt x="66" y="228"/>
                    </a:lnTo>
                    <a:lnTo>
                      <a:pt x="67" y="228"/>
                    </a:lnTo>
                    <a:lnTo>
                      <a:pt x="70" y="230"/>
                    </a:lnTo>
                    <a:lnTo>
                      <a:pt x="76" y="231"/>
                    </a:lnTo>
                    <a:lnTo>
                      <a:pt x="81" y="232"/>
                    </a:lnTo>
                    <a:lnTo>
                      <a:pt x="82" y="234"/>
                    </a:lnTo>
                    <a:lnTo>
                      <a:pt x="85" y="239"/>
                    </a:lnTo>
                    <a:lnTo>
                      <a:pt x="86" y="243"/>
                    </a:lnTo>
                    <a:lnTo>
                      <a:pt x="89" y="248"/>
                    </a:lnTo>
                    <a:lnTo>
                      <a:pt x="92" y="248"/>
                    </a:lnTo>
                    <a:lnTo>
                      <a:pt x="101" y="251"/>
                    </a:lnTo>
                    <a:lnTo>
                      <a:pt x="104" y="256"/>
                    </a:lnTo>
                    <a:lnTo>
                      <a:pt x="103" y="260"/>
                    </a:lnTo>
                    <a:lnTo>
                      <a:pt x="105" y="261"/>
                    </a:lnTo>
                    <a:lnTo>
                      <a:pt x="108" y="262"/>
                    </a:lnTo>
                    <a:lnTo>
                      <a:pt x="110" y="267"/>
                    </a:lnTo>
                    <a:lnTo>
                      <a:pt x="108" y="269"/>
                    </a:lnTo>
                    <a:lnTo>
                      <a:pt x="110" y="271"/>
                    </a:lnTo>
                    <a:lnTo>
                      <a:pt x="113" y="273"/>
                    </a:lnTo>
                    <a:lnTo>
                      <a:pt x="117" y="272"/>
                    </a:lnTo>
                    <a:lnTo>
                      <a:pt x="120" y="273"/>
                    </a:lnTo>
                    <a:lnTo>
                      <a:pt x="125" y="272"/>
                    </a:lnTo>
                    <a:lnTo>
                      <a:pt x="126" y="271"/>
                    </a:lnTo>
                    <a:lnTo>
                      <a:pt x="132" y="268"/>
                    </a:lnTo>
                    <a:lnTo>
                      <a:pt x="137" y="269"/>
                    </a:lnTo>
                    <a:lnTo>
                      <a:pt x="142" y="271"/>
                    </a:lnTo>
                    <a:lnTo>
                      <a:pt x="148" y="268"/>
                    </a:lnTo>
                    <a:lnTo>
                      <a:pt x="151" y="268"/>
                    </a:lnTo>
                    <a:lnTo>
                      <a:pt x="153" y="271"/>
                    </a:lnTo>
                    <a:lnTo>
                      <a:pt x="155" y="270"/>
                    </a:lnTo>
                    <a:lnTo>
                      <a:pt x="159" y="272"/>
                    </a:lnTo>
                    <a:lnTo>
                      <a:pt x="161" y="274"/>
                    </a:lnTo>
                    <a:lnTo>
                      <a:pt x="165" y="274"/>
                    </a:lnTo>
                    <a:lnTo>
                      <a:pt x="165" y="275"/>
                    </a:lnTo>
                    <a:lnTo>
                      <a:pt x="153" y="296"/>
                    </a:lnTo>
                    <a:lnTo>
                      <a:pt x="153" y="297"/>
                    </a:lnTo>
                    <a:lnTo>
                      <a:pt x="158" y="297"/>
                    </a:lnTo>
                    <a:lnTo>
                      <a:pt x="163" y="296"/>
                    </a:lnTo>
                    <a:lnTo>
                      <a:pt x="165" y="299"/>
                    </a:lnTo>
                    <a:lnTo>
                      <a:pt x="166" y="303"/>
                    </a:lnTo>
                    <a:lnTo>
                      <a:pt x="166" y="303"/>
                    </a:lnTo>
                    <a:close/>
                  </a:path>
                </a:pathLst>
              </a:custGeom>
              <a:solidFill>
                <a:schemeClr val="accent2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066" name="Freeform 68"/>
              <p:cNvSpPr>
                <a:spLocks/>
              </p:cNvSpPr>
              <p:nvPr userDrawn="1"/>
            </p:nvSpPr>
            <p:spPr bwMode="auto">
              <a:xfrm>
                <a:off x="1984" y="2931"/>
                <a:ext cx="238" cy="337"/>
              </a:xfrm>
              <a:custGeom>
                <a:avLst/>
                <a:gdLst>
                  <a:gd name="T0" fmla="*/ 216 w 238"/>
                  <a:gd name="T1" fmla="*/ 198 h 337"/>
                  <a:gd name="T2" fmla="*/ 203 w 238"/>
                  <a:gd name="T3" fmla="*/ 198 h 337"/>
                  <a:gd name="T4" fmla="*/ 204 w 238"/>
                  <a:gd name="T5" fmla="*/ 176 h 337"/>
                  <a:gd name="T6" fmla="*/ 189 w 238"/>
                  <a:gd name="T7" fmla="*/ 180 h 337"/>
                  <a:gd name="T8" fmla="*/ 166 w 238"/>
                  <a:gd name="T9" fmla="*/ 169 h 337"/>
                  <a:gd name="T10" fmla="*/ 145 w 238"/>
                  <a:gd name="T11" fmla="*/ 150 h 337"/>
                  <a:gd name="T12" fmla="*/ 141 w 238"/>
                  <a:gd name="T13" fmla="*/ 135 h 337"/>
                  <a:gd name="T14" fmla="*/ 142 w 238"/>
                  <a:gd name="T15" fmla="*/ 124 h 337"/>
                  <a:gd name="T16" fmla="*/ 151 w 238"/>
                  <a:gd name="T17" fmla="*/ 115 h 337"/>
                  <a:gd name="T18" fmla="*/ 156 w 238"/>
                  <a:gd name="T19" fmla="*/ 99 h 337"/>
                  <a:gd name="T20" fmla="*/ 167 w 238"/>
                  <a:gd name="T21" fmla="*/ 87 h 337"/>
                  <a:gd name="T22" fmla="*/ 193 w 238"/>
                  <a:gd name="T23" fmla="*/ 77 h 337"/>
                  <a:gd name="T24" fmla="*/ 201 w 238"/>
                  <a:gd name="T25" fmla="*/ 75 h 337"/>
                  <a:gd name="T26" fmla="*/ 211 w 238"/>
                  <a:gd name="T27" fmla="*/ 77 h 337"/>
                  <a:gd name="T28" fmla="*/ 197 w 238"/>
                  <a:gd name="T29" fmla="*/ 69 h 337"/>
                  <a:gd name="T30" fmla="*/ 205 w 238"/>
                  <a:gd name="T31" fmla="*/ 46 h 337"/>
                  <a:gd name="T32" fmla="*/ 195 w 238"/>
                  <a:gd name="T33" fmla="*/ 40 h 337"/>
                  <a:gd name="T34" fmla="*/ 176 w 238"/>
                  <a:gd name="T35" fmla="*/ 40 h 337"/>
                  <a:gd name="T36" fmla="*/ 161 w 238"/>
                  <a:gd name="T37" fmla="*/ 44 h 337"/>
                  <a:gd name="T38" fmla="*/ 154 w 238"/>
                  <a:gd name="T39" fmla="*/ 39 h 337"/>
                  <a:gd name="T40" fmla="*/ 148 w 238"/>
                  <a:gd name="T41" fmla="*/ 28 h 337"/>
                  <a:gd name="T42" fmla="*/ 130 w 238"/>
                  <a:gd name="T43" fmla="*/ 15 h 337"/>
                  <a:gd name="T44" fmla="*/ 120 w 238"/>
                  <a:gd name="T45" fmla="*/ 3 h 337"/>
                  <a:gd name="T46" fmla="*/ 111 w 238"/>
                  <a:gd name="T47" fmla="*/ 3 h 337"/>
                  <a:gd name="T48" fmla="*/ 114 w 238"/>
                  <a:gd name="T49" fmla="*/ 19 h 337"/>
                  <a:gd name="T50" fmla="*/ 92 w 238"/>
                  <a:gd name="T51" fmla="*/ 44 h 337"/>
                  <a:gd name="T52" fmla="*/ 49 w 238"/>
                  <a:gd name="T53" fmla="*/ 86 h 337"/>
                  <a:gd name="T54" fmla="*/ 34 w 238"/>
                  <a:gd name="T55" fmla="*/ 81 h 337"/>
                  <a:gd name="T56" fmla="*/ 19 w 238"/>
                  <a:gd name="T57" fmla="*/ 78 h 337"/>
                  <a:gd name="T58" fmla="*/ 24 w 238"/>
                  <a:gd name="T59" fmla="*/ 65 h 337"/>
                  <a:gd name="T60" fmla="*/ 10 w 238"/>
                  <a:gd name="T61" fmla="*/ 71 h 337"/>
                  <a:gd name="T62" fmla="*/ 1 w 238"/>
                  <a:gd name="T63" fmla="*/ 87 h 337"/>
                  <a:gd name="T64" fmla="*/ 2 w 238"/>
                  <a:gd name="T65" fmla="*/ 95 h 337"/>
                  <a:gd name="T66" fmla="*/ 5 w 238"/>
                  <a:gd name="T67" fmla="*/ 107 h 337"/>
                  <a:gd name="T68" fmla="*/ 8 w 238"/>
                  <a:gd name="T69" fmla="*/ 114 h 337"/>
                  <a:gd name="T70" fmla="*/ 30 w 238"/>
                  <a:gd name="T71" fmla="*/ 126 h 337"/>
                  <a:gd name="T72" fmla="*/ 38 w 238"/>
                  <a:gd name="T73" fmla="*/ 142 h 337"/>
                  <a:gd name="T74" fmla="*/ 51 w 238"/>
                  <a:gd name="T75" fmla="*/ 160 h 337"/>
                  <a:gd name="T76" fmla="*/ 61 w 238"/>
                  <a:gd name="T77" fmla="*/ 177 h 337"/>
                  <a:gd name="T78" fmla="*/ 69 w 238"/>
                  <a:gd name="T79" fmla="*/ 196 h 337"/>
                  <a:gd name="T80" fmla="*/ 73 w 238"/>
                  <a:gd name="T81" fmla="*/ 206 h 337"/>
                  <a:gd name="T82" fmla="*/ 83 w 238"/>
                  <a:gd name="T83" fmla="*/ 221 h 337"/>
                  <a:gd name="T84" fmla="*/ 96 w 238"/>
                  <a:gd name="T85" fmla="*/ 240 h 337"/>
                  <a:gd name="T86" fmla="*/ 99 w 238"/>
                  <a:gd name="T87" fmla="*/ 251 h 337"/>
                  <a:gd name="T88" fmla="*/ 102 w 238"/>
                  <a:gd name="T89" fmla="*/ 258 h 337"/>
                  <a:gd name="T90" fmla="*/ 109 w 238"/>
                  <a:gd name="T91" fmla="*/ 267 h 337"/>
                  <a:gd name="T92" fmla="*/ 122 w 238"/>
                  <a:gd name="T93" fmla="*/ 276 h 337"/>
                  <a:gd name="T94" fmla="*/ 132 w 238"/>
                  <a:gd name="T95" fmla="*/ 283 h 337"/>
                  <a:gd name="T96" fmla="*/ 143 w 238"/>
                  <a:gd name="T97" fmla="*/ 289 h 337"/>
                  <a:gd name="T98" fmla="*/ 152 w 238"/>
                  <a:gd name="T99" fmla="*/ 298 h 337"/>
                  <a:gd name="T100" fmla="*/ 169 w 238"/>
                  <a:gd name="T101" fmla="*/ 305 h 337"/>
                  <a:gd name="T102" fmla="*/ 180 w 238"/>
                  <a:gd name="T103" fmla="*/ 311 h 337"/>
                  <a:gd name="T104" fmla="*/ 190 w 238"/>
                  <a:gd name="T105" fmla="*/ 320 h 337"/>
                  <a:gd name="T106" fmla="*/ 199 w 238"/>
                  <a:gd name="T107" fmla="*/ 327 h 337"/>
                  <a:gd name="T108" fmla="*/ 212 w 238"/>
                  <a:gd name="T109" fmla="*/ 337 h 337"/>
                  <a:gd name="T110" fmla="*/ 227 w 238"/>
                  <a:gd name="T111" fmla="*/ 331 h 337"/>
                  <a:gd name="T112" fmla="*/ 228 w 238"/>
                  <a:gd name="T113" fmla="*/ 319 h 337"/>
                  <a:gd name="T114" fmla="*/ 227 w 238"/>
                  <a:gd name="T115" fmla="*/ 315 h 337"/>
                  <a:gd name="T116" fmla="*/ 237 w 238"/>
                  <a:gd name="T117" fmla="*/ 298 h 337"/>
                  <a:gd name="T118" fmla="*/ 233 w 238"/>
                  <a:gd name="T119" fmla="*/ 277 h 337"/>
                  <a:gd name="T120" fmla="*/ 234 w 238"/>
                  <a:gd name="T121" fmla="*/ 253 h 337"/>
                  <a:gd name="T122" fmla="*/ 238 w 238"/>
                  <a:gd name="T123" fmla="*/ 225 h 3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38" h="337">
                    <a:moveTo>
                      <a:pt x="221" y="199"/>
                    </a:moveTo>
                    <a:lnTo>
                      <a:pt x="220" y="199"/>
                    </a:lnTo>
                    <a:lnTo>
                      <a:pt x="218" y="198"/>
                    </a:lnTo>
                    <a:lnTo>
                      <a:pt x="216" y="198"/>
                    </a:lnTo>
                    <a:lnTo>
                      <a:pt x="212" y="198"/>
                    </a:lnTo>
                    <a:lnTo>
                      <a:pt x="210" y="199"/>
                    </a:lnTo>
                    <a:lnTo>
                      <a:pt x="206" y="200"/>
                    </a:lnTo>
                    <a:lnTo>
                      <a:pt x="203" y="198"/>
                    </a:lnTo>
                    <a:lnTo>
                      <a:pt x="203" y="194"/>
                    </a:lnTo>
                    <a:lnTo>
                      <a:pt x="202" y="183"/>
                    </a:lnTo>
                    <a:lnTo>
                      <a:pt x="202" y="177"/>
                    </a:lnTo>
                    <a:lnTo>
                      <a:pt x="204" y="176"/>
                    </a:lnTo>
                    <a:lnTo>
                      <a:pt x="205" y="172"/>
                    </a:lnTo>
                    <a:lnTo>
                      <a:pt x="203" y="170"/>
                    </a:lnTo>
                    <a:lnTo>
                      <a:pt x="196" y="174"/>
                    </a:lnTo>
                    <a:lnTo>
                      <a:pt x="189" y="180"/>
                    </a:lnTo>
                    <a:lnTo>
                      <a:pt x="179" y="180"/>
                    </a:lnTo>
                    <a:lnTo>
                      <a:pt x="171" y="179"/>
                    </a:lnTo>
                    <a:lnTo>
                      <a:pt x="169" y="175"/>
                    </a:lnTo>
                    <a:lnTo>
                      <a:pt x="166" y="169"/>
                    </a:lnTo>
                    <a:lnTo>
                      <a:pt x="160" y="168"/>
                    </a:lnTo>
                    <a:lnTo>
                      <a:pt x="149" y="169"/>
                    </a:lnTo>
                    <a:lnTo>
                      <a:pt x="153" y="163"/>
                    </a:lnTo>
                    <a:lnTo>
                      <a:pt x="145" y="150"/>
                    </a:lnTo>
                    <a:lnTo>
                      <a:pt x="140" y="145"/>
                    </a:lnTo>
                    <a:lnTo>
                      <a:pt x="141" y="142"/>
                    </a:lnTo>
                    <a:lnTo>
                      <a:pt x="139" y="139"/>
                    </a:lnTo>
                    <a:lnTo>
                      <a:pt x="141" y="135"/>
                    </a:lnTo>
                    <a:lnTo>
                      <a:pt x="142" y="132"/>
                    </a:lnTo>
                    <a:lnTo>
                      <a:pt x="140" y="130"/>
                    </a:lnTo>
                    <a:lnTo>
                      <a:pt x="142" y="128"/>
                    </a:lnTo>
                    <a:lnTo>
                      <a:pt x="142" y="124"/>
                    </a:lnTo>
                    <a:lnTo>
                      <a:pt x="147" y="120"/>
                    </a:lnTo>
                    <a:lnTo>
                      <a:pt x="150" y="121"/>
                    </a:lnTo>
                    <a:lnTo>
                      <a:pt x="153" y="118"/>
                    </a:lnTo>
                    <a:lnTo>
                      <a:pt x="151" y="115"/>
                    </a:lnTo>
                    <a:lnTo>
                      <a:pt x="149" y="109"/>
                    </a:lnTo>
                    <a:lnTo>
                      <a:pt x="155" y="104"/>
                    </a:lnTo>
                    <a:lnTo>
                      <a:pt x="154" y="101"/>
                    </a:lnTo>
                    <a:lnTo>
                      <a:pt x="156" y="99"/>
                    </a:lnTo>
                    <a:lnTo>
                      <a:pt x="155" y="94"/>
                    </a:lnTo>
                    <a:lnTo>
                      <a:pt x="159" y="92"/>
                    </a:lnTo>
                    <a:lnTo>
                      <a:pt x="163" y="90"/>
                    </a:lnTo>
                    <a:lnTo>
                      <a:pt x="167" y="87"/>
                    </a:lnTo>
                    <a:lnTo>
                      <a:pt x="169" y="86"/>
                    </a:lnTo>
                    <a:lnTo>
                      <a:pt x="171" y="84"/>
                    </a:lnTo>
                    <a:lnTo>
                      <a:pt x="181" y="82"/>
                    </a:lnTo>
                    <a:lnTo>
                      <a:pt x="193" y="77"/>
                    </a:lnTo>
                    <a:lnTo>
                      <a:pt x="194" y="75"/>
                    </a:lnTo>
                    <a:lnTo>
                      <a:pt x="196" y="75"/>
                    </a:lnTo>
                    <a:lnTo>
                      <a:pt x="200" y="75"/>
                    </a:lnTo>
                    <a:lnTo>
                      <a:pt x="201" y="75"/>
                    </a:lnTo>
                    <a:lnTo>
                      <a:pt x="205" y="77"/>
                    </a:lnTo>
                    <a:lnTo>
                      <a:pt x="205" y="79"/>
                    </a:lnTo>
                    <a:lnTo>
                      <a:pt x="209" y="80"/>
                    </a:lnTo>
                    <a:lnTo>
                      <a:pt x="211" y="77"/>
                    </a:lnTo>
                    <a:lnTo>
                      <a:pt x="209" y="71"/>
                    </a:lnTo>
                    <a:lnTo>
                      <a:pt x="207" y="68"/>
                    </a:lnTo>
                    <a:lnTo>
                      <a:pt x="202" y="69"/>
                    </a:lnTo>
                    <a:lnTo>
                      <a:pt x="197" y="69"/>
                    </a:lnTo>
                    <a:lnTo>
                      <a:pt x="197" y="68"/>
                    </a:lnTo>
                    <a:lnTo>
                      <a:pt x="209" y="47"/>
                    </a:lnTo>
                    <a:lnTo>
                      <a:pt x="209" y="46"/>
                    </a:lnTo>
                    <a:lnTo>
                      <a:pt x="205" y="46"/>
                    </a:lnTo>
                    <a:lnTo>
                      <a:pt x="203" y="44"/>
                    </a:lnTo>
                    <a:lnTo>
                      <a:pt x="199" y="42"/>
                    </a:lnTo>
                    <a:lnTo>
                      <a:pt x="197" y="43"/>
                    </a:lnTo>
                    <a:lnTo>
                      <a:pt x="195" y="40"/>
                    </a:lnTo>
                    <a:lnTo>
                      <a:pt x="192" y="40"/>
                    </a:lnTo>
                    <a:lnTo>
                      <a:pt x="186" y="43"/>
                    </a:lnTo>
                    <a:lnTo>
                      <a:pt x="181" y="41"/>
                    </a:lnTo>
                    <a:lnTo>
                      <a:pt x="176" y="40"/>
                    </a:lnTo>
                    <a:lnTo>
                      <a:pt x="170" y="43"/>
                    </a:lnTo>
                    <a:lnTo>
                      <a:pt x="169" y="44"/>
                    </a:lnTo>
                    <a:lnTo>
                      <a:pt x="164" y="45"/>
                    </a:lnTo>
                    <a:lnTo>
                      <a:pt x="161" y="44"/>
                    </a:lnTo>
                    <a:lnTo>
                      <a:pt x="157" y="45"/>
                    </a:lnTo>
                    <a:lnTo>
                      <a:pt x="154" y="43"/>
                    </a:lnTo>
                    <a:lnTo>
                      <a:pt x="152" y="41"/>
                    </a:lnTo>
                    <a:lnTo>
                      <a:pt x="154" y="39"/>
                    </a:lnTo>
                    <a:lnTo>
                      <a:pt x="152" y="34"/>
                    </a:lnTo>
                    <a:lnTo>
                      <a:pt x="149" y="33"/>
                    </a:lnTo>
                    <a:lnTo>
                      <a:pt x="147" y="32"/>
                    </a:lnTo>
                    <a:lnTo>
                      <a:pt x="148" y="28"/>
                    </a:lnTo>
                    <a:lnTo>
                      <a:pt x="145" y="23"/>
                    </a:lnTo>
                    <a:lnTo>
                      <a:pt x="136" y="20"/>
                    </a:lnTo>
                    <a:lnTo>
                      <a:pt x="133" y="20"/>
                    </a:lnTo>
                    <a:lnTo>
                      <a:pt x="130" y="15"/>
                    </a:lnTo>
                    <a:lnTo>
                      <a:pt x="129" y="11"/>
                    </a:lnTo>
                    <a:lnTo>
                      <a:pt x="126" y="6"/>
                    </a:lnTo>
                    <a:lnTo>
                      <a:pt x="125" y="4"/>
                    </a:lnTo>
                    <a:lnTo>
                      <a:pt x="120" y="3"/>
                    </a:lnTo>
                    <a:lnTo>
                      <a:pt x="114" y="2"/>
                    </a:lnTo>
                    <a:lnTo>
                      <a:pt x="111" y="0"/>
                    </a:lnTo>
                    <a:lnTo>
                      <a:pt x="110" y="0"/>
                    </a:lnTo>
                    <a:lnTo>
                      <a:pt x="111" y="3"/>
                    </a:lnTo>
                    <a:lnTo>
                      <a:pt x="111" y="4"/>
                    </a:lnTo>
                    <a:lnTo>
                      <a:pt x="115" y="11"/>
                    </a:lnTo>
                    <a:lnTo>
                      <a:pt x="115" y="15"/>
                    </a:lnTo>
                    <a:lnTo>
                      <a:pt x="114" y="19"/>
                    </a:lnTo>
                    <a:lnTo>
                      <a:pt x="113" y="21"/>
                    </a:lnTo>
                    <a:lnTo>
                      <a:pt x="110" y="21"/>
                    </a:lnTo>
                    <a:lnTo>
                      <a:pt x="105" y="32"/>
                    </a:lnTo>
                    <a:lnTo>
                      <a:pt x="92" y="44"/>
                    </a:lnTo>
                    <a:lnTo>
                      <a:pt x="84" y="48"/>
                    </a:lnTo>
                    <a:lnTo>
                      <a:pt x="65" y="55"/>
                    </a:lnTo>
                    <a:lnTo>
                      <a:pt x="63" y="57"/>
                    </a:lnTo>
                    <a:lnTo>
                      <a:pt x="49" y="86"/>
                    </a:lnTo>
                    <a:lnTo>
                      <a:pt x="45" y="90"/>
                    </a:lnTo>
                    <a:lnTo>
                      <a:pt x="42" y="90"/>
                    </a:lnTo>
                    <a:lnTo>
                      <a:pt x="38" y="82"/>
                    </a:lnTo>
                    <a:lnTo>
                      <a:pt x="34" y="81"/>
                    </a:lnTo>
                    <a:lnTo>
                      <a:pt x="29" y="79"/>
                    </a:lnTo>
                    <a:lnTo>
                      <a:pt x="27" y="77"/>
                    </a:lnTo>
                    <a:lnTo>
                      <a:pt x="23" y="79"/>
                    </a:lnTo>
                    <a:lnTo>
                      <a:pt x="19" y="78"/>
                    </a:lnTo>
                    <a:lnTo>
                      <a:pt x="18" y="75"/>
                    </a:lnTo>
                    <a:lnTo>
                      <a:pt x="21" y="71"/>
                    </a:lnTo>
                    <a:lnTo>
                      <a:pt x="25" y="69"/>
                    </a:lnTo>
                    <a:lnTo>
                      <a:pt x="24" y="65"/>
                    </a:lnTo>
                    <a:lnTo>
                      <a:pt x="22" y="64"/>
                    </a:lnTo>
                    <a:lnTo>
                      <a:pt x="22" y="65"/>
                    </a:lnTo>
                    <a:lnTo>
                      <a:pt x="13" y="68"/>
                    </a:lnTo>
                    <a:lnTo>
                      <a:pt x="10" y="71"/>
                    </a:lnTo>
                    <a:lnTo>
                      <a:pt x="3" y="77"/>
                    </a:lnTo>
                    <a:lnTo>
                      <a:pt x="2" y="82"/>
                    </a:lnTo>
                    <a:lnTo>
                      <a:pt x="0" y="85"/>
                    </a:lnTo>
                    <a:lnTo>
                      <a:pt x="1" y="87"/>
                    </a:lnTo>
                    <a:lnTo>
                      <a:pt x="4" y="89"/>
                    </a:lnTo>
                    <a:lnTo>
                      <a:pt x="4" y="91"/>
                    </a:lnTo>
                    <a:lnTo>
                      <a:pt x="2" y="93"/>
                    </a:lnTo>
                    <a:lnTo>
                      <a:pt x="2" y="95"/>
                    </a:lnTo>
                    <a:lnTo>
                      <a:pt x="5" y="98"/>
                    </a:lnTo>
                    <a:lnTo>
                      <a:pt x="8" y="103"/>
                    </a:lnTo>
                    <a:lnTo>
                      <a:pt x="8" y="107"/>
                    </a:lnTo>
                    <a:lnTo>
                      <a:pt x="5" y="107"/>
                    </a:lnTo>
                    <a:lnTo>
                      <a:pt x="2" y="108"/>
                    </a:lnTo>
                    <a:lnTo>
                      <a:pt x="1" y="111"/>
                    </a:lnTo>
                    <a:lnTo>
                      <a:pt x="4" y="113"/>
                    </a:lnTo>
                    <a:lnTo>
                      <a:pt x="8" y="114"/>
                    </a:lnTo>
                    <a:lnTo>
                      <a:pt x="14" y="119"/>
                    </a:lnTo>
                    <a:lnTo>
                      <a:pt x="18" y="120"/>
                    </a:lnTo>
                    <a:lnTo>
                      <a:pt x="26" y="125"/>
                    </a:lnTo>
                    <a:lnTo>
                      <a:pt x="30" y="126"/>
                    </a:lnTo>
                    <a:lnTo>
                      <a:pt x="31" y="129"/>
                    </a:lnTo>
                    <a:lnTo>
                      <a:pt x="35" y="134"/>
                    </a:lnTo>
                    <a:lnTo>
                      <a:pt x="35" y="139"/>
                    </a:lnTo>
                    <a:lnTo>
                      <a:pt x="38" y="142"/>
                    </a:lnTo>
                    <a:lnTo>
                      <a:pt x="44" y="146"/>
                    </a:lnTo>
                    <a:lnTo>
                      <a:pt x="48" y="152"/>
                    </a:lnTo>
                    <a:lnTo>
                      <a:pt x="49" y="156"/>
                    </a:lnTo>
                    <a:lnTo>
                      <a:pt x="51" y="160"/>
                    </a:lnTo>
                    <a:lnTo>
                      <a:pt x="52" y="166"/>
                    </a:lnTo>
                    <a:lnTo>
                      <a:pt x="55" y="170"/>
                    </a:lnTo>
                    <a:lnTo>
                      <a:pt x="58" y="172"/>
                    </a:lnTo>
                    <a:lnTo>
                      <a:pt x="61" y="177"/>
                    </a:lnTo>
                    <a:lnTo>
                      <a:pt x="61" y="181"/>
                    </a:lnTo>
                    <a:lnTo>
                      <a:pt x="61" y="183"/>
                    </a:lnTo>
                    <a:lnTo>
                      <a:pt x="63" y="189"/>
                    </a:lnTo>
                    <a:lnTo>
                      <a:pt x="69" y="196"/>
                    </a:lnTo>
                    <a:lnTo>
                      <a:pt x="71" y="199"/>
                    </a:lnTo>
                    <a:lnTo>
                      <a:pt x="70" y="202"/>
                    </a:lnTo>
                    <a:lnTo>
                      <a:pt x="71" y="205"/>
                    </a:lnTo>
                    <a:lnTo>
                      <a:pt x="73" y="206"/>
                    </a:lnTo>
                    <a:lnTo>
                      <a:pt x="80" y="211"/>
                    </a:lnTo>
                    <a:lnTo>
                      <a:pt x="82" y="215"/>
                    </a:lnTo>
                    <a:lnTo>
                      <a:pt x="82" y="219"/>
                    </a:lnTo>
                    <a:lnTo>
                      <a:pt x="83" y="221"/>
                    </a:lnTo>
                    <a:lnTo>
                      <a:pt x="88" y="223"/>
                    </a:lnTo>
                    <a:lnTo>
                      <a:pt x="89" y="227"/>
                    </a:lnTo>
                    <a:lnTo>
                      <a:pt x="95" y="236"/>
                    </a:lnTo>
                    <a:lnTo>
                      <a:pt x="96" y="240"/>
                    </a:lnTo>
                    <a:lnTo>
                      <a:pt x="102" y="248"/>
                    </a:lnTo>
                    <a:lnTo>
                      <a:pt x="102" y="251"/>
                    </a:lnTo>
                    <a:lnTo>
                      <a:pt x="101" y="252"/>
                    </a:lnTo>
                    <a:lnTo>
                      <a:pt x="99" y="251"/>
                    </a:lnTo>
                    <a:lnTo>
                      <a:pt x="99" y="252"/>
                    </a:lnTo>
                    <a:lnTo>
                      <a:pt x="100" y="256"/>
                    </a:lnTo>
                    <a:lnTo>
                      <a:pt x="100" y="258"/>
                    </a:lnTo>
                    <a:lnTo>
                      <a:pt x="102" y="258"/>
                    </a:lnTo>
                    <a:lnTo>
                      <a:pt x="104" y="260"/>
                    </a:lnTo>
                    <a:lnTo>
                      <a:pt x="104" y="262"/>
                    </a:lnTo>
                    <a:lnTo>
                      <a:pt x="104" y="263"/>
                    </a:lnTo>
                    <a:lnTo>
                      <a:pt x="109" y="267"/>
                    </a:lnTo>
                    <a:lnTo>
                      <a:pt x="115" y="270"/>
                    </a:lnTo>
                    <a:lnTo>
                      <a:pt x="116" y="273"/>
                    </a:lnTo>
                    <a:lnTo>
                      <a:pt x="119" y="276"/>
                    </a:lnTo>
                    <a:lnTo>
                      <a:pt x="122" y="276"/>
                    </a:lnTo>
                    <a:lnTo>
                      <a:pt x="124" y="278"/>
                    </a:lnTo>
                    <a:lnTo>
                      <a:pt x="125" y="281"/>
                    </a:lnTo>
                    <a:lnTo>
                      <a:pt x="126" y="283"/>
                    </a:lnTo>
                    <a:lnTo>
                      <a:pt x="132" y="283"/>
                    </a:lnTo>
                    <a:lnTo>
                      <a:pt x="134" y="280"/>
                    </a:lnTo>
                    <a:lnTo>
                      <a:pt x="133" y="284"/>
                    </a:lnTo>
                    <a:lnTo>
                      <a:pt x="136" y="286"/>
                    </a:lnTo>
                    <a:lnTo>
                      <a:pt x="143" y="289"/>
                    </a:lnTo>
                    <a:lnTo>
                      <a:pt x="145" y="292"/>
                    </a:lnTo>
                    <a:lnTo>
                      <a:pt x="146" y="295"/>
                    </a:lnTo>
                    <a:lnTo>
                      <a:pt x="148" y="296"/>
                    </a:lnTo>
                    <a:lnTo>
                      <a:pt x="152" y="298"/>
                    </a:lnTo>
                    <a:lnTo>
                      <a:pt x="154" y="297"/>
                    </a:lnTo>
                    <a:lnTo>
                      <a:pt x="157" y="298"/>
                    </a:lnTo>
                    <a:lnTo>
                      <a:pt x="165" y="303"/>
                    </a:lnTo>
                    <a:lnTo>
                      <a:pt x="169" y="305"/>
                    </a:lnTo>
                    <a:lnTo>
                      <a:pt x="172" y="305"/>
                    </a:lnTo>
                    <a:lnTo>
                      <a:pt x="174" y="306"/>
                    </a:lnTo>
                    <a:lnTo>
                      <a:pt x="175" y="307"/>
                    </a:lnTo>
                    <a:lnTo>
                      <a:pt x="180" y="311"/>
                    </a:lnTo>
                    <a:lnTo>
                      <a:pt x="183" y="313"/>
                    </a:lnTo>
                    <a:lnTo>
                      <a:pt x="188" y="316"/>
                    </a:lnTo>
                    <a:lnTo>
                      <a:pt x="190" y="317"/>
                    </a:lnTo>
                    <a:lnTo>
                      <a:pt x="190" y="320"/>
                    </a:lnTo>
                    <a:lnTo>
                      <a:pt x="190" y="322"/>
                    </a:lnTo>
                    <a:lnTo>
                      <a:pt x="190" y="324"/>
                    </a:lnTo>
                    <a:lnTo>
                      <a:pt x="194" y="325"/>
                    </a:lnTo>
                    <a:lnTo>
                      <a:pt x="199" y="327"/>
                    </a:lnTo>
                    <a:lnTo>
                      <a:pt x="204" y="331"/>
                    </a:lnTo>
                    <a:lnTo>
                      <a:pt x="209" y="335"/>
                    </a:lnTo>
                    <a:lnTo>
                      <a:pt x="212" y="336"/>
                    </a:lnTo>
                    <a:lnTo>
                      <a:pt x="212" y="337"/>
                    </a:lnTo>
                    <a:lnTo>
                      <a:pt x="217" y="335"/>
                    </a:lnTo>
                    <a:lnTo>
                      <a:pt x="221" y="332"/>
                    </a:lnTo>
                    <a:lnTo>
                      <a:pt x="224" y="333"/>
                    </a:lnTo>
                    <a:lnTo>
                      <a:pt x="227" y="331"/>
                    </a:lnTo>
                    <a:lnTo>
                      <a:pt x="229" y="328"/>
                    </a:lnTo>
                    <a:lnTo>
                      <a:pt x="225" y="325"/>
                    </a:lnTo>
                    <a:lnTo>
                      <a:pt x="226" y="322"/>
                    </a:lnTo>
                    <a:lnTo>
                      <a:pt x="228" y="319"/>
                    </a:lnTo>
                    <a:lnTo>
                      <a:pt x="231" y="320"/>
                    </a:lnTo>
                    <a:lnTo>
                      <a:pt x="231" y="317"/>
                    </a:lnTo>
                    <a:lnTo>
                      <a:pt x="228" y="317"/>
                    </a:lnTo>
                    <a:lnTo>
                      <a:pt x="227" y="315"/>
                    </a:lnTo>
                    <a:lnTo>
                      <a:pt x="230" y="309"/>
                    </a:lnTo>
                    <a:lnTo>
                      <a:pt x="233" y="306"/>
                    </a:lnTo>
                    <a:lnTo>
                      <a:pt x="237" y="302"/>
                    </a:lnTo>
                    <a:lnTo>
                      <a:pt x="237" y="298"/>
                    </a:lnTo>
                    <a:lnTo>
                      <a:pt x="233" y="286"/>
                    </a:lnTo>
                    <a:lnTo>
                      <a:pt x="233" y="284"/>
                    </a:lnTo>
                    <a:lnTo>
                      <a:pt x="233" y="279"/>
                    </a:lnTo>
                    <a:lnTo>
                      <a:pt x="233" y="277"/>
                    </a:lnTo>
                    <a:lnTo>
                      <a:pt x="232" y="273"/>
                    </a:lnTo>
                    <a:lnTo>
                      <a:pt x="233" y="270"/>
                    </a:lnTo>
                    <a:lnTo>
                      <a:pt x="235" y="264"/>
                    </a:lnTo>
                    <a:lnTo>
                      <a:pt x="234" y="253"/>
                    </a:lnTo>
                    <a:lnTo>
                      <a:pt x="233" y="248"/>
                    </a:lnTo>
                    <a:lnTo>
                      <a:pt x="235" y="242"/>
                    </a:lnTo>
                    <a:lnTo>
                      <a:pt x="235" y="230"/>
                    </a:lnTo>
                    <a:lnTo>
                      <a:pt x="238" y="225"/>
                    </a:lnTo>
                    <a:lnTo>
                      <a:pt x="238" y="222"/>
                    </a:lnTo>
                    <a:lnTo>
                      <a:pt x="221" y="199"/>
                    </a:lnTo>
                    <a:lnTo>
                      <a:pt x="221" y="199"/>
                    </a:lnTo>
                    <a:close/>
                  </a:path>
                </a:pathLst>
              </a:custGeom>
              <a:solidFill>
                <a:schemeClr val="accent2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067" name="Freeform 69"/>
              <p:cNvSpPr>
                <a:spLocks/>
              </p:cNvSpPr>
              <p:nvPr userDrawn="1"/>
            </p:nvSpPr>
            <p:spPr bwMode="auto">
              <a:xfrm>
                <a:off x="2439" y="3489"/>
                <a:ext cx="94" cy="101"/>
              </a:xfrm>
              <a:custGeom>
                <a:avLst/>
                <a:gdLst>
                  <a:gd name="T0" fmla="*/ 13 w 94"/>
                  <a:gd name="T1" fmla="*/ 1 h 101"/>
                  <a:gd name="T2" fmla="*/ 24 w 94"/>
                  <a:gd name="T3" fmla="*/ 0 h 101"/>
                  <a:gd name="T4" fmla="*/ 33 w 94"/>
                  <a:gd name="T5" fmla="*/ 8 h 101"/>
                  <a:gd name="T6" fmla="*/ 38 w 94"/>
                  <a:gd name="T7" fmla="*/ 14 h 101"/>
                  <a:gd name="T8" fmla="*/ 45 w 94"/>
                  <a:gd name="T9" fmla="*/ 21 h 101"/>
                  <a:gd name="T10" fmla="*/ 50 w 94"/>
                  <a:gd name="T11" fmla="*/ 17 h 101"/>
                  <a:gd name="T12" fmla="*/ 59 w 94"/>
                  <a:gd name="T13" fmla="*/ 27 h 101"/>
                  <a:gd name="T14" fmla="*/ 68 w 94"/>
                  <a:gd name="T15" fmla="*/ 31 h 101"/>
                  <a:gd name="T16" fmla="*/ 72 w 94"/>
                  <a:gd name="T17" fmla="*/ 35 h 101"/>
                  <a:gd name="T18" fmla="*/ 83 w 94"/>
                  <a:gd name="T19" fmla="*/ 44 h 101"/>
                  <a:gd name="T20" fmla="*/ 92 w 94"/>
                  <a:gd name="T21" fmla="*/ 52 h 101"/>
                  <a:gd name="T22" fmla="*/ 87 w 94"/>
                  <a:gd name="T23" fmla="*/ 62 h 101"/>
                  <a:gd name="T24" fmla="*/ 90 w 94"/>
                  <a:gd name="T25" fmla="*/ 69 h 101"/>
                  <a:gd name="T26" fmla="*/ 93 w 94"/>
                  <a:gd name="T27" fmla="*/ 73 h 101"/>
                  <a:gd name="T28" fmla="*/ 92 w 94"/>
                  <a:gd name="T29" fmla="*/ 74 h 101"/>
                  <a:gd name="T30" fmla="*/ 89 w 94"/>
                  <a:gd name="T31" fmla="*/ 83 h 101"/>
                  <a:gd name="T32" fmla="*/ 84 w 94"/>
                  <a:gd name="T33" fmla="*/ 89 h 101"/>
                  <a:gd name="T34" fmla="*/ 83 w 94"/>
                  <a:gd name="T35" fmla="*/ 92 h 101"/>
                  <a:gd name="T36" fmla="*/ 72 w 94"/>
                  <a:gd name="T37" fmla="*/ 99 h 101"/>
                  <a:gd name="T38" fmla="*/ 70 w 94"/>
                  <a:gd name="T39" fmla="*/ 98 h 101"/>
                  <a:gd name="T40" fmla="*/ 67 w 94"/>
                  <a:gd name="T41" fmla="*/ 101 h 101"/>
                  <a:gd name="T42" fmla="*/ 62 w 94"/>
                  <a:gd name="T43" fmla="*/ 100 h 101"/>
                  <a:gd name="T44" fmla="*/ 58 w 94"/>
                  <a:gd name="T45" fmla="*/ 99 h 101"/>
                  <a:gd name="T46" fmla="*/ 49 w 94"/>
                  <a:gd name="T47" fmla="*/ 99 h 101"/>
                  <a:gd name="T48" fmla="*/ 41 w 94"/>
                  <a:gd name="T49" fmla="*/ 101 h 101"/>
                  <a:gd name="T50" fmla="*/ 41 w 94"/>
                  <a:gd name="T51" fmla="*/ 98 h 101"/>
                  <a:gd name="T52" fmla="*/ 38 w 94"/>
                  <a:gd name="T53" fmla="*/ 97 h 101"/>
                  <a:gd name="T54" fmla="*/ 31 w 94"/>
                  <a:gd name="T55" fmla="*/ 94 h 101"/>
                  <a:gd name="T56" fmla="*/ 18 w 94"/>
                  <a:gd name="T57" fmla="*/ 94 h 101"/>
                  <a:gd name="T58" fmla="*/ 10 w 94"/>
                  <a:gd name="T59" fmla="*/ 89 h 101"/>
                  <a:gd name="T60" fmla="*/ 3 w 94"/>
                  <a:gd name="T61" fmla="*/ 81 h 101"/>
                  <a:gd name="T62" fmla="*/ 0 w 94"/>
                  <a:gd name="T63" fmla="*/ 67 h 101"/>
                  <a:gd name="T64" fmla="*/ 1 w 94"/>
                  <a:gd name="T65" fmla="*/ 65 h 101"/>
                  <a:gd name="T66" fmla="*/ 5 w 94"/>
                  <a:gd name="T67" fmla="*/ 60 h 101"/>
                  <a:gd name="T68" fmla="*/ 2 w 94"/>
                  <a:gd name="T69" fmla="*/ 47 h 101"/>
                  <a:gd name="T70" fmla="*/ 2 w 94"/>
                  <a:gd name="T71" fmla="*/ 39 h 101"/>
                  <a:gd name="T72" fmla="*/ 4 w 94"/>
                  <a:gd name="T73" fmla="*/ 32 h 101"/>
                  <a:gd name="T74" fmla="*/ 6 w 94"/>
                  <a:gd name="T75" fmla="*/ 22 h 101"/>
                  <a:gd name="T76" fmla="*/ 6 w 94"/>
                  <a:gd name="T77" fmla="*/ 16 h 101"/>
                  <a:gd name="T78" fmla="*/ 8 w 94"/>
                  <a:gd name="T79" fmla="*/ 7 h 101"/>
                  <a:gd name="T80" fmla="*/ 10 w 94"/>
                  <a:gd name="T81" fmla="*/ 1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94" h="101">
                    <a:moveTo>
                      <a:pt x="10" y="1"/>
                    </a:moveTo>
                    <a:lnTo>
                      <a:pt x="13" y="1"/>
                    </a:lnTo>
                    <a:lnTo>
                      <a:pt x="15" y="3"/>
                    </a:lnTo>
                    <a:lnTo>
                      <a:pt x="24" y="0"/>
                    </a:lnTo>
                    <a:lnTo>
                      <a:pt x="28" y="2"/>
                    </a:lnTo>
                    <a:lnTo>
                      <a:pt x="33" y="8"/>
                    </a:lnTo>
                    <a:lnTo>
                      <a:pt x="36" y="9"/>
                    </a:lnTo>
                    <a:lnTo>
                      <a:pt x="38" y="14"/>
                    </a:lnTo>
                    <a:lnTo>
                      <a:pt x="42" y="21"/>
                    </a:lnTo>
                    <a:lnTo>
                      <a:pt x="45" y="21"/>
                    </a:lnTo>
                    <a:lnTo>
                      <a:pt x="48" y="17"/>
                    </a:lnTo>
                    <a:lnTo>
                      <a:pt x="50" y="17"/>
                    </a:lnTo>
                    <a:lnTo>
                      <a:pt x="55" y="24"/>
                    </a:lnTo>
                    <a:lnTo>
                      <a:pt x="59" y="27"/>
                    </a:lnTo>
                    <a:lnTo>
                      <a:pt x="63" y="28"/>
                    </a:lnTo>
                    <a:lnTo>
                      <a:pt x="68" y="31"/>
                    </a:lnTo>
                    <a:lnTo>
                      <a:pt x="68" y="36"/>
                    </a:lnTo>
                    <a:lnTo>
                      <a:pt x="72" y="35"/>
                    </a:lnTo>
                    <a:lnTo>
                      <a:pt x="79" y="38"/>
                    </a:lnTo>
                    <a:lnTo>
                      <a:pt x="83" y="44"/>
                    </a:lnTo>
                    <a:lnTo>
                      <a:pt x="88" y="51"/>
                    </a:lnTo>
                    <a:lnTo>
                      <a:pt x="92" y="52"/>
                    </a:lnTo>
                    <a:lnTo>
                      <a:pt x="91" y="58"/>
                    </a:lnTo>
                    <a:lnTo>
                      <a:pt x="87" y="62"/>
                    </a:lnTo>
                    <a:lnTo>
                      <a:pt x="89" y="68"/>
                    </a:lnTo>
                    <a:lnTo>
                      <a:pt x="90" y="69"/>
                    </a:lnTo>
                    <a:lnTo>
                      <a:pt x="90" y="70"/>
                    </a:lnTo>
                    <a:lnTo>
                      <a:pt x="93" y="73"/>
                    </a:lnTo>
                    <a:lnTo>
                      <a:pt x="94" y="73"/>
                    </a:lnTo>
                    <a:lnTo>
                      <a:pt x="92" y="74"/>
                    </a:lnTo>
                    <a:lnTo>
                      <a:pt x="89" y="78"/>
                    </a:lnTo>
                    <a:lnTo>
                      <a:pt x="89" y="83"/>
                    </a:lnTo>
                    <a:lnTo>
                      <a:pt x="85" y="86"/>
                    </a:lnTo>
                    <a:lnTo>
                      <a:pt x="84" y="89"/>
                    </a:lnTo>
                    <a:lnTo>
                      <a:pt x="84" y="90"/>
                    </a:lnTo>
                    <a:lnTo>
                      <a:pt x="83" y="92"/>
                    </a:lnTo>
                    <a:lnTo>
                      <a:pt x="79" y="96"/>
                    </a:lnTo>
                    <a:lnTo>
                      <a:pt x="72" y="99"/>
                    </a:lnTo>
                    <a:lnTo>
                      <a:pt x="71" y="97"/>
                    </a:lnTo>
                    <a:lnTo>
                      <a:pt x="70" y="98"/>
                    </a:lnTo>
                    <a:lnTo>
                      <a:pt x="69" y="100"/>
                    </a:lnTo>
                    <a:lnTo>
                      <a:pt x="67" y="101"/>
                    </a:lnTo>
                    <a:lnTo>
                      <a:pt x="64" y="101"/>
                    </a:lnTo>
                    <a:lnTo>
                      <a:pt x="62" y="100"/>
                    </a:lnTo>
                    <a:lnTo>
                      <a:pt x="60" y="100"/>
                    </a:lnTo>
                    <a:lnTo>
                      <a:pt x="58" y="99"/>
                    </a:lnTo>
                    <a:lnTo>
                      <a:pt x="54" y="98"/>
                    </a:lnTo>
                    <a:lnTo>
                      <a:pt x="49" y="99"/>
                    </a:lnTo>
                    <a:lnTo>
                      <a:pt x="45" y="101"/>
                    </a:lnTo>
                    <a:lnTo>
                      <a:pt x="41" y="101"/>
                    </a:lnTo>
                    <a:lnTo>
                      <a:pt x="41" y="99"/>
                    </a:lnTo>
                    <a:lnTo>
                      <a:pt x="41" y="98"/>
                    </a:lnTo>
                    <a:lnTo>
                      <a:pt x="40" y="97"/>
                    </a:lnTo>
                    <a:lnTo>
                      <a:pt x="38" y="97"/>
                    </a:lnTo>
                    <a:lnTo>
                      <a:pt x="36" y="96"/>
                    </a:lnTo>
                    <a:lnTo>
                      <a:pt x="31" y="94"/>
                    </a:lnTo>
                    <a:lnTo>
                      <a:pt x="26" y="94"/>
                    </a:lnTo>
                    <a:lnTo>
                      <a:pt x="18" y="94"/>
                    </a:lnTo>
                    <a:lnTo>
                      <a:pt x="16" y="94"/>
                    </a:lnTo>
                    <a:lnTo>
                      <a:pt x="10" y="89"/>
                    </a:lnTo>
                    <a:lnTo>
                      <a:pt x="8" y="88"/>
                    </a:lnTo>
                    <a:lnTo>
                      <a:pt x="3" y="81"/>
                    </a:lnTo>
                    <a:lnTo>
                      <a:pt x="0" y="74"/>
                    </a:lnTo>
                    <a:lnTo>
                      <a:pt x="0" y="67"/>
                    </a:lnTo>
                    <a:lnTo>
                      <a:pt x="0" y="67"/>
                    </a:lnTo>
                    <a:lnTo>
                      <a:pt x="1" y="65"/>
                    </a:lnTo>
                    <a:lnTo>
                      <a:pt x="4" y="63"/>
                    </a:lnTo>
                    <a:lnTo>
                      <a:pt x="5" y="60"/>
                    </a:lnTo>
                    <a:lnTo>
                      <a:pt x="3" y="54"/>
                    </a:lnTo>
                    <a:lnTo>
                      <a:pt x="2" y="47"/>
                    </a:lnTo>
                    <a:lnTo>
                      <a:pt x="4" y="45"/>
                    </a:lnTo>
                    <a:lnTo>
                      <a:pt x="2" y="39"/>
                    </a:lnTo>
                    <a:lnTo>
                      <a:pt x="4" y="35"/>
                    </a:lnTo>
                    <a:lnTo>
                      <a:pt x="4" y="32"/>
                    </a:lnTo>
                    <a:lnTo>
                      <a:pt x="5" y="29"/>
                    </a:lnTo>
                    <a:lnTo>
                      <a:pt x="6" y="22"/>
                    </a:lnTo>
                    <a:lnTo>
                      <a:pt x="5" y="19"/>
                    </a:lnTo>
                    <a:lnTo>
                      <a:pt x="6" y="16"/>
                    </a:lnTo>
                    <a:lnTo>
                      <a:pt x="5" y="10"/>
                    </a:lnTo>
                    <a:lnTo>
                      <a:pt x="8" y="7"/>
                    </a:lnTo>
                    <a:lnTo>
                      <a:pt x="10" y="2"/>
                    </a:lnTo>
                    <a:lnTo>
                      <a:pt x="10" y="1"/>
                    </a:lnTo>
                    <a:lnTo>
                      <a:pt x="10" y="1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068" name="Freeform 70"/>
              <p:cNvSpPr>
                <a:spLocks noEditPoints="1"/>
              </p:cNvSpPr>
              <p:nvPr userDrawn="1"/>
            </p:nvSpPr>
            <p:spPr bwMode="auto">
              <a:xfrm>
                <a:off x="2218" y="3332"/>
                <a:ext cx="295" cy="735"/>
              </a:xfrm>
              <a:custGeom>
                <a:avLst/>
                <a:gdLst>
                  <a:gd name="T0" fmla="*/ 77 w 295"/>
                  <a:gd name="T1" fmla="*/ 3 h 735"/>
                  <a:gd name="T2" fmla="*/ 97 w 295"/>
                  <a:gd name="T3" fmla="*/ 12 h 735"/>
                  <a:gd name="T4" fmla="*/ 133 w 295"/>
                  <a:gd name="T5" fmla="*/ 10 h 735"/>
                  <a:gd name="T6" fmla="*/ 183 w 295"/>
                  <a:gd name="T7" fmla="*/ 45 h 735"/>
                  <a:gd name="T8" fmla="*/ 218 w 295"/>
                  <a:gd name="T9" fmla="*/ 78 h 735"/>
                  <a:gd name="T10" fmla="*/ 221 w 295"/>
                  <a:gd name="T11" fmla="*/ 101 h 735"/>
                  <a:gd name="T12" fmla="*/ 258 w 295"/>
                  <a:gd name="T13" fmla="*/ 105 h 735"/>
                  <a:gd name="T14" fmla="*/ 278 w 295"/>
                  <a:gd name="T15" fmla="*/ 72 h 735"/>
                  <a:gd name="T16" fmla="*/ 295 w 295"/>
                  <a:gd name="T17" fmla="*/ 96 h 735"/>
                  <a:gd name="T18" fmla="*/ 273 w 295"/>
                  <a:gd name="T19" fmla="*/ 110 h 735"/>
                  <a:gd name="T20" fmla="*/ 249 w 295"/>
                  <a:gd name="T21" fmla="*/ 132 h 735"/>
                  <a:gd name="T22" fmla="*/ 232 w 295"/>
                  <a:gd name="T23" fmla="*/ 157 h 735"/>
                  <a:gd name="T24" fmla="*/ 225 w 295"/>
                  <a:gd name="T25" fmla="*/ 189 h 735"/>
                  <a:gd name="T26" fmla="*/ 222 w 295"/>
                  <a:gd name="T27" fmla="*/ 222 h 735"/>
                  <a:gd name="T28" fmla="*/ 223 w 295"/>
                  <a:gd name="T29" fmla="*/ 245 h 735"/>
                  <a:gd name="T30" fmla="*/ 246 w 295"/>
                  <a:gd name="T31" fmla="*/ 279 h 735"/>
                  <a:gd name="T32" fmla="*/ 261 w 295"/>
                  <a:gd name="T33" fmla="*/ 298 h 735"/>
                  <a:gd name="T34" fmla="*/ 252 w 295"/>
                  <a:gd name="T35" fmla="*/ 324 h 735"/>
                  <a:gd name="T36" fmla="*/ 199 w 295"/>
                  <a:gd name="T37" fmla="*/ 344 h 735"/>
                  <a:gd name="T38" fmla="*/ 169 w 295"/>
                  <a:gd name="T39" fmla="*/ 339 h 735"/>
                  <a:gd name="T40" fmla="*/ 174 w 295"/>
                  <a:gd name="T41" fmla="*/ 360 h 735"/>
                  <a:gd name="T42" fmla="*/ 174 w 295"/>
                  <a:gd name="T43" fmla="*/ 377 h 735"/>
                  <a:gd name="T44" fmla="*/ 152 w 295"/>
                  <a:gd name="T45" fmla="*/ 396 h 735"/>
                  <a:gd name="T46" fmla="*/ 123 w 295"/>
                  <a:gd name="T47" fmla="*/ 389 h 735"/>
                  <a:gd name="T48" fmla="*/ 141 w 295"/>
                  <a:gd name="T49" fmla="*/ 420 h 735"/>
                  <a:gd name="T50" fmla="*/ 144 w 295"/>
                  <a:gd name="T51" fmla="*/ 417 h 735"/>
                  <a:gd name="T52" fmla="*/ 158 w 295"/>
                  <a:gd name="T53" fmla="*/ 429 h 735"/>
                  <a:gd name="T54" fmla="*/ 137 w 295"/>
                  <a:gd name="T55" fmla="*/ 428 h 735"/>
                  <a:gd name="T56" fmla="*/ 134 w 295"/>
                  <a:gd name="T57" fmla="*/ 444 h 735"/>
                  <a:gd name="T58" fmla="*/ 130 w 295"/>
                  <a:gd name="T59" fmla="*/ 465 h 735"/>
                  <a:gd name="T60" fmla="*/ 131 w 295"/>
                  <a:gd name="T61" fmla="*/ 484 h 735"/>
                  <a:gd name="T62" fmla="*/ 107 w 295"/>
                  <a:gd name="T63" fmla="*/ 495 h 735"/>
                  <a:gd name="T64" fmla="*/ 105 w 295"/>
                  <a:gd name="T65" fmla="*/ 521 h 735"/>
                  <a:gd name="T66" fmla="*/ 137 w 295"/>
                  <a:gd name="T67" fmla="*/ 535 h 735"/>
                  <a:gd name="T68" fmla="*/ 141 w 295"/>
                  <a:gd name="T69" fmla="*/ 554 h 735"/>
                  <a:gd name="T70" fmla="*/ 129 w 295"/>
                  <a:gd name="T71" fmla="*/ 570 h 735"/>
                  <a:gd name="T72" fmla="*/ 114 w 295"/>
                  <a:gd name="T73" fmla="*/ 590 h 735"/>
                  <a:gd name="T74" fmla="*/ 105 w 295"/>
                  <a:gd name="T75" fmla="*/ 605 h 735"/>
                  <a:gd name="T76" fmla="*/ 98 w 295"/>
                  <a:gd name="T77" fmla="*/ 628 h 735"/>
                  <a:gd name="T78" fmla="*/ 107 w 295"/>
                  <a:gd name="T79" fmla="*/ 650 h 735"/>
                  <a:gd name="T80" fmla="*/ 109 w 295"/>
                  <a:gd name="T81" fmla="*/ 660 h 735"/>
                  <a:gd name="T82" fmla="*/ 50 w 295"/>
                  <a:gd name="T83" fmla="*/ 643 h 735"/>
                  <a:gd name="T84" fmla="*/ 21 w 295"/>
                  <a:gd name="T85" fmla="*/ 616 h 735"/>
                  <a:gd name="T86" fmla="*/ 31 w 295"/>
                  <a:gd name="T87" fmla="*/ 550 h 735"/>
                  <a:gd name="T88" fmla="*/ 29 w 295"/>
                  <a:gd name="T89" fmla="*/ 504 h 735"/>
                  <a:gd name="T90" fmla="*/ 19 w 295"/>
                  <a:gd name="T91" fmla="*/ 481 h 735"/>
                  <a:gd name="T92" fmla="*/ 17 w 295"/>
                  <a:gd name="T93" fmla="*/ 457 h 735"/>
                  <a:gd name="T94" fmla="*/ 11 w 295"/>
                  <a:gd name="T95" fmla="*/ 415 h 735"/>
                  <a:gd name="T96" fmla="*/ 10 w 295"/>
                  <a:gd name="T97" fmla="*/ 350 h 735"/>
                  <a:gd name="T98" fmla="*/ 17 w 295"/>
                  <a:gd name="T99" fmla="*/ 288 h 735"/>
                  <a:gd name="T100" fmla="*/ 20 w 295"/>
                  <a:gd name="T101" fmla="*/ 244 h 735"/>
                  <a:gd name="T102" fmla="*/ 0 w 295"/>
                  <a:gd name="T103" fmla="*/ 189 h 735"/>
                  <a:gd name="T104" fmla="*/ 8 w 295"/>
                  <a:gd name="T105" fmla="*/ 141 h 735"/>
                  <a:gd name="T106" fmla="*/ 27 w 295"/>
                  <a:gd name="T107" fmla="*/ 95 h 735"/>
                  <a:gd name="T108" fmla="*/ 25 w 295"/>
                  <a:gd name="T109" fmla="*/ 65 h 735"/>
                  <a:gd name="T110" fmla="*/ 46 w 295"/>
                  <a:gd name="T111" fmla="*/ 18 h 735"/>
                  <a:gd name="T112" fmla="*/ 199 w 295"/>
                  <a:gd name="T113" fmla="*/ 725 h 735"/>
                  <a:gd name="T114" fmla="*/ 126 w 295"/>
                  <a:gd name="T115" fmla="*/ 688 h 735"/>
                  <a:gd name="T116" fmla="*/ 124 w 295"/>
                  <a:gd name="T117" fmla="*/ 692 h 735"/>
                  <a:gd name="T118" fmla="*/ 161 w 295"/>
                  <a:gd name="T119" fmla="*/ 715 h 735"/>
                  <a:gd name="T120" fmla="*/ 182 w 295"/>
                  <a:gd name="T121" fmla="*/ 727 h 735"/>
                  <a:gd name="T122" fmla="*/ 152 w 295"/>
                  <a:gd name="T123" fmla="*/ 730 h 735"/>
                  <a:gd name="T124" fmla="*/ 146 w 295"/>
                  <a:gd name="T125" fmla="*/ 723 h 7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95" h="735">
                    <a:moveTo>
                      <a:pt x="46" y="18"/>
                    </a:moveTo>
                    <a:lnTo>
                      <a:pt x="48" y="15"/>
                    </a:lnTo>
                    <a:lnTo>
                      <a:pt x="52" y="9"/>
                    </a:lnTo>
                    <a:lnTo>
                      <a:pt x="59" y="2"/>
                    </a:lnTo>
                    <a:lnTo>
                      <a:pt x="64" y="0"/>
                    </a:lnTo>
                    <a:lnTo>
                      <a:pt x="68" y="4"/>
                    </a:lnTo>
                    <a:lnTo>
                      <a:pt x="73" y="4"/>
                    </a:lnTo>
                    <a:lnTo>
                      <a:pt x="77" y="3"/>
                    </a:lnTo>
                    <a:lnTo>
                      <a:pt x="81" y="4"/>
                    </a:lnTo>
                    <a:lnTo>
                      <a:pt x="87" y="3"/>
                    </a:lnTo>
                    <a:lnTo>
                      <a:pt x="90" y="3"/>
                    </a:lnTo>
                    <a:lnTo>
                      <a:pt x="91" y="8"/>
                    </a:lnTo>
                    <a:lnTo>
                      <a:pt x="94" y="15"/>
                    </a:lnTo>
                    <a:lnTo>
                      <a:pt x="95" y="17"/>
                    </a:lnTo>
                    <a:lnTo>
                      <a:pt x="97" y="15"/>
                    </a:lnTo>
                    <a:lnTo>
                      <a:pt x="97" y="12"/>
                    </a:lnTo>
                    <a:lnTo>
                      <a:pt x="99" y="9"/>
                    </a:lnTo>
                    <a:lnTo>
                      <a:pt x="99" y="5"/>
                    </a:lnTo>
                    <a:lnTo>
                      <a:pt x="102" y="1"/>
                    </a:lnTo>
                    <a:lnTo>
                      <a:pt x="112" y="1"/>
                    </a:lnTo>
                    <a:lnTo>
                      <a:pt x="122" y="1"/>
                    </a:lnTo>
                    <a:lnTo>
                      <a:pt x="126" y="5"/>
                    </a:lnTo>
                    <a:lnTo>
                      <a:pt x="129" y="9"/>
                    </a:lnTo>
                    <a:lnTo>
                      <a:pt x="133" y="10"/>
                    </a:lnTo>
                    <a:lnTo>
                      <a:pt x="138" y="18"/>
                    </a:lnTo>
                    <a:lnTo>
                      <a:pt x="150" y="29"/>
                    </a:lnTo>
                    <a:lnTo>
                      <a:pt x="153" y="30"/>
                    </a:lnTo>
                    <a:lnTo>
                      <a:pt x="158" y="34"/>
                    </a:lnTo>
                    <a:lnTo>
                      <a:pt x="161" y="37"/>
                    </a:lnTo>
                    <a:lnTo>
                      <a:pt x="172" y="40"/>
                    </a:lnTo>
                    <a:lnTo>
                      <a:pt x="179" y="44"/>
                    </a:lnTo>
                    <a:lnTo>
                      <a:pt x="183" y="45"/>
                    </a:lnTo>
                    <a:lnTo>
                      <a:pt x="191" y="52"/>
                    </a:lnTo>
                    <a:lnTo>
                      <a:pt x="199" y="56"/>
                    </a:lnTo>
                    <a:lnTo>
                      <a:pt x="210" y="56"/>
                    </a:lnTo>
                    <a:lnTo>
                      <a:pt x="215" y="61"/>
                    </a:lnTo>
                    <a:lnTo>
                      <a:pt x="220" y="66"/>
                    </a:lnTo>
                    <a:lnTo>
                      <a:pt x="222" y="70"/>
                    </a:lnTo>
                    <a:lnTo>
                      <a:pt x="221" y="74"/>
                    </a:lnTo>
                    <a:lnTo>
                      <a:pt x="218" y="78"/>
                    </a:lnTo>
                    <a:lnTo>
                      <a:pt x="215" y="80"/>
                    </a:lnTo>
                    <a:lnTo>
                      <a:pt x="213" y="83"/>
                    </a:lnTo>
                    <a:lnTo>
                      <a:pt x="215" y="87"/>
                    </a:lnTo>
                    <a:lnTo>
                      <a:pt x="212" y="94"/>
                    </a:lnTo>
                    <a:lnTo>
                      <a:pt x="206" y="100"/>
                    </a:lnTo>
                    <a:lnTo>
                      <a:pt x="205" y="103"/>
                    </a:lnTo>
                    <a:lnTo>
                      <a:pt x="208" y="103"/>
                    </a:lnTo>
                    <a:lnTo>
                      <a:pt x="221" y="101"/>
                    </a:lnTo>
                    <a:lnTo>
                      <a:pt x="232" y="105"/>
                    </a:lnTo>
                    <a:lnTo>
                      <a:pt x="239" y="109"/>
                    </a:lnTo>
                    <a:lnTo>
                      <a:pt x="244" y="107"/>
                    </a:lnTo>
                    <a:lnTo>
                      <a:pt x="246" y="107"/>
                    </a:lnTo>
                    <a:lnTo>
                      <a:pt x="248" y="109"/>
                    </a:lnTo>
                    <a:lnTo>
                      <a:pt x="252" y="105"/>
                    </a:lnTo>
                    <a:lnTo>
                      <a:pt x="254" y="104"/>
                    </a:lnTo>
                    <a:lnTo>
                      <a:pt x="258" y="105"/>
                    </a:lnTo>
                    <a:lnTo>
                      <a:pt x="260" y="101"/>
                    </a:lnTo>
                    <a:lnTo>
                      <a:pt x="262" y="97"/>
                    </a:lnTo>
                    <a:lnTo>
                      <a:pt x="271" y="91"/>
                    </a:lnTo>
                    <a:lnTo>
                      <a:pt x="272" y="87"/>
                    </a:lnTo>
                    <a:lnTo>
                      <a:pt x="274" y="82"/>
                    </a:lnTo>
                    <a:lnTo>
                      <a:pt x="278" y="80"/>
                    </a:lnTo>
                    <a:lnTo>
                      <a:pt x="278" y="74"/>
                    </a:lnTo>
                    <a:lnTo>
                      <a:pt x="278" y="72"/>
                    </a:lnTo>
                    <a:lnTo>
                      <a:pt x="278" y="67"/>
                    </a:lnTo>
                    <a:lnTo>
                      <a:pt x="281" y="64"/>
                    </a:lnTo>
                    <a:lnTo>
                      <a:pt x="290" y="65"/>
                    </a:lnTo>
                    <a:lnTo>
                      <a:pt x="291" y="69"/>
                    </a:lnTo>
                    <a:lnTo>
                      <a:pt x="294" y="77"/>
                    </a:lnTo>
                    <a:lnTo>
                      <a:pt x="294" y="82"/>
                    </a:lnTo>
                    <a:lnTo>
                      <a:pt x="295" y="89"/>
                    </a:lnTo>
                    <a:lnTo>
                      <a:pt x="295" y="96"/>
                    </a:lnTo>
                    <a:lnTo>
                      <a:pt x="294" y="99"/>
                    </a:lnTo>
                    <a:lnTo>
                      <a:pt x="290" y="98"/>
                    </a:lnTo>
                    <a:lnTo>
                      <a:pt x="286" y="100"/>
                    </a:lnTo>
                    <a:lnTo>
                      <a:pt x="285" y="101"/>
                    </a:lnTo>
                    <a:lnTo>
                      <a:pt x="282" y="104"/>
                    </a:lnTo>
                    <a:lnTo>
                      <a:pt x="281" y="103"/>
                    </a:lnTo>
                    <a:lnTo>
                      <a:pt x="274" y="108"/>
                    </a:lnTo>
                    <a:lnTo>
                      <a:pt x="273" y="110"/>
                    </a:lnTo>
                    <a:lnTo>
                      <a:pt x="270" y="111"/>
                    </a:lnTo>
                    <a:lnTo>
                      <a:pt x="262" y="117"/>
                    </a:lnTo>
                    <a:lnTo>
                      <a:pt x="260" y="118"/>
                    </a:lnTo>
                    <a:lnTo>
                      <a:pt x="260" y="121"/>
                    </a:lnTo>
                    <a:lnTo>
                      <a:pt x="258" y="122"/>
                    </a:lnTo>
                    <a:lnTo>
                      <a:pt x="256" y="122"/>
                    </a:lnTo>
                    <a:lnTo>
                      <a:pt x="250" y="129"/>
                    </a:lnTo>
                    <a:lnTo>
                      <a:pt x="249" y="132"/>
                    </a:lnTo>
                    <a:lnTo>
                      <a:pt x="249" y="136"/>
                    </a:lnTo>
                    <a:lnTo>
                      <a:pt x="246" y="137"/>
                    </a:lnTo>
                    <a:lnTo>
                      <a:pt x="244" y="139"/>
                    </a:lnTo>
                    <a:lnTo>
                      <a:pt x="240" y="145"/>
                    </a:lnTo>
                    <a:lnTo>
                      <a:pt x="238" y="148"/>
                    </a:lnTo>
                    <a:lnTo>
                      <a:pt x="236" y="153"/>
                    </a:lnTo>
                    <a:lnTo>
                      <a:pt x="236" y="154"/>
                    </a:lnTo>
                    <a:lnTo>
                      <a:pt x="232" y="157"/>
                    </a:lnTo>
                    <a:lnTo>
                      <a:pt x="231" y="159"/>
                    </a:lnTo>
                    <a:lnTo>
                      <a:pt x="229" y="164"/>
                    </a:lnTo>
                    <a:lnTo>
                      <a:pt x="226" y="167"/>
                    </a:lnTo>
                    <a:lnTo>
                      <a:pt x="227" y="173"/>
                    </a:lnTo>
                    <a:lnTo>
                      <a:pt x="226" y="176"/>
                    </a:lnTo>
                    <a:lnTo>
                      <a:pt x="227" y="179"/>
                    </a:lnTo>
                    <a:lnTo>
                      <a:pt x="226" y="186"/>
                    </a:lnTo>
                    <a:lnTo>
                      <a:pt x="225" y="189"/>
                    </a:lnTo>
                    <a:lnTo>
                      <a:pt x="225" y="192"/>
                    </a:lnTo>
                    <a:lnTo>
                      <a:pt x="223" y="196"/>
                    </a:lnTo>
                    <a:lnTo>
                      <a:pt x="225" y="202"/>
                    </a:lnTo>
                    <a:lnTo>
                      <a:pt x="223" y="204"/>
                    </a:lnTo>
                    <a:lnTo>
                      <a:pt x="224" y="211"/>
                    </a:lnTo>
                    <a:lnTo>
                      <a:pt x="226" y="217"/>
                    </a:lnTo>
                    <a:lnTo>
                      <a:pt x="225" y="220"/>
                    </a:lnTo>
                    <a:lnTo>
                      <a:pt x="222" y="222"/>
                    </a:lnTo>
                    <a:lnTo>
                      <a:pt x="221" y="224"/>
                    </a:lnTo>
                    <a:lnTo>
                      <a:pt x="221" y="224"/>
                    </a:lnTo>
                    <a:lnTo>
                      <a:pt x="221" y="224"/>
                    </a:lnTo>
                    <a:lnTo>
                      <a:pt x="220" y="230"/>
                    </a:lnTo>
                    <a:lnTo>
                      <a:pt x="221" y="237"/>
                    </a:lnTo>
                    <a:lnTo>
                      <a:pt x="221" y="239"/>
                    </a:lnTo>
                    <a:lnTo>
                      <a:pt x="223" y="242"/>
                    </a:lnTo>
                    <a:lnTo>
                      <a:pt x="223" y="245"/>
                    </a:lnTo>
                    <a:lnTo>
                      <a:pt x="222" y="246"/>
                    </a:lnTo>
                    <a:lnTo>
                      <a:pt x="224" y="249"/>
                    </a:lnTo>
                    <a:lnTo>
                      <a:pt x="232" y="254"/>
                    </a:lnTo>
                    <a:lnTo>
                      <a:pt x="239" y="257"/>
                    </a:lnTo>
                    <a:lnTo>
                      <a:pt x="249" y="265"/>
                    </a:lnTo>
                    <a:lnTo>
                      <a:pt x="251" y="268"/>
                    </a:lnTo>
                    <a:lnTo>
                      <a:pt x="251" y="271"/>
                    </a:lnTo>
                    <a:lnTo>
                      <a:pt x="246" y="279"/>
                    </a:lnTo>
                    <a:lnTo>
                      <a:pt x="246" y="282"/>
                    </a:lnTo>
                    <a:lnTo>
                      <a:pt x="249" y="287"/>
                    </a:lnTo>
                    <a:lnTo>
                      <a:pt x="254" y="291"/>
                    </a:lnTo>
                    <a:lnTo>
                      <a:pt x="258" y="291"/>
                    </a:lnTo>
                    <a:lnTo>
                      <a:pt x="259" y="288"/>
                    </a:lnTo>
                    <a:lnTo>
                      <a:pt x="260" y="288"/>
                    </a:lnTo>
                    <a:lnTo>
                      <a:pt x="261" y="291"/>
                    </a:lnTo>
                    <a:lnTo>
                      <a:pt x="261" y="298"/>
                    </a:lnTo>
                    <a:lnTo>
                      <a:pt x="260" y="302"/>
                    </a:lnTo>
                    <a:lnTo>
                      <a:pt x="258" y="308"/>
                    </a:lnTo>
                    <a:lnTo>
                      <a:pt x="256" y="314"/>
                    </a:lnTo>
                    <a:lnTo>
                      <a:pt x="255" y="315"/>
                    </a:lnTo>
                    <a:lnTo>
                      <a:pt x="254" y="313"/>
                    </a:lnTo>
                    <a:lnTo>
                      <a:pt x="253" y="315"/>
                    </a:lnTo>
                    <a:lnTo>
                      <a:pt x="251" y="319"/>
                    </a:lnTo>
                    <a:lnTo>
                      <a:pt x="252" y="324"/>
                    </a:lnTo>
                    <a:lnTo>
                      <a:pt x="251" y="327"/>
                    </a:lnTo>
                    <a:lnTo>
                      <a:pt x="240" y="334"/>
                    </a:lnTo>
                    <a:lnTo>
                      <a:pt x="233" y="336"/>
                    </a:lnTo>
                    <a:lnTo>
                      <a:pt x="231" y="334"/>
                    </a:lnTo>
                    <a:lnTo>
                      <a:pt x="231" y="337"/>
                    </a:lnTo>
                    <a:lnTo>
                      <a:pt x="219" y="340"/>
                    </a:lnTo>
                    <a:lnTo>
                      <a:pt x="207" y="344"/>
                    </a:lnTo>
                    <a:lnTo>
                      <a:pt x="199" y="344"/>
                    </a:lnTo>
                    <a:lnTo>
                      <a:pt x="193" y="343"/>
                    </a:lnTo>
                    <a:lnTo>
                      <a:pt x="187" y="344"/>
                    </a:lnTo>
                    <a:lnTo>
                      <a:pt x="184" y="344"/>
                    </a:lnTo>
                    <a:lnTo>
                      <a:pt x="179" y="342"/>
                    </a:lnTo>
                    <a:lnTo>
                      <a:pt x="174" y="340"/>
                    </a:lnTo>
                    <a:lnTo>
                      <a:pt x="172" y="340"/>
                    </a:lnTo>
                    <a:lnTo>
                      <a:pt x="171" y="338"/>
                    </a:lnTo>
                    <a:lnTo>
                      <a:pt x="169" y="339"/>
                    </a:lnTo>
                    <a:lnTo>
                      <a:pt x="169" y="342"/>
                    </a:lnTo>
                    <a:lnTo>
                      <a:pt x="170" y="344"/>
                    </a:lnTo>
                    <a:lnTo>
                      <a:pt x="170" y="351"/>
                    </a:lnTo>
                    <a:lnTo>
                      <a:pt x="172" y="353"/>
                    </a:lnTo>
                    <a:lnTo>
                      <a:pt x="172" y="355"/>
                    </a:lnTo>
                    <a:lnTo>
                      <a:pt x="174" y="355"/>
                    </a:lnTo>
                    <a:lnTo>
                      <a:pt x="175" y="359"/>
                    </a:lnTo>
                    <a:lnTo>
                      <a:pt x="174" y="360"/>
                    </a:lnTo>
                    <a:lnTo>
                      <a:pt x="173" y="360"/>
                    </a:lnTo>
                    <a:lnTo>
                      <a:pt x="173" y="362"/>
                    </a:lnTo>
                    <a:lnTo>
                      <a:pt x="170" y="365"/>
                    </a:lnTo>
                    <a:lnTo>
                      <a:pt x="171" y="367"/>
                    </a:lnTo>
                    <a:lnTo>
                      <a:pt x="170" y="369"/>
                    </a:lnTo>
                    <a:lnTo>
                      <a:pt x="170" y="373"/>
                    </a:lnTo>
                    <a:lnTo>
                      <a:pt x="172" y="376"/>
                    </a:lnTo>
                    <a:lnTo>
                      <a:pt x="174" y="377"/>
                    </a:lnTo>
                    <a:lnTo>
                      <a:pt x="173" y="380"/>
                    </a:lnTo>
                    <a:lnTo>
                      <a:pt x="172" y="381"/>
                    </a:lnTo>
                    <a:lnTo>
                      <a:pt x="173" y="384"/>
                    </a:lnTo>
                    <a:lnTo>
                      <a:pt x="172" y="388"/>
                    </a:lnTo>
                    <a:lnTo>
                      <a:pt x="169" y="391"/>
                    </a:lnTo>
                    <a:lnTo>
                      <a:pt x="169" y="392"/>
                    </a:lnTo>
                    <a:lnTo>
                      <a:pt x="163" y="396"/>
                    </a:lnTo>
                    <a:lnTo>
                      <a:pt x="152" y="396"/>
                    </a:lnTo>
                    <a:lnTo>
                      <a:pt x="147" y="395"/>
                    </a:lnTo>
                    <a:lnTo>
                      <a:pt x="141" y="389"/>
                    </a:lnTo>
                    <a:lnTo>
                      <a:pt x="133" y="387"/>
                    </a:lnTo>
                    <a:lnTo>
                      <a:pt x="129" y="388"/>
                    </a:lnTo>
                    <a:lnTo>
                      <a:pt x="129" y="387"/>
                    </a:lnTo>
                    <a:lnTo>
                      <a:pt x="129" y="385"/>
                    </a:lnTo>
                    <a:lnTo>
                      <a:pt x="127" y="385"/>
                    </a:lnTo>
                    <a:lnTo>
                      <a:pt x="123" y="389"/>
                    </a:lnTo>
                    <a:lnTo>
                      <a:pt x="123" y="395"/>
                    </a:lnTo>
                    <a:lnTo>
                      <a:pt x="127" y="399"/>
                    </a:lnTo>
                    <a:lnTo>
                      <a:pt x="129" y="405"/>
                    </a:lnTo>
                    <a:lnTo>
                      <a:pt x="129" y="413"/>
                    </a:lnTo>
                    <a:lnTo>
                      <a:pt x="129" y="417"/>
                    </a:lnTo>
                    <a:lnTo>
                      <a:pt x="133" y="419"/>
                    </a:lnTo>
                    <a:lnTo>
                      <a:pt x="139" y="419"/>
                    </a:lnTo>
                    <a:lnTo>
                      <a:pt x="141" y="420"/>
                    </a:lnTo>
                    <a:lnTo>
                      <a:pt x="139" y="421"/>
                    </a:lnTo>
                    <a:lnTo>
                      <a:pt x="137" y="423"/>
                    </a:lnTo>
                    <a:lnTo>
                      <a:pt x="140" y="424"/>
                    </a:lnTo>
                    <a:lnTo>
                      <a:pt x="147" y="422"/>
                    </a:lnTo>
                    <a:lnTo>
                      <a:pt x="147" y="420"/>
                    </a:lnTo>
                    <a:lnTo>
                      <a:pt x="144" y="419"/>
                    </a:lnTo>
                    <a:lnTo>
                      <a:pt x="143" y="418"/>
                    </a:lnTo>
                    <a:lnTo>
                      <a:pt x="144" y="417"/>
                    </a:lnTo>
                    <a:lnTo>
                      <a:pt x="147" y="417"/>
                    </a:lnTo>
                    <a:lnTo>
                      <a:pt x="150" y="414"/>
                    </a:lnTo>
                    <a:lnTo>
                      <a:pt x="153" y="415"/>
                    </a:lnTo>
                    <a:lnTo>
                      <a:pt x="156" y="419"/>
                    </a:lnTo>
                    <a:lnTo>
                      <a:pt x="155" y="422"/>
                    </a:lnTo>
                    <a:lnTo>
                      <a:pt x="153" y="423"/>
                    </a:lnTo>
                    <a:lnTo>
                      <a:pt x="156" y="425"/>
                    </a:lnTo>
                    <a:lnTo>
                      <a:pt x="158" y="429"/>
                    </a:lnTo>
                    <a:lnTo>
                      <a:pt x="156" y="432"/>
                    </a:lnTo>
                    <a:lnTo>
                      <a:pt x="150" y="436"/>
                    </a:lnTo>
                    <a:lnTo>
                      <a:pt x="147" y="435"/>
                    </a:lnTo>
                    <a:lnTo>
                      <a:pt x="146" y="432"/>
                    </a:lnTo>
                    <a:lnTo>
                      <a:pt x="146" y="430"/>
                    </a:lnTo>
                    <a:lnTo>
                      <a:pt x="146" y="428"/>
                    </a:lnTo>
                    <a:lnTo>
                      <a:pt x="142" y="426"/>
                    </a:lnTo>
                    <a:lnTo>
                      <a:pt x="137" y="428"/>
                    </a:lnTo>
                    <a:lnTo>
                      <a:pt x="133" y="430"/>
                    </a:lnTo>
                    <a:lnTo>
                      <a:pt x="132" y="432"/>
                    </a:lnTo>
                    <a:lnTo>
                      <a:pt x="134" y="435"/>
                    </a:lnTo>
                    <a:lnTo>
                      <a:pt x="138" y="435"/>
                    </a:lnTo>
                    <a:lnTo>
                      <a:pt x="144" y="437"/>
                    </a:lnTo>
                    <a:lnTo>
                      <a:pt x="144" y="438"/>
                    </a:lnTo>
                    <a:lnTo>
                      <a:pt x="140" y="442"/>
                    </a:lnTo>
                    <a:lnTo>
                      <a:pt x="134" y="444"/>
                    </a:lnTo>
                    <a:lnTo>
                      <a:pt x="131" y="446"/>
                    </a:lnTo>
                    <a:lnTo>
                      <a:pt x="133" y="447"/>
                    </a:lnTo>
                    <a:lnTo>
                      <a:pt x="131" y="451"/>
                    </a:lnTo>
                    <a:lnTo>
                      <a:pt x="129" y="454"/>
                    </a:lnTo>
                    <a:lnTo>
                      <a:pt x="129" y="458"/>
                    </a:lnTo>
                    <a:lnTo>
                      <a:pt x="131" y="460"/>
                    </a:lnTo>
                    <a:lnTo>
                      <a:pt x="131" y="463"/>
                    </a:lnTo>
                    <a:lnTo>
                      <a:pt x="130" y="465"/>
                    </a:lnTo>
                    <a:lnTo>
                      <a:pt x="135" y="469"/>
                    </a:lnTo>
                    <a:lnTo>
                      <a:pt x="135" y="471"/>
                    </a:lnTo>
                    <a:lnTo>
                      <a:pt x="133" y="473"/>
                    </a:lnTo>
                    <a:lnTo>
                      <a:pt x="134" y="474"/>
                    </a:lnTo>
                    <a:lnTo>
                      <a:pt x="129" y="478"/>
                    </a:lnTo>
                    <a:lnTo>
                      <a:pt x="129" y="481"/>
                    </a:lnTo>
                    <a:lnTo>
                      <a:pt x="128" y="482"/>
                    </a:lnTo>
                    <a:lnTo>
                      <a:pt x="131" y="484"/>
                    </a:lnTo>
                    <a:lnTo>
                      <a:pt x="133" y="485"/>
                    </a:lnTo>
                    <a:lnTo>
                      <a:pt x="132" y="487"/>
                    </a:lnTo>
                    <a:lnTo>
                      <a:pt x="127" y="488"/>
                    </a:lnTo>
                    <a:lnTo>
                      <a:pt x="124" y="487"/>
                    </a:lnTo>
                    <a:lnTo>
                      <a:pt x="118" y="488"/>
                    </a:lnTo>
                    <a:lnTo>
                      <a:pt x="115" y="491"/>
                    </a:lnTo>
                    <a:lnTo>
                      <a:pt x="111" y="491"/>
                    </a:lnTo>
                    <a:lnTo>
                      <a:pt x="107" y="495"/>
                    </a:lnTo>
                    <a:lnTo>
                      <a:pt x="106" y="496"/>
                    </a:lnTo>
                    <a:lnTo>
                      <a:pt x="104" y="500"/>
                    </a:lnTo>
                    <a:lnTo>
                      <a:pt x="103" y="503"/>
                    </a:lnTo>
                    <a:lnTo>
                      <a:pt x="99" y="506"/>
                    </a:lnTo>
                    <a:lnTo>
                      <a:pt x="98" y="508"/>
                    </a:lnTo>
                    <a:lnTo>
                      <a:pt x="101" y="511"/>
                    </a:lnTo>
                    <a:lnTo>
                      <a:pt x="101" y="515"/>
                    </a:lnTo>
                    <a:lnTo>
                      <a:pt x="105" y="521"/>
                    </a:lnTo>
                    <a:lnTo>
                      <a:pt x="108" y="524"/>
                    </a:lnTo>
                    <a:lnTo>
                      <a:pt x="110" y="525"/>
                    </a:lnTo>
                    <a:lnTo>
                      <a:pt x="115" y="529"/>
                    </a:lnTo>
                    <a:lnTo>
                      <a:pt x="123" y="535"/>
                    </a:lnTo>
                    <a:lnTo>
                      <a:pt x="129" y="535"/>
                    </a:lnTo>
                    <a:lnTo>
                      <a:pt x="132" y="535"/>
                    </a:lnTo>
                    <a:lnTo>
                      <a:pt x="134" y="534"/>
                    </a:lnTo>
                    <a:lnTo>
                      <a:pt x="137" y="535"/>
                    </a:lnTo>
                    <a:lnTo>
                      <a:pt x="138" y="537"/>
                    </a:lnTo>
                    <a:lnTo>
                      <a:pt x="137" y="538"/>
                    </a:lnTo>
                    <a:lnTo>
                      <a:pt x="137" y="540"/>
                    </a:lnTo>
                    <a:lnTo>
                      <a:pt x="139" y="545"/>
                    </a:lnTo>
                    <a:lnTo>
                      <a:pt x="139" y="548"/>
                    </a:lnTo>
                    <a:lnTo>
                      <a:pt x="135" y="551"/>
                    </a:lnTo>
                    <a:lnTo>
                      <a:pt x="138" y="551"/>
                    </a:lnTo>
                    <a:lnTo>
                      <a:pt x="141" y="554"/>
                    </a:lnTo>
                    <a:lnTo>
                      <a:pt x="139" y="554"/>
                    </a:lnTo>
                    <a:lnTo>
                      <a:pt x="138" y="557"/>
                    </a:lnTo>
                    <a:lnTo>
                      <a:pt x="139" y="558"/>
                    </a:lnTo>
                    <a:lnTo>
                      <a:pt x="136" y="562"/>
                    </a:lnTo>
                    <a:lnTo>
                      <a:pt x="133" y="563"/>
                    </a:lnTo>
                    <a:lnTo>
                      <a:pt x="132" y="566"/>
                    </a:lnTo>
                    <a:lnTo>
                      <a:pt x="130" y="567"/>
                    </a:lnTo>
                    <a:lnTo>
                      <a:pt x="129" y="570"/>
                    </a:lnTo>
                    <a:lnTo>
                      <a:pt x="127" y="575"/>
                    </a:lnTo>
                    <a:lnTo>
                      <a:pt x="123" y="575"/>
                    </a:lnTo>
                    <a:lnTo>
                      <a:pt x="119" y="578"/>
                    </a:lnTo>
                    <a:lnTo>
                      <a:pt x="118" y="582"/>
                    </a:lnTo>
                    <a:lnTo>
                      <a:pt x="117" y="586"/>
                    </a:lnTo>
                    <a:lnTo>
                      <a:pt x="113" y="589"/>
                    </a:lnTo>
                    <a:lnTo>
                      <a:pt x="113" y="592"/>
                    </a:lnTo>
                    <a:lnTo>
                      <a:pt x="114" y="590"/>
                    </a:lnTo>
                    <a:lnTo>
                      <a:pt x="117" y="591"/>
                    </a:lnTo>
                    <a:lnTo>
                      <a:pt x="119" y="596"/>
                    </a:lnTo>
                    <a:lnTo>
                      <a:pt x="117" y="598"/>
                    </a:lnTo>
                    <a:lnTo>
                      <a:pt x="114" y="602"/>
                    </a:lnTo>
                    <a:lnTo>
                      <a:pt x="113" y="605"/>
                    </a:lnTo>
                    <a:lnTo>
                      <a:pt x="109" y="608"/>
                    </a:lnTo>
                    <a:lnTo>
                      <a:pt x="107" y="607"/>
                    </a:lnTo>
                    <a:lnTo>
                      <a:pt x="105" y="605"/>
                    </a:lnTo>
                    <a:lnTo>
                      <a:pt x="102" y="603"/>
                    </a:lnTo>
                    <a:lnTo>
                      <a:pt x="104" y="606"/>
                    </a:lnTo>
                    <a:lnTo>
                      <a:pt x="104" y="609"/>
                    </a:lnTo>
                    <a:lnTo>
                      <a:pt x="106" y="611"/>
                    </a:lnTo>
                    <a:lnTo>
                      <a:pt x="104" y="614"/>
                    </a:lnTo>
                    <a:lnTo>
                      <a:pt x="99" y="617"/>
                    </a:lnTo>
                    <a:lnTo>
                      <a:pt x="97" y="622"/>
                    </a:lnTo>
                    <a:lnTo>
                      <a:pt x="98" y="628"/>
                    </a:lnTo>
                    <a:lnTo>
                      <a:pt x="102" y="633"/>
                    </a:lnTo>
                    <a:lnTo>
                      <a:pt x="105" y="641"/>
                    </a:lnTo>
                    <a:lnTo>
                      <a:pt x="105" y="644"/>
                    </a:lnTo>
                    <a:lnTo>
                      <a:pt x="106" y="644"/>
                    </a:lnTo>
                    <a:lnTo>
                      <a:pt x="105" y="647"/>
                    </a:lnTo>
                    <a:lnTo>
                      <a:pt x="102" y="648"/>
                    </a:lnTo>
                    <a:lnTo>
                      <a:pt x="104" y="650"/>
                    </a:lnTo>
                    <a:lnTo>
                      <a:pt x="107" y="650"/>
                    </a:lnTo>
                    <a:lnTo>
                      <a:pt x="109" y="653"/>
                    </a:lnTo>
                    <a:lnTo>
                      <a:pt x="110" y="656"/>
                    </a:lnTo>
                    <a:lnTo>
                      <a:pt x="116" y="660"/>
                    </a:lnTo>
                    <a:lnTo>
                      <a:pt x="120" y="662"/>
                    </a:lnTo>
                    <a:lnTo>
                      <a:pt x="120" y="666"/>
                    </a:lnTo>
                    <a:lnTo>
                      <a:pt x="119" y="665"/>
                    </a:lnTo>
                    <a:lnTo>
                      <a:pt x="114" y="663"/>
                    </a:lnTo>
                    <a:lnTo>
                      <a:pt x="109" y="660"/>
                    </a:lnTo>
                    <a:lnTo>
                      <a:pt x="106" y="659"/>
                    </a:lnTo>
                    <a:lnTo>
                      <a:pt x="104" y="658"/>
                    </a:lnTo>
                    <a:lnTo>
                      <a:pt x="81" y="658"/>
                    </a:lnTo>
                    <a:lnTo>
                      <a:pt x="67" y="660"/>
                    </a:lnTo>
                    <a:lnTo>
                      <a:pt x="64" y="658"/>
                    </a:lnTo>
                    <a:lnTo>
                      <a:pt x="55" y="658"/>
                    </a:lnTo>
                    <a:lnTo>
                      <a:pt x="52" y="650"/>
                    </a:lnTo>
                    <a:lnTo>
                      <a:pt x="50" y="643"/>
                    </a:lnTo>
                    <a:lnTo>
                      <a:pt x="46" y="641"/>
                    </a:lnTo>
                    <a:lnTo>
                      <a:pt x="45" y="630"/>
                    </a:lnTo>
                    <a:lnTo>
                      <a:pt x="45" y="625"/>
                    </a:lnTo>
                    <a:lnTo>
                      <a:pt x="42" y="625"/>
                    </a:lnTo>
                    <a:lnTo>
                      <a:pt x="36" y="628"/>
                    </a:lnTo>
                    <a:lnTo>
                      <a:pt x="32" y="632"/>
                    </a:lnTo>
                    <a:lnTo>
                      <a:pt x="28" y="632"/>
                    </a:lnTo>
                    <a:lnTo>
                      <a:pt x="21" y="616"/>
                    </a:lnTo>
                    <a:lnTo>
                      <a:pt x="20" y="610"/>
                    </a:lnTo>
                    <a:lnTo>
                      <a:pt x="21" y="595"/>
                    </a:lnTo>
                    <a:lnTo>
                      <a:pt x="25" y="589"/>
                    </a:lnTo>
                    <a:lnTo>
                      <a:pt x="32" y="583"/>
                    </a:lnTo>
                    <a:lnTo>
                      <a:pt x="34" y="574"/>
                    </a:lnTo>
                    <a:lnTo>
                      <a:pt x="32" y="564"/>
                    </a:lnTo>
                    <a:lnTo>
                      <a:pt x="30" y="557"/>
                    </a:lnTo>
                    <a:lnTo>
                      <a:pt x="31" y="550"/>
                    </a:lnTo>
                    <a:lnTo>
                      <a:pt x="35" y="545"/>
                    </a:lnTo>
                    <a:lnTo>
                      <a:pt x="31" y="537"/>
                    </a:lnTo>
                    <a:lnTo>
                      <a:pt x="32" y="533"/>
                    </a:lnTo>
                    <a:lnTo>
                      <a:pt x="35" y="530"/>
                    </a:lnTo>
                    <a:lnTo>
                      <a:pt x="33" y="522"/>
                    </a:lnTo>
                    <a:lnTo>
                      <a:pt x="32" y="512"/>
                    </a:lnTo>
                    <a:lnTo>
                      <a:pt x="29" y="508"/>
                    </a:lnTo>
                    <a:lnTo>
                      <a:pt x="29" y="504"/>
                    </a:lnTo>
                    <a:lnTo>
                      <a:pt x="34" y="500"/>
                    </a:lnTo>
                    <a:lnTo>
                      <a:pt x="34" y="496"/>
                    </a:lnTo>
                    <a:lnTo>
                      <a:pt x="30" y="489"/>
                    </a:lnTo>
                    <a:lnTo>
                      <a:pt x="24" y="486"/>
                    </a:lnTo>
                    <a:lnTo>
                      <a:pt x="21" y="486"/>
                    </a:lnTo>
                    <a:lnTo>
                      <a:pt x="20" y="487"/>
                    </a:lnTo>
                    <a:lnTo>
                      <a:pt x="17" y="485"/>
                    </a:lnTo>
                    <a:lnTo>
                      <a:pt x="19" y="481"/>
                    </a:lnTo>
                    <a:lnTo>
                      <a:pt x="26" y="481"/>
                    </a:lnTo>
                    <a:lnTo>
                      <a:pt x="30" y="477"/>
                    </a:lnTo>
                    <a:lnTo>
                      <a:pt x="30" y="472"/>
                    </a:lnTo>
                    <a:lnTo>
                      <a:pt x="28" y="471"/>
                    </a:lnTo>
                    <a:lnTo>
                      <a:pt x="25" y="473"/>
                    </a:lnTo>
                    <a:lnTo>
                      <a:pt x="21" y="472"/>
                    </a:lnTo>
                    <a:lnTo>
                      <a:pt x="20" y="465"/>
                    </a:lnTo>
                    <a:lnTo>
                      <a:pt x="17" y="457"/>
                    </a:lnTo>
                    <a:lnTo>
                      <a:pt x="16" y="452"/>
                    </a:lnTo>
                    <a:lnTo>
                      <a:pt x="17" y="446"/>
                    </a:lnTo>
                    <a:lnTo>
                      <a:pt x="11" y="445"/>
                    </a:lnTo>
                    <a:lnTo>
                      <a:pt x="9" y="439"/>
                    </a:lnTo>
                    <a:lnTo>
                      <a:pt x="8" y="425"/>
                    </a:lnTo>
                    <a:lnTo>
                      <a:pt x="12" y="424"/>
                    </a:lnTo>
                    <a:lnTo>
                      <a:pt x="13" y="419"/>
                    </a:lnTo>
                    <a:lnTo>
                      <a:pt x="11" y="415"/>
                    </a:lnTo>
                    <a:lnTo>
                      <a:pt x="8" y="413"/>
                    </a:lnTo>
                    <a:lnTo>
                      <a:pt x="6" y="405"/>
                    </a:lnTo>
                    <a:lnTo>
                      <a:pt x="5" y="393"/>
                    </a:lnTo>
                    <a:lnTo>
                      <a:pt x="7" y="381"/>
                    </a:lnTo>
                    <a:lnTo>
                      <a:pt x="3" y="375"/>
                    </a:lnTo>
                    <a:lnTo>
                      <a:pt x="2" y="368"/>
                    </a:lnTo>
                    <a:lnTo>
                      <a:pt x="9" y="359"/>
                    </a:lnTo>
                    <a:lnTo>
                      <a:pt x="10" y="350"/>
                    </a:lnTo>
                    <a:lnTo>
                      <a:pt x="16" y="348"/>
                    </a:lnTo>
                    <a:lnTo>
                      <a:pt x="18" y="345"/>
                    </a:lnTo>
                    <a:lnTo>
                      <a:pt x="7" y="324"/>
                    </a:lnTo>
                    <a:lnTo>
                      <a:pt x="8" y="317"/>
                    </a:lnTo>
                    <a:lnTo>
                      <a:pt x="8" y="312"/>
                    </a:lnTo>
                    <a:lnTo>
                      <a:pt x="8" y="299"/>
                    </a:lnTo>
                    <a:lnTo>
                      <a:pt x="12" y="293"/>
                    </a:lnTo>
                    <a:lnTo>
                      <a:pt x="17" y="288"/>
                    </a:lnTo>
                    <a:lnTo>
                      <a:pt x="16" y="281"/>
                    </a:lnTo>
                    <a:lnTo>
                      <a:pt x="12" y="275"/>
                    </a:lnTo>
                    <a:lnTo>
                      <a:pt x="9" y="273"/>
                    </a:lnTo>
                    <a:lnTo>
                      <a:pt x="14" y="268"/>
                    </a:lnTo>
                    <a:lnTo>
                      <a:pt x="13" y="260"/>
                    </a:lnTo>
                    <a:lnTo>
                      <a:pt x="16" y="253"/>
                    </a:lnTo>
                    <a:lnTo>
                      <a:pt x="19" y="252"/>
                    </a:lnTo>
                    <a:lnTo>
                      <a:pt x="20" y="244"/>
                    </a:lnTo>
                    <a:lnTo>
                      <a:pt x="19" y="230"/>
                    </a:lnTo>
                    <a:lnTo>
                      <a:pt x="16" y="228"/>
                    </a:lnTo>
                    <a:lnTo>
                      <a:pt x="14" y="217"/>
                    </a:lnTo>
                    <a:lnTo>
                      <a:pt x="11" y="212"/>
                    </a:lnTo>
                    <a:lnTo>
                      <a:pt x="6" y="206"/>
                    </a:lnTo>
                    <a:lnTo>
                      <a:pt x="5" y="202"/>
                    </a:lnTo>
                    <a:lnTo>
                      <a:pt x="2" y="198"/>
                    </a:lnTo>
                    <a:lnTo>
                      <a:pt x="0" y="189"/>
                    </a:lnTo>
                    <a:lnTo>
                      <a:pt x="1" y="183"/>
                    </a:lnTo>
                    <a:lnTo>
                      <a:pt x="6" y="180"/>
                    </a:lnTo>
                    <a:lnTo>
                      <a:pt x="7" y="171"/>
                    </a:lnTo>
                    <a:lnTo>
                      <a:pt x="10" y="167"/>
                    </a:lnTo>
                    <a:lnTo>
                      <a:pt x="10" y="160"/>
                    </a:lnTo>
                    <a:lnTo>
                      <a:pt x="6" y="154"/>
                    </a:lnTo>
                    <a:lnTo>
                      <a:pt x="6" y="143"/>
                    </a:lnTo>
                    <a:lnTo>
                      <a:pt x="8" y="141"/>
                    </a:lnTo>
                    <a:lnTo>
                      <a:pt x="10" y="127"/>
                    </a:lnTo>
                    <a:lnTo>
                      <a:pt x="13" y="122"/>
                    </a:lnTo>
                    <a:lnTo>
                      <a:pt x="19" y="111"/>
                    </a:lnTo>
                    <a:lnTo>
                      <a:pt x="23" y="106"/>
                    </a:lnTo>
                    <a:lnTo>
                      <a:pt x="26" y="104"/>
                    </a:lnTo>
                    <a:lnTo>
                      <a:pt x="29" y="101"/>
                    </a:lnTo>
                    <a:lnTo>
                      <a:pt x="27" y="100"/>
                    </a:lnTo>
                    <a:lnTo>
                      <a:pt x="27" y="95"/>
                    </a:lnTo>
                    <a:lnTo>
                      <a:pt x="26" y="92"/>
                    </a:lnTo>
                    <a:lnTo>
                      <a:pt x="23" y="90"/>
                    </a:lnTo>
                    <a:lnTo>
                      <a:pt x="24" y="87"/>
                    </a:lnTo>
                    <a:lnTo>
                      <a:pt x="28" y="84"/>
                    </a:lnTo>
                    <a:lnTo>
                      <a:pt x="28" y="79"/>
                    </a:lnTo>
                    <a:lnTo>
                      <a:pt x="24" y="75"/>
                    </a:lnTo>
                    <a:lnTo>
                      <a:pt x="22" y="69"/>
                    </a:lnTo>
                    <a:lnTo>
                      <a:pt x="25" y="65"/>
                    </a:lnTo>
                    <a:lnTo>
                      <a:pt x="24" y="62"/>
                    </a:lnTo>
                    <a:lnTo>
                      <a:pt x="21" y="58"/>
                    </a:lnTo>
                    <a:lnTo>
                      <a:pt x="21" y="55"/>
                    </a:lnTo>
                    <a:lnTo>
                      <a:pt x="43" y="43"/>
                    </a:lnTo>
                    <a:lnTo>
                      <a:pt x="48" y="23"/>
                    </a:lnTo>
                    <a:lnTo>
                      <a:pt x="46" y="18"/>
                    </a:lnTo>
                    <a:lnTo>
                      <a:pt x="46" y="18"/>
                    </a:lnTo>
                    <a:lnTo>
                      <a:pt x="46" y="18"/>
                    </a:lnTo>
                    <a:close/>
                    <a:moveTo>
                      <a:pt x="197" y="727"/>
                    </a:moveTo>
                    <a:lnTo>
                      <a:pt x="200" y="728"/>
                    </a:lnTo>
                    <a:lnTo>
                      <a:pt x="204" y="727"/>
                    </a:lnTo>
                    <a:lnTo>
                      <a:pt x="208" y="726"/>
                    </a:lnTo>
                    <a:lnTo>
                      <a:pt x="211" y="722"/>
                    </a:lnTo>
                    <a:lnTo>
                      <a:pt x="207" y="722"/>
                    </a:lnTo>
                    <a:lnTo>
                      <a:pt x="204" y="725"/>
                    </a:lnTo>
                    <a:lnTo>
                      <a:pt x="199" y="725"/>
                    </a:lnTo>
                    <a:lnTo>
                      <a:pt x="197" y="727"/>
                    </a:lnTo>
                    <a:lnTo>
                      <a:pt x="197" y="727"/>
                    </a:lnTo>
                    <a:lnTo>
                      <a:pt x="197" y="727"/>
                    </a:lnTo>
                    <a:close/>
                    <a:moveTo>
                      <a:pt x="115" y="670"/>
                    </a:moveTo>
                    <a:lnTo>
                      <a:pt x="115" y="669"/>
                    </a:lnTo>
                    <a:lnTo>
                      <a:pt x="118" y="673"/>
                    </a:lnTo>
                    <a:lnTo>
                      <a:pt x="124" y="679"/>
                    </a:lnTo>
                    <a:lnTo>
                      <a:pt x="126" y="688"/>
                    </a:lnTo>
                    <a:lnTo>
                      <a:pt x="124" y="686"/>
                    </a:lnTo>
                    <a:lnTo>
                      <a:pt x="121" y="687"/>
                    </a:lnTo>
                    <a:lnTo>
                      <a:pt x="120" y="690"/>
                    </a:lnTo>
                    <a:lnTo>
                      <a:pt x="115" y="670"/>
                    </a:lnTo>
                    <a:lnTo>
                      <a:pt x="115" y="670"/>
                    </a:lnTo>
                    <a:lnTo>
                      <a:pt x="115" y="670"/>
                    </a:lnTo>
                    <a:close/>
                    <a:moveTo>
                      <a:pt x="120" y="691"/>
                    </a:moveTo>
                    <a:lnTo>
                      <a:pt x="124" y="692"/>
                    </a:lnTo>
                    <a:lnTo>
                      <a:pt x="129" y="691"/>
                    </a:lnTo>
                    <a:lnTo>
                      <a:pt x="130" y="695"/>
                    </a:lnTo>
                    <a:lnTo>
                      <a:pt x="132" y="701"/>
                    </a:lnTo>
                    <a:lnTo>
                      <a:pt x="137" y="702"/>
                    </a:lnTo>
                    <a:lnTo>
                      <a:pt x="142" y="706"/>
                    </a:lnTo>
                    <a:lnTo>
                      <a:pt x="143" y="709"/>
                    </a:lnTo>
                    <a:lnTo>
                      <a:pt x="147" y="710"/>
                    </a:lnTo>
                    <a:lnTo>
                      <a:pt x="161" y="715"/>
                    </a:lnTo>
                    <a:lnTo>
                      <a:pt x="163" y="717"/>
                    </a:lnTo>
                    <a:lnTo>
                      <a:pt x="168" y="718"/>
                    </a:lnTo>
                    <a:lnTo>
                      <a:pt x="172" y="723"/>
                    </a:lnTo>
                    <a:lnTo>
                      <a:pt x="176" y="723"/>
                    </a:lnTo>
                    <a:lnTo>
                      <a:pt x="183" y="721"/>
                    </a:lnTo>
                    <a:lnTo>
                      <a:pt x="186" y="723"/>
                    </a:lnTo>
                    <a:lnTo>
                      <a:pt x="187" y="726"/>
                    </a:lnTo>
                    <a:lnTo>
                      <a:pt x="182" y="727"/>
                    </a:lnTo>
                    <a:lnTo>
                      <a:pt x="180" y="727"/>
                    </a:lnTo>
                    <a:lnTo>
                      <a:pt x="176" y="727"/>
                    </a:lnTo>
                    <a:lnTo>
                      <a:pt x="175" y="730"/>
                    </a:lnTo>
                    <a:lnTo>
                      <a:pt x="172" y="734"/>
                    </a:lnTo>
                    <a:lnTo>
                      <a:pt x="168" y="735"/>
                    </a:lnTo>
                    <a:lnTo>
                      <a:pt x="164" y="733"/>
                    </a:lnTo>
                    <a:lnTo>
                      <a:pt x="160" y="731"/>
                    </a:lnTo>
                    <a:lnTo>
                      <a:pt x="152" y="730"/>
                    </a:lnTo>
                    <a:lnTo>
                      <a:pt x="147" y="731"/>
                    </a:lnTo>
                    <a:lnTo>
                      <a:pt x="139" y="730"/>
                    </a:lnTo>
                    <a:lnTo>
                      <a:pt x="133" y="732"/>
                    </a:lnTo>
                    <a:lnTo>
                      <a:pt x="131" y="732"/>
                    </a:lnTo>
                    <a:lnTo>
                      <a:pt x="129" y="726"/>
                    </a:lnTo>
                    <a:lnTo>
                      <a:pt x="138" y="726"/>
                    </a:lnTo>
                    <a:lnTo>
                      <a:pt x="143" y="724"/>
                    </a:lnTo>
                    <a:lnTo>
                      <a:pt x="146" y="723"/>
                    </a:lnTo>
                    <a:lnTo>
                      <a:pt x="147" y="722"/>
                    </a:lnTo>
                    <a:lnTo>
                      <a:pt x="142" y="723"/>
                    </a:lnTo>
                    <a:lnTo>
                      <a:pt x="137" y="723"/>
                    </a:lnTo>
                    <a:lnTo>
                      <a:pt x="130" y="724"/>
                    </a:lnTo>
                    <a:lnTo>
                      <a:pt x="129" y="724"/>
                    </a:lnTo>
                    <a:lnTo>
                      <a:pt x="120" y="691"/>
                    </a:lnTo>
                    <a:lnTo>
                      <a:pt x="120" y="691"/>
                    </a:lnTo>
                    <a:close/>
                  </a:path>
                </a:pathLst>
              </a:custGeom>
              <a:solidFill>
                <a:schemeClr val="accent2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069" name="Freeform 71"/>
              <p:cNvSpPr>
                <a:spLocks noEditPoints="1"/>
              </p:cNvSpPr>
              <p:nvPr userDrawn="1"/>
            </p:nvSpPr>
            <p:spPr bwMode="auto">
              <a:xfrm>
                <a:off x="2178" y="3250"/>
                <a:ext cx="200" cy="841"/>
              </a:xfrm>
              <a:custGeom>
                <a:avLst/>
                <a:gdLst>
                  <a:gd name="T0" fmla="*/ 143 w 209"/>
                  <a:gd name="T1" fmla="*/ 845 h 880"/>
                  <a:gd name="T2" fmla="*/ 140 w 209"/>
                  <a:gd name="T3" fmla="*/ 855 h 880"/>
                  <a:gd name="T4" fmla="*/ 173 w 209"/>
                  <a:gd name="T5" fmla="*/ 855 h 880"/>
                  <a:gd name="T6" fmla="*/ 142 w 209"/>
                  <a:gd name="T7" fmla="*/ 818 h 880"/>
                  <a:gd name="T8" fmla="*/ 167 w 209"/>
                  <a:gd name="T9" fmla="*/ 808 h 880"/>
                  <a:gd name="T10" fmla="*/ 62 w 209"/>
                  <a:gd name="T11" fmla="*/ 724 h 880"/>
                  <a:gd name="T12" fmla="*/ 62 w 209"/>
                  <a:gd name="T13" fmla="*/ 595 h 880"/>
                  <a:gd name="T14" fmla="*/ 47 w 209"/>
                  <a:gd name="T15" fmla="*/ 497 h 880"/>
                  <a:gd name="T16" fmla="*/ 62 w 209"/>
                  <a:gd name="T17" fmla="*/ 341 h 880"/>
                  <a:gd name="T18" fmla="*/ 69 w 209"/>
                  <a:gd name="T19" fmla="*/ 195 h 880"/>
                  <a:gd name="T20" fmla="*/ 66 w 209"/>
                  <a:gd name="T21" fmla="*/ 71 h 880"/>
                  <a:gd name="T22" fmla="*/ 31 w 209"/>
                  <a:gd name="T23" fmla="*/ 15 h 880"/>
                  <a:gd name="T24" fmla="*/ 21 w 209"/>
                  <a:gd name="T25" fmla="*/ 113 h 880"/>
                  <a:gd name="T26" fmla="*/ 20 w 209"/>
                  <a:gd name="T27" fmla="*/ 217 h 880"/>
                  <a:gd name="T28" fmla="*/ 25 w 209"/>
                  <a:gd name="T29" fmla="*/ 310 h 880"/>
                  <a:gd name="T30" fmla="*/ 16 w 209"/>
                  <a:gd name="T31" fmla="*/ 378 h 880"/>
                  <a:gd name="T32" fmla="*/ 7 w 209"/>
                  <a:gd name="T33" fmla="*/ 434 h 880"/>
                  <a:gd name="T34" fmla="*/ 9 w 209"/>
                  <a:gd name="T35" fmla="*/ 505 h 880"/>
                  <a:gd name="T36" fmla="*/ 43 w 209"/>
                  <a:gd name="T37" fmla="*/ 538 h 880"/>
                  <a:gd name="T38" fmla="*/ 36 w 209"/>
                  <a:gd name="T39" fmla="*/ 578 h 880"/>
                  <a:gd name="T40" fmla="*/ 36 w 209"/>
                  <a:gd name="T41" fmla="*/ 636 h 880"/>
                  <a:gd name="T42" fmla="*/ 10 w 209"/>
                  <a:gd name="T43" fmla="*/ 623 h 880"/>
                  <a:gd name="T44" fmla="*/ 24 w 209"/>
                  <a:gd name="T45" fmla="*/ 645 h 880"/>
                  <a:gd name="T46" fmla="*/ 43 w 209"/>
                  <a:gd name="T47" fmla="*/ 668 h 880"/>
                  <a:gd name="T48" fmla="*/ 41 w 209"/>
                  <a:gd name="T49" fmla="*/ 693 h 880"/>
                  <a:gd name="T50" fmla="*/ 46 w 209"/>
                  <a:gd name="T51" fmla="*/ 724 h 880"/>
                  <a:gd name="T52" fmla="*/ 65 w 209"/>
                  <a:gd name="T53" fmla="*/ 762 h 880"/>
                  <a:gd name="T54" fmla="*/ 83 w 209"/>
                  <a:gd name="T55" fmla="*/ 773 h 880"/>
                  <a:gd name="T56" fmla="*/ 90 w 209"/>
                  <a:gd name="T57" fmla="*/ 788 h 880"/>
                  <a:gd name="T58" fmla="*/ 79 w 209"/>
                  <a:gd name="T59" fmla="*/ 797 h 880"/>
                  <a:gd name="T60" fmla="*/ 97 w 209"/>
                  <a:gd name="T61" fmla="*/ 792 h 880"/>
                  <a:gd name="T62" fmla="*/ 91 w 209"/>
                  <a:gd name="T63" fmla="*/ 810 h 880"/>
                  <a:gd name="T64" fmla="*/ 121 w 209"/>
                  <a:gd name="T65" fmla="*/ 802 h 880"/>
                  <a:gd name="T66" fmla="*/ 125 w 209"/>
                  <a:gd name="T67" fmla="*/ 829 h 880"/>
                  <a:gd name="T68" fmla="*/ 161 w 209"/>
                  <a:gd name="T69" fmla="*/ 780 h 880"/>
                  <a:gd name="T70" fmla="*/ 11 w 209"/>
                  <a:gd name="T71" fmla="*/ 543 h 880"/>
                  <a:gd name="T72" fmla="*/ 31 w 209"/>
                  <a:gd name="T73" fmla="*/ 532 h 880"/>
                  <a:gd name="T74" fmla="*/ 26 w 209"/>
                  <a:gd name="T75" fmla="*/ 572 h 880"/>
                  <a:gd name="T76" fmla="*/ 11 w 209"/>
                  <a:gd name="T77" fmla="*/ 592 h 880"/>
                  <a:gd name="T78" fmla="*/ 17 w 209"/>
                  <a:gd name="T79" fmla="*/ 590 h 880"/>
                  <a:gd name="T80" fmla="*/ 39 w 209"/>
                  <a:gd name="T81" fmla="*/ 584 h 880"/>
                  <a:gd name="T82" fmla="*/ 22 w 209"/>
                  <a:gd name="T83" fmla="*/ 602 h 880"/>
                  <a:gd name="T84" fmla="*/ 28 w 209"/>
                  <a:gd name="T85" fmla="*/ 687 h 880"/>
                  <a:gd name="T86" fmla="*/ 23 w 209"/>
                  <a:gd name="T87" fmla="*/ 684 h 880"/>
                  <a:gd name="T88" fmla="*/ 21 w 209"/>
                  <a:gd name="T89" fmla="*/ 704 h 880"/>
                  <a:gd name="T90" fmla="*/ 25 w 209"/>
                  <a:gd name="T91" fmla="*/ 710 h 880"/>
                  <a:gd name="T92" fmla="*/ 38 w 209"/>
                  <a:gd name="T93" fmla="*/ 723 h 880"/>
                  <a:gd name="T94" fmla="*/ 40 w 209"/>
                  <a:gd name="T95" fmla="*/ 748 h 880"/>
                  <a:gd name="T96" fmla="*/ 42 w 209"/>
                  <a:gd name="T97" fmla="*/ 747 h 880"/>
                  <a:gd name="T98" fmla="*/ 46 w 209"/>
                  <a:gd name="T99" fmla="*/ 772 h 880"/>
                  <a:gd name="T100" fmla="*/ 61 w 209"/>
                  <a:gd name="T101" fmla="*/ 780 h 880"/>
                  <a:gd name="T102" fmla="*/ 63 w 209"/>
                  <a:gd name="T103" fmla="*/ 782 h 880"/>
                  <a:gd name="T104" fmla="*/ 74 w 209"/>
                  <a:gd name="T105" fmla="*/ 797 h 880"/>
                  <a:gd name="T106" fmla="*/ 90 w 209"/>
                  <a:gd name="T107" fmla="*/ 818 h 880"/>
                  <a:gd name="T108" fmla="*/ 93 w 209"/>
                  <a:gd name="T109" fmla="*/ 834 h 880"/>
                  <a:gd name="T110" fmla="*/ 109 w 209"/>
                  <a:gd name="T111" fmla="*/ 834 h 880"/>
                  <a:gd name="T112" fmla="*/ 116 w 209"/>
                  <a:gd name="T113" fmla="*/ 836 h 880"/>
                  <a:gd name="T114" fmla="*/ 134 w 209"/>
                  <a:gd name="T115" fmla="*/ 828 h 880"/>
                  <a:gd name="T116" fmla="*/ 208 w 209"/>
                  <a:gd name="T117" fmla="*/ 871 h 880"/>
                  <a:gd name="T118" fmla="*/ 195 w 209"/>
                  <a:gd name="T119" fmla="*/ 862 h 880"/>
                  <a:gd name="T120" fmla="*/ 176 w 209"/>
                  <a:gd name="T121" fmla="*/ 865 h 8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09" h="880">
                    <a:moveTo>
                      <a:pt x="179" y="852"/>
                    </a:moveTo>
                    <a:cubicBezTo>
                      <a:pt x="177" y="845"/>
                      <a:pt x="177" y="845"/>
                      <a:pt x="177" y="845"/>
                    </a:cubicBezTo>
                    <a:cubicBezTo>
                      <a:pt x="175" y="845"/>
                      <a:pt x="175" y="845"/>
                      <a:pt x="175" y="845"/>
                    </a:cubicBezTo>
                    <a:cubicBezTo>
                      <a:pt x="171" y="843"/>
                      <a:pt x="171" y="843"/>
                      <a:pt x="171" y="843"/>
                    </a:cubicBezTo>
                    <a:cubicBezTo>
                      <a:pt x="164" y="841"/>
                      <a:pt x="164" y="841"/>
                      <a:pt x="164" y="841"/>
                    </a:cubicBezTo>
                    <a:cubicBezTo>
                      <a:pt x="155" y="838"/>
                      <a:pt x="155" y="838"/>
                      <a:pt x="155" y="838"/>
                    </a:cubicBezTo>
                    <a:cubicBezTo>
                      <a:pt x="150" y="836"/>
                      <a:pt x="150" y="836"/>
                      <a:pt x="150" y="836"/>
                    </a:cubicBezTo>
                    <a:cubicBezTo>
                      <a:pt x="150" y="838"/>
                      <a:pt x="150" y="838"/>
                      <a:pt x="150" y="838"/>
                    </a:cubicBezTo>
                    <a:cubicBezTo>
                      <a:pt x="151" y="839"/>
                      <a:pt x="151" y="839"/>
                      <a:pt x="151" y="839"/>
                    </a:cubicBezTo>
                    <a:cubicBezTo>
                      <a:pt x="150" y="840"/>
                      <a:pt x="150" y="840"/>
                      <a:pt x="150" y="840"/>
                    </a:cubicBezTo>
                    <a:cubicBezTo>
                      <a:pt x="148" y="840"/>
                      <a:pt x="148" y="840"/>
                      <a:pt x="148" y="840"/>
                    </a:cubicBezTo>
                    <a:cubicBezTo>
                      <a:pt x="142" y="837"/>
                      <a:pt x="142" y="837"/>
                      <a:pt x="142" y="837"/>
                    </a:cubicBezTo>
                    <a:cubicBezTo>
                      <a:pt x="138" y="835"/>
                      <a:pt x="138" y="835"/>
                      <a:pt x="138" y="835"/>
                    </a:cubicBezTo>
                    <a:cubicBezTo>
                      <a:pt x="137" y="836"/>
                      <a:pt x="137" y="836"/>
                      <a:pt x="137" y="836"/>
                    </a:cubicBezTo>
                    <a:cubicBezTo>
                      <a:pt x="139" y="838"/>
                      <a:pt x="139" y="838"/>
                      <a:pt x="139" y="838"/>
                    </a:cubicBezTo>
                    <a:cubicBezTo>
                      <a:pt x="147" y="842"/>
                      <a:pt x="147" y="842"/>
                      <a:pt x="147" y="842"/>
                    </a:cubicBezTo>
                    <a:cubicBezTo>
                      <a:pt x="147" y="843"/>
                      <a:pt x="147" y="843"/>
                      <a:pt x="147" y="843"/>
                    </a:cubicBezTo>
                    <a:cubicBezTo>
                      <a:pt x="145" y="843"/>
                      <a:pt x="145" y="843"/>
                      <a:pt x="145" y="843"/>
                    </a:cubicBezTo>
                    <a:cubicBezTo>
                      <a:pt x="144" y="844"/>
                      <a:pt x="144" y="844"/>
                      <a:pt x="144" y="844"/>
                    </a:cubicBezTo>
                    <a:cubicBezTo>
                      <a:pt x="144" y="845"/>
                      <a:pt x="144" y="845"/>
                      <a:pt x="144" y="845"/>
                    </a:cubicBezTo>
                    <a:cubicBezTo>
                      <a:pt x="143" y="845"/>
                      <a:pt x="143" y="845"/>
                      <a:pt x="143" y="845"/>
                    </a:cubicBezTo>
                    <a:cubicBezTo>
                      <a:pt x="142" y="843"/>
                      <a:pt x="142" y="843"/>
                      <a:pt x="142" y="843"/>
                    </a:cubicBezTo>
                    <a:cubicBezTo>
                      <a:pt x="138" y="841"/>
                      <a:pt x="138" y="841"/>
                      <a:pt x="138" y="841"/>
                    </a:cubicBezTo>
                    <a:cubicBezTo>
                      <a:pt x="136" y="842"/>
                      <a:pt x="136" y="842"/>
                      <a:pt x="136" y="842"/>
                    </a:cubicBezTo>
                    <a:cubicBezTo>
                      <a:pt x="137" y="844"/>
                      <a:pt x="137" y="844"/>
                      <a:pt x="137" y="844"/>
                    </a:cubicBezTo>
                    <a:cubicBezTo>
                      <a:pt x="134" y="845"/>
                      <a:pt x="134" y="845"/>
                      <a:pt x="134" y="845"/>
                    </a:cubicBezTo>
                    <a:cubicBezTo>
                      <a:pt x="128" y="845"/>
                      <a:pt x="128" y="845"/>
                      <a:pt x="128" y="845"/>
                    </a:cubicBezTo>
                    <a:cubicBezTo>
                      <a:pt x="127" y="846"/>
                      <a:pt x="127" y="846"/>
                      <a:pt x="127" y="846"/>
                    </a:cubicBezTo>
                    <a:cubicBezTo>
                      <a:pt x="128" y="847"/>
                      <a:pt x="128" y="847"/>
                      <a:pt x="128" y="847"/>
                    </a:cubicBezTo>
                    <a:cubicBezTo>
                      <a:pt x="127" y="848"/>
                      <a:pt x="127" y="848"/>
                      <a:pt x="127" y="848"/>
                    </a:cubicBezTo>
                    <a:cubicBezTo>
                      <a:pt x="124" y="848"/>
                      <a:pt x="124" y="848"/>
                      <a:pt x="124" y="848"/>
                    </a:cubicBezTo>
                    <a:cubicBezTo>
                      <a:pt x="121" y="849"/>
                      <a:pt x="121" y="849"/>
                      <a:pt x="121" y="849"/>
                    </a:cubicBezTo>
                    <a:cubicBezTo>
                      <a:pt x="121" y="851"/>
                      <a:pt x="121" y="851"/>
                      <a:pt x="121" y="851"/>
                    </a:cubicBezTo>
                    <a:cubicBezTo>
                      <a:pt x="126" y="852"/>
                      <a:pt x="126" y="852"/>
                      <a:pt x="126" y="852"/>
                    </a:cubicBezTo>
                    <a:cubicBezTo>
                      <a:pt x="129" y="851"/>
                      <a:pt x="129" y="851"/>
                      <a:pt x="129" y="851"/>
                    </a:cubicBezTo>
                    <a:cubicBezTo>
                      <a:pt x="130" y="850"/>
                      <a:pt x="130" y="850"/>
                      <a:pt x="130" y="850"/>
                    </a:cubicBezTo>
                    <a:cubicBezTo>
                      <a:pt x="131" y="849"/>
                      <a:pt x="131" y="849"/>
                      <a:pt x="131" y="849"/>
                    </a:cubicBezTo>
                    <a:cubicBezTo>
                      <a:pt x="133" y="850"/>
                      <a:pt x="133" y="850"/>
                      <a:pt x="133" y="850"/>
                    </a:cubicBezTo>
                    <a:cubicBezTo>
                      <a:pt x="137" y="852"/>
                      <a:pt x="137" y="852"/>
                      <a:pt x="137" y="852"/>
                    </a:cubicBezTo>
                    <a:cubicBezTo>
                      <a:pt x="139" y="851"/>
                      <a:pt x="139" y="851"/>
                      <a:pt x="139" y="851"/>
                    </a:cubicBezTo>
                    <a:cubicBezTo>
                      <a:pt x="140" y="853"/>
                      <a:pt x="140" y="853"/>
                      <a:pt x="140" y="853"/>
                    </a:cubicBezTo>
                    <a:cubicBezTo>
                      <a:pt x="140" y="855"/>
                      <a:pt x="140" y="855"/>
                      <a:pt x="140" y="855"/>
                    </a:cubicBezTo>
                    <a:cubicBezTo>
                      <a:pt x="142" y="856"/>
                      <a:pt x="142" y="856"/>
                      <a:pt x="142" y="856"/>
                    </a:cubicBezTo>
                    <a:cubicBezTo>
                      <a:pt x="140" y="858"/>
                      <a:pt x="140" y="858"/>
                      <a:pt x="140" y="858"/>
                    </a:cubicBezTo>
                    <a:cubicBezTo>
                      <a:pt x="138" y="861"/>
                      <a:pt x="138" y="861"/>
                      <a:pt x="138" y="861"/>
                    </a:cubicBezTo>
                    <a:cubicBezTo>
                      <a:pt x="140" y="863"/>
                      <a:pt x="140" y="863"/>
                      <a:pt x="140" y="863"/>
                    </a:cubicBezTo>
                    <a:cubicBezTo>
                      <a:pt x="143" y="863"/>
                      <a:pt x="143" y="863"/>
                      <a:pt x="143" y="863"/>
                    </a:cubicBezTo>
                    <a:cubicBezTo>
                      <a:pt x="145" y="864"/>
                      <a:pt x="145" y="864"/>
                      <a:pt x="145" y="864"/>
                    </a:cubicBezTo>
                    <a:cubicBezTo>
                      <a:pt x="148" y="867"/>
                      <a:pt x="148" y="867"/>
                      <a:pt x="148" y="867"/>
                    </a:cubicBezTo>
                    <a:cubicBezTo>
                      <a:pt x="150" y="867"/>
                      <a:pt x="150" y="867"/>
                      <a:pt x="150" y="867"/>
                    </a:cubicBezTo>
                    <a:cubicBezTo>
                      <a:pt x="151" y="866"/>
                      <a:pt x="151" y="866"/>
                      <a:pt x="151" y="866"/>
                    </a:cubicBezTo>
                    <a:cubicBezTo>
                      <a:pt x="148" y="864"/>
                      <a:pt x="148" y="864"/>
                      <a:pt x="148" y="864"/>
                    </a:cubicBezTo>
                    <a:cubicBezTo>
                      <a:pt x="145" y="862"/>
                      <a:pt x="145" y="862"/>
                      <a:pt x="145" y="862"/>
                    </a:cubicBezTo>
                    <a:cubicBezTo>
                      <a:pt x="144" y="860"/>
                      <a:pt x="144" y="860"/>
                      <a:pt x="144" y="860"/>
                    </a:cubicBezTo>
                    <a:cubicBezTo>
                      <a:pt x="145" y="860"/>
                      <a:pt x="145" y="860"/>
                      <a:pt x="145" y="860"/>
                    </a:cubicBezTo>
                    <a:cubicBezTo>
                      <a:pt x="148" y="861"/>
                      <a:pt x="148" y="861"/>
                      <a:pt x="148" y="861"/>
                    </a:cubicBezTo>
                    <a:cubicBezTo>
                      <a:pt x="150" y="860"/>
                      <a:pt x="150" y="860"/>
                      <a:pt x="150" y="860"/>
                    </a:cubicBezTo>
                    <a:cubicBezTo>
                      <a:pt x="151" y="858"/>
                      <a:pt x="151" y="858"/>
                      <a:pt x="151" y="858"/>
                    </a:cubicBezTo>
                    <a:cubicBezTo>
                      <a:pt x="148" y="858"/>
                      <a:pt x="148" y="858"/>
                      <a:pt x="148" y="858"/>
                    </a:cubicBezTo>
                    <a:cubicBezTo>
                      <a:pt x="146" y="856"/>
                      <a:pt x="146" y="856"/>
                      <a:pt x="146" y="856"/>
                    </a:cubicBezTo>
                    <a:cubicBezTo>
                      <a:pt x="154" y="853"/>
                      <a:pt x="154" y="853"/>
                      <a:pt x="154" y="853"/>
                    </a:cubicBezTo>
                    <a:cubicBezTo>
                      <a:pt x="158" y="852"/>
                      <a:pt x="158" y="852"/>
                      <a:pt x="158" y="852"/>
                    </a:cubicBezTo>
                    <a:cubicBezTo>
                      <a:pt x="173" y="855"/>
                      <a:pt x="173" y="855"/>
                      <a:pt x="173" y="855"/>
                    </a:cubicBezTo>
                    <a:cubicBezTo>
                      <a:pt x="175" y="854"/>
                      <a:pt x="175" y="854"/>
                      <a:pt x="175" y="854"/>
                    </a:cubicBezTo>
                    <a:cubicBezTo>
                      <a:pt x="174" y="852"/>
                      <a:pt x="174" y="852"/>
                      <a:pt x="174" y="852"/>
                    </a:cubicBezTo>
                    <a:cubicBezTo>
                      <a:pt x="179" y="852"/>
                      <a:pt x="179" y="852"/>
                      <a:pt x="179" y="852"/>
                    </a:cubicBezTo>
                    <a:close/>
                    <a:moveTo>
                      <a:pt x="176" y="843"/>
                    </a:moveTo>
                    <a:cubicBezTo>
                      <a:pt x="172" y="842"/>
                      <a:pt x="172" y="842"/>
                      <a:pt x="172" y="842"/>
                    </a:cubicBezTo>
                    <a:cubicBezTo>
                      <a:pt x="163" y="836"/>
                      <a:pt x="163" y="836"/>
                      <a:pt x="163" y="836"/>
                    </a:cubicBezTo>
                    <a:cubicBezTo>
                      <a:pt x="156" y="834"/>
                      <a:pt x="156" y="834"/>
                      <a:pt x="156" y="834"/>
                    </a:cubicBezTo>
                    <a:cubicBezTo>
                      <a:pt x="153" y="834"/>
                      <a:pt x="153" y="834"/>
                      <a:pt x="153" y="834"/>
                    </a:cubicBezTo>
                    <a:cubicBezTo>
                      <a:pt x="149" y="832"/>
                      <a:pt x="149" y="832"/>
                      <a:pt x="149" y="832"/>
                    </a:cubicBezTo>
                    <a:cubicBezTo>
                      <a:pt x="145" y="828"/>
                      <a:pt x="145" y="828"/>
                      <a:pt x="145" y="828"/>
                    </a:cubicBezTo>
                    <a:cubicBezTo>
                      <a:pt x="145" y="827"/>
                      <a:pt x="145" y="827"/>
                      <a:pt x="145" y="827"/>
                    </a:cubicBezTo>
                    <a:cubicBezTo>
                      <a:pt x="145" y="825"/>
                      <a:pt x="145" y="825"/>
                      <a:pt x="145" y="825"/>
                    </a:cubicBezTo>
                    <a:cubicBezTo>
                      <a:pt x="151" y="822"/>
                      <a:pt x="151" y="822"/>
                      <a:pt x="151" y="822"/>
                    </a:cubicBezTo>
                    <a:cubicBezTo>
                      <a:pt x="152" y="820"/>
                      <a:pt x="152" y="820"/>
                      <a:pt x="152" y="820"/>
                    </a:cubicBezTo>
                    <a:cubicBezTo>
                      <a:pt x="155" y="819"/>
                      <a:pt x="155" y="819"/>
                      <a:pt x="155" y="819"/>
                    </a:cubicBezTo>
                    <a:cubicBezTo>
                      <a:pt x="158" y="815"/>
                      <a:pt x="158" y="815"/>
                      <a:pt x="158" y="815"/>
                    </a:cubicBezTo>
                    <a:cubicBezTo>
                      <a:pt x="157" y="812"/>
                      <a:pt x="157" y="812"/>
                      <a:pt x="157" y="812"/>
                    </a:cubicBezTo>
                    <a:cubicBezTo>
                      <a:pt x="153" y="812"/>
                      <a:pt x="153" y="812"/>
                      <a:pt x="153" y="812"/>
                    </a:cubicBezTo>
                    <a:cubicBezTo>
                      <a:pt x="147" y="815"/>
                      <a:pt x="147" y="815"/>
                      <a:pt x="147" y="815"/>
                    </a:cubicBezTo>
                    <a:cubicBezTo>
                      <a:pt x="144" y="818"/>
                      <a:pt x="144" y="818"/>
                      <a:pt x="144" y="818"/>
                    </a:cubicBezTo>
                    <a:cubicBezTo>
                      <a:pt x="142" y="818"/>
                      <a:pt x="142" y="818"/>
                      <a:pt x="142" y="818"/>
                    </a:cubicBezTo>
                    <a:cubicBezTo>
                      <a:pt x="138" y="814"/>
                      <a:pt x="138" y="814"/>
                      <a:pt x="138" y="814"/>
                    </a:cubicBezTo>
                    <a:cubicBezTo>
                      <a:pt x="138" y="809"/>
                      <a:pt x="138" y="809"/>
                      <a:pt x="138" y="809"/>
                    </a:cubicBezTo>
                    <a:cubicBezTo>
                      <a:pt x="136" y="807"/>
                      <a:pt x="136" y="807"/>
                      <a:pt x="136" y="807"/>
                    </a:cubicBezTo>
                    <a:cubicBezTo>
                      <a:pt x="140" y="804"/>
                      <a:pt x="140" y="804"/>
                      <a:pt x="140" y="804"/>
                    </a:cubicBezTo>
                    <a:cubicBezTo>
                      <a:pt x="140" y="801"/>
                      <a:pt x="140" y="801"/>
                      <a:pt x="140" y="801"/>
                    </a:cubicBezTo>
                    <a:cubicBezTo>
                      <a:pt x="137" y="802"/>
                      <a:pt x="137" y="802"/>
                      <a:pt x="137" y="802"/>
                    </a:cubicBezTo>
                    <a:cubicBezTo>
                      <a:pt x="135" y="800"/>
                      <a:pt x="135" y="800"/>
                      <a:pt x="135" y="800"/>
                    </a:cubicBezTo>
                    <a:cubicBezTo>
                      <a:pt x="137" y="797"/>
                      <a:pt x="137" y="797"/>
                      <a:pt x="137" y="797"/>
                    </a:cubicBezTo>
                    <a:cubicBezTo>
                      <a:pt x="140" y="797"/>
                      <a:pt x="140" y="797"/>
                      <a:pt x="140" y="797"/>
                    </a:cubicBezTo>
                    <a:cubicBezTo>
                      <a:pt x="144" y="800"/>
                      <a:pt x="144" y="800"/>
                      <a:pt x="144" y="800"/>
                    </a:cubicBezTo>
                    <a:cubicBezTo>
                      <a:pt x="144" y="798"/>
                      <a:pt x="144" y="798"/>
                      <a:pt x="144" y="798"/>
                    </a:cubicBezTo>
                    <a:cubicBezTo>
                      <a:pt x="148" y="795"/>
                      <a:pt x="148" y="795"/>
                      <a:pt x="148" y="795"/>
                    </a:cubicBezTo>
                    <a:cubicBezTo>
                      <a:pt x="148" y="792"/>
                      <a:pt x="148" y="792"/>
                      <a:pt x="148" y="792"/>
                    </a:cubicBezTo>
                    <a:cubicBezTo>
                      <a:pt x="148" y="789"/>
                      <a:pt x="148" y="789"/>
                      <a:pt x="148" y="789"/>
                    </a:cubicBezTo>
                    <a:cubicBezTo>
                      <a:pt x="149" y="787"/>
                      <a:pt x="149" y="787"/>
                      <a:pt x="149" y="787"/>
                    </a:cubicBezTo>
                    <a:cubicBezTo>
                      <a:pt x="152" y="787"/>
                      <a:pt x="152" y="787"/>
                      <a:pt x="152" y="787"/>
                    </a:cubicBezTo>
                    <a:cubicBezTo>
                      <a:pt x="155" y="790"/>
                      <a:pt x="155" y="790"/>
                      <a:pt x="155" y="790"/>
                    </a:cubicBezTo>
                    <a:cubicBezTo>
                      <a:pt x="156" y="789"/>
                      <a:pt x="156" y="789"/>
                      <a:pt x="156" y="789"/>
                    </a:cubicBezTo>
                    <a:cubicBezTo>
                      <a:pt x="162" y="787"/>
                      <a:pt x="162" y="787"/>
                      <a:pt x="162" y="787"/>
                    </a:cubicBezTo>
                    <a:cubicBezTo>
                      <a:pt x="167" y="808"/>
                      <a:pt x="167" y="808"/>
                      <a:pt x="167" y="808"/>
                    </a:cubicBezTo>
                    <a:cubicBezTo>
                      <a:pt x="167" y="808"/>
                      <a:pt x="167" y="808"/>
                      <a:pt x="167" y="808"/>
                    </a:cubicBezTo>
                    <a:cubicBezTo>
                      <a:pt x="167" y="809"/>
                      <a:pt x="167" y="809"/>
                      <a:pt x="167" y="809"/>
                    </a:cubicBezTo>
                    <a:cubicBezTo>
                      <a:pt x="176" y="843"/>
                      <a:pt x="176" y="843"/>
                      <a:pt x="176" y="843"/>
                    </a:cubicBezTo>
                    <a:close/>
                    <a:moveTo>
                      <a:pt x="161" y="780"/>
                    </a:moveTo>
                    <a:cubicBezTo>
                      <a:pt x="156" y="776"/>
                      <a:pt x="156" y="776"/>
                      <a:pt x="156" y="776"/>
                    </a:cubicBezTo>
                    <a:cubicBezTo>
                      <a:pt x="152" y="775"/>
                      <a:pt x="152" y="775"/>
                      <a:pt x="152" y="775"/>
                    </a:cubicBezTo>
                    <a:cubicBezTo>
                      <a:pt x="150" y="774"/>
                      <a:pt x="150" y="774"/>
                      <a:pt x="150" y="774"/>
                    </a:cubicBezTo>
                    <a:cubicBezTo>
                      <a:pt x="126" y="774"/>
                      <a:pt x="126" y="774"/>
                      <a:pt x="126" y="774"/>
                    </a:cubicBezTo>
                    <a:cubicBezTo>
                      <a:pt x="112" y="776"/>
                      <a:pt x="112" y="776"/>
                      <a:pt x="112" y="776"/>
                    </a:cubicBezTo>
                    <a:cubicBezTo>
                      <a:pt x="109" y="774"/>
                      <a:pt x="109" y="774"/>
                      <a:pt x="109" y="774"/>
                    </a:cubicBezTo>
                    <a:cubicBezTo>
                      <a:pt x="99" y="774"/>
                      <a:pt x="99" y="774"/>
                      <a:pt x="99" y="774"/>
                    </a:cubicBezTo>
                    <a:cubicBezTo>
                      <a:pt x="96" y="766"/>
                      <a:pt x="96" y="766"/>
                      <a:pt x="96" y="766"/>
                    </a:cubicBezTo>
                    <a:cubicBezTo>
                      <a:pt x="94" y="759"/>
                      <a:pt x="94" y="759"/>
                      <a:pt x="94" y="759"/>
                    </a:cubicBezTo>
                    <a:cubicBezTo>
                      <a:pt x="90" y="756"/>
                      <a:pt x="90" y="756"/>
                      <a:pt x="90" y="756"/>
                    </a:cubicBezTo>
                    <a:cubicBezTo>
                      <a:pt x="89" y="745"/>
                      <a:pt x="89" y="745"/>
                      <a:pt x="89" y="745"/>
                    </a:cubicBezTo>
                    <a:cubicBezTo>
                      <a:pt x="89" y="740"/>
                      <a:pt x="89" y="740"/>
                      <a:pt x="89" y="740"/>
                    </a:cubicBezTo>
                    <a:cubicBezTo>
                      <a:pt x="85" y="740"/>
                      <a:pt x="85" y="740"/>
                      <a:pt x="85" y="740"/>
                    </a:cubicBezTo>
                    <a:cubicBezTo>
                      <a:pt x="79" y="743"/>
                      <a:pt x="79" y="743"/>
                      <a:pt x="79" y="743"/>
                    </a:cubicBezTo>
                    <a:cubicBezTo>
                      <a:pt x="75" y="747"/>
                      <a:pt x="75" y="747"/>
                      <a:pt x="75" y="747"/>
                    </a:cubicBezTo>
                    <a:cubicBezTo>
                      <a:pt x="71" y="747"/>
                      <a:pt x="71" y="747"/>
                      <a:pt x="71" y="747"/>
                    </a:cubicBezTo>
                    <a:cubicBezTo>
                      <a:pt x="63" y="730"/>
                      <a:pt x="63" y="730"/>
                      <a:pt x="63" y="730"/>
                    </a:cubicBezTo>
                    <a:cubicBezTo>
                      <a:pt x="62" y="724"/>
                      <a:pt x="62" y="724"/>
                      <a:pt x="62" y="724"/>
                    </a:cubicBezTo>
                    <a:cubicBezTo>
                      <a:pt x="64" y="708"/>
                      <a:pt x="64" y="708"/>
                      <a:pt x="64" y="708"/>
                    </a:cubicBezTo>
                    <a:cubicBezTo>
                      <a:pt x="68" y="702"/>
                      <a:pt x="68" y="702"/>
                      <a:pt x="68" y="702"/>
                    </a:cubicBezTo>
                    <a:cubicBezTo>
                      <a:pt x="75" y="696"/>
                      <a:pt x="75" y="696"/>
                      <a:pt x="75" y="696"/>
                    </a:cubicBezTo>
                    <a:cubicBezTo>
                      <a:pt x="77" y="686"/>
                      <a:pt x="77" y="686"/>
                      <a:pt x="77" y="686"/>
                    </a:cubicBezTo>
                    <a:cubicBezTo>
                      <a:pt x="75" y="676"/>
                      <a:pt x="75" y="676"/>
                      <a:pt x="75" y="676"/>
                    </a:cubicBezTo>
                    <a:cubicBezTo>
                      <a:pt x="73" y="669"/>
                      <a:pt x="73" y="669"/>
                      <a:pt x="73" y="669"/>
                    </a:cubicBezTo>
                    <a:cubicBezTo>
                      <a:pt x="74" y="661"/>
                      <a:pt x="74" y="661"/>
                      <a:pt x="74" y="661"/>
                    </a:cubicBezTo>
                    <a:cubicBezTo>
                      <a:pt x="78" y="656"/>
                      <a:pt x="78" y="656"/>
                      <a:pt x="78" y="656"/>
                    </a:cubicBezTo>
                    <a:cubicBezTo>
                      <a:pt x="74" y="648"/>
                      <a:pt x="74" y="648"/>
                      <a:pt x="74" y="648"/>
                    </a:cubicBezTo>
                    <a:cubicBezTo>
                      <a:pt x="75" y="643"/>
                      <a:pt x="75" y="643"/>
                      <a:pt x="75" y="643"/>
                    </a:cubicBezTo>
                    <a:cubicBezTo>
                      <a:pt x="78" y="640"/>
                      <a:pt x="78" y="640"/>
                      <a:pt x="78" y="640"/>
                    </a:cubicBezTo>
                    <a:cubicBezTo>
                      <a:pt x="76" y="632"/>
                      <a:pt x="76" y="632"/>
                      <a:pt x="76" y="632"/>
                    </a:cubicBezTo>
                    <a:cubicBezTo>
                      <a:pt x="75" y="622"/>
                      <a:pt x="75" y="622"/>
                      <a:pt x="75" y="622"/>
                    </a:cubicBezTo>
                    <a:cubicBezTo>
                      <a:pt x="72" y="617"/>
                      <a:pt x="72" y="617"/>
                      <a:pt x="72" y="617"/>
                    </a:cubicBezTo>
                    <a:cubicBezTo>
                      <a:pt x="72" y="613"/>
                      <a:pt x="72" y="613"/>
                      <a:pt x="72" y="613"/>
                    </a:cubicBezTo>
                    <a:cubicBezTo>
                      <a:pt x="77" y="609"/>
                      <a:pt x="77" y="609"/>
                      <a:pt x="77" y="609"/>
                    </a:cubicBezTo>
                    <a:cubicBezTo>
                      <a:pt x="77" y="605"/>
                      <a:pt x="77" y="605"/>
                      <a:pt x="77" y="605"/>
                    </a:cubicBezTo>
                    <a:cubicBezTo>
                      <a:pt x="73" y="598"/>
                      <a:pt x="73" y="598"/>
                      <a:pt x="73" y="598"/>
                    </a:cubicBezTo>
                    <a:cubicBezTo>
                      <a:pt x="67" y="594"/>
                      <a:pt x="67" y="594"/>
                      <a:pt x="67" y="594"/>
                    </a:cubicBezTo>
                    <a:cubicBezTo>
                      <a:pt x="63" y="594"/>
                      <a:pt x="63" y="594"/>
                      <a:pt x="63" y="594"/>
                    </a:cubicBezTo>
                    <a:cubicBezTo>
                      <a:pt x="62" y="595"/>
                      <a:pt x="62" y="595"/>
                      <a:pt x="62" y="595"/>
                    </a:cubicBezTo>
                    <a:cubicBezTo>
                      <a:pt x="59" y="593"/>
                      <a:pt x="59" y="593"/>
                      <a:pt x="59" y="593"/>
                    </a:cubicBezTo>
                    <a:cubicBezTo>
                      <a:pt x="61" y="589"/>
                      <a:pt x="61" y="589"/>
                      <a:pt x="61" y="589"/>
                    </a:cubicBezTo>
                    <a:cubicBezTo>
                      <a:pt x="69" y="589"/>
                      <a:pt x="69" y="589"/>
                      <a:pt x="69" y="589"/>
                    </a:cubicBezTo>
                    <a:cubicBezTo>
                      <a:pt x="73" y="585"/>
                      <a:pt x="73" y="585"/>
                      <a:pt x="73" y="585"/>
                    </a:cubicBezTo>
                    <a:cubicBezTo>
                      <a:pt x="73" y="580"/>
                      <a:pt x="73" y="580"/>
                      <a:pt x="73" y="580"/>
                    </a:cubicBezTo>
                    <a:cubicBezTo>
                      <a:pt x="71" y="579"/>
                      <a:pt x="71" y="579"/>
                      <a:pt x="71" y="579"/>
                    </a:cubicBezTo>
                    <a:cubicBezTo>
                      <a:pt x="68" y="581"/>
                      <a:pt x="68" y="581"/>
                      <a:pt x="68" y="581"/>
                    </a:cubicBezTo>
                    <a:cubicBezTo>
                      <a:pt x="64" y="580"/>
                      <a:pt x="64" y="580"/>
                      <a:pt x="64" y="580"/>
                    </a:cubicBezTo>
                    <a:cubicBezTo>
                      <a:pt x="62" y="572"/>
                      <a:pt x="62" y="572"/>
                      <a:pt x="62" y="572"/>
                    </a:cubicBezTo>
                    <a:cubicBezTo>
                      <a:pt x="59" y="564"/>
                      <a:pt x="59" y="564"/>
                      <a:pt x="59" y="564"/>
                    </a:cubicBezTo>
                    <a:cubicBezTo>
                      <a:pt x="58" y="559"/>
                      <a:pt x="58" y="559"/>
                      <a:pt x="58" y="559"/>
                    </a:cubicBezTo>
                    <a:cubicBezTo>
                      <a:pt x="59" y="553"/>
                      <a:pt x="59" y="553"/>
                      <a:pt x="59" y="553"/>
                    </a:cubicBezTo>
                    <a:cubicBezTo>
                      <a:pt x="53" y="551"/>
                      <a:pt x="53" y="551"/>
                      <a:pt x="53" y="551"/>
                    </a:cubicBezTo>
                    <a:cubicBezTo>
                      <a:pt x="51" y="545"/>
                      <a:pt x="51" y="545"/>
                      <a:pt x="51" y="545"/>
                    </a:cubicBezTo>
                    <a:cubicBezTo>
                      <a:pt x="50" y="531"/>
                      <a:pt x="50" y="531"/>
                      <a:pt x="50" y="531"/>
                    </a:cubicBezTo>
                    <a:cubicBezTo>
                      <a:pt x="54" y="529"/>
                      <a:pt x="54" y="529"/>
                      <a:pt x="54" y="529"/>
                    </a:cubicBezTo>
                    <a:cubicBezTo>
                      <a:pt x="55" y="524"/>
                      <a:pt x="55" y="524"/>
                      <a:pt x="55" y="524"/>
                    </a:cubicBezTo>
                    <a:cubicBezTo>
                      <a:pt x="53" y="520"/>
                      <a:pt x="53" y="520"/>
                      <a:pt x="53" y="520"/>
                    </a:cubicBezTo>
                    <a:cubicBezTo>
                      <a:pt x="50" y="518"/>
                      <a:pt x="50" y="518"/>
                      <a:pt x="50" y="518"/>
                    </a:cubicBezTo>
                    <a:cubicBezTo>
                      <a:pt x="48" y="510"/>
                      <a:pt x="48" y="510"/>
                      <a:pt x="48" y="510"/>
                    </a:cubicBezTo>
                    <a:cubicBezTo>
                      <a:pt x="47" y="497"/>
                      <a:pt x="47" y="497"/>
                      <a:pt x="47" y="497"/>
                    </a:cubicBezTo>
                    <a:cubicBezTo>
                      <a:pt x="49" y="484"/>
                      <a:pt x="49" y="484"/>
                      <a:pt x="49" y="484"/>
                    </a:cubicBezTo>
                    <a:cubicBezTo>
                      <a:pt x="45" y="478"/>
                      <a:pt x="45" y="478"/>
                      <a:pt x="45" y="478"/>
                    </a:cubicBezTo>
                    <a:cubicBezTo>
                      <a:pt x="44" y="471"/>
                      <a:pt x="44" y="471"/>
                      <a:pt x="44" y="471"/>
                    </a:cubicBezTo>
                    <a:cubicBezTo>
                      <a:pt x="51" y="462"/>
                      <a:pt x="51" y="462"/>
                      <a:pt x="51" y="462"/>
                    </a:cubicBezTo>
                    <a:cubicBezTo>
                      <a:pt x="52" y="452"/>
                      <a:pt x="52" y="452"/>
                      <a:pt x="52" y="452"/>
                    </a:cubicBezTo>
                    <a:cubicBezTo>
                      <a:pt x="58" y="450"/>
                      <a:pt x="58" y="450"/>
                      <a:pt x="58" y="450"/>
                    </a:cubicBezTo>
                    <a:cubicBezTo>
                      <a:pt x="60" y="447"/>
                      <a:pt x="60" y="447"/>
                      <a:pt x="60" y="447"/>
                    </a:cubicBezTo>
                    <a:cubicBezTo>
                      <a:pt x="49" y="425"/>
                      <a:pt x="49" y="425"/>
                      <a:pt x="49" y="425"/>
                    </a:cubicBezTo>
                    <a:cubicBezTo>
                      <a:pt x="50" y="418"/>
                      <a:pt x="50" y="418"/>
                      <a:pt x="50" y="418"/>
                    </a:cubicBezTo>
                    <a:cubicBezTo>
                      <a:pt x="50" y="412"/>
                      <a:pt x="50" y="412"/>
                      <a:pt x="50" y="412"/>
                    </a:cubicBezTo>
                    <a:cubicBezTo>
                      <a:pt x="50" y="399"/>
                      <a:pt x="50" y="399"/>
                      <a:pt x="50" y="399"/>
                    </a:cubicBezTo>
                    <a:cubicBezTo>
                      <a:pt x="54" y="392"/>
                      <a:pt x="54" y="392"/>
                      <a:pt x="54" y="392"/>
                    </a:cubicBezTo>
                    <a:cubicBezTo>
                      <a:pt x="59" y="387"/>
                      <a:pt x="59" y="387"/>
                      <a:pt x="59" y="387"/>
                    </a:cubicBezTo>
                    <a:cubicBezTo>
                      <a:pt x="58" y="380"/>
                      <a:pt x="58" y="380"/>
                      <a:pt x="58" y="380"/>
                    </a:cubicBezTo>
                    <a:cubicBezTo>
                      <a:pt x="54" y="374"/>
                      <a:pt x="54" y="374"/>
                      <a:pt x="54" y="374"/>
                    </a:cubicBezTo>
                    <a:cubicBezTo>
                      <a:pt x="51" y="372"/>
                      <a:pt x="51" y="372"/>
                      <a:pt x="51" y="372"/>
                    </a:cubicBezTo>
                    <a:cubicBezTo>
                      <a:pt x="56" y="366"/>
                      <a:pt x="56" y="366"/>
                      <a:pt x="56" y="366"/>
                    </a:cubicBezTo>
                    <a:cubicBezTo>
                      <a:pt x="55" y="358"/>
                      <a:pt x="55" y="358"/>
                      <a:pt x="55" y="358"/>
                    </a:cubicBezTo>
                    <a:cubicBezTo>
                      <a:pt x="58" y="351"/>
                      <a:pt x="58" y="351"/>
                      <a:pt x="58" y="351"/>
                    </a:cubicBezTo>
                    <a:cubicBezTo>
                      <a:pt x="61" y="350"/>
                      <a:pt x="61" y="350"/>
                      <a:pt x="61" y="350"/>
                    </a:cubicBezTo>
                    <a:cubicBezTo>
                      <a:pt x="62" y="341"/>
                      <a:pt x="62" y="341"/>
                      <a:pt x="62" y="341"/>
                    </a:cubicBezTo>
                    <a:cubicBezTo>
                      <a:pt x="61" y="327"/>
                      <a:pt x="61" y="327"/>
                      <a:pt x="61" y="327"/>
                    </a:cubicBezTo>
                    <a:cubicBezTo>
                      <a:pt x="58" y="324"/>
                      <a:pt x="58" y="324"/>
                      <a:pt x="58" y="324"/>
                    </a:cubicBezTo>
                    <a:cubicBezTo>
                      <a:pt x="56" y="313"/>
                      <a:pt x="56" y="313"/>
                      <a:pt x="56" y="313"/>
                    </a:cubicBezTo>
                    <a:cubicBezTo>
                      <a:pt x="53" y="308"/>
                      <a:pt x="53" y="308"/>
                      <a:pt x="53" y="308"/>
                    </a:cubicBezTo>
                    <a:cubicBezTo>
                      <a:pt x="48" y="301"/>
                      <a:pt x="48" y="301"/>
                      <a:pt x="48" y="301"/>
                    </a:cubicBezTo>
                    <a:cubicBezTo>
                      <a:pt x="47" y="297"/>
                      <a:pt x="47" y="297"/>
                      <a:pt x="47" y="297"/>
                    </a:cubicBezTo>
                    <a:cubicBezTo>
                      <a:pt x="44" y="293"/>
                      <a:pt x="44" y="293"/>
                      <a:pt x="44" y="293"/>
                    </a:cubicBezTo>
                    <a:cubicBezTo>
                      <a:pt x="42" y="284"/>
                      <a:pt x="42" y="284"/>
                      <a:pt x="42" y="284"/>
                    </a:cubicBezTo>
                    <a:cubicBezTo>
                      <a:pt x="43" y="277"/>
                      <a:pt x="43" y="277"/>
                      <a:pt x="43" y="277"/>
                    </a:cubicBezTo>
                    <a:cubicBezTo>
                      <a:pt x="48" y="274"/>
                      <a:pt x="48" y="274"/>
                      <a:pt x="48" y="274"/>
                    </a:cubicBezTo>
                    <a:cubicBezTo>
                      <a:pt x="49" y="265"/>
                      <a:pt x="49" y="265"/>
                      <a:pt x="49" y="265"/>
                    </a:cubicBezTo>
                    <a:cubicBezTo>
                      <a:pt x="52" y="261"/>
                      <a:pt x="52" y="261"/>
                      <a:pt x="52" y="261"/>
                    </a:cubicBezTo>
                    <a:cubicBezTo>
                      <a:pt x="52" y="253"/>
                      <a:pt x="52" y="253"/>
                      <a:pt x="52" y="253"/>
                    </a:cubicBezTo>
                    <a:cubicBezTo>
                      <a:pt x="48" y="247"/>
                      <a:pt x="48" y="247"/>
                      <a:pt x="48" y="247"/>
                    </a:cubicBezTo>
                    <a:cubicBezTo>
                      <a:pt x="48" y="235"/>
                      <a:pt x="48" y="235"/>
                      <a:pt x="48" y="235"/>
                    </a:cubicBezTo>
                    <a:cubicBezTo>
                      <a:pt x="50" y="233"/>
                      <a:pt x="50" y="233"/>
                      <a:pt x="50" y="233"/>
                    </a:cubicBezTo>
                    <a:cubicBezTo>
                      <a:pt x="52" y="219"/>
                      <a:pt x="52" y="219"/>
                      <a:pt x="52" y="219"/>
                    </a:cubicBezTo>
                    <a:cubicBezTo>
                      <a:pt x="55" y="214"/>
                      <a:pt x="55" y="214"/>
                      <a:pt x="55" y="214"/>
                    </a:cubicBezTo>
                    <a:cubicBezTo>
                      <a:pt x="61" y="202"/>
                      <a:pt x="61" y="202"/>
                      <a:pt x="61" y="202"/>
                    </a:cubicBezTo>
                    <a:cubicBezTo>
                      <a:pt x="66" y="197"/>
                      <a:pt x="66" y="197"/>
                      <a:pt x="66" y="197"/>
                    </a:cubicBezTo>
                    <a:cubicBezTo>
                      <a:pt x="69" y="195"/>
                      <a:pt x="69" y="195"/>
                      <a:pt x="69" y="195"/>
                    </a:cubicBezTo>
                    <a:cubicBezTo>
                      <a:pt x="72" y="192"/>
                      <a:pt x="72" y="192"/>
                      <a:pt x="72" y="192"/>
                    </a:cubicBezTo>
                    <a:cubicBezTo>
                      <a:pt x="70" y="190"/>
                      <a:pt x="70" y="190"/>
                      <a:pt x="70" y="190"/>
                    </a:cubicBezTo>
                    <a:cubicBezTo>
                      <a:pt x="70" y="185"/>
                      <a:pt x="70" y="185"/>
                      <a:pt x="70" y="185"/>
                    </a:cubicBezTo>
                    <a:cubicBezTo>
                      <a:pt x="69" y="182"/>
                      <a:pt x="69" y="182"/>
                      <a:pt x="69" y="182"/>
                    </a:cubicBezTo>
                    <a:cubicBezTo>
                      <a:pt x="66" y="180"/>
                      <a:pt x="66" y="180"/>
                      <a:pt x="66" y="180"/>
                    </a:cubicBezTo>
                    <a:cubicBezTo>
                      <a:pt x="67" y="177"/>
                      <a:pt x="67" y="177"/>
                      <a:pt x="67" y="177"/>
                    </a:cubicBezTo>
                    <a:cubicBezTo>
                      <a:pt x="71" y="174"/>
                      <a:pt x="71" y="174"/>
                      <a:pt x="71" y="174"/>
                    </a:cubicBezTo>
                    <a:cubicBezTo>
                      <a:pt x="71" y="169"/>
                      <a:pt x="71" y="169"/>
                      <a:pt x="71" y="169"/>
                    </a:cubicBezTo>
                    <a:cubicBezTo>
                      <a:pt x="67" y="164"/>
                      <a:pt x="67" y="164"/>
                      <a:pt x="67" y="164"/>
                    </a:cubicBezTo>
                    <a:cubicBezTo>
                      <a:pt x="65" y="158"/>
                      <a:pt x="65" y="158"/>
                      <a:pt x="65" y="158"/>
                    </a:cubicBezTo>
                    <a:cubicBezTo>
                      <a:pt x="68" y="154"/>
                      <a:pt x="68" y="154"/>
                      <a:pt x="68" y="154"/>
                    </a:cubicBezTo>
                    <a:cubicBezTo>
                      <a:pt x="67" y="151"/>
                      <a:pt x="67" y="151"/>
                      <a:pt x="67" y="151"/>
                    </a:cubicBezTo>
                    <a:cubicBezTo>
                      <a:pt x="63" y="147"/>
                      <a:pt x="63" y="147"/>
                      <a:pt x="63" y="147"/>
                    </a:cubicBezTo>
                    <a:cubicBezTo>
                      <a:pt x="64" y="143"/>
                      <a:pt x="64" y="143"/>
                      <a:pt x="64" y="143"/>
                    </a:cubicBezTo>
                    <a:cubicBezTo>
                      <a:pt x="87" y="131"/>
                      <a:pt x="87" y="131"/>
                      <a:pt x="87" y="131"/>
                    </a:cubicBezTo>
                    <a:cubicBezTo>
                      <a:pt x="92" y="110"/>
                      <a:pt x="92" y="110"/>
                      <a:pt x="92" y="110"/>
                    </a:cubicBezTo>
                    <a:cubicBezTo>
                      <a:pt x="90" y="105"/>
                      <a:pt x="90" y="105"/>
                      <a:pt x="90" y="105"/>
                    </a:cubicBezTo>
                    <a:cubicBezTo>
                      <a:pt x="87" y="105"/>
                      <a:pt x="87" y="105"/>
                      <a:pt x="87" y="105"/>
                    </a:cubicBezTo>
                    <a:cubicBezTo>
                      <a:pt x="85" y="108"/>
                      <a:pt x="85" y="108"/>
                      <a:pt x="85" y="108"/>
                    </a:cubicBezTo>
                    <a:cubicBezTo>
                      <a:pt x="80" y="108"/>
                      <a:pt x="80" y="108"/>
                      <a:pt x="80" y="108"/>
                    </a:cubicBezTo>
                    <a:cubicBezTo>
                      <a:pt x="66" y="71"/>
                      <a:pt x="66" y="71"/>
                      <a:pt x="66" y="71"/>
                    </a:cubicBezTo>
                    <a:cubicBezTo>
                      <a:pt x="57" y="63"/>
                      <a:pt x="57" y="63"/>
                      <a:pt x="57" y="63"/>
                    </a:cubicBezTo>
                    <a:cubicBezTo>
                      <a:pt x="54" y="59"/>
                      <a:pt x="54" y="59"/>
                      <a:pt x="54" y="59"/>
                    </a:cubicBezTo>
                    <a:cubicBezTo>
                      <a:pt x="58" y="49"/>
                      <a:pt x="58" y="49"/>
                      <a:pt x="58" y="49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9" y="40"/>
                      <a:pt x="59" y="40"/>
                      <a:pt x="59" y="40"/>
                    </a:cubicBezTo>
                    <a:cubicBezTo>
                      <a:pt x="59" y="37"/>
                      <a:pt x="59" y="37"/>
                      <a:pt x="59" y="37"/>
                    </a:cubicBezTo>
                    <a:cubicBezTo>
                      <a:pt x="50" y="30"/>
                      <a:pt x="50" y="30"/>
                      <a:pt x="50" y="30"/>
                    </a:cubicBezTo>
                    <a:cubicBezTo>
                      <a:pt x="47" y="26"/>
                      <a:pt x="47" y="26"/>
                      <a:pt x="47" y="26"/>
                    </a:cubicBezTo>
                    <a:cubicBezTo>
                      <a:pt x="46" y="20"/>
                      <a:pt x="46" y="20"/>
                      <a:pt x="46" y="20"/>
                    </a:cubicBezTo>
                    <a:cubicBezTo>
                      <a:pt x="45" y="18"/>
                      <a:pt x="45" y="18"/>
                      <a:pt x="45" y="18"/>
                    </a:cubicBezTo>
                    <a:cubicBezTo>
                      <a:pt x="46" y="14"/>
                      <a:pt x="46" y="14"/>
                      <a:pt x="46" y="14"/>
                    </a:cubicBezTo>
                    <a:cubicBezTo>
                      <a:pt x="45" y="11"/>
                      <a:pt x="45" y="11"/>
                      <a:pt x="45" y="11"/>
                    </a:cubicBezTo>
                    <a:cubicBezTo>
                      <a:pt x="43" y="9"/>
                      <a:pt x="43" y="9"/>
                      <a:pt x="43" y="9"/>
                    </a:cubicBezTo>
                    <a:cubicBezTo>
                      <a:pt x="39" y="5"/>
                      <a:pt x="39" y="5"/>
                      <a:pt x="39" y="5"/>
                    </a:cubicBezTo>
                    <a:cubicBezTo>
                      <a:pt x="39" y="1"/>
                      <a:pt x="39" y="1"/>
                      <a:pt x="39" y="1"/>
                    </a:cubicBezTo>
                    <a:cubicBezTo>
                      <a:pt x="35" y="0"/>
                      <a:pt x="35" y="0"/>
                      <a:pt x="35" y="0"/>
                    </a:cubicBezTo>
                    <a:cubicBezTo>
                      <a:pt x="33" y="3"/>
                      <a:pt x="33" y="3"/>
                      <a:pt x="33" y="3"/>
                    </a:cubicBezTo>
                    <a:cubicBezTo>
                      <a:pt x="32" y="6"/>
                      <a:pt x="32" y="6"/>
                      <a:pt x="32" y="6"/>
                    </a:cubicBezTo>
                    <a:cubicBezTo>
                      <a:pt x="36" y="9"/>
                      <a:pt x="36" y="9"/>
                      <a:pt x="36" y="9"/>
                    </a:cubicBezTo>
                    <a:cubicBezTo>
                      <a:pt x="34" y="13"/>
                      <a:pt x="34" y="13"/>
                      <a:pt x="34" y="13"/>
                    </a:cubicBezTo>
                    <a:cubicBezTo>
                      <a:pt x="31" y="15"/>
                      <a:pt x="31" y="15"/>
                      <a:pt x="31" y="15"/>
                    </a:cubicBezTo>
                    <a:cubicBezTo>
                      <a:pt x="28" y="14"/>
                      <a:pt x="28" y="14"/>
                      <a:pt x="28" y="14"/>
                    </a:cubicBezTo>
                    <a:cubicBezTo>
                      <a:pt x="24" y="17"/>
                      <a:pt x="24" y="17"/>
                      <a:pt x="24" y="17"/>
                    </a:cubicBezTo>
                    <a:cubicBezTo>
                      <a:pt x="19" y="19"/>
                      <a:pt x="19" y="19"/>
                      <a:pt x="19" y="19"/>
                    </a:cubicBezTo>
                    <a:cubicBezTo>
                      <a:pt x="21" y="21"/>
                      <a:pt x="21" y="21"/>
                      <a:pt x="21" y="21"/>
                    </a:cubicBezTo>
                    <a:cubicBezTo>
                      <a:pt x="21" y="26"/>
                      <a:pt x="21" y="26"/>
                      <a:pt x="21" y="26"/>
                    </a:cubicBezTo>
                    <a:cubicBezTo>
                      <a:pt x="21" y="30"/>
                      <a:pt x="21" y="30"/>
                      <a:pt x="21" y="30"/>
                    </a:cubicBezTo>
                    <a:cubicBezTo>
                      <a:pt x="22" y="35"/>
                      <a:pt x="22" y="35"/>
                      <a:pt x="22" y="35"/>
                    </a:cubicBezTo>
                    <a:cubicBezTo>
                      <a:pt x="25" y="49"/>
                      <a:pt x="25" y="49"/>
                      <a:pt x="25" y="49"/>
                    </a:cubicBezTo>
                    <a:cubicBezTo>
                      <a:pt x="25" y="54"/>
                      <a:pt x="25" y="54"/>
                      <a:pt x="25" y="54"/>
                    </a:cubicBezTo>
                    <a:cubicBezTo>
                      <a:pt x="24" y="58"/>
                      <a:pt x="24" y="58"/>
                      <a:pt x="24" y="58"/>
                    </a:cubicBezTo>
                    <a:cubicBezTo>
                      <a:pt x="21" y="60"/>
                      <a:pt x="21" y="60"/>
                      <a:pt x="21" y="60"/>
                    </a:cubicBezTo>
                    <a:cubicBezTo>
                      <a:pt x="23" y="67"/>
                      <a:pt x="23" y="67"/>
                      <a:pt x="23" y="67"/>
                    </a:cubicBezTo>
                    <a:cubicBezTo>
                      <a:pt x="25" y="74"/>
                      <a:pt x="25" y="74"/>
                      <a:pt x="25" y="74"/>
                    </a:cubicBezTo>
                    <a:cubicBezTo>
                      <a:pt x="28" y="80"/>
                      <a:pt x="28" y="80"/>
                      <a:pt x="28" y="80"/>
                    </a:cubicBezTo>
                    <a:cubicBezTo>
                      <a:pt x="28" y="89"/>
                      <a:pt x="28" y="89"/>
                      <a:pt x="28" y="89"/>
                    </a:cubicBezTo>
                    <a:cubicBezTo>
                      <a:pt x="27" y="92"/>
                      <a:pt x="27" y="92"/>
                      <a:pt x="27" y="92"/>
                    </a:cubicBezTo>
                    <a:cubicBezTo>
                      <a:pt x="26" y="94"/>
                      <a:pt x="26" y="94"/>
                      <a:pt x="26" y="94"/>
                    </a:cubicBezTo>
                    <a:cubicBezTo>
                      <a:pt x="27" y="107"/>
                      <a:pt x="27" y="107"/>
                      <a:pt x="27" y="107"/>
                    </a:cubicBezTo>
                    <a:cubicBezTo>
                      <a:pt x="27" y="110"/>
                      <a:pt x="27" y="110"/>
                      <a:pt x="27" y="110"/>
                    </a:cubicBezTo>
                    <a:cubicBezTo>
                      <a:pt x="24" y="112"/>
                      <a:pt x="24" y="112"/>
                      <a:pt x="24" y="112"/>
                    </a:cubicBezTo>
                    <a:cubicBezTo>
                      <a:pt x="21" y="113"/>
                      <a:pt x="21" y="113"/>
                      <a:pt x="21" y="113"/>
                    </a:cubicBezTo>
                    <a:cubicBezTo>
                      <a:pt x="22" y="121"/>
                      <a:pt x="22" y="121"/>
                      <a:pt x="22" y="121"/>
                    </a:cubicBezTo>
                    <a:cubicBezTo>
                      <a:pt x="23" y="123"/>
                      <a:pt x="23" y="123"/>
                      <a:pt x="23" y="123"/>
                    </a:cubicBezTo>
                    <a:cubicBezTo>
                      <a:pt x="25" y="121"/>
                      <a:pt x="25" y="121"/>
                      <a:pt x="25" y="121"/>
                    </a:cubicBezTo>
                    <a:cubicBezTo>
                      <a:pt x="27" y="122"/>
                      <a:pt x="27" y="122"/>
                      <a:pt x="27" y="122"/>
                    </a:cubicBezTo>
                    <a:cubicBezTo>
                      <a:pt x="25" y="124"/>
                      <a:pt x="25" y="124"/>
                      <a:pt x="25" y="124"/>
                    </a:cubicBezTo>
                    <a:cubicBezTo>
                      <a:pt x="25" y="144"/>
                      <a:pt x="25" y="144"/>
                      <a:pt x="25" y="144"/>
                    </a:cubicBezTo>
                    <a:cubicBezTo>
                      <a:pt x="27" y="151"/>
                      <a:pt x="27" y="151"/>
                      <a:pt x="27" y="151"/>
                    </a:cubicBezTo>
                    <a:cubicBezTo>
                      <a:pt x="28" y="157"/>
                      <a:pt x="28" y="157"/>
                      <a:pt x="28" y="157"/>
                    </a:cubicBezTo>
                    <a:cubicBezTo>
                      <a:pt x="27" y="162"/>
                      <a:pt x="27" y="162"/>
                      <a:pt x="27" y="162"/>
                    </a:cubicBezTo>
                    <a:cubicBezTo>
                      <a:pt x="24" y="167"/>
                      <a:pt x="24" y="167"/>
                      <a:pt x="24" y="167"/>
                    </a:cubicBezTo>
                    <a:cubicBezTo>
                      <a:pt x="24" y="171"/>
                      <a:pt x="24" y="171"/>
                      <a:pt x="24" y="171"/>
                    </a:cubicBezTo>
                    <a:cubicBezTo>
                      <a:pt x="28" y="178"/>
                      <a:pt x="28" y="178"/>
                      <a:pt x="28" y="178"/>
                    </a:cubicBezTo>
                    <a:cubicBezTo>
                      <a:pt x="27" y="182"/>
                      <a:pt x="27" y="182"/>
                      <a:pt x="27" y="182"/>
                    </a:cubicBezTo>
                    <a:cubicBezTo>
                      <a:pt x="26" y="191"/>
                      <a:pt x="26" y="191"/>
                      <a:pt x="26" y="191"/>
                    </a:cubicBezTo>
                    <a:cubicBezTo>
                      <a:pt x="24" y="194"/>
                      <a:pt x="24" y="194"/>
                      <a:pt x="24" y="194"/>
                    </a:cubicBezTo>
                    <a:cubicBezTo>
                      <a:pt x="24" y="199"/>
                      <a:pt x="24" y="199"/>
                      <a:pt x="24" y="199"/>
                    </a:cubicBezTo>
                    <a:cubicBezTo>
                      <a:pt x="25" y="202"/>
                      <a:pt x="25" y="202"/>
                      <a:pt x="25" y="202"/>
                    </a:cubicBezTo>
                    <a:cubicBezTo>
                      <a:pt x="25" y="204"/>
                      <a:pt x="25" y="204"/>
                      <a:pt x="25" y="204"/>
                    </a:cubicBezTo>
                    <a:cubicBezTo>
                      <a:pt x="22" y="209"/>
                      <a:pt x="22" y="209"/>
                      <a:pt x="22" y="209"/>
                    </a:cubicBezTo>
                    <a:cubicBezTo>
                      <a:pt x="22" y="214"/>
                      <a:pt x="22" y="214"/>
                      <a:pt x="22" y="214"/>
                    </a:cubicBezTo>
                    <a:cubicBezTo>
                      <a:pt x="20" y="217"/>
                      <a:pt x="20" y="217"/>
                      <a:pt x="20" y="217"/>
                    </a:cubicBezTo>
                    <a:cubicBezTo>
                      <a:pt x="21" y="223"/>
                      <a:pt x="21" y="223"/>
                      <a:pt x="21" y="223"/>
                    </a:cubicBezTo>
                    <a:cubicBezTo>
                      <a:pt x="20" y="225"/>
                      <a:pt x="20" y="225"/>
                      <a:pt x="20" y="225"/>
                    </a:cubicBezTo>
                    <a:cubicBezTo>
                      <a:pt x="17" y="232"/>
                      <a:pt x="17" y="232"/>
                      <a:pt x="17" y="232"/>
                    </a:cubicBezTo>
                    <a:cubicBezTo>
                      <a:pt x="17" y="235"/>
                      <a:pt x="17" y="235"/>
                      <a:pt x="17" y="235"/>
                    </a:cubicBezTo>
                    <a:cubicBezTo>
                      <a:pt x="21" y="240"/>
                      <a:pt x="21" y="240"/>
                      <a:pt x="21" y="240"/>
                    </a:cubicBezTo>
                    <a:cubicBezTo>
                      <a:pt x="21" y="246"/>
                      <a:pt x="21" y="246"/>
                      <a:pt x="21" y="246"/>
                    </a:cubicBezTo>
                    <a:cubicBezTo>
                      <a:pt x="24" y="249"/>
                      <a:pt x="24" y="249"/>
                      <a:pt x="24" y="249"/>
                    </a:cubicBezTo>
                    <a:cubicBezTo>
                      <a:pt x="21" y="251"/>
                      <a:pt x="21" y="251"/>
                      <a:pt x="21" y="251"/>
                    </a:cubicBezTo>
                    <a:cubicBezTo>
                      <a:pt x="19" y="255"/>
                      <a:pt x="19" y="255"/>
                      <a:pt x="19" y="255"/>
                    </a:cubicBezTo>
                    <a:cubicBezTo>
                      <a:pt x="22" y="258"/>
                      <a:pt x="22" y="258"/>
                      <a:pt x="22" y="258"/>
                    </a:cubicBezTo>
                    <a:cubicBezTo>
                      <a:pt x="19" y="262"/>
                      <a:pt x="19" y="262"/>
                      <a:pt x="19" y="262"/>
                    </a:cubicBezTo>
                    <a:cubicBezTo>
                      <a:pt x="16" y="263"/>
                      <a:pt x="16" y="263"/>
                      <a:pt x="16" y="263"/>
                    </a:cubicBezTo>
                    <a:cubicBezTo>
                      <a:pt x="16" y="267"/>
                      <a:pt x="16" y="267"/>
                      <a:pt x="16" y="267"/>
                    </a:cubicBezTo>
                    <a:cubicBezTo>
                      <a:pt x="17" y="272"/>
                      <a:pt x="17" y="272"/>
                      <a:pt x="17" y="272"/>
                    </a:cubicBezTo>
                    <a:cubicBezTo>
                      <a:pt x="17" y="275"/>
                      <a:pt x="17" y="275"/>
                      <a:pt x="17" y="275"/>
                    </a:cubicBezTo>
                    <a:cubicBezTo>
                      <a:pt x="22" y="287"/>
                      <a:pt x="22" y="287"/>
                      <a:pt x="22" y="287"/>
                    </a:cubicBezTo>
                    <a:cubicBezTo>
                      <a:pt x="22" y="293"/>
                      <a:pt x="22" y="293"/>
                      <a:pt x="22" y="293"/>
                    </a:cubicBezTo>
                    <a:cubicBezTo>
                      <a:pt x="20" y="295"/>
                      <a:pt x="20" y="295"/>
                      <a:pt x="20" y="295"/>
                    </a:cubicBezTo>
                    <a:cubicBezTo>
                      <a:pt x="20" y="298"/>
                      <a:pt x="20" y="298"/>
                      <a:pt x="20" y="298"/>
                    </a:cubicBezTo>
                    <a:cubicBezTo>
                      <a:pt x="25" y="304"/>
                      <a:pt x="25" y="304"/>
                      <a:pt x="25" y="304"/>
                    </a:cubicBezTo>
                    <a:cubicBezTo>
                      <a:pt x="25" y="310"/>
                      <a:pt x="25" y="310"/>
                      <a:pt x="25" y="310"/>
                    </a:cubicBezTo>
                    <a:cubicBezTo>
                      <a:pt x="24" y="315"/>
                      <a:pt x="24" y="315"/>
                      <a:pt x="24" y="315"/>
                    </a:cubicBezTo>
                    <a:cubicBezTo>
                      <a:pt x="24" y="317"/>
                      <a:pt x="24" y="317"/>
                      <a:pt x="24" y="317"/>
                    </a:cubicBezTo>
                    <a:cubicBezTo>
                      <a:pt x="25" y="320"/>
                      <a:pt x="25" y="320"/>
                      <a:pt x="25" y="320"/>
                    </a:cubicBezTo>
                    <a:cubicBezTo>
                      <a:pt x="24" y="323"/>
                      <a:pt x="24" y="323"/>
                      <a:pt x="24" y="323"/>
                    </a:cubicBezTo>
                    <a:cubicBezTo>
                      <a:pt x="23" y="326"/>
                      <a:pt x="23" y="326"/>
                      <a:pt x="23" y="326"/>
                    </a:cubicBezTo>
                    <a:cubicBezTo>
                      <a:pt x="24" y="328"/>
                      <a:pt x="24" y="328"/>
                      <a:pt x="24" y="328"/>
                    </a:cubicBezTo>
                    <a:cubicBezTo>
                      <a:pt x="29" y="333"/>
                      <a:pt x="29" y="333"/>
                      <a:pt x="29" y="333"/>
                    </a:cubicBezTo>
                    <a:cubicBezTo>
                      <a:pt x="29" y="337"/>
                      <a:pt x="29" y="337"/>
                      <a:pt x="29" y="337"/>
                    </a:cubicBezTo>
                    <a:cubicBezTo>
                      <a:pt x="27" y="340"/>
                      <a:pt x="27" y="340"/>
                      <a:pt x="27" y="340"/>
                    </a:cubicBezTo>
                    <a:cubicBezTo>
                      <a:pt x="24" y="342"/>
                      <a:pt x="24" y="342"/>
                      <a:pt x="24" y="342"/>
                    </a:cubicBezTo>
                    <a:cubicBezTo>
                      <a:pt x="21" y="347"/>
                      <a:pt x="21" y="347"/>
                      <a:pt x="21" y="347"/>
                    </a:cubicBezTo>
                    <a:cubicBezTo>
                      <a:pt x="21" y="348"/>
                      <a:pt x="21" y="348"/>
                      <a:pt x="21" y="348"/>
                    </a:cubicBezTo>
                    <a:cubicBezTo>
                      <a:pt x="23" y="350"/>
                      <a:pt x="23" y="350"/>
                      <a:pt x="23" y="350"/>
                    </a:cubicBezTo>
                    <a:cubicBezTo>
                      <a:pt x="22" y="355"/>
                      <a:pt x="22" y="355"/>
                      <a:pt x="22" y="355"/>
                    </a:cubicBezTo>
                    <a:cubicBezTo>
                      <a:pt x="19" y="357"/>
                      <a:pt x="19" y="357"/>
                      <a:pt x="19" y="357"/>
                    </a:cubicBezTo>
                    <a:cubicBezTo>
                      <a:pt x="19" y="360"/>
                      <a:pt x="19" y="360"/>
                      <a:pt x="19" y="360"/>
                    </a:cubicBezTo>
                    <a:cubicBezTo>
                      <a:pt x="19" y="366"/>
                      <a:pt x="19" y="366"/>
                      <a:pt x="19" y="366"/>
                    </a:cubicBezTo>
                    <a:cubicBezTo>
                      <a:pt x="17" y="369"/>
                      <a:pt x="17" y="369"/>
                      <a:pt x="17" y="369"/>
                    </a:cubicBezTo>
                    <a:cubicBezTo>
                      <a:pt x="17" y="372"/>
                      <a:pt x="17" y="372"/>
                      <a:pt x="17" y="372"/>
                    </a:cubicBezTo>
                    <a:cubicBezTo>
                      <a:pt x="16" y="374"/>
                      <a:pt x="16" y="374"/>
                      <a:pt x="16" y="374"/>
                    </a:cubicBezTo>
                    <a:cubicBezTo>
                      <a:pt x="16" y="378"/>
                      <a:pt x="16" y="378"/>
                      <a:pt x="16" y="378"/>
                    </a:cubicBezTo>
                    <a:cubicBezTo>
                      <a:pt x="14" y="380"/>
                      <a:pt x="14" y="380"/>
                      <a:pt x="14" y="380"/>
                    </a:cubicBezTo>
                    <a:cubicBezTo>
                      <a:pt x="14" y="382"/>
                      <a:pt x="14" y="382"/>
                      <a:pt x="14" y="382"/>
                    </a:cubicBezTo>
                    <a:cubicBezTo>
                      <a:pt x="16" y="385"/>
                      <a:pt x="16" y="385"/>
                      <a:pt x="16" y="385"/>
                    </a:cubicBezTo>
                    <a:cubicBezTo>
                      <a:pt x="13" y="388"/>
                      <a:pt x="13" y="388"/>
                      <a:pt x="13" y="388"/>
                    </a:cubicBezTo>
                    <a:cubicBezTo>
                      <a:pt x="13" y="393"/>
                      <a:pt x="13" y="393"/>
                      <a:pt x="13" y="393"/>
                    </a:cubicBezTo>
                    <a:cubicBezTo>
                      <a:pt x="13" y="396"/>
                      <a:pt x="13" y="396"/>
                      <a:pt x="13" y="396"/>
                    </a:cubicBezTo>
                    <a:cubicBezTo>
                      <a:pt x="10" y="398"/>
                      <a:pt x="10" y="398"/>
                      <a:pt x="10" y="398"/>
                    </a:cubicBezTo>
                    <a:cubicBezTo>
                      <a:pt x="10" y="401"/>
                      <a:pt x="10" y="401"/>
                      <a:pt x="10" y="401"/>
                    </a:cubicBezTo>
                    <a:cubicBezTo>
                      <a:pt x="9" y="404"/>
                      <a:pt x="9" y="404"/>
                      <a:pt x="9" y="404"/>
                    </a:cubicBezTo>
                    <a:cubicBezTo>
                      <a:pt x="8" y="406"/>
                      <a:pt x="8" y="406"/>
                      <a:pt x="8" y="406"/>
                    </a:cubicBezTo>
                    <a:cubicBezTo>
                      <a:pt x="10" y="409"/>
                      <a:pt x="10" y="409"/>
                      <a:pt x="10" y="409"/>
                    </a:cubicBezTo>
                    <a:cubicBezTo>
                      <a:pt x="10" y="413"/>
                      <a:pt x="10" y="413"/>
                      <a:pt x="10" y="413"/>
                    </a:cubicBezTo>
                    <a:cubicBezTo>
                      <a:pt x="8" y="416"/>
                      <a:pt x="8" y="416"/>
                      <a:pt x="8" y="416"/>
                    </a:cubicBezTo>
                    <a:cubicBezTo>
                      <a:pt x="5" y="416"/>
                      <a:pt x="5" y="416"/>
                      <a:pt x="5" y="416"/>
                    </a:cubicBezTo>
                    <a:cubicBezTo>
                      <a:pt x="3" y="415"/>
                      <a:pt x="3" y="415"/>
                      <a:pt x="3" y="415"/>
                    </a:cubicBezTo>
                    <a:cubicBezTo>
                      <a:pt x="0" y="415"/>
                      <a:pt x="0" y="415"/>
                      <a:pt x="0" y="415"/>
                    </a:cubicBezTo>
                    <a:cubicBezTo>
                      <a:pt x="0" y="418"/>
                      <a:pt x="0" y="418"/>
                      <a:pt x="0" y="418"/>
                    </a:cubicBezTo>
                    <a:cubicBezTo>
                      <a:pt x="1" y="422"/>
                      <a:pt x="1" y="422"/>
                      <a:pt x="1" y="422"/>
                    </a:cubicBezTo>
                    <a:cubicBezTo>
                      <a:pt x="1" y="427"/>
                      <a:pt x="1" y="427"/>
                      <a:pt x="1" y="427"/>
                    </a:cubicBezTo>
                    <a:cubicBezTo>
                      <a:pt x="3" y="431"/>
                      <a:pt x="3" y="431"/>
                      <a:pt x="3" y="431"/>
                    </a:cubicBezTo>
                    <a:cubicBezTo>
                      <a:pt x="7" y="434"/>
                      <a:pt x="7" y="434"/>
                      <a:pt x="7" y="434"/>
                    </a:cubicBezTo>
                    <a:cubicBezTo>
                      <a:pt x="8" y="438"/>
                      <a:pt x="8" y="438"/>
                      <a:pt x="8" y="438"/>
                    </a:cubicBezTo>
                    <a:cubicBezTo>
                      <a:pt x="7" y="443"/>
                      <a:pt x="7" y="443"/>
                      <a:pt x="7" y="443"/>
                    </a:cubicBezTo>
                    <a:cubicBezTo>
                      <a:pt x="13" y="453"/>
                      <a:pt x="13" y="453"/>
                      <a:pt x="13" y="453"/>
                    </a:cubicBezTo>
                    <a:cubicBezTo>
                      <a:pt x="14" y="456"/>
                      <a:pt x="14" y="456"/>
                      <a:pt x="14" y="456"/>
                    </a:cubicBezTo>
                    <a:cubicBezTo>
                      <a:pt x="17" y="458"/>
                      <a:pt x="17" y="458"/>
                      <a:pt x="17" y="458"/>
                    </a:cubicBezTo>
                    <a:cubicBezTo>
                      <a:pt x="17" y="464"/>
                      <a:pt x="17" y="464"/>
                      <a:pt x="17" y="464"/>
                    </a:cubicBezTo>
                    <a:cubicBezTo>
                      <a:pt x="15" y="472"/>
                      <a:pt x="15" y="472"/>
                      <a:pt x="15" y="472"/>
                    </a:cubicBezTo>
                    <a:cubicBezTo>
                      <a:pt x="13" y="473"/>
                      <a:pt x="13" y="473"/>
                      <a:pt x="13" y="473"/>
                    </a:cubicBezTo>
                    <a:cubicBezTo>
                      <a:pt x="14" y="476"/>
                      <a:pt x="14" y="476"/>
                      <a:pt x="14" y="476"/>
                    </a:cubicBezTo>
                    <a:cubicBezTo>
                      <a:pt x="13" y="478"/>
                      <a:pt x="13" y="478"/>
                      <a:pt x="13" y="478"/>
                    </a:cubicBezTo>
                    <a:cubicBezTo>
                      <a:pt x="12" y="477"/>
                      <a:pt x="12" y="477"/>
                      <a:pt x="12" y="477"/>
                    </a:cubicBezTo>
                    <a:cubicBezTo>
                      <a:pt x="10" y="478"/>
                      <a:pt x="10" y="478"/>
                      <a:pt x="10" y="478"/>
                    </a:cubicBezTo>
                    <a:cubicBezTo>
                      <a:pt x="9" y="481"/>
                      <a:pt x="9" y="481"/>
                      <a:pt x="9" y="481"/>
                    </a:cubicBezTo>
                    <a:cubicBezTo>
                      <a:pt x="10" y="485"/>
                      <a:pt x="10" y="485"/>
                      <a:pt x="10" y="485"/>
                    </a:cubicBezTo>
                    <a:cubicBezTo>
                      <a:pt x="12" y="487"/>
                      <a:pt x="12" y="487"/>
                      <a:pt x="12" y="487"/>
                    </a:cubicBezTo>
                    <a:cubicBezTo>
                      <a:pt x="10" y="494"/>
                      <a:pt x="10" y="494"/>
                      <a:pt x="10" y="494"/>
                    </a:cubicBezTo>
                    <a:cubicBezTo>
                      <a:pt x="11" y="497"/>
                      <a:pt x="11" y="497"/>
                      <a:pt x="11" y="497"/>
                    </a:cubicBezTo>
                    <a:cubicBezTo>
                      <a:pt x="9" y="500"/>
                      <a:pt x="9" y="500"/>
                      <a:pt x="9" y="500"/>
                    </a:cubicBezTo>
                    <a:cubicBezTo>
                      <a:pt x="11" y="501"/>
                      <a:pt x="11" y="501"/>
                      <a:pt x="11" y="501"/>
                    </a:cubicBezTo>
                    <a:cubicBezTo>
                      <a:pt x="10" y="504"/>
                      <a:pt x="10" y="504"/>
                      <a:pt x="10" y="504"/>
                    </a:cubicBezTo>
                    <a:cubicBezTo>
                      <a:pt x="9" y="505"/>
                      <a:pt x="9" y="505"/>
                      <a:pt x="9" y="505"/>
                    </a:cubicBezTo>
                    <a:cubicBezTo>
                      <a:pt x="11" y="507"/>
                      <a:pt x="11" y="507"/>
                      <a:pt x="11" y="507"/>
                    </a:cubicBezTo>
                    <a:cubicBezTo>
                      <a:pt x="17" y="516"/>
                      <a:pt x="17" y="516"/>
                      <a:pt x="17" y="516"/>
                    </a:cubicBezTo>
                    <a:cubicBezTo>
                      <a:pt x="18" y="518"/>
                      <a:pt x="18" y="518"/>
                      <a:pt x="18" y="518"/>
                    </a:cubicBezTo>
                    <a:cubicBezTo>
                      <a:pt x="20" y="520"/>
                      <a:pt x="20" y="520"/>
                      <a:pt x="20" y="520"/>
                    </a:cubicBezTo>
                    <a:cubicBezTo>
                      <a:pt x="25" y="523"/>
                      <a:pt x="25" y="523"/>
                      <a:pt x="25" y="523"/>
                    </a:cubicBezTo>
                    <a:cubicBezTo>
                      <a:pt x="31" y="521"/>
                      <a:pt x="31" y="521"/>
                      <a:pt x="31" y="521"/>
                    </a:cubicBezTo>
                    <a:cubicBezTo>
                      <a:pt x="31" y="516"/>
                      <a:pt x="31" y="516"/>
                      <a:pt x="31" y="516"/>
                    </a:cubicBezTo>
                    <a:cubicBezTo>
                      <a:pt x="32" y="515"/>
                      <a:pt x="32" y="515"/>
                      <a:pt x="32" y="515"/>
                    </a:cubicBezTo>
                    <a:cubicBezTo>
                      <a:pt x="35" y="515"/>
                      <a:pt x="35" y="515"/>
                      <a:pt x="35" y="515"/>
                    </a:cubicBezTo>
                    <a:cubicBezTo>
                      <a:pt x="38" y="519"/>
                      <a:pt x="38" y="519"/>
                      <a:pt x="38" y="519"/>
                    </a:cubicBezTo>
                    <a:cubicBezTo>
                      <a:pt x="39" y="518"/>
                      <a:pt x="39" y="518"/>
                      <a:pt x="39" y="518"/>
                    </a:cubicBezTo>
                    <a:cubicBezTo>
                      <a:pt x="42" y="517"/>
                      <a:pt x="42" y="517"/>
                      <a:pt x="42" y="517"/>
                    </a:cubicBezTo>
                    <a:cubicBezTo>
                      <a:pt x="40" y="520"/>
                      <a:pt x="40" y="520"/>
                      <a:pt x="40" y="520"/>
                    </a:cubicBezTo>
                    <a:cubicBezTo>
                      <a:pt x="36" y="524"/>
                      <a:pt x="36" y="524"/>
                      <a:pt x="36" y="524"/>
                    </a:cubicBezTo>
                    <a:cubicBezTo>
                      <a:pt x="36" y="526"/>
                      <a:pt x="36" y="526"/>
                      <a:pt x="36" y="526"/>
                    </a:cubicBezTo>
                    <a:cubicBezTo>
                      <a:pt x="39" y="528"/>
                      <a:pt x="39" y="528"/>
                      <a:pt x="39" y="528"/>
                    </a:cubicBezTo>
                    <a:cubicBezTo>
                      <a:pt x="41" y="526"/>
                      <a:pt x="41" y="526"/>
                      <a:pt x="41" y="526"/>
                    </a:cubicBezTo>
                    <a:cubicBezTo>
                      <a:pt x="42" y="529"/>
                      <a:pt x="42" y="529"/>
                      <a:pt x="42" y="529"/>
                    </a:cubicBezTo>
                    <a:cubicBezTo>
                      <a:pt x="42" y="535"/>
                      <a:pt x="42" y="535"/>
                      <a:pt x="42" y="535"/>
                    </a:cubicBezTo>
                    <a:cubicBezTo>
                      <a:pt x="44" y="538"/>
                      <a:pt x="44" y="538"/>
                      <a:pt x="44" y="538"/>
                    </a:cubicBezTo>
                    <a:cubicBezTo>
                      <a:pt x="43" y="538"/>
                      <a:pt x="43" y="538"/>
                      <a:pt x="43" y="538"/>
                    </a:cubicBezTo>
                    <a:cubicBezTo>
                      <a:pt x="41" y="537"/>
                      <a:pt x="41" y="537"/>
                      <a:pt x="41" y="537"/>
                    </a:cubicBezTo>
                    <a:cubicBezTo>
                      <a:pt x="40" y="534"/>
                      <a:pt x="40" y="534"/>
                      <a:pt x="40" y="534"/>
                    </a:cubicBezTo>
                    <a:cubicBezTo>
                      <a:pt x="38" y="533"/>
                      <a:pt x="38" y="533"/>
                      <a:pt x="38" y="533"/>
                    </a:cubicBezTo>
                    <a:cubicBezTo>
                      <a:pt x="36" y="534"/>
                      <a:pt x="36" y="534"/>
                      <a:pt x="36" y="534"/>
                    </a:cubicBezTo>
                    <a:cubicBezTo>
                      <a:pt x="37" y="536"/>
                      <a:pt x="37" y="536"/>
                      <a:pt x="37" y="536"/>
                    </a:cubicBezTo>
                    <a:cubicBezTo>
                      <a:pt x="40" y="539"/>
                      <a:pt x="40" y="539"/>
                      <a:pt x="40" y="539"/>
                    </a:cubicBezTo>
                    <a:cubicBezTo>
                      <a:pt x="41" y="541"/>
                      <a:pt x="41" y="541"/>
                      <a:pt x="41" y="541"/>
                    </a:cubicBezTo>
                    <a:cubicBezTo>
                      <a:pt x="39" y="542"/>
                      <a:pt x="39" y="542"/>
                      <a:pt x="39" y="542"/>
                    </a:cubicBezTo>
                    <a:cubicBezTo>
                      <a:pt x="37" y="543"/>
                      <a:pt x="37" y="543"/>
                      <a:pt x="37" y="543"/>
                    </a:cubicBezTo>
                    <a:cubicBezTo>
                      <a:pt x="37" y="547"/>
                      <a:pt x="37" y="547"/>
                      <a:pt x="37" y="547"/>
                    </a:cubicBezTo>
                    <a:cubicBezTo>
                      <a:pt x="40" y="550"/>
                      <a:pt x="40" y="550"/>
                      <a:pt x="40" y="550"/>
                    </a:cubicBezTo>
                    <a:cubicBezTo>
                      <a:pt x="37" y="554"/>
                      <a:pt x="37" y="554"/>
                      <a:pt x="37" y="554"/>
                    </a:cubicBezTo>
                    <a:cubicBezTo>
                      <a:pt x="37" y="556"/>
                      <a:pt x="37" y="556"/>
                      <a:pt x="37" y="556"/>
                    </a:cubicBezTo>
                    <a:cubicBezTo>
                      <a:pt x="39" y="557"/>
                      <a:pt x="39" y="557"/>
                      <a:pt x="39" y="557"/>
                    </a:cubicBezTo>
                    <a:cubicBezTo>
                      <a:pt x="35" y="561"/>
                      <a:pt x="35" y="561"/>
                      <a:pt x="35" y="561"/>
                    </a:cubicBezTo>
                    <a:cubicBezTo>
                      <a:pt x="36" y="563"/>
                      <a:pt x="36" y="563"/>
                      <a:pt x="36" y="563"/>
                    </a:cubicBezTo>
                    <a:cubicBezTo>
                      <a:pt x="40" y="565"/>
                      <a:pt x="40" y="565"/>
                      <a:pt x="40" y="565"/>
                    </a:cubicBezTo>
                    <a:cubicBezTo>
                      <a:pt x="39" y="568"/>
                      <a:pt x="39" y="568"/>
                      <a:pt x="39" y="568"/>
                    </a:cubicBezTo>
                    <a:cubicBezTo>
                      <a:pt x="38" y="573"/>
                      <a:pt x="38" y="573"/>
                      <a:pt x="38" y="573"/>
                    </a:cubicBezTo>
                    <a:cubicBezTo>
                      <a:pt x="36" y="576"/>
                      <a:pt x="36" y="576"/>
                      <a:pt x="36" y="576"/>
                    </a:cubicBezTo>
                    <a:cubicBezTo>
                      <a:pt x="36" y="578"/>
                      <a:pt x="36" y="578"/>
                      <a:pt x="36" y="578"/>
                    </a:cubicBezTo>
                    <a:cubicBezTo>
                      <a:pt x="38" y="580"/>
                      <a:pt x="38" y="580"/>
                      <a:pt x="38" y="580"/>
                    </a:cubicBezTo>
                    <a:cubicBezTo>
                      <a:pt x="41" y="580"/>
                      <a:pt x="41" y="580"/>
                      <a:pt x="41" y="580"/>
                    </a:cubicBezTo>
                    <a:cubicBezTo>
                      <a:pt x="44" y="582"/>
                      <a:pt x="44" y="582"/>
                      <a:pt x="44" y="582"/>
                    </a:cubicBezTo>
                    <a:cubicBezTo>
                      <a:pt x="44" y="585"/>
                      <a:pt x="44" y="585"/>
                      <a:pt x="44" y="585"/>
                    </a:cubicBezTo>
                    <a:cubicBezTo>
                      <a:pt x="47" y="585"/>
                      <a:pt x="47" y="585"/>
                      <a:pt x="47" y="585"/>
                    </a:cubicBezTo>
                    <a:cubicBezTo>
                      <a:pt x="49" y="588"/>
                      <a:pt x="49" y="588"/>
                      <a:pt x="49" y="588"/>
                    </a:cubicBezTo>
                    <a:cubicBezTo>
                      <a:pt x="48" y="594"/>
                      <a:pt x="48" y="594"/>
                      <a:pt x="48" y="594"/>
                    </a:cubicBezTo>
                    <a:cubicBezTo>
                      <a:pt x="46" y="598"/>
                      <a:pt x="46" y="598"/>
                      <a:pt x="46" y="598"/>
                    </a:cubicBezTo>
                    <a:cubicBezTo>
                      <a:pt x="41" y="600"/>
                      <a:pt x="41" y="600"/>
                      <a:pt x="41" y="600"/>
                    </a:cubicBezTo>
                    <a:cubicBezTo>
                      <a:pt x="39" y="600"/>
                      <a:pt x="39" y="600"/>
                      <a:pt x="39" y="600"/>
                    </a:cubicBezTo>
                    <a:cubicBezTo>
                      <a:pt x="38" y="604"/>
                      <a:pt x="38" y="604"/>
                      <a:pt x="38" y="604"/>
                    </a:cubicBezTo>
                    <a:cubicBezTo>
                      <a:pt x="40" y="608"/>
                      <a:pt x="40" y="608"/>
                      <a:pt x="40" y="608"/>
                    </a:cubicBezTo>
                    <a:cubicBezTo>
                      <a:pt x="38" y="610"/>
                      <a:pt x="38" y="610"/>
                      <a:pt x="38" y="610"/>
                    </a:cubicBezTo>
                    <a:cubicBezTo>
                      <a:pt x="38" y="612"/>
                      <a:pt x="38" y="612"/>
                      <a:pt x="38" y="612"/>
                    </a:cubicBezTo>
                    <a:cubicBezTo>
                      <a:pt x="40" y="613"/>
                      <a:pt x="40" y="613"/>
                      <a:pt x="40" y="613"/>
                    </a:cubicBezTo>
                    <a:cubicBezTo>
                      <a:pt x="37" y="616"/>
                      <a:pt x="37" y="616"/>
                      <a:pt x="37" y="616"/>
                    </a:cubicBezTo>
                    <a:cubicBezTo>
                      <a:pt x="35" y="622"/>
                      <a:pt x="35" y="622"/>
                      <a:pt x="35" y="622"/>
                    </a:cubicBezTo>
                    <a:cubicBezTo>
                      <a:pt x="35" y="626"/>
                      <a:pt x="35" y="626"/>
                      <a:pt x="35" y="626"/>
                    </a:cubicBezTo>
                    <a:cubicBezTo>
                      <a:pt x="37" y="627"/>
                      <a:pt x="37" y="627"/>
                      <a:pt x="37" y="627"/>
                    </a:cubicBezTo>
                    <a:cubicBezTo>
                      <a:pt x="36" y="629"/>
                      <a:pt x="36" y="629"/>
                      <a:pt x="36" y="629"/>
                    </a:cubicBezTo>
                    <a:cubicBezTo>
                      <a:pt x="36" y="636"/>
                      <a:pt x="36" y="636"/>
                      <a:pt x="36" y="636"/>
                    </a:cubicBezTo>
                    <a:cubicBezTo>
                      <a:pt x="33" y="637"/>
                      <a:pt x="33" y="637"/>
                      <a:pt x="33" y="637"/>
                    </a:cubicBezTo>
                    <a:cubicBezTo>
                      <a:pt x="32" y="641"/>
                      <a:pt x="32" y="641"/>
                      <a:pt x="32" y="641"/>
                    </a:cubicBezTo>
                    <a:cubicBezTo>
                      <a:pt x="31" y="639"/>
                      <a:pt x="31" y="639"/>
                      <a:pt x="31" y="639"/>
                    </a:cubicBezTo>
                    <a:cubicBezTo>
                      <a:pt x="32" y="637"/>
                      <a:pt x="32" y="637"/>
                      <a:pt x="32" y="637"/>
                    </a:cubicBezTo>
                    <a:cubicBezTo>
                      <a:pt x="34" y="631"/>
                      <a:pt x="34" y="631"/>
                      <a:pt x="34" y="631"/>
                    </a:cubicBezTo>
                    <a:cubicBezTo>
                      <a:pt x="33" y="628"/>
                      <a:pt x="33" y="628"/>
                      <a:pt x="33" y="628"/>
                    </a:cubicBezTo>
                    <a:cubicBezTo>
                      <a:pt x="34" y="626"/>
                      <a:pt x="34" y="626"/>
                      <a:pt x="34" y="626"/>
                    </a:cubicBezTo>
                    <a:cubicBezTo>
                      <a:pt x="32" y="626"/>
                      <a:pt x="32" y="626"/>
                      <a:pt x="32" y="626"/>
                    </a:cubicBezTo>
                    <a:cubicBezTo>
                      <a:pt x="27" y="627"/>
                      <a:pt x="27" y="627"/>
                      <a:pt x="27" y="627"/>
                    </a:cubicBezTo>
                    <a:cubicBezTo>
                      <a:pt x="23" y="630"/>
                      <a:pt x="23" y="630"/>
                      <a:pt x="23" y="630"/>
                    </a:cubicBezTo>
                    <a:cubicBezTo>
                      <a:pt x="21" y="630"/>
                      <a:pt x="21" y="630"/>
                      <a:pt x="21" y="630"/>
                    </a:cubicBezTo>
                    <a:cubicBezTo>
                      <a:pt x="21" y="628"/>
                      <a:pt x="21" y="628"/>
                      <a:pt x="21" y="628"/>
                    </a:cubicBezTo>
                    <a:cubicBezTo>
                      <a:pt x="25" y="627"/>
                      <a:pt x="25" y="627"/>
                      <a:pt x="25" y="627"/>
                    </a:cubicBezTo>
                    <a:cubicBezTo>
                      <a:pt x="27" y="625"/>
                      <a:pt x="27" y="625"/>
                      <a:pt x="27" y="625"/>
                    </a:cubicBezTo>
                    <a:cubicBezTo>
                      <a:pt x="27" y="620"/>
                      <a:pt x="27" y="620"/>
                      <a:pt x="27" y="620"/>
                    </a:cubicBezTo>
                    <a:cubicBezTo>
                      <a:pt x="26" y="619"/>
                      <a:pt x="26" y="619"/>
                      <a:pt x="26" y="619"/>
                    </a:cubicBezTo>
                    <a:cubicBezTo>
                      <a:pt x="22" y="621"/>
                      <a:pt x="22" y="621"/>
                      <a:pt x="22" y="621"/>
                    </a:cubicBezTo>
                    <a:cubicBezTo>
                      <a:pt x="15" y="621"/>
                      <a:pt x="15" y="621"/>
                      <a:pt x="15" y="621"/>
                    </a:cubicBezTo>
                    <a:cubicBezTo>
                      <a:pt x="13" y="620"/>
                      <a:pt x="13" y="620"/>
                      <a:pt x="13" y="620"/>
                    </a:cubicBezTo>
                    <a:cubicBezTo>
                      <a:pt x="10" y="621"/>
                      <a:pt x="10" y="621"/>
                      <a:pt x="10" y="621"/>
                    </a:cubicBezTo>
                    <a:cubicBezTo>
                      <a:pt x="10" y="623"/>
                      <a:pt x="10" y="623"/>
                      <a:pt x="10" y="623"/>
                    </a:cubicBezTo>
                    <a:cubicBezTo>
                      <a:pt x="12" y="627"/>
                      <a:pt x="12" y="627"/>
                      <a:pt x="12" y="627"/>
                    </a:cubicBezTo>
                    <a:cubicBezTo>
                      <a:pt x="13" y="627"/>
                      <a:pt x="13" y="627"/>
                      <a:pt x="13" y="627"/>
                    </a:cubicBezTo>
                    <a:cubicBezTo>
                      <a:pt x="14" y="630"/>
                      <a:pt x="14" y="630"/>
                      <a:pt x="14" y="630"/>
                    </a:cubicBezTo>
                    <a:cubicBezTo>
                      <a:pt x="12" y="630"/>
                      <a:pt x="12" y="630"/>
                      <a:pt x="12" y="630"/>
                    </a:cubicBezTo>
                    <a:cubicBezTo>
                      <a:pt x="11" y="634"/>
                      <a:pt x="11" y="634"/>
                      <a:pt x="11" y="634"/>
                    </a:cubicBezTo>
                    <a:cubicBezTo>
                      <a:pt x="8" y="636"/>
                      <a:pt x="8" y="636"/>
                      <a:pt x="8" y="636"/>
                    </a:cubicBezTo>
                    <a:cubicBezTo>
                      <a:pt x="7" y="639"/>
                      <a:pt x="7" y="639"/>
                      <a:pt x="7" y="639"/>
                    </a:cubicBezTo>
                    <a:cubicBezTo>
                      <a:pt x="2" y="641"/>
                      <a:pt x="2" y="641"/>
                      <a:pt x="2" y="641"/>
                    </a:cubicBezTo>
                    <a:cubicBezTo>
                      <a:pt x="1" y="644"/>
                      <a:pt x="1" y="644"/>
                      <a:pt x="1" y="644"/>
                    </a:cubicBezTo>
                    <a:cubicBezTo>
                      <a:pt x="7" y="650"/>
                      <a:pt x="7" y="650"/>
                      <a:pt x="7" y="650"/>
                    </a:cubicBezTo>
                    <a:cubicBezTo>
                      <a:pt x="10" y="650"/>
                      <a:pt x="10" y="650"/>
                      <a:pt x="10" y="650"/>
                    </a:cubicBezTo>
                    <a:cubicBezTo>
                      <a:pt x="11" y="648"/>
                      <a:pt x="11" y="648"/>
                      <a:pt x="11" y="648"/>
                    </a:cubicBezTo>
                    <a:cubicBezTo>
                      <a:pt x="11" y="646"/>
                      <a:pt x="11" y="646"/>
                      <a:pt x="11" y="646"/>
                    </a:cubicBezTo>
                    <a:cubicBezTo>
                      <a:pt x="8" y="645"/>
                      <a:pt x="8" y="645"/>
                      <a:pt x="8" y="645"/>
                    </a:cubicBezTo>
                    <a:cubicBezTo>
                      <a:pt x="7" y="643"/>
                      <a:pt x="7" y="643"/>
                      <a:pt x="7" y="643"/>
                    </a:cubicBezTo>
                    <a:cubicBezTo>
                      <a:pt x="9" y="640"/>
                      <a:pt x="9" y="640"/>
                      <a:pt x="9" y="640"/>
                    </a:cubicBezTo>
                    <a:cubicBezTo>
                      <a:pt x="14" y="639"/>
                      <a:pt x="14" y="639"/>
                      <a:pt x="14" y="639"/>
                    </a:cubicBezTo>
                    <a:cubicBezTo>
                      <a:pt x="15" y="638"/>
                      <a:pt x="15" y="638"/>
                      <a:pt x="15" y="638"/>
                    </a:cubicBezTo>
                    <a:cubicBezTo>
                      <a:pt x="16" y="642"/>
                      <a:pt x="16" y="642"/>
                      <a:pt x="16" y="642"/>
                    </a:cubicBezTo>
                    <a:cubicBezTo>
                      <a:pt x="19" y="645"/>
                      <a:pt x="19" y="645"/>
                      <a:pt x="19" y="645"/>
                    </a:cubicBezTo>
                    <a:cubicBezTo>
                      <a:pt x="24" y="645"/>
                      <a:pt x="24" y="645"/>
                      <a:pt x="24" y="645"/>
                    </a:cubicBezTo>
                    <a:cubicBezTo>
                      <a:pt x="25" y="643"/>
                      <a:pt x="25" y="643"/>
                      <a:pt x="25" y="643"/>
                    </a:cubicBezTo>
                    <a:cubicBezTo>
                      <a:pt x="28" y="644"/>
                      <a:pt x="28" y="644"/>
                      <a:pt x="28" y="644"/>
                    </a:cubicBezTo>
                    <a:cubicBezTo>
                      <a:pt x="29" y="646"/>
                      <a:pt x="29" y="646"/>
                      <a:pt x="29" y="646"/>
                    </a:cubicBezTo>
                    <a:cubicBezTo>
                      <a:pt x="34" y="648"/>
                      <a:pt x="34" y="648"/>
                      <a:pt x="34" y="648"/>
                    </a:cubicBezTo>
                    <a:cubicBezTo>
                      <a:pt x="36" y="650"/>
                      <a:pt x="36" y="650"/>
                      <a:pt x="36" y="650"/>
                    </a:cubicBezTo>
                    <a:cubicBezTo>
                      <a:pt x="34" y="651"/>
                      <a:pt x="34" y="651"/>
                      <a:pt x="34" y="651"/>
                    </a:cubicBezTo>
                    <a:cubicBezTo>
                      <a:pt x="33" y="653"/>
                      <a:pt x="33" y="653"/>
                      <a:pt x="33" y="653"/>
                    </a:cubicBezTo>
                    <a:cubicBezTo>
                      <a:pt x="35" y="655"/>
                      <a:pt x="35" y="655"/>
                      <a:pt x="35" y="655"/>
                    </a:cubicBezTo>
                    <a:cubicBezTo>
                      <a:pt x="32" y="656"/>
                      <a:pt x="32" y="656"/>
                      <a:pt x="32" y="656"/>
                    </a:cubicBezTo>
                    <a:cubicBezTo>
                      <a:pt x="31" y="659"/>
                      <a:pt x="31" y="659"/>
                      <a:pt x="31" y="659"/>
                    </a:cubicBezTo>
                    <a:cubicBezTo>
                      <a:pt x="32" y="661"/>
                      <a:pt x="32" y="661"/>
                      <a:pt x="32" y="661"/>
                    </a:cubicBezTo>
                    <a:cubicBezTo>
                      <a:pt x="36" y="663"/>
                      <a:pt x="36" y="663"/>
                      <a:pt x="36" y="663"/>
                    </a:cubicBezTo>
                    <a:cubicBezTo>
                      <a:pt x="35" y="664"/>
                      <a:pt x="35" y="664"/>
                      <a:pt x="35" y="664"/>
                    </a:cubicBezTo>
                    <a:cubicBezTo>
                      <a:pt x="32" y="663"/>
                      <a:pt x="32" y="663"/>
                      <a:pt x="32" y="663"/>
                    </a:cubicBezTo>
                    <a:cubicBezTo>
                      <a:pt x="30" y="661"/>
                      <a:pt x="30" y="661"/>
                      <a:pt x="30" y="661"/>
                    </a:cubicBezTo>
                    <a:cubicBezTo>
                      <a:pt x="28" y="661"/>
                      <a:pt x="28" y="661"/>
                      <a:pt x="28" y="661"/>
                    </a:cubicBezTo>
                    <a:cubicBezTo>
                      <a:pt x="28" y="664"/>
                      <a:pt x="28" y="664"/>
                      <a:pt x="28" y="664"/>
                    </a:cubicBezTo>
                    <a:cubicBezTo>
                      <a:pt x="31" y="667"/>
                      <a:pt x="31" y="667"/>
                      <a:pt x="31" y="667"/>
                    </a:cubicBezTo>
                    <a:cubicBezTo>
                      <a:pt x="32" y="669"/>
                      <a:pt x="32" y="669"/>
                      <a:pt x="32" y="669"/>
                    </a:cubicBezTo>
                    <a:cubicBezTo>
                      <a:pt x="37" y="670"/>
                      <a:pt x="37" y="670"/>
                      <a:pt x="37" y="670"/>
                    </a:cubicBezTo>
                    <a:cubicBezTo>
                      <a:pt x="43" y="668"/>
                      <a:pt x="43" y="668"/>
                      <a:pt x="43" y="668"/>
                    </a:cubicBezTo>
                    <a:cubicBezTo>
                      <a:pt x="45" y="670"/>
                      <a:pt x="45" y="670"/>
                      <a:pt x="45" y="670"/>
                    </a:cubicBezTo>
                    <a:cubicBezTo>
                      <a:pt x="47" y="669"/>
                      <a:pt x="47" y="669"/>
                      <a:pt x="47" y="669"/>
                    </a:cubicBezTo>
                    <a:cubicBezTo>
                      <a:pt x="50" y="668"/>
                      <a:pt x="50" y="668"/>
                      <a:pt x="50" y="668"/>
                    </a:cubicBezTo>
                    <a:cubicBezTo>
                      <a:pt x="48" y="670"/>
                      <a:pt x="48" y="670"/>
                      <a:pt x="48" y="670"/>
                    </a:cubicBezTo>
                    <a:cubicBezTo>
                      <a:pt x="49" y="672"/>
                      <a:pt x="49" y="672"/>
                      <a:pt x="49" y="672"/>
                    </a:cubicBezTo>
                    <a:cubicBezTo>
                      <a:pt x="48" y="673"/>
                      <a:pt x="48" y="673"/>
                      <a:pt x="48" y="673"/>
                    </a:cubicBezTo>
                    <a:cubicBezTo>
                      <a:pt x="44" y="673"/>
                      <a:pt x="44" y="673"/>
                      <a:pt x="44" y="673"/>
                    </a:cubicBezTo>
                    <a:cubicBezTo>
                      <a:pt x="43" y="674"/>
                      <a:pt x="43" y="674"/>
                      <a:pt x="43" y="674"/>
                    </a:cubicBezTo>
                    <a:cubicBezTo>
                      <a:pt x="41" y="672"/>
                      <a:pt x="41" y="672"/>
                      <a:pt x="41" y="672"/>
                    </a:cubicBezTo>
                    <a:cubicBezTo>
                      <a:pt x="35" y="674"/>
                      <a:pt x="35" y="674"/>
                      <a:pt x="35" y="674"/>
                    </a:cubicBezTo>
                    <a:cubicBezTo>
                      <a:pt x="34" y="676"/>
                      <a:pt x="34" y="676"/>
                      <a:pt x="34" y="676"/>
                    </a:cubicBezTo>
                    <a:cubicBezTo>
                      <a:pt x="34" y="678"/>
                      <a:pt x="34" y="678"/>
                      <a:pt x="34" y="678"/>
                    </a:cubicBezTo>
                    <a:cubicBezTo>
                      <a:pt x="38" y="680"/>
                      <a:pt x="38" y="680"/>
                      <a:pt x="38" y="680"/>
                    </a:cubicBezTo>
                    <a:cubicBezTo>
                      <a:pt x="39" y="683"/>
                      <a:pt x="39" y="683"/>
                      <a:pt x="39" y="683"/>
                    </a:cubicBezTo>
                    <a:cubicBezTo>
                      <a:pt x="42" y="684"/>
                      <a:pt x="42" y="684"/>
                      <a:pt x="42" y="684"/>
                    </a:cubicBezTo>
                    <a:cubicBezTo>
                      <a:pt x="45" y="683"/>
                      <a:pt x="45" y="683"/>
                      <a:pt x="45" y="683"/>
                    </a:cubicBezTo>
                    <a:cubicBezTo>
                      <a:pt x="44" y="685"/>
                      <a:pt x="44" y="685"/>
                      <a:pt x="44" y="685"/>
                    </a:cubicBezTo>
                    <a:cubicBezTo>
                      <a:pt x="41" y="687"/>
                      <a:pt x="41" y="687"/>
                      <a:pt x="41" y="687"/>
                    </a:cubicBezTo>
                    <a:cubicBezTo>
                      <a:pt x="42" y="689"/>
                      <a:pt x="42" y="689"/>
                      <a:pt x="42" y="689"/>
                    </a:cubicBezTo>
                    <a:cubicBezTo>
                      <a:pt x="42" y="691"/>
                      <a:pt x="42" y="691"/>
                      <a:pt x="42" y="691"/>
                    </a:cubicBezTo>
                    <a:cubicBezTo>
                      <a:pt x="41" y="693"/>
                      <a:pt x="41" y="693"/>
                      <a:pt x="41" y="693"/>
                    </a:cubicBezTo>
                    <a:cubicBezTo>
                      <a:pt x="39" y="693"/>
                      <a:pt x="39" y="693"/>
                      <a:pt x="39" y="693"/>
                    </a:cubicBezTo>
                    <a:cubicBezTo>
                      <a:pt x="39" y="696"/>
                      <a:pt x="39" y="696"/>
                      <a:pt x="39" y="696"/>
                    </a:cubicBezTo>
                    <a:cubicBezTo>
                      <a:pt x="41" y="705"/>
                      <a:pt x="41" y="705"/>
                      <a:pt x="41" y="705"/>
                    </a:cubicBezTo>
                    <a:cubicBezTo>
                      <a:pt x="43" y="707"/>
                      <a:pt x="43" y="707"/>
                      <a:pt x="43" y="707"/>
                    </a:cubicBezTo>
                    <a:cubicBezTo>
                      <a:pt x="43" y="711"/>
                      <a:pt x="43" y="711"/>
                      <a:pt x="43" y="711"/>
                    </a:cubicBezTo>
                    <a:cubicBezTo>
                      <a:pt x="45" y="715"/>
                      <a:pt x="45" y="715"/>
                      <a:pt x="45" y="715"/>
                    </a:cubicBezTo>
                    <a:cubicBezTo>
                      <a:pt x="48" y="716"/>
                      <a:pt x="48" y="716"/>
                      <a:pt x="48" y="716"/>
                    </a:cubicBezTo>
                    <a:cubicBezTo>
                      <a:pt x="48" y="710"/>
                      <a:pt x="48" y="710"/>
                      <a:pt x="48" y="710"/>
                    </a:cubicBezTo>
                    <a:cubicBezTo>
                      <a:pt x="50" y="703"/>
                      <a:pt x="50" y="703"/>
                      <a:pt x="50" y="703"/>
                    </a:cubicBezTo>
                    <a:cubicBezTo>
                      <a:pt x="53" y="701"/>
                      <a:pt x="53" y="701"/>
                      <a:pt x="53" y="701"/>
                    </a:cubicBezTo>
                    <a:cubicBezTo>
                      <a:pt x="54" y="703"/>
                      <a:pt x="54" y="703"/>
                      <a:pt x="54" y="703"/>
                    </a:cubicBezTo>
                    <a:cubicBezTo>
                      <a:pt x="52" y="703"/>
                      <a:pt x="52" y="703"/>
                      <a:pt x="52" y="703"/>
                    </a:cubicBezTo>
                    <a:cubicBezTo>
                      <a:pt x="50" y="711"/>
                      <a:pt x="50" y="711"/>
                      <a:pt x="50" y="711"/>
                    </a:cubicBezTo>
                    <a:cubicBezTo>
                      <a:pt x="50" y="713"/>
                      <a:pt x="50" y="713"/>
                      <a:pt x="50" y="713"/>
                    </a:cubicBezTo>
                    <a:cubicBezTo>
                      <a:pt x="53" y="715"/>
                      <a:pt x="53" y="715"/>
                      <a:pt x="53" y="715"/>
                    </a:cubicBezTo>
                    <a:cubicBezTo>
                      <a:pt x="55" y="714"/>
                      <a:pt x="55" y="714"/>
                      <a:pt x="55" y="714"/>
                    </a:cubicBezTo>
                    <a:cubicBezTo>
                      <a:pt x="54" y="715"/>
                      <a:pt x="54" y="715"/>
                      <a:pt x="54" y="715"/>
                    </a:cubicBezTo>
                    <a:cubicBezTo>
                      <a:pt x="50" y="716"/>
                      <a:pt x="50" y="716"/>
                      <a:pt x="50" y="716"/>
                    </a:cubicBezTo>
                    <a:cubicBezTo>
                      <a:pt x="47" y="719"/>
                      <a:pt x="47" y="719"/>
                      <a:pt x="47" y="719"/>
                    </a:cubicBezTo>
                    <a:cubicBezTo>
                      <a:pt x="47" y="721"/>
                      <a:pt x="47" y="721"/>
                      <a:pt x="47" y="721"/>
                    </a:cubicBezTo>
                    <a:cubicBezTo>
                      <a:pt x="46" y="724"/>
                      <a:pt x="46" y="724"/>
                      <a:pt x="46" y="724"/>
                    </a:cubicBezTo>
                    <a:cubicBezTo>
                      <a:pt x="46" y="728"/>
                      <a:pt x="46" y="728"/>
                      <a:pt x="46" y="728"/>
                    </a:cubicBezTo>
                    <a:cubicBezTo>
                      <a:pt x="44" y="729"/>
                      <a:pt x="44" y="729"/>
                      <a:pt x="44" y="729"/>
                    </a:cubicBezTo>
                    <a:cubicBezTo>
                      <a:pt x="43" y="732"/>
                      <a:pt x="43" y="732"/>
                      <a:pt x="43" y="732"/>
                    </a:cubicBezTo>
                    <a:cubicBezTo>
                      <a:pt x="43" y="735"/>
                      <a:pt x="43" y="735"/>
                      <a:pt x="43" y="735"/>
                    </a:cubicBezTo>
                    <a:cubicBezTo>
                      <a:pt x="48" y="738"/>
                      <a:pt x="48" y="738"/>
                      <a:pt x="48" y="738"/>
                    </a:cubicBezTo>
                    <a:cubicBezTo>
                      <a:pt x="56" y="740"/>
                      <a:pt x="56" y="740"/>
                      <a:pt x="56" y="740"/>
                    </a:cubicBezTo>
                    <a:cubicBezTo>
                      <a:pt x="59" y="742"/>
                      <a:pt x="59" y="742"/>
                      <a:pt x="59" y="742"/>
                    </a:cubicBezTo>
                    <a:cubicBezTo>
                      <a:pt x="58" y="744"/>
                      <a:pt x="58" y="744"/>
                      <a:pt x="58" y="744"/>
                    </a:cubicBezTo>
                    <a:cubicBezTo>
                      <a:pt x="56" y="744"/>
                      <a:pt x="56" y="744"/>
                      <a:pt x="56" y="744"/>
                    </a:cubicBezTo>
                    <a:cubicBezTo>
                      <a:pt x="57" y="747"/>
                      <a:pt x="57" y="747"/>
                      <a:pt x="57" y="747"/>
                    </a:cubicBezTo>
                    <a:cubicBezTo>
                      <a:pt x="59" y="749"/>
                      <a:pt x="59" y="749"/>
                      <a:pt x="59" y="749"/>
                    </a:cubicBezTo>
                    <a:cubicBezTo>
                      <a:pt x="62" y="746"/>
                      <a:pt x="62" y="746"/>
                      <a:pt x="62" y="746"/>
                    </a:cubicBezTo>
                    <a:cubicBezTo>
                      <a:pt x="62" y="749"/>
                      <a:pt x="62" y="749"/>
                      <a:pt x="62" y="749"/>
                    </a:cubicBezTo>
                    <a:cubicBezTo>
                      <a:pt x="61" y="751"/>
                      <a:pt x="61" y="751"/>
                      <a:pt x="61" y="751"/>
                    </a:cubicBezTo>
                    <a:cubicBezTo>
                      <a:pt x="58" y="752"/>
                      <a:pt x="58" y="752"/>
                      <a:pt x="58" y="752"/>
                    </a:cubicBezTo>
                    <a:cubicBezTo>
                      <a:pt x="56" y="755"/>
                      <a:pt x="56" y="755"/>
                      <a:pt x="56" y="755"/>
                    </a:cubicBezTo>
                    <a:cubicBezTo>
                      <a:pt x="58" y="756"/>
                      <a:pt x="58" y="756"/>
                      <a:pt x="58" y="756"/>
                    </a:cubicBezTo>
                    <a:cubicBezTo>
                      <a:pt x="60" y="756"/>
                      <a:pt x="60" y="756"/>
                      <a:pt x="60" y="756"/>
                    </a:cubicBezTo>
                    <a:cubicBezTo>
                      <a:pt x="60" y="758"/>
                      <a:pt x="60" y="758"/>
                      <a:pt x="60" y="758"/>
                    </a:cubicBezTo>
                    <a:cubicBezTo>
                      <a:pt x="63" y="762"/>
                      <a:pt x="63" y="762"/>
                      <a:pt x="63" y="762"/>
                    </a:cubicBezTo>
                    <a:cubicBezTo>
                      <a:pt x="65" y="762"/>
                      <a:pt x="65" y="762"/>
                      <a:pt x="65" y="762"/>
                    </a:cubicBezTo>
                    <a:cubicBezTo>
                      <a:pt x="67" y="760"/>
                      <a:pt x="67" y="760"/>
                      <a:pt x="67" y="760"/>
                    </a:cubicBezTo>
                    <a:cubicBezTo>
                      <a:pt x="67" y="763"/>
                      <a:pt x="67" y="763"/>
                      <a:pt x="67" y="763"/>
                    </a:cubicBezTo>
                    <a:cubicBezTo>
                      <a:pt x="68" y="767"/>
                      <a:pt x="68" y="767"/>
                      <a:pt x="68" y="767"/>
                    </a:cubicBezTo>
                    <a:cubicBezTo>
                      <a:pt x="66" y="766"/>
                      <a:pt x="66" y="766"/>
                      <a:pt x="66" y="766"/>
                    </a:cubicBezTo>
                    <a:cubicBezTo>
                      <a:pt x="65" y="765"/>
                      <a:pt x="65" y="765"/>
                      <a:pt x="65" y="765"/>
                    </a:cubicBezTo>
                    <a:cubicBezTo>
                      <a:pt x="63" y="766"/>
                      <a:pt x="63" y="766"/>
                      <a:pt x="63" y="766"/>
                    </a:cubicBezTo>
                    <a:cubicBezTo>
                      <a:pt x="62" y="768"/>
                      <a:pt x="62" y="768"/>
                      <a:pt x="62" y="768"/>
                    </a:cubicBezTo>
                    <a:cubicBezTo>
                      <a:pt x="65" y="772"/>
                      <a:pt x="65" y="772"/>
                      <a:pt x="65" y="772"/>
                    </a:cubicBezTo>
                    <a:cubicBezTo>
                      <a:pt x="67" y="772"/>
                      <a:pt x="67" y="772"/>
                      <a:pt x="67" y="772"/>
                    </a:cubicBezTo>
                    <a:cubicBezTo>
                      <a:pt x="68" y="776"/>
                      <a:pt x="68" y="776"/>
                      <a:pt x="68" y="776"/>
                    </a:cubicBezTo>
                    <a:cubicBezTo>
                      <a:pt x="70" y="778"/>
                      <a:pt x="70" y="778"/>
                      <a:pt x="70" y="778"/>
                    </a:cubicBezTo>
                    <a:cubicBezTo>
                      <a:pt x="73" y="781"/>
                      <a:pt x="73" y="781"/>
                      <a:pt x="73" y="781"/>
                    </a:cubicBezTo>
                    <a:cubicBezTo>
                      <a:pt x="75" y="781"/>
                      <a:pt x="75" y="781"/>
                      <a:pt x="75" y="781"/>
                    </a:cubicBezTo>
                    <a:cubicBezTo>
                      <a:pt x="74" y="776"/>
                      <a:pt x="74" y="776"/>
                      <a:pt x="74" y="776"/>
                    </a:cubicBezTo>
                    <a:cubicBezTo>
                      <a:pt x="75" y="774"/>
                      <a:pt x="75" y="774"/>
                      <a:pt x="75" y="774"/>
                    </a:cubicBezTo>
                    <a:cubicBezTo>
                      <a:pt x="74" y="771"/>
                      <a:pt x="74" y="771"/>
                      <a:pt x="74" y="771"/>
                    </a:cubicBezTo>
                    <a:cubicBezTo>
                      <a:pt x="77" y="773"/>
                      <a:pt x="77" y="773"/>
                      <a:pt x="77" y="773"/>
                    </a:cubicBezTo>
                    <a:cubicBezTo>
                      <a:pt x="77" y="776"/>
                      <a:pt x="77" y="776"/>
                      <a:pt x="77" y="776"/>
                    </a:cubicBezTo>
                    <a:cubicBezTo>
                      <a:pt x="80" y="779"/>
                      <a:pt x="80" y="779"/>
                      <a:pt x="80" y="779"/>
                    </a:cubicBezTo>
                    <a:cubicBezTo>
                      <a:pt x="81" y="775"/>
                      <a:pt x="81" y="775"/>
                      <a:pt x="81" y="775"/>
                    </a:cubicBezTo>
                    <a:cubicBezTo>
                      <a:pt x="83" y="773"/>
                      <a:pt x="83" y="773"/>
                      <a:pt x="83" y="773"/>
                    </a:cubicBezTo>
                    <a:cubicBezTo>
                      <a:pt x="83" y="771"/>
                      <a:pt x="83" y="771"/>
                      <a:pt x="83" y="771"/>
                    </a:cubicBezTo>
                    <a:cubicBezTo>
                      <a:pt x="81" y="770"/>
                      <a:pt x="81" y="770"/>
                      <a:pt x="81" y="770"/>
                    </a:cubicBezTo>
                    <a:cubicBezTo>
                      <a:pt x="76" y="769"/>
                      <a:pt x="76" y="769"/>
                      <a:pt x="76" y="769"/>
                    </a:cubicBezTo>
                    <a:cubicBezTo>
                      <a:pt x="76" y="768"/>
                      <a:pt x="76" y="768"/>
                      <a:pt x="76" y="768"/>
                    </a:cubicBezTo>
                    <a:cubicBezTo>
                      <a:pt x="79" y="768"/>
                      <a:pt x="79" y="768"/>
                      <a:pt x="79" y="768"/>
                    </a:cubicBezTo>
                    <a:cubicBezTo>
                      <a:pt x="85" y="769"/>
                      <a:pt x="85" y="769"/>
                      <a:pt x="85" y="769"/>
                    </a:cubicBezTo>
                    <a:cubicBezTo>
                      <a:pt x="86" y="771"/>
                      <a:pt x="86" y="771"/>
                      <a:pt x="86" y="771"/>
                    </a:cubicBezTo>
                    <a:cubicBezTo>
                      <a:pt x="90" y="771"/>
                      <a:pt x="90" y="771"/>
                      <a:pt x="90" y="771"/>
                    </a:cubicBezTo>
                    <a:cubicBezTo>
                      <a:pt x="89" y="768"/>
                      <a:pt x="89" y="768"/>
                      <a:pt x="89" y="768"/>
                    </a:cubicBezTo>
                    <a:cubicBezTo>
                      <a:pt x="85" y="766"/>
                      <a:pt x="85" y="766"/>
                      <a:pt x="85" y="766"/>
                    </a:cubicBezTo>
                    <a:cubicBezTo>
                      <a:pt x="78" y="765"/>
                      <a:pt x="78" y="765"/>
                      <a:pt x="78" y="765"/>
                    </a:cubicBezTo>
                    <a:cubicBezTo>
                      <a:pt x="78" y="764"/>
                      <a:pt x="78" y="764"/>
                      <a:pt x="78" y="764"/>
                    </a:cubicBezTo>
                    <a:cubicBezTo>
                      <a:pt x="80" y="763"/>
                      <a:pt x="80" y="763"/>
                      <a:pt x="80" y="763"/>
                    </a:cubicBezTo>
                    <a:cubicBezTo>
                      <a:pt x="86" y="765"/>
                      <a:pt x="86" y="765"/>
                      <a:pt x="86" y="765"/>
                    </a:cubicBezTo>
                    <a:cubicBezTo>
                      <a:pt x="92" y="769"/>
                      <a:pt x="92" y="769"/>
                      <a:pt x="92" y="769"/>
                    </a:cubicBezTo>
                    <a:cubicBezTo>
                      <a:pt x="93" y="773"/>
                      <a:pt x="93" y="773"/>
                      <a:pt x="93" y="773"/>
                    </a:cubicBezTo>
                    <a:cubicBezTo>
                      <a:pt x="91" y="776"/>
                      <a:pt x="91" y="776"/>
                      <a:pt x="91" y="776"/>
                    </a:cubicBezTo>
                    <a:cubicBezTo>
                      <a:pt x="91" y="778"/>
                      <a:pt x="91" y="778"/>
                      <a:pt x="91" y="778"/>
                    </a:cubicBezTo>
                    <a:cubicBezTo>
                      <a:pt x="93" y="783"/>
                      <a:pt x="93" y="783"/>
                      <a:pt x="93" y="783"/>
                    </a:cubicBezTo>
                    <a:cubicBezTo>
                      <a:pt x="93" y="786"/>
                      <a:pt x="93" y="786"/>
                      <a:pt x="93" y="786"/>
                    </a:cubicBezTo>
                    <a:cubicBezTo>
                      <a:pt x="90" y="788"/>
                      <a:pt x="90" y="788"/>
                      <a:pt x="90" y="788"/>
                    </a:cubicBezTo>
                    <a:cubicBezTo>
                      <a:pt x="91" y="784"/>
                      <a:pt x="91" y="784"/>
                      <a:pt x="91" y="784"/>
                    </a:cubicBezTo>
                    <a:cubicBezTo>
                      <a:pt x="89" y="778"/>
                      <a:pt x="89" y="778"/>
                      <a:pt x="89" y="778"/>
                    </a:cubicBezTo>
                    <a:cubicBezTo>
                      <a:pt x="86" y="776"/>
                      <a:pt x="86" y="776"/>
                      <a:pt x="86" y="776"/>
                    </a:cubicBezTo>
                    <a:cubicBezTo>
                      <a:pt x="85" y="778"/>
                      <a:pt x="85" y="778"/>
                      <a:pt x="85" y="778"/>
                    </a:cubicBezTo>
                    <a:cubicBezTo>
                      <a:pt x="84" y="781"/>
                      <a:pt x="84" y="781"/>
                      <a:pt x="84" y="781"/>
                    </a:cubicBezTo>
                    <a:cubicBezTo>
                      <a:pt x="86" y="783"/>
                      <a:pt x="86" y="783"/>
                      <a:pt x="86" y="783"/>
                    </a:cubicBezTo>
                    <a:cubicBezTo>
                      <a:pt x="84" y="786"/>
                      <a:pt x="84" y="786"/>
                      <a:pt x="84" y="786"/>
                    </a:cubicBezTo>
                    <a:cubicBezTo>
                      <a:pt x="83" y="784"/>
                      <a:pt x="83" y="784"/>
                      <a:pt x="83" y="784"/>
                    </a:cubicBezTo>
                    <a:cubicBezTo>
                      <a:pt x="82" y="781"/>
                      <a:pt x="82" y="781"/>
                      <a:pt x="82" y="781"/>
                    </a:cubicBezTo>
                    <a:cubicBezTo>
                      <a:pt x="80" y="781"/>
                      <a:pt x="80" y="781"/>
                      <a:pt x="80" y="781"/>
                    </a:cubicBezTo>
                    <a:cubicBezTo>
                      <a:pt x="77" y="783"/>
                      <a:pt x="77" y="783"/>
                      <a:pt x="77" y="783"/>
                    </a:cubicBezTo>
                    <a:cubicBezTo>
                      <a:pt x="73" y="783"/>
                      <a:pt x="73" y="783"/>
                      <a:pt x="73" y="783"/>
                    </a:cubicBezTo>
                    <a:cubicBezTo>
                      <a:pt x="70" y="785"/>
                      <a:pt x="70" y="785"/>
                      <a:pt x="70" y="785"/>
                    </a:cubicBezTo>
                    <a:cubicBezTo>
                      <a:pt x="73" y="787"/>
                      <a:pt x="73" y="787"/>
                      <a:pt x="73" y="787"/>
                    </a:cubicBezTo>
                    <a:cubicBezTo>
                      <a:pt x="73" y="791"/>
                      <a:pt x="73" y="791"/>
                      <a:pt x="73" y="791"/>
                    </a:cubicBezTo>
                    <a:cubicBezTo>
                      <a:pt x="75" y="794"/>
                      <a:pt x="75" y="794"/>
                      <a:pt x="75" y="794"/>
                    </a:cubicBezTo>
                    <a:cubicBezTo>
                      <a:pt x="75" y="796"/>
                      <a:pt x="75" y="796"/>
                      <a:pt x="75" y="796"/>
                    </a:cubicBezTo>
                    <a:cubicBezTo>
                      <a:pt x="74" y="798"/>
                      <a:pt x="74" y="798"/>
                      <a:pt x="74" y="798"/>
                    </a:cubicBezTo>
                    <a:cubicBezTo>
                      <a:pt x="75" y="800"/>
                      <a:pt x="75" y="800"/>
                      <a:pt x="75" y="800"/>
                    </a:cubicBezTo>
                    <a:cubicBezTo>
                      <a:pt x="77" y="800"/>
                      <a:pt x="77" y="800"/>
                      <a:pt x="77" y="800"/>
                    </a:cubicBezTo>
                    <a:cubicBezTo>
                      <a:pt x="79" y="797"/>
                      <a:pt x="79" y="797"/>
                      <a:pt x="79" y="797"/>
                    </a:cubicBezTo>
                    <a:cubicBezTo>
                      <a:pt x="81" y="798"/>
                      <a:pt x="81" y="798"/>
                      <a:pt x="81" y="798"/>
                    </a:cubicBezTo>
                    <a:cubicBezTo>
                      <a:pt x="83" y="799"/>
                      <a:pt x="83" y="799"/>
                      <a:pt x="83" y="799"/>
                    </a:cubicBezTo>
                    <a:cubicBezTo>
                      <a:pt x="83" y="800"/>
                      <a:pt x="83" y="800"/>
                      <a:pt x="83" y="800"/>
                    </a:cubicBezTo>
                    <a:cubicBezTo>
                      <a:pt x="81" y="801"/>
                      <a:pt x="81" y="801"/>
                      <a:pt x="81" y="801"/>
                    </a:cubicBezTo>
                    <a:cubicBezTo>
                      <a:pt x="78" y="804"/>
                      <a:pt x="78" y="804"/>
                      <a:pt x="78" y="804"/>
                    </a:cubicBezTo>
                    <a:cubicBezTo>
                      <a:pt x="79" y="806"/>
                      <a:pt x="79" y="806"/>
                      <a:pt x="79" y="806"/>
                    </a:cubicBezTo>
                    <a:cubicBezTo>
                      <a:pt x="83" y="806"/>
                      <a:pt x="83" y="806"/>
                      <a:pt x="83" y="806"/>
                    </a:cubicBezTo>
                    <a:cubicBezTo>
                      <a:pt x="89" y="809"/>
                      <a:pt x="89" y="809"/>
                      <a:pt x="89" y="809"/>
                    </a:cubicBezTo>
                    <a:cubicBezTo>
                      <a:pt x="91" y="808"/>
                      <a:pt x="91" y="808"/>
                      <a:pt x="91" y="808"/>
                    </a:cubicBezTo>
                    <a:cubicBezTo>
                      <a:pt x="92" y="806"/>
                      <a:pt x="92" y="806"/>
                      <a:pt x="92" y="806"/>
                    </a:cubicBezTo>
                    <a:cubicBezTo>
                      <a:pt x="91" y="802"/>
                      <a:pt x="91" y="802"/>
                      <a:pt x="91" y="802"/>
                    </a:cubicBezTo>
                    <a:cubicBezTo>
                      <a:pt x="92" y="799"/>
                      <a:pt x="92" y="799"/>
                      <a:pt x="92" y="799"/>
                    </a:cubicBezTo>
                    <a:cubicBezTo>
                      <a:pt x="90" y="796"/>
                      <a:pt x="90" y="796"/>
                      <a:pt x="90" y="796"/>
                    </a:cubicBezTo>
                    <a:cubicBezTo>
                      <a:pt x="89" y="797"/>
                      <a:pt x="89" y="797"/>
                      <a:pt x="89" y="797"/>
                    </a:cubicBezTo>
                    <a:cubicBezTo>
                      <a:pt x="86" y="797"/>
                      <a:pt x="86" y="797"/>
                      <a:pt x="86" y="797"/>
                    </a:cubicBezTo>
                    <a:cubicBezTo>
                      <a:pt x="87" y="796"/>
                      <a:pt x="87" y="796"/>
                      <a:pt x="87" y="796"/>
                    </a:cubicBezTo>
                    <a:cubicBezTo>
                      <a:pt x="89" y="794"/>
                      <a:pt x="89" y="794"/>
                      <a:pt x="89" y="794"/>
                    </a:cubicBezTo>
                    <a:cubicBezTo>
                      <a:pt x="89" y="792"/>
                      <a:pt x="89" y="792"/>
                      <a:pt x="89" y="792"/>
                    </a:cubicBezTo>
                    <a:cubicBezTo>
                      <a:pt x="91" y="791"/>
                      <a:pt x="91" y="791"/>
                      <a:pt x="91" y="791"/>
                    </a:cubicBezTo>
                    <a:cubicBezTo>
                      <a:pt x="95" y="793"/>
                      <a:pt x="95" y="793"/>
                      <a:pt x="95" y="793"/>
                    </a:cubicBezTo>
                    <a:cubicBezTo>
                      <a:pt x="97" y="792"/>
                      <a:pt x="97" y="792"/>
                      <a:pt x="97" y="792"/>
                    </a:cubicBezTo>
                    <a:cubicBezTo>
                      <a:pt x="98" y="794"/>
                      <a:pt x="98" y="794"/>
                      <a:pt x="98" y="794"/>
                    </a:cubicBezTo>
                    <a:cubicBezTo>
                      <a:pt x="100" y="794"/>
                      <a:pt x="100" y="794"/>
                      <a:pt x="100" y="794"/>
                    </a:cubicBezTo>
                    <a:cubicBezTo>
                      <a:pt x="101" y="793"/>
                      <a:pt x="101" y="793"/>
                      <a:pt x="101" y="793"/>
                    </a:cubicBezTo>
                    <a:cubicBezTo>
                      <a:pt x="104" y="792"/>
                      <a:pt x="104" y="792"/>
                      <a:pt x="104" y="792"/>
                    </a:cubicBezTo>
                    <a:cubicBezTo>
                      <a:pt x="108" y="793"/>
                      <a:pt x="108" y="793"/>
                      <a:pt x="108" y="793"/>
                    </a:cubicBezTo>
                    <a:cubicBezTo>
                      <a:pt x="111" y="792"/>
                      <a:pt x="111" y="792"/>
                      <a:pt x="111" y="792"/>
                    </a:cubicBezTo>
                    <a:cubicBezTo>
                      <a:pt x="115" y="793"/>
                      <a:pt x="115" y="793"/>
                      <a:pt x="115" y="793"/>
                    </a:cubicBezTo>
                    <a:cubicBezTo>
                      <a:pt x="115" y="794"/>
                      <a:pt x="115" y="794"/>
                      <a:pt x="115" y="794"/>
                    </a:cubicBezTo>
                    <a:cubicBezTo>
                      <a:pt x="113" y="795"/>
                      <a:pt x="113" y="795"/>
                      <a:pt x="113" y="795"/>
                    </a:cubicBezTo>
                    <a:cubicBezTo>
                      <a:pt x="111" y="797"/>
                      <a:pt x="111" y="797"/>
                      <a:pt x="111" y="797"/>
                    </a:cubicBezTo>
                    <a:cubicBezTo>
                      <a:pt x="109" y="797"/>
                      <a:pt x="109" y="797"/>
                      <a:pt x="109" y="797"/>
                    </a:cubicBezTo>
                    <a:cubicBezTo>
                      <a:pt x="107" y="795"/>
                      <a:pt x="107" y="795"/>
                      <a:pt x="107" y="795"/>
                    </a:cubicBezTo>
                    <a:cubicBezTo>
                      <a:pt x="104" y="796"/>
                      <a:pt x="104" y="796"/>
                      <a:pt x="104" y="796"/>
                    </a:cubicBezTo>
                    <a:cubicBezTo>
                      <a:pt x="98" y="801"/>
                      <a:pt x="98" y="801"/>
                      <a:pt x="98" y="801"/>
                    </a:cubicBezTo>
                    <a:cubicBezTo>
                      <a:pt x="97" y="801"/>
                      <a:pt x="97" y="801"/>
                      <a:pt x="97" y="801"/>
                    </a:cubicBezTo>
                    <a:cubicBezTo>
                      <a:pt x="95" y="801"/>
                      <a:pt x="95" y="801"/>
                      <a:pt x="95" y="801"/>
                    </a:cubicBezTo>
                    <a:cubicBezTo>
                      <a:pt x="93" y="803"/>
                      <a:pt x="93" y="803"/>
                      <a:pt x="93" y="803"/>
                    </a:cubicBezTo>
                    <a:cubicBezTo>
                      <a:pt x="93" y="805"/>
                      <a:pt x="93" y="805"/>
                      <a:pt x="93" y="805"/>
                    </a:cubicBezTo>
                    <a:cubicBezTo>
                      <a:pt x="92" y="808"/>
                      <a:pt x="92" y="808"/>
                      <a:pt x="92" y="808"/>
                    </a:cubicBezTo>
                    <a:cubicBezTo>
                      <a:pt x="91" y="809"/>
                      <a:pt x="91" y="809"/>
                      <a:pt x="91" y="809"/>
                    </a:cubicBezTo>
                    <a:cubicBezTo>
                      <a:pt x="91" y="810"/>
                      <a:pt x="91" y="810"/>
                      <a:pt x="91" y="810"/>
                    </a:cubicBezTo>
                    <a:cubicBezTo>
                      <a:pt x="93" y="811"/>
                      <a:pt x="93" y="811"/>
                      <a:pt x="93" y="811"/>
                    </a:cubicBezTo>
                    <a:cubicBezTo>
                      <a:pt x="91" y="813"/>
                      <a:pt x="91" y="813"/>
                      <a:pt x="91" y="813"/>
                    </a:cubicBezTo>
                    <a:cubicBezTo>
                      <a:pt x="91" y="815"/>
                      <a:pt x="91" y="815"/>
                      <a:pt x="91" y="815"/>
                    </a:cubicBezTo>
                    <a:cubicBezTo>
                      <a:pt x="97" y="816"/>
                      <a:pt x="97" y="816"/>
                      <a:pt x="97" y="816"/>
                    </a:cubicBezTo>
                    <a:cubicBezTo>
                      <a:pt x="101" y="820"/>
                      <a:pt x="101" y="820"/>
                      <a:pt x="101" y="820"/>
                    </a:cubicBezTo>
                    <a:cubicBezTo>
                      <a:pt x="102" y="820"/>
                      <a:pt x="102" y="820"/>
                      <a:pt x="102" y="820"/>
                    </a:cubicBezTo>
                    <a:cubicBezTo>
                      <a:pt x="103" y="818"/>
                      <a:pt x="103" y="818"/>
                      <a:pt x="103" y="818"/>
                    </a:cubicBezTo>
                    <a:cubicBezTo>
                      <a:pt x="102" y="815"/>
                      <a:pt x="102" y="815"/>
                      <a:pt x="102" y="815"/>
                    </a:cubicBezTo>
                    <a:cubicBezTo>
                      <a:pt x="105" y="813"/>
                      <a:pt x="105" y="813"/>
                      <a:pt x="105" y="813"/>
                    </a:cubicBezTo>
                    <a:cubicBezTo>
                      <a:pt x="107" y="812"/>
                      <a:pt x="107" y="812"/>
                      <a:pt x="107" y="812"/>
                    </a:cubicBezTo>
                    <a:cubicBezTo>
                      <a:pt x="107" y="811"/>
                      <a:pt x="107" y="811"/>
                      <a:pt x="107" y="811"/>
                    </a:cubicBezTo>
                    <a:cubicBezTo>
                      <a:pt x="104" y="807"/>
                      <a:pt x="104" y="807"/>
                      <a:pt x="104" y="807"/>
                    </a:cubicBezTo>
                    <a:cubicBezTo>
                      <a:pt x="109" y="806"/>
                      <a:pt x="109" y="806"/>
                      <a:pt x="109" y="806"/>
                    </a:cubicBezTo>
                    <a:cubicBezTo>
                      <a:pt x="113" y="804"/>
                      <a:pt x="113" y="804"/>
                      <a:pt x="113" y="804"/>
                    </a:cubicBezTo>
                    <a:cubicBezTo>
                      <a:pt x="116" y="799"/>
                      <a:pt x="116" y="799"/>
                      <a:pt x="116" y="799"/>
                    </a:cubicBezTo>
                    <a:cubicBezTo>
                      <a:pt x="118" y="798"/>
                      <a:pt x="118" y="798"/>
                      <a:pt x="118" y="798"/>
                    </a:cubicBezTo>
                    <a:cubicBezTo>
                      <a:pt x="119" y="799"/>
                      <a:pt x="119" y="799"/>
                      <a:pt x="119" y="799"/>
                    </a:cubicBezTo>
                    <a:cubicBezTo>
                      <a:pt x="121" y="800"/>
                      <a:pt x="121" y="800"/>
                      <a:pt x="121" y="800"/>
                    </a:cubicBezTo>
                    <a:cubicBezTo>
                      <a:pt x="124" y="800"/>
                      <a:pt x="124" y="800"/>
                      <a:pt x="124" y="800"/>
                    </a:cubicBezTo>
                    <a:cubicBezTo>
                      <a:pt x="124" y="801"/>
                      <a:pt x="124" y="801"/>
                      <a:pt x="124" y="801"/>
                    </a:cubicBezTo>
                    <a:cubicBezTo>
                      <a:pt x="121" y="802"/>
                      <a:pt x="121" y="802"/>
                      <a:pt x="121" y="802"/>
                    </a:cubicBezTo>
                    <a:cubicBezTo>
                      <a:pt x="120" y="805"/>
                      <a:pt x="120" y="805"/>
                      <a:pt x="120" y="805"/>
                    </a:cubicBezTo>
                    <a:cubicBezTo>
                      <a:pt x="119" y="807"/>
                      <a:pt x="119" y="807"/>
                      <a:pt x="119" y="807"/>
                    </a:cubicBezTo>
                    <a:cubicBezTo>
                      <a:pt x="116" y="810"/>
                      <a:pt x="116" y="810"/>
                      <a:pt x="116" y="810"/>
                    </a:cubicBezTo>
                    <a:cubicBezTo>
                      <a:pt x="116" y="814"/>
                      <a:pt x="116" y="814"/>
                      <a:pt x="116" y="814"/>
                    </a:cubicBezTo>
                    <a:cubicBezTo>
                      <a:pt x="117" y="817"/>
                      <a:pt x="117" y="817"/>
                      <a:pt x="117" y="817"/>
                    </a:cubicBezTo>
                    <a:cubicBezTo>
                      <a:pt x="115" y="819"/>
                      <a:pt x="115" y="819"/>
                      <a:pt x="115" y="819"/>
                    </a:cubicBezTo>
                    <a:cubicBezTo>
                      <a:pt x="112" y="820"/>
                      <a:pt x="112" y="820"/>
                      <a:pt x="112" y="820"/>
                    </a:cubicBezTo>
                    <a:cubicBezTo>
                      <a:pt x="112" y="819"/>
                      <a:pt x="112" y="819"/>
                      <a:pt x="112" y="819"/>
                    </a:cubicBezTo>
                    <a:cubicBezTo>
                      <a:pt x="113" y="817"/>
                      <a:pt x="113" y="817"/>
                      <a:pt x="113" y="817"/>
                    </a:cubicBezTo>
                    <a:cubicBezTo>
                      <a:pt x="114" y="813"/>
                      <a:pt x="114" y="813"/>
                      <a:pt x="114" y="813"/>
                    </a:cubicBezTo>
                    <a:cubicBezTo>
                      <a:pt x="112" y="812"/>
                      <a:pt x="112" y="812"/>
                      <a:pt x="112" y="812"/>
                    </a:cubicBezTo>
                    <a:cubicBezTo>
                      <a:pt x="110" y="813"/>
                      <a:pt x="110" y="813"/>
                      <a:pt x="110" y="813"/>
                    </a:cubicBezTo>
                    <a:cubicBezTo>
                      <a:pt x="110" y="816"/>
                      <a:pt x="110" y="816"/>
                      <a:pt x="110" y="816"/>
                    </a:cubicBezTo>
                    <a:cubicBezTo>
                      <a:pt x="109" y="815"/>
                      <a:pt x="109" y="815"/>
                      <a:pt x="109" y="815"/>
                    </a:cubicBezTo>
                    <a:cubicBezTo>
                      <a:pt x="106" y="816"/>
                      <a:pt x="106" y="816"/>
                      <a:pt x="106" y="816"/>
                    </a:cubicBezTo>
                    <a:cubicBezTo>
                      <a:pt x="105" y="817"/>
                      <a:pt x="105" y="817"/>
                      <a:pt x="105" y="817"/>
                    </a:cubicBezTo>
                    <a:cubicBezTo>
                      <a:pt x="107" y="820"/>
                      <a:pt x="107" y="820"/>
                      <a:pt x="107" y="820"/>
                    </a:cubicBezTo>
                    <a:cubicBezTo>
                      <a:pt x="113" y="826"/>
                      <a:pt x="113" y="826"/>
                      <a:pt x="113" y="826"/>
                    </a:cubicBezTo>
                    <a:cubicBezTo>
                      <a:pt x="119" y="827"/>
                      <a:pt x="119" y="827"/>
                      <a:pt x="119" y="827"/>
                    </a:cubicBezTo>
                    <a:cubicBezTo>
                      <a:pt x="122" y="829"/>
                      <a:pt x="122" y="829"/>
                      <a:pt x="122" y="829"/>
                    </a:cubicBezTo>
                    <a:cubicBezTo>
                      <a:pt x="125" y="829"/>
                      <a:pt x="125" y="829"/>
                      <a:pt x="125" y="829"/>
                    </a:cubicBezTo>
                    <a:cubicBezTo>
                      <a:pt x="127" y="830"/>
                      <a:pt x="127" y="830"/>
                      <a:pt x="127" y="830"/>
                    </a:cubicBezTo>
                    <a:cubicBezTo>
                      <a:pt x="129" y="828"/>
                      <a:pt x="129" y="828"/>
                      <a:pt x="129" y="828"/>
                    </a:cubicBezTo>
                    <a:cubicBezTo>
                      <a:pt x="131" y="824"/>
                      <a:pt x="131" y="824"/>
                      <a:pt x="131" y="824"/>
                    </a:cubicBezTo>
                    <a:cubicBezTo>
                      <a:pt x="129" y="819"/>
                      <a:pt x="129" y="819"/>
                      <a:pt x="129" y="819"/>
                    </a:cubicBezTo>
                    <a:cubicBezTo>
                      <a:pt x="130" y="816"/>
                      <a:pt x="130" y="816"/>
                      <a:pt x="130" y="816"/>
                    </a:cubicBezTo>
                    <a:cubicBezTo>
                      <a:pt x="129" y="813"/>
                      <a:pt x="129" y="813"/>
                      <a:pt x="129" y="813"/>
                    </a:cubicBezTo>
                    <a:cubicBezTo>
                      <a:pt x="130" y="808"/>
                      <a:pt x="130" y="808"/>
                      <a:pt x="130" y="808"/>
                    </a:cubicBezTo>
                    <a:cubicBezTo>
                      <a:pt x="130" y="803"/>
                      <a:pt x="130" y="803"/>
                      <a:pt x="130" y="803"/>
                    </a:cubicBezTo>
                    <a:cubicBezTo>
                      <a:pt x="129" y="799"/>
                      <a:pt x="129" y="799"/>
                      <a:pt x="129" y="799"/>
                    </a:cubicBezTo>
                    <a:cubicBezTo>
                      <a:pt x="130" y="797"/>
                      <a:pt x="130" y="797"/>
                      <a:pt x="130" y="797"/>
                    </a:cubicBezTo>
                    <a:cubicBezTo>
                      <a:pt x="135" y="794"/>
                      <a:pt x="135" y="794"/>
                      <a:pt x="135" y="794"/>
                    </a:cubicBezTo>
                    <a:cubicBezTo>
                      <a:pt x="139" y="789"/>
                      <a:pt x="139" y="789"/>
                      <a:pt x="139" y="789"/>
                    </a:cubicBezTo>
                    <a:cubicBezTo>
                      <a:pt x="142" y="788"/>
                      <a:pt x="142" y="788"/>
                      <a:pt x="142" y="788"/>
                    </a:cubicBezTo>
                    <a:cubicBezTo>
                      <a:pt x="146" y="788"/>
                      <a:pt x="146" y="788"/>
                      <a:pt x="146" y="788"/>
                    </a:cubicBezTo>
                    <a:cubicBezTo>
                      <a:pt x="147" y="786"/>
                      <a:pt x="147" y="786"/>
                      <a:pt x="147" y="786"/>
                    </a:cubicBezTo>
                    <a:cubicBezTo>
                      <a:pt x="147" y="782"/>
                      <a:pt x="147" y="782"/>
                      <a:pt x="147" y="782"/>
                    </a:cubicBezTo>
                    <a:cubicBezTo>
                      <a:pt x="149" y="780"/>
                      <a:pt x="149" y="780"/>
                      <a:pt x="149" y="780"/>
                    </a:cubicBezTo>
                    <a:cubicBezTo>
                      <a:pt x="153" y="779"/>
                      <a:pt x="153" y="779"/>
                      <a:pt x="153" y="779"/>
                    </a:cubicBezTo>
                    <a:cubicBezTo>
                      <a:pt x="158" y="781"/>
                      <a:pt x="158" y="781"/>
                      <a:pt x="158" y="781"/>
                    </a:cubicBezTo>
                    <a:cubicBezTo>
                      <a:pt x="161" y="780"/>
                      <a:pt x="161" y="780"/>
                      <a:pt x="161" y="780"/>
                    </a:cubicBezTo>
                    <a:cubicBezTo>
                      <a:pt x="161" y="780"/>
                      <a:pt x="161" y="780"/>
                      <a:pt x="161" y="780"/>
                    </a:cubicBezTo>
                    <a:close/>
                    <a:moveTo>
                      <a:pt x="200" y="879"/>
                    </a:moveTo>
                    <a:cubicBezTo>
                      <a:pt x="201" y="880"/>
                      <a:pt x="201" y="880"/>
                      <a:pt x="201" y="880"/>
                    </a:cubicBezTo>
                    <a:cubicBezTo>
                      <a:pt x="204" y="878"/>
                      <a:pt x="204" y="878"/>
                      <a:pt x="204" y="878"/>
                    </a:cubicBezTo>
                    <a:cubicBezTo>
                      <a:pt x="202" y="878"/>
                      <a:pt x="202" y="878"/>
                      <a:pt x="202" y="878"/>
                    </a:cubicBezTo>
                    <a:cubicBezTo>
                      <a:pt x="200" y="879"/>
                      <a:pt x="200" y="879"/>
                      <a:pt x="200" y="879"/>
                    </a:cubicBezTo>
                    <a:close/>
                    <a:moveTo>
                      <a:pt x="26" y="542"/>
                    </a:moveTo>
                    <a:cubicBezTo>
                      <a:pt x="22" y="540"/>
                      <a:pt x="22" y="540"/>
                      <a:pt x="22" y="540"/>
                    </a:cubicBezTo>
                    <a:cubicBezTo>
                      <a:pt x="20" y="541"/>
                      <a:pt x="20" y="541"/>
                      <a:pt x="20" y="541"/>
                    </a:cubicBezTo>
                    <a:cubicBezTo>
                      <a:pt x="20" y="543"/>
                      <a:pt x="20" y="543"/>
                      <a:pt x="20" y="543"/>
                    </a:cubicBezTo>
                    <a:cubicBezTo>
                      <a:pt x="24" y="547"/>
                      <a:pt x="24" y="547"/>
                      <a:pt x="24" y="547"/>
                    </a:cubicBezTo>
                    <a:cubicBezTo>
                      <a:pt x="23" y="549"/>
                      <a:pt x="23" y="549"/>
                      <a:pt x="23" y="549"/>
                    </a:cubicBezTo>
                    <a:cubicBezTo>
                      <a:pt x="27" y="552"/>
                      <a:pt x="27" y="552"/>
                      <a:pt x="27" y="552"/>
                    </a:cubicBezTo>
                    <a:cubicBezTo>
                      <a:pt x="26" y="553"/>
                      <a:pt x="26" y="553"/>
                      <a:pt x="26" y="553"/>
                    </a:cubicBezTo>
                    <a:cubicBezTo>
                      <a:pt x="22" y="552"/>
                      <a:pt x="22" y="552"/>
                      <a:pt x="22" y="552"/>
                    </a:cubicBezTo>
                    <a:cubicBezTo>
                      <a:pt x="21" y="554"/>
                      <a:pt x="21" y="554"/>
                      <a:pt x="21" y="554"/>
                    </a:cubicBezTo>
                    <a:cubicBezTo>
                      <a:pt x="21" y="558"/>
                      <a:pt x="21" y="558"/>
                      <a:pt x="21" y="558"/>
                    </a:cubicBezTo>
                    <a:cubicBezTo>
                      <a:pt x="21" y="560"/>
                      <a:pt x="21" y="560"/>
                      <a:pt x="21" y="560"/>
                    </a:cubicBezTo>
                    <a:cubicBezTo>
                      <a:pt x="15" y="561"/>
                      <a:pt x="15" y="561"/>
                      <a:pt x="15" y="561"/>
                    </a:cubicBezTo>
                    <a:cubicBezTo>
                      <a:pt x="10" y="559"/>
                      <a:pt x="10" y="559"/>
                      <a:pt x="10" y="559"/>
                    </a:cubicBezTo>
                    <a:cubicBezTo>
                      <a:pt x="12" y="555"/>
                      <a:pt x="12" y="555"/>
                      <a:pt x="12" y="555"/>
                    </a:cubicBezTo>
                    <a:cubicBezTo>
                      <a:pt x="11" y="543"/>
                      <a:pt x="11" y="543"/>
                      <a:pt x="11" y="543"/>
                    </a:cubicBezTo>
                    <a:cubicBezTo>
                      <a:pt x="10" y="539"/>
                      <a:pt x="10" y="539"/>
                      <a:pt x="10" y="539"/>
                    </a:cubicBezTo>
                    <a:cubicBezTo>
                      <a:pt x="9" y="538"/>
                      <a:pt x="9" y="538"/>
                      <a:pt x="9" y="538"/>
                    </a:cubicBezTo>
                    <a:cubicBezTo>
                      <a:pt x="8" y="535"/>
                      <a:pt x="8" y="535"/>
                      <a:pt x="8" y="535"/>
                    </a:cubicBezTo>
                    <a:cubicBezTo>
                      <a:pt x="8" y="533"/>
                      <a:pt x="8" y="533"/>
                      <a:pt x="8" y="533"/>
                    </a:cubicBezTo>
                    <a:cubicBezTo>
                      <a:pt x="11" y="531"/>
                      <a:pt x="11" y="531"/>
                      <a:pt x="11" y="531"/>
                    </a:cubicBezTo>
                    <a:cubicBezTo>
                      <a:pt x="11" y="528"/>
                      <a:pt x="11" y="528"/>
                      <a:pt x="11" y="528"/>
                    </a:cubicBezTo>
                    <a:cubicBezTo>
                      <a:pt x="10" y="526"/>
                      <a:pt x="10" y="526"/>
                      <a:pt x="10" y="526"/>
                    </a:cubicBezTo>
                    <a:cubicBezTo>
                      <a:pt x="10" y="524"/>
                      <a:pt x="10" y="524"/>
                      <a:pt x="10" y="524"/>
                    </a:cubicBezTo>
                    <a:cubicBezTo>
                      <a:pt x="12" y="522"/>
                      <a:pt x="12" y="522"/>
                      <a:pt x="12" y="522"/>
                    </a:cubicBezTo>
                    <a:cubicBezTo>
                      <a:pt x="17" y="522"/>
                      <a:pt x="17" y="522"/>
                      <a:pt x="17" y="522"/>
                    </a:cubicBezTo>
                    <a:cubicBezTo>
                      <a:pt x="20" y="523"/>
                      <a:pt x="20" y="523"/>
                      <a:pt x="20" y="523"/>
                    </a:cubicBezTo>
                    <a:cubicBezTo>
                      <a:pt x="23" y="528"/>
                      <a:pt x="23" y="528"/>
                      <a:pt x="23" y="528"/>
                    </a:cubicBezTo>
                    <a:cubicBezTo>
                      <a:pt x="23" y="533"/>
                      <a:pt x="23" y="533"/>
                      <a:pt x="23" y="533"/>
                    </a:cubicBezTo>
                    <a:cubicBezTo>
                      <a:pt x="24" y="534"/>
                      <a:pt x="24" y="534"/>
                      <a:pt x="24" y="534"/>
                    </a:cubicBezTo>
                    <a:cubicBezTo>
                      <a:pt x="24" y="538"/>
                      <a:pt x="24" y="538"/>
                      <a:pt x="24" y="538"/>
                    </a:cubicBezTo>
                    <a:cubicBezTo>
                      <a:pt x="20" y="537"/>
                      <a:pt x="20" y="537"/>
                      <a:pt x="20" y="537"/>
                    </a:cubicBezTo>
                    <a:cubicBezTo>
                      <a:pt x="24" y="540"/>
                      <a:pt x="24" y="540"/>
                      <a:pt x="24" y="540"/>
                    </a:cubicBezTo>
                    <a:cubicBezTo>
                      <a:pt x="26" y="542"/>
                      <a:pt x="26" y="542"/>
                      <a:pt x="26" y="542"/>
                    </a:cubicBezTo>
                    <a:cubicBezTo>
                      <a:pt x="26" y="542"/>
                      <a:pt x="26" y="542"/>
                      <a:pt x="26" y="542"/>
                    </a:cubicBezTo>
                    <a:close/>
                    <a:moveTo>
                      <a:pt x="28" y="533"/>
                    </a:moveTo>
                    <a:cubicBezTo>
                      <a:pt x="31" y="532"/>
                      <a:pt x="31" y="532"/>
                      <a:pt x="31" y="532"/>
                    </a:cubicBezTo>
                    <a:cubicBezTo>
                      <a:pt x="33" y="534"/>
                      <a:pt x="33" y="534"/>
                      <a:pt x="33" y="534"/>
                    </a:cubicBezTo>
                    <a:cubicBezTo>
                      <a:pt x="31" y="536"/>
                      <a:pt x="31" y="536"/>
                      <a:pt x="31" y="536"/>
                    </a:cubicBezTo>
                    <a:cubicBezTo>
                      <a:pt x="28" y="533"/>
                      <a:pt x="28" y="533"/>
                      <a:pt x="28" y="533"/>
                    </a:cubicBezTo>
                    <a:close/>
                    <a:moveTo>
                      <a:pt x="6" y="568"/>
                    </a:moveTo>
                    <a:cubicBezTo>
                      <a:pt x="7" y="567"/>
                      <a:pt x="7" y="567"/>
                      <a:pt x="7" y="567"/>
                    </a:cubicBezTo>
                    <a:cubicBezTo>
                      <a:pt x="10" y="567"/>
                      <a:pt x="10" y="567"/>
                      <a:pt x="10" y="567"/>
                    </a:cubicBezTo>
                    <a:cubicBezTo>
                      <a:pt x="12" y="568"/>
                      <a:pt x="12" y="568"/>
                      <a:pt x="12" y="568"/>
                    </a:cubicBezTo>
                    <a:cubicBezTo>
                      <a:pt x="8" y="570"/>
                      <a:pt x="8" y="570"/>
                      <a:pt x="8" y="570"/>
                    </a:cubicBezTo>
                    <a:cubicBezTo>
                      <a:pt x="6" y="568"/>
                      <a:pt x="6" y="568"/>
                      <a:pt x="6" y="568"/>
                    </a:cubicBezTo>
                    <a:close/>
                    <a:moveTo>
                      <a:pt x="32" y="572"/>
                    </a:moveTo>
                    <a:cubicBezTo>
                      <a:pt x="36" y="570"/>
                      <a:pt x="36" y="570"/>
                      <a:pt x="36" y="570"/>
                    </a:cubicBezTo>
                    <a:cubicBezTo>
                      <a:pt x="36" y="573"/>
                      <a:pt x="36" y="573"/>
                      <a:pt x="36" y="573"/>
                    </a:cubicBezTo>
                    <a:cubicBezTo>
                      <a:pt x="34" y="575"/>
                      <a:pt x="34" y="575"/>
                      <a:pt x="34" y="575"/>
                    </a:cubicBezTo>
                    <a:cubicBezTo>
                      <a:pt x="32" y="572"/>
                      <a:pt x="32" y="572"/>
                      <a:pt x="32" y="572"/>
                    </a:cubicBezTo>
                    <a:close/>
                    <a:moveTo>
                      <a:pt x="26" y="572"/>
                    </a:moveTo>
                    <a:cubicBezTo>
                      <a:pt x="29" y="573"/>
                      <a:pt x="29" y="573"/>
                      <a:pt x="29" y="573"/>
                    </a:cubicBezTo>
                    <a:cubicBezTo>
                      <a:pt x="30" y="576"/>
                      <a:pt x="30" y="576"/>
                      <a:pt x="30" y="576"/>
                    </a:cubicBezTo>
                    <a:cubicBezTo>
                      <a:pt x="27" y="578"/>
                      <a:pt x="27" y="578"/>
                      <a:pt x="27" y="578"/>
                    </a:cubicBezTo>
                    <a:cubicBezTo>
                      <a:pt x="27" y="575"/>
                      <a:pt x="27" y="575"/>
                      <a:pt x="27" y="575"/>
                    </a:cubicBezTo>
                    <a:cubicBezTo>
                      <a:pt x="24" y="573"/>
                      <a:pt x="24" y="573"/>
                      <a:pt x="24" y="573"/>
                    </a:cubicBezTo>
                    <a:cubicBezTo>
                      <a:pt x="26" y="572"/>
                      <a:pt x="26" y="572"/>
                      <a:pt x="26" y="572"/>
                    </a:cubicBezTo>
                    <a:close/>
                    <a:moveTo>
                      <a:pt x="18" y="571"/>
                    </a:moveTo>
                    <a:cubicBezTo>
                      <a:pt x="19" y="569"/>
                      <a:pt x="19" y="569"/>
                      <a:pt x="19" y="569"/>
                    </a:cubicBezTo>
                    <a:cubicBezTo>
                      <a:pt x="24" y="571"/>
                      <a:pt x="24" y="571"/>
                      <a:pt x="24" y="571"/>
                    </a:cubicBezTo>
                    <a:cubicBezTo>
                      <a:pt x="20" y="573"/>
                      <a:pt x="20" y="573"/>
                      <a:pt x="20" y="573"/>
                    </a:cubicBezTo>
                    <a:cubicBezTo>
                      <a:pt x="18" y="571"/>
                      <a:pt x="18" y="571"/>
                      <a:pt x="18" y="571"/>
                    </a:cubicBezTo>
                    <a:close/>
                    <a:moveTo>
                      <a:pt x="19" y="578"/>
                    </a:moveTo>
                    <a:cubicBezTo>
                      <a:pt x="20" y="577"/>
                      <a:pt x="20" y="577"/>
                      <a:pt x="20" y="577"/>
                    </a:cubicBezTo>
                    <a:cubicBezTo>
                      <a:pt x="22" y="578"/>
                      <a:pt x="22" y="578"/>
                      <a:pt x="22" y="578"/>
                    </a:cubicBezTo>
                    <a:cubicBezTo>
                      <a:pt x="21" y="580"/>
                      <a:pt x="21" y="580"/>
                      <a:pt x="21" y="580"/>
                    </a:cubicBezTo>
                    <a:cubicBezTo>
                      <a:pt x="19" y="578"/>
                      <a:pt x="19" y="578"/>
                      <a:pt x="19" y="578"/>
                    </a:cubicBezTo>
                    <a:close/>
                    <a:moveTo>
                      <a:pt x="14" y="582"/>
                    </a:moveTo>
                    <a:cubicBezTo>
                      <a:pt x="15" y="580"/>
                      <a:pt x="15" y="580"/>
                      <a:pt x="15" y="580"/>
                    </a:cubicBezTo>
                    <a:cubicBezTo>
                      <a:pt x="18" y="580"/>
                      <a:pt x="18" y="580"/>
                      <a:pt x="18" y="580"/>
                    </a:cubicBezTo>
                    <a:cubicBezTo>
                      <a:pt x="20" y="582"/>
                      <a:pt x="20" y="582"/>
                      <a:pt x="20" y="582"/>
                    </a:cubicBezTo>
                    <a:cubicBezTo>
                      <a:pt x="20" y="583"/>
                      <a:pt x="20" y="583"/>
                      <a:pt x="20" y="583"/>
                    </a:cubicBezTo>
                    <a:cubicBezTo>
                      <a:pt x="17" y="585"/>
                      <a:pt x="17" y="585"/>
                      <a:pt x="17" y="585"/>
                    </a:cubicBezTo>
                    <a:cubicBezTo>
                      <a:pt x="15" y="584"/>
                      <a:pt x="15" y="584"/>
                      <a:pt x="15" y="584"/>
                    </a:cubicBezTo>
                    <a:cubicBezTo>
                      <a:pt x="14" y="582"/>
                      <a:pt x="14" y="582"/>
                      <a:pt x="14" y="582"/>
                    </a:cubicBezTo>
                    <a:close/>
                    <a:moveTo>
                      <a:pt x="11" y="589"/>
                    </a:moveTo>
                    <a:cubicBezTo>
                      <a:pt x="13" y="590"/>
                      <a:pt x="13" y="590"/>
                      <a:pt x="13" y="590"/>
                    </a:cubicBezTo>
                    <a:cubicBezTo>
                      <a:pt x="11" y="592"/>
                      <a:pt x="11" y="592"/>
                      <a:pt x="11" y="592"/>
                    </a:cubicBezTo>
                    <a:cubicBezTo>
                      <a:pt x="9" y="591"/>
                      <a:pt x="9" y="591"/>
                      <a:pt x="9" y="591"/>
                    </a:cubicBezTo>
                    <a:cubicBezTo>
                      <a:pt x="11" y="589"/>
                      <a:pt x="11" y="589"/>
                      <a:pt x="11" y="589"/>
                    </a:cubicBezTo>
                    <a:close/>
                    <a:moveTo>
                      <a:pt x="29" y="587"/>
                    </a:moveTo>
                    <a:cubicBezTo>
                      <a:pt x="30" y="592"/>
                      <a:pt x="30" y="592"/>
                      <a:pt x="30" y="592"/>
                    </a:cubicBezTo>
                    <a:cubicBezTo>
                      <a:pt x="28" y="591"/>
                      <a:pt x="28" y="591"/>
                      <a:pt x="28" y="591"/>
                    </a:cubicBezTo>
                    <a:cubicBezTo>
                      <a:pt x="29" y="587"/>
                      <a:pt x="29" y="587"/>
                      <a:pt x="29" y="587"/>
                    </a:cubicBezTo>
                    <a:close/>
                    <a:moveTo>
                      <a:pt x="23" y="586"/>
                    </a:moveTo>
                    <a:cubicBezTo>
                      <a:pt x="26" y="585"/>
                      <a:pt x="26" y="585"/>
                      <a:pt x="26" y="585"/>
                    </a:cubicBezTo>
                    <a:cubicBezTo>
                      <a:pt x="26" y="590"/>
                      <a:pt x="26" y="590"/>
                      <a:pt x="26" y="590"/>
                    </a:cubicBezTo>
                    <a:cubicBezTo>
                      <a:pt x="23" y="586"/>
                      <a:pt x="23" y="586"/>
                      <a:pt x="23" y="586"/>
                    </a:cubicBezTo>
                    <a:close/>
                    <a:moveTo>
                      <a:pt x="15" y="615"/>
                    </a:moveTo>
                    <a:cubicBezTo>
                      <a:pt x="16" y="615"/>
                      <a:pt x="16" y="615"/>
                      <a:pt x="16" y="615"/>
                    </a:cubicBezTo>
                    <a:cubicBezTo>
                      <a:pt x="17" y="618"/>
                      <a:pt x="17" y="618"/>
                      <a:pt x="17" y="618"/>
                    </a:cubicBezTo>
                    <a:cubicBezTo>
                      <a:pt x="15" y="618"/>
                      <a:pt x="15" y="618"/>
                      <a:pt x="15" y="618"/>
                    </a:cubicBezTo>
                    <a:cubicBezTo>
                      <a:pt x="15" y="615"/>
                      <a:pt x="15" y="615"/>
                      <a:pt x="15" y="615"/>
                    </a:cubicBezTo>
                    <a:close/>
                    <a:moveTo>
                      <a:pt x="15" y="591"/>
                    </a:moveTo>
                    <a:cubicBezTo>
                      <a:pt x="15" y="588"/>
                      <a:pt x="15" y="588"/>
                      <a:pt x="15" y="588"/>
                    </a:cubicBezTo>
                    <a:cubicBezTo>
                      <a:pt x="14" y="586"/>
                      <a:pt x="14" y="586"/>
                      <a:pt x="14" y="586"/>
                    </a:cubicBezTo>
                    <a:cubicBezTo>
                      <a:pt x="18" y="586"/>
                      <a:pt x="18" y="586"/>
                      <a:pt x="18" y="586"/>
                    </a:cubicBezTo>
                    <a:cubicBezTo>
                      <a:pt x="20" y="589"/>
                      <a:pt x="20" y="589"/>
                      <a:pt x="20" y="589"/>
                    </a:cubicBezTo>
                    <a:cubicBezTo>
                      <a:pt x="17" y="590"/>
                      <a:pt x="17" y="590"/>
                      <a:pt x="17" y="590"/>
                    </a:cubicBezTo>
                    <a:cubicBezTo>
                      <a:pt x="15" y="591"/>
                      <a:pt x="15" y="591"/>
                      <a:pt x="15" y="591"/>
                    </a:cubicBezTo>
                    <a:close/>
                    <a:moveTo>
                      <a:pt x="7" y="597"/>
                    </a:moveTo>
                    <a:cubicBezTo>
                      <a:pt x="2" y="595"/>
                      <a:pt x="2" y="595"/>
                      <a:pt x="2" y="595"/>
                    </a:cubicBezTo>
                    <a:cubicBezTo>
                      <a:pt x="3" y="593"/>
                      <a:pt x="3" y="593"/>
                      <a:pt x="3" y="593"/>
                    </a:cubicBezTo>
                    <a:cubicBezTo>
                      <a:pt x="6" y="593"/>
                      <a:pt x="6" y="593"/>
                      <a:pt x="6" y="593"/>
                    </a:cubicBezTo>
                    <a:cubicBezTo>
                      <a:pt x="8" y="595"/>
                      <a:pt x="8" y="595"/>
                      <a:pt x="8" y="595"/>
                    </a:cubicBezTo>
                    <a:cubicBezTo>
                      <a:pt x="7" y="597"/>
                      <a:pt x="7" y="597"/>
                      <a:pt x="7" y="597"/>
                    </a:cubicBezTo>
                    <a:close/>
                    <a:moveTo>
                      <a:pt x="21" y="609"/>
                    </a:moveTo>
                    <a:cubicBezTo>
                      <a:pt x="24" y="609"/>
                      <a:pt x="24" y="609"/>
                      <a:pt x="24" y="609"/>
                    </a:cubicBezTo>
                    <a:cubicBezTo>
                      <a:pt x="24" y="612"/>
                      <a:pt x="24" y="612"/>
                      <a:pt x="24" y="612"/>
                    </a:cubicBezTo>
                    <a:cubicBezTo>
                      <a:pt x="21" y="609"/>
                      <a:pt x="21" y="609"/>
                      <a:pt x="21" y="609"/>
                    </a:cubicBezTo>
                    <a:close/>
                    <a:moveTo>
                      <a:pt x="26" y="614"/>
                    </a:moveTo>
                    <a:cubicBezTo>
                      <a:pt x="30" y="614"/>
                      <a:pt x="30" y="614"/>
                      <a:pt x="30" y="614"/>
                    </a:cubicBezTo>
                    <a:cubicBezTo>
                      <a:pt x="28" y="616"/>
                      <a:pt x="28" y="616"/>
                      <a:pt x="28" y="616"/>
                    </a:cubicBezTo>
                    <a:cubicBezTo>
                      <a:pt x="26" y="614"/>
                      <a:pt x="26" y="614"/>
                      <a:pt x="26" y="614"/>
                    </a:cubicBezTo>
                    <a:close/>
                    <a:moveTo>
                      <a:pt x="33" y="581"/>
                    </a:moveTo>
                    <a:cubicBezTo>
                      <a:pt x="34" y="580"/>
                      <a:pt x="34" y="580"/>
                      <a:pt x="34" y="580"/>
                    </a:cubicBezTo>
                    <a:cubicBezTo>
                      <a:pt x="38" y="583"/>
                      <a:pt x="38" y="583"/>
                      <a:pt x="38" y="583"/>
                    </a:cubicBezTo>
                    <a:cubicBezTo>
                      <a:pt x="34" y="583"/>
                      <a:pt x="34" y="583"/>
                      <a:pt x="34" y="583"/>
                    </a:cubicBezTo>
                    <a:cubicBezTo>
                      <a:pt x="33" y="581"/>
                      <a:pt x="33" y="581"/>
                      <a:pt x="33" y="581"/>
                    </a:cubicBezTo>
                    <a:close/>
                    <a:moveTo>
                      <a:pt x="39" y="584"/>
                    </a:moveTo>
                    <a:cubicBezTo>
                      <a:pt x="43" y="585"/>
                      <a:pt x="43" y="585"/>
                      <a:pt x="43" y="585"/>
                    </a:cubicBezTo>
                    <a:cubicBezTo>
                      <a:pt x="43" y="588"/>
                      <a:pt x="43" y="588"/>
                      <a:pt x="43" y="588"/>
                    </a:cubicBezTo>
                    <a:cubicBezTo>
                      <a:pt x="46" y="591"/>
                      <a:pt x="46" y="591"/>
                      <a:pt x="46" y="591"/>
                    </a:cubicBezTo>
                    <a:cubicBezTo>
                      <a:pt x="44" y="594"/>
                      <a:pt x="44" y="594"/>
                      <a:pt x="44" y="594"/>
                    </a:cubicBezTo>
                    <a:cubicBezTo>
                      <a:pt x="43" y="596"/>
                      <a:pt x="43" y="596"/>
                      <a:pt x="43" y="596"/>
                    </a:cubicBezTo>
                    <a:cubicBezTo>
                      <a:pt x="41" y="597"/>
                      <a:pt x="41" y="597"/>
                      <a:pt x="41" y="597"/>
                    </a:cubicBezTo>
                    <a:cubicBezTo>
                      <a:pt x="39" y="596"/>
                      <a:pt x="39" y="596"/>
                      <a:pt x="39" y="596"/>
                    </a:cubicBezTo>
                    <a:cubicBezTo>
                      <a:pt x="37" y="595"/>
                      <a:pt x="37" y="595"/>
                      <a:pt x="37" y="595"/>
                    </a:cubicBezTo>
                    <a:cubicBezTo>
                      <a:pt x="34" y="598"/>
                      <a:pt x="34" y="598"/>
                      <a:pt x="34" y="598"/>
                    </a:cubicBezTo>
                    <a:cubicBezTo>
                      <a:pt x="34" y="594"/>
                      <a:pt x="34" y="594"/>
                      <a:pt x="34" y="594"/>
                    </a:cubicBezTo>
                    <a:cubicBezTo>
                      <a:pt x="33" y="591"/>
                      <a:pt x="33" y="591"/>
                      <a:pt x="33" y="591"/>
                    </a:cubicBezTo>
                    <a:cubicBezTo>
                      <a:pt x="35" y="586"/>
                      <a:pt x="35" y="586"/>
                      <a:pt x="35" y="586"/>
                    </a:cubicBezTo>
                    <a:cubicBezTo>
                      <a:pt x="39" y="584"/>
                      <a:pt x="39" y="584"/>
                      <a:pt x="39" y="584"/>
                    </a:cubicBezTo>
                    <a:close/>
                    <a:moveTo>
                      <a:pt x="17" y="595"/>
                    </a:moveTo>
                    <a:cubicBezTo>
                      <a:pt x="18" y="592"/>
                      <a:pt x="18" y="592"/>
                      <a:pt x="18" y="592"/>
                    </a:cubicBezTo>
                    <a:cubicBezTo>
                      <a:pt x="26" y="592"/>
                      <a:pt x="26" y="592"/>
                      <a:pt x="26" y="592"/>
                    </a:cubicBezTo>
                    <a:cubicBezTo>
                      <a:pt x="25" y="594"/>
                      <a:pt x="25" y="594"/>
                      <a:pt x="25" y="594"/>
                    </a:cubicBezTo>
                    <a:cubicBezTo>
                      <a:pt x="20" y="595"/>
                      <a:pt x="20" y="595"/>
                      <a:pt x="20" y="595"/>
                    </a:cubicBezTo>
                    <a:cubicBezTo>
                      <a:pt x="19" y="597"/>
                      <a:pt x="19" y="597"/>
                      <a:pt x="19" y="597"/>
                    </a:cubicBezTo>
                    <a:cubicBezTo>
                      <a:pt x="17" y="595"/>
                      <a:pt x="17" y="595"/>
                      <a:pt x="17" y="595"/>
                    </a:cubicBezTo>
                    <a:close/>
                    <a:moveTo>
                      <a:pt x="22" y="602"/>
                    </a:moveTo>
                    <a:cubicBezTo>
                      <a:pt x="20" y="601"/>
                      <a:pt x="20" y="601"/>
                      <a:pt x="20" y="601"/>
                    </a:cubicBezTo>
                    <a:cubicBezTo>
                      <a:pt x="24" y="599"/>
                      <a:pt x="24" y="599"/>
                      <a:pt x="24" y="599"/>
                    </a:cubicBezTo>
                    <a:cubicBezTo>
                      <a:pt x="27" y="599"/>
                      <a:pt x="27" y="599"/>
                      <a:pt x="27" y="599"/>
                    </a:cubicBezTo>
                    <a:cubicBezTo>
                      <a:pt x="27" y="602"/>
                      <a:pt x="27" y="602"/>
                      <a:pt x="27" y="602"/>
                    </a:cubicBezTo>
                    <a:cubicBezTo>
                      <a:pt x="22" y="602"/>
                      <a:pt x="22" y="602"/>
                      <a:pt x="22" y="602"/>
                    </a:cubicBezTo>
                    <a:close/>
                    <a:moveTo>
                      <a:pt x="23" y="605"/>
                    </a:moveTo>
                    <a:cubicBezTo>
                      <a:pt x="27" y="603"/>
                      <a:pt x="27" y="603"/>
                      <a:pt x="27" y="603"/>
                    </a:cubicBezTo>
                    <a:cubicBezTo>
                      <a:pt x="31" y="603"/>
                      <a:pt x="31" y="603"/>
                      <a:pt x="31" y="603"/>
                    </a:cubicBezTo>
                    <a:cubicBezTo>
                      <a:pt x="31" y="609"/>
                      <a:pt x="31" y="609"/>
                      <a:pt x="31" y="609"/>
                    </a:cubicBezTo>
                    <a:cubicBezTo>
                      <a:pt x="29" y="612"/>
                      <a:pt x="29" y="612"/>
                      <a:pt x="29" y="612"/>
                    </a:cubicBezTo>
                    <a:cubicBezTo>
                      <a:pt x="27" y="610"/>
                      <a:pt x="27" y="610"/>
                      <a:pt x="27" y="610"/>
                    </a:cubicBezTo>
                    <a:cubicBezTo>
                      <a:pt x="25" y="606"/>
                      <a:pt x="25" y="606"/>
                      <a:pt x="25" y="606"/>
                    </a:cubicBezTo>
                    <a:cubicBezTo>
                      <a:pt x="23" y="605"/>
                      <a:pt x="23" y="605"/>
                      <a:pt x="23" y="605"/>
                    </a:cubicBezTo>
                    <a:close/>
                    <a:moveTo>
                      <a:pt x="18" y="615"/>
                    </a:moveTo>
                    <a:cubicBezTo>
                      <a:pt x="20" y="613"/>
                      <a:pt x="20" y="613"/>
                      <a:pt x="20" y="613"/>
                    </a:cubicBezTo>
                    <a:cubicBezTo>
                      <a:pt x="21" y="614"/>
                      <a:pt x="21" y="614"/>
                      <a:pt x="21" y="614"/>
                    </a:cubicBezTo>
                    <a:cubicBezTo>
                      <a:pt x="24" y="615"/>
                      <a:pt x="24" y="615"/>
                      <a:pt x="24" y="615"/>
                    </a:cubicBezTo>
                    <a:cubicBezTo>
                      <a:pt x="25" y="618"/>
                      <a:pt x="25" y="618"/>
                      <a:pt x="25" y="618"/>
                    </a:cubicBezTo>
                    <a:cubicBezTo>
                      <a:pt x="22" y="619"/>
                      <a:pt x="22" y="619"/>
                      <a:pt x="22" y="619"/>
                    </a:cubicBezTo>
                    <a:cubicBezTo>
                      <a:pt x="18" y="615"/>
                      <a:pt x="18" y="615"/>
                      <a:pt x="18" y="615"/>
                    </a:cubicBezTo>
                    <a:close/>
                    <a:moveTo>
                      <a:pt x="28" y="687"/>
                    </a:moveTo>
                    <a:cubicBezTo>
                      <a:pt x="30" y="685"/>
                      <a:pt x="30" y="685"/>
                      <a:pt x="30" y="685"/>
                    </a:cubicBezTo>
                    <a:cubicBezTo>
                      <a:pt x="29" y="683"/>
                      <a:pt x="29" y="683"/>
                      <a:pt x="29" y="683"/>
                    </a:cubicBezTo>
                    <a:cubicBezTo>
                      <a:pt x="28" y="685"/>
                      <a:pt x="28" y="685"/>
                      <a:pt x="28" y="685"/>
                    </a:cubicBezTo>
                    <a:cubicBezTo>
                      <a:pt x="23" y="678"/>
                      <a:pt x="23" y="678"/>
                      <a:pt x="23" y="678"/>
                    </a:cubicBezTo>
                    <a:cubicBezTo>
                      <a:pt x="20" y="675"/>
                      <a:pt x="20" y="675"/>
                      <a:pt x="20" y="675"/>
                    </a:cubicBezTo>
                    <a:cubicBezTo>
                      <a:pt x="21" y="673"/>
                      <a:pt x="21" y="673"/>
                      <a:pt x="21" y="673"/>
                    </a:cubicBezTo>
                    <a:cubicBezTo>
                      <a:pt x="25" y="672"/>
                      <a:pt x="25" y="672"/>
                      <a:pt x="25" y="672"/>
                    </a:cubicBezTo>
                    <a:cubicBezTo>
                      <a:pt x="28" y="671"/>
                      <a:pt x="28" y="671"/>
                      <a:pt x="28" y="671"/>
                    </a:cubicBezTo>
                    <a:cubicBezTo>
                      <a:pt x="28" y="676"/>
                      <a:pt x="28" y="676"/>
                      <a:pt x="28" y="676"/>
                    </a:cubicBezTo>
                    <a:cubicBezTo>
                      <a:pt x="32" y="678"/>
                      <a:pt x="32" y="678"/>
                      <a:pt x="32" y="678"/>
                    </a:cubicBezTo>
                    <a:cubicBezTo>
                      <a:pt x="32" y="682"/>
                      <a:pt x="32" y="682"/>
                      <a:pt x="32" y="682"/>
                    </a:cubicBezTo>
                    <a:cubicBezTo>
                      <a:pt x="35" y="685"/>
                      <a:pt x="35" y="685"/>
                      <a:pt x="35" y="685"/>
                    </a:cubicBezTo>
                    <a:cubicBezTo>
                      <a:pt x="37" y="691"/>
                      <a:pt x="37" y="691"/>
                      <a:pt x="37" y="691"/>
                    </a:cubicBezTo>
                    <a:cubicBezTo>
                      <a:pt x="33" y="690"/>
                      <a:pt x="33" y="690"/>
                      <a:pt x="33" y="690"/>
                    </a:cubicBezTo>
                    <a:cubicBezTo>
                      <a:pt x="29" y="691"/>
                      <a:pt x="29" y="691"/>
                      <a:pt x="29" y="691"/>
                    </a:cubicBezTo>
                    <a:cubicBezTo>
                      <a:pt x="28" y="687"/>
                      <a:pt x="28" y="687"/>
                      <a:pt x="28" y="687"/>
                    </a:cubicBezTo>
                    <a:close/>
                    <a:moveTo>
                      <a:pt x="14" y="680"/>
                    </a:moveTo>
                    <a:cubicBezTo>
                      <a:pt x="14" y="677"/>
                      <a:pt x="14" y="677"/>
                      <a:pt x="14" y="677"/>
                    </a:cubicBezTo>
                    <a:cubicBezTo>
                      <a:pt x="15" y="676"/>
                      <a:pt x="15" y="676"/>
                      <a:pt x="15" y="676"/>
                    </a:cubicBezTo>
                    <a:cubicBezTo>
                      <a:pt x="18" y="677"/>
                      <a:pt x="18" y="677"/>
                      <a:pt x="18" y="677"/>
                    </a:cubicBezTo>
                    <a:cubicBezTo>
                      <a:pt x="23" y="684"/>
                      <a:pt x="23" y="684"/>
                      <a:pt x="23" y="684"/>
                    </a:cubicBezTo>
                    <a:cubicBezTo>
                      <a:pt x="27" y="689"/>
                      <a:pt x="27" y="689"/>
                      <a:pt x="27" y="689"/>
                    </a:cubicBezTo>
                    <a:cubicBezTo>
                      <a:pt x="27" y="693"/>
                      <a:pt x="27" y="693"/>
                      <a:pt x="27" y="693"/>
                    </a:cubicBezTo>
                    <a:cubicBezTo>
                      <a:pt x="25" y="695"/>
                      <a:pt x="25" y="695"/>
                      <a:pt x="25" y="695"/>
                    </a:cubicBezTo>
                    <a:cubicBezTo>
                      <a:pt x="22" y="693"/>
                      <a:pt x="22" y="693"/>
                      <a:pt x="22" y="693"/>
                    </a:cubicBezTo>
                    <a:cubicBezTo>
                      <a:pt x="21" y="688"/>
                      <a:pt x="21" y="688"/>
                      <a:pt x="21" y="688"/>
                    </a:cubicBezTo>
                    <a:cubicBezTo>
                      <a:pt x="21" y="687"/>
                      <a:pt x="21" y="687"/>
                      <a:pt x="21" y="687"/>
                    </a:cubicBezTo>
                    <a:cubicBezTo>
                      <a:pt x="19" y="685"/>
                      <a:pt x="19" y="685"/>
                      <a:pt x="19" y="685"/>
                    </a:cubicBezTo>
                    <a:cubicBezTo>
                      <a:pt x="15" y="684"/>
                      <a:pt x="15" y="684"/>
                      <a:pt x="15" y="684"/>
                    </a:cubicBezTo>
                    <a:cubicBezTo>
                      <a:pt x="14" y="680"/>
                      <a:pt x="14" y="680"/>
                      <a:pt x="14" y="680"/>
                    </a:cubicBezTo>
                    <a:close/>
                    <a:moveTo>
                      <a:pt x="15" y="686"/>
                    </a:moveTo>
                    <a:cubicBezTo>
                      <a:pt x="16" y="686"/>
                      <a:pt x="16" y="686"/>
                      <a:pt x="16" y="686"/>
                    </a:cubicBezTo>
                    <a:cubicBezTo>
                      <a:pt x="19" y="687"/>
                      <a:pt x="19" y="687"/>
                      <a:pt x="19" y="687"/>
                    </a:cubicBezTo>
                    <a:cubicBezTo>
                      <a:pt x="20" y="691"/>
                      <a:pt x="20" y="691"/>
                      <a:pt x="20" y="691"/>
                    </a:cubicBezTo>
                    <a:cubicBezTo>
                      <a:pt x="19" y="694"/>
                      <a:pt x="19" y="694"/>
                      <a:pt x="19" y="694"/>
                    </a:cubicBezTo>
                    <a:cubicBezTo>
                      <a:pt x="17" y="694"/>
                      <a:pt x="17" y="694"/>
                      <a:pt x="17" y="694"/>
                    </a:cubicBezTo>
                    <a:cubicBezTo>
                      <a:pt x="17" y="692"/>
                      <a:pt x="17" y="692"/>
                      <a:pt x="17" y="692"/>
                    </a:cubicBezTo>
                    <a:cubicBezTo>
                      <a:pt x="15" y="691"/>
                      <a:pt x="15" y="691"/>
                      <a:pt x="15" y="691"/>
                    </a:cubicBezTo>
                    <a:cubicBezTo>
                      <a:pt x="15" y="686"/>
                      <a:pt x="15" y="686"/>
                      <a:pt x="15" y="686"/>
                    </a:cubicBezTo>
                    <a:close/>
                    <a:moveTo>
                      <a:pt x="22" y="708"/>
                    </a:moveTo>
                    <a:cubicBezTo>
                      <a:pt x="20" y="707"/>
                      <a:pt x="20" y="707"/>
                      <a:pt x="20" y="707"/>
                    </a:cubicBezTo>
                    <a:cubicBezTo>
                      <a:pt x="21" y="704"/>
                      <a:pt x="21" y="704"/>
                      <a:pt x="21" y="704"/>
                    </a:cubicBezTo>
                    <a:cubicBezTo>
                      <a:pt x="19" y="698"/>
                      <a:pt x="19" y="698"/>
                      <a:pt x="19" y="698"/>
                    </a:cubicBezTo>
                    <a:cubicBezTo>
                      <a:pt x="21" y="696"/>
                      <a:pt x="21" y="696"/>
                      <a:pt x="21" y="696"/>
                    </a:cubicBezTo>
                    <a:cubicBezTo>
                      <a:pt x="21" y="697"/>
                      <a:pt x="21" y="697"/>
                      <a:pt x="21" y="697"/>
                    </a:cubicBezTo>
                    <a:cubicBezTo>
                      <a:pt x="26" y="699"/>
                      <a:pt x="26" y="699"/>
                      <a:pt x="26" y="699"/>
                    </a:cubicBezTo>
                    <a:cubicBezTo>
                      <a:pt x="27" y="702"/>
                      <a:pt x="27" y="702"/>
                      <a:pt x="27" y="702"/>
                    </a:cubicBezTo>
                    <a:cubicBezTo>
                      <a:pt x="25" y="703"/>
                      <a:pt x="25" y="703"/>
                      <a:pt x="25" y="703"/>
                    </a:cubicBezTo>
                    <a:cubicBezTo>
                      <a:pt x="22" y="708"/>
                      <a:pt x="22" y="708"/>
                      <a:pt x="22" y="708"/>
                    </a:cubicBezTo>
                    <a:close/>
                    <a:moveTo>
                      <a:pt x="27" y="722"/>
                    </a:moveTo>
                    <a:cubicBezTo>
                      <a:pt x="24" y="723"/>
                      <a:pt x="24" y="723"/>
                      <a:pt x="24" y="723"/>
                    </a:cubicBezTo>
                    <a:cubicBezTo>
                      <a:pt x="22" y="721"/>
                      <a:pt x="22" y="721"/>
                      <a:pt x="22" y="721"/>
                    </a:cubicBezTo>
                    <a:cubicBezTo>
                      <a:pt x="23" y="719"/>
                      <a:pt x="23" y="719"/>
                      <a:pt x="23" y="719"/>
                    </a:cubicBezTo>
                    <a:cubicBezTo>
                      <a:pt x="21" y="717"/>
                      <a:pt x="21" y="717"/>
                      <a:pt x="21" y="717"/>
                    </a:cubicBezTo>
                    <a:cubicBezTo>
                      <a:pt x="26" y="715"/>
                      <a:pt x="26" y="715"/>
                      <a:pt x="26" y="715"/>
                    </a:cubicBezTo>
                    <a:cubicBezTo>
                      <a:pt x="28" y="719"/>
                      <a:pt x="28" y="719"/>
                      <a:pt x="28" y="719"/>
                    </a:cubicBezTo>
                    <a:cubicBezTo>
                      <a:pt x="27" y="722"/>
                      <a:pt x="27" y="722"/>
                      <a:pt x="27" y="722"/>
                    </a:cubicBezTo>
                    <a:close/>
                    <a:moveTo>
                      <a:pt x="37" y="720"/>
                    </a:moveTo>
                    <a:cubicBezTo>
                      <a:pt x="36" y="724"/>
                      <a:pt x="36" y="724"/>
                      <a:pt x="36" y="724"/>
                    </a:cubicBezTo>
                    <a:cubicBezTo>
                      <a:pt x="34" y="725"/>
                      <a:pt x="34" y="725"/>
                      <a:pt x="34" y="725"/>
                    </a:cubicBezTo>
                    <a:cubicBezTo>
                      <a:pt x="30" y="722"/>
                      <a:pt x="30" y="722"/>
                      <a:pt x="30" y="722"/>
                    </a:cubicBezTo>
                    <a:cubicBezTo>
                      <a:pt x="29" y="718"/>
                      <a:pt x="29" y="718"/>
                      <a:pt x="29" y="718"/>
                    </a:cubicBezTo>
                    <a:cubicBezTo>
                      <a:pt x="25" y="710"/>
                      <a:pt x="25" y="710"/>
                      <a:pt x="25" y="710"/>
                    </a:cubicBezTo>
                    <a:cubicBezTo>
                      <a:pt x="29" y="710"/>
                      <a:pt x="29" y="710"/>
                      <a:pt x="29" y="710"/>
                    </a:cubicBezTo>
                    <a:cubicBezTo>
                      <a:pt x="32" y="707"/>
                      <a:pt x="32" y="707"/>
                      <a:pt x="32" y="707"/>
                    </a:cubicBezTo>
                    <a:cubicBezTo>
                      <a:pt x="32" y="705"/>
                      <a:pt x="32" y="705"/>
                      <a:pt x="32" y="705"/>
                    </a:cubicBezTo>
                    <a:cubicBezTo>
                      <a:pt x="31" y="707"/>
                      <a:pt x="31" y="707"/>
                      <a:pt x="31" y="707"/>
                    </a:cubicBezTo>
                    <a:cubicBezTo>
                      <a:pt x="29" y="707"/>
                      <a:pt x="29" y="707"/>
                      <a:pt x="29" y="707"/>
                    </a:cubicBezTo>
                    <a:cubicBezTo>
                      <a:pt x="29" y="705"/>
                      <a:pt x="29" y="705"/>
                      <a:pt x="29" y="705"/>
                    </a:cubicBezTo>
                    <a:cubicBezTo>
                      <a:pt x="30" y="702"/>
                      <a:pt x="30" y="702"/>
                      <a:pt x="30" y="702"/>
                    </a:cubicBezTo>
                    <a:cubicBezTo>
                      <a:pt x="27" y="700"/>
                      <a:pt x="27" y="700"/>
                      <a:pt x="27" y="700"/>
                    </a:cubicBezTo>
                    <a:cubicBezTo>
                      <a:pt x="27" y="695"/>
                      <a:pt x="27" y="695"/>
                      <a:pt x="27" y="695"/>
                    </a:cubicBezTo>
                    <a:cubicBezTo>
                      <a:pt x="29" y="694"/>
                      <a:pt x="29" y="694"/>
                      <a:pt x="29" y="694"/>
                    </a:cubicBezTo>
                    <a:cubicBezTo>
                      <a:pt x="35" y="694"/>
                      <a:pt x="35" y="694"/>
                      <a:pt x="35" y="694"/>
                    </a:cubicBezTo>
                    <a:cubicBezTo>
                      <a:pt x="37" y="695"/>
                      <a:pt x="37" y="695"/>
                      <a:pt x="37" y="695"/>
                    </a:cubicBezTo>
                    <a:cubicBezTo>
                      <a:pt x="39" y="704"/>
                      <a:pt x="39" y="704"/>
                      <a:pt x="39" y="704"/>
                    </a:cubicBezTo>
                    <a:cubicBezTo>
                      <a:pt x="41" y="708"/>
                      <a:pt x="41" y="708"/>
                      <a:pt x="41" y="708"/>
                    </a:cubicBezTo>
                    <a:cubicBezTo>
                      <a:pt x="42" y="714"/>
                      <a:pt x="42" y="714"/>
                      <a:pt x="42" y="714"/>
                    </a:cubicBezTo>
                    <a:cubicBezTo>
                      <a:pt x="41" y="716"/>
                      <a:pt x="41" y="716"/>
                      <a:pt x="41" y="716"/>
                    </a:cubicBezTo>
                    <a:cubicBezTo>
                      <a:pt x="43" y="721"/>
                      <a:pt x="43" y="721"/>
                      <a:pt x="43" y="721"/>
                    </a:cubicBezTo>
                    <a:cubicBezTo>
                      <a:pt x="43" y="726"/>
                      <a:pt x="43" y="726"/>
                      <a:pt x="43" y="726"/>
                    </a:cubicBezTo>
                    <a:cubicBezTo>
                      <a:pt x="40" y="728"/>
                      <a:pt x="40" y="728"/>
                      <a:pt x="40" y="728"/>
                    </a:cubicBezTo>
                    <a:cubicBezTo>
                      <a:pt x="38" y="727"/>
                      <a:pt x="38" y="727"/>
                      <a:pt x="38" y="727"/>
                    </a:cubicBezTo>
                    <a:cubicBezTo>
                      <a:pt x="38" y="723"/>
                      <a:pt x="38" y="723"/>
                      <a:pt x="38" y="723"/>
                    </a:cubicBezTo>
                    <a:cubicBezTo>
                      <a:pt x="37" y="720"/>
                      <a:pt x="37" y="720"/>
                      <a:pt x="37" y="720"/>
                    </a:cubicBezTo>
                    <a:close/>
                    <a:moveTo>
                      <a:pt x="34" y="739"/>
                    </a:moveTo>
                    <a:cubicBezTo>
                      <a:pt x="33" y="736"/>
                      <a:pt x="33" y="736"/>
                      <a:pt x="33" y="736"/>
                    </a:cubicBezTo>
                    <a:cubicBezTo>
                      <a:pt x="30" y="734"/>
                      <a:pt x="30" y="734"/>
                      <a:pt x="30" y="734"/>
                    </a:cubicBezTo>
                    <a:cubicBezTo>
                      <a:pt x="32" y="733"/>
                      <a:pt x="32" y="733"/>
                      <a:pt x="32" y="733"/>
                    </a:cubicBezTo>
                    <a:cubicBezTo>
                      <a:pt x="32" y="730"/>
                      <a:pt x="32" y="730"/>
                      <a:pt x="32" y="730"/>
                    </a:cubicBezTo>
                    <a:cubicBezTo>
                      <a:pt x="33" y="730"/>
                      <a:pt x="33" y="730"/>
                      <a:pt x="33" y="730"/>
                    </a:cubicBezTo>
                    <a:cubicBezTo>
                      <a:pt x="35" y="730"/>
                      <a:pt x="35" y="730"/>
                      <a:pt x="35" y="730"/>
                    </a:cubicBezTo>
                    <a:cubicBezTo>
                      <a:pt x="39" y="731"/>
                      <a:pt x="39" y="731"/>
                      <a:pt x="39" y="731"/>
                    </a:cubicBezTo>
                    <a:cubicBezTo>
                      <a:pt x="37" y="734"/>
                      <a:pt x="37" y="734"/>
                      <a:pt x="37" y="734"/>
                    </a:cubicBezTo>
                    <a:cubicBezTo>
                      <a:pt x="37" y="737"/>
                      <a:pt x="37" y="737"/>
                      <a:pt x="37" y="737"/>
                    </a:cubicBezTo>
                    <a:cubicBezTo>
                      <a:pt x="35" y="739"/>
                      <a:pt x="35" y="739"/>
                      <a:pt x="35" y="739"/>
                    </a:cubicBezTo>
                    <a:cubicBezTo>
                      <a:pt x="34" y="739"/>
                      <a:pt x="34" y="739"/>
                      <a:pt x="34" y="739"/>
                    </a:cubicBezTo>
                    <a:close/>
                    <a:moveTo>
                      <a:pt x="31" y="744"/>
                    </a:moveTo>
                    <a:cubicBezTo>
                      <a:pt x="31" y="741"/>
                      <a:pt x="31" y="741"/>
                      <a:pt x="31" y="741"/>
                    </a:cubicBezTo>
                    <a:cubicBezTo>
                      <a:pt x="36" y="741"/>
                      <a:pt x="36" y="741"/>
                      <a:pt x="36" y="741"/>
                    </a:cubicBezTo>
                    <a:cubicBezTo>
                      <a:pt x="33" y="743"/>
                      <a:pt x="33" y="743"/>
                      <a:pt x="33" y="743"/>
                    </a:cubicBezTo>
                    <a:cubicBezTo>
                      <a:pt x="31" y="744"/>
                      <a:pt x="31" y="744"/>
                      <a:pt x="31" y="744"/>
                    </a:cubicBezTo>
                    <a:close/>
                    <a:moveTo>
                      <a:pt x="39" y="742"/>
                    </a:moveTo>
                    <a:cubicBezTo>
                      <a:pt x="40" y="744"/>
                      <a:pt x="40" y="744"/>
                      <a:pt x="40" y="744"/>
                    </a:cubicBezTo>
                    <a:cubicBezTo>
                      <a:pt x="40" y="748"/>
                      <a:pt x="40" y="748"/>
                      <a:pt x="40" y="748"/>
                    </a:cubicBezTo>
                    <a:cubicBezTo>
                      <a:pt x="39" y="749"/>
                      <a:pt x="39" y="749"/>
                      <a:pt x="39" y="749"/>
                    </a:cubicBezTo>
                    <a:cubicBezTo>
                      <a:pt x="38" y="745"/>
                      <a:pt x="38" y="745"/>
                      <a:pt x="38" y="745"/>
                    </a:cubicBezTo>
                    <a:cubicBezTo>
                      <a:pt x="39" y="742"/>
                      <a:pt x="39" y="742"/>
                      <a:pt x="39" y="742"/>
                    </a:cubicBezTo>
                    <a:close/>
                    <a:moveTo>
                      <a:pt x="42" y="740"/>
                    </a:moveTo>
                    <a:cubicBezTo>
                      <a:pt x="42" y="739"/>
                      <a:pt x="42" y="739"/>
                      <a:pt x="42" y="739"/>
                    </a:cubicBezTo>
                    <a:cubicBezTo>
                      <a:pt x="43" y="739"/>
                      <a:pt x="43" y="739"/>
                      <a:pt x="43" y="739"/>
                    </a:cubicBezTo>
                    <a:cubicBezTo>
                      <a:pt x="46" y="741"/>
                      <a:pt x="46" y="741"/>
                      <a:pt x="46" y="741"/>
                    </a:cubicBezTo>
                    <a:cubicBezTo>
                      <a:pt x="48" y="741"/>
                      <a:pt x="48" y="741"/>
                      <a:pt x="48" y="741"/>
                    </a:cubicBezTo>
                    <a:cubicBezTo>
                      <a:pt x="52" y="746"/>
                      <a:pt x="52" y="746"/>
                      <a:pt x="52" y="746"/>
                    </a:cubicBezTo>
                    <a:cubicBezTo>
                      <a:pt x="53" y="750"/>
                      <a:pt x="53" y="750"/>
                      <a:pt x="53" y="750"/>
                    </a:cubicBezTo>
                    <a:cubicBezTo>
                      <a:pt x="48" y="746"/>
                      <a:pt x="48" y="746"/>
                      <a:pt x="48" y="746"/>
                    </a:cubicBezTo>
                    <a:cubicBezTo>
                      <a:pt x="45" y="745"/>
                      <a:pt x="45" y="745"/>
                      <a:pt x="45" y="745"/>
                    </a:cubicBezTo>
                    <a:cubicBezTo>
                      <a:pt x="42" y="740"/>
                      <a:pt x="42" y="740"/>
                      <a:pt x="42" y="740"/>
                    </a:cubicBezTo>
                    <a:close/>
                    <a:moveTo>
                      <a:pt x="42" y="747"/>
                    </a:moveTo>
                    <a:cubicBezTo>
                      <a:pt x="43" y="746"/>
                      <a:pt x="43" y="746"/>
                      <a:pt x="43" y="746"/>
                    </a:cubicBezTo>
                    <a:cubicBezTo>
                      <a:pt x="47" y="748"/>
                      <a:pt x="47" y="748"/>
                      <a:pt x="47" y="748"/>
                    </a:cubicBezTo>
                    <a:cubicBezTo>
                      <a:pt x="51" y="754"/>
                      <a:pt x="51" y="754"/>
                      <a:pt x="51" y="754"/>
                    </a:cubicBezTo>
                    <a:cubicBezTo>
                      <a:pt x="50" y="756"/>
                      <a:pt x="50" y="756"/>
                      <a:pt x="50" y="756"/>
                    </a:cubicBezTo>
                    <a:cubicBezTo>
                      <a:pt x="47" y="756"/>
                      <a:pt x="47" y="756"/>
                      <a:pt x="47" y="756"/>
                    </a:cubicBezTo>
                    <a:cubicBezTo>
                      <a:pt x="42" y="751"/>
                      <a:pt x="42" y="751"/>
                      <a:pt x="42" y="751"/>
                    </a:cubicBezTo>
                    <a:cubicBezTo>
                      <a:pt x="42" y="747"/>
                      <a:pt x="42" y="747"/>
                      <a:pt x="42" y="747"/>
                    </a:cubicBezTo>
                    <a:close/>
                    <a:moveTo>
                      <a:pt x="45" y="765"/>
                    </a:moveTo>
                    <a:cubicBezTo>
                      <a:pt x="40" y="766"/>
                      <a:pt x="40" y="766"/>
                      <a:pt x="40" y="766"/>
                    </a:cubicBezTo>
                    <a:cubicBezTo>
                      <a:pt x="38" y="765"/>
                      <a:pt x="38" y="765"/>
                      <a:pt x="38" y="765"/>
                    </a:cubicBezTo>
                    <a:cubicBezTo>
                      <a:pt x="40" y="763"/>
                      <a:pt x="40" y="763"/>
                      <a:pt x="40" y="763"/>
                    </a:cubicBezTo>
                    <a:cubicBezTo>
                      <a:pt x="42" y="759"/>
                      <a:pt x="42" y="759"/>
                      <a:pt x="42" y="759"/>
                    </a:cubicBezTo>
                    <a:cubicBezTo>
                      <a:pt x="40" y="756"/>
                      <a:pt x="40" y="756"/>
                      <a:pt x="40" y="756"/>
                    </a:cubicBezTo>
                    <a:cubicBezTo>
                      <a:pt x="42" y="756"/>
                      <a:pt x="42" y="756"/>
                      <a:pt x="42" y="756"/>
                    </a:cubicBezTo>
                    <a:cubicBezTo>
                      <a:pt x="45" y="758"/>
                      <a:pt x="45" y="758"/>
                      <a:pt x="45" y="758"/>
                    </a:cubicBezTo>
                    <a:cubicBezTo>
                      <a:pt x="47" y="758"/>
                      <a:pt x="47" y="758"/>
                      <a:pt x="47" y="758"/>
                    </a:cubicBezTo>
                    <a:cubicBezTo>
                      <a:pt x="53" y="761"/>
                      <a:pt x="53" y="761"/>
                      <a:pt x="53" y="761"/>
                    </a:cubicBezTo>
                    <a:cubicBezTo>
                      <a:pt x="53" y="763"/>
                      <a:pt x="53" y="763"/>
                      <a:pt x="53" y="763"/>
                    </a:cubicBezTo>
                    <a:cubicBezTo>
                      <a:pt x="50" y="764"/>
                      <a:pt x="50" y="764"/>
                      <a:pt x="50" y="764"/>
                    </a:cubicBezTo>
                    <a:cubicBezTo>
                      <a:pt x="49" y="765"/>
                      <a:pt x="49" y="765"/>
                      <a:pt x="49" y="765"/>
                    </a:cubicBezTo>
                    <a:cubicBezTo>
                      <a:pt x="45" y="765"/>
                      <a:pt x="45" y="765"/>
                      <a:pt x="45" y="765"/>
                    </a:cubicBezTo>
                    <a:close/>
                    <a:moveTo>
                      <a:pt x="50" y="781"/>
                    </a:moveTo>
                    <a:cubicBezTo>
                      <a:pt x="48" y="780"/>
                      <a:pt x="48" y="780"/>
                      <a:pt x="48" y="780"/>
                    </a:cubicBezTo>
                    <a:cubicBezTo>
                      <a:pt x="46" y="779"/>
                      <a:pt x="46" y="779"/>
                      <a:pt x="46" y="779"/>
                    </a:cubicBezTo>
                    <a:cubicBezTo>
                      <a:pt x="45" y="776"/>
                      <a:pt x="45" y="776"/>
                      <a:pt x="45" y="776"/>
                    </a:cubicBezTo>
                    <a:cubicBezTo>
                      <a:pt x="46" y="774"/>
                      <a:pt x="46" y="774"/>
                      <a:pt x="46" y="774"/>
                    </a:cubicBezTo>
                    <a:cubicBezTo>
                      <a:pt x="47" y="773"/>
                      <a:pt x="47" y="773"/>
                      <a:pt x="47" y="773"/>
                    </a:cubicBezTo>
                    <a:cubicBezTo>
                      <a:pt x="46" y="772"/>
                      <a:pt x="46" y="772"/>
                      <a:pt x="46" y="772"/>
                    </a:cubicBezTo>
                    <a:cubicBezTo>
                      <a:pt x="46" y="771"/>
                      <a:pt x="46" y="771"/>
                      <a:pt x="46" y="771"/>
                    </a:cubicBezTo>
                    <a:cubicBezTo>
                      <a:pt x="49" y="770"/>
                      <a:pt x="49" y="770"/>
                      <a:pt x="49" y="770"/>
                    </a:cubicBezTo>
                    <a:cubicBezTo>
                      <a:pt x="50" y="773"/>
                      <a:pt x="50" y="773"/>
                      <a:pt x="50" y="773"/>
                    </a:cubicBezTo>
                    <a:cubicBezTo>
                      <a:pt x="50" y="776"/>
                      <a:pt x="50" y="776"/>
                      <a:pt x="50" y="776"/>
                    </a:cubicBezTo>
                    <a:cubicBezTo>
                      <a:pt x="48" y="778"/>
                      <a:pt x="48" y="778"/>
                      <a:pt x="48" y="778"/>
                    </a:cubicBezTo>
                    <a:cubicBezTo>
                      <a:pt x="50" y="781"/>
                      <a:pt x="50" y="781"/>
                      <a:pt x="50" y="781"/>
                    </a:cubicBezTo>
                    <a:close/>
                    <a:moveTo>
                      <a:pt x="51" y="774"/>
                    </a:moveTo>
                    <a:cubicBezTo>
                      <a:pt x="51" y="773"/>
                      <a:pt x="51" y="773"/>
                      <a:pt x="51" y="773"/>
                    </a:cubicBezTo>
                    <a:cubicBezTo>
                      <a:pt x="53" y="772"/>
                      <a:pt x="53" y="772"/>
                      <a:pt x="53" y="772"/>
                    </a:cubicBezTo>
                    <a:cubicBezTo>
                      <a:pt x="54" y="774"/>
                      <a:pt x="54" y="774"/>
                      <a:pt x="54" y="774"/>
                    </a:cubicBezTo>
                    <a:cubicBezTo>
                      <a:pt x="56" y="775"/>
                      <a:pt x="56" y="775"/>
                      <a:pt x="56" y="775"/>
                    </a:cubicBezTo>
                    <a:cubicBezTo>
                      <a:pt x="56" y="779"/>
                      <a:pt x="56" y="779"/>
                      <a:pt x="56" y="779"/>
                    </a:cubicBezTo>
                    <a:cubicBezTo>
                      <a:pt x="54" y="780"/>
                      <a:pt x="54" y="780"/>
                      <a:pt x="54" y="780"/>
                    </a:cubicBezTo>
                    <a:cubicBezTo>
                      <a:pt x="52" y="780"/>
                      <a:pt x="52" y="780"/>
                      <a:pt x="52" y="780"/>
                    </a:cubicBezTo>
                    <a:cubicBezTo>
                      <a:pt x="52" y="778"/>
                      <a:pt x="52" y="778"/>
                      <a:pt x="52" y="778"/>
                    </a:cubicBezTo>
                    <a:cubicBezTo>
                      <a:pt x="51" y="777"/>
                      <a:pt x="51" y="777"/>
                      <a:pt x="51" y="777"/>
                    </a:cubicBezTo>
                    <a:cubicBezTo>
                      <a:pt x="51" y="774"/>
                      <a:pt x="51" y="774"/>
                      <a:pt x="51" y="774"/>
                    </a:cubicBezTo>
                    <a:close/>
                    <a:moveTo>
                      <a:pt x="57" y="776"/>
                    </a:moveTo>
                    <a:cubicBezTo>
                      <a:pt x="61" y="778"/>
                      <a:pt x="61" y="778"/>
                      <a:pt x="61" y="778"/>
                    </a:cubicBezTo>
                    <a:cubicBezTo>
                      <a:pt x="62" y="780"/>
                      <a:pt x="62" y="780"/>
                      <a:pt x="62" y="780"/>
                    </a:cubicBezTo>
                    <a:cubicBezTo>
                      <a:pt x="61" y="780"/>
                      <a:pt x="61" y="780"/>
                      <a:pt x="61" y="780"/>
                    </a:cubicBezTo>
                    <a:cubicBezTo>
                      <a:pt x="58" y="778"/>
                      <a:pt x="58" y="778"/>
                      <a:pt x="58" y="778"/>
                    </a:cubicBezTo>
                    <a:cubicBezTo>
                      <a:pt x="57" y="776"/>
                      <a:pt x="57" y="776"/>
                      <a:pt x="57" y="776"/>
                    </a:cubicBezTo>
                    <a:close/>
                    <a:moveTo>
                      <a:pt x="56" y="789"/>
                    </a:moveTo>
                    <a:cubicBezTo>
                      <a:pt x="54" y="789"/>
                      <a:pt x="54" y="789"/>
                      <a:pt x="54" y="789"/>
                    </a:cubicBezTo>
                    <a:cubicBezTo>
                      <a:pt x="53" y="788"/>
                      <a:pt x="53" y="788"/>
                      <a:pt x="53" y="788"/>
                    </a:cubicBezTo>
                    <a:cubicBezTo>
                      <a:pt x="55" y="787"/>
                      <a:pt x="55" y="787"/>
                      <a:pt x="55" y="787"/>
                    </a:cubicBezTo>
                    <a:cubicBezTo>
                      <a:pt x="54" y="783"/>
                      <a:pt x="54" y="783"/>
                      <a:pt x="54" y="783"/>
                    </a:cubicBezTo>
                    <a:cubicBezTo>
                      <a:pt x="56" y="783"/>
                      <a:pt x="56" y="783"/>
                      <a:pt x="56" y="783"/>
                    </a:cubicBezTo>
                    <a:cubicBezTo>
                      <a:pt x="57" y="784"/>
                      <a:pt x="57" y="784"/>
                      <a:pt x="57" y="784"/>
                    </a:cubicBezTo>
                    <a:cubicBezTo>
                      <a:pt x="56" y="789"/>
                      <a:pt x="56" y="789"/>
                      <a:pt x="56" y="789"/>
                    </a:cubicBezTo>
                    <a:close/>
                    <a:moveTo>
                      <a:pt x="67" y="779"/>
                    </a:moveTo>
                    <a:cubicBezTo>
                      <a:pt x="62" y="777"/>
                      <a:pt x="62" y="777"/>
                      <a:pt x="62" y="777"/>
                    </a:cubicBezTo>
                    <a:cubicBezTo>
                      <a:pt x="60" y="775"/>
                      <a:pt x="60" y="775"/>
                      <a:pt x="60" y="775"/>
                    </a:cubicBezTo>
                    <a:cubicBezTo>
                      <a:pt x="60" y="769"/>
                      <a:pt x="60" y="769"/>
                      <a:pt x="60" y="769"/>
                    </a:cubicBezTo>
                    <a:cubicBezTo>
                      <a:pt x="61" y="769"/>
                      <a:pt x="61" y="769"/>
                      <a:pt x="61" y="769"/>
                    </a:cubicBezTo>
                    <a:cubicBezTo>
                      <a:pt x="63" y="773"/>
                      <a:pt x="63" y="773"/>
                      <a:pt x="63" y="773"/>
                    </a:cubicBezTo>
                    <a:cubicBezTo>
                      <a:pt x="67" y="777"/>
                      <a:pt x="67" y="777"/>
                      <a:pt x="67" y="777"/>
                    </a:cubicBezTo>
                    <a:cubicBezTo>
                      <a:pt x="68" y="779"/>
                      <a:pt x="68" y="779"/>
                      <a:pt x="68" y="779"/>
                    </a:cubicBezTo>
                    <a:cubicBezTo>
                      <a:pt x="67" y="779"/>
                      <a:pt x="67" y="779"/>
                      <a:pt x="67" y="779"/>
                    </a:cubicBezTo>
                    <a:close/>
                    <a:moveTo>
                      <a:pt x="66" y="785"/>
                    </a:moveTo>
                    <a:cubicBezTo>
                      <a:pt x="63" y="782"/>
                      <a:pt x="63" y="782"/>
                      <a:pt x="63" y="782"/>
                    </a:cubicBezTo>
                    <a:cubicBezTo>
                      <a:pt x="64" y="781"/>
                      <a:pt x="64" y="781"/>
                      <a:pt x="64" y="781"/>
                    </a:cubicBezTo>
                    <a:cubicBezTo>
                      <a:pt x="67" y="781"/>
                      <a:pt x="67" y="781"/>
                      <a:pt x="67" y="781"/>
                    </a:cubicBezTo>
                    <a:cubicBezTo>
                      <a:pt x="68" y="784"/>
                      <a:pt x="68" y="784"/>
                      <a:pt x="68" y="784"/>
                    </a:cubicBezTo>
                    <a:cubicBezTo>
                      <a:pt x="66" y="785"/>
                      <a:pt x="66" y="785"/>
                      <a:pt x="66" y="785"/>
                    </a:cubicBezTo>
                    <a:close/>
                    <a:moveTo>
                      <a:pt x="68" y="792"/>
                    </a:moveTo>
                    <a:cubicBezTo>
                      <a:pt x="64" y="787"/>
                      <a:pt x="64" y="787"/>
                      <a:pt x="64" y="787"/>
                    </a:cubicBezTo>
                    <a:cubicBezTo>
                      <a:pt x="62" y="785"/>
                      <a:pt x="62" y="785"/>
                      <a:pt x="62" y="785"/>
                    </a:cubicBezTo>
                    <a:cubicBezTo>
                      <a:pt x="63" y="784"/>
                      <a:pt x="63" y="784"/>
                      <a:pt x="63" y="784"/>
                    </a:cubicBezTo>
                    <a:cubicBezTo>
                      <a:pt x="69" y="788"/>
                      <a:pt x="69" y="788"/>
                      <a:pt x="69" y="788"/>
                    </a:cubicBezTo>
                    <a:cubicBezTo>
                      <a:pt x="69" y="791"/>
                      <a:pt x="69" y="791"/>
                      <a:pt x="69" y="791"/>
                    </a:cubicBezTo>
                    <a:cubicBezTo>
                      <a:pt x="68" y="792"/>
                      <a:pt x="68" y="792"/>
                      <a:pt x="68" y="792"/>
                    </a:cubicBezTo>
                    <a:close/>
                    <a:moveTo>
                      <a:pt x="72" y="800"/>
                    </a:moveTo>
                    <a:cubicBezTo>
                      <a:pt x="70" y="799"/>
                      <a:pt x="70" y="799"/>
                      <a:pt x="70" y="799"/>
                    </a:cubicBezTo>
                    <a:cubicBezTo>
                      <a:pt x="68" y="798"/>
                      <a:pt x="68" y="798"/>
                      <a:pt x="68" y="798"/>
                    </a:cubicBezTo>
                    <a:cubicBezTo>
                      <a:pt x="68" y="796"/>
                      <a:pt x="68" y="796"/>
                      <a:pt x="68" y="796"/>
                    </a:cubicBezTo>
                    <a:cubicBezTo>
                      <a:pt x="64" y="796"/>
                      <a:pt x="64" y="796"/>
                      <a:pt x="64" y="796"/>
                    </a:cubicBezTo>
                    <a:cubicBezTo>
                      <a:pt x="63" y="795"/>
                      <a:pt x="63" y="795"/>
                      <a:pt x="63" y="795"/>
                    </a:cubicBezTo>
                    <a:cubicBezTo>
                      <a:pt x="66" y="794"/>
                      <a:pt x="66" y="794"/>
                      <a:pt x="66" y="794"/>
                    </a:cubicBezTo>
                    <a:cubicBezTo>
                      <a:pt x="68" y="794"/>
                      <a:pt x="68" y="794"/>
                      <a:pt x="68" y="794"/>
                    </a:cubicBezTo>
                    <a:cubicBezTo>
                      <a:pt x="73" y="794"/>
                      <a:pt x="73" y="794"/>
                      <a:pt x="73" y="794"/>
                    </a:cubicBezTo>
                    <a:cubicBezTo>
                      <a:pt x="74" y="797"/>
                      <a:pt x="74" y="797"/>
                      <a:pt x="74" y="797"/>
                    </a:cubicBezTo>
                    <a:cubicBezTo>
                      <a:pt x="72" y="800"/>
                      <a:pt x="72" y="800"/>
                      <a:pt x="72" y="800"/>
                    </a:cubicBezTo>
                    <a:close/>
                    <a:moveTo>
                      <a:pt x="84" y="819"/>
                    </a:moveTo>
                    <a:cubicBezTo>
                      <a:pt x="78" y="817"/>
                      <a:pt x="78" y="817"/>
                      <a:pt x="78" y="817"/>
                    </a:cubicBezTo>
                    <a:cubicBezTo>
                      <a:pt x="77" y="818"/>
                      <a:pt x="77" y="818"/>
                      <a:pt x="77" y="818"/>
                    </a:cubicBezTo>
                    <a:cubicBezTo>
                      <a:pt x="74" y="818"/>
                      <a:pt x="74" y="818"/>
                      <a:pt x="74" y="818"/>
                    </a:cubicBezTo>
                    <a:cubicBezTo>
                      <a:pt x="72" y="815"/>
                      <a:pt x="72" y="815"/>
                      <a:pt x="72" y="815"/>
                    </a:cubicBezTo>
                    <a:cubicBezTo>
                      <a:pt x="67" y="813"/>
                      <a:pt x="67" y="813"/>
                      <a:pt x="67" y="813"/>
                    </a:cubicBezTo>
                    <a:cubicBezTo>
                      <a:pt x="63" y="812"/>
                      <a:pt x="63" y="812"/>
                      <a:pt x="63" y="812"/>
                    </a:cubicBezTo>
                    <a:cubicBezTo>
                      <a:pt x="60" y="808"/>
                      <a:pt x="60" y="808"/>
                      <a:pt x="60" y="808"/>
                    </a:cubicBezTo>
                    <a:cubicBezTo>
                      <a:pt x="59" y="804"/>
                      <a:pt x="59" y="804"/>
                      <a:pt x="59" y="804"/>
                    </a:cubicBezTo>
                    <a:cubicBezTo>
                      <a:pt x="61" y="803"/>
                      <a:pt x="61" y="803"/>
                      <a:pt x="61" y="803"/>
                    </a:cubicBezTo>
                    <a:cubicBezTo>
                      <a:pt x="63" y="804"/>
                      <a:pt x="63" y="804"/>
                      <a:pt x="63" y="804"/>
                    </a:cubicBezTo>
                    <a:cubicBezTo>
                      <a:pt x="67" y="809"/>
                      <a:pt x="67" y="809"/>
                      <a:pt x="67" y="809"/>
                    </a:cubicBezTo>
                    <a:cubicBezTo>
                      <a:pt x="69" y="810"/>
                      <a:pt x="69" y="810"/>
                      <a:pt x="69" y="810"/>
                    </a:cubicBezTo>
                    <a:cubicBezTo>
                      <a:pt x="73" y="810"/>
                      <a:pt x="73" y="810"/>
                      <a:pt x="73" y="810"/>
                    </a:cubicBezTo>
                    <a:cubicBezTo>
                      <a:pt x="76" y="811"/>
                      <a:pt x="76" y="811"/>
                      <a:pt x="76" y="811"/>
                    </a:cubicBezTo>
                    <a:cubicBezTo>
                      <a:pt x="79" y="813"/>
                      <a:pt x="79" y="813"/>
                      <a:pt x="79" y="813"/>
                    </a:cubicBezTo>
                    <a:cubicBezTo>
                      <a:pt x="83" y="813"/>
                      <a:pt x="83" y="813"/>
                      <a:pt x="83" y="813"/>
                    </a:cubicBezTo>
                    <a:cubicBezTo>
                      <a:pt x="85" y="815"/>
                      <a:pt x="85" y="815"/>
                      <a:pt x="85" y="815"/>
                    </a:cubicBezTo>
                    <a:cubicBezTo>
                      <a:pt x="89" y="817"/>
                      <a:pt x="89" y="817"/>
                      <a:pt x="89" y="817"/>
                    </a:cubicBezTo>
                    <a:cubicBezTo>
                      <a:pt x="90" y="818"/>
                      <a:pt x="90" y="818"/>
                      <a:pt x="90" y="818"/>
                    </a:cubicBezTo>
                    <a:cubicBezTo>
                      <a:pt x="91" y="819"/>
                      <a:pt x="91" y="819"/>
                      <a:pt x="91" y="819"/>
                    </a:cubicBezTo>
                    <a:cubicBezTo>
                      <a:pt x="91" y="820"/>
                      <a:pt x="91" y="820"/>
                      <a:pt x="91" y="820"/>
                    </a:cubicBezTo>
                    <a:cubicBezTo>
                      <a:pt x="87" y="820"/>
                      <a:pt x="87" y="820"/>
                      <a:pt x="87" y="820"/>
                    </a:cubicBezTo>
                    <a:cubicBezTo>
                      <a:pt x="84" y="819"/>
                      <a:pt x="84" y="819"/>
                      <a:pt x="84" y="819"/>
                    </a:cubicBezTo>
                    <a:close/>
                    <a:moveTo>
                      <a:pt x="71" y="820"/>
                    </a:moveTo>
                    <a:cubicBezTo>
                      <a:pt x="71" y="821"/>
                      <a:pt x="74" y="823"/>
                      <a:pt x="74" y="823"/>
                    </a:cubicBezTo>
                    <a:cubicBezTo>
                      <a:pt x="69" y="822"/>
                      <a:pt x="69" y="822"/>
                      <a:pt x="69" y="822"/>
                    </a:cubicBezTo>
                    <a:cubicBezTo>
                      <a:pt x="71" y="820"/>
                      <a:pt x="71" y="820"/>
                      <a:pt x="71" y="820"/>
                    </a:cubicBezTo>
                    <a:close/>
                    <a:moveTo>
                      <a:pt x="98" y="837"/>
                    </a:moveTo>
                    <a:cubicBezTo>
                      <a:pt x="99" y="838"/>
                      <a:pt x="99" y="838"/>
                      <a:pt x="99" y="838"/>
                    </a:cubicBezTo>
                    <a:cubicBezTo>
                      <a:pt x="101" y="837"/>
                      <a:pt x="101" y="837"/>
                      <a:pt x="101" y="837"/>
                    </a:cubicBezTo>
                    <a:cubicBezTo>
                      <a:pt x="99" y="835"/>
                      <a:pt x="99" y="835"/>
                      <a:pt x="99" y="835"/>
                    </a:cubicBezTo>
                    <a:cubicBezTo>
                      <a:pt x="97" y="837"/>
                      <a:pt x="97" y="837"/>
                      <a:pt x="97" y="837"/>
                    </a:cubicBezTo>
                    <a:cubicBezTo>
                      <a:pt x="98" y="837"/>
                      <a:pt x="98" y="837"/>
                      <a:pt x="98" y="837"/>
                    </a:cubicBezTo>
                    <a:close/>
                    <a:moveTo>
                      <a:pt x="107" y="839"/>
                    </a:moveTo>
                    <a:cubicBezTo>
                      <a:pt x="105" y="840"/>
                      <a:pt x="105" y="840"/>
                      <a:pt x="105" y="840"/>
                    </a:cubicBezTo>
                    <a:cubicBezTo>
                      <a:pt x="102" y="838"/>
                      <a:pt x="102" y="838"/>
                      <a:pt x="102" y="838"/>
                    </a:cubicBezTo>
                    <a:cubicBezTo>
                      <a:pt x="102" y="835"/>
                      <a:pt x="102" y="835"/>
                      <a:pt x="102" y="835"/>
                    </a:cubicBezTo>
                    <a:cubicBezTo>
                      <a:pt x="100" y="834"/>
                      <a:pt x="100" y="834"/>
                      <a:pt x="100" y="834"/>
                    </a:cubicBezTo>
                    <a:cubicBezTo>
                      <a:pt x="96" y="835"/>
                      <a:pt x="96" y="835"/>
                      <a:pt x="96" y="835"/>
                    </a:cubicBezTo>
                    <a:cubicBezTo>
                      <a:pt x="93" y="834"/>
                      <a:pt x="93" y="834"/>
                      <a:pt x="93" y="834"/>
                    </a:cubicBezTo>
                    <a:cubicBezTo>
                      <a:pt x="89" y="830"/>
                      <a:pt x="89" y="830"/>
                      <a:pt x="89" y="830"/>
                    </a:cubicBezTo>
                    <a:cubicBezTo>
                      <a:pt x="85" y="829"/>
                      <a:pt x="85" y="829"/>
                      <a:pt x="85" y="829"/>
                    </a:cubicBezTo>
                    <a:cubicBezTo>
                      <a:pt x="84" y="826"/>
                      <a:pt x="84" y="826"/>
                      <a:pt x="84" y="826"/>
                    </a:cubicBezTo>
                    <a:cubicBezTo>
                      <a:pt x="80" y="824"/>
                      <a:pt x="80" y="824"/>
                      <a:pt x="80" y="824"/>
                    </a:cubicBezTo>
                    <a:cubicBezTo>
                      <a:pt x="80" y="822"/>
                      <a:pt x="80" y="822"/>
                      <a:pt x="80" y="822"/>
                    </a:cubicBezTo>
                    <a:cubicBezTo>
                      <a:pt x="81" y="820"/>
                      <a:pt x="81" y="820"/>
                      <a:pt x="81" y="820"/>
                    </a:cubicBezTo>
                    <a:cubicBezTo>
                      <a:pt x="84" y="820"/>
                      <a:pt x="84" y="820"/>
                      <a:pt x="84" y="820"/>
                    </a:cubicBezTo>
                    <a:cubicBezTo>
                      <a:pt x="86" y="822"/>
                      <a:pt x="86" y="822"/>
                      <a:pt x="86" y="822"/>
                    </a:cubicBezTo>
                    <a:cubicBezTo>
                      <a:pt x="88" y="823"/>
                      <a:pt x="88" y="823"/>
                      <a:pt x="88" y="823"/>
                    </a:cubicBezTo>
                    <a:cubicBezTo>
                      <a:pt x="92" y="821"/>
                      <a:pt x="92" y="821"/>
                      <a:pt x="92" y="821"/>
                    </a:cubicBezTo>
                    <a:cubicBezTo>
                      <a:pt x="96" y="821"/>
                      <a:pt x="96" y="821"/>
                      <a:pt x="96" y="821"/>
                    </a:cubicBezTo>
                    <a:cubicBezTo>
                      <a:pt x="101" y="825"/>
                      <a:pt x="101" y="825"/>
                      <a:pt x="101" y="825"/>
                    </a:cubicBezTo>
                    <a:cubicBezTo>
                      <a:pt x="103" y="826"/>
                      <a:pt x="103" y="826"/>
                      <a:pt x="103" y="826"/>
                    </a:cubicBezTo>
                    <a:cubicBezTo>
                      <a:pt x="104" y="828"/>
                      <a:pt x="104" y="828"/>
                      <a:pt x="104" y="828"/>
                    </a:cubicBezTo>
                    <a:cubicBezTo>
                      <a:pt x="108" y="827"/>
                      <a:pt x="108" y="827"/>
                      <a:pt x="108" y="827"/>
                    </a:cubicBezTo>
                    <a:cubicBezTo>
                      <a:pt x="111" y="828"/>
                      <a:pt x="111" y="828"/>
                      <a:pt x="111" y="828"/>
                    </a:cubicBezTo>
                    <a:cubicBezTo>
                      <a:pt x="112" y="831"/>
                      <a:pt x="112" y="831"/>
                      <a:pt x="112" y="831"/>
                    </a:cubicBezTo>
                    <a:cubicBezTo>
                      <a:pt x="109" y="830"/>
                      <a:pt x="109" y="830"/>
                      <a:pt x="109" y="830"/>
                    </a:cubicBezTo>
                    <a:cubicBezTo>
                      <a:pt x="108" y="831"/>
                      <a:pt x="108" y="831"/>
                      <a:pt x="108" y="831"/>
                    </a:cubicBezTo>
                    <a:cubicBezTo>
                      <a:pt x="109" y="832"/>
                      <a:pt x="109" y="832"/>
                      <a:pt x="109" y="832"/>
                    </a:cubicBezTo>
                    <a:cubicBezTo>
                      <a:pt x="109" y="834"/>
                      <a:pt x="109" y="834"/>
                      <a:pt x="109" y="834"/>
                    </a:cubicBezTo>
                    <a:cubicBezTo>
                      <a:pt x="106" y="837"/>
                      <a:pt x="106" y="837"/>
                      <a:pt x="106" y="837"/>
                    </a:cubicBezTo>
                    <a:cubicBezTo>
                      <a:pt x="107" y="839"/>
                      <a:pt x="107" y="839"/>
                      <a:pt x="107" y="839"/>
                    </a:cubicBezTo>
                    <a:close/>
                    <a:moveTo>
                      <a:pt x="112" y="838"/>
                    </a:moveTo>
                    <a:cubicBezTo>
                      <a:pt x="110" y="840"/>
                      <a:pt x="110" y="840"/>
                      <a:pt x="110" y="840"/>
                    </a:cubicBezTo>
                    <a:cubicBezTo>
                      <a:pt x="110" y="843"/>
                      <a:pt x="110" y="843"/>
                      <a:pt x="110" y="843"/>
                    </a:cubicBezTo>
                    <a:cubicBezTo>
                      <a:pt x="112" y="842"/>
                      <a:pt x="112" y="842"/>
                      <a:pt x="112" y="842"/>
                    </a:cubicBezTo>
                    <a:cubicBezTo>
                      <a:pt x="114" y="839"/>
                      <a:pt x="114" y="839"/>
                      <a:pt x="114" y="839"/>
                    </a:cubicBezTo>
                    <a:cubicBezTo>
                      <a:pt x="115" y="838"/>
                      <a:pt x="115" y="838"/>
                      <a:pt x="115" y="838"/>
                    </a:cubicBezTo>
                    <a:cubicBezTo>
                      <a:pt x="113" y="837"/>
                      <a:pt x="113" y="837"/>
                      <a:pt x="113" y="837"/>
                    </a:cubicBezTo>
                    <a:cubicBezTo>
                      <a:pt x="112" y="838"/>
                      <a:pt x="112" y="838"/>
                      <a:pt x="112" y="838"/>
                    </a:cubicBezTo>
                    <a:close/>
                    <a:moveTo>
                      <a:pt x="134" y="835"/>
                    </a:moveTo>
                    <a:cubicBezTo>
                      <a:pt x="132" y="837"/>
                      <a:pt x="132" y="837"/>
                      <a:pt x="132" y="837"/>
                    </a:cubicBezTo>
                    <a:cubicBezTo>
                      <a:pt x="133" y="839"/>
                      <a:pt x="133" y="839"/>
                      <a:pt x="133" y="839"/>
                    </a:cubicBezTo>
                    <a:cubicBezTo>
                      <a:pt x="131" y="841"/>
                      <a:pt x="131" y="841"/>
                      <a:pt x="131" y="841"/>
                    </a:cubicBezTo>
                    <a:cubicBezTo>
                      <a:pt x="128" y="840"/>
                      <a:pt x="128" y="840"/>
                      <a:pt x="128" y="840"/>
                    </a:cubicBezTo>
                    <a:cubicBezTo>
                      <a:pt x="126" y="838"/>
                      <a:pt x="126" y="838"/>
                      <a:pt x="126" y="838"/>
                    </a:cubicBezTo>
                    <a:cubicBezTo>
                      <a:pt x="125" y="840"/>
                      <a:pt x="125" y="840"/>
                      <a:pt x="125" y="840"/>
                    </a:cubicBezTo>
                    <a:cubicBezTo>
                      <a:pt x="123" y="838"/>
                      <a:pt x="123" y="838"/>
                      <a:pt x="123" y="838"/>
                    </a:cubicBezTo>
                    <a:cubicBezTo>
                      <a:pt x="119" y="837"/>
                      <a:pt x="119" y="837"/>
                      <a:pt x="119" y="837"/>
                    </a:cubicBezTo>
                    <a:cubicBezTo>
                      <a:pt x="117" y="839"/>
                      <a:pt x="117" y="839"/>
                      <a:pt x="117" y="839"/>
                    </a:cubicBezTo>
                    <a:cubicBezTo>
                      <a:pt x="116" y="836"/>
                      <a:pt x="116" y="836"/>
                      <a:pt x="116" y="836"/>
                    </a:cubicBezTo>
                    <a:cubicBezTo>
                      <a:pt x="114" y="835"/>
                      <a:pt x="114" y="835"/>
                      <a:pt x="114" y="835"/>
                    </a:cubicBezTo>
                    <a:cubicBezTo>
                      <a:pt x="114" y="833"/>
                      <a:pt x="114" y="833"/>
                      <a:pt x="114" y="833"/>
                    </a:cubicBezTo>
                    <a:cubicBezTo>
                      <a:pt x="119" y="833"/>
                      <a:pt x="119" y="833"/>
                      <a:pt x="119" y="833"/>
                    </a:cubicBezTo>
                    <a:cubicBezTo>
                      <a:pt x="120" y="831"/>
                      <a:pt x="120" y="831"/>
                      <a:pt x="120" y="831"/>
                    </a:cubicBezTo>
                    <a:cubicBezTo>
                      <a:pt x="127" y="833"/>
                      <a:pt x="127" y="833"/>
                      <a:pt x="127" y="833"/>
                    </a:cubicBezTo>
                    <a:cubicBezTo>
                      <a:pt x="128" y="836"/>
                      <a:pt x="128" y="836"/>
                      <a:pt x="128" y="836"/>
                    </a:cubicBezTo>
                    <a:cubicBezTo>
                      <a:pt x="130" y="834"/>
                      <a:pt x="130" y="834"/>
                      <a:pt x="130" y="834"/>
                    </a:cubicBezTo>
                    <a:cubicBezTo>
                      <a:pt x="132" y="834"/>
                      <a:pt x="132" y="834"/>
                      <a:pt x="132" y="834"/>
                    </a:cubicBezTo>
                    <a:cubicBezTo>
                      <a:pt x="134" y="835"/>
                      <a:pt x="134" y="835"/>
                      <a:pt x="134" y="835"/>
                    </a:cubicBezTo>
                    <a:close/>
                    <a:moveTo>
                      <a:pt x="144" y="833"/>
                    </a:moveTo>
                    <a:cubicBezTo>
                      <a:pt x="140" y="830"/>
                      <a:pt x="140" y="830"/>
                      <a:pt x="140" y="830"/>
                    </a:cubicBezTo>
                    <a:cubicBezTo>
                      <a:pt x="143" y="828"/>
                      <a:pt x="143" y="828"/>
                      <a:pt x="143" y="828"/>
                    </a:cubicBezTo>
                    <a:cubicBezTo>
                      <a:pt x="141" y="826"/>
                      <a:pt x="141" y="826"/>
                      <a:pt x="141" y="826"/>
                    </a:cubicBezTo>
                    <a:cubicBezTo>
                      <a:pt x="141" y="824"/>
                      <a:pt x="141" y="824"/>
                      <a:pt x="141" y="824"/>
                    </a:cubicBezTo>
                    <a:cubicBezTo>
                      <a:pt x="139" y="821"/>
                      <a:pt x="139" y="821"/>
                      <a:pt x="139" y="821"/>
                    </a:cubicBezTo>
                    <a:cubicBezTo>
                      <a:pt x="138" y="817"/>
                      <a:pt x="138" y="817"/>
                      <a:pt x="138" y="817"/>
                    </a:cubicBezTo>
                    <a:cubicBezTo>
                      <a:pt x="136" y="816"/>
                      <a:pt x="136" y="816"/>
                      <a:pt x="136" y="816"/>
                    </a:cubicBezTo>
                    <a:cubicBezTo>
                      <a:pt x="135" y="819"/>
                      <a:pt x="135" y="819"/>
                      <a:pt x="135" y="819"/>
                    </a:cubicBezTo>
                    <a:cubicBezTo>
                      <a:pt x="134" y="823"/>
                      <a:pt x="134" y="823"/>
                      <a:pt x="134" y="823"/>
                    </a:cubicBezTo>
                    <a:cubicBezTo>
                      <a:pt x="136" y="826"/>
                      <a:pt x="136" y="826"/>
                      <a:pt x="136" y="826"/>
                    </a:cubicBezTo>
                    <a:cubicBezTo>
                      <a:pt x="134" y="828"/>
                      <a:pt x="134" y="828"/>
                      <a:pt x="134" y="828"/>
                    </a:cubicBezTo>
                    <a:cubicBezTo>
                      <a:pt x="134" y="831"/>
                      <a:pt x="134" y="831"/>
                      <a:pt x="134" y="831"/>
                    </a:cubicBezTo>
                    <a:cubicBezTo>
                      <a:pt x="138" y="833"/>
                      <a:pt x="138" y="833"/>
                      <a:pt x="138" y="833"/>
                    </a:cubicBezTo>
                    <a:cubicBezTo>
                      <a:pt x="142" y="834"/>
                      <a:pt x="142" y="834"/>
                      <a:pt x="142" y="834"/>
                    </a:cubicBezTo>
                    <a:cubicBezTo>
                      <a:pt x="143" y="835"/>
                      <a:pt x="143" y="835"/>
                      <a:pt x="143" y="835"/>
                    </a:cubicBezTo>
                    <a:cubicBezTo>
                      <a:pt x="144" y="833"/>
                      <a:pt x="144" y="833"/>
                      <a:pt x="144" y="833"/>
                    </a:cubicBezTo>
                    <a:close/>
                    <a:moveTo>
                      <a:pt x="130" y="861"/>
                    </a:moveTo>
                    <a:cubicBezTo>
                      <a:pt x="133" y="859"/>
                      <a:pt x="133" y="859"/>
                      <a:pt x="133" y="859"/>
                    </a:cubicBezTo>
                    <a:cubicBezTo>
                      <a:pt x="135" y="861"/>
                      <a:pt x="135" y="861"/>
                      <a:pt x="135" y="861"/>
                    </a:cubicBezTo>
                    <a:cubicBezTo>
                      <a:pt x="132" y="863"/>
                      <a:pt x="132" y="863"/>
                      <a:pt x="132" y="863"/>
                    </a:cubicBezTo>
                    <a:cubicBezTo>
                      <a:pt x="130" y="861"/>
                      <a:pt x="130" y="861"/>
                      <a:pt x="130" y="861"/>
                    </a:cubicBezTo>
                    <a:close/>
                    <a:moveTo>
                      <a:pt x="131" y="857"/>
                    </a:moveTo>
                    <a:cubicBezTo>
                      <a:pt x="130" y="856"/>
                      <a:pt x="130" y="856"/>
                      <a:pt x="130" y="856"/>
                    </a:cubicBezTo>
                    <a:cubicBezTo>
                      <a:pt x="131" y="854"/>
                      <a:pt x="131" y="854"/>
                      <a:pt x="131" y="854"/>
                    </a:cubicBezTo>
                    <a:cubicBezTo>
                      <a:pt x="134" y="855"/>
                      <a:pt x="134" y="855"/>
                      <a:pt x="134" y="855"/>
                    </a:cubicBezTo>
                    <a:cubicBezTo>
                      <a:pt x="133" y="857"/>
                      <a:pt x="133" y="857"/>
                      <a:pt x="133" y="857"/>
                    </a:cubicBezTo>
                    <a:cubicBezTo>
                      <a:pt x="131" y="857"/>
                      <a:pt x="131" y="857"/>
                      <a:pt x="131" y="857"/>
                    </a:cubicBezTo>
                    <a:close/>
                    <a:moveTo>
                      <a:pt x="206" y="877"/>
                    </a:moveTo>
                    <a:cubicBezTo>
                      <a:pt x="205" y="875"/>
                      <a:pt x="205" y="875"/>
                      <a:pt x="205" y="875"/>
                    </a:cubicBezTo>
                    <a:cubicBezTo>
                      <a:pt x="207" y="872"/>
                      <a:pt x="207" y="872"/>
                      <a:pt x="207" y="872"/>
                    </a:cubicBezTo>
                    <a:cubicBezTo>
                      <a:pt x="206" y="870"/>
                      <a:pt x="206" y="870"/>
                      <a:pt x="206" y="870"/>
                    </a:cubicBezTo>
                    <a:cubicBezTo>
                      <a:pt x="208" y="871"/>
                      <a:pt x="208" y="871"/>
                      <a:pt x="208" y="871"/>
                    </a:cubicBezTo>
                    <a:cubicBezTo>
                      <a:pt x="209" y="874"/>
                      <a:pt x="209" y="874"/>
                      <a:pt x="209" y="874"/>
                    </a:cubicBezTo>
                    <a:cubicBezTo>
                      <a:pt x="209" y="877"/>
                      <a:pt x="209" y="877"/>
                      <a:pt x="209" y="877"/>
                    </a:cubicBezTo>
                    <a:cubicBezTo>
                      <a:pt x="206" y="877"/>
                      <a:pt x="206" y="877"/>
                      <a:pt x="206" y="877"/>
                    </a:cubicBezTo>
                    <a:close/>
                    <a:moveTo>
                      <a:pt x="159" y="858"/>
                    </a:moveTo>
                    <a:cubicBezTo>
                      <a:pt x="162" y="857"/>
                      <a:pt x="162" y="857"/>
                      <a:pt x="162" y="857"/>
                    </a:cubicBezTo>
                    <a:cubicBezTo>
                      <a:pt x="165" y="857"/>
                      <a:pt x="165" y="857"/>
                      <a:pt x="165" y="857"/>
                    </a:cubicBezTo>
                    <a:cubicBezTo>
                      <a:pt x="167" y="857"/>
                      <a:pt x="167" y="857"/>
                      <a:pt x="167" y="857"/>
                    </a:cubicBezTo>
                    <a:cubicBezTo>
                      <a:pt x="171" y="857"/>
                      <a:pt x="171" y="857"/>
                      <a:pt x="171" y="857"/>
                    </a:cubicBezTo>
                    <a:cubicBezTo>
                      <a:pt x="180" y="855"/>
                      <a:pt x="180" y="855"/>
                      <a:pt x="180" y="855"/>
                    </a:cubicBezTo>
                    <a:cubicBezTo>
                      <a:pt x="185" y="853"/>
                      <a:pt x="185" y="853"/>
                      <a:pt x="185" y="853"/>
                    </a:cubicBezTo>
                    <a:cubicBezTo>
                      <a:pt x="191" y="854"/>
                      <a:pt x="191" y="854"/>
                      <a:pt x="191" y="854"/>
                    </a:cubicBezTo>
                    <a:cubicBezTo>
                      <a:pt x="196" y="853"/>
                      <a:pt x="196" y="853"/>
                      <a:pt x="196" y="853"/>
                    </a:cubicBezTo>
                    <a:cubicBezTo>
                      <a:pt x="201" y="853"/>
                      <a:pt x="201" y="853"/>
                      <a:pt x="201" y="853"/>
                    </a:cubicBezTo>
                    <a:cubicBezTo>
                      <a:pt x="205" y="854"/>
                      <a:pt x="205" y="854"/>
                      <a:pt x="205" y="854"/>
                    </a:cubicBezTo>
                    <a:cubicBezTo>
                      <a:pt x="206" y="857"/>
                      <a:pt x="206" y="857"/>
                      <a:pt x="206" y="857"/>
                    </a:cubicBezTo>
                    <a:cubicBezTo>
                      <a:pt x="208" y="859"/>
                      <a:pt x="208" y="859"/>
                      <a:pt x="208" y="859"/>
                    </a:cubicBezTo>
                    <a:cubicBezTo>
                      <a:pt x="206" y="861"/>
                      <a:pt x="206" y="861"/>
                      <a:pt x="206" y="861"/>
                    </a:cubicBezTo>
                    <a:cubicBezTo>
                      <a:pt x="203" y="863"/>
                      <a:pt x="203" y="863"/>
                      <a:pt x="203" y="863"/>
                    </a:cubicBezTo>
                    <a:cubicBezTo>
                      <a:pt x="201" y="861"/>
                      <a:pt x="201" y="861"/>
                      <a:pt x="201" y="861"/>
                    </a:cubicBezTo>
                    <a:cubicBezTo>
                      <a:pt x="199" y="860"/>
                      <a:pt x="199" y="860"/>
                      <a:pt x="199" y="860"/>
                    </a:cubicBezTo>
                    <a:cubicBezTo>
                      <a:pt x="195" y="862"/>
                      <a:pt x="195" y="862"/>
                      <a:pt x="195" y="862"/>
                    </a:cubicBezTo>
                    <a:cubicBezTo>
                      <a:pt x="191" y="862"/>
                      <a:pt x="191" y="862"/>
                      <a:pt x="191" y="862"/>
                    </a:cubicBezTo>
                    <a:cubicBezTo>
                      <a:pt x="189" y="860"/>
                      <a:pt x="189" y="860"/>
                      <a:pt x="189" y="860"/>
                    </a:cubicBezTo>
                    <a:cubicBezTo>
                      <a:pt x="188" y="857"/>
                      <a:pt x="188" y="857"/>
                      <a:pt x="188" y="857"/>
                    </a:cubicBezTo>
                    <a:cubicBezTo>
                      <a:pt x="185" y="857"/>
                      <a:pt x="185" y="857"/>
                      <a:pt x="185" y="857"/>
                    </a:cubicBezTo>
                    <a:cubicBezTo>
                      <a:pt x="182" y="859"/>
                      <a:pt x="182" y="859"/>
                      <a:pt x="182" y="859"/>
                    </a:cubicBezTo>
                    <a:cubicBezTo>
                      <a:pt x="180" y="859"/>
                      <a:pt x="180" y="859"/>
                      <a:pt x="180" y="859"/>
                    </a:cubicBezTo>
                    <a:cubicBezTo>
                      <a:pt x="175" y="860"/>
                      <a:pt x="175" y="860"/>
                      <a:pt x="175" y="860"/>
                    </a:cubicBezTo>
                    <a:cubicBezTo>
                      <a:pt x="179" y="863"/>
                      <a:pt x="179" y="863"/>
                      <a:pt x="179" y="863"/>
                    </a:cubicBezTo>
                    <a:cubicBezTo>
                      <a:pt x="180" y="862"/>
                      <a:pt x="180" y="862"/>
                      <a:pt x="180" y="862"/>
                    </a:cubicBezTo>
                    <a:cubicBezTo>
                      <a:pt x="184" y="863"/>
                      <a:pt x="184" y="863"/>
                      <a:pt x="184" y="863"/>
                    </a:cubicBezTo>
                    <a:cubicBezTo>
                      <a:pt x="186" y="865"/>
                      <a:pt x="186" y="865"/>
                      <a:pt x="186" y="865"/>
                    </a:cubicBezTo>
                    <a:cubicBezTo>
                      <a:pt x="185" y="866"/>
                      <a:pt x="185" y="866"/>
                      <a:pt x="185" y="866"/>
                    </a:cubicBezTo>
                    <a:cubicBezTo>
                      <a:pt x="188" y="867"/>
                      <a:pt x="188" y="867"/>
                      <a:pt x="188" y="867"/>
                    </a:cubicBezTo>
                    <a:cubicBezTo>
                      <a:pt x="192" y="871"/>
                      <a:pt x="192" y="871"/>
                      <a:pt x="192" y="871"/>
                    </a:cubicBezTo>
                    <a:cubicBezTo>
                      <a:pt x="192" y="874"/>
                      <a:pt x="192" y="874"/>
                      <a:pt x="192" y="874"/>
                    </a:cubicBezTo>
                    <a:cubicBezTo>
                      <a:pt x="190" y="874"/>
                      <a:pt x="190" y="874"/>
                      <a:pt x="190" y="874"/>
                    </a:cubicBezTo>
                    <a:cubicBezTo>
                      <a:pt x="186" y="870"/>
                      <a:pt x="186" y="870"/>
                      <a:pt x="186" y="870"/>
                    </a:cubicBezTo>
                    <a:cubicBezTo>
                      <a:pt x="183" y="869"/>
                      <a:pt x="183" y="869"/>
                      <a:pt x="183" y="869"/>
                    </a:cubicBezTo>
                    <a:cubicBezTo>
                      <a:pt x="180" y="871"/>
                      <a:pt x="180" y="871"/>
                      <a:pt x="180" y="871"/>
                    </a:cubicBezTo>
                    <a:cubicBezTo>
                      <a:pt x="177" y="869"/>
                      <a:pt x="177" y="869"/>
                      <a:pt x="177" y="869"/>
                    </a:cubicBezTo>
                    <a:cubicBezTo>
                      <a:pt x="176" y="865"/>
                      <a:pt x="176" y="865"/>
                      <a:pt x="176" y="865"/>
                    </a:cubicBezTo>
                    <a:cubicBezTo>
                      <a:pt x="172" y="866"/>
                      <a:pt x="172" y="866"/>
                      <a:pt x="172" y="866"/>
                    </a:cubicBezTo>
                    <a:cubicBezTo>
                      <a:pt x="172" y="868"/>
                      <a:pt x="172" y="868"/>
                      <a:pt x="172" y="868"/>
                    </a:cubicBezTo>
                    <a:cubicBezTo>
                      <a:pt x="175" y="869"/>
                      <a:pt x="175" y="869"/>
                      <a:pt x="175" y="869"/>
                    </a:cubicBezTo>
                    <a:cubicBezTo>
                      <a:pt x="174" y="872"/>
                      <a:pt x="174" y="872"/>
                      <a:pt x="174" y="872"/>
                    </a:cubicBezTo>
                    <a:cubicBezTo>
                      <a:pt x="173" y="872"/>
                      <a:pt x="173" y="872"/>
                      <a:pt x="173" y="872"/>
                    </a:cubicBezTo>
                    <a:cubicBezTo>
                      <a:pt x="168" y="870"/>
                      <a:pt x="168" y="870"/>
                      <a:pt x="168" y="870"/>
                    </a:cubicBezTo>
                    <a:cubicBezTo>
                      <a:pt x="166" y="871"/>
                      <a:pt x="166" y="871"/>
                      <a:pt x="166" y="871"/>
                    </a:cubicBezTo>
                    <a:cubicBezTo>
                      <a:pt x="165" y="869"/>
                      <a:pt x="165" y="869"/>
                      <a:pt x="165" y="869"/>
                    </a:cubicBezTo>
                    <a:cubicBezTo>
                      <a:pt x="162" y="868"/>
                      <a:pt x="162" y="868"/>
                      <a:pt x="162" y="868"/>
                    </a:cubicBezTo>
                    <a:cubicBezTo>
                      <a:pt x="163" y="866"/>
                      <a:pt x="163" y="866"/>
                      <a:pt x="163" y="866"/>
                    </a:cubicBezTo>
                    <a:cubicBezTo>
                      <a:pt x="161" y="868"/>
                      <a:pt x="161" y="868"/>
                      <a:pt x="161" y="868"/>
                    </a:cubicBezTo>
                    <a:cubicBezTo>
                      <a:pt x="158" y="866"/>
                      <a:pt x="158" y="866"/>
                      <a:pt x="158" y="866"/>
                    </a:cubicBezTo>
                    <a:cubicBezTo>
                      <a:pt x="158" y="864"/>
                      <a:pt x="158" y="864"/>
                      <a:pt x="158" y="864"/>
                    </a:cubicBezTo>
                    <a:cubicBezTo>
                      <a:pt x="161" y="863"/>
                      <a:pt x="161" y="863"/>
                      <a:pt x="161" y="863"/>
                    </a:cubicBezTo>
                    <a:cubicBezTo>
                      <a:pt x="166" y="861"/>
                      <a:pt x="166" y="861"/>
                      <a:pt x="166" y="861"/>
                    </a:cubicBezTo>
                    <a:cubicBezTo>
                      <a:pt x="163" y="859"/>
                      <a:pt x="163" y="859"/>
                      <a:pt x="163" y="859"/>
                    </a:cubicBezTo>
                    <a:cubicBezTo>
                      <a:pt x="161" y="860"/>
                      <a:pt x="161" y="860"/>
                      <a:pt x="161" y="860"/>
                    </a:cubicBezTo>
                    <a:lnTo>
                      <a:pt x="159" y="858"/>
                    </a:lnTo>
                    <a:close/>
                  </a:path>
                </a:pathLst>
              </a:custGeom>
              <a:solidFill>
                <a:schemeClr val="accent2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070" name="Freeform 72"/>
              <p:cNvSpPr>
                <a:spLocks noEditPoints="1"/>
              </p:cNvSpPr>
              <p:nvPr userDrawn="1"/>
            </p:nvSpPr>
            <p:spPr bwMode="auto">
              <a:xfrm>
                <a:off x="2348" y="2626"/>
                <a:ext cx="14" cy="15"/>
              </a:xfrm>
              <a:custGeom>
                <a:avLst/>
                <a:gdLst>
                  <a:gd name="T0" fmla="*/ 13 w 14"/>
                  <a:gd name="T1" fmla="*/ 11 h 15"/>
                  <a:gd name="T2" fmla="*/ 10 w 14"/>
                  <a:gd name="T3" fmla="*/ 13 h 15"/>
                  <a:gd name="T4" fmla="*/ 13 w 14"/>
                  <a:gd name="T5" fmla="*/ 15 h 15"/>
                  <a:gd name="T6" fmla="*/ 13 w 14"/>
                  <a:gd name="T7" fmla="*/ 11 h 15"/>
                  <a:gd name="T8" fmla="*/ 13 w 14"/>
                  <a:gd name="T9" fmla="*/ 11 h 15"/>
                  <a:gd name="T10" fmla="*/ 13 w 14"/>
                  <a:gd name="T11" fmla="*/ 11 h 15"/>
                  <a:gd name="T12" fmla="*/ 11 w 14"/>
                  <a:gd name="T13" fmla="*/ 0 h 15"/>
                  <a:gd name="T14" fmla="*/ 7 w 14"/>
                  <a:gd name="T15" fmla="*/ 3 h 15"/>
                  <a:gd name="T16" fmla="*/ 10 w 14"/>
                  <a:gd name="T17" fmla="*/ 6 h 15"/>
                  <a:gd name="T18" fmla="*/ 14 w 14"/>
                  <a:gd name="T19" fmla="*/ 7 h 15"/>
                  <a:gd name="T20" fmla="*/ 11 w 14"/>
                  <a:gd name="T21" fmla="*/ 0 h 15"/>
                  <a:gd name="T22" fmla="*/ 11 w 14"/>
                  <a:gd name="T23" fmla="*/ 0 h 15"/>
                  <a:gd name="T24" fmla="*/ 11 w 14"/>
                  <a:gd name="T25" fmla="*/ 0 h 15"/>
                  <a:gd name="T26" fmla="*/ 4 w 14"/>
                  <a:gd name="T27" fmla="*/ 4 h 15"/>
                  <a:gd name="T28" fmla="*/ 8 w 14"/>
                  <a:gd name="T29" fmla="*/ 7 h 15"/>
                  <a:gd name="T30" fmla="*/ 5 w 14"/>
                  <a:gd name="T31" fmla="*/ 14 h 15"/>
                  <a:gd name="T32" fmla="*/ 0 w 14"/>
                  <a:gd name="T33" fmla="*/ 7 h 15"/>
                  <a:gd name="T34" fmla="*/ 2 w 14"/>
                  <a:gd name="T35" fmla="*/ 4 h 15"/>
                  <a:gd name="T36" fmla="*/ 4 w 14"/>
                  <a:gd name="T37" fmla="*/ 4 h 15"/>
                  <a:gd name="T38" fmla="*/ 4 w 14"/>
                  <a:gd name="T39" fmla="*/ 4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4" h="15">
                    <a:moveTo>
                      <a:pt x="13" y="11"/>
                    </a:moveTo>
                    <a:lnTo>
                      <a:pt x="10" y="13"/>
                    </a:lnTo>
                    <a:lnTo>
                      <a:pt x="13" y="15"/>
                    </a:lnTo>
                    <a:lnTo>
                      <a:pt x="13" y="11"/>
                    </a:lnTo>
                    <a:lnTo>
                      <a:pt x="13" y="11"/>
                    </a:lnTo>
                    <a:lnTo>
                      <a:pt x="13" y="11"/>
                    </a:lnTo>
                    <a:close/>
                    <a:moveTo>
                      <a:pt x="11" y="0"/>
                    </a:moveTo>
                    <a:lnTo>
                      <a:pt x="7" y="3"/>
                    </a:lnTo>
                    <a:lnTo>
                      <a:pt x="10" y="6"/>
                    </a:lnTo>
                    <a:lnTo>
                      <a:pt x="14" y="7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11" y="0"/>
                    </a:lnTo>
                    <a:close/>
                    <a:moveTo>
                      <a:pt x="4" y="4"/>
                    </a:moveTo>
                    <a:lnTo>
                      <a:pt x="8" y="7"/>
                    </a:lnTo>
                    <a:lnTo>
                      <a:pt x="5" y="14"/>
                    </a:lnTo>
                    <a:lnTo>
                      <a:pt x="0" y="7"/>
                    </a:lnTo>
                    <a:lnTo>
                      <a:pt x="2" y="4"/>
                    </a:lnTo>
                    <a:lnTo>
                      <a:pt x="4" y="4"/>
                    </a:lnTo>
                    <a:lnTo>
                      <a:pt x="4" y="4"/>
                    </a:lnTo>
                    <a:close/>
                  </a:path>
                </a:pathLst>
              </a:custGeom>
              <a:solidFill>
                <a:schemeClr val="accent2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071" name="Freeform 73"/>
              <p:cNvSpPr>
                <a:spLocks noEditPoints="1"/>
              </p:cNvSpPr>
              <p:nvPr userDrawn="1"/>
            </p:nvSpPr>
            <p:spPr bwMode="auto">
              <a:xfrm>
                <a:off x="2356" y="2658"/>
                <a:ext cx="10" cy="25"/>
              </a:xfrm>
              <a:custGeom>
                <a:avLst/>
                <a:gdLst>
                  <a:gd name="T0" fmla="*/ 8 w 10"/>
                  <a:gd name="T1" fmla="*/ 15 h 25"/>
                  <a:gd name="T2" fmla="*/ 4 w 10"/>
                  <a:gd name="T3" fmla="*/ 20 h 25"/>
                  <a:gd name="T4" fmla="*/ 4 w 10"/>
                  <a:gd name="T5" fmla="*/ 24 h 25"/>
                  <a:gd name="T6" fmla="*/ 8 w 10"/>
                  <a:gd name="T7" fmla="*/ 25 h 25"/>
                  <a:gd name="T8" fmla="*/ 9 w 10"/>
                  <a:gd name="T9" fmla="*/ 20 h 25"/>
                  <a:gd name="T10" fmla="*/ 8 w 10"/>
                  <a:gd name="T11" fmla="*/ 15 h 25"/>
                  <a:gd name="T12" fmla="*/ 8 w 10"/>
                  <a:gd name="T13" fmla="*/ 15 h 25"/>
                  <a:gd name="T14" fmla="*/ 8 w 10"/>
                  <a:gd name="T15" fmla="*/ 15 h 25"/>
                  <a:gd name="T16" fmla="*/ 0 w 10"/>
                  <a:gd name="T17" fmla="*/ 0 h 25"/>
                  <a:gd name="T18" fmla="*/ 8 w 10"/>
                  <a:gd name="T19" fmla="*/ 2 h 25"/>
                  <a:gd name="T20" fmla="*/ 10 w 10"/>
                  <a:gd name="T21" fmla="*/ 8 h 25"/>
                  <a:gd name="T22" fmla="*/ 10 w 10"/>
                  <a:gd name="T23" fmla="*/ 12 h 25"/>
                  <a:gd name="T24" fmla="*/ 7 w 10"/>
                  <a:gd name="T25" fmla="*/ 10 h 25"/>
                  <a:gd name="T26" fmla="*/ 4 w 10"/>
                  <a:gd name="T27" fmla="*/ 10 h 25"/>
                  <a:gd name="T28" fmla="*/ 5 w 10"/>
                  <a:gd name="T29" fmla="*/ 7 h 25"/>
                  <a:gd name="T30" fmla="*/ 0 w 10"/>
                  <a:gd name="T31" fmla="*/ 3 h 25"/>
                  <a:gd name="T32" fmla="*/ 0 w 10"/>
                  <a:gd name="T33" fmla="*/ 0 h 25"/>
                  <a:gd name="T34" fmla="*/ 0 w 10"/>
                  <a:gd name="T35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0" h="25">
                    <a:moveTo>
                      <a:pt x="8" y="15"/>
                    </a:moveTo>
                    <a:lnTo>
                      <a:pt x="4" y="20"/>
                    </a:lnTo>
                    <a:lnTo>
                      <a:pt x="4" y="24"/>
                    </a:lnTo>
                    <a:lnTo>
                      <a:pt x="8" y="25"/>
                    </a:lnTo>
                    <a:lnTo>
                      <a:pt x="9" y="20"/>
                    </a:lnTo>
                    <a:lnTo>
                      <a:pt x="8" y="15"/>
                    </a:lnTo>
                    <a:lnTo>
                      <a:pt x="8" y="15"/>
                    </a:lnTo>
                    <a:lnTo>
                      <a:pt x="8" y="15"/>
                    </a:lnTo>
                    <a:close/>
                    <a:moveTo>
                      <a:pt x="0" y="0"/>
                    </a:moveTo>
                    <a:lnTo>
                      <a:pt x="8" y="2"/>
                    </a:lnTo>
                    <a:lnTo>
                      <a:pt x="10" y="8"/>
                    </a:lnTo>
                    <a:lnTo>
                      <a:pt x="10" y="12"/>
                    </a:lnTo>
                    <a:lnTo>
                      <a:pt x="7" y="10"/>
                    </a:lnTo>
                    <a:lnTo>
                      <a:pt x="4" y="10"/>
                    </a:lnTo>
                    <a:lnTo>
                      <a:pt x="5" y="7"/>
                    </a:lnTo>
                    <a:lnTo>
                      <a:pt x="0" y="3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CD5CF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072" name="Freeform 74"/>
              <p:cNvSpPr>
                <a:spLocks noEditPoints="1"/>
              </p:cNvSpPr>
              <p:nvPr userDrawn="1"/>
            </p:nvSpPr>
            <p:spPr bwMode="auto">
              <a:xfrm>
                <a:off x="2345" y="2727"/>
                <a:ext cx="23" cy="21"/>
              </a:xfrm>
              <a:custGeom>
                <a:avLst/>
                <a:gdLst>
                  <a:gd name="T0" fmla="*/ 20 w 23"/>
                  <a:gd name="T1" fmla="*/ 2 h 21"/>
                  <a:gd name="T2" fmla="*/ 23 w 23"/>
                  <a:gd name="T3" fmla="*/ 0 h 21"/>
                  <a:gd name="T4" fmla="*/ 23 w 23"/>
                  <a:gd name="T5" fmla="*/ 3 h 21"/>
                  <a:gd name="T6" fmla="*/ 20 w 23"/>
                  <a:gd name="T7" fmla="*/ 2 h 21"/>
                  <a:gd name="T8" fmla="*/ 20 w 23"/>
                  <a:gd name="T9" fmla="*/ 2 h 21"/>
                  <a:gd name="T10" fmla="*/ 20 w 23"/>
                  <a:gd name="T11" fmla="*/ 2 h 21"/>
                  <a:gd name="T12" fmla="*/ 18 w 23"/>
                  <a:gd name="T13" fmla="*/ 5 h 21"/>
                  <a:gd name="T14" fmla="*/ 11 w 23"/>
                  <a:gd name="T15" fmla="*/ 8 h 21"/>
                  <a:gd name="T16" fmla="*/ 8 w 23"/>
                  <a:gd name="T17" fmla="*/ 6 h 21"/>
                  <a:gd name="T18" fmla="*/ 4 w 23"/>
                  <a:gd name="T19" fmla="*/ 7 h 21"/>
                  <a:gd name="T20" fmla="*/ 2 w 23"/>
                  <a:gd name="T21" fmla="*/ 10 h 21"/>
                  <a:gd name="T22" fmla="*/ 6 w 23"/>
                  <a:gd name="T23" fmla="*/ 12 h 21"/>
                  <a:gd name="T24" fmla="*/ 6 w 23"/>
                  <a:gd name="T25" fmla="*/ 15 h 21"/>
                  <a:gd name="T26" fmla="*/ 3 w 23"/>
                  <a:gd name="T27" fmla="*/ 18 h 21"/>
                  <a:gd name="T28" fmla="*/ 0 w 23"/>
                  <a:gd name="T29" fmla="*/ 20 h 21"/>
                  <a:gd name="T30" fmla="*/ 3 w 23"/>
                  <a:gd name="T31" fmla="*/ 21 h 21"/>
                  <a:gd name="T32" fmla="*/ 13 w 23"/>
                  <a:gd name="T33" fmla="*/ 20 h 21"/>
                  <a:gd name="T34" fmla="*/ 17 w 23"/>
                  <a:gd name="T35" fmla="*/ 17 h 21"/>
                  <a:gd name="T36" fmla="*/ 16 w 23"/>
                  <a:gd name="T37" fmla="*/ 13 h 21"/>
                  <a:gd name="T38" fmla="*/ 14 w 23"/>
                  <a:gd name="T39" fmla="*/ 10 h 21"/>
                  <a:gd name="T40" fmla="*/ 19 w 23"/>
                  <a:gd name="T41" fmla="*/ 6 h 21"/>
                  <a:gd name="T42" fmla="*/ 18 w 23"/>
                  <a:gd name="T43" fmla="*/ 5 h 21"/>
                  <a:gd name="T44" fmla="*/ 18 w 23"/>
                  <a:gd name="T45" fmla="*/ 5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3" h="21">
                    <a:moveTo>
                      <a:pt x="20" y="2"/>
                    </a:moveTo>
                    <a:lnTo>
                      <a:pt x="23" y="0"/>
                    </a:lnTo>
                    <a:lnTo>
                      <a:pt x="23" y="3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20" y="2"/>
                    </a:lnTo>
                    <a:close/>
                    <a:moveTo>
                      <a:pt x="18" y="5"/>
                    </a:moveTo>
                    <a:lnTo>
                      <a:pt x="11" y="8"/>
                    </a:lnTo>
                    <a:lnTo>
                      <a:pt x="8" y="6"/>
                    </a:lnTo>
                    <a:lnTo>
                      <a:pt x="4" y="7"/>
                    </a:lnTo>
                    <a:lnTo>
                      <a:pt x="2" y="10"/>
                    </a:lnTo>
                    <a:lnTo>
                      <a:pt x="6" y="12"/>
                    </a:lnTo>
                    <a:lnTo>
                      <a:pt x="6" y="15"/>
                    </a:lnTo>
                    <a:lnTo>
                      <a:pt x="3" y="18"/>
                    </a:lnTo>
                    <a:lnTo>
                      <a:pt x="0" y="20"/>
                    </a:lnTo>
                    <a:lnTo>
                      <a:pt x="3" y="21"/>
                    </a:lnTo>
                    <a:lnTo>
                      <a:pt x="13" y="20"/>
                    </a:lnTo>
                    <a:lnTo>
                      <a:pt x="17" y="17"/>
                    </a:lnTo>
                    <a:lnTo>
                      <a:pt x="16" y="13"/>
                    </a:lnTo>
                    <a:lnTo>
                      <a:pt x="14" y="10"/>
                    </a:lnTo>
                    <a:lnTo>
                      <a:pt x="19" y="6"/>
                    </a:lnTo>
                    <a:lnTo>
                      <a:pt x="18" y="5"/>
                    </a:lnTo>
                    <a:lnTo>
                      <a:pt x="18" y="5"/>
                    </a:ln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073" name="Freeform 75"/>
              <p:cNvSpPr>
                <a:spLocks/>
              </p:cNvSpPr>
              <p:nvPr userDrawn="1"/>
            </p:nvSpPr>
            <p:spPr bwMode="auto">
              <a:xfrm>
                <a:off x="2496" y="3977"/>
                <a:ext cx="2" cy="1"/>
              </a:xfrm>
              <a:custGeom>
                <a:avLst/>
                <a:gdLst>
                  <a:gd name="T0" fmla="*/ 0 w 3"/>
                  <a:gd name="T1" fmla="*/ 1 h 1"/>
                  <a:gd name="T2" fmla="*/ 3 w 3"/>
                  <a:gd name="T3" fmla="*/ 1 h 1"/>
                  <a:gd name="T4" fmla="*/ 3 w 3"/>
                  <a:gd name="T5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" h="1">
                    <a:moveTo>
                      <a:pt x="0" y="1"/>
                    </a:move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8D918D"/>
              </a:solidFill>
              <a:ln w="1588" cap="flat">
                <a:solidFill>
                  <a:srgbClr val="231F2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074" name="Freeform 76"/>
              <p:cNvSpPr>
                <a:spLocks/>
              </p:cNvSpPr>
              <p:nvPr userDrawn="1"/>
            </p:nvSpPr>
            <p:spPr bwMode="auto">
              <a:xfrm>
                <a:off x="2496" y="3977"/>
                <a:ext cx="2" cy="1"/>
              </a:xfrm>
              <a:custGeom>
                <a:avLst/>
                <a:gdLst>
                  <a:gd name="T0" fmla="*/ 0 w 3"/>
                  <a:gd name="T1" fmla="*/ 1 h 1"/>
                  <a:gd name="T2" fmla="*/ 3 w 3"/>
                  <a:gd name="T3" fmla="*/ 1 h 1"/>
                  <a:gd name="T4" fmla="*/ 3 w 3"/>
                  <a:gd name="T5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" h="1">
                    <a:moveTo>
                      <a:pt x="0" y="1"/>
                    </a:move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noFill/>
              <a:ln w="1588" cap="flat">
                <a:solidFill>
                  <a:srgbClr val="231F2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075" name="Freeform 77"/>
              <p:cNvSpPr>
                <a:spLocks noEditPoints="1"/>
              </p:cNvSpPr>
              <p:nvPr userDrawn="1"/>
            </p:nvSpPr>
            <p:spPr bwMode="auto">
              <a:xfrm>
                <a:off x="2455" y="3958"/>
                <a:ext cx="425" cy="75"/>
              </a:xfrm>
              <a:custGeom>
                <a:avLst/>
                <a:gdLst>
                  <a:gd name="T0" fmla="*/ 433 w 444"/>
                  <a:gd name="T1" fmla="*/ 72 h 78"/>
                  <a:gd name="T2" fmla="*/ 430 w 444"/>
                  <a:gd name="T3" fmla="*/ 67 h 78"/>
                  <a:gd name="T4" fmla="*/ 425 w 444"/>
                  <a:gd name="T5" fmla="*/ 64 h 78"/>
                  <a:gd name="T6" fmla="*/ 421 w 444"/>
                  <a:gd name="T7" fmla="*/ 62 h 78"/>
                  <a:gd name="T8" fmla="*/ 430 w 444"/>
                  <a:gd name="T9" fmla="*/ 63 h 78"/>
                  <a:gd name="T10" fmla="*/ 432 w 444"/>
                  <a:gd name="T11" fmla="*/ 65 h 78"/>
                  <a:gd name="T12" fmla="*/ 437 w 444"/>
                  <a:gd name="T13" fmla="*/ 68 h 78"/>
                  <a:gd name="T14" fmla="*/ 441 w 444"/>
                  <a:gd name="T15" fmla="*/ 73 h 78"/>
                  <a:gd name="T16" fmla="*/ 442 w 444"/>
                  <a:gd name="T17" fmla="*/ 76 h 78"/>
                  <a:gd name="T18" fmla="*/ 438 w 444"/>
                  <a:gd name="T19" fmla="*/ 77 h 78"/>
                  <a:gd name="T20" fmla="*/ 435 w 444"/>
                  <a:gd name="T21" fmla="*/ 77 h 78"/>
                  <a:gd name="T22" fmla="*/ 25 w 444"/>
                  <a:gd name="T23" fmla="*/ 0 h 78"/>
                  <a:gd name="T24" fmla="*/ 20 w 444"/>
                  <a:gd name="T25" fmla="*/ 1 h 78"/>
                  <a:gd name="T26" fmla="*/ 16 w 444"/>
                  <a:gd name="T27" fmla="*/ 5 h 78"/>
                  <a:gd name="T28" fmla="*/ 14 w 444"/>
                  <a:gd name="T29" fmla="*/ 2 h 78"/>
                  <a:gd name="T30" fmla="*/ 2 w 444"/>
                  <a:gd name="T31" fmla="*/ 17 h 78"/>
                  <a:gd name="T32" fmla="*/ 7 w 444"/>
                  <a:gd name="T33" fmla="*/ 19 h 78"/>
                  <a:gd name="T34" fmla="*/ 0 w 444"/>
                  <a:gd name="T35" fmla="*/ 18 h 78"/>
                  <a:gd name="T36" fmla="*/ 30 w 444"/>
                  <a:gd name="T37" fmla="*/ 25 h 78"/>
                  <a:gd name="T38" fmla="*/ 36 w 444"/>
                  <a:gd name="T39" fmla="*/ 30 h 78"/>
                  <a:gd name="T40" fmla="*/ 33 w 444"/>
                  <a:gd name="T41" fmla="*/ 25 h 78"/>
                  <a:gd name="T42" fmla="*/ 38 w 444"/>
                  <a:gd name="T43" fmla="*/ 26 h 78"/>
                  <a:gd name="T44" fmla="*/ 38 w 444"/>
                  <a:gd name="T45" fmla="*/ 23 h 78"/>
                  <a:gd name="T46" fmla="*/ 42 w 444"/>
                  <a:gd name="T47" fmla="*/ 21 h 78"/>
                  <a:gd name="T48" fmla="*/ 45 w 444"/>
                  <a:gd name="T49" fmla="*/ 20 h 78"/>
                  <a:gd name="T50" fmla="*/ 41 w 444"/>
                  <a:gd name="T51" fmla="*/ 18 h 78"/>
                  <a:gd name="T52" fmla="*/ 45 w 444"/>
                  <a:gd name="T53" fmla="*/ 18 h 78"/>
                  <a:gd name="T54" fmla="*/ 53 w 444"/>
                  <a:gd name="T55" fmla="*/ 14 h 78"/>
                  <a:gd name="T56" fmla="*/ 56 w 444"/>
                  <a:gd name="T57" fmla="*/ 11 h 78"/>
                  <a:gd name="T58" fmla="*/ 54 w 444"/>
                  <a:gd name="T59" fmla="*/ 10 h 78"/>
                  <a:gd name="T60" fmla="*/ 58 w 444"/>
                  <a:gd name="T61" fmla="*/ 8 h 78"/>
                  <a:gd name="T62" fmla="*/ 52 w 444"/>
                  <a:gd name="T63" fmla="*/ 5 h 78"/>
                  <a:gd name="T64" fmla="*/ 50 w 444"/>
                  <a:gd name="T65" fmla="*/ 8 h 78"/>
                  <a:gd name="T66" fmla="*/ 45 w 444"/>
                  <a:gd name="T67" fmla="*/ 6 h 78"/>
                  <a:gd name="T68" fmla="*/ 40 w 444"/>
                  <a:gd name="T69" fmla="*/ 2 h 78"/>
                  <a:gd name="T70" fmla="*/ 36 w 444"/>
                  <a:gd name="T71" fmla="*/ 6 h 78"/>
                  <a:gd name="T72" fmla="*/ 36 w 444"/>
                  <a:gd name="T73" fmla="*/ 10 h 78"/>
                  <a:gd name="T74" fmla="*/ 39 w 444"/>
                  <a:gd name="T75" fmla="*/ 16 h 78"/>
                  <a:gd name="T76" fmla="*/ 34 w 444"/>
                  <a:gd name="T77" fmla="*/ 16 h 78"/>
                  <a:gd name="T78" fmla="*/ 23 w 444"/>
                  <a:gd name="T79" fmla="*/ 6 h 78"/>
                  <a:gd name="T80" fmla="*/ 28 w 444"/>
                  <a:gd name="T81" fmla="*/ 8 h 78"/>
                  <a:gd name="T82" fmla="*/ 32 w 444"/>
                  <a:gd name="T83" fmla="*/ 5 h 78"/>
                  <a:gd name="T84" fmla="*/ 31 w 444"/>
                  <a:gd name="T85" fmla="*/ 12 h 78"/>
                  <a:gd name="T86" fmla="*/ 26 w 444"/>
                  <a:gd name="T87" fmla="*/ 19 h 78"/>
                  <a:gd name="T88" fmla="*/ 17 w 444"/>
                  <a:gd name="T89" fmla="*/ 21 h 78"/>
                  <a:gd name="T90" fmla="*/ 17 w 444"/>
                  <a:gd name="T91" fmla="*/ 24 h 78"/>
                  <a:gd name="T92" fmla="*/ 11 w 444"/>
                  <a:gd name="T93" fmla="*/ 25 h 78"/>
                  <a:gd name="T94" fmla="*/ 5 w 444"/>
                  <a:gd name="T95" fmla="*/ 25 h 78"/>
                  <a:gd name="T96" fmla="*/ 8 w 444"/>
                  <a:gd name="T97" fmla="*/ 24 h 78"/>
                  <a:gd name="T98" fmla="*/ 11 w 444"/>
                  <a:gd name="T99" fmla="*/ 18 h 78"/>
                  <a:gd name="T100" fmla="*/ 18 w 444"/>
                  <a:gd name="T101" fmla="*/ 16 h 78"/>
                  <a:gd name="T102" fmla="*/ 14 w 444"/>
                  <a:gd name="T103" fmla="*/ 14 h 78"/>
                  <a:gd name="T104" fmla="*/ 10 w 444"/>
                  <a:gd name="T105" fmla="*/ 6 h 78"/>
                  <a:gd name="T106" fmla="*/ 18 w 444"/>
                  <a:gd name="T107" fmla="*/ 10 h 78"/>
                  <a:gd name="T108" fmla="*/ 23 w 444"/>
                  <a:gd name="T109" fmla="*/ 6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444" h="78">
                    <a:moveTo>
                      <a:pt x="435" y="77"/>
                    </a:moveTo>
                    <a:cubicBezTo>
                      <a:pt x="433" y="72"/>
                      <a:pt x="433" y="72"/>
                      <a:pt x="433" y="72"/>
                    </a:cubicBezTo>
                    <a:cubicBezTo>
                      <a:pt x="430" y="70"/>
                      <a:pt x="430" y="70"/>
                      <a:pt x="430" y="70"/>
                    </a:cubicBezTo>
                    <a:cubicBezTo>
                      <a:pt x="430" y="67"/>
                      <a:pt x="430" y="67"/>
                      <a:pt x="430" y="67"/>
                    </a:cubicBezTo>
                    <a:cubicBezTo>
                      <a:pt x="427" y="66"/>
                      <a:pt x="427" y="66"/>
                      <a:pt x="427" y="66"/>
                    </a:cubicBezTo>
                    <a:cubicBezTo>
                      <a:pt x="425" y="64"/>
                      <a:pt x="425" y="64"/>
                      <a:pt x="425" y="64"/>
                    </a:cubicBezTo>
                    <a:cubicBezTo>
                      <a:pt x="421" y="63"/>
                      <a:pt x="421" y="63"/>
                      <a:pt x="421" y="63"/>
                    </a:cubicBezTo>
                    <a:cubicBezTo>
                      <a:pt x="421" y="62"/>
                      <a:pt x="421" y="62"/>
                      <a:pt x="421" y="62"/>
                    </a:cubicBezTo>
                    <a:cubicBezTo>
                      <a:pt x="426" y="62"/>
                      <a:pt x="426" y="62"/>
                      <a:pt x="426" y="62"/>
                    </a:cubicBezTo>
                    <a:cubicBezTo>
                      <a:pt x="430" y="63"/>
                      <a:pt x="430" y="63"/>
                      <a:pt x="430" y="63"/>
                    </a:cubicBezTo>
                    <a:cubicBezTo>
                      <a:pt x="430" y="64"/>
                      <a:pt x="430" y="64"/>
                      <a:pt x="430" y="64"/>
                    </a:cubicBezTo>
                    <a:cubicBezTo>
                      <a:pt x="432" y="65"/>
                      <a:pt x="432" y="65"/>
                      <a:pt x="432" y="65"/>
                    </a:cubicBezTo>
                    <a:cubicBezTo>
                      <a:pt x="433" y="65"/>
                      <a:pt x="436" y="68"/>
                      <a:pt x="436" y="68"/>
                    </a:cubicBezTo>
                    <a:cubicBezTo>
                      <a:pt x="437" y="68"/>
                      <a:pt x="437" y="68"/>
                      <a:pt x="437" y="68"/>
                    </a:cubicBezTo>
                    <a:cubicBezTo>
                      <a:pt x="438" y="72"/>
                      <a:pt x="438" y="72"/>
                      <a:pt x="438" y="72"/>
                    </a:cubicBezTo>
                    <a:cubicBezTo>
                      <a:pt x="441" y="73"/>
                      <a:pt x="441" y="73"/>
                      <a:pt x="441" y="73"/>
                    </a:cubicBezTo>
                    <a:cubicBezTo>
                      <a:pt x="444" y="74"/>
                      <a:pt x="444" y="74"/>
                      <a:pt x="444" y="74"/>
                    </a:cubicBezTo>
                    <a:cubicBezTo>
                      <a:pt x="442" y="76"/>
                      <a:pt x="442" y="76"/>
                      <a:pt x="442" y="76"/>
                    </a:cubicBezTo>
                    <a:cubicBezTo>
                      <a:pt x="439" y="76"/>
                      <a:pt x="439" y="76"/>
                      <a:pt x="439" y="76"/>
                    </a:cubicBezTo>
                    <a:cubicBezTo>
                      <a:pt x="438" y="77"/>
                      <a:pt x="438" y="77"/>
                      <a:pt x="438" y="77"/>
                    </a:cubicBezTo>
                    <a:cubicBezTo>
                      <a:pt x="436" y="78"/>
                      <a:pt x="436" y="78"/>
                      <a:pt x="436" y="78"/>
                    </a:cubicBezTo>
                    <a:cubicBezTo>
                      <a:pt x="435" y="77"/>
                      <a:pt x="435" y="77"/>
                      <a:pt x="435" y="77"/>
                    </a:cubicBezTo>
                    <a:close/>
                    <a:moveTo>
                      <a:pt x="20" y="1"/>
                    </a:moveTo>
                    <a:cubicBezTo>
                      <a:pt x="25" y="0"/>
                      <a:pt x="25" y="0"/>
                      <a:pt x="25" y="0"/>
                    </a:cubicBezTo>
                    <a:cubicBezTo>
                      <a:pt x="28" y="3"/>
                      <a:pt x="28" y="3"/>
                      <a:pt x="28" y="3"/>
                    </a:cubicBezTo>
                    <a:cubicBezTo>
                      <a:pt x="20" y="1"/>
                      <a:pt x="20" y="1"/>
                      <a:pt x="20" y="1"/>
                    </a:cubicBezTo>
                    <a:close/>
                    <a:moveTo>
                      <a:pt x="14" y="2"/>
                    </a:moveTo>
                    <a:cubicBezTo>
                      <a:pt x="16" y="5"/>
                      <a:pt x="16" y="5"/>
                      <a:pt x="16" y="5"/>
                    </a:cubicBezTo>
                    <a:cubicBezTo>
                      <a:pt x="18" y="4"/>
                      <a:pt x="18" y="4"/>
                      <a:pt x="18" y="4"/>
                    </a:cubicBezTo>
                    <a:cubicBezTo>
                      <a:pt x="14" y="2"/>
                      <a:pt x="14" y="2"/>
                      <a:pt x="14" y="2"/>
                    </a:cubicBezTo>
                    <a:close/>
                    <a:moveTo>
                      <a:pt x="0" y="18"/>
                    </a:moveTo>
                    <a:cubicBezTo>
                      <a:pt x="2" y="17"/>
                      <a:pt x="2" y="17"/>
                      <a:pt x="2" y="17"/>
                    </a:cubicBezTo>
                    <a:cubicBezTo>
                      <a:pt x="5" y="18"/>
                      <a:pt x="5" y="18"/>
                      <a:pt x="5" y="18"/>
                    </a:cubicBezTo>
                    <a:cubicBezTo>
                      <a:pt x="7" y="19"/>
                      <a:pt x="7" y="19"/>
                      <a:pt x="7" y="19"/>
                    </a:cubicBezTo>
                    <a:cubicBezTo>
                      <a:pt x="2" y="21"/>
                      <a:pt x="2" y="21"/>
                      <a:pt x="2" y="21"/>
                    </a:cubicBezTo>
                    <a:cubicBezTo>
                      <a:pt x="0" y="18"/>
                      <a:pt x="0" y="18"/>
                      <a:pt x="0" y="18"/>
                    </a:cubicBezTo>
                    <a:close/>
                    <a:moveTo>
                      <a:pt x="28" y="24"/>
                    </a:moveTo>
                    <a:cubicBezTo>
                      <a:pt x="30" y="25"/>
                      <a:pt x="30" y="25"/>
                      <a:pt x="30" y="25"/>
                    </a:cubicBezTo>
                    <a:cubicBezTo>
                      <a:pt x="33" y="29"/>
                      <a:pt x="33" y="29"/>
                      <a:pt x="33" y="29"/>
                    </a:cubicBezTo>
                    <a:cubicBezTo>
                      <a:pt x="36" y="30"/>
                      <a:pt x="36" y="30"/>
                      <a:pt x="36" y="30"/>
                    </a:cubicBezTo>
                    <a:cubicBezTo>
                      <a:pt x="36" y="28"/>
                      <a:pt x="36" y="28"/>
                      <a:pt x="36" y="28"/>
                    </a:cubicBezTo>
                    <a:cubicBezTo>
                      <a:pt x="33" y="25"/>
                      <a:pt x="33" y="25"/>
                      <a:pt x="33" y="25"/>
                    </a:cubicBezTo>
                    <a:cubicBezTo>
                      <a:pt x="35" y="24"/>
                      <a:pt x="35" y="24"/>
                      <a:pt x="35" y="24"/>
                    </a:cubicBezTo>
                    <a:cubicBezTo>
                      <a:pt x="38" y="26"/>
                      <a:pt x="38" y="26"/>
                      <a:pt x="38" y="26"/>
                    </a:cubicBezTo>
                    <a:cubicBezTo>
                      <a:pt x="40" y="25"/>
                      <a:pt x="40" y="25"/>
                      <a:pt x="40" y="25"/>
                    </a:cubicBezTo>
                    <a:cubicBezTo>
                      <a:pt x="38" y="23"/>
                      <a:pt x="38" y="23"/>
                      <a:pt x="38" y="23"/>
                    </a:cubicBezTo>
                    <a:cubicBezTo>
                      <a:pt x="38" y="21"/>
                      <a:pt x="38" y="21"/>
                      <a:pt x="38" y="21"/>
                    </a:cubicBezTo>
                    <a:cubicBezTo>
                      <a:pt x="42" y="21"/>
                      <a:pt x="42" y="21"/>
                      <a:pt x="42" y="21"/>
                    </a:cubicBezTo>
                    <a:cubicBezTo>
                      <a:pt x="45" y="21"/>
                      <a:pt x="45" y="21"/>
                      <a:pt x="45" y="21"/>
                    </a:cubicBezTo>
                    <a:cubicBezTo>
                      <a:pt x="45" y="20"/>
                      <a:pt x="45" y="20"/>
                      <a:pt x="45" y="20"/>
                    </a:cubicBezTo>
                    <a:cubicBezTo>
                      <a:pt x="43" y="20"/>
                      <a:pt x="43" y="20"/>
                      <a:pt x="43" y="20"/>
                    </a:cubicBezTo>
                    <a:cubicBezTo>
                      <a:pt x="41" y="18"/>
                      <a:pt x="41" y="18"/>
                      <a:pt x="41" y="18"/>
                    </a:cubicBezTo>
                    <a:cubicBezTo>
                      <a:pt x="42" y="17"/>
                      <a:pt x="42" y="17"/>
                      <a:pt x="42" y="17"/>
                    </a:cubicBezTo>
                    <a:cubicBezTo>
                      <a:pt x="45" y="18"/>
                      <a:pt x="45" y="18"/>
                      <a:pt x="45" y="18"/>
                    </a:cubicBezTo>
                    <a:cubicBezTo>
                      <a:pt x="50" y="17"/>
                      <a:pt x="50" y="17"/>
                      <a:pt x="50" y="17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7" y="13"/>
                      <a:pt x="57" y="13"/>
                      <a:pt x="57" y="13"/>
                    </a:cubicBezTo>
                    <a:cubicBezTo>
                      <a:pt x="56" y="11"/>
                      <a:pt x="56" y="11"/>
                      <a:pt x="56" y="11"/>
                    </a:cubicBezTo>
                    <a:cubicBezTo>
                      <a:pt x="54" y="10"/>
                      <a:pt x="54" y="10"/>
                      <a:pt x="54" y="10"/>
                    </a:cubicBezTo>
                    <a:cubicBezTo>
                      <a:pt x="54" y="10"/>
                      <a:pt x="54" y="10"/>
                      <a:pt x="54" y="10"/>
                    </a:cubicBezTo>
                    <a:cubicBezTo>
                      <a:pt x="55" y="8"/>
                      <a:pt x="55" y="8"/>
                      <a:pt x="55" y="8"/>
                    </a:cubicBezTo>
                    <a:cubicBezTo>
                      <a:pt x="58" y="8"/>
                      <a:pt x="58" y="8"/>
                      <a:pt x="58" y="8"/>
                    </a:cubicBezTo>
                    <a:cubicBezTo>
                      <a:pt x="57" y="6"/>
                      <a:pt x="57" y="6"/>
                      <a:pt x="57" y="6"/>
                    </a:cubicBezTo>
                    <a:cubicBezTo>
                      <a:pt x="52" y="5"/>
                      <a:pt x="52" y="5"/>
                      <a:pt x="52" y="5"/>
                    </a:cubicBezTo>
                    <a:cubicBezTo>
                      <a:pt x="49" y="6"/>
                      <a:pt x="49" y="6"/>
                      <a:pt x="49" y="6"/>
                    </a:cubicBezTo>
                    <a:cubicBezTo>
                      <a:pt x="50" y="8"/>
                      <a:pt x="50" y="8"/>
                      <a:pt x="50" y="8"/>
                    </a:cubicBezTo>
                    <a:cubicBezTo>
                      <a:pt x="48" y="9"/>
                      <a:pt x="48" y="9"/>
                      <a:pt x="48" y="9"/>
                    </a:cubicBezTo>
                    <a:cubicBezTo>
                      <a:pt x="45" y="6"/>
                      <a:pt x="45" y="6"/>
                      <a:pt x="45" y="6"/>
                    </a:cubicBezTo>
                    <a:cubicBezTo>
                      <a:pt x="45" y="3"/>
                      <a:pt x="45" y="3"/>
                      <a:pt x="45" y="3"/>
                    </a:cubicBezTo>
                    <a:cubicBezTo>
                      <a:pt x="40" y="2"/>
                      <a:pt x="40" y="2"/>
                      <a:pt x="40" y="2"/>
                    </a:cubicBezTo>
                    <a:cubicBezTo>
                      <a:pt x="39" y="5"/>
                      <a:pt x="39" y="5"/>
                      <a:pt x="39" y="5"/>
                    </a:cubicBezTo>
                    <a:cubicBezTo>
                      <a:pt x="36" y="6"/>
                      <a:pt x="36" y="6"/>
                      <a:pt x="36" y="6"/>
                    </a:cubicBezTo>
                    <a:cubicBezTo>
                      <a:pt x="38" y="8"/>
                      <a:pt x="38" y="8"/>
                      <a:pt x="38" y="8"/>
                    </a:cubicBezTo>
                    <a:cubicBezTo>
                      <a:pt x="36" y="10"/>
                      <a:pt x="36" y="10"/>
                      <a:pt x="36" y="10"/>
                    </a:cubicBezTo>
                    <a:cubicBezTo>
                      <a:pt x="40" y="15"/>
                      <a:pt x="40" y="15"/>
                      <a:pt x="40" y="15"/>
                    </a:cubicBezTo>
                    <a:cubicBezTo>
                      <a:pt x="39" y="16"/>
                      <a:pt x="39" y="16"/>
                      <a:pt x="39" y="16"/>
                    </a:cubicBezTo>
                    <a:cubicBezTo>
                      <a:pt x="37" y="15"/>
                      <a:pt x="37" y="15"/>
                      <a:pt x="37" y="15"/>
                    </a:cubicBezTo>
                    <a:cubicBezTo>
                      <a:pt x="34" y="16"/>
                      <a:pt x="34" y="16"/>
                      <a:pt x="34" y="16"/>
                    </a:cubicBezTo>
                    <a:cubicBezTo>
                      <a:pt x="28" y="24"/>
                      <a:pt x="28" y="24"/>
                      <a:pt x="28" y="24"/>
                    </a:cubicBezTo>
                    <a:close/>
                    <a:moveTo>
                      <a:pt x="23" y="6"/>
                    </a:moveTo>
                    <a:cubicBezTo>
                      <a:pt x="25" y="8"/>
                      <a:pt x="25" y="8"/>
                      <a:pt x="25" y="8"/>
                    </a:cubicBezTo>
                    <a:cubicBezTo>
                      <a:pt x="28" y="8"/>
                      <a:pt x="28" y="8"/>
                      <a:pt x="28" y="8"/>
                    </a:cubicBezTo>
                    <a:cubicBezTo>
                      <a:pt x="29" y="6"/>
                      <a:pt x="29" y="6"/>
                      <a:pt x="29" y="6"/>
                    </a:cubicBezTo>
                    <a:cubicBezTo>
                      <a:pt x="32" y="5"/>
                      <a:pt x="32" y="5"/>
                      <a:pt x="32" y="5"/>
                    </a:cubicBezTo>
                    <a:cubicBezTo>
                      <a:pt x="33" y="8"/>
                      <a:pt x="33" y="8"/>
                      <a:pt x="33" y="8"/>
                    </a:cubicBezTo>
                    <a:cubicBezTo>
                      <a:pt x="31" y="12"/>
                      <a:pt x="31" y="12"/>
                      <a:pt x="31" y="12"/>
                    </a:cubicBezTo>
                    <a:cubicBezTo>
                      <a:pt x="27" y="15"/>
                      <a:pt x="27" y="15"/>
                      <a:pt x="27" y="15"/>
                    </a:cubicBezTo>
                    <a:cubicBezTo>
                      <a:pt x="26" y="19"/>
                      <a:pt x="26" y="19"/>
                      <a:pt x="26" y="19"/>
                    </a:cubicBezTo>
                    <a:cubicBezTo>
                      <a:pt x="22" y="21"/>
                      <a:pt x="22" y="21"/>
                      <a:pt x="22" y="21"/>
                    </a:cubicBezTo>
                    <a:cubicBezTo>
                      <a:pt x="17" y="21"/>
                      <a:pt x="17" y="21"/>
                      <a:pt x="17" y="21"/>
                    </a:cubicBezTo>
                    <a:cubicBezTo>
                      <a:pt x="13" y="23"/>
                      <a:pt x="13" y="23"/>
                      <a:pt x="13" y="23"/>
                    </a:cubicBezTo>
                    <a:cubicBezTo>
                      <a:pt x="17" y="24"/>
                      <a:pt x="17" y="24"/>
                      <a:pt x="17" y="24"/>
                    </a:cubicBezTo>
                    <a:cubicBezTo>
                      <a:pt x="15" y="28"/>
                      <a:pt x="15" y="28"/>
                      <a:pt x="15" y="28"/>
                    </a:cubicBezTo>
                    <a:cubicBezTo>
                      <a:pt x="11" y="25"/>
                      <a:pt x="11" y="25"/>
                      <a:pt x="11" y="25"/>
                    </a:cubicBezTo>
                    <a:cubicBezTo>
                      <a:pt x="9" y="27"/>
                      <a:pt x="9" y="27"/>
                      <a:pt x="9" y="27"/>
                    </a:cubicBezTo>
                    <a:cubicBezTo>
                      <a:pt x="5" y="25"/>
                      <a:pt x="5" y="25"/>
                      <a:pt x="5" y="25"/>
                    </a:cubicBezTo>
                    <a:cubicBezTo>
                      <a:pt x="5" y="24"/>
                      <a:pt x="5" y="24"/>
                      <a:pt x="5" y="24"/>
                    </a:cubicBezTo>
                    <a:cubicBezTo>
                      <a:pt x="8" y="24"/>
                      <a:pt x="8" y="24"/>
                      <a:pt x="8" y="24"/>
                    </a:cubicBezTo>
                    <a:cubicBezTo>
                      <a:pt x="12" y="20"/>
                      <a:pt x="12" y="20"/>
                      <a:pt x="12" y="20"/>
                    </a:cubicBezTo>
                    <a:cubicBezTo>
                      <a:pt x="11" y="18"/>
                      <a:pt x="11" y="18"/>
                      <a:pt x="11" y="18"/>
                    </a:cubicBezTo>
                    <a:cubicBezTo>
                      <a:pt x="14" y="16"/>
                      <a:pt x="14" y="16"/>
                      <a:pt x="14" y="16"/>
                    </a:cubicBezTo>
                    <a:cubicBezTo>
                      <a:pt x="18" y="16"/>
                      <a:pt x="18" y="16"/>
                      <a:pt x="18" y="16"/>
                    </a:cubicBezTo>
                    <a:cubicBezTo>
                      <a:pt x="18" y="14"/>
                      <a:pt x="18" y="14"/>
                      <a:pt x="18" y="14"/>
                    </a:cubicBezTo>
                    <a:cubicBezTo>
                      <a:pt x="14" y="14"/>
                      <a:pt x="14" y="14"/>
                      <a:pt x="14" y="14"/>
                    </a:cubicBezTo>
                    <a:cubicBezTo>
                      <a:pt x="9" y="8"/>
                      <a:pt x="9" y="8"/>
                      <a:pt x="9" y="8"/>
                    </a:cubicBezTo>
                    <a:cubicBezTo>
                      <a:pt x="10" y="6"/>
                      <a:pt x="10" y="6"/>
                      <a:pt x="10" y="6"/>
                    </a:cubicBezTo>
                    <a:cubicBezTo>
                      <a:pt x="14" y="9"/>
                      <a:pt x="14" y="9"/>
                      <a:pt x="14" y="9"/>
                    </a:cubicBezTo>
                    <a:cubicBezTo>
                      <a:pt x="18" y="10"/>
                      <a:pt x="18" y="10"/>
                      <a:pt x="18" y="10"/>
                    </a:cubicBezTo>
                    <a:cubicBezTo>
                      <a:pt x="19" y="6"/>
                      <a:pt x="19" y="6"/>
                      <a:pt x="19" y="6"/>
                    </a:cubicBezTo>
                    <a:lnTo>
                      <a:pt x="23" y="6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076" name="Freeform 78"/>
              <p:cNvSpPr>
                <a:spLocks/>
              </p:cNvSpPr>
              <p:nvPr userDrawn="1"/>
            </p:nvSpPr>
            <p:spPr bwMode="auto">
              <a:xfrm>
                <a:off x="3697" y="954"/>
                <a:ext cx="5" cy="2"/>
              </a:xfrm>
              <a:custGeom>
                <a:avLst/>
                <a:gdLst>
                  <a:gd name="T0" fmla="*/ 5 w 5"/>
                  <a:gd name="T1" fmla="*/ 0 h 2"/>
                  <a:gd name="T2" fmla="*/ 2 w 5"/>
                  <a:gd name="T3" fmla="*/ 2 h 2"/>
                  <a:gd name="T4" fmla="*/ 0 w 5"/>
                  <a:gd name="T5" fmla="*/ 1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" h="2">
                    <a:moveTo>
                      <a:pt x="5" y="0"/>
                    </a:moveTo>
                    <a:cubicBezTo>
                      <a:pt x="2" y="2"/>
                      <a:pt x="2" y="2"/>
                      <a:pt x="2" y="2"/>
                    </a:cubicBezTo>
                    <a:cubicBezTo>
                      <a:pt x="0" y="1"/>
                      <a:pt x="0" y="1"/>
                      <a:pt x="0" y="1"/>
                    </a:cubicBezTo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077" name="Freeform 79"/>
              <p:cNvSpPr>
                <a:spLocks noEditPoints="1"/>
              </p:cNvSpPr>
              <p:nvPr userDrawn="1"/>
            </p:nvSpPr>
            <p:spPr bwMode="auto">
              <a:xfrm>
                <a:off x="3585" y="923"/>
                <a:ext cx="198" cy="308"/>
              </a:xfrm>
              <a:custGeom>
                <a:avLst/>
                <a:gdLst>
                  <a:gd name="T0" fmla="*/ 203 w 207"/>
                  <a:gd name="T1" fmla="*/ 34 h 322"/>
                  <a:gd name="T2" fmla="*/ 207 w 207"/>
                  <a:gd name="T3" fmla="*/ 33 h 322"/>
                  <a:gd name="T4" fmla="*/ 203 w 207"/>
                  <a:gd name="T5" fmla="*/ 28 h 322"/>
                  <a:gd name="T6" fmla="*/ 201 w 207"/>
                  <a:gd name="T7" fmla="*/ 31 h 322"/>
                  <a:gd name="T8" fmla="*/ 116 w 207"/>
                  <a:gd name="T9" fmla="*/ 8 h 322"/>
                  <a:gd name="T10" fmla="*/ 120 w 207"/>
                  <a:gd name="T11" fmla="*/ 7 h 322"/>
                  <a:gd name="T12" fmla="*/ 120 w 207"/>
                  <a:gd name="T13" fmla="*/ 3 h 322"/>
                  <a:gd name="T14" fmla="*/ 112 w 207"/>
                  <a:gd name="T15" fmla="*/ 1 h 322"/>
                  <a:gd name="T16" fmla="*/ 108 w 207"/>
                  <a:gd name="T17" fmla="*/ 2 h 322"/>
                  <a:gd name="T18" fmla="*/ 91 w 207"/>
                  <a:gd name="T19" fmla="*/ 35 h 322"/>
                  <a:gd name="T20" fmla="*/ 87 w 207"/>
                  <a:gd name="T21" fmla="*/ 31 h 322"/>
                  <a:gd name="T22" fmla="*/ 90 w 207"/>
                  <a:gd name="T23" fmla="*/ 27 h 322"/>
                  <a:gd name="T24" fmla="*/ 94 w 207"/>
                  <a:gd name="T25" fmla="*/ 31 h 322"/>
                  <a:gd name="T26" fmla="*/ 92 w 207"/>
                  <a:gd name="T27" fmla="*/ 34 h 322"/>
                  <a:gd name="T28" fmla="*/ 203 w 207"/>
                  <a:gd name="T29" fmla="*/ 116 h 322"/>
                  <a:gd name="T30" fmla="*/ 200 w 207"/>
                  <a:gd name="T31" fmla="*/ 110 h 322"/>
                  <a:gd name="T32" fmla="*/ 201 w 207"/>
                  <a:gd name="T33" fmla="*/ 106 h 322"/>
                  <a:gd name="T34" fmla="*/ 204 w 207"/>
                  <a:gd name="T35" fmla="*/ 105 h 322"/>
                  <a:gd name="T36" fmla="*/ 207 w 207"/>
                  <a:gd name="T37" fmla="*/ 112 h 322"/>
                  <a:gd name="T38" fmla="*/ 205 w 207"/>
                  <a:gd name="T39" fmla="*/ 117 h 322"/>
                  <a:gd name="T40" fmla="*/ 117 w 207"/>
                  <a:gd name="T41" fmla="*/ 94 h 322"/>
                  <a:gd name="T42" fmla="*/ 120 w 207"/>
                  <a:gd name="T43" fmla="*/ 100 h 322"/>
                  <a:gd name="T44" fmla="*/ 127 w 207"/>
                  <a:gd name="T45" fmla="*/ 99 h 322"/>
                  <a:gd name="T46" fmla="*/ 125 w 207"/>
                  <a:gd name="T47" fmla="*/ 93 h 322"/>
                  <a:gd name="T48" fmla="*/ 117 w 207"/>
                  <a:gd name="T49" fmla="*/ 93 h 322"/>
                  <a:gd name="T50" fmla="*/ 124 w 207"/>
                  <a:gd name="T51" fmla="*/ 126 h 322"/>
                  <a:gd name="T52" fmla="*/ 131 w 207"/>
                  <a:gd name="T53" fmla="*/ 128 h 322"/>
                  <a:gd name="T54" fmla="*/ 133 w 207"/>
                  <a:gd name="T55" fmla="*/ 133 h 322"/>
                  <a:gd name="T56" fmla="*/ 135 w 207"/>
                  <a:gd name="T57" fmla="*/ 136 h 322"/>
                  <a:gd name="T58" fmla="*/ 136 w 207"/>
                  <a:gd name="T59" fmla="*/ 139 h 322"/>
                  <a:gd name="T60" fmla="*/ 139 w 207"/>
                  <a:gd name="T61" fmla="*/ 138 h 322"/>
                  <a:gd name="T62" fmla="*/ 147 w 207"/>
                  <a:gd name="T63" fmla="*/ 135 h 322"/>
                  <a:gd name="T64" fmla="*/ 149 w 207"/>
                  <a:gd name="T65" fmla="*/ 131 h 322"/>
                  <a:gd name="T66" fmla="*/ 151 w 207"/>
                  <a:gd name="T67" fmla="*/ 125 h 322"/>
                  <a:gd name="T68" fmla="*/ 151 w 207"/>
                  <a:gd name="T69" fmla="*/ 119 h 322"/>
                  <a:gd name="T70" fmla="*/ 147 w 207"/>
                  <a:gd name="T71" fmla="*/ 117 h 322"/>
                  <a:gd name="T72" fmla="*/ 144 w 207"/>
                  <a:gd name="T73" fmla="*/ 118 h 322"/>
                  <a:gd name="T74" fmla="*/ 138 w 207"/>
                  <a:gd name="T75" fmla="*/ 118 h 322"/>
                  <a:gd name="T76" fmla="*/ 133 w 207"/>
                  <a:gd name="T77" fmla="*/ 119 h 322"/>
                  <a:gd name="T78" fmla="*/ 131 w 207"/>
                  <a:gd name="T79" fmla="*/ 123 h 322"/>
                  <a:gd name="T80" fmla="*/ 126 w 207"/>
                  <a:gd name="T81" fmla="*/ 125 h 322"/>
                  <a:gd name="T82" fmla="*/ 17 w 207"/>
                  <a:gd name="T83" fmla="*/ 143 h 322"/>
                  <a:gd name="T84" fmla="*/ 14 w 207"/>
                  <a:gd name="T85" fmla="*/ 138 h 322"/>
                  <a:gd name="T86" fmla="*/ 9 w 207"/>
                  <a:gd name="T87" fmla="*/ 132 h 322"/>
                  <a:gd name="T88" fmla="*/ 4 w 207"/>
                  <a:gd name="T89" fmla="*/ 129 h 322"/>
                  <a:gd name="T90" fmla="*/ 2 w 207"/>
                  <a:gd name="T91" fmla="*/ 119 h 322"/>
                  <a:gd name="T92" fmla="*/ 0 w 207"/>
                  <a:gd name="T93" fmla="*/ 112 h 322"/>
                  <a:gd name="T94" fmla="*/ 3 w 207"/>
                  <a:gd name="T95" fmla="*/ 111 h 322"/>
                  <a:gd name="T96" fmla="*/ 7 w 207"/>
                  <a:gd name="T97" fmla="*/ 118 h 322"/>
                  <a:gd name="T98" fmla="*/ 10 w 207"/>
                  <a:gd name="T99" fmla="*/ 126 h 322"/>
                  <a:gd name="T100" fmla="*/ 13 w 207"/>
                  <a:gd name="T101" fmla="*/ 128 h 322"/>
                  <a:gd name="T102" fmla="*/ 15 w 207"/>
                  <a:gd name="T103" fmla="*/ 130 h 322"/>
                  <a:gd name="T104" fmla="*/ 19 w 207"/>
                  <a:gd name="T105" fmla="*/ 138 h 322"/>
                  <a:gd name="T106" fmla="*/ 20 w 207"/>
                  <a:gd name="T107" fmla="*/ 144 h 322"/>
                  <a:gd name="T108" fmla="*/ 17 w 207"/>
                  <a:gd name="T109" fmla="*/ 143 h 322"/>
                  <a:gd name="T110" fmla="*/ 134 w 207"/>
                  <a:gd name="T111" fmla="*/ 320 h 322"/>
                  <a:gd name="T112" fmla="*/ 132 w 207"/>
                  <a:gd name="T113" fmla="*/ 312 h 322"/>
                  <a:gd name="T114" fmla="*/ 127 w 207"/>
                  <a:gd name="T115" fmla="*/ 314 h 322"/>
                  <a:gd name="T116" fmla="*/ 130 w 207"/>
                  <a:gd name="T117" fmla="*/ 319 h 322"/>
                  <a:gd name="T118" fmla="*/ 132 w 207"/>
                  <a:gd name="T119" fmla="*/ 322 h 3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207" h="322">
                    <a:moveTo>
                      <a:pt x="201" y="31"/>
                    </a:moveTo>
                    <a:cubicBezTo>
                      <a:pt x="203" y="34"/>
                      <a:pt x="203" y="34"/>
                      <a:pt x="203" y="34"/>
                    </a:cubicBezTo>
                    <a:cubicBezTo>
                      <a:pt x="206" y="35"/>
                      <a:pt x="206" y="35"/>
                      <a:pt x="206" y="35"/>
                    </a:cubicBezTo>
                    <a:cubicBezTo>
                      <a:pt x="207" y="33"/>
                      <a:pt x="207" y="33"/>
                      <a:pt x="207" y="33"/>
                    </a:cubicBezTo>
                    <a:cubicBezTo>
                      <a:pt x="206" y="30"/>
                      <a:pt x="206" y="30"/>
                      <a:pt x="206" y="30"/>
                    </a:cubicBezTo>
                    <a:cubicBezTo>
                      <a:pt x="203" y="28"/>
                      <a:pt x="203" y="28"/>
                      <a:pt x="203" y="28"/>
                    </a:cubicBezTo>
                    <a:cubicBezTo>
                      <a:pt x="202" y="29"/>
                      <a:pt x="202" y="29"/>
                      <a:pt x="202" y="29"/>
                    </a:cubicBezTo>
                    <a:cubicBezTo>
                      <a:pt x="201" y="31"/>
                      <a:pt x="201" y="31"/>
                      <a:pt x="201" y="31"/>
                    </a:cubicBezTo>
                    <a:close/>
                    <a:moveTo>
                      <a:pt x="109" y="3"/>
                    </a:moveTo>
                    <a:cubicBezTo>
                      <a:pt x="116" y="8"/>
                      <a:pt x="116" y="8"/>
                      <a:pt x="116" y="8"/>
                    </a:cubicBezTo>
                    <a:cubicBezTo>
                      <a:pt x="118" y="8"/>
                      <a:pt x="118" y="8"/>
                      <a:pt x="118" y="8"/>
                    </a:cubicBezTo>
                    <a:cubicBezTo>
                      <a:pt x="120" y="7"/>
                      <a:pt x="120" y="7"/>
                      <a:pt x="120" y="7"/>
                    </a:cubicBezTo>
                    <a:cubicBezTo>
                      <a:pt x="122" y="4"/>
                      <a:pt x="122" y="4"/>
                      <a:pt x="122" y="4"/>
                    </a:cubicBezTo>
                    <a:cubicBezTo>
                      <a:pt x="120" y="3"/>
                      <a:pt x="120" y="3"/>
                      <a:pt x="120" y="3"/>
                    </a:cubicBezTo>
                    <a:cubicBezTo>
                      <a:pt x="116" y="4"/>
                      <a:pt x="116" y="4"/>
                      <a:pt x="116" y="4"/>
                    </a:cubicBezTo>
                    <a:cubicBezTo>
                      <a:pt x="112" y="1"/>
                      <a:pt x="112" y="1"/>
                      <a:pt x="112" y="1"/>
                    </a:cubicBezTo>
                    <a:cubicBezTo>
                      <a:pt x="109" y="0"/>
                      <a:pt x="109" y="0"/>
                      <a:pt x="109" y="0"/>
                    </a:cubicBezTo>
                    <a:cubicBezTo>
                      <a:pt x="108" y="2"/>
                      <a:pt x="108" y="2"/>
                      <a:pt x="108" y="2"/>
                    </a:cubicBezTo>
                    <a:cubicBezTo>
                      <a:pt x="109" y="3"/>
                      <a:pt x="109" y="3"/>
                      <a:pt x="109" y="3"/>
                    </a:cubicBezTo>
                    <a:close/>
                    <a:moveTo>
                      <a:pt x="91" y="35"/>
                    </a:moveTo>
                    <a:cubicBezTo>
                      <a:pt x="88" y="33"/>
                      <a:pt x="88" y="33"/>
                      <a:pt x="88" y="33"/>
                    </a:cubicBezTo>
                    <a:cubicBezTo>
                      <a:pt x="87" y="31"/>
                      <a:pt x="87" y="31"/>
                      <a:pt x="87" y="31"/>
                    </a:cubicBezTo>
                    <a:cubicBezTo>
                      <a:pt x="88" y="29"/>
                      <a:pt x="88" y="29"/>
                      <a:pt x="88" y="29"/>
                    </a:cubicBezTo>
                    <a:cubicBezTo>
                      <a:pt x="90" y="27"/>
                      <a:pt x="90" y="27"/>
                      <a:pt x="90" y="27"/>
                    </a:cubicBezTo>
                    <a:cubicBezTo>
                      <a:pt x="92" y="28"/>
                      <a:pt x="92" y="28"/>
                      <a:pt x="92" y="28"/>
                    </a:cubicBezTo>
                    <a:cubicBezTo>
                      <a:pt x="94" y="31"/>
                      <a:pt x="94" y="31"/>
                      <a:pt x="94" y="31"/>
                    </a:cubicBezTo>
                    <a:cubicBezTo>
                      <a:pt x="94" y="33"/>
                      <a:pt x="94" y="33"/>
                      <a:pt x="94" y="33"/>
                    </a:cubicBezTo>
                    <a:cubicBezTo>
                      <a:pt x="92" y="34"/>
                      <a:pt x="92" y="34"/>
                      <a:pt x="92" y="34"/>
                    </a:cubicBezTo>
                    <a:cubicBezTo>
                      <a:pt x="91" y="35"/>
                      <a:pt x="91" y="35"/>
                      <a:pt x="91" y="35"/>
                    </a:cubicBezTo>
                    <a:close/>
                    <a:moveTo>
                      <a:pt x="203" y="116"/>
                    </a:moveTo>
                    <a:cubicBezTo>
                      <a:pt x="202" y="114"/>
                      <a:pt x="202" y="114"/>
                      <a:pt x="202" y="114"/>
                    </a:cubicBezTo>
                    <a:cubicBezTo>
                      <a:pt x="200" y="110"/>
                      <a:pt x="200" y="110"/>
                      <a:pt x="200" y="110"/>
                    </a:cubicBezTo>
                    <a:cubicBezTo>
                      <a:pt x="200" y="107"/>
                      <a:pt x="200" y="107"/>
                      <a:pt x="200" y="107"/>
                    </a:cubicBezTo>
                    <a:cubicBezTo>
                      <a:pt x="201" y="106"/>
                      <a:pt x="201" y="106"/>
                      <a:pt x="201" y="106"/>
                    </a:cubicBezTo>
                    <a:cubicBezTo>
                      <a:pt x="203" y="105"/>
                      <a:pt x="203" y="105"/>
                      <a:pt x="203" y="105"/>
                    </a:cubicBezTo>
                    <a:cubicBezTo>
                      <a:pt x="204" y="105"/>
                      <a:pt x="204" y="105"/>
                      <a:pt x="204" y="105"/>
                    </a:cubicBezTo>
                    <a:cubicBezTo>
                      <a:pt x="204" y="109"/>
                      <a:pt x="204" y="109"/>
                      <a:pt x="204" y="109"/>
                    </a:cubicBezTo>
                    <a:cubicBezTo>
                      <a:pt x="207" y="112"/>
                      <a:pt x="207" y="112"/>
                      <a:pt x="207" y="112"/>
                    </a:cubicBezTo>
                    <a:cubicBezTo>
                      <a:pt x="207" y="114"/>
                      <a:pt x="207" y="114"/>
                      <a:pt x="207" y="114"/>
                    </a:cubicBezTo>
                    <a:cubicBezTo>
                      <a:pt x="205" y="117"/>
                      <a:pt x="205" y="117"/>
                      <a:pt x="205" y="117"/>
                    </a:cubicBezTo>
                    <a:cubicBezTo>
                      <a:pt x="203" y="116"/>
                      <a:pt x="203" y="116"/>
                      <a:pt x="203" y="116"/>
                    </a:cubicBezTo>
                    <a:close/>
                    <a:moveTo>
                      <a:pt x="117" y="94"/>
                    </a:moveTo>
                    <a:cubicBezTo>
                      <a:pt x="118" y="97"/>
                      <a:pt x="118" y="97"/>
                      <a:pt x="118" y="97"/>
                    </a:cubicBezTo>
                    <a:cubicBezTo>
                      <a:pt x="120" y="100"/>
                      <a:pt x="120" y="100"/>
                      <a:pt x="120" y="100"/>
                    </a:cubicBezTo>
                    <a:cubicBezTo>
                      <a:pt x="123" y="100"/>
                      <a:pt x="123" y="100"/>
                      <a:pt x="123" y="100"/>
                    </a:cubicBezTo>
                    <a:cubicBezTo>
                      <a:pt x="127" y="99"/>
                      <a:pt x="127" y="99"/>
                      <a:pt x="127" y="99"/>
                    </a:cubicBezTo>
                    <a:cubicBezTo>
                      <a:pt x="127" y="96"/>
                      <a:pt x="127" y="96"/>
                      <a:pt x="127" y="96"/>
                    </a:cubicBezTo>
                    <a:cubicBezTo>
                      <a:pt x="125" y="93"/>
                      <a:pt x="125" y="93"/>
                      <a:pt x="125" y="93"/>
                    </a:cubicBezTo>
                    <a:cubicBezTo>
                      <a:pt x="118" y="92"/>
                      <a:pt x="118" y="92"/>
                      <a:pt x="118" y="92"/>
                    </a:cubicBezTo>
                    <a:cubicBezTo>
                      <a:pt x="117" y="93"/>
                      <a:pt x="117" y="93"/>
                      <a:pt x="117" y="93"/>
                    </a:cubicBezTo>
                    <a:cubicBezTo>
                      <a:pt x="117" y="94"/>
                      <a:pt x="117" y="94"/>
                      <a:pt x="117" y="94"/>
                    </a:cubicBezTo>
                    <a:close/>
                    <a:moveTo>
                      <a:pt x="124" y="126"/>
                    </a:moveTo>
                    <a:cubicBezTo>
                      <a:pt x="127" y="128"/>
                      <a:pt x="127" y="128"/>
                      <a:pt x="127" y="128"/>
                    </a:cubicBezTo>
                    <a:cubicBezTo>
                      <a:pt x="131" y="128"/>
                      <a:pt x="131" y="128"/>
                      <a:pt x="131" y="128"/>
                    </a:cubicBezTo>
                    <a:cubicBezTo>
                      <a:pt x="132" y="131"/>
                      <a:pt x="132" y="131"/>
                      <a:pt x="132" y="131"/>
                    </a:cubicBezTo>
                    <a:cubicBezTo>
                      <a:pt x="133" y="133"/>
                      <a:pt x="133" y="133"/>
                      <a:pt x="133" y="133"/>
                    </a:cubicBezTo>
                    <a:cubicBezTo>
                      <a:pt x="133" y="135"/>
                      <a:pt x="133" y="135"/>
                      <a:pt x="133" y="135"/>
                    </a:cubicBezTo>
                    <a:cubicBezTo>
                      <a:pt x="135" y="136"/>
                      <a:pt x="135" y="136"/>
                      <a:pt x="135" y="136"/>
                    </a:cubicBezTo>
                    <a:cubicBezTo>
                      <a:pt x="133" y="139"/>
                      <a:pt x="133" y="139"/>
                      <a:pt x="133" y="139"/>
                    </a:cubicBezTo>
                    <a:cubicBezTo>
                      <a:pt x="136" y="139"/>
                      <a:pt x="136" y="139"/>
                      <a:pt x="136" y="139"/>
                    </a:cubicBezTo>
                    <a:cubicBezTo>
                      <a:pt x="138" y="140"/>
                      <a:pt x="138" y="140"/>
                      <a:pt x="138" y="140"/>
                    </a:cubicBezTo>
                    <a:cubicBezTo>
                      <a:pt x="139" y="138"/>
                      <a:pt x="139" y="138"/>
                      <a:pt x="139" y="138"/>
                    </a:cubicBezTo>
                    <a:cubicBezTo>
                      <a:pt x="144" y="135"/>
                      <a:pt x="144" y="135"/>
                      <a:pt x="144" y="135"/>
                    </a:cubicBezTo>
                    <a:cubicBezTo>
                      <a:pt x="147" y="135"/>
                      <a:pt x="147" y="135"/>
                      <a:pt x="147" y="135"/>
                    </a:cubicBezTo>
                    <a:cubicBezTo>
                      <a:pt x="149" y="133"/>
                      <a:pt x="149" y="133"/>
                      <a:pt x="149" y="133"/>
                    </a:cubicBezTo>
                    <a:cubicBezTo>
                      <a:pt x="149" y="131"/>
                      <a:pt x="149" y="131"/>
                      <a:pt x="149" y="131"/>
                    </a:cubicBezTo>
                    <a:cubicBezTo>
                      <a:pt x="149" y="127"/>
                      <a:pt x="149" y="127"/>
                      <a:pt x="149" y="127"/>
                    </a:cubicBezTo>
                    <a:cubicBezTo>
                      <a:pt x="151" y="125"/>
                      <a:pt x="151" y="125"/>
                      <a:pt x="151" y="125"/>
                    </a:cubicBezTo>
                    <a:cubicBezTo>
                      <a:pt x="153" y="122"/>
                      <a:pt x="153" y="122"/>
                      <a:pt x="153" y="122"/>
                    </a:cubicBezTo>
                    <a:cubicBezTo>
                      <a:pt x="151" y="119"/>
                      <a:pt x="151" y="119"/>
                      <a:pt x="151" y="119"/>
                    </a:cubicBezTo>
                    <a:cubicBezTo>
                      <a:pt x="148" y="119"/>
                      <a:pt x="148" y="119"/>
                      <a:pt x="148" y="119"/>
                    </a:cubicBezTo>
                    <a:cubicBezTo>
                      <a:pt x="147" y="117"/>
                      <a:pt x="147" y="117"/>
                      <a:pt x="147" y="117"/>
                    </a:cubicBezTo>
                    <a:cubicBezTo>
                      <a:pt x="146" y="116"/>
                      <a:pt x="146" y="116"/>
                      <a:pt x="146" y="116"/>
                    </a:cubicBezTo>
                    <a:cubicBezTo>
                      <a:pt x="144" y="118"/>
                      <a:pt x="144" y="118"/>
                      <a:pt x="144" y="118"/>
                    </a:cubicBezTo>
                    <a:cubicBezTo>
                      <a:pt x="138" y="120"/>
                      <a:pt x="138" y="120"/>
                      <a:pt x="138" y="120"/>
                    </a:cubicBezTo>
                    <a:cubicBezTo>
                      <a:pt x="138" y="118"/>
                      <a:pt x="138" y="118"/>
                      <a:pt x="138" y="118"/>
                    </a:cubicBezTo>
                    <a:cubicBezTo>
                      <a:pt x="136" y="118"/>
                      <a:pt x="136" y="118"/>
                      <a:pt x="136" y="118"/>
                    </a:cubicBezTo>
                    <a:cubicBezTo>
                      <a:pt x="133" y="119"/>
                      <a:pt x="133" y="119"/>
                      <a:pt x="133" y="119"/>
                    </a:cubicBezTo>
                    <a:cubicBezTo>
                      <a:pt x="133" y="122"/>
                      <a:pt x="133" y="122"/>
                      <a:pt x="133" y="122"/>
                    </a:cubicBezTo>
                    <a:cubicBezTo>
                      <a:pt x="131" y="123"/>
                      <a:pt x="131" y="123"/>
                      <a:pt x="131" y="123"/>
                    </a:cubicBezTo>
                    <a:cubicBezTo>
                      <a:pt x="128" y="122"/>
                      <a:pt x="128" y="122"/>
                      <a:pt x="128" y="122"/>
                    </a:cubicBezTo>
                    <a:cubicBezTo>
                      <a:pt x="126" y="125"/>
                      <a:pt x="126" y="125"/>
                      <a:pt x="126" y="125"/>
                    </a:cubicBezTo>
                    <a:cubicBezTo>
                      <a:pt x="124" y="126"/>
                      <a:pt x="124" y="126"/>
                      <a:pt x="124" y="126"/>
                    </a:cubicBezTo>
                    <a:close/>
                    <a:moveTo>
                      <a:pt x="17" y="143"/>
                    </a:moveTo>
                    <a:cubicBezTo>
                      <a:pt x="15" y="139"/>
                      <a:pt x="15" y="139"/>
                      <a:pt x="15" y="139"/>
                    </a:cubicBezTo>
                    <a:cubicBezTo>
                      <a:pt x="14" y="138"/>
                      <a:pt x="14" y="138"/>
                      <a:pt x="14" y="138"/>
                    </a:cubicBezTo>
                    <a:cubicBezTo>
                      <a:pt x="13" y="135"/>
                      <a:pt x="13" y="135"/>
                      <a:pt x="13" y="135"/>
                    </a:cubicBezTo>
                    <a:cubicBezTo>
                      <a:pt x="9" y="132"/>
                      <a:pt x="9" y="132"/>
                      <a:pt x="9" y="132"/>
                    </a:cubicBezTo>
                    <a:cubicBezTo>
                      <a:pt x="6" y="132"/>
                      <a:pt x="6" y="132"/>
                      <a:pt x="6" y="132"/>
                    </a:cubicBezTo>
                    <a:cubicBezTo>
                      <a:pt x="4" y="129"/>
                      <a:pt x="4" y="129"/>
                      <a:pt x="4" y="129"/>
                    </a:cubicBezTo>
                    <a:cubicBezTo>
                      <a:pt x="4" y="123"/>
                      <a:pt x="4" y="123"/>
                      <a:pt x="4" y="123"/>
                    </a:cubicBezTo>
                    <a:cubicBezTo>
                      <a:pt x="2" y="119"/>
                      <a:pt x="2" y="119"/>
                      <a:pt x="2" y="119"/>
                    </a:cubicBezTo>
                    <a:cubicBezTo>
                      <a:pt x="0" y="117"/>
                      <a:pt x="0" y="117"/>
                      <a:pt x="0" y="117"/>
                    </a:cubicBezTo>
                    <a:cubicBezTo>
                      <a:pt x="0" y="112"/>
                      <a:pt x="0" y="112"/>
                      <a:pt x="0" y="112"/>
                    </a:cubicBezTo>
                    <a:cubicBezTo>
                      <a:pt x="1" y="110"/>
                      <a:pt x="1" y="110"/>
                      <a:pt x="1" y="110"/>
                    </a:cubicBezTo>
                    <a:cubicBezTo>
                      <a:pt x="3" y="111"/>
                      <a:pt x="3" y="111"/>
                      <a:pt x="3" y="111"/>
                    </a:cubicBezTo>
                    <a:cubicBezTo>
                      <a:pt x="7" y="115"/>
                      <a:pt x="7" y="115"/>
                      <a:pt x="7" y="115"/>
                    </a:cubicBezTo>
                    <a:cubicBezTo>
                      <a:pt x="7" y="118"/>
                      <a:pt x="7" y="118"/>
                      <a:pt x="7" y="118"/>
                    </a:cubicBezTo>
                    <a:cubicBezTo>
                      <a:pt x="7" y="122"/>
                      <a:pt x="7" y="122"/>
                      <a:pt x="7" y="122"/>
                    </a:cubicBezTo>
                    <a:cubicBezTo>
                      <a:pt x="10" y="126"/>
                      <a:pt x="10" y="126"/>
                      <a:pt x="10" y="126"/>
                    </a:cubicBezTo>
                    <a:cubicBezTo>
                      <a:pt x="12" y="128"/>
                      <a:pt x="12" y="128"/>
                      <a:pt x="12" y="128"/>
                    </a:cubicBezTo>
                    <a:cubicBezTo>
                      <a:pt x="13" y="128"/>
                      <a:pt x="13" y="128"/>
                      <a:pt x="13" y="128"/>
                    </a:cubicBezTo>
                    <a:cubicBezTo>
                      <a:pt x="14" y="129"/>
                      <a:pt x="14" y="129"/>
                      <a:pt x="14" y="129"/>
                    </a:cubicBezTo>
                    <a:cubicBezTo>
                      <a:pt x="15" y="130"/>
                      <a:pt x="15" y="130"/>
                      <a:pt x="15" y="130"/>
                    </a:cubicBezTo>
                    <a:cubicBezTo>
                      <a:pt x="16" y="133"/>
                      <a:pt x="16" y="133"/>
                      <a:pt x="16" y="133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21" y="141"/>
                      <a:pt x="21" y="141"/>
                      <a:pt x="21" y="141"/>
                    </a:cubicBezTo>
                    <a:cubicBezTo>
                      <a:pt x="20" y="144"/>
                      <a:pt x="20" y="144"/>
                      <a:pt x="20" y="144"/>
                    </a:cubicBezTo>
                    <a:cubicBezTo>
                      <a:pt x="18" y="144"/>
                      <a:pt x="18" y="144"/>
                      <a:pt x="18" y="144"/>
                    </a:cubicBezTo>
                    <a:cubicBezTo>
                      <a:pt x="17" y="143"/>
                      <a:pt x="17" y="143"/>
                      <a:pt x="17" y="143"/>
                    </a:cubicBezTo>
                    <a:close/>
                    <a:moveTo>
                      <a:pt x="132" y="322"/>
                    </a:moveTo>
                    <a:cubicBezTo>
                      <a:pt x="134" y="320"/>
                      <a:pt x="134" y="320"/>
                      <a:pt x="134" y="320"/>
                    </a:cubicBezTo>
                    <a:cubicBezTo>
                      <a:pt x="134" y="315"/>
                      <a:pt x="134" y="315"/>
                      <a:pt x="134" y="315"/>
                    </a:cubicBezTo>
                    <a:cubicBezTo>
                      <a:pt x="132" y="312"/>
                      <a:pt x="132" y="312"/>
                      <a:pt x="132" y="312"/>
                    </a:cubicBezTo>
                    <a:cubicBezTo>
                      <a:pt x="128" y="312"/>
                      <a:pt x="128" y="312"/>
                      <a:pt x="128" y="312"/>
                    </a:cubicBezTo>
                    <a:cubicBezTo>
                      <a:pt x="127" y="314"/>
                      <a:pt x="127" y="314"/>
                      <a:pt x="127" y="314"/>
                    </a:cubicBezTo>
                    <a:cubicBezTo>
                      <a:pt x="128" y="317"/>
                      <a:pt x="128" y="317"/>
                      <a:pt x="128" y="317"/>
                    </a:cubicBezTo>
                    <a:cubicBezTo>
                      <a:pt x="130" y="319"/>
                      <a:pt x="130" y="319"/>
                      <a:pt x="130" y="319"/>
                    </a:cubicBezTo>
                    <a:cubicBezTo>
                      <a:pt x="131" y="321"/>
                      <a:pt x="131" y="321"/>
                      <a:pt x="131" y="321"/>
                    </a:cubicBezTo>
                    <a:lnTo>
                      <a:pt x="132" y="322"/>
                    </a:ln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078" name="Freeform 80"/>
              <p:cNvSpPr>
                <a:spLocks/>
              </p:cNvSpPr>
              <p:nvPr userDrawn="1"/>
            </p:nvSpPr>
            <p:spPr bwMode="auto">
              <a:xfrm>
                <a:off x="4292" y="3155"/>
                <a:ext cx="4" cy="9"/>
              </a:xfrm>
              <a:custGeom>
                <a:avLst/>
                <a:gdLst>
                  <a:gd name="T0" fmla="*/ 2 w 4"/>
                  <a:gd name="T1" fmla="*/ 0 h 9"/>
                  <a:gd name="T2" fmla="*/ 4 w 4"/>
                  <a:gd name="T3" fmla="*/ 3 h 9"/>
                  <a:gd name="T4" fmla="*/ 0 w 4"/>
                  <a:gd name="T5" fmla="*/ 9 h 9"/>
                  <a:gd name="T6" fmla="*/ 2 w 4"/>
                  <a:gd name="T7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" h="9">
                    <a:moveTo>
                      <a:pt x="2" y="0"/>
                    </a:moveTo>
                    <a:lnTo>
                      <a:pt x="4" y="3"/>
                    </a:lnTo>
                    <a:lnTo>
                      <a:pt x="0" y="9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2F1E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079" name="Freeform 81"/>
              <p:cNvSpPr>
                <a:spLocks/>
              </p:cNvSpPr>
              <p:nvPr userDrawn="1"/>
            </p:nvSpPr>
            <p:spPr bwMode="auto">
              <a:xfrm>
                <a:off x="4292" y="3155"/>
                <a:ext cx="4" cy="9"/>
              </a:xfrm>
              <a:custGeom>
                <a:avLst/>
                <a:gdLst>
                  <a:gd name="T0" fmla="*/ 2 w 4"/>
                  <a:gd name="T1" fmla="*/ 0 h 9"/>
                  <a:gd name="T2" fmla="*/ 4 w 4"/>
                  <a:gd name="T3" fmla="*/ 3 h 9"/>
                  <a:gd name="T4" fmla="*/ 0 w 4"/>
                  <a:gd name="T5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9">
                    <a:moveTo>
                      <a:pt x="2" y="0"/>
                    </a:moveTo>
                    <a:lnTo>
                      <a:pt x="4" y="3"/>
                    </a:lnTo>
                    <a:lnTo>
                      <a:pt x="0" y="9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080" name="Freeform 82"/>
              <p:cNvSpPr>
                <a:spLocks/>
              </p:cNvSpPr>
              <p:nvPr userDrawn="1"/>
            </p:nvSpPr>
            <p:spPr bwMode="auto">
              <a:xfrm>
                <a:off x="4261" y="3140"/>
                <a:ext cx="2" cy="2"/>
              </a:xfrm>
              <a:custGeom>
                <a:avLst/>
                <a:gdLst>
                  <a:gd name="T0" fmla="*/ 0 w 2"/>
                  <a:gd name="T1" fmla="*/ 2 h 2"/>
                  <a:gd name="T2" fmla="*/ 0 w 2"/>
                  <a:gd name="T3" fmla="*/ 2 h 2"/>
                  <a:gd name="T4" fmla="*/ 2 w 2"/>
                  <a:gd name="T5" fmla="*/ 0 h 2"/>
                  <a:gd name="T6" fmla="*/ 0 w 2"/>
                  <a:gd name="T7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lnTo>
                      <a:pt x="0" y="2"/>
                    </a:lnTo>
                    <a:lnTo>
                      <a:pt x="2" y="0"/>
                    </a:lnTo>
                    <a:lnTo>
                      <a:pt x="0" y="2"/>
                    </a:ln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081" name="Freeform 83"/>
              <p:cNvSpPr>
                <a:spLocks/>
              </p:cNvSpPr>
              <p:nvPr userDrawn="1"/>
            </p:nvSpPr>
            <p:spPr bwMode="auto">
              <a:xfrm>
                <a:off x="4261" y="3140"/>
                <a:ext cx="2" cy="2"/>
              </a:xfrm>
              <a:custGeom>
                <a:avLst/>
                <a:gdLst>
                  <a:gd name="T0" fmla="*/ 0 w 2"/>
                  <a:gd name="T1" fmla="*/ 2 h 2"/>
                  <a:gd name="T2" fmla="*/ 0 w 2"/>
                  <a:gd name="T3" fmla="*/ 2 h 2"/>
                  <a:gd name="T4" fmla="*/ 2 w 2"/>
                  <a:gd name="T5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lnTo>
                      <a:pt x="0" y="2"/>
                    </a:lnTo>
                    <a:lnTo>
                      <a:pt x="2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082" name="Freeform 84"/>
              <p:cNvSpPr>
                <a:spLocks/>
              </p:cNvSpPr>
              <p:nvPr userDrawn="1"/>
            </p:nvSpPr>
            <p:spPr bwMode="auto">
              <a:xfrm>
                <a:off x="4282" y="3146"/>
                <a:ext cx="2" cy="4"/>
              </a:xfrm>
              <a:custGeom>
                <a:avLst/>
                <a:gdLst>
                  <a:gd name="T0" fmla="*/ 0 w 2"/>
                  <a:gd name="T1" fmla="*/ 4 h 4"/>
                  <a:gd name="T2" fmla="*/ 2 w 2"/>
                  <a:gd name="T3" fmla="*/ 4 h 4"/>
                  <a:gd name="T4" fmla="*/ 0 w 2"/>
                  <a:gd name="T5" fmla="*/ 0 h 4"/>
                  <a:gd name="T6" fmla="*/ 0 w 2"/>
                  <a:gd name="T7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2" y="4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083" name="Freeform 85"/>
              <p:cNvSpPr>
                <a:spLocks/>
              </p:cNvSpPr>
              <p:nvPr userDrawn="1"/>
            </p:nvSpPr>
            <p:spPr bwMode="auto">
              <a:xfrm>
                <a:off x="4282" y="3146"/>
                <a:ext cx="2" cy="4"/>
              </a:xfrm>
              <a:custGeom>
                <a:avLst/>
                <a:gdLst>
                  <a:gd name="T0" fmla="*/ 0 w 2"/>
                  <a:gd name="T1" fmla="*/ 4 h 4"/>
                  <a:gd name="T2" fmla="*/ 2 w 2"/>
                  <a:gd name="T3" fmla="*/ 4 h 4"/>
                  <a:gd name="T4" fmla="*/ 0 w 2"/>
                  <a:gd name="T5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2" y="4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084" name="Freeform 86"/>
              <p:cNvSpPr>
                <a:spLocks/>
              </p:cNvSpPr>
              <p:nvPr userDrawn="1"/>
            </p:nvSpPr>
            <p:spPr bwMode="auto">
              <a:xfrm>
                <a:off x="4318" y="3096"/>
                <a:ext cx="4" cy="2"/>
              </a:xfrm>
              <a:custGeom>
                <a:avLst/>
                <a:gdLst>
                  <a:gd name="T0" fmla="*/ 4 w 4"/>
                  <a:gd name="T1" fmla="*/ 0 h 2"/>
                  <a:gd name="T2" fmla="*/ 3 w 4"/>
                  <a:gd name="T3" fmla="*/ 1 h 2"/>
                  <a:gd name="T4" fmla="*/ 0 w 4"/>
                  <a:gd name="T5" fmla="*/ 2 h 2"/>
                  <a:gd name="T6" fmla="*/ 4 w 4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3" y="1"/>
                    </a:lnTo>
                    <a:lnTo>
                      <a:pt x="0" y="2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085" name="Freeform 87"/>
              <p:cNvSpPr>
                <a:spLocks/>
              </p:cNvSpPr>
              <p:nvPr userDrawn="1"/>
            </p:nvSpPr>
            <p:spPr bwMode="auto">
              <a:xfrm>
                <a:off x="4318" y="3096"/>
                <a:ext cx="4" cy="2"/>
              </a:xfrm>
              <a:custGeom>
                <a:avLst/>
                <a:gdLst>
                  <a:gd name="T0" fmla="*/ 4 w 4"/>
                  <a:gd name="T1" fmla="*/ 0 h 2"/>
                  <a:gd name="T2" fmla="*/ 3 w 4"/>
                  <a:gd name="T3" fmla="*/ 1 h 2"/>
                  <a:gd name="T4" fmla="*/ 0 w 4"/>
                  <a:gd name="T5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3" y="1"/>
                    </a:lnTo>
                    <a:lnTo>
                      <a:pt x="0" y="2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086" name="Freeform 88"/>
              <p:cNvSpPr>
                <a:spLocks/>
              </p:cNvSpPr>
              <p:nvPr userDrawn="1"/>
            </p:nvSpPr>
            <p:spPr bwMode="auto">
              <a:xfrm>
                <a:off x="5172" y="2679"/>
                <a:ext cx="6" cy="24"/>
              </a:xfrm>
              <a:custGeom>
                <a:avLst/>
                <a:gdLst>
                  <a:gd name="T0" fmla="*/ 2 w 6"/>
                  <a:gd name="T1" fmla="*/ 25 h 25"/>
                  <a:gd name="T2" fmla="*/ 6 w 6"/>
                  <a:gd name="T3" fmla="*/ 22 h 25"/>
                  <a:gd name="T4" fmla="*/ 6 w 6"/>
                  <a:gd name="T5" fmla="*/ 16 h 25"/>
                  <a:gd name="T6" fmla="*/ 3 w 6"/>
                  <a:gd name="T7" fmla="*/ 15 h 25"/>
                  <a:gd name="T8" fmla="*/ 6 w 6"/>
                  <a:gd name="T9" fmla="*/ 11 h 25"/>
                  <a:gd name="T10" fmla="*/ 6 w 6"/>
                  <a:gd name="T11" fmla="*/ 7 h 25"/>
                  <a:gd name="T12" fmla="*/ 5 w 6"/>
                  <a:gd name="T13" fmla="*/ 5 h 25"/>
                  <a:gd name="T14" fmla="*/ 6 w 6"/>
                  <a:gd name="T15" fmla="*/ 2 h 25"/>
                  <a:gd name="T16" fmla="*/ 6 w 6"/>
                  <a:gd name="T17" fmla="*/ 0 h 25"/>
                  <a:gd name="T18" fmla="*/ 2 w 6"/>
                  <a:gd name="T19" fmla="*/ 4 h 25"/>
                  <a:gd name="T20" fmla="*/ 3 w 6"/>
                  <a:gd name="T21" fmla="*/ 11 h 25"/>
                  <a:gd name="T22" fmla="*/ 1 w 6"/>
                  <a:gd name="T23" fmla="*/ 13 h 25"/>
                  <a:gd name="T24" fmla="*/ 2 w 6"/>
                  <a:gd name="T25" fmla="*/ 15 h 25"/>
                  <a:gd name="T26" fmla="*/ 0 w 6"/>
                  <a:gd name="T27" fmla="*/ 23 h 25"/>
                  <a:gd name="T28" fmla="*/ 2 w 6"/>
                  <a:gd name="T29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6" h="25">
                    <a:moveTo>
                      <a:pt x="2" y="25"/>
                    </a:moveTo>
                    <a:cubicBezTo>
                      <a:pt x="6" y="22"/>
                      <a:pt x="6" y="22"/>
                      <a:pt x="6" y="22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3" y="15"/>
                      <a:pt x="3" y="15"/>
                      <a:pt x="3" y="15"/>
                    </a:cubicBezTo>
                    <a:cubicBezTo>
                      <a:pt x="6" y="11"/>
                      <a:pt x="6" y="11"/>
                      <a:pt x="6" y="11"/>
                    </a:cubicBezTo>
                    <a:cubicBezTo>
                      <a:pt x="6" y="7"/>
                      <a:pt x="6" y="7"/>
                      <a:pt x="6" y="7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6" y="2"/>
                      <a:pt x="6" y="2"/>
                      <a:pt x="6" y="2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2" y="4"/>
                      <a:pt x="2" y="4"/>
                      <a:pt x="2" y="4"/>
                    </a:cubicBezTo>
                    <a:cubicBezTo>
                      <a:pt x="3" y="11"/>
                      <a:pt x="3" y="11"/>
                      <a:pt x="3" y="11"/>
                    </a:cubicBezTo>
                    <a:cubicBezTo>
                      <a:pt x="1" y="13"/>
                      <a:pt x="1" y="13"/>
                      <a:pt x="1" y="13"/>
                    </a:cubicBezTo>
                    <a:cubicBezTo>
                      <a:pt x="2" y="15"/>
                      <a:pt x="2" y="15"/>
                      <a:pt x="2" y="15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2" y="25"/>
                      <a:pt x="2" y="25"/>
                      <a:pt x="2" y="25"/>
                    </a:cubicBez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087" name="Freeform 89"/>
              <p:cNvSpPr>
                <a:spLocks/>
              </p:cNvSpPr>
              <p:nvPr userDrawn="1"/>
            </p:nvSpPr>
            <p:spPr bwMode="auto">
              <a:xfrm>
                <a:off x="5170" y="2705"/>
                <a:ext cx="6" cy="19"/>
              </a:xfrm>
              <a:custGeom>
                <a:avLst/>
                <a:gdLst>
                  <a:gd name="T0" fmla="*/ 4 w 6"/>
                  <a:gd name="T1" fmla="*/ 14 h 20"/>
                  <a:gd name="T2" fmla="*/ 4 w 6"/>
                  <a:gd name="T3" fmla="*/ 10 h 20"/>
                  <a:gd name="T4" fmla="*/ 3 w 6"/>
                  <a:gd name="T5" fmla="*/ 8 h 20"/>
                  <a:gd name="T6" fmla="*/ 4 w 6"/>
                  <a:gd name="T7" fmla="*/ 4 h 20"/>
                  <a:gd name="T8" fmla="*/ 6 w 6"/>
                  <a:gd name="T9" fmla="*/ 2 h 20"/>
                  <a:gd name="T10" fmla="*/ 6 w 6"/>
                  <a:gd name="T11" fmla="*/ 0 h 20"/>
                  <a:gd name="T12" fmla="*/ 1 w 6"/>
                  <a:gd name="T13" fmla="*/ 2 h 20"/>
                  <a:gd name="T14" fmla="*/ 1 w 6"/>
                  <a:gd name="T15" fmla="*/ 7 h 20"/>
                  <a:gd name="T16" fmla="*/ 0 w 6"/>
                  <a:gd name="T17" fmla="*/ 10 h 20"/>
                  <a:gd name="T18" fmla="*/ 2 w 6"/>
                  <a:gd name="T19" fmla="*/ 14 h 20"/>
                  <a:gd name="T20" fmla="*/ 1 w 6"/>
                  <a:gd name="T21" fmla="*/ 17 h 20"/>
                  <a:gd name="T22" fmla="*/ 2 w 6"/>
                  <a:gd name="T23" fmla="*/ 20 h 20"/>
                  <a:gd name="T24" fmla="*/ 2 w 6"/>
                  <a:gd name="T25" fmla="*/ 20 h 20"/>
                  <a:gd name="T26" fmla="*/ 4 w 6"/>
                  <a:gd name="T27" fmla="*/ 14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" h="20">
                    <a:moveTo>
                      <a:pt x="4" y="14"/>
                    </a:moveTo>
                    <a:cubicBezTo>
                      <a:pt x="4" y="10"/>
                      <a:pt x="4" y="10"/>
                      <a:pt x="4" y="10"/>
                    </a:cubicBezTo>
                    <a:cubicBezTo>
                      <a:pt x="3" y="8"/>
                      <a:pt x="3" y="8"/>
                      <a:pt x="3" y="8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6" y="2"/>
                      <a:pt x="6" y="2"/>
                      <a:pt x="6" y="2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1" y="7"/>
                      <a:pt x="1" y="7"/>
                      <a:pt x="1" y="7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1" y="17"/>
                      <a:pt x="1" y="17"/>
                      <a:pt x="1" y="17"/>
                    </a:cubicBezTo>
                    <a:cubicBezTo>
                      <a:pt x="2" y="20"/>
                      <a:pt x="2" y="20"/>
                      <a:pt x="2" y="20"/>
                    </a:cubicBezTo>
                    <a:cubicBezTo>
                      <a:pt x="2" y="20"/>
                      <a:pt x="2" y="20"/>
                      <a:pt x="2" y="20"/>
                    </a:cubicBezTo>
                    <a:cubicBezTo>
                      <a:pt x="4" y="14"/>
                      <a:pt x="4" y="14"/>
                      <a:pt x="4" y="14"/>
                    </a:cubicBezTo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088" name="Freeform 90"/>
              <p:cNvSpPr>
                <a:spLocks/>
              </p:cNvSpPr>
              <p:nvPr userDrawn="1"/>
            </p:nvSpPr>
            <p:spPr bwMode="auto">
              <a:xfrm>
                <a:off x="5162" y="2718"/>
                <a:ext cx="5" cy="3"/>
              </a:xfrm>
              <a:custGeom>
                <a:avLst/>
                <a:gdLst>
                  <a:gd name="T0" fmla="*/ 0 w 5"/>
                  <a:gd name="T1" fmla="*/ 2 h 3"/>
                  <a:gd name="T2" fmla="*/ 5 w 5"/>
                  <a:gd name="T3" fmla="*/ 3 h 3"/>
                  <a:gd name="T4" fmla="*/ 3 w 5"/>
                  <a:gd name="T5" fmla="*/ 0 h 3"/>
                  <a:gd name="T6" fmla="*/ 0 w 5"/>
                  <a:gd name="T7" fmla="*/ 2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" h="3">
                    <a:moveTo>
                      <a:pt x="0" y="2"/>
                    </a:moveTo>
                    <a:cubicBezTo>
                      <a:pt x="5" y="3"/>
                      <a:pt x="5" y="3"/>
                      <a:pt x="5" y="3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0" y="2"/>
                      <a:pt x="0" y="2"/>
                      <a:pt x="0" y="2"/>
                    </a:cubicBez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089" name="Freeform 91"/>
              <p:cNvSpPr>
                <a:spLocks/>
              </p:cNvSpPr>
              <p:nvPr userDrawn="1"/>
            </p:nvSpPr>
            <p:spPr bwMode="auto">
              <a:xfrm>
                <a:off x="5169" y="2731"/>
                <a:ext cx="5" cy="9"/>
              </a:xfrm>
              <a:custGeom>
                <a:avLst/>
                <a:gdLst>
                  <a:gd name="T0" fmla="*/ 0 w 6"/>
                  <a:gd name="T1" fmla="*/ 10 h 10"/>
                  <a:gd name="T2" fmla="*/ 4 w 6"/>
                  <a:gd name="T3" fmla="*/ 9 h 10"/>
                  <a:gd name="T4" fmla="*/ 6 w 6"/>
                  <a:gd name="T5" fmla="*/ 5 h 10"/>
                  <a:gd name="T6" fmla="*/ 5 w 6"/>
                  <a:gd name="T7" fmla="*/ 0 h 10"/>
                  <a:gd name="T8" fmla="*/ 1 w 6"/>
                  <a:gd name="T9" fmla="*/ 2 h 10"/>
                  <a:gd name="T10" fmla="*/ 0 w 6"/>
                  <a:gd name="T11" fmla="*/ 6 h 10"/>
                  <a:gd name="T12" fmla="*/ 0 w 6"/>
                  <a:gd name="T13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10">
                    <a:moveTo>
                      <a:pt x="0" y="10"/>
                    </a:moveTo>
                    <a:cubicBezTo>
                      <a:pt x="4" y="9"/>
                      <a:pt x="4" y="9"/>
                      <a:pt x="4" y="9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6"/>
                      <a:pt x="0" y="9"/>
                      <a:pt x="0" y="10"/>
                    </a:cubicBez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090" name="Freeform 92"/>
              <p:cNvSpPr>
                <a:spLocks/>
              </p:cNvSpPr>
              <p:nvPr userDrawn="1"/>
            </p:nvSpPr>
            <p:spPr bwMode="auto">
              <a:xfrm>
                <a:off x="5176" y="2761"/>
                <a:ext cx="3" cy="2"/>
              </a:xfrm>
              <a:custGeom>
                <a:avLst/>
                <a:gdLst>
                  <a:gd name="T0" fmla="*/ 3 w 3"/>
                  <a:gd name="T1" fmla="*/ 0 h 2"/>
                  <a:gd name="T2" fmla="*/ 0 w 3"/>
                  <a:gd name="T3" fmla="*/ 1 h 2"/>
                  <a:gd name="T4" fmla="*/ 2 w 3"/>
                  <a:gd name="T5" fmla="*/ 2 h 2"/>
                  <a:gd name="T6" fmla="*/ 3 w 3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2">
                    <a:moveTo>
                      <a:pt x="3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3" y="0"/>
                      <a:pt x="3" y="0"/>
                      <a:pt x="3" y="0"/>
                    </a:cubicBez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091" name="Freeform 93"/>
              <p:cNvSpPr>
                <a:spLocks/>
              </p:cNvSpPr>
              <p:nvPr userDrawn="1"/>
            </p:nvSpPr>
            <p:spPr bwMode="auto">
              <a:xfrm>
                <a:off x="5184" y="2776"/>
                <a:ext cx="4" cy="6"/>
              </a:xfrm>
              <a:custGeom>
                <a:avLst/>
                <a:gdLst>
                  <a:gd name="T0" fmla="*/ 0 w 4"/>
                  <a:gd name="T1" fmla="*/ 0 h 6"/>
                  <a:gd name="T2" fmla="*/ 3 w 4"/>
                  <a:gd name="T3" fmla="*/ 1 h 6"/>
                  <a:gd name="T4" fmla="*/ 4 w 4"/>
                  <a:gd name="T5" fmla="*/ 6 h 6"/>
                  <a:gd name="T6" fmla="*/ 1 w 4"/>
                  <a:gd name="T7" fmla="*/ 3 h 6"/>
                  <a:gd name="T8" fmla="*/ 0 w 4"/>
                  <a:gd name="T9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6">
                    <a:moveTo>
                      <a:pt x="0" y="0"/>
                    </a:moveTo>
                    <a:cubicBezTo>
                      <a:pt x="3" y="1"/>
                      <a:pt x="3" y="1"/>
                      <a:pt x="3" y="1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092" name="Freeform 94"/>
              <p:cNvSpPr>
                <a:spLocks/>
              </p:cNvSpPr>
              <p:nvPr userDrawn="1"/>
            </p:nvSpPr>
            <p:spPr bwMode="auto">
              <a:xfrm>
                <a:off x="5192" y="2778"/>
                <a:ext cx="3" cy="5"/>
              </a:xfrm>
              <a:custGeom>
                <a:avLst/>
                <a:gdLst>
                  <a:gd name="T0" fmla="*/ 1 w 3"/>
                  <a:gd name="T1" fmla="*/ 0 h 6"/>
                  <a:gd name="T2" fmla="*/ 0 w 3"/>
                  <a:gd name="T3" fmla="*/ 3 h 6"/>
                  <a:gd name="T4" fmla="*/ 1 w 3"/>
                  <a:gd name="T5" fmla="*/ 6 h 6"/>
                  <a:gd name="T6" fmla="*/ 3 w 3"/>
                  <a:gd name="T7" fmla="*/ 4 h 6"/>
                  <a:gd name="T8" fmla="*/ 3 w 3"/>
                  <a:gd name="T9" fmla="*/ 2 h 6"/>
                  <a:gd name="T10" fmla="*/ 1 w 3"/>
                  <a:gd name="T11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" h="6">
                    <a:moveTo>
                      <a:pt x="1" y="0"/>
                    </a:moveTo>
                    <a:cubicBezTo>
                      <a:pt x="0" y="3"/>
                      <a:pt x="0" y="3"/>
                      <a:pt x="0" y="3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1" y="0"/>
                      <a:pt x="1" y="0"/>
                      <a:pt x="1" y="0"/>
                    </a:cubicBez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093" name="Freeform 95"/>
              <p:cNvSpPr>
                <a:spLocks/>
              </p:cNvSpPr>
              <p:nvPr userDrawn="1"/>
            </p:nvSpPr>
            <p:spPr bwMode="auto">
              <a:xfrm>
                <a:off x="5188" y="2784"/>
                <a:ext cx="5" cy="5"/>
              </a:xfrm>
              <a:custGeom>
                <a:avLst/>
                <a:gdLst>
                  <a:gd name="T0" fmla="*/ 1 w 6"/>
                  <a:gd name="T1" fmla="*/ 3 h 5"/>
                  <a:gd name="T2" fmla="*/ 4 w 6"/>
                  <a:gd name="T3" fmla="*/ 5 h 5"/>
                  <a:gd name="T4" fmla="*/ 6 w 6"/>
                  <a:gd name="T5" fmla="*/ 3 h 5"/>
                  <a:gd name="T6" fmla="*/ 4 w 6"/>
                  <a:gd name="T7" fmla="*/ 0 h 5"/>
                  <a:gd name="T8" fmla="*/ 0 w 6"/>
                  <a:gd name="T9" fmla="*/ 0 h 5"/>
                  <a:gd name="T10" fmla="*/ 1 w 6"/>
                  <a:gd name="T11" fmla="*/ 3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" h="5">
                    <a:moveTo>
                      <a:pt x="1" y="3"/>
                    </a:moveTo>
                    <a:cubicBezTo>
                      <a:pt x="4" y="5"/>
                      <a:pt x="4" y="5"/>
                      <a:pt x="4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3"/>
                      <a:pt x="1" y="3"/>
                      <a:pt x="1" y="3"/>
                    </a:cubicBez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094" name="Freeform 96"/>
              <p:cNvSpPr>
                <a:spLocks/>
              </p:cNvSpPr>
              <p:nvPr userDrawn="1"/>
            </p:nvSpPr>
            <p:spPr bwMode="auto">
              <a:xfrm>
                <a:off x="5194" y="2793"/>
                <a:ext cx="4" cy="4"/>
              </a:xfrm>
              <a:custGeom>
                <a:avLst/>
                <a:gdLst>
                  <a:gd name="T0" fmla="*/ 1 w 4"/>
                  <a:gd name="T1" fmla="*/ 4 h 4"/>
                  <a:gd name="T2" fmla="*/ 4 w 4"/>
                  <a:gd name="T3" fmla="*/ 0 h 4"/>
                  <a:gd name="T4" fmla="*/ 2 w 4"/>
                  <a:gd name="T5" fmla="*/ 0 h 4"/>
                  <a:gd name="T6" fmla="*/ 0 w 4"/>
                  <a:gd name="T7" fmla="*/ 3 h 4"/>
                  <a:gd name="T8" fmla="*/ 1 w 4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4">
                    <a:moveTo>
                      <a:pt x="1" y="4"/>
                    </a:moveTo>
                    <a:cubicBezTo>
                      <a:pt x="4" y="0"/>
                      <a:pt x="4" y="0"/>
                      <a:pt x="4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1" y="4"/>
                      <a:pt x="1" y="4"/>
                      <a:pt x="1" y="4"/>
                    </a:cubicBez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095" name="Freeform 97"/>
              <p:cNvSpPr>
                <a:spLocks/>
              </p:cNvSpPr>
              <p:nvPr userDrawn="1"/>
            </p:nvSpPr>
            <p:spPr bwMode="auto">
              <a:xfrm>
                <a:off x="5196" y="2798"/>
                <a:ext cx="5" cy="10"/>
              </a:xfrm>
              <a:custGeom>
                <a:avLst/>
                <a:gdLst>
                  <a:gd name="T0" fmla="*/ 0 w 5"/>
                  <a:gd name="T1" fmla="*/ 6 h 11"/>
                  <a:gd name="T2" fmla="*/ 2 w 5"/>
                  <a:gd name="T3" fmla="*/ 7 h 11"/>
                  <a:gd name="T4" fmla="*/ 3 w 5"/>
                  <a:gd name="T5" fmla="*/ 11 h 11"/>
                  <a:gd name="T6" fmla="*/ 5 w 5"/>
                  <a:gd name="T7" fmla="*/ 8 h 11"/>
                  <a:gd name="T8" fmla="*/ 4 w 5"/>
                  <a:gd name="T9" fmla="*/ 5 h 11"/>
                  <a:gd name="T10" fmla="*/ 4 w 5"/>
                  <a:gd name="T11" fmla="*/ 1 h 11"/>
                  <a:gd name="T12" fmla="*/ 2 w 5"/>
                  <a:gd name="T13" fmla="*/ 0 h 11"/>
                  <a:gd name="T14" fmla="*/ 0 w 5"/>
                  <a:gd name="T15" fmla="*/ 2 h 11"/>
                  <a:gd name="T16" fmla="*/ 0 w 5"/>
                  <a:gd name="T1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" h="11">
                    <a:moveTo>
                      <a:pt x="0" y="6"/>
                    </a:moveTo>
                    <a:cubicBezTo>
                      <a:pt x="2" y="7"/>
                      <a:pt x="2" y="7"/>
                      <a:pt x="2" y="7"/>
                    </a:cubicBezTo>
                    <a:cubicBezTo>
                      <a:pt x="3" y="11"/>
                      <a:pt x="3" y="11"/>
                      <a:pt x="3" y="11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6"/>
                      <a:pt x="0" y="6"/>
                      <a:pt x="0" y="6"/>
                    </a:cubicBezTo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096" name="Freeform 98"/>
              <p:cNvSpPr>
                <a:spLocks noEditPoints="1"/>
              </p:cNvSpPr>
              <p:nvPr userDrawn="1"/>
            </p:nvSpPr>
            <p:spPr bwMode="auto">
              <a:xfrm>
                <a:off x="6125" y="2641"/>
                <a:ext cx="22" cy="43"/>
              </a:xfrm>
              <a:custGeom>
                <a:avLst/>
                <a:gdLst>
                  <a:gd name="T0" fmla="*/ 21 w 22"/>
                  <a:gd name="T1" fmla="*/ 0 h 43"/>
                  <a:gd name="T2" fmla="*/ 18 w 22"/>
                  <a:gd name="T3" fmla="*/ 3 h 43"/>
                  <a:gd name="T4" fmla="*/ 21 w 22"/>
                  <a:gd name="T5" fmla="*/ 8 h 43"/>
                  <a:gd name="T6" fmla="*/ 20 w 22"/>
                  <a:gd name="T7" fmla="*/ 5 h 43"/>
                  <a:gd name="T8" fmla="*/ 22 w 22"/>
                  <a:gd name="T9" fmla="*/ 2 h 43"/>
                  <a:gd name="T10" fmla="*/ 21 w 22"/>
                  <a:gd name="T11" fmla="*/ 0 h 43"/>
                  <a:gd name="T12" fmla="*/ 21 w 22"/>
                  <a:gd name="T13" fmla="*/ 0 h 43"/>
                  <a:gd name="T14" fmla="*/ 21 w 22"/>
                  <a:gd name="T15" fmla="*/ 0 h 43"/>
                  <a:gd name="T16" fmla="*/ 12 w 22"/>
                  <a:gd name="T17" fmla="*/ 25 h 43"/>
                  <a:gd name="T18" fmla="*/ 14 w 22"/>
                  <a:gd name="T19" fmla="*/ 23 h 43"/>
                  <a:gd name="T20" fmla="*/ 15 w 22"/>
                  <a:gd name="T21" fmla="*/ 26 h 43"/>
                  <a:gd name="T22" fmla="*/ 14 w 22"/>
                  <a:gd name="T23" fmla="*/ 26 h 43"/>
                  <a:gd name="T24" fmla="*/ 12 w 22"/>
                  <a:gd name="T25" fmla="*/ 25 h 43"/>
                  <a:gd name="T26" fmla="*/ 12 w 22"/>
                  <a:gd name="T27" fmla="*/ 25 h 43"/>
                  <a:gd name="T28" fmla="*/ 12 w 22"/>
                  <a:gd name="T29" fmla="*/ 25 h 43"/>
                  <a:gd name="T30" fmla="*/ 1 w 22"/>
                  <a:gd name="T31" fmla="*/ 39 h 43"/>
                  <a:gd name="T32" fmla="*/ 3 w 22"/>
                  <a:gd name="T33" fmla="*/ 36 h 43"/>
                  <a:gd name="T34" fmla="*/ 7 w 22"/>
                  <a:gd name="T35" fmla="*/ 35 h 43"/>
                  <a:gd name="T36" fmla="*/ 8 w 22"/>
                  <a:gd name="T37" fmla="*/ 36 h 43"/>
                  <a:gd name="T38" fmla="*/ 5 w 22"/>
                  <a:gd name="T39" fmla="*/ 42 h 43"/>
                  <a:gd name="T40" fmla="*/ 2 w 22"/>
                  <a:gd name="T41" fmla="*/ 43 h 43"/>
                  <a:gd name="T42" fmla="*/ 0 w 22"/>
                  <a:gd name="T43" fmla="*/ 41 h 43"/>
                  <a:gd name="T44" fmla="*/ 1 w 22"/>
                  <a:gd name="T45" fmla="*/ 39 h 43"/>
                  <a:gd name="T46" fmla="*/ 1 w 22"/>
                  <a:gd name="T47" fmla="*/ 39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22" h="43">
                    <a:moveTo>
                      <a:pt x="21" y="0"/>
                    </a:moveTo>
                    <a:lnTo>
                      <a:pt x="18" y="3"/>
                    </a:lnTo>
                    <a:lnTo>
                      <a:pt x="21" y="8"/>
                    </a:lnTo>
                    <a:lnTo>
                      <a:pt x="20" y="5"/>
                    </a:lnTo>
                    <a:lnTo>
                      <a:pt x="22" y="2"/>
                    </a:lnTo>
                    <a:lnTo>
                      <a:pt x="21" y="0"/>
                    </a:lnTo>
                    <a:lnTo>
                      <a:pt x="21" y="0"/>
                    </a:lnTo>
                    <a:lnTo>
                      <a:pt x="21" y="0"/>
                    </a:lnTo>
                    <a:close/>
                    <a:moveTo>
                      <a:pt x="12" y="25"/>
                    </a:moveTo>
                    <a:lnTo>
                      <a:pt x="14" y="23"/>
                    </a:lnTo>
                    <a:lnTo>
                      <a:pt x="15" y="26"/>
                    </a:lnTo>
                    <a:lnTo>
                      <a:pt x="14" y="26"/>
                    </a:lnTo>
                    <a:lnTo>
                      <a:pt x="12" y="25"/>
                    </a:lnTo>
                    <a:lnTo>
                      <a:pt x="12" y="25"/>
                    </a:lnTo>
                    <a:lnTo>
                      <a:pt x="12" y="25"/>
                    </a:lnTo>
                    <a:close/>
                    <a:moveTo>
                      <a:pt x="1" y="39"/>
                    </a:moveTo>
                    <a:lnTo>
                      <a:pt x="3" y="36"/>
                    </a:lnTo>
                    <a:lnTo>
                      <a:pt x="7" y="35"/>
                    </a:lnTo>
                    <a:lnTo>
                      <a:pt x="8" y="36"/>
                    </a:lnTo>
                    <a:lnTo>
                      <a:pt x="5" y="42"/>
                    </a:lnTo>
                    <a:lnTo>
                      <a:pt x="2" y="43"/>
                    </a:lnTo>
                    <a:lnTo>
                      <a:pt x="0" y="41"/>
                    </a:lnTo>
                    <a:lnTo>
                      <a:pt x="1" y="39"/>
                    </a:lnTo>
                    <a:lnTo>
                      <a:pt x="1" y="39"/>
                    </a:ln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097" name="Freeform 99"/>
              <p:cNvSpPr>
                <a:spLocks noEditPoints="1"/>
              </p:cNvSpPr>
              <p:nvPr userDrawn="1"/>
            </p:nvSpPr>
            <p:spPr bwMode="auto">
              <a:xfrm>
                <a:off x="5721" y="1928"/>
                <a:ext cx="290" cy="539"/>
              </a:xfrm>
              <a:custGeom>
                <a:avLst/>
                <a:gdLst>
                  <a:gd name="T0" fmla="*/ 122 w 290"/>
                  <a:gd name="T1" fmla="*/ 258 h 539"/>
                  <a:gd name="T2" fmla="*/ 4 w 290"/>
                  <a:gd name="T3" fmla="*/ 537 h 539"/>
                  <a:gd name="T4" fmla="*/ 28 w 290"/>
                  <a:gd name="T5" fmla="*/ 528 h 539"/>
                  <a:gd name="T6" fmla="*/ 72 w 290"/>
                  <a:gd name="T7" fmla="*/ 480 h 539"/>
                  <a:gd name="T8" fmla="*/ 79 w 290"/>
                  <a:gd name="T9" fmla="*/ 459 h 539"/>
                  <a:gd name="T10" fmla="*/ 89 w 290"/>
                  <a:gd name="T11" fmla="*/ 442 h 539"/>
                  <a:gd name="T12" fmla="*/ 181 w 290"/>
                  <a:gd name="T13" fmla="*/ 93 h 539"/>
                  <a:gd name="T14" fmla="*/ 201 w 290"/>
                  <a:gd name="T15" fmla="*/ 102 h 539"/>
                  <a:gd name="T16" fmla="*/ 198 w 290"/>
                  <a:gd name="T17" fmla="*/ 72 h 539"/>
                  <a:gd name="T18" fmla="*/ 212 w 290"/>
                  <a:gd name="T19" fmla="*/ 59 h 539"/>
                  <a:gd name="T20" fmla="*/ 207 w 290"/>
                  <a:gd name="T21" fmla="*/ 25 h 539"/>
                  <a:gd name="T22" fmla="*/ 217 w 290"/>
                  <a:gd name="T23" fmla="*/ 9 h 539"/>
                  <a:gd name="T24" fmla="*/ 263 w 290"/>
                  <a:gd name="T25" fmla="*/ 37 h 539"/>
                  <a:gd name="T26" fmla="*/ 281 w 290"/>
                  <a:gd name="T27" fmla="*/ 51 h 539"/>
                  <a:gd name="T28" fmla="*/ 280 w 290"/>
                  <a:gd name="T29" fmla="*/ 61 h 539"/>
                  <a:gd name="T30" fmla="*/ 255 w 290"/>
                  <a:gd name="T31" fmla="*/ 91 h 539"/>
                  <a:gd name="T32" fmla="*/ 216 w 290"/>
                  <a:gd name="T33" fmla="*/ 79 h 539"/>
                  <a:gd name="T34" fmla="*/ 222 w 290"/>
                  <a:gd name="T35" fmla="*/ 97 h 539"/>
                  <a:gd name="T36" fmla="*/ 200 w 290"/>
                  <a:gd name="T37" fmla="*/ 212 h 539"/>
                  <a:gd name="T38" fmla="*/ 203 w 290"/>
                  <a:gd name="T39" fmla="*/ 210 h 539"/>
                  <a:gd name="T40" fmla="*/ 64 w 290"/>
                  <a:gd name="T41" fmla="*/ 333 h 539"/>
                  <a:gd name="T42" fmla="*/ 61 w 290"/>
                  <a:gd name="T43" fmla="*/ 336 h 539"/>
                  <a:gd name="T44" fmla="*/ 59 w 290"/>
                  <a:gd name="T45" fmla="*/ 343 h 539"/>
                  <a:gd name="T46" fmla="*/ 84 w 290"/>
                  <a:gd name="T47" fmla="*/ 350 h 539"/>
                  <a:gd name="T48" fmla="*/ 80 w 290"/>
                  <a:gd name="T49" fmla="*/ 354 h 539"/>
                  <a:gd name="T50" fmla="*/ 160 w 290"/>
                  <a:gd name="T51" fmla="*/ 294 h 539"/>
                  <a:gd name="T52" fmla="*/ 148 w 290"/>
                  <a:gd name="T53" fmla="*/ 301 h 539"/>
                  <a:gd name="T54" fmla="*/ 135 w 290"/>
                  <a:gd name="T55" fmla="*/ 323 h 539"/>
                  <a:gd name="T56" fmla="*/ 154 w 290"/>
                  <a:gd name="T57" fmla="*/ 305 h 539"/>
                  <a:gd name="T58" fmla="*/ 120 w 290"/>
                  <a:gd name="T59" fmla="*/ 314 h 539"/>
                  <a:gd name="T60" fmla="*/ 129 w 290"/>
                  <a:gd name="T61" fmla="*/ 337 h 539"/>
                  <a:gd name="T62" fmla="*/ 107 w 290"/>
                  <a:gd name="T63" fmla="*/ 388 h 539"/>
                  <a:gd name="T64" fmla="*/ 105 w 290"/>
                  <a:gd name="T65" fmla="*/ 372 h 539"/>
                  <a:gd name="T66" fmla="*/ 113 w 290"/>
                  <a:gd name="T67" fmla="*/ 335 h 539"/>
                  <a:gd name="T68" fmla="*/ 100 w 290"/>
                  <a:gd name="T69" fmla="*/ 322 h 539"/>
                  <a:gd name="T70" fmla="*/ 114 w 290"/>
                  <a:gd name="T71" fmla="*/ 302 h 539"/>
                  <a:gd name="T72" fmla="*/ 147 w 290"/>
                  <a:gd name="T73" fmla="*/ 294 h 539"/>
                  <a:gd name="T74" fmla="*/ 164 w 290"/>
                  <a:gd name="T75" fmla="*/ 310 h 539"/>
                  <a:gd name="T76" fmla="*/ 191 w 290"/>
                  <a:gd name="T77" fmla="*/ 300 h 539"/>
                  <a:gd name="T78" fmla="*/ 192 w 290"/>
                  <a:gd name="T79" fmla="*/ 289 h 539"/>
                  <a:gd name="T80" fmla="*/ 205 w 290"/>
                  <a:gd name="T81" fmla="*/ 289 h 539"/>
                  <a:gd name="T82" fmla="*/ 232 w 290"/>
                  <a:gd name="T83" fmla="*/ 284 h 539"/>
                  <a:gd name="T84" fmla="*/ 242 w 290"/>
                  <a:gd name="T85" fmla="*/ 271 h 539"/>
                  <a:gd name="T86" fmla="*/ 253 w 290"/>
                  <a:gd name="T87" fmla="*/ 252 h 539"/>
                  <a:gd name="T88" fmla="*/ 256 w 290"/>
                  <a:gd name="T89" fmla="*/ 193 h 539"/>
                  <a:gd name="T90" fmla="*/ 253 w 290"/>
                  <a:gd name="T91" fmla="*/ 162 h 539"/>
                  <a:gd name="T92" fmla="*/ 229 w 290"/>
                  <a:gd name="T93" fmla="*/ 112 h 539"/>
                  <a:gd name="T94" fmla="*/ 227 w 290"/>
                  <a:gd name="T95" fmla="*/ 120 h 539"/>
                  <a:gd name="T96" fmla="*/ 210 w 290"/>
                  <a:gd name="T97" fmla="*/ 119 h 539"/>
                  <a:gd name="T98" fmla="*/ 205 w 290"/>
                  <a:gd name="T99" fmla="*/ 152 h 539"/>
                  <a:gd name="T100" fmla="*/ 207 w 290"/>
                  <a:gd name="T101" fmla="*/ 211 h 539"/>
                  <a:gd name="T102" fmla="*/ 181 w 290"/>
                  <a:gd name="T103" fmla="*/ 224 h 539"/>
                  <a:gd name="T104" fmla="*/ 170 w 290"/>
                  <a:gd name="T105" fmla="*/ 250 h 539"/>
                  <a:gd name="T106" fmla="*/ 160 w 290"/>
                  <a:gd name="T107" fmla="*/ 270 h 539"/>
                  <a:gd name="T108" fmla="*/ 124 w 290"/>
                  <a:gd name="T109" fmla="*/ 272 h 539"/>
                  <a:gd name="T110" fmla="*/ 88 w 290"/>
                  <a:gd name="T111" fmla="*/ 305 h 539"/>
                  <a:gd name="T112" fmla="*/ 70 w 290"/>
                  <a:gd name="T113" fmla="*/ 331 h 539"/>
                  <a:gd name="T114" fmla="*/ 73 w 290"/>
                  <a:gd name="T115" fmla="*/ 345 h 539"/>
                  <a:gd name="T116" fmla="*/ 79 w 290"/>
                  <a:gd name="T117" fmla="*/ 336 h 539"/>
                  <a:gd name="T118" fmla="*/ 88 w 290"/>
                  <a:gd name="T119" fmla="*/ 369 h 539"/>
                  <a:gd name="T120" fmla="*/ 99 w 290"/>
                  <a:gd name="T121" fmla="*/ 367 h 5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90" h="539">
                    <a:moveTo>
                      <a:pt x="116" y="259"/>
                    </a:moveTo>
                    <a:lnTo>
                      <a:pt x="117" y="260"/>
                    </a:lnTo>
                    <a:lnTo>
                      <a:pt x="116" y="261"/>
                    </a:lnTo>
                    <a:lnTo>
                      <a:pt x="116" y="261"/>
                    </a:lnTo>
                    <a:lnTo>
                      <a:pt x="116" y="259"/>
                    </a:lnTo>
                    <a:lnTo>
                      <a:pt x="116" y="259"/>
                    </a:lnTo>
                    <a:lnTo>
                      <a:pt x="116" y="259"/>
                    </a:lnTo>
                    <a:close/>
                    <a:moveTo>
                      <a:pt x="119" y="259"/>
                    </a:moveTo>
                    <a:lnTo>
                      <a:pt x="118" y="257"/>
                    </a:lnTo>
                    <a:lnTo>
                      <a:pt x="119" y="255"/>
                    </a:lnTo>
                    <a:lnTo>
                      <a:pt x="122" y="255"/>
                    </a:lnTo>
                    <a:lnTo>
                      <a:pt x="122" y="258"/>
                    </a:lnTo>
                    <a:lnTo>
                      <a:pt x="121" y="259"/>
                    </a:lnTo>
                    <a:lnTo>
                      <a:pt x="119" y="259"/>
                    </a:lnTo>
                    <a:lnTo>
                      <a:pt x="119" y="259"/>
                    </a:lnTo>
                    <a:lnTo>
                      <a:pt x="119" y="259"/>
                    </a:lnTo>
                    <a:close/>
                    <a:moveTo>
                      <a:pt x="4" y="537"/>
                    </a:moveTo>
                    <a:lnTo>
                      <a:pt x="3" y="535"/>
                    </a:lnTo>
                    <a:lnTo>
                      <a:pt x="1" y="535"/>
                    </a:lnTo>
                    <a:lnTo>
                      <a:pt x="0" y="539"/>
                    </a:lnTo>
                    <a:lnTo>
                      <a:pt x="3" y="539"/>
                    </a:lnTo>
                    <a:lnTo>
                      <a:pt x="4" y="537"/>
                    </a:lnTo>
                    <a:lnTo>
                      <a:pt x="4" y="537"/>
                    </a:lnTo>
                    <a:lnTo>
                      <a:pt x="4" y="537"/>
                    </a:lnTo>
                    <a:close/>
                    <a:moveTo>
                      <a:pt x="7" y="534"/>
                    </a:moveTo>
                    <a:lnTo>
                      <a:pt x="9" y="532"/>
                    </a:lnTo>
                    <a:lnTo>
                      <a:pt x="10" y="534"/>
                    </a:lnTo>
                    <a:lnTo>
                      <a:pt x="9" y="537"/>
                    </a:lnTo>
                    <a:lnTo>
                      <a:pt x="8" y="537"/>
                    </a:lnTo>
                    <a:lnTo>
                      <a:pt x="7" y="534"/>
                    </a:lnTo>
                    <a:lnTo>
                      <a:pt x="7" y="534"/>
                    </a:lnTo>
                    <a:lnTo>
                      <a:pt x="7" y="534"/>
                    </a:lnTo>
                    <a:close/>
                    <a:moveTo>
                      <a:pt x="24" y="523"/>
                    </a:moveTo>
                    <a:lnTo>
                      <a:pt x="23" y="526"/>
                    </a:lnTo>
                    <a:lnTo>
                      <a:pt x="25" y="528"/>
                    </a:lnTo>
                    <a:lnTo>
                      <a:pt x="28" y="528"/>
                    </a:lnTo>
                    <a:lnTo>
                      <a:pt x="28" y="525"/>
                    </a:lnTo>
                    <a:lnTo>
                      <a:pt x="24" y="523"/>
                    </a:lnTo>
                    <a:lnTo>
                      <a:pt x="24" y="523"/>
                    </a:lnTo>
                    <a:lnTo>
                      <a:pt x="24" y="523"/>
                    </a:lnTo>
                    <a:close/>
                    <a:moveTo>
                      <a:pt x="64" y="491"/>
                    </a:moveTo>
                    <a:lnTo>
                      <a:pt x="62" y="487"/>
                    </a:lnTo>
                    <a:lnTo>
                      <a:pt x="66" y="485"/>
                    </a:lnTo>
                    <a:lnTo>
                      <a:pt x="66" y="483"/>
                    </a:lnTo>
                    <a:lnTo>
                      <a:pt x="65" y="482"/>
                    </a:lnTo>
                    <a:lnTo>
                      <a:pt x="69" y="480"/>
                    </a:lnTo>
                    <a:lnTo>
                      <a:pt x="71" y="476"/>
                    </a:lnTo>
                    <a:lnTo>
                      <a:pt x="72" y="480"/>
                    </a:lnTo>
                    <a:lnTo>
                      <a:pt x="71" y="482"/>
                    </a:lnTo>
                    <a:lnTo>
                      <a:pt x="70" y="485"/>
                    </a:lnTo>
                    <a:lnTo>
                      <a:pt x="66" y="487"/>
                    </a:lnTo>
                    <a:lnTo>
                      <a:pt x="66" y="490"/>
                    </a:lnTo>
                    <a:lnTo>
                      <a:pt x="64" y="491"/>
                    </a:lnTo>
                    <a:lnTo>
                      <a:pt x="64" y="491"/>
                    </a:lnTo>
                    <a:lnTo>
                      <a:pt x="64" y="491"/>
                    </a:lnTo>
                    <a:close/>
                    <a:moveTo>
                      <a:pt x="80" y="455"/>
                    </a:moveTo>
                    <a:lnTo>
                      <a:pt x="83" y="457"/>
                    </a:lnTo>
                    <a:lnTo>
                      <a:pt x="83" y="460"/>
                    </a:lnTo>
                    <a:lnTo>
                      <a:pt x="82" y="461"/>
                    </a:lnTo>
                    <a:lnTo>
                      <a:pt x="79" y="459"/>
                    </a:lnTo>
                    <a:lnTo>
                      <a:pt x="79" y="457"/>
                    </a:lnTo>
                    <a:lnTo>
                      <a:pt x="80" y="455"/>
                    </a:lnTo>
                    <a:lnTo>
                      <a:pt x="80" y="455"/>
                    </a:lnTo>
                    <a:lnTo>
                      <a:pt x="80" y="455"/>
                    </a:lnTo>
                    <a:close/>
                    <a:moveTo>
                      <a:pt x="88" y="449"/>
                    </a:moveTo>
                    <a:lnTo>
                      <a:pt x="86" y="447"/>
                    </a:lnTo>
                    <a:lnTo>
                      <a:pt x="83" y="447"/>
                    </a:lnTo>
                    <a:lnTo>
                      <a:pt x="82" y="447"/>
                    </a:lnTo>
                    <a:lnTo>
                      <a:pt x="84" y="444"/>
                    </a:lnTo>
                    <a:lnTo>
                      <a:pt x="87" y="443"/>
                    </a:lnTo>
                    <a:lnTo>
                      <a:pt x="88" y="443"/>
                    </a:lnTo>
                    <a:lnTo>
                      <a:pt x="89" y="442"/>
                    </a:lnTo>
                    <a:lnTo>
                      <a:pt x="91" y="442"/>
                    </a:lnTo>
                    <a:lnTo>
                      <a:pt x="92" y="441"/>
                    </a:lnTo>
                    <a:lnTo>
                      <a:pt x="95" y="440"/>
                    </a:lnTo>
                    <a:lnTo>
                      <a:pt x="93" y="443"/>
                    </a:lnTo>
                    <a:lnTo>
                      <a:pt x="89" y="445"/>
                    </a:lnTo>
                    <a:lnTo>
                      <a:pt x="89" y="448"/>
                    </a:lnTo>
                    <a:lnTo>
                      <a:pt x="88" y="449"/>
                    </a:lnTo>
                    <a:lnTo>
                      <a:pt x="88" y="449"/>
                    </a:lnTo>
                    <a:lnTo>
                      <a:pt x="88" y="449"/>
                    </a:lnTo>
                    <a:close/>
                    <a:moveTo>
                      <a:pt x="183" y="97"/>
                    </a:moveTo>
                    <a:lnTo>
                      <a:pt x="181" y="95"/>
                    </a:lnTo>
                    <a:lnTo>
                      <a:pt x="181" y="93"/>
                    </a:lnTo>
                    <a:lnTo>
                      <a:pt x="184" y="90"/>
                    </a:lnTo>
                    <a:lnTo>
                      <a:pt x="186" y="89"/>
                    </a:lnTo>
                    <a:lnTo>
                      <a:pt x="185" y="93"/>
                    </a:lnTo>
                    <a:lnTo>
                      <a:pt x="185" y="96"/>
                    </a:lnTo>
                    <a:lnTo>
                      <a:pt x="183" y="97"/>
                    </a:lnTo>
                    <a:lnTo>
                      <a:pt x="183" y="97"/>
                    </a:lnTo>
                    <a:lnTo>
                      <a:pt x="183" y="97"/>
                    </a:lnTo>
                    <a:close/>
                    <a:moveTo>
                      <a:pt x="205" y="115"/>
                    </a:moveTo>
                    <a:lnTo>
                      <a:pt x="203" y="113"/>
                    </a:lnTo>
                    <a:lnTo>
                      <a:pt x="201" y="110"/>
                    </a:lnTo>
                    <a:lnTo>
                      <a:pt x="202" y="109"/>
                    </a:lnTo>
                    <a:lnTo>
                      <a:pt x="201" y="102"/>
                    </a:lnTo>
                    <a:lnTo>
                      <a:pt x="199" y="97"/>
                    </a:lnTo>
                    <a:lnTo>
                      <a:pt x="196" y="94"/>
                    </a:lnTo>
                    <a:lnTo>
                      <a:pt x="193" y="92"/>
                    </a:lnTo>
                    <a:lnTo>
                      <a:pt x="190" y="92"/>
                    </a:lnTo>
                    <a:lnTo>
                      <a:pt x="190" y="89"/>
                    </a:lnTo>
                    <a:lnTo>
                      <a:pt x="190" y="84"/>
                    </a:lnTo>
                    <a:lnTo>
                      <a:pt x="189" y="81"/>
                    </a:lnTo>
                    <a:lnTo>
                      <a:pt x="191" y="78"/>
                    </a:lnTo>
                    <a:lnTo>
                      <a:pt x="193" y="77"/>
                    </a:lnTo>
                    <a:lnTo>
                      <a:pt x="194" y="75"/>
                    </a:lnTo>
                    <a:lnTo>
                      <a:pt x="196" y="75"/>
                    </a:lnTo>
                    <a:lnTo>
                      <a:pt x="198" y="72"/>
                    </a:lnTo>
                    <a:lnTo>
                      <a:pt x="199" y="70"/>
                    </a:lnTo>
                    <a:lnTo>
                      <a:pt x="199" y="68"/>
                    </a:lnTo>
                    <a:lnTo>
                      <a:pt x="195" y="65"/>
                    </a:lnTo>
                    <a:lnTo>
                      <a:pt x="193" y="65"/>
                    </a:lnTo>
                    <a:lnTo>
                      <a:pt x="192" y="64"/>
                    </a:lnTo>
                    <a:lnTo>
                      <a:pt x="194" y="61"/>
                    </a:lnTo>
                    <a:lnTo>
                      <a:pt x="196" y="60"/>
                    </a:lnTo>
                    <a:lnTo>
                      <a:pt x="202" y="64"/>
                    </a:lnTo>
                    <a:lnTo>
                      <a:pt x="208" y="65"/>
                    </a:lnTo>
                    <a:lnTo>
                      <a:pt x="210" y="63"/>
                    </a:lnTo>
                    <a:lnTo>
                      <a:pt x="210" y="60"/>
                    </a:lnTo>
                    <a:lnTo>
                      <a:pt x="212" y="59"/>
                    </a:lnTo>
                    <a:lnTo>
                      <a:pt x="210" y="56"/>
                    </a:lnTo>
                    <a:lnTo>
                      <a:pt x="209" y="55"/>
                    </a:lnTo>
                    <a:lnTo>
                      <a:pt x="208" y="54"/>
                    </a:lnTo>
                    <a:lnTo>
                      <a:pt x="206" y="51"/>
                    </a:lnTo>
                    <a:lnTo>
                      <a:pt x="205" y="48"/>
                    </a:lnTo>
                    <a:lnTo>
                      <a:pt x="208" y="45"/>
                    </a:lnTo>
                    <a:lnTo>
                      <a:pt x="209" y="45"/>
                    </a:lnTo>
                    <a:lnTo>
                      <a:pt x="210" y="43"/>
                    </a:lnTo>
                    <a:lnTo>
                      <a:pt x="208" y="39"/>
                    </a:lnTo>
                    <a:lnTo>
                      <a:pt x="206" y="34"/>
                    </a:lnTo>
                    <a:lnTo>
                      <a:pt x="207" y="32"/>
                    </a:lnTo>
                    <a:lnTo>
                      <a:pt x="207" y="25"/>
                    </a:lnTo>
                    <a:lnTo>
                      <a:pt x="205" y="21"/>
                    </a:lnTo>
                    <a:lnTo>
                      <a:pt x="199" y="11"/>
                    </a:lnTo>
                    <a:lnTo>
                      <a:pt x="198" y="8"/>
                    </a:lnTo>
                    <a:lnTo>
                      <a:pt x="197" y="5"/>
                    </a:lnTo>
                    <a:lnTo>
                      <a:pt x="198" y="4"/>
                    </a:lnTo>
                    <a:lnTo>
                      <a:pt x="199" y="4"/>
                    </a:lnTo>
                    <a:lnTo>
                      <a:pt x="201" y="2"/>
                    </a:lnTo>
                    <a:lnTo>
                      <a:pt x="201" y="0"/>
                    </a:lnTo>
                    <a:lnTo>
                      <a:pt x="204" y="0"/>
                    </a:lnTo>
                    <a:lnTo>
                      <a:pt x="206" y="3"/>
                    </a:lnTo>
                    <a:lnTo>
                      <a:pt x="212" y="8"/>
                    </a:lnTo>
                    <a:lnTo>
                      <a:pt x="217" y="9"/>
                    </a:lnTo>
                    <a:lnTo>
                      <a:pt x="220" y="13"/>
                    </a:lnTo>
                    <a:lnTo>
                      <a:pt x="227" y="21"/>
                    </a:lnTo>
                    <a:lnTo>
                      <a:pt x="232" y="25"/>
                    </a:lnTo>
                    <a:lnTo>
                      <a:pt x="234" y="27"/>
                    </a:lnTo>
                    <a:lnTo>
                      <a:pt x="238" y="28"/>
                    </a:lnTo>
                    <a:lnTo>
                      <a:pt x="241" y="32"/>
                    </a:lnTo>
                    <a:lnTo>
                      <a:pt x="246" y="33"/>
                    </a:lnTo>
                    <a:lnTo>
                      <a:pt x="250" y="34"/>
                    </a:lnTo>
                    <a:lnTo>
                      <a:pt x="254" y="37"/>
                    </a:lnTo>
                    <a:lnTo>
                      <a:pt x="257" y="37"/>
                    </a:lnTo>
                    <a:lnTo>
                      <a:pt x="258" y="38"/>
                    </a:lnTo>
                    <a:lnTo>
                      <a:pt x="263" y="37"/>
                    </a:lnTo>
                    <a:lnTo>
                      <a:pt x="268" y="33"/>
                    </a:lnTo>
                    <a:lnTo>
                      <a:pt x="271" y="30"/>
                    </a:lnTo>
                    <a:lnTo>
                      <a:pt x="272" y="27"/>
                    </a:lnTo>
                    <a:lnTo>
                      <a:pt x="273" y="26"/>
                    </a:lnTo>
                    <a:lnTo>
                      <a:pt x="274" y="27"/>
                    </a:lnTo>
                    <a:lnTo>
                      <a:pt x="274" y="30"/>
                    </a:lnTo>
                    <a:lnTo>
                      <a:pt x="272" y="35"/>
                    </a:lnTo>
                    <a:lnTo>
                      <a:pt x="272" y="40"/>
                    </a:lnTo>
                    <a:lnTo>
                      <a:pt x="273" y="42"/>
                    </a:lnTo>
                    <a:lnTo>
                      <a:pt x="278" y="44"/>
                    </a:lnTo>
                    <a:lnTo>
                      <a:pt x="281" y="48"/>
                    </a:lnTo>
                    <a:lnTo>
                      <a:pt x="281" y="51"/>
                    </a:lnTo>
                    <a:lnTo>
                      <a:pt x="281" y="53"/>
                    </a:lnTo>
                    <a:lnTo>
                      <a:pt x="284" y="53"/>
                    </a:lnTo>
                    <a:lnTo>
                      <a:pt x="286" y="50"/>
                    </a:lnTo>
                    <a:lnTo>
                      <a:pt x="289" y="47"/>
                    </a:lnTo>
                    <a:lnTo>
                      <a:pt x="290" y="47"/>
                    </a:lnTo>
                    <a:lnTo>
                      <a:pt x="289" y="50"/>
                    </a:lnTo>
                    <a:lnTo>
                      <a:pt x="288" y="51"/>
                    </a:lnTo>
                    <a:lnTo>
                      <a:pt x="288" y="54"/>
                    </a:lnTo>
                    <a:lnTo>
                      <a:pt x="285" y="55"/>
                    </a:lnTo>
                    <a:lnTo>
                      <a:pt x="282" y="57"/>
                    </a:lnTo>
                    <a:lnTo>
                      <a:pt x="281" y="59"/>
                    </a:lnTo>
                    <a:lnTo>
                      <a:pt x="280" y="61"/>
                    </a:lnTo>
                    <a:lnTo>
                      <a:pt x="277" y="62"/>
                    </a:lnTo>
                    <a:lnTo>
                      <a:pt x="276" y="61"/>
                    </a:lnTo>
                    <a:lnTo>
                      <a:pt x="273" y="63"/>
                    </a:lnTo>
                    <a:lnTo>
                      <a:pt x="273" y="64"/>
                    </a:lnTo>
                    <a:lnTo>
                      <a:pt x="269" y="64"/>
                    </a:lnTo>
                    <a:lnTo>
                      <a:pt x="266" y="63"/>
                    </a:lnTo>
                    <a:lnTo>
                      <a:pt x="263" y="64"/>
                    </a:lnTo>
                    <a:lnTo>
                      <a:pt x="258" y="71"/>
                    </a:lnTo>
                    <a:lnTo>
                      <a:pt x="256" y="78"/>
                    </a:lnTo>
                    <a:lnTo>
                      <a:pt x="255" y="84"/>
                    </a:lnTo>
                    <a:lnTo>
                      <a:pt x="256" y="88"/>
                    </a:lnTo>
                    <a:lnTo>
                      <a:pt x="255" y="91"/>
                    </a:lnTo>
                    <a:lnTo>
                      <a:pt x="255" y="94"/>
                    </a:lnTo>
                    <a:lnTo>
                      <a:pt x="252" y="93"/>
                    </a:lnTo>
                    <a:lnTo>
                      <a:pt x="250" y="90"/>
                    </a:lnTo>
                    <a:lnTo>
                      <a:pt x="245" y="89"/>
                    </a:lnTo>
                    <a:lnTo>
                      <a:pt x="239" y="86"/>
                    </a:lnTo>
                    <a:lnTo>
                      <a:pt x="234" y="81"/>
                    </a:lnTo>
                    <a:lnTo>
                      <a:pt x="231" y="78"/>
                    </a:lnTo>
                    <a:lnTo>
                      <a:pt x="228" y="78"/>
                    </a:lnTo>
                    <a:lnTo>
                      <a:pt x="224" y="78"/>
                    </a:lnTo>
                    <a:lnTo>
                      <a:pt x="224" y="76"/>
                    </a:lnTo>
                    <a:lnTo>
                      <a:pt x="220" y="76"/>
                    </a:lnTo>
                    <a:lnTo>
                      <a:pt x="216" y="79"/>
                    </a:lnTo>
                    <a:lnTo>
                      <a:pt x="211" y="85"/>
                    </a:lnTo>
                    <a:lnTo>
                      <a:pt x="210" y="84"/>
                    </a:lnTo>
                    <a:lnTo>
                      <a:pt x="205" y="81"/>
                    </a:lnTo>
                    <a:lnTo>
                      <a:pt x="203" y="81"/>
                    </a:lnTo>
                    <a:lnTo>
                      <a:pt x="201" y="83"/>
                    </a:lnTo>
                    <a:lnTo>
                      <a:pt x="201" y="87"/>
                    </a:lnTo>
                    <a:lnTo>
                      <a:pt x="202" y="90"/>
                    </a:lnTo>
                    <a:lnTo>
                      <a:pt x="205" y="92"/>
                    </a:lnTo>
                    <a:lnTo>
                      <a:pt x="209" y="91"/>
                    </a:lnTo>
                    <a:lnTo>
                      <a:pt x="214" y="96"/>
                    </a:lnTo>
                    <a:lnTo>
                      <a:pt x="218" y="97"/>
                    </a:lnTo>
                    <a:lnTo>
                      <a:pt x="222" y="97"/>
                    </a:lnTo>
                    <a:lnTo>
                      <a:pt x="224" y="98"/>
                    </a:lnTo>
                    <a:lnTo>
                      <a:pt x="221" y="102"/>
                    </a:lnTo>
                    <a:lnTo>
                      <a:pt x="220" y="105"/>
                    </a:lnTo>
                    <a:lnTo>
                      <a:pt x="217" y="103"/>
                    </a:lnTo>
                    <a:lnTo>
                      <a:pt x="212" y="102"/>
                    </a:lnTo>
                    <a:lnTo>
                      <a:pt x="210" y="104"/>
                    </a:lnTo>
                    <a:lnTo>
                      <a:pt x="211" y="106"/>
                    </a:lnTo>
                    <a:lnTo>
                      <a:pt x="209" y="110"/>
                    </a:lnTo>
                    <a:lnTo>
                      <a:pt x="205" y="115"/>
                    </a:lnTo>
                    <a:lnTo>
                      <a:pt x="205" y="115"/>
                    </a:lnTo>
                    <a:lnTo>
                      <a:pt x="205" y="115"/>
                    </a:lnTo>
                    <a:close/>
                    <a:moveTo>
                      <a:pt x="200" y="212"/>
                    </a:moveTo>
                    <a:lnTo>
                      <a:pt x="200" y="209"/>
                    </a:lnTo>
                    <a:lnTo>
                      <a:pt x="201" y="206"/>
                    </a:lnTo>
                    <a:lnTo>
                      <a:pt x="200" y="206"/>
                    </a:lnTo>
                    <a:lnTo>
                      <a:pt x="198" y="207"/>
                    </a:lnTo>
                    <a:lnTo>
                      <a:pt x="197" y="205"/>
                    </a:lnTo>
                    <a:lnTo>
                      <a:pt x="199" y="200"/>
                    </a:lnTo>
                    <a:lnTo>
                      <a:pt x="200" y="198"/>
                    </a:lnTo>
                    <a:lnTo>
                      <a:pt x="201" y="201"/>
                    </a:lnTo>
                    <a:lnTo>
                      <a:pt x="201" y="204"/>
                    </a:lnTo>
                    <a:lnTo>
                      <a:pt x="203" y="205"/>
                    </a:lnTo>
                    <a:lnTo>
                      <a:pt x="203" y="206"/>
                    </a:lnTo>
                    <a:lnTo>
                      <a:pt x="203" y="210"/>
                    </a:lnTo>
                    <a:lnTo>
                      <a:pt x="201" y="212"/>
                    </a:lnTo>
                    <a:lnTo>
                      <a:pt x="200" y="212"/>
                    </a:lnTo>
                    <a:lnTo>
                      <a:pt x="200" y="212"/>
                    </a:lnTo>
                    <a:lnTo>
                      <a:pt x="200" y="212"/>
                    </a:lnTo>
                    <a:close/>
                    <a:moveTo>
                      <a:pt x="64" y="333"/>
                    </a:moveTo>
                    <a:lnTo>
                      <a:pt x="66" y="334"/>
                    </a:lnTo>
                    <a:lnTo>
                      <a:pt x="67" y="333"/>
                    </a:lnTo>
                    <a:lnTo>
                      <a:pt x="65" y="332"/>
                    </a:lnTo>
                    <a:lnTo>
                      <a:pt x="64" y="332"/>
                    </a:lnTo>
                    <a:lnTo>
                      <a:pt x="64" y="333"/>
                    </a:lnTo>
                    <a:lnTo>
                      <a:pt x="64" y="333"/>
                    </a:lnTo>
                    <a:lnTo>
                      <a:pt x="64" y="333"/>
                    </a:lnTo>
                    <a:close/>
                    <a:moveTo>
                      <a:pt x="63" y="335"/>
                    </a:moveTo>
                    <a:lnTo>
                      <a:pt x="64" y="335"/>
                    </a:lnTo>
                    <a:lnTo>
                      <a:pt x="64" y="335"/>
                    </a:lnTo>
                    <a:lnTo>
                      <a:pt x="63" y="335"/>
                    </a:lnTo>
                    <a:lnTo>
                      <a:pt x="63" y="335"/>
                    </a:lnTo>
                    <a:lnTo>
                      <a:pt x="63" y="335"/>
                    </a:lnTo>
                    <a:close/>
                    <a:moveTo>
                      <a:pt x="61" y="336"/>
                    </a:moveTo>
                    <a:lnTo>
                      <a:pt x="62" y="337"/>
                    </a:lnTo>
                    <a:lnTo>
                      <a:pt x="63" y="336"/>
                    </a:lnTo>
                    <a:lnTo>
                      <a:pt x="61" y="336"/>
                    </a:lnTo>
                    <a:lnTo>
                      <a:pt x="61" y="336"/>
                    </a:lnTo>
                    <a:lnTo>
                      <a:pt x="61" y="336"/>
                    </a:lnTo>
                    <a:close/>
                    <a:moveTo>
                      <a:pt x="58" y="338"/>
                    </a:moveTo>
                    <a:lnTo>
                      <a:pt x="59" y="340"/>
                    </a:lnTo>
                    <a:lnTo>
                      <a:pt x="61" y="339"/>
                    </a:lnTo>
                    <a:lnTo>
                      <a:pt x="58" y="338"/>
                    </a:lnTo>
                    <a:lnTo>
                      <a:pt x="58" y="338"/>
                    </a:lnTo>
                    <a:lnTo>
                      <a:pt x="58" y="338"/>
                    </a:lnTo>
                    <a:close/>
                    <a:moveTo>
                      <a:pt x="56" y="347"/>
                    </a:moveTo>
                    <a:lnTo>
                      <a:pt x="54" y="343"/>
                    </a:lnTo>
                    <a:lnTo>
                      <a:pt x="54" y="341"/>
                    </a:lnTo>
                    <a:lnTo>
                      <a:pt x="56" y="340"/>
                    </a:lnTo>
                    <a:lnTo>
                      <a:pt x="57" y="342"/>
                    </a:lnTo>
                    <a:lnTo>
                      <a:pt x="59" y="343"/>
                    </a:lnTo>
                    <a:lnTo>
                      <a:pt x="60" y="346"/>
                    </a:lnTo>
                    <a:lnTo>
                      <a:pt x="58" y="348"/>
                    </a:lnTo>
                    <a:lnTo>
                      <a:pt x="56" y="347"/>
                    </a:lnTo>
                    <a:lnTo>
                      <a:pt x="56" y="347"/>
                    </a:lnTo>
                    <a:lnTo>
                      <a:pt x="56" y="347"/>
                    </a:lnTo>
                    <a:close/>
                    <a:moveTo>
                      <a:pt x="84" y="350"/>
                    </a:moveTo>
                    <a:lnTo>
                      <a:pt x="83" y="348"/>
                    </a:lnTo>
                    <a:lnTo>
                      <a:pt x="85" y="346"/>
                    </a:lnTo>
                    <a:lnTo>
                      <a:pt x="86" y="347"/>
                    </a:lnTo>
                    <a:lnTo>
                      <a:pt x="86" y="350"/>
                    </a:lnTo>
                    <a:lnTo>
                      <a:pt x="84" y="350"/>
                    </a:lnTo>
                    <a:lnTo>
                      <a:pt x="84" y="350"/>
                    </a:lnTo>
                    <a:lnTo>
                      <a:pt x="84" y="350"/>
                    </a:lnTo>
                    <a:close/>
                    <a:moveTo>
                      <a:pt x="80" y="356"/>
                    </a:moveTo>
                    <a:lnTo>
                      <a:pt x="82" y="354"/>
                    </a:lnTo>
                    <a:lnTo>
                      <a:pt x="83" y="354"/>
                    </a:lnTo>
                    <a:lnTo>
                      <a:pt x="82" y="357"/>
                    </a:lnTo>
                    <a:lnTo>
                      <a:pt x="80" y="356"/>
                    </a:lnTo>
                    <a:lnTo>
                      <a:pt x="80" y="356"/>
                    </a:lnTo>
                    <a:lnTo>
                      <a:pt x="80" y="356"/>
                    </a:lnTo>
                    <a:close/>
                    <a:moveTo>
                      <a:pt x="79" y="346"/>
                    </a:moveTo>
                    <a:lnTo>
                      <a:pt x="78" y="348"/>
                    </a:lnTo>
                    <a:lnTo>
                      <a:pt x="78" y="351"/>
                    </a:lnTo>
                    <a:lnTo>
                      <a:pt x="80" y="354"/>
                    </a:lnTo>
                    <a:lnTo>
                      <a:pt x="81" y="354"/>
                    </a:lnTo>
                    <a:lnTo>
                      <a:pt x="82" y="351"/>
                    </a:lnTo>
                    <a:lnTo>
                      <a:pt x="80" y="347"/>
                    </a:lnTo>
                    <a:lnTo>
                      <a:pt x="80" y="346"/>
                    </a:lnTo>
                    <a:lnTo>
                      <a:pt x="79" y="346"/>
                    </a:lnTo>
                    <a:lnTo>
                      <a:pt x="79" y="346"/>
                    </a:lnTo>
                    <a:lnTo>
                      <a:pt x="79" y="346"/>
                    </a:lnTo>
                    <a:close/>
                    <a:moveTo>
                      <a:pt x="159" y="303"/>
                    </a:moveTo>
                    <a:lnTo>
                      <a:pt x="157" y="299"/>
                    </a:lnTo>
                    <a:lnTo>
                      <a:pt x="157" y="296"/>
                    </a:lnTo>
                    <a:lnTo>
                      <a:pt x="158" y="294"/>
                    </a:lnTo>
                    <a:lnTo>
                      <a:pt x="160" y="294"/>
                    </a:lnTo>
                    <a:lnTo>
                      <a:pt x="160" y="296"/>
                    </a:lnTo>
                    <a:lnTo>
                      <a:pt x="160" y="299"/>
                    </a:lnTo>
                    <a:lnTo>
                      <a:pt x="160" y="301"/>
                    </a:lnTo>
                    <a:lnTo>
                      <a:pt x="160" y="303"/>
                    </a:lnTo>
                    <a:lnTo>
                      <a:pt x="159" y="303"/>
                    </a:lnTo>
                    <a:lnTo>
                      <a:pt x="159" y="303"/>
                    </a:lnTo>
                    <a:lnTo>
                      <a:pt x="159" y="303"/>
                    </a:lnTo>
                    <a:close/>
                    <a:moveTo>
                      <a:pt x="145" y="300"/>
                    </a:moveTo>
                    <a:lnTo>
                      <a:pt x="148" y="297"/>
                    </a:lnTo>
                    <a:lnTo>
                      <a:pt x="151" y="298"/>
                    </a:lnTo>
                    <a:lnTo>
                      <a:pt x="150" y="299"/>
                    </a:lnTo>
                    <a:lnTo>
                      <a:pt x="148" y="301"/>
                    </a:lnTo>
                    <a:lnTo>
                      <a:pt x="145" y="300"/>
                    </a:lnTo>
                    <a:lnTo>
                      <a:pt x="145" y="300"/>
                    </a:lnTo>
                    <a:lnTo>
                      <a:pt x="145" y="300"/>
                    </a:lnTo>
                    <a:close/>
                    <a:moveTo>
                      <a:pt x="129" y="337"/>
                    </a:moveTo>
                    <a:lnTo>
                      <a:pt x="130" y="338"/>
                    </a:lnTo>
                    <a:lnTo>
                      <a:pt x="131" y="336"/>
                    </a:lnTo>
                    <a:lnTo>
                      <a:pt x="134" y="337"/>
                    </a:lnTo>
                    <a:lnTo>
                      <a:pt x="136" y="336"/>
                    </a:lnTo>
                    <a:lnTo>
                      <a:pt x="135" y="335"/>
                    </a:lnTo>
                    <a:lnTo>
                      <a:pt x="132" y="332"/>
                    </a:lnTo>
                    <a:lnTo>
                      <a:pt x="133" y="328"/>
                    </a:lnTo>
                    <a:lnTo>
                      <a:pt x="135" y="323"/>
                    </a:lnTo>
                    <a:lnTo>
                      <a:pt x="139" y="320"/>
                    </a:lnTo>
                    <a:lnTo>
                      <a:pt x="140" y="318"/>
                    </a:lnTo>
                    <a:lnTo>
                      <a:pt x="144" y="319"/>
                    </a:lnTo>
                    <a:lnTo>
                      <a:pt x="150" y="322"/>
                    </a:lnTo>
                    <a:lnTo>
                      <a:pt x="151" y="325"/>
                    </a:lnTo>
                    <a:lnTo>
                      <a:pt x="154" y="324"/>
                    </a:lnTo>
                    <a:lnTo>
                      <a:pt x="155" y="317"/>
                    </a:lnTo>
                    <a:lnTo>
                      <a:pt x="160" y="314"/>
                    </a:lnTo>
                    <a:lnTo>
                      <a:pt x="160" y="312"/>
                    </a:lnTo>
                    <a:lnTo>
                      <a:pt x="159" y="311"/>
                    </a:lnTo>
                    <a:lnTo>
                      <a:pt x="158" y="308"/>
                    </a:lnTo>
                    <a:lnTo>
                      <a:pt x="154" y="305"/>
                    </a:lnTo>
                    <a:lnTo>
                      <a:pt x="151" y="305"/>
                    </a:lnTo>
                    <a:lnTo>
                      <a:pt x="148" y="303"/>
                    </a:lnTo>
                    <a:lnTo>
                      <a:pt x="143" y="302"/>
                    </a:lnTo>
                    <a:lnTo>
                      <a:pt x="138" y="306"/>
                    </a:lnTo>
                    <a:lnTo>
                      <a:pt x="138" y="308"/>
                    </a:lnTo>
                    <a:lnTo>
                      <a:pt x="137" y="311"/>
                    </a:lnTo>
                    <a:lnTo>
                      <a:pt x="134" y="312"/>
                    </a:lnTo>
                    <a:lnTo>
                      <a:pt x="131" y="314"/>
                    </a:lnTo>
                    <a:lnTo>
                      <a:pt x="129" y="314"/>
                    </a:lnTo>
                    <a:lnTo>
                      <a:pt x="127" y="309"/>
                    </a:lnTo>
                    <a:lnTo>
                      <a:pt x="125" y="309"/>
                    </a:lnTo>
                    <a:lnTo>
                      <a:pt x="120" y="314"/>
                    </a:lnTo>
                    <a:lnTo>
                      <a:pt x="120" y="317"/>
                    </a:lnTo>
                    <a:lnTo>
                      <a:pt x="117" y="319"/>
                    </a:lnTo>
                    <a:lnTo>
                      <a:pt x="116" y="323"/>
                    </a:lnTo>
                    <a:lnTo>
                      <a:pt x="121" y="324"/>
                    </a:lnTo>
                    <a:lnTo>
                      <a:pt x="122" y="328"/>
                    </a:lnTo>
                    <a:lnTo>
                      <a:pt x="121" y="329"/>
                    </a:lnTo>
                    <a:lnTo>
                      <a:pt x="121" y="331"/>
                    </a:lnTo>
                    <a:lnTo>
                      <a:pt x="124" y="335"/>
                    </a:lnTo>
                    <a:lnTo>
                      <a:pt x="129" y="335"/>
                    </a:lnTo>
                    <a:lnTo>
                      <a:pt x="129" y="337"/>
                    </a:lnTo>
                    <a:lnTo>
                      <a:pt x="129" y="337"/>
                    </a:lnTo>
                    <a:lnTo>
                      <a:pt x="129" y="337"/>
                    </a:lnTo>
                    <a:close/>
                    <a:moveTo>
                      <a:pt x="105" y="398"/>
                    </a:moveTo>
                    <a:lnTo>
                      <a:pt x="102" y="395"/>
                    </a:lnTo>
                    <a:lnTo>
                      <a:pt x="100" y="395"/>
                    </a:lnTo>
                    <a:lnTo>
                      <a:pt x="99" y="398"/>
                    </a:lnTo>
                    <a:lnTo>
                      <a:pt x="101" y="400"/>
                    </a:lnTo>
                    <a:lnTo>
                      <a:pt x="104" y="401"/>
                    </a:lnTo>
                    <a:lnTo>
                      <a:pt x="105" y="400"/>
                    </a:lnTo>
                    <a:lnTo>
                      <a:pt x="105" y="398"/>
                    </a:lnTo>
                    <a:lnTo>
                      <a:pt x="105" y="398"/>
                    </a:lnTo>
                    <a:lnTo>
                      <a:pt x="105" y="398"/>
                    </a:lnTo>
                    <a:close/>
                    <a:moveTo>
                      <a:pt x="108" y="394"/>
                    </a:moveTo>
                    <a:lnTo>
                      <a:pt x="107" y="388"/>
                    </a:lnTo>
                    <a:lnTo>
                      <a:pt x="107" y="385"/>
                    </a:lnTo>
                    <a:lnTo>
                      <a:pt x="109" y="387"/>
                    </a:lnTo>
                    <a:lnTo>
                      <a:pt x="110" y="390"/>
                    </a:lnTo>
                    <a:lnTo>
                      <a:pt x="109" y="393"/>
                    </a:lnTo>
                    <a:lnTo>
                      <a:pt x="108" y="394"/>
                    </a:lnTo>
                    <a:lnTo>
                      <a:pt x="108" y="394"/>
                    </a:lnTo>
                    <a:lnTo>
                      <a:pt x="108" y="394"/>
                    </a:lnTo>
                    <a:close/>
                    <a:moveTo>
                      <a:pt x="101" y="383"/>
                    </a:moveTo>
                    <a:lnTo>
                      <a:pt x="105" y="381"/>
                    </a:lnTo>
                    <a:lnTo>
                      <a:pt x="108" y="377"/>
                    </a:lnTo>
                    <a:lnTo>
                      <a:pt x="105" y="374"/>
                    </a:lnTo>
                    <a:lnTo>
                      <a:pt x="105" y="372"/>
                    </a:lnTo>
                    <a:lnTo>
                      <a:pt x="107" y="371"/>
                    </a:lnTo>
                    <a:lnTo>
                      <a:pt x="109" y="372"/>
                    </a:lnTo>
                    <a:lnTo>
                      <a:pt x="111" y="373"/>
                    </a:lnTo>
                    <a:lnTo>
                      <a:pt x="112" y="369"/>
                    </a:lnTo>
                    <a:lnTo>
                      <a:pt x="112" y="363"/>
                    </a:lnTo>
                    <a:lnTo>
                      <a:pt x="111" y="360"/>
                    </a:lnTo>
                    <a:lnTo>
                      <a:pt x="111" y="351"/>
                    </a:lnTo>
                    <a:lnTo>
                      <a:pt x="111" y="345"/>
                    </a:lnTo>
                    <a:lnTo>
                      <a:pt x="113" y="342"/>
                    </a:lnTo>
                    <a:lnTo>
                      <a:pt x="116" y="338"/>
                    </a:lnTo>
                    <a:lnTo>
                      <a:pt x="115" y="336"/>
                    </a:lnTo>
                    <a:lnTo>
                      <a:pt x="113" y="335"/>
                    </a:lnTo>
                    <a:lnTo>
                      <a:pt x="113" y="333"/>
                    </a:lnTo>
                    <a:lnTo>
                      <a:pt x="111" y="332"/>
                    </a:lnTo>
                    <a:lnTo>
                      <a:pt x="112" y="330"/>
                    </a:lnTo>
                    <a:lnTo>
                      <a:pt x="106" y="330"/>
                    </a:lnTo>
                    <a:lnTo>
                      <a:pt x="105" y="328"/>
                    </a:lnTo>
                    <a:lnTo>
                      <a:pt x="108" y="327"/>
                    </a:lnTo>
                    <a:lnTo>
                      <a:pt x="109" y="324"/>
                    </a:lnTo>
                    <a:lnTo>
                      <a:pt x="108" y="319"/>
                    </a:lnTo>
                    <a:lnTo>
                      <a:pt x="105" y="318"/>
                    </a:lnTo>
                    <a:lnTo>
                      <a:pt x="102" y="319"/>
                    </a:lnTo>
                    <a:lnTo>
                      <a:pt x="102" y="320"/>
                    </a:lnTo>
                    <a:lnTo>
                      <a:pt x="100" y="322"/>
                    </a:lnTo>
                    <a:lnTo>
                      <a:pt x="97" y="321"/>
                    </a:lnTo>
                    <a:lnTo>
                      <a:pt x="94" y="317"/>
                    </a:lnTo>
                    <a:lnTo>
                      <a:pt x="94" y="314"/>
                    </a:lnTo>
                    <a:lnTo>
                      <a:pt x="99" y="312"/>
                    </a:lnTo>
                    <a:lnTo>
                      <a:pt x="105" y="311"/>
                    </a:lnTo>
                    <a:lnTo>
                      <a:pt x="110" y="313"/>
                    </a:lnTo>
                    <a:lnTo>
                      <a:pt x="113" y="314"/>
                    </a:lnTo>
                    <a:lnTo>
                      <a:pt x="114" y="313"/>
                    </a:lnTo>
                    <a:lnTo>
                      <a:pt x="114" y="310"/>
                    </a:lnTo>
                    <a:lnTo>
                      <a:pt x="114" y="307"/>
                    </a:lnTo>
                    <a:lnTo>
                      <a:pt x="113" y="304"/>
                    </a:lnTo>
                    <a:lnTo>
                      <a:pt x="114" y="302"/>
                    </a:lnTo>
                    <a:lnTo>
                      <a:pt x="116" y="302"/>
                    </a:lnTo>
                    <a:lnTo>
                      <a:pt x="118" y="304"/>
                    </a:lnTo>
                    <a:lnTo>
                      <a:pt x="120" y="304"/>
                    </a:lnTo>
                    <a:lnTo>
                      <a:pt x="123" y="303"/>
                    </a:lnTo>
                    <a:lnTo>
                      <a:pt x="130" y="301"/>
                    </a:lnTo>
                    <a:lnTo>
                      <a:pt x="136" y="300"/>
                    </a:lnTo>
                    <a:lnTo>
                      <a:pt x="138" y="299"/>
                    </a:lnTo>
                    <a:lnTo>
                      <a:pt x="140" y="300"/>
                    </a:lnTo>
                    <a:lnTo>
                      <a:pt x="142" y="299"/>
                    </a:lnTo>
                    <a:lnTo>
                      <a:pt x="142" y="298"/>
                    </a:lnTo>
                    <a:lnTo>
                      <a:pt x="146" y="296"/>
                    </a:lnTo>
                    <a:lnTo>
                      <a:pt x="147" y="294"/>
                    </a:lnTo>
                    <a:lnTo>
                      <a:pt x="152" y="291"/>
                    </a:lnTo>
                    <a:lnTo>
                      <a:pt x="156" y="290"/>
                    </a:lnTo>
                    <a:lnTo>
                      <a:pt x="161" y="291"/>
                    </a:lnTo>
                    <a:lnTo>
                      <a:pt x="164" y="290"/>
                    </a:lnTo>
                    <a:lnTo>
                      <a:pt x="166" y="291"/>
                    </a:lnTo>
                    <a:lnTo>
                      <a:pt x="166" y="293"/>
                    </a:lnTo>
                    <a:lnTo>
                      <a:pt x="163" y="297"/>
                    </a:lnTo>
                    <a:lnTo>
                      <a:pt x="162" y="300"/>
                    </a:lnTo>
                    <a:lnTo>
                      <a:pt x="164" y="302"/>
                    </a:lnTo>
                    <a:lnTo>
                      <a:pt x="164" y="305"/>
                    </a:lnTo>
                    <a:lnTo>
                      <a:pt x="165" y="308"/>
                    </a:lnTo>
                    <a:lnTo>
                      <a:pt x="164" y="310"/>
                    </a:lnTo>
                    <a:lnTo>
                      <a:pt x="165" y="313"/>
                    </a:lnTo>
                    <a:lnTo>
                      <a:pt x="169" y="314"/>
                    </a:lnTo>
                    <a:lnTo>
                      <a:pt x="174" y="319"/>
                    </a:lnTo>
                    <a:lnTo>
                      <a:pt x="178" y="320"/>
                    </a:lnTo>
                    <a:lnTo>
                      <a:pt x="180" y="319"/>
                    </a:lnTo>
                    <a:lnTo>
                      <a:pt x="183" y="314"/>
                    </a:lnTo>
                    <a:lnTo>
                      <a:pt x="183" y="311"/>
                    </a:lnTo>
                    <a:lnTo>
                      <a:pt x="185" y="309"/>
                    </a:lnTo>
                    <a:lnTo>
                      <a:pt x="186" y="307"/>
                    </a:lnTo>
                    <a:lnTo>
                      <a:pt x="185" y="305"/>
                    </a:lnTo>
                    <a:lnTo>
                      <a:pt x="188" y="300"/>
                    </a:lnTo>
                    <a:lnTo>
                      <a:pt x="191" y="300"/>
                    </a:lnTo>
                    <a:lnTo>
                      <a:pt x="194" y="300"/>
                    </a:lnTo>
                    <a:lnTo>
                      <a:pt x="195" y="298"/>
                    </a:lnTo>
                    <a:lnTo>
                      <a:pt x="194" y="297"/>
                    </a:lnTo>
                    <a:lnTo>
                      <a:pt x="193" y="293"/>
                    </a:lnTo>
                    <a:lnTo>
                      <a:pt x="186" y="291"/>
                    </a:lnTo>
                    <a:lnTo>
                      <a:pt x="185" y="289"/>
                    </a:lnTo>
                    <a:lnTo>
                      <a:pt x="187" y="284"/>
                    </a:lnTo>
                    <a:lnTo>
                      <a:pt x="189" y="282"/>
                    </a:lnTo>
                    <a:lnTo>
                      <a:pt x="191" y="282"/>
                    </a:lnTo>
                    <a:lnTo>
                      <a:pt x="190" y="283"/>
                    </a:lnTo>
                    <a:lnTo>
                      <a:pt x="190" y="287"/>
                    </a:lnTo>
                    <a:lnTo>
                      <a:pt x="192" y="289"/>
                    </a:lnTo>
                    <a:lnTo>
                      <a:pt x="193" y="287"/>
                    </a:lnTo>
                    <a:lnTo>
                      <a:pt x="194" y="286"/>
                    </a:lnTo>
                    <a:lnTo>
                      <a:pt x="197" y="287"/>
                    </a:lnTo>
                    <a:lnTo>
                      <a:pt x="199" y="288"/>
                    </a:lnTo>
                    <a:lnTo>
                      <a:pt x="201" y="288"/>
                    </a:lnTo>
                    <a:lnTo>
                      <a:pt x="202" y="288"/>
                    </a:lnTo>
                    <a:lnTo>
                      <a:pt x="201" y="289"/>
                    </a:lnTo>
                    <a:lnTo>
                      <a:pt x="198" y="290"/>
                    </a:lnTo>
                    <a:lnTo>
                      <a:pt x="197" y="291"/>
                    </a:lnTo>
                    <a:lnTo>
                      <a:pt x="199" y="292"/>
                    </a:lnTo>
                    <a:lnTo>
                      <a:pt x="202" y="291"/>
                    </a:lnTo>
                    <a:lnTo>
                      <a:pt x="205" y="289"/>
                    </a:lnTo>
                    <a:lnTo>
                      <a:pt x="215" y="289"/>
                    </a:lnTo>
                    <a:lnTo>
                      <a:pt x="220" y="289"/>
                    </a:lnTo>
                    <a:lnTo>
                      <a:pt x="219" y="288"/>
                    </a:lnTo>
                    <a:lnTo>
                      <a:pt x="218" y="284"/>
                    </a:lnTo>
                    <a:lnTo>
                      <a:pt x="219" y="280"/>
                    </a:lnTo>
                    <a:lnTo>
                      <a:pt x="223" y="278"/>
                    </a:lnTo>
                    <a:lnTo>
                      <a:pt x="225" y="278"/>
                    </a:lnTo>
                    <a:lnTo>
                      <a:pt x="226" y="282"/>
                    </a:lnTo>
                    <a:lnTo>
                      <a:pt x="225" y="285"/>
                    </a:lnTo>
                    <a:lnTo>
                      <a:pt x="226" y="288"/>
                    </a:lnTo>
                    <a:lnTo>
                      <a:pt x="229" y="288"/>
                    </a:lnTo>
                    <a:lnTo>
                      <a:pt x="232" y="284"/>
                    </a:lnTo>
                    <a:lnTo>
                      <a:pt x="230" y="278"/>
                    </a:lnTo>
                    <a:lnTo>
                      <a:pt x="231" y="274"/>
                    </a:lnTo>
                    <a:lnTo>
                      <a:pt x="236" y="270"/>
                    </a:lnTo>
                    <a:lnTo>
                      <a:pt x="238" y="270"/>
                    </a:lnTo>
                    <a:lnTo>
                      <a:pt x="239" y="269"/>
                    </a:lnTo>
                    <a:lnTo>
                      <a:pt x="237" y="267"/>
                    </a:lnTo>
                    <a:lnTo>
                      <a:pt x="238" y="263"/>
                    </a:lnTo>
                    <a:lnTo>
                      <a:pt x="241" y="261"/>
                    </a:lnTo>
                    <a:lnTo>
                      <a:pt x="244" y="262"/>
                    </a:lnTo>
                    <a:lnTo>
                      <a:pt x="245" y="264"/>
                    </a:lnTo>
                    <a:lnTo>
                      <a:pt x="243" y="266"/>
                    </a:lnTo>
                    <a:lnTo>
                      <a:pt x="242" y="271"/>
                    </a:lnTo>
                    <a:lnTo>
                      <a:pt x="243" y="281"/>
                    </a:lnTo>
                    <a:lnTo>
                      <a:pt x="245" y="282"/>
                    </a:lnTo>
                    <a:lnTo>
                      <a:pt x="247" y="280"/>
                    </a:lnTo>
                    <a:lnTo>
                      <a:pt x="248" y="277"/>
                    </a:lnTo>
                    <a:lnTo>
                      <a:pt x="251" y="277"/>
                    </a:lnTo>
                    <a:lnTo>
                      <a:pt x="255" y="273"/>
                    </a:lnTo>
                    <a:lnTo>
                      <a:pt x="256" y="269"/>
                    </a:lnTo>
                    <a:lnTo>
                      <a:pt x="256" y="266"/>
                    </a:lnTo>
                    <a:lnTo>
                      <a:pt x="260" y="262"/>
                    </a:lnTo>
                    <a:lnTo>
                      <a:pt x="259" y="260"/>
                    </a:lnTo>
                    <a:lnTo>
                      <a:pt x="257" y="258"/>
                    </a:lnTo>
                    <a:lnTo>
                      <a:pt x="253" y="252"/>
                    </a:lnTo>
                    <a:lnTo>
                      <a:pt x="251" y="249"/>
                    </a:lnTo>
                    <a:lnTo>
                      <a:pt x="250" y="240"/>
                    </a:lnTo>
                    <a:lnTo>
                      <a:pt x="251" y="229"/>
                    </a:lnTo>
                    <a:lnTo>
                      <a:pt x="252" y="223"/>
                    </a:lnTo>
                    <a:lnTo>
                      <a:pt x="248" y="210"/>
                    </a:lnTo>
                    <a:lnTo>
                      <a:pt x="245" y="205"/>
                    </a:lnTo>
                    <a:lnTo>
                      <a:pt x="244" y="200"/>
                    </a:lnTo>
                    <a:lnTo>
                      <a:pt x="245" y="194"/>
                    </a:lnTo>
                    <a:lnTo>
                      <a:pt x="250" y="192"/>
                    </a:lnTo>
                    <a:lnTo>
                      <a:pt x="253" y="192"/>
                    </a:lnTo>
                    <a:lnTo>
                      <a:pt x="255" y="194"/>
                    </a:lnTo>
                    <a:lnTo>
                      <a:pt x="256" y="193"/>
                    </a:lnTo>
                    <a:lnTo>
                      <a:pt x="255" y="189"/>
                    </a:lnTo>
                    <a:lnTo>
                      <a:pt x="254" y="186"/>
                    </a:lnTo>
                    <a:lnTo>
                      <a:pt x="253" y="184"/>
                    </a:lnTo>
                    <a:lnTo>
                      <a:pt x="252" y="182"/>
                    </a:lnTo>
                    <a:lnTo>
                      <a:pt x="252" y="180"/>
                    </a:lnTo>
                    <a:lnTo>
                      <a:pt x="252" y="177"/>
                    </a:lnTo>
                    <a:lnTo>
                      <a:pt x="253" y="175"/>
                    </a:lnTo>
                    <a:lnTo>
                      <a:pt x="253" y="173"/>
                    </a:lnTo>
                    <a:lnTo>
                      <a:pt x="254" y="171"/>
                    </a:lnTo>
                    <a:lnTo>
                      <a:pt x="253" y="169"/>
                    </a:lnTo>
                    <a:lnTo>
                      <a:pt x="252" y="164"/>
                    </a:lnTo>
                    <a:lnTo>
                      <a:pt x="253" y="162"/>
                    </a:lnTo>
                    <a:lnTo>
                      <a:pt x="252" y="160"/>
                    </a:lnTo>
                    <a:lnTo>
                      <a:pt x="251" y="153"/>
                    </a:lnTo>
                    <a:lnTo>
                      <a:pt x="247" y="147"/>
                    </a:lnTo>
                    <a:lnTo>
                      <a:pt x="246" y="147"/>
                    </a:lnTo>
                    <a:lnTo>
                      <a:pt x="244" y="146"/>
                    </a:lnTo>
                    <a:lnTo>
                      <a:pt x="244" y="139"/>
                    </a:lnTo>
                    <a:lnTo>
                      <a:pt x="240" y="136"/>
                    </a:lnTo>
                    <a:lnTo>
                      <a:pt x="232" y="128"/>
                    </a:lnTo>
                    <a:lnTo>
                      <a:pt x="230" y="124"/>
                    </a:lnTo>
                    <a:lnTo>
                      <a:pt x="229" y="119"/>
                    </a:lnTo>
                    <a:lnTo>
                      <a:pt x="228" y="114"/>
                    </a:lnTo>
                    <a:lnTo>
                      <a:pt x="229" y="112"/>
                    </a:lnTo>
                    <a:lnTo>
                      <a:pt x="226" y="113"/>
                    </a:lnTo>
                    <a:lnTo>
                      <a:pt x="225" y="113"/>
                    </a:lnTo>
                    <a:lnTo>
                      <a:pt x="224" y="112"/>
                    </a:lnTo>
                    <a:lnTo>
                      <a:pt x="221" y="111"/>
                    </a:lnTo>
                    <a:lnTo>
                      <a:pt x="219" y="111"/>
                    </a:lnTo>
                    <a:lnTo>
                      <a:pt x="220" y="112"/>
                    </a:lnTo>
                    <a:lnTo>
                      <a:pt x="218" y="116"/>
                    </a:lnTo>
                    <a:lnTo>
                      <a:pt x="218" y="119"/>
                    </a:lnTo>
                    <a:lnTo>
                      <a:pt x="220" y="120"/>
                    </a:lnTo>
                    <a:lnTo>
                      <a:pt x="221" y="119"/>
                    </a:lnTo>
                    <a:lnTo>
                      <a:pt x="225" y="116"/>
                    </a:lnTo>
                    <a:lnTo>
                      <a:pt x="227" y="120"/>
                    </a:lnTo>
                    <a:lnTo>
                      <a:pt x="225" y="123"/>
                    </a:lnTo>
                    <a:lnTo>
                      <a:pt x="224" y="125"/>
                    </a:lnTo>
                    <a:lnTo>
                      <a:pt x="221" y="123"/>
                    </a:lnTo>
                    <a:lnTo>
                      <a:pt x="220" y="123"/>
                    </a:lnTo>
                    <a:lnTo>
                      <a:pt x="222" y="127"/>
                    </a:lnTo>
                    <a:lnTo>
                      <a:pt x="220" y="129"/>
                    </a:lnTo>
                    <a:lnTo>
                      <a:pt x="217" y="128"/>
                    </a:lnTo>
                    <a:lnTo>
                      <a:pt x="217" y="125"/>
                    </a:lnTo>
                    <a:lnTo>
                      <a:pt x="216" y="121"/>
                    </a:lnTo>
                    <a:lnTo>
                      <a:pt x="215" y="119"/>
                    </a:lnTo>
                    <a:lnTo>
                      <a:pt x="212" y="120"/>
                    </a:lnTo>
                    <a:lnTo>
                      <a:pt x="210" y="119"/>
                    </a:lnTo>
                    <a:lnTo>
                      <a:pt x="210" y="122"/>
                    </a:lnTo>
                    <a:lnTo>
                      <a:pt x="211" y="127"/>
                    </a:lnTo>
                    <a:lnTo>
                      <a:pt x="211" y="131"/>
                    </a:lnTo>
                    <a:lnTo>
                      <a:pt x="209" y="132"/>
                    </a:lnTo>
                    <a:lnTo>
                      <a:pt x="206" y="135"/>
                    </a:lnTo>
                    <a:lnTo>
                      <a:pt x="207" y="137"/>
                    </a:lnTo>
                    <a:lnTo>
                      <a:pt x="211" y="141"/>
                    </a:lnTo>
                    <a:lnTo>
                      <a:pt x="213" y="144"/>
                    </a:lnTo>
                    <a:lnTo>
                      <a:pt x="211" y="149"/>
                    </a:lnTo>
                    <a:lnTo>
                      <a:pt x="209" y="150"/>
                    </a:lnTo>
                    <a:lnTo>
                      <a:pt x="206" y="150"/>
                    </a:lnTo>
                    <a:lnTo>
                      <a:pt x="205" y="152"/>
                    </a:lnTo>
                    <a:lnTo>
                      <a:pt x="208" y="155"/>
                    </a:lnTo>
                    <a:lnTo>
                      <a:pt x="211" y="154"/>
                    </a:lnTo>
                    <a:lnTo>
                      <a:pt x="213" y="152"/>
                    </a:lnTo>
                    <a:lnTo>
                      <a:pt x="217" y="160"/>
                    </a:lnTo>
                    <a:lnTo>
                      <a:pt x="218" y="168"/>
                    </a:lnTo>
                    <a:lnTo>
                      <a:pt x="218" y="173"/>
                    </a:lnTo>
                    <a:lnTo>
                      <a:pt x="218" y="182"/>
                    </a:lnTo>
                    <a:lnTo>
                      <a:pt x="215" y="194"/>
                    </a:lnTo>
                    <a:lnTo>
                      <a:pt x="216" y="199"/>
                    </a:lnTo>
                    <a:lnTo>
                      <a:pt x="214" y="204"/>
                    </a:lnTo>
                    <a:lnTo>
                      <a:pt x="209" y="206"/>
                    </a:lnTo>
                    <a:lnTo>
                      <a:pt x="207" y="211"/>
                    </a:lnTo>
                    <a:lnTo>
                      <a:pt x="208" y="217"/>
                    </a:lnTo>
                    <a:lnTo>
                      <a:pt x="205" y="221"/>
                    </a:lnTo>
                    <a:lnTo>
                      <a:pt x="205" y="224"/>
                    </a:lnTo>
                    <a:lnTo>
                      <a:pt x="201" y="228"/>
                    </a:lnTo>
                    <a:lnTo>
                      <a:pt x="192" y="233"/>
                    </a:lnTo>
                    <a:lnTo>
                      <a:pt x="188" y="234"/>
                    </a:lnTo>
                    <a:lnTo>
                      <a:pt x="186" y="238"/>
                    </a:lnTo>
                    <a:lnTo>
                      <a:pt x="182" y="235"/>
                    </a:lnTo>
                    <a:lnTo>
                      <a:pt x="178" y="230"/>
                    </a:lnTo>
                    <a:lnTo>
                      <a:pt x="178" y="227"/>
                    </a:lnTo>
                    <a:lnTo>
                      <a:pt x="180" y="227"/>
                    </a:lnTo>
                    <a:lnTo>
                      <a:pt x="181" y="224"/>
                    </a:lnTo>
                    <a:lnTo>
                      <a:pt x="181" y="222"/>
                    </a:lnTo>
                    <a:lnTo>
                      <a:pt x="183" y="220"/>
                    </a:lnTo>
                    <a:lnTo>
                      <a:pt x="183" y="219"/>
                    </a:lnTo>
                    <a:lnTo>
                      <a:pt x="180" y="220"/>
                    </a:lnTo>
                    <a:lnTo>
                      <a:pt x="177" y="223"/>
                    </a:lnTo>
                    <a:lnTo>
                      <a:pt x="172" y="224"/>
                    </a:lnTo>
                    <a:lnTo>
                      <a:pt x="172" y="227"/>
                    </a:lnTo>
                    <a:lnTo>
                      <a:pt x="174" y="231"/>
                    </a:lnTo>
                    <a:lnTo>
                      <a:pt x="175" y="240"/>
                    </a:lnTo>
                    <a:lnTo>
                      <a:pt x="174" y="244"/>
                    </a:lnTo>
                    <a:lnTo>
                      <a:pt x="170" y="249"/>
                    </a:lnTo>
                    <a:lnTo>
                      <a:pt x="170" y="250"/>
                    </a:lnTo>
                    <a:lnTo>
                      <a:pt x="168" y="252"/>
                    </a:lnTo>
                    <a:lnTo>
                      <a:pt x="168" y="258"/>
                    </a:lnTo>
                    <a:lnTo>
                      <a:pt x="169" y="260"/>
                    </a:lnTo>
                    <a:lnTo>
                      <a:pt x="170" y="263"/>
                    </a:lnTo>
                    <a:lnTo>
                      <a:pt x="168" y="264"/>
                    </a:lnTo>
                    <a:lnTo>
                      <a:pt x="169" y="265"/>
                    </a:lnTo>
                    <a:lnTo>
                      <a:pt x="168" y="267"/>
                    </a:lnTo>
                    <a:lnTo>
                      <a:pt x="166" y="268"/>
                    </a:lnTo>
                    <a:lnTo>
                      <a:pt x="168" y="269"/>
                    </a:lnTo>
                    <a:lnTo>
                      <a:pt x="165" y="270"/>
                    </a:lnTo>
                    <a:lnTo>
                      <a:pt x="163" y="269"/>
                    </a:lnTo>
                    <a:lnTo>
                      <a:pt x="160" y="270"/>
                    </a:lnTo>
                    <a:lnTo>
                      <a:pt x="159" y="270"/>
                    </a:lnTo>
                    <a:lnTo>
                      <a:pt x="159" y="266"/>
                    </a:lnTo>
                    <a:lnTo>
                      <a:pt x="157" y="266"/>
                    </a:lnTo>
                    <a:lnTo>
                      <a:pt x="155" y="268"/>
                    </a:lnTo>
                    <a:lnTo>
                      <a:pt x="153" y="268"/>
                    </a:lnTo>
                    <a:lnTo>
                      <a:pt x="151" y="267"/>
                    </a:lnTo>
                    <a:lnTo>
                      <a:pt x="143" y="270"/>
                    </a:lnTo>
                    <a:lnTo>
                      <a:pt x="139" y="270"/>
                    </a:lnTo>
                    <a:lnTo>
                      <a:pt x="135" y="272"/>
                    </a:lnTo>
                    <a:lnTo>
                      <a:pt x="130" y="272"/>
                    </a:lnTo>
                    <a:lnTo>
                      <a:pt x="126" y="273"/>
                    </a:lnTo>
                    <a:lnTo>
                      <a:pt x="124" y="272"/>
                    </a:lnTo>
                    <a:lnTo>
                      <a:pt x="120" y="273"/>
                    </a:lnTo>
                    <a:lnTo>
                      <a:pt x="114" y="278"/>
                    </a:lnTo>
                    <a:lnTo>
                      <a:pt x="112" y="282"/>
                    </a:lnTo>
                    <a:lnTo>
                      <a:pt x="110" y="284"/>
                    </a:lnTo>
                    <a:lnTo>
                      <a:pt x="109" y="287"/>
                    </a:lnTo>
                    <a:lnTo>
                      <a:pt x="104" y="292"/>
                    </a:lnTo>
                    <a:lnTo>
                      <a:pt x="101" y="293"/>
                    </a:lnTo>
                    <a:lnTo>
                      <a:pt x="98" y="296"/>
                    </a:lnTo>
                    <a:lnTo>
                      <a:pt x="97" y="299"/>
                    </a:lnTo>
                    <a:lnTo>
                      <a:pt x="95" y="301"/>
                    </a:lnTo>
                    <a:lnTo>
                      <a:pt x="90" y="302"/>
                    </a:lnTo>
                    <a:lnTo>
                      <a:pt x="88" y="305"/>
                    </a:lnTo>
                    <a:lnTo>
                      <a:pt x="90" y="311"/>
                    </a:lnTo>
                    <a:lnTo>
                      <a:pt x="91" y="312"/>
                    </a:lnTo>
                    <a:lnTo>
                      <a:pt x="92" y="314"/>
                    </a:lnTo>
                    <a:lnTo>
                      <a:pt x="91" y="315"/>
                    </a:lnTo>
                    <a:lnTo>
                      <a:pt x="88" y="315"/>
                    </a:lnTo>
                    <a:lnTo>
                      <a:pt x="84" y="318"/>
                    </a:lnTo>
                    <a:lnTo>
                      <a:pt x="83" y="320"/>
                    </a:lnTo>
                    <a:lnTo>
                      <a:pt x="80" y="322"/>
                    </a:lnTo>
                    <a:lnTo>
                      <a:pt x="77" y="326"/>
                    </a:lnTo>
                    <a:lnTo>
                      <a:pt x="75" y="329"/>
                    </a:lnTo>
                    <a:lnTo>
                      <a:pt x="73" y="329"/>
                    </a:lnTo>
                    <a:lnTo>
                      <a:pt x="70" y="331"/>
                    </a:lnTo>
                    <a:lnTo>
                      <a:pt x="71" y="331"/>
                    </a:lnTo>
                    <a:lnTo>
                      <a:pt x="73" y="331"/>
                    </a:lnTo>
                    <a:lnTo>
                      <a:pt x="73" y="334"/>
                    </a:lnTo>
                    <a:lnTo>
                      <a:pt x="75" y="338"/>
                    </a:lnTo>
                    <a:lnTo>
                      <a:pt x="74" y="339"/>
                    </a:lnTo>
                    <a:lnTo>
                      <a:pt x="73" y="336"/>
                    </a:lnTo>
                    <a:lnTo>
                      <a:pt x="73" y="335"/>
                    </a:lnTo>
                    <a:lnTo>
                      <a:pt x="72" y="337"/>
                    </a:lnTo>
                    <a:lnTo>
                      <a:pt x="73" y="340"/>
                    </a:lnTo>
                    <a:lnTo>
                      <a:pt x="74" y="341"/>
                    </a:lnTo>
                    <a:lnTo>
                      <a:pt x="74" y="343"/>
                    </a:lnTo>
                    <a:lnTo>
                      <a:pt x="73" y="345"/>
                    </a:lnTo>
                    <a:lnTo>
                      <a:pt x="75" y="344"/>
                    </a:lnTo>
                    <a:lnTo>
                      <a:pt x="76" y="342"/>
                    </a:lnTo>
                    <a:lnTo>
                      <a:pt x="79" y="341"/>
                    </a:lnTo>
                    <a:lnTo>
                      <a:pt x="81" y="342"/>
                    </a:lnTo>
                    <a:lnTo>
                      <a:pt x="80" y="343"/>
                    </a:lnTo>
                    <a:lnTo>
                      <a:pt x="81" y="344"/>
                    </a:lnTo>
                    <a:lnTo>
                      <a:pt x="84" y="343"/>
                    </a:lnTo>
                    <a:lnTo>
                      <a:pt x="84" y="340"/>
                    </a:lnTo>
                    <a:lnTo>
                      <a:pt x="82" y="338"/>
                    </a:lnTo>
                    <a:lnTo>
                      <a:pt x="78" y="339"/>
                    </a:lnTo>
                    <a:lnTo>
                      <a:pt x="78" y="337"/>
                    </a:lnTo>
                    <a:lnTo>
                      <a:pt x="79" y="336"/>
                    </a:lnTo>
                    <a:lnTo>
                      <a:pt x="79" y="334"/>
                    </a:lnTo>
                    <a:lnTo>
                      <a:pt x="80" y="332"/>
                    </a:lnTo>
                    <a:lnTo>
                      <a:pt x="83" y="333"/>
                    </a:lnTo>
                    <a:lnTo>
                      <a:pt x="87" y="338"/>
                    </a:lnTo>
                    <a:lnTo>
                      <a:pt x="87" y="342"/>
                    </a:lnTo>
                    <a:lnTo>
                      <a:pt x="89" y="344"/>
                    </a:lnTo>
                    <a:lnTo>
                      <a:pt x="89" y="350"/>
                    </a:lnTo>
                    <a:lnTo>
                      <a:pt x="86" y="356"/>
                    </a:lnTo>
                    <a:lnTo>
                      <a:pt x="83" y="356"/>
                    </a:lnTo>
                    <a:lnTo>
                      <a:pt x="84" y="357"/>
                    </a:lnTo>
                    <a:lnTo>
                      <a:pt x="87" y="362"/>
                    </a:lnTo>
                    <a:lnTo>
                      <a:pt x="88" y="369"/>
                    </a:lnTo>
                    <a:lnTo>
                      <a:pt x="91" y="372"/>
                    </a:lnTo>
                    <a:lnTo>
                      <a:pt x="91" y="375"/>
                    </a:lnTo>
                    <a:lnTo>
                      <a:pt x="89" y="377"/>
                    </a:lnTo>
                    <a:lnTo>
                      <a:pt x="92" y="379"/>
                    </a:lnTo>
                    <a:lnTo>
                      <a:pt x="95" y="379"/>
                    </a:lnTo>
                    <a:lnTo>
                      <a:pt x="96" y="380"/>
                    </a:lnTo>
                    <a:lnTo>
                      <a:pt x="98" y="379"/>
                    </a:lnTo>
                    <a:lnTo>
                      <a:pt x="98" y="378"/>
                    </a:lnTo>
                    <a:lnTo>
                      <a:pt x="95" y="374"/>
                    </a:lnTo>
                    <a:lnTo>
                      <a:pt x="95" y="368"/>
                    </a:lnTo>
                    <a:lnTo>
                      <a:pt x="97" y="366"/>
                    </a:lnTo>
                    <a:lnTo>
                      <a:pt x="99" y="367"/>
                    </a:lnTo>
                    <a:lnTo>
                      <a:pt x="97" y="369"/>
                    </a:lnTo>
                    <a:lnTo>
                      <a:pt x="97" y="371"/>
                    </a:lnTo>
                    <a:lnTo>
                      <a:pt x="100" y="374"/>
                    </a:lnTo>
                    <a:lnTo>
                      <a:pt x="101" y="378"/>
                    </a:lnTo>
                    <a:lnTo>
                      <a:pt x="101" y="381"/>
                    </a:lnTo>
                    <a:lnTo>
                      <a:pt x="101" y="383"/>
                    </a:lnTo>
                    <a:lnTo>
                      <a:pt x="101" y="383"/>
                    </a:lnTo>
                    <a:close/>
                  </a:path>
                </a:pathLst>
              </a:custGeom>
              <a:solidFill>
                <a:schemeClr val="accent2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098" name="Freeform 100"/>
              <p:cNvSpPr>
                <a:spLocks noEditPoints="1"/>
              </p:cNvSpPr>
              <p:nvPr userDrawn="1"/>
            </p:nvSpPr>
            <p:spPr bwMode="auto">
              <a:xfrm>
                <a:off x="5699" y="2133"/>
                <a:ext cx="83" cy="128"/>
              </a:xfrm>
              <a:custGeom>
                <a:avLst/>
                <a:gdLst>
                  <a:gd name="T0" fmla="*/ 54 w 83"/>
                  <a:gd name="T1" fmla="*/ 91 h 128"/>
                  <a:gd name="T2" fmla="*/ 51 w 83"/>
                  <a:gd name="T3" fmla="*/ 91 h 128"/>
                  <a:gd name="T4" fmla="*/ 23 w 83"/>
                  <a:gd name="T5" fmla="*/ 102 h 128"/>
                  <a:gd name="T6" fmla="*/ 26 w 83"/>
                  <a:gd name="T7" fmla="*/ 98 h 128"/>
                  <a:gd name="T8" fmla="*/ 26 w 83"/>
                  <a:gd name="T9" fmla="*/ 103 h 128"/>
                  <a:gd name="T10" fmla="*/ 25 w 83"/>
                  <a:gd name="T11" fmla="*/ 104 h 128"/>
                  <a:gd name="T12" fmla="*/ 64 w 83"/>
                  <a:gd name="T13" fmla="*/ 89 h 128"/>
                  <a:gd name="T14" fmla="*/ 68 w 83"/>
                  <a:gd name="T15" fmla="*/ 89 h 128"/>
                  <a:gd name="T16" fmla="*/ 66 w 83"/>
                  <a:gd name="T17" fmla="*/ 86 h 128"/>
                  <a:gd name="T18" fmla="*/ 78 w 83"/>
                  <a:gd name="T19" fmla="*/ 107 h 128"/>
                  <a:gd name="T20" fmla="*/ 81 w 83"/>
                  <a:gd name="T21" fmla="*/ 107 h 128"/>
                  <a:gd name="T22" fmla="*/ 78 w 83"/>
                  <a:gd name="T23" fmla="*/ 109 h 128"/>
                  <a:gd name="T24" fmla="*/ 80 w 83"/>
                  <a:gd name="T25" fmla="*/ 102 h 128"/>
                  <a:gd name="T26" fmla="*/ 80 w 83"/>
                  <a:gd name="T27" fmla="*/ 94 h 128"/>
                  <a:gd name="T28" fmla="*/ 83 w 83"/>
                  <a:gd name="T29" fmla="*/ 97 h 128"/>
                  <a:gd name="T30" fmla="*/ 81 w 83"/>
                  <a:gd name="T31" fmla="*/ 101 h 128"/>
                  <a:gd name="T32" fmla="*/ 30 w 83"/>
                  <a:gd name="T33" fmla="*/ 122 h 128"/>
                  <a:gd name="T34" fmla="*/ 42 w 83"/>
                  <a:gd name="T35" fmla="*/ 123 h 128"/>
                  <a:gd name="T36" fmla="*/ 30 w 83"/>
                  <a:gd name="T37" fmla="*/ 128 h 128"/>
                  <a:gd name="T38" fmla="*/ 0 w 83"/>
                  <a:gd name="T39" fmla="*/ 22 h 128"/>
                  <a:gd name="T40" fmla="*/ 9 w 83"/>
                  <a:gd name="T41" fmla="*/ 20 h 128"/>
                  <a:gd name="T42" fmla="*/ 18 w 83"/>
                  <a:gd name="T43" fmla="*/ 34 h 128"/>
                  <a:gd name="T44" fmla="*/ 22 w 83"/>
                  <a:gd name="T45" fmla="*/ 40 h 128"/>
                  <a:gd name="T46" fmla="*/ 16 w 83"/>
                  <a:gd name="T47" fmla="*/ 39 h 128"/>
                  <a:gd name="T48" fmla="*/ 9 w 83"/>
                  <a:gd name="T49" fmla="*/ 46 h 128"/>
                  <a:gd name="T50" fmla="*/ 20 w 83"/>
                  <a:gd name="T51" fmla="*/ 53 h 128"/>
                  <a:gd name="T52" fmla="*/ 24 w 83"/>
                  <a:gd name="T53" fmla="*/ 61 h 128"/>
                  <a:gd name="T54" fmla="*/ 21 w 83"/>
                  <a:gd name="T55" fmla="*/ 73 h 128"/>
                  <a:gd name="T56" fmla="*/ 22 w 83"/>
                  <a:gd name="T57" fmla="*/ 79 h 128"/>
                  <a:gd name="T58" fmla="*/ 21 w 83"/>
                  <a:gd name="T59" fmla="*/ 86 h 128"/>
                  <a:gd name="T60" fmla="*/ 29 w 83"/>
                  <a:gd name="T61" fmla="*/ 98 h 128"/>
                  <a:gd name="T62" fmla="*/ 32 w 83"/>
                  <a:gd name="T63" fmla="*/ 101 h 128"/>
                  <a:gd name="T64" fmla="*/ 37 w 83"/>
                  <a:gd name="T65" fmla="*/ 94 h 128"/>
                  <a:gd name="T66" fmla="*/ 50 w 83"/>
                  <a:gd name="T67" fmla="*/ 88 h 128"/>
                  <a:gd name="T68" fmla="*/ 55 w 83"/>
                  <a:gd name="T69" fmla="*/ 89 h 128"/>
                  <a:gd name="T70" fmla="*/ 62 w 83"/>
                  <a:gd name="T71" fmla="*/ 88 h 128"/>
                  <a:gd name="T72" fmla="*/ 70 w 83"/>
                  <a:gd name="T73" fmla="*/ 84 h 128"/>
                  <a:gd name="T74" fmla="*/ 76 w 83"/>
                  <a:gd name="T75" fmla="*/ 74 h 128"/>
                  <a:gd name="T76" fmla="*/ 73 w 83"/>
                  <a:gd name="T77" fmla="*/ 62 h 128"/>
                  <a:gd name="T78" fmla="*/ 67 w 83"/>
                  <a:gd name="T79" fmla="*/ 42 h 128"/>
                  <a:gd name="T80" fmla="*/ 46 w 83"/>
                  <a:gd name="T81" fmla="*/ 11 h 128"/>
                  <a:gd name="T82" fmla="*/ 19 w 83"/>
                  <a:gd name="T83" fmla="*/ 4 h 128"/>
                  <a:gd name="T84" fmla="*/ 1 w 83"/>
                  <a:gd name="T85" fmla="*/ 17 h 1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83" h="128">
                    <a:moveTo>
                      <a:pt x="51" y="91"/>
                    </a:moveTo>
                    <a:lnTo>
                      <a:pt x="52" y="90"/>
                    </a:lnTo>
                    <a:lnTo>
                      <a:pt x="54" y="91"/>
                    </a:lnTo>
                    <a:lnTo>
                      <a:pt x="52" y="92"/>
                    </a:lnTo>
                    <a:lnTo>
                      <a:pt x="51" y="91"/>
                    </a:lnTo>
                    <a:lnTo>
                      <a:pt x="51" y="91"/>
                    </a:lnTo>
                    <a:lnTo>
                      <a:pt x="51" y="91"/>
                    </a:lnTo>
                    <a:close/>
                    <a:moveTo>
                      <a:pt x="25" y="104"/>
                    </a:moveTo>
                    <a:lnTo>
                      <a:pt x="23" y="102"/>
                    </a:lnTo>
                    <a:lnTo>
                      <a:pt x="24" y="100"/>
                    </a:lnTo>
                    <a:lnTo>
                      <a:pt x="25" y="100"/>
                    </a:lnTo>
                    <a:lnTo>
                      <a:pt x="26" y="98"/>
                    </a:lnTo>
                    <a:lnTo>
                      <a:pt x="27" y="100"/>
                    </a:lnTo>
                    <a:lnTo>
                      <a:pt x="27" y="103"/>
                    </a:lnTo>
                    <a:lnTo>
                      <a:pt x="26" y="103"/>
                    </a:lnTo>
                    <a:lnTo>
                      <a:pt x="25" y="104"/>
                    </a:lnTo>
                    <a:lnTo>
                      <a:pt x="25" y="104"/>
                    </a:lnTo>
                    <a:lnTo>
                      <a:pt x="25" y="104"/>
                    </a:lnTo>
                    <a:close/>
                    <a:moveTo>
                      <a:pt x="66" y="86"/>
                    </a:moveTo>
                    <a:lnTo>
                      <a:pt x="64" y="87"/>
                    </a:lnTo>
                    <a:lnTo>
                      <a:pt x="64" y="89"/>
                    </a:lnTo>
                    <a:lnTo>
                      <a:pt x="65" y="91"/>
                    </a:lnTo>
                    <a:lnTo>
                      <a:pt x="67" y="91"/>
                    </a:lnTo>
                    <a:lnTo>
                      <a:pt x="68" y="89"/>
                    </a:lnTo>
                    <a:lnTo>
                      <a:pt x="68" y="87"/>
                    </a:lnTo>
                    <a:lnTo>
                      <a:pt x="66" y="86"/>
                    </a:lnTo>
                    <a:lnTo>
                      <a:pt x="66" y="86"/>
                    </a:lnTo>
                    <a:lnTo>
                      <a:pt x="66" y="86"/>
                    </a:lnTo>
                    <a:close/>
                    <a:moveTo>
                      <a:pt x="78" y="109"/>
                    </a:moveTo>
                    <a:lnTo>
                      <a:pt x="78" y="107"/>
                    </a:lnTo>
                    <a:lnTo>
                      <a:pt x="79" y="104"/>
                    </a:lnTo>
                    <a:lnTo>
                      <a:pt x="82" y="104"/>
                    </a:lnTo>
                    <a:lnTo>
                      <a:pt x="81" y="107"/>
                    </a:lnTo>
                    <a:lnTo>
                      <a:pt x="80" y="108"/>
                    </a:lnTo>
                    <a:lnTo>
                      <a:pt x="78" y="109"/>
                    </a:lnTo>
                    <a:lnTo>
                      <a:pt x="78" y="109"/>
                    </a:lnTo>
                    <a:lnTo>
                      <a:pt x="78" y="109"/>
                    </a:lnTo>
                    <a:close/>
                    <a:moveTo>
                      <a:pt x="81" y="101"/>
                    </a:moveTo>
                    <a:lnTo>
                      <a:pt x="80" y="102"/>
                    </a:lnTo>
                    <a:lnTo>
                      <a:pt x="79" y="100"/>
                    </a:lnTo>
                    <a:lnTo>
                      <a:pt x="79" y="97"/>
                    </a:lnTo>
                    <a:lnTo>
                      <a:pt x="80" y="94"/>
                    </a:lnTo>
                    <a:lnTo>
                      <a:pt x="82" y="93"/>
                    </a:lnTo>
                    <a:lnTo>
                      <a:pt x="83" y="95"/>
                    </a:lnTo>
                    <a:lnTo>
                      <a:pt x="83" y="97"/>
                    </a:lnTo>
                    <a:lnTo>
                      <a:pt x="81" y="101"/>
                    </a:lnTo>
                    <a:lnTo>
                      <a:pt x="81" y="101"/>
                    </a:lnTo>
                    <a:lnTo>
                      <a:pt x="81" y="101"/>
                    </a:lnTo>
                    <a:close/>
                    <a:moveTo>
                      <a:pt x="30" y="128"/>
                    </a:moveTo>
                    <a:lnTo>
                      <a:pt x="28" y="125"/>
                    </a:lnTo>
                    <a:lnTo>
                      <a:pt x="30" y="122"/>
                    </a:lnTo>
                    <a:lnTo>
                      <a:pt x="38" y="120"/>
                    </a:lnTo>
                    <a:lnTo>
                      <a:pt x="41" y="120"/>
                    </a:lnTo>
                    <a:lnTo>
                      <a:pt x="42" y="123"/>
                    </a:lnTo>
                    <a:lnTo>
                      <a:pt x="39" y="127"/>
                    </a:lnTo>
                    <a:lnTo>
                      <a:pt x="32" y="128"/>
                    </a:lnTo>
                    <a:lnTo>
                      <a:pt x="30" y="128"/>
                    </a:lnTo>
                    <a:lnTo>
                      <a:pt x="30" y="128"/>
                    </a:lnTo>
                    <a:lnTo>
                      <a:pt x="30" y="128"/>
                    </a:lnTo>
                    <a:close/>
                    <a:moveTo>
                      <a:pt x="0" y="22"/>
                    </a:moveTo>
                    <a:lnTo>
                      <a:pt x="0" y="22"/>
                    </a:lnTo>
                    <a:lnTo>
                      <a:pt x="3" y="20"/>
                    </a:lnTo>
                    <a:lnTo>
                      <a:pt x="9" y="20"/>
                    </a:lnTo>
                    <a:lnTo>
                      <a:pt x="6" y="22"/>
                    </a:lnTo>
                    <a:lnTo>
                      <a:pt x="13" y="27"/>
                    </a:lnTo>
                    <a:lnTo>
                      <a:pt x="18" y="34"/>
                    </a:lnTo>
                    <a:lnTo>
                      <a:pt x="21" y="34"/>
                    </a:lnTo>
                    <a:lnTo>
                      <a:pt x="19" y="36"/>
                    </a:lnTo>
                    <a:lnTo>
                      <a:pt x="22" y="40"/>
                    </a:lnTo>
                    <a:lnTo>
                      <a:pt x="24" y="43"/>
                    </a:lnTo>
                    <a:lnTo>
                      <a:pt x="17" y="41"/>
                    </a:lnTo>
                    <a:lnTo>
                      <a:pt x="16" y="39"/>
                    </a:lnTo>
                    <a:lnTo>
                      <a:pt x="15" y="42"/>
                    </a:lnTo>
                    <a:lnTo>
                      <a:pt x="12" y="42"/>
                    </a:lnTo>
                    <a:lnTo>
                      <a:pt x="9" y="46"/>
                    </a:lnTo>
                    <a:lnTo>
                      <a:pt x="16" y="50"/>
                    </a:lnTo>
                    <a:lnTo>
                      <a:pt x="18" y="49"/>
                    </a:lnTo>
                    <a:lnTo>
                      <a:pt x="20" y="53"/>
                    </a:lnTo>
                    <a:lnTo>
                      <a:pt x="21" y="61"/>
                    </a:lnTo>
                    <a:lnTo>
                      <a:pt x="23" y="62"/>
                    </a:lnTo>
                    <a:lnTo>
                      <a:pt x="24" y="61"/>
                    </a:lnTo>
                    <a:lnTo>
                      <a:pt x="28" y="66"/>
                    </a:lnTo>
                    <a:lnTo>
                      <a:pt x="21" y="70"/>
                    </a:lnTo>
                    <a:lnTo>
                      <a:pt x="21" y="73"/>
                    </a:lnTo>
                    <a:lnTo>
                      <a:pt x="24" y="74"/>
                    </a:lnTo>
                    <a:lnTo>
                      <a:pt x="24" y="78"/>
                    </a:lnTo>
                    <a:lnTo>
                      <a:pt x="22" y="79"/>
                    </a:lnTo>
                    <a:lnTo>
                      <a:pt x="22" y="82"/>
                    </a:lnTo>
                    <a:lnTo>
                      <a:pt x="24" y="86"/>
                    </a:lnTo>
                    <a:lnTo>
                      <a:pt x="21" y="86"/>
                    </a:lnTo>
                    <a:lnTo>
                      <a:pt x="26" y="94"/>
                    </a:lnTo>
                    <a:lnTo>
                      <a:pt x="29" y="94"/>
                    </a:lnTo>
                    <a:lnTo>
                      <a:pt x="29" y="98"/>
                    </a:lnTo>
                    <a:lnTo>
                      <a:pt x="31" y="99"/>
                    </a:lnTo>
                    <a:lnTo>
                      <a:pt x="31" y="103"/>
                    </a:lnTo>
                    <a:lnTo>
                      <a:pt x="32" y="101"/>
                    </a:lnTo>
                    <a:lnTo>
                      <a:pt x="33" y="96"/>
                    </a:lnTo>
                    <a:lnTo>
                      <a:pt x="35" y="98"/>
                    </a:lnTo>
                    <a:lnTo>
                      <a:pt x="37" y="94"/>
                    </a:lnTo>
                    <a:lnTo>
                      <a:pt x="46" y="87"/>
                    </a:lnTo>
                    <a:lnTo>
                      <a:pt x="49" y="87"/>
                    </a:lnTo>
                    <a:lnTo>
                      <a:pt x="50" y="88"/>
                    </a:lnTo>
                    <a:lnTo>
                      <a:pt x="52" y="86"/>
                    </a:lnTo>
                    <a:lnTo>
                      <a:pt x="54" y="87"/>
                    </a:lnTo>
                    <a:lnTo>
                      <a:pt x="55" y="89"/>
                    </a:lnTo>
                    <a:lnTo>
                      <a:pt x="59" y="88"/>
                    </a:lnTo>
                    <a:lnTo>
                      <a:pt x="61" y="90"/>
                    </a:lnTo>
                    <a:lnTo>
                      <a:pt x="62" y="88"/>
                    </a:lnTo>
                    <a:lnTo>
                      <a:pt x="61" y="87"/>
                    </a:lnTo>
                    <a:lnTo>
                      <a:pt x="66" y="84"/>
                    </a:lnTo>
                    <a:lnTo>
                      <a:pt x="70" y="84"/>
                    </a:lnTo>
                    <a:lnTo>
                      <a:pt x="74" y="77"/>
                    </a:lnTo>
                    <a:lnTo>
                      <a:pt x="74" y="75"/>
                    </a:lnTo>
                    <a:lnTo>
                      <a:pt x="76" y="74"/>
                    </a:lnTo>
                    <a:lnTo>
                      <a:pt x="75" y="60"/>
                    </a:lnTo>
                    <a:lnTo>
                      <a:pt x="74" y="60"/>
                    </a:lnTo>
                    <a:lnTo>
                      <a:pt x="73" y="62"/>
                    </a:lnTo>
                    <a:lnTo>
                      <a:pt x="73" y="57"/>
                    </a:lnTo>
                    <a:lnTo>
                      <a:pt x="70" y="44"/>
                    </a:lnTo>
                    <a:lnTo>
                      <a:pt x="67" y="42"/>
                    </a:lnTo>
                    <a:lnTo>
                      <a:pt x="67" y="34"/>
                    </a:lnTo>
                    <a:lnTo>
                      <a:pt x="56" y="21"/>
                    </a:lnTo>
                    <a:lnTo>
                      <a:pt x="46" y="11"/>
                    </a:lnTo>
                    <a:lnTo>
                      <a:pt x="39" y="0"/>
                    </a:lnTo>
                    <a:lnTo>
                      <a:pt x="32" y="3"/>
                    </a:lnTo>
                    <a:lnTo>
                      <a:pt x="19" y="4"/>
                    </a:lnTo>
                    <a:lnTo>
                      <a:pt x="13" y="10"/>
                    </a:lnTo>
                    <a:lnTo>
                      <a:pt x="7" y="12"/>
                    </a:lnTo>
                    <a:lnTo>
                      <a:pt x="1" y="17"/>
                    </a:lnTo>
                    <a:lnTo>
                      <a:pt x="0" y="22"/>
                    </a:lnTo>
                    <a:lnTo>
                      <a:pt x="0" y="22"/>
                    </a:lnTo>
                    <a:close/>
                  </a:path>
                </a:pathLst>
              </a:custGeom>
              <a:solidFill>
                <a:schemeClr val="accent2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099" name="Freeform 101"/>
              <p:cNvSpPr>
                <a:spLocks/>
              </p:cNvSpPr>
              <p:nvPr userDrawn="1"/>
            </p:nvSpPr>
            <p:spPr bwMode="auto">
              <a:xfrm>
                <a:off x="5718" y="2133"/>
                <a:ext cx="20" cy="4"/>
              </a:xfrm>
              <a:custGeom>
                <a:avLst/>
                <a:gdLst>
                  <a:gd name="T0" fmla="*/ 20 w 20"/>
                  <a:gd name="T1" fmla="*/ 0 h 4"/>
                  <a:gd name="T2" fmla="*/ 13 w 20"/>
                  <a:gd name="T3" fmla="*/ 3 h 4"/>
                  <a:gd name="T4" fmla="*/ 0 w 20"/>
                  <a:gd name="T5" fmla="*/ 4 h 4"/>
                  <a:gd name="T6" fmla="*/ 20 w 20"/>
                  <a:gd name="T7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0" h="4">
                    <a:moveTo>
                      <a:pt x="20" y="0"/>
                    </a:moveTo>
                    <a:lnTo>
                      <a:pt x="13" y="3"/>
                    </a:lnTo>
                    <a:lnTo>
                      <a:pt x="0" y="4"/>
                    </a:lnTo>
                    <a:lnTo>
                      <a:pt x="20" y="0"/>
                    </a:ln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100" name="Freeform 102"/>
              <p:cNvSpPr>
                <a:spLocks/>
              </p:cNvSpPr>
              <p:nvPr userDrawn="1"/>
            </p:nvSpPr>
            <p:spPr bwMode="auto">
              <a:xfrm>
                <a:off x="5718" y="2133"/>
                <a:ext cx="20" cy="4"/>
              </a:xfrm>
              <a:custGeom>
                <a:avLst/>
                <a:gdLst>
                  <a:gd name="T0" fmla="*/ 20 w 20"/>
                  <a:gd name="T1" fmla="*/ 0 h 4"/>
                  <a:gd name="T2" fmla="*/ 13 w 20"/>
                  <a:gd name="T3" fmla="*/ 3 h 4"/>
                  <a:gd name="T4" fmla="*/ 0 w 20"/>
                  <a:gd name="T5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0" h="4">
                    <a:moveTo>
                      <a:pt x="20" y="0"/>
                    </a:moveTo>
                    <a:lnTo>
                      <a:pt x="13" y="3"/>
                    </a:lnTo>
                    <a:lnTo>
                      <a:pt x="0" y="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101" name="Freeform 103"/>
              <p:cNvSpPr>
                <a:spLocks noEditPoints="1"/>
              </p:cNvSpPr>
              <p:nvPr userDrawn="1"/>
            </p:nvSpPr>
            <p:spPr bwMode="auto">
              <a:xfrm>
                <a:off x="6720" y="3243"/>
                <a:ext cx="54" cy="45"/>
              </a:xfrm>
              <a:custGeom>
                <a:avLst/>
                <a:gdLst>
                  <a:gd name="T0" fmla="*/ 24 w 54"/>
                  <a:gd name="T1" fmla="*/ 16 h 45"/>
                  <a:gd name="T2" fmla="*/ 27 w 54"/>
                  <a:gd name="T3" fmla="*/ 10 h 45"/>
                  <a:gd name="T4" fmla="*/ 32 w 54"/>
                  <a:gd name="T5" fmla="*/ 10 h 45"/>
                  <a:gd name="T6" fmla="*/ 36 w 54"/>
                  <a:gd name="T7" fmla="*/ 8 h 45"/>
                  <a:gd name="T8" fmla="*/ 41 w 54"/>
                  <a:gd name="T9" fmla="*/ 10 h 45"/>
                  <a:gd name="T10" fmla="*/ 44 w 54"/>
                  <a:gd name="T11" fmla="*/ 5 h 45"/>
                  <a:gd name="T12" fmla="*/ 48 w 54"/>
                  <a:gd name="T13" fmla="*/ 5 h 45"/>
                  <a:gd name="T14" fmla="*/ 54 w 54"/>
                  <a:gd name="T15" fmla="*/ 0 h 45"/>
                  <a:gd name="T16" fmla="*/ 54 w 54"/>
                  <a:gd name="T17" fmla="*/ 2 h 45"/>
                  <a:gd name="T18" fmla="*/ 51 w 54"/>
                  <a:gd name="T19" fmla="*/ 6 h 45"/>
                  <a:gd name="T20" fmla="*/ 51 w 54"/>
                  <a:gd name="T21" fmla="*/ 9 h 45"/>
                  <a:gd name="T22" fmla="*/ 45 w 54"/>
                  <a:gd name="T23" fmla="*/ 14 h 45"/>
                  <a:gd name="T24" fmla="*/ 48 w 54"/>
                  <a:gd name="T25" fmla="*/ 15 h 45"/>
                  <a:gd name="T26" fmla="*/ 51 w 54"/>
                  <a:gd name="T27" fmla="*/ 11 h 45"/>
                  <a:gd name="T28" fmla="*/ 53 w 54"/>
                  <a:gd name="T29" fmla="*/ 13 h 45"/>
                  <a:gd name="T30" fmla="*/ 50 w 54"/>
                  <a:gd name="T31" fmla="*/ 16 h 45"/>
                  <a:gd name="T32" fmla="*/ 41 w 54"/>
                  <a:gd name="T33" fmla="*/ 18 h 45"/>
                  <a:gd name="T34" fmla="*/ 41 w 54"/>
                  <a:gd name="T35" fmla="*/ 16 h 45"/>
                  <a:gd name="T36" fmla="*/ 37 w 54"/>
                  <a:gd name="T37" fmla="*/ 16 h 45"/>
                  <a:gd name="T38" fmla="*/ 36 w 54"/>
                  <a:gd name="T39" fmla="*/ 17 h 45"/>
                  <a:gd name="T40" fmla="*/ 31 w 54"/>
                  <a:gd name="T41" fmla="*/ 16 h 45"/>
                  <a:gd name="T42" fmla="*/ 29 w 54"/>
                  <a:gd name="T43" fmla="*/ 19 h 45"/>
                  <a:gd name="T44" fmla="*/ 24 w 54"/>
                  <a:gd name="T45" fmla="*/ 16 h 45"/>
                  <a:gd name="T46" fmla="*/ 24 w 54"/>
                  <a:gd name="T47" fmla="*/ 16 h 45"/>
                  <a:gd name="T48" fmla="*/ 24 w 54"/>
                  <a:gd name="T49" fmla="*/ 16 h 45"/>
                  <a:gd name="T50" fmla="*/ 3 w 54"/>
                  <a:gd name="T51" fmla="*/ 33 h 45"/>
                  <a:gd name="T52" fmla="*/ 10 w 54"/>
                  <a:gd name="T53" fmla="*/ 27 h 45"/>
                  <a:gd name="T54" fmla="*/ 18 w 54"/>
                  <a:gd name="T55" fmla="*/ 25 h 45"/>
                  <a:gd name="T56" fmla="*/ 24 w 54"/>
                  <a:gd name="T57" fmla="*/ 32 h 45"/>
                  <a:gd name="T58" fmla="*/ 26 w 54"/>
                  <a:gd name="T59" fmla="*/ 41 h 45"/>
                  <a:gd name="T60" fmla="*/ 22 w 54"/>
                  <a:gd name="T61" fmla="*/ 44 h 45"/>
                  <a:gd name="T62" fmla="*/ 17 w 54"/>
                  <a:gd name="T63" fmla="*/ 43 h 45"/>
                  <a:gd name="T64" fmla="*/ 14 w 54"/>
                  <a:gd name="T65" fmla="*/ 45 h 45"/>
                  <a:gd name="T66" fmla="*/ 5 w 54"/>
                  <a:gd name="T67" fmla="*/ 44 h 45"/>
                  <a:gd name="T68" fmla="*/ 0 w 54"/>
                  <a:gd name="T69" fmla="*/ 41 h 45"/>
                  <a:gd name="T70" fmla="*/ 0 w 54"/>
                  <a:gd name="T71" fmla="*/ 37 h 45"/>
                  <a:gd name="T72" fmla="*/ 3 w 54"/>
                  <a:gd name="T73" fmla="*/ 36 h 45"/>
                  <a:gd name="T74" fmla="*/ 3 w 54"/>
                  <a:gd name="T75" fmla="*/ 33 h 45"/>
                  <a:gd name="T76" fmla="*/ 3 w 54"/>
                  <a:gd name="T77" fmla="*/ 33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54" h="45">
                    <a:moveTo>
                      <a:pt x="24" y="16"/>
                    </a:moveTo>
                    <a:lnTo>
                      <a:pt x="27" y="10"/>
                    </a:lnTo>
                    <a:lnTo>
                      <a:pt x="32" y="10"/>
                    </a:lnTo>
                    <a:lnTo>
                      <a:pt x="36" y="8"/>
                    </a:lnTo>
                    <a:lnTo>
                      <a:pt x="41" y="10"/>
                    </a:lnTo>
                    <a:lnTo>
                      <a:pt x="44" y="5"/>
                    </a:lnTo>
                    <a:lnTo>
                      <a:pt x="48" y="5"/>
                    </a:lnTo>
                    <a:lnTo>
                      <a:pt x="54" y="0"/>
                    </a:lnTo>
                    <a:lnTo>
                      <a:pt x="54" y="2"/>
                    </a:lnTo>
                    <a:lnTo>
                      <a:pt x="51" y="6"/>
                    </a:lnTo>
                    <a:lnTo>
                      <a:pt x="51" y="9"/>
                    </a:lnTo>
                    <a:lnTo>
                      <a:pt x="45" y="14"/>
                    </a:lnTo>
                    <a:lnTo>
                      <a:pt x="48" y="15"/>
                    </a:lnTo>
                    <a:lnTo>
                      <a:pt x="51" y="11"/>
                    </a:lnTo>
                    <a:lnTo>
                      <a:pt x="53" y="13"/>
                    </a:lnTo>
                    <a:lnTo>
                      <a:pt x="50" y="16"/>
                    </a:lnTo>
                    <a:lnTo>
                      <a:pt x="41" y="18"/>
                    </a:lnTo>
                    <a:lnTo>
                      <a:pt x="41" y="16"/>
                    </a:lnTo>
                    <a:lnTo>
                      <a:pt x="37" y="16"/>
                    </a:lnTo>
                    <a:lnTo>
                      <a:pt x="36" y="17"/>
                    </a:lnTo>
                    <a:lnTo>
                      <a:pt x="31" y="16"/>
                    </a:lnTo>
                    <a:lnTo>
                      <a:pt x="29" y="19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close/>
                    <a:moveTo>
                      <a:pt x="3" y="33"/>
                    </a:moveTo>
                    <a:lnTo>
                      <a:pt x="10" y="27"/>
                    </a:lnTo>
                    <a:lnTo>
                      <a:pt x="18" y="25"/>
                    </a:lnTo>
                    <a:lnTo>
                      <a:pt x="24" y="32"/>
                    </a:lnTo>
                    <a:lnTo>
                      <a:pt x="26" y="41"/>
                    </a:lnTo>
                    <a:lnTo>
                      <a:pt x="22" y="44"/>
                    </a:lnTo>
                    <a:lnTo>
                      <a:pt x="17" y="43"/>
                    </a:lnTo>
                    <a:lnTo>
                      <a:pt x="14" y="45"/>
                    </a:lnTo>
                    <a:lnTo>
                      <a:pt x="5" y="44"/>
                    </a:lnTo>
                    <a:lnTo>
                      <a:pt x="0" y="41"/>
                    </a:lnTo>
                    <a:lnTo>
                      <a:pt x="0" y="37"/>
                    </a:lnTo>
                    <a:lnTo>
                      <a:pt x="3" y="36"/>
                    </a:lnTo>
                    <a:lnTo>
                      <a:pt x="3" y="33"/>
                    </a:lnTo>
                    <a:lnTo>
                      <a:pt x="3" y="33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102" name="Freeform 104"/>
              <p:cNvSpPr>
                <a:spLocks/>
              </p:cNvSpPr>
              <p:nvPr userDrawn="1"/>
            </p:nvSpPr>
            <p:spPr bwMode="auto">
              <a:xfrm>
                <a:off x="6569" y="3310"/>
                <a:ext cx="1" cy="5"/>
              </a:xfrm>
              <a:custGeom>
                <a:avLst/>
                <a:gdLst>
                  <a:gd name="T0" fmla="*/ 0 w 2"/>
                  <a:gd name="T1" fmla="*/ 0 h 5"/>
                  <a:gd name="T2" fmla="*/ 2 w 2"/>
                  <a:gd name="T3" fmla="*/ 2 h 5"/>
                  <a:gd name="T4" fmla="*/ 2 w 2"/>
                  <a:gd name="T5" fmla="*/ 5 h 5"/>
                  <a:gd name="T6" fmla="*/ 0 w 2"/>
                  <a:gd name="T7" fmla="*/ 2 h 5"/>
                  <a:gd name="T8" fmla="*/ 0 w 2"/>
                  <a:gd name="T9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5">
                    <a:moveTo>
                      <a:pt x="0" y="0"/>
                    </a:moveTo>
                    <a:cubicBezTo>
                      <a:pt x="2" y="2"/>
                      <a:pt x="2" y="2"/>
                      <a:pt x="2" y="2"/>
                    </a:cubicBezTo>
                    <a:cubicBezTo>
                      <a:pt x="2" y="5"/>
                      <a:pt x="2" y="5"/>
                      <a:pt x="2" y="5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103" name="Freeform 105"/>
              <p:cNvSpPr>
                <a:spLocks/>
              </p:cNvSpPr>
              <p:nvPr userDrawn="1"/>
            </p:nvSpPr>
            <p:spPr bwMode="auto">
              <a:xfrm>
                <a:off x="6565" y="3293"/>
                <a:ext cx="4" cy="9"/>
              </a:xfrm>
              <a:custGeom>
                <a:avLst/>
                <a:gdLst>
                  <a:gd name="T0" fmla="*/ 2 w 4"/>
                  <a:gd name="T1" fmla="*/ 0 h 9"/>
                  <a:gd name="T2" fmla="*/ 4 w 4"/>
                  <a:gd name="T3" fmla="*/ 3 h 9"/>
                  <a:gd name="T4" fmla="*/ 4 w 4"/>
                  <a:gd name="T5" fmla="*/ 9 h 9"/>
                  <a:gd name="T6" fmla="*/ 1 w 4"/>
                  <a:gd name="T7" fmla="*/ 5 h 9"/>
                  <a:gd name="T8" fmla="*/ 0 w 4"/>
                  <a:gd name="T9" fmla="*/ 2 h 9"/>
                  <a:gd name="T10" fmla="*/ 2 w 4"/>
                  <a:gd name="T11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9">
                    <a:moveTo>
                      <a:pt x="2" y="0"/>
                    </a:moveTo>
                    <a:cubicBezTo>
                      <a:pt x="4" y="3"/>
                      <a:pt x="4" y="3"/>
                      <a:pt x="4" y="3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2" y="0"/>
                      <a:pt x="2" y="0"/>
                      <a:pt x="2" y="0"/>
                    </a:cubicBez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104" name="Freeform 106"/>
              <p:cNvSpPr>
                <a:spLocks/>
              </p:cNvSpPr>
              <p:nvPr userDrawn="1"/>
            </p:nvSpPr>
            <p:spPr bwMode="auto">
              <a:xfrm>
                <a:off x="6553" y="3270"/>
                <a:ext cx="7" cy="7"/>
              </a:xfrm>
              <a:custGeom>
                <a:avLst/>
                <a:gdLst>
                  <a:gd name="T0" fmla="*/ 0 w 7"/>
                  <a:gd name="T1" fmla="*/ 1 h 7"/>
                  <a:gd name="T2" fmla="*/ 5 w 7"/>
                  <a:gd name="T3" fmla="*/ 0 h 7"/>
                  <a:gd name="T4" fmla="*/ 7 w 7"/>
                  <a:gd name="T5" fmla="*/ 2 h 7"/>
                  <a:gd name="T6" fmla="*/ 7 w 7"/>
                  <a:gd name="T7" fmla="*/ 6 h 7"/>
                  <a:gd name="T8" fmla="*/ 4 w 7"/>
                  <a:gd name="T9" fmla="*/ 7 h 7"/>
                  <a:gd name="T10" fmla="*/ 1 w 7"/>
                  <a:gd name="T11" fmla="*/ 5 h 7"/>
                  <a:gd name="T12" fmla="*/ 0 w 7"/>
                  <a:gd name="T13" fmla="*/ 1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" h="7">
                    <a:moveTo>
                      <a:pt x="0" y="1"/>
                    </a:moveTo>
                    <a:cubicBezTo>
                      <a:pt x="5" y="0"/>
                      <a:pt x="5" y="0"/>
                      <a:pt x="5" y="0"/>
                    </a:cubicBezTo>
                    <a:cubicBezTo>
                      <a:pt x="7" y="2"/>
                      <a:pt x="7" y="2"/>
                      <a:pt x="7" y="2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0" y="1"/>
                      <a:pt x="0" y="1"/>
                      <a:pt x="0" y="1"/>
                    </a:cubicBez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105" name="Freeform 107"/>
              <p:cNvSpPr>
                <a:spLocks/>
              </p:cNvSpPr>
              <p:nvPr userDrawn="1"/>
            </p:nvSpPr>
            <p:spPr bwMode="auto">
              <a:xfrm>
                <a:off x="6558" y="3215"/>
                <a:ext cx="2" cy="9"/>
              </a:xfrm>
              <a:custGeom>
                <a:avLst/>
                <a:gdLst>
                  <a:gd name="T0" fmla="*/ 0 w 2"/>
                  <a:gd name="T1" fmla="*/ 0 h 10"/>
                  <a:gd name="T2" fmla="*/ 2 w 2"/>
                  <a:gd name="T3" fmla="*/ 7 h 10"/>
                  <a:gd name="T4" fmla="*/ 0 w 2"/>
                  <a:gd name="T5" fmla="*/ 10 h 10"/>
                  <a:gd name="T6" fmla="*/ 1 w 2"/>
                  <a:gd name="T7" fmla="*/ 7 h 10"/>
                  <a:gd name="T8" fmla="*/ 0 w 2"/>
                  <a:gd name="T9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10">
                    <a:moveTo>
                      <a:pt x="0" y="0"/>
                    </a:moveTo>
                    <a:cubicBezTo>
                      <a:pt x="2" y="7"/>
                      <a:pt x="2" y="7"/>
                      <a:pt x="2" y="7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1" y="7"/>
                      <a:pt x="1" y="7"/>
                      <a:pt x="1" y="7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106" name="Freeform 108"/>
              <p:cNvSpPr>
                <a:spLocks/>
              </p:cNvSpPr>
              <p:nvPr userDrawn="1"/>
            </p:nvSpPr>
            <p:spPr bwMode="auto">
              <a:xfrm>
                <a:off x="6549" y="3223"/>
                <a:ext cx="6" cy="4"/>
              </a:xfrm>
              <a:custGeom>
                <a:avLst/>
                <a:gdLst>
                  <a:gd name="T0" fmla="*/ 0 w 6"/>
                  <a:gd name="T1" fmla="*/ 3 h 4"/>
                  <a:gd name="T2" fmla="*/ 3 w 6"/>
                  <a:gd name="T3" fmla="*/ 4 h 4"/>
                  <a:gd name="T4" fmla="*/ 6 w 6"/>
                  <a:gd name="T5" fmla="*/ 1 h 4"/>
                  <a:gd name="T6" fmla="*/ 6 w 6"/>
                  <a:gd name="T7" fmla="*/ 0 h 4"/>
                  <a:gd name="T8" fmla="*/ 2 w 6"/>
                  <a:gd name="T9" fmla="*/ 1 h 4"/>
                  <a:gd name="T10" fmla="*/ 0 w 6"/>
                  <a:gd name="T11" fmla="*/ 3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" h="4">
                    <a:moveTo>
                      <a:pt x="0" y="3"/>
                    </a:moveTo>
                    <a:cubicBezTo>
                      <a:pt x="3" y="4"/>
                      <a:pt x="3" y="4"/>
                      <a:pt x="3" y="4"/>
                    </a:cubicBezTo>
                    <a:cubicBezTo>
                      <a:pt x="6" y="1"/>
                      <a:pt x="6" y="1"/>
                      <a:pt x="6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0" y="3"/>
                      <a:pt x="0" y="3"/>
                      <a:pt x="0" y="3"/>
                    </a:cubicBez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107" name="Freeform 109"/>
              <p:cNvSpPr>
                <a:spLocks/>
              </p:cNvSpPr>
              <p:nvPr userDrawn="1"/>
            </p:nvSpPr>
            <p:spPr bwMode="auto">
              <a:xfrm>
                <a:off x="6557" y="3229"/>
                <a:ext cx="3" cy="8"/>
              </a:xfrm>
              <a:custGeom>
                <a:avLst/>
                <a:gdLst>
                  <a:gd name="T0" fmla="*/ 1 w 3"/>
                  <a:gd name="T1" fmla="*/ 0 h 9"/>
                  <a:gd name="T2" fmla="*/ 2 w 3"/>
                  <a:gd name="T3" fmla="*/ 2 h 9"/>
                  <a:gd name="T4" fmla="*/ 3 w 3"/>
                  <a:gd name="T5" fmla="*/ 6 h 9"/>
                  <a:gd name="T6" fmla="*/ 3 w 3"/>
                  <a:gd name="T7" fmla="*/ 9 h 9"/>
                  <a:gd name="T8" fmla="*/ 1 w 3"/>
                  <a:gd name="T9" fmla="*/ 8 h 9"/>
                  <a:gd name="T10" fmla="*/ 0 w 3"/>
                  <a:gd name="T11" fmla="*/ 4 h 9"/>
                  <a:gd name="T12" fmla="*/ 1 w 3"/>
                  <a:gd name="T13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" h="9">
                    <a:moveTo>
                      <a:pt x="1" y="0"/>
                    </a:moveTo>
                    <a:cubicBezTo>
                      <a:pt x="2" y="2"/>
                      <a:pt x="2" y="2"/>
                      <a:pt x="2" y="2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3" y="9"/>
                      <a:pt x="3" y="9"/>
                      <a:pt x="3" y="9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1" y="0"/>
                      <a:pt x="1" y="0"/>
                      <a:pt x="1" y="0"/>
                    </a:cubicBez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108" name="Freeform 110"/>
              <p:cNvSpPr>
                <a:spLocks/>
              </p:cNvSpPr>
              <p:nvPr userDrawn="1"/>
            </p:nvSpPr>
            <p:spPr bwMode="auto">
              <a:xfrm>
                <a:off x="6554" y="3253"/>
                <a:ext cx="6" cy="4"/>
              </a:xfrm>
              <a:custGeom>
                <a:avLst/>
                <a:gdLst>
                  <a:gd name="T0" fmla="*/ 0 w 6"/>
                  <a:gd name="T1" fmla="*/ 3 h 4"/>
                  <a:gd name="T2" fmla="*/ 2 w 6"/>
                  <a:gd name="T3" fmla="*/ 0 h 4"/>
                  <a:gd name="T4" fmla="*/ 6 w 6"/>
                  <a:gd name="T5" fmla="*/ 2 h 4"/>
                  <a:gd name="T6" fmla="*/ 6 w 6"/>
                  <a:gd name="T7" fmla="*/ 4 h 4"/>
                  <a:gd name="T8" fmla="*/ 2 w 6"/>
                  <a:gd name="T9" fmla="*/ 4 h 4"/>
                  <a:gd name="T10" fmla="*/ 0 w 6"/>
                  <a:gd name="T11" fmla="*/ 3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" h="4">
                    <a:moveTo>
                      <a:pt x="0" y="3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6" y="2"/>
                      <a:pt x="6" y="2"/>
                      <a:pt x="6" y="2"/>
                    </a:cubicBezTo>
                    <a:cubicBezTo>
                      <a:pt x="6" y="4"/>
                      <a:pt x="6" y="4"/>
                      <a:pt x="6" y="4"/>
                    </a:cubicBezTo>
                    <a:cubicBezTo>
                      <a:pt x="2" y="4"/>
                      <a:pt x="2" y="4"/>
                      <a:pt x="2" y="4"/>
                    </a:cubicBezTo>
                    <a:cubicBezTo>
                      <a:pt x="0" y="3"/>
                      <a:pt x="0" y="3"/>
                      <a:pt x="0" y="3"/>
                    </a:cubicBez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109" name="Freeform 111"/>
              <p:cNvSpPr>
                <a:spLocks/>
              </p:cNvSpPr>
              <p:nvPr userDrawn="1"/>
            </p:nvSpPr>
            <p:spPr bwMode="auto">
              <a:xfrm>
                <a:off x="6551" y="3242"/>
                <a:ext cx="8" cy="7"/>
              </a:xfrm>
              <a:custGeom>
                <a:avLst/>
                <a:gdLst>
                  <a:gd name="T0" fmla="*/ 0 w 8"/>
                  <a:gd name="T1" fmla="*/ 3 h 7"/>
                  <a:gd name="T2" fmla="*/ 5 w 8"/>
                  <a:gd name="T3" fmla="*/ 0 h 7"/>
                  <a:gd name="T4" fmla="*/ 6 w 8"/>
                  <a:gd name="T5" fmla="*/ 2 h 7"/>
                  <a:gd name="T6" fmla="*/ 8 w 8"/>
                  <a:gd name="T7" fmla="*/ 3 h 7"/>
                  <a:gd name="T8" fmla="*/ 8 w 8"/>
                  <a:gd name="T9" fmla="*/ 6 h 7"/>
                  <a:gd name="T10" fmla="*/ 6 w 8"/>
                  <a:gd name="T11" fmla="*/ 6 h 7"/>
                  <a:gd name="T12" fmla="*/ 4 w 8"/>
                  <a:gd name="T13" fmla="*/ 7 h 7"/>
                  <a:gd name="T14" fmla="*/ 2 w 8"/>
                  <a:gd name="T15" fmla="*/ 7 h 7"/>
                  <a:gd name="T16" fmla="*/ 0 w 8"/>
                  <a:gd name="T17" fmla="*/ 5 h 7"/>
                  <a:gd name="T18" fmla="*/ 0 w 8"/>
                  <a:gd name="T19" fmla="*/ 3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" h="7">
                    <a:moveTo>
                      <a:pt x="0" y="3"/>
                    </a:moveTo>
                    <a:cubicBezTo>
                      <a:pt x="5" y="0"/>
                      <a:pt x="5" y="0"/>
                      <a:pt x="5" y="0"/>
                    </a:cubicBezTo>
                    <a:cubicBezTo>
                      <a:pt x="6" y="2"/>
                      <a:pt x="6" y="2"/>
                      <a:pt x="6" y="2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6"/>
                      <a:pt x="8" y="6"/>
                      <a:pt x="8" y="6"/>
                    </a:cubicBezTo>
                    <a:cubicBezTo>
                      <a:pt x="6" y="6"/>
                      <a:pt x="6" y="6"/>
                      <a:pt x="6" y="6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3"/>
                      <a:pt x="0" y="3"/>
                      <a:pt x="0" y="3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110" name="Freeform 112"/>
              <p:cNvSpPr>
                <a:spLocks/>
              </p:cNvSpPr>
              <p:nvPr userDrawn="1"/>
            </p:nvSpPr>
            <p:spPr bwMode="auto">
              <a:xfrm>
                <a:off x="6538" y="3237"/>
                <a:ext cx="11" cy="16"/>
              </a:xfrm>
              <a:custGeom>
                <a:avLst/>
                <a:gdLst>
                  <a:gd name="T0" fmla="*/ 1 w 12"/>
                  <a:gd name="T1" fmla="*/ 0 h 17"/>
                  <a:gd name="T2" fmla="*/ 4 w 12"/>
                  <a:gd name="T3" fmla="*/ 0 h 17"/>
                  <a:gd name="T4" fmla="*/ 7 w 12"/>
                  <a:gd name="T5" fmla="*/ 3 h 17"/>
                  <a:gd name="T6" fmla="*/ 7 w 12"/>
                  <a:gd name="T7" fmla="*/ 6 h 17"/>
                  <a:gd name="T8" fmla="*/ 10 w 12"/>
                  <a:gd name="T9" fmla="*/ 11 h 17"/>
                  <a:gd name="T10" fmla="*/ 12 w 12"/>
                  <a:gd name="T11" fmla="*/ 13 h 17"/>
                  <a:gd name="T12" fmla="*/ 9 w 12"/>
                  <a:gd name="T13" fmla="*/ 14 h 17"/>
                  <a:gd name="T14" fmla="*/ 4 w 12"/>
                  <a:gd name="T15" fmla="*/ 17 h 17"/>
                  <a:gd name="T16" fmla="*/ 3 w 12"/>
                  <a:gd name="T17" fmla="*/ 14 h 17"/>
                  <a:gd name="T18" fmla="*/ 4 w 12"/>
                  <a:gd name="T19" fmla="*/ 9 h 17"/>
                  <a:gd name="T20" fmla="*/ 5 w 12"/>
                  <a:gd name="T21" fmla="*/ 6 h 17"/>
                  <a:gd name="T22" fmla="*/ 3 w 12"/>
                  <a:gd name="T23" fmla="*/ 4 h 17"/>
                  <a:gd name="T24" fmla="*/ 1 w 12"/>
                  <a:gd name="T25" fmla="*/ 4 h 17"/>
                  <a:gd name="T26" fmla="*/ 0 w 12"/>
                  <a:gd name="T27" fmla="*/ 2 h 17"/>
                  <a:gd name="T28" fmla="*/ 1 w 12"/>
                  <a:gd name="T29" fmla="*/ 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2" h="17">
                    <a:moveTo>
                      <a:pt x="1" y="0"/>
                    </a:moveTo>
                    <a:cubicBezTo>
                      <a:pt x="4" y="0"/>
                      <a:pt x="4" y="0"/>
                      <a:pt x="4" y="0"/>
                    </a:cubicBezTo>
                    <a:cubicBezTo>
                      <a:pt x="7" y="3"/>
                      <a:pt x="7" y="3"/>
                      <a:pt x="7" y="3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10" y="11"/>
                      <a:pt x="10" y="11"/>
                      <a:pt x="10" y="11"/>
                    </a:cubicBezTo>
                    <a:cubicBezTo>
                      <a:pt x="12" y="13"/>
                      <a:pt x="12" y="13"/>
                      <a:pt x="12" y="13"/>
                    </a:cubicBezTo>
                    <a:cubicBezTo>
                      <a:pt x="9" y="14"/>
                      <a:pt x="9" y="14"/>
                      <a:pt x="9" y="14"/>
                    </a:cubicBezTo>
                    <a:cubicBezTo>
                      <a:pt x="4" y="17"/>
                      <a:pt x="4" y="17"/>
                      <a:pt x="4" y="17"/>
                    </a:cubicBezTo>
                    <a:cubicBezTo>
                      <a:pt x="3" y="14"/>
                      <a:pt x="3" y="14"/>
                      <a:pt x="3" y="14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1" y="0"/>
                      <a:pt x="1" y="0"/>
                      <a:pt x="1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111" name="Freeform 113"/>
              <p:cNvSpPr>
                <a:spLocks/>
              </p:cNvSpPr>
              <p:nvPr userDrawn="1"/>
            </p:nvSpPr>
            <p:spPr bwMode="auto">
              <a:xfrm>
                <a:off x="6533" y="3217"/>
                <a:ext cx="4" cy="4"/>
              </a:xfrm>
              <a:custGeom>
                <a:avLst/>
                <a:gdLst>
                  <a:gd name="T0" fmla="*/ 4 w 4"/>
                  <a:gd name="T1" fmla="*/ 0 h 4"/>
                  <a:gd name="T2" fmla="*/ 4 w 4"/>
                  <a:gd name="T3" fmla="*/ 3 h 4"/>
                  <a:gd name="T4" fmla="*/ 1 w 4"/>
                  <a:gd name="T5" fmla="*/ 4 h 4"/>
                  <a:gd name="T6" fmla="*/ 0 w 4"/>
                  <a:gd name="T7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" h="4">
                    <a:moveTo>
                      <a:pt x="4" y="0"/>
                    </a:moveTo>
                    <a:cubicBezTo>
                      <a:pt x="4" y="3"/>
                      <a:pt x="4" y="3"/>
                      <a:pt x="4" y="3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0" y="2"/>
                      <a:pt x="0" y="2"/>
                      <a:pt x="0" y="2"/>
                    </a:cubicBezTo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112" name="Freeform 114"/>
              <p:cNvSpPr>
                <a:spLocks/>
              </p:cNvSpPr>
              <p:nvPr userDrawn="1"/>
            </p:nvSpPr>
            <p:spPr bwMode="auto">
              <a:xfrm>
                <a:off x="6539" y="3218"/>
                <a:ext cx="2" cy="10"/>
              </a:xfrm>
              <a:custGeom>
                <a:avLst/>
                <a:gdLst>
                  <a:gd name="T0" fmla="*/ 2 w 2"/>
                  <a:gd name="T1" fmla="*/ 10 h 10"/>
                  <a:gd name="T2" fmla="*/ 2 w 2"/>
                  <a:gd name="T3" fmla="*/ 6 h 10"/>
                  <a:gd name="T4" fmla="*/ 0 w 2"/>
                  <a:gd name="T5" fmla="*/ 3 h 10"/>
                  <a:gd name="T6" fmla="*/ 1 w 2"/>
                  <a:gd name="T7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10">
                    <a:moveTo>
                      <a:pt x="2" y="10"/>
                    </a:moveTo>
                    <a:cubicBezTo>
                      <a:pt x="2" y="6"/>
                      <a:pt x="2" y="6"/>
                      <a:pt x="2" y="6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113" name="Freeform 115"/>
              <p:cNvSpPr>
                <a:spLocks/>
              </p:cNvSpPr>
              <p:nvPr userDrawn="1"/>
            </p:nvSpPr>
            <p:spPr bwMode="auto">
              <a:xfrm>
                <a:off x="6528" y="3218"/>
                <a:ext cx="13" cy="13"/>
              </a:xfrm>
              <a:custGeom>
                <a:avLst/>
                <a:gdLst>
                  <a:gd name="T0" fmla="*/ 0 w 13"/>
                  <a:gd name="T1" fmla="*/ 0 h 13"/>
                  <a:gd name="T2" fmla="*/ 1 w 13"/>
                  <a:gd name="T3" fmla="*/ 4 h 13"/>
                  <a:gd name="T4" fmla="*/ 1 w 13"/>
                  <a:gd name="T5" fmla="*/ 8 h 13"/>
                  <a:gd name="T6" fmla="*/ 3 w 13"/>
                  <a:gd name="T7" fmla="*/ 13 h 13"/>
                  <a:gd name="T8" fmla="*/ 6 w 13"/>
                  <a:gd name="T9" fmla="*/ 13 h 13"/>
                  <a:gd name="T10" fmla="*/ 8 w 13"/>
                  <a:gd name="T11" fmla="*/ 10 h 13"/>
                  <a:gd name="T12" fmla="*/ 10 w 13"/>
                  <a:gd name="T13" fmla="*/ 12 h 13"/>
                  <a:gd name="T14" fmla="*/ 13 w 13"/>
                  <a:gd name="T15" fmla="*/ 1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3" h="13">
                    <a:moveTo>
                      <a:pt x="0" y="0"/>
                    </a:moveTo>
                    <a:cubicBezTo>
                      <a:pt x="1" y="4"/>
                      <a:pt x="1" y="4"/>
                      <a:pt x="1" y="4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6" y="13"/>
                      <a:pt x="6" y="13"/>
                      <a:pt x="6" y="13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10" y="12"/>
                      <a:pt x="10" y="12"/>
                      <a:pt x="10" y="12"/>
                    </a:cubicBezTo>
                    <a:cubicBezTo>
                      <a:pt x="13" y="10"/>
                      <a:pt x="13" y="10"/>
                      <a:pt x="13" y="10"/>
                    </a:cubicBez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114" name="Freeform 116"/>
              <p:cNvSpPr>
                <a:spLocks/>
              </p:cNvSpPr>
              <p:nvPr userDrawn="1"/>
            </p:nvSpPr>
            <p:spPr bwMode="auto">
              <a:xfrm>
                <a:off x="6520" y="3131"/>
                <a:ext cx="7" cy="4"/>
              </a:xfrm>
              <a:custGeom>
                <a:avLst/>
                <a:gdLst>
                  <a:gd name="T0" fmla="*/ 0 w 8"/>
                  <a:gd name="T1" fmla="*/ 2 h 4"/>
                  <a:gd name="T2" fmla="*/ 3 w 8"/>
                  <a:gd name="T3" fmla="*/ 0 h 4"/>
                  <a:gd name="T4" fmla="*/ 6 w 8"/>
                  <a:gd name="T5" fmla="*/ 0 h 4"/>
                  <a:gd name="T6" fmla="*/ 8 w 8"/>
                  <a:gd name="T7" fmla="*/ 2 h 4"/>
                  <a:gd name="T8" fmla="*/ 5 w 8"/>
                  <a:gd name="T9" fmla="*/ 4 h 4"/>
                  <a:gd name="T10" fmla="*/ 1 w 8"/>
                  <a:gd name="T11" fmla="*/ 4 h 4"/>
                  <a:gd name="T12" fmla="*/ 0 w 8"/>
                  <a:gd name="T13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" h="4">
                    <a:moveTo>
                      <a:pt x="0" y="2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8" y="2"/>
                      <a:pt x="8" y="2"/>
                      <a:pt x="8" y="2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0" y="2"/>
                      <a:pt x="0" y="2"/>
                      <a:pt x="0" y="2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115" name="Freeform 117"/>
              <p:cNvSpPr>
                <a:spLocks/>
              </p:cNvSpPr>
              <p:nvPr userDrawn="1"/>
            </p:nvSpPr>
            <p:spPr bwMode="auto">
              <a:xfrm>
                <a:off x="6416" y="3146"/>
                <a:ext cx="10" cy="4"/>
              </a:xfrm>
              <a:custGeom>
                <a:avLst/>
                <a:gdLst>
                  <a:gd name="T0" fmla="*/ 0 w 11"/>
                  <a:gd name="T1" fmla="*/ 0 h 5"/>
                  <a:gd name="T2" fmla="*/ 4 w 11"/>
                  <a:gd name="T3" fmla="*/ 0 h 5"/>
                  <a:gd name="T4" fmla="*/ 8 w 11"/>
                  <a:gd name="T5" fmla="*/ 2 h 5"/>
                  <a:gd name="T6" fmla="*/ 11 w 11"/>
                  <a:gd name="T7" fmla="*/ 4 h 5"/>
                  <a:gd name="T8" fmla="*/ 9 w 11"/>
                  <a:gd name="T9" fmla="*/ 5 h 5"/>
                  <a:gd name="T10" fmla="*/ 5 w 11"/>
                  <a:gd name="T11" fmla="*/ 4 h 5"/>
                  <a:gd name="T12" fmla="*/ 2 w 11"/>
                  <a:gd name="T13" fmla="*/ 4 h 5"/>
                  <a:gd name="T14" fmla="*/ 0 w 11"/>
                  <a:gd name="T15" fmla="*/ 2 h 5"/>
                  <a:gd name="T16" fmla="*/ 0 w 11"/>
                  <a:gd name="T17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1" h="5">
                    <a:moveTo>
                      <a:pt x="0" y="0"/>
                    </a:moveTo>
                    <a:cubicBezTo>
                      <a:pt x="4" y="0"/>
                      <a:pt x="4" y="0"/>
                      <a:pt x="4" y="0"/>
                    </a:cubicBezTo>
                    <a:cubicBezTo>
                      <a:pt x="8" y="2"/>
                      <a:pt x="8" y="2"/>
                      <a:pt x="8" y="2"/>
                    </a:cubicBezTo>
                    <a:cubicBezTo>
                      <a:pt x="11" y="4"/>
                      <a:pt x="11" y="4"/>
                      <a:pt x="11" y="4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2" y="4"/>
                      <a:pt x="2" y="4"/>
                      <a:pt x="2" y="4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116" name="Freeform 118"/>
              <p:cNvSpPr>
                <a:spLocks/>
              </p:cNvSpPr>
              <p:nvPr userDrawn="1"/>
            </p:nvSpPr>
            <p:spPr bwMode="auto">
              <a:xfrm>
                <a:off x="6441" y="3123"/>
                <a:ext cx="18" cy="11"/>
              </a:xfrm>
              <a:custGeom>
                <a:avLst/>
                <a:gdLst>
                  <a:gd name="T0" fmla="*/ 0 w 18"/>
                  <a:gd name="T1" fmla="*/ 0 h 12"/>
                  <a:gd name="T2" fmla="*/ 4 w 18"/>
                  <a:gd name="T3" fmla="*/ 0 h 12"/>
                  <a:gd name="T4" fmla="*/ 8 w 18"/>
                  <a:gd name="T5" fmla="*/ 4 h 12"/>
                  <a:gd name="T6" fmla="*/ 15 w 18"/>
                  <a:gd name="T7" fmla="*/ 5 h 12"/>
                  <a:gd name="T8" fmla="*/ 17 w 18"/>
                  <a:gd name="T9" fmla="*/ 9 h 12"/>
                  <a:gd name="T10" fmla="*/ 17 w 18"/>
                  <a:gd name="T11" fmla="*/ 11 h 12"/>
                  <a:gd name="T12" fmla="*/ 18 w 18"/>
                  <a:gd name="T13" fmla="*/ 12 h 12"/>
                  <a:gd name="T14" fmla="*/ 13 w 18"/>
                  <a:gd name="T15" fmla="*/ 12 h 12"/>
                  <a:gd name="T16" fmla="*/ 7 w 18"/>
                  <a:gd name="T17" fmla="*/ 10 h 12"/>
                  <a:gd name="T18" fmla="*/ 2 w 18"/>
                  <a:gd name="T19" fmla="*/ 5 h 12"/>
                  <a:gd name="T20" fmla="*/ 2 w 18"/>
                  <a:gd name="T21" fmla="*/ 3 h 12"/>
                  <a:gd name="T22" fmla="*/ 0 w 18"/>
                  <a:gd name="T23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8" h="12">
                    <a:moveTo>
                      <a:pt x="0" y="0"/>
                    </a:moveTo>
                    <a:cubicBezTo>
                      <a:pt x="4" y="0"/>
                      <a:pt x="4" y="0"/>
                      <a:pt x="4" y="0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17" y="9"/>
                      <a:pt x="17" y="9"/>
                      <a:pt x="17" y="9"/>
                    </a:cubicBezTo>
                    <a:cubicBezTo>
                      <a:pt x="17" y="11"/>
                      <a:pt x="17" y="11"/>
                      <a:pt x="17" y="11"/>
                    </a:cubicBezTo>
                    <a:cubicBezTo>
                      <a:pt x="18" y="12"/>
                      <a:pt x="18" y="12"/>
                      <a:pt x="18" y="12"/>
                    </a:cubicBezTo>
                    <a:cubicBezTo>
                      <a:pt x="13" y="12"/>
                      <a:pt x="13" y="12"/>
                      <a:pt x="13" y="12"/>
                    </a:cubicBezTo>
                    <a:cubicBezTo>
                      <a:pt x="7" y="10"/>
                      <a:pt x="7" y="10"/>
                      <a:pt x="7" y="10"/>
                    </a:cubicBezTo>
                    <a:cubicBezTo>
                      <a:pt x="2" y="5"/>
                      <a:pt x="2" y="5"/>
                      <a:pt x="2" y="5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117" name="Freeform 119"/>
              <p:cNvSpPr>
                <a:spLocks/>
              </p:cNvSpPr>
              <p:nvPr userDrawn="1"/>
            </p:nvSpPr>
            <p:spPr bwMode="auto">
              <a:xfrm>
                <a:off x="6413" y="3102"/>
                <a:ext cx="20" cy="15"/>
              </a:xfrm>
              <a:custGeom>
                <a:avLst/>
                <a:gdLst>
                  <a:gd name="T0" fmla="*/ 10 w 21"/>
                  <a:gd name="T1" fmla="*/ 4 h 16"/>
                  <a:gd name="T2" fmla="*/ 16 w 21"/>
                  <a:gd name="T3" fmla="*/ 6 h 16"/>
                  <a:gd name="T4" fmla="*/ 19 w 21"/>
                  <a:gd name="T5" fmla="*/ 9 h 16"/>
                  <a:gd name="T6" fmla="*/ 21 w 21"/>
                  <a:gd name="T7" fmla="*/ 9 h 16"/>
                  <a:gd name="T8" fmla="*/ 21 w 21"/>
                  <a:gd name="T9" fmla="*/ 11 h 16"/>
                  <a:gd name="T10" fmla="*/ 20 w 21"/>
                  <a:gd name="T11" fmla="*/ 15 h 16"/>
                  <a:gd name="T12" fmla="*/ 16 w 21"/>
                  <a:gd name="T13" fmla="*/ 16 h 16"/>
                  <a:gd name="T14" fmla="*/ 13 w 21"/>
                  <a:gd name="T15" fmla="*/ 12 h 16"/>
                  <a:gd name="T16" fmla="*/ 9 w 21"/>
                  <a:gd name="T17" fmla="*/ 12 h 16"/>
                  <a:gd name="T18" fmla="*/ 4 w 21"/>
                  <a:gd name="T19" fmla="*/ 11 h 16"/>
                  <a:gd name="T20" fmla="*/ 0 w 21"/>
                  <a:gd name="T21" fmla="*/ 5 h 16"/>
                  <a:gd name="T22" fmla="*/ 0 w 21"/>
                  <a:gd name="T23" fmla="*/ 1 h 16"/>
                  <a:gd name="T24" fmla="*/ 2 w 21"/>
                  <a:gd name="T25" fmla="*/ 0 h 16"/>
                  <a:gd name="T26" fmla="*/ 2 w 21"/>
                  <a:gd name="T27" fmla="*/ 0 h 16"/>
                  <a:gd name="T28" fmla="*/ 6 w 21"/>
                  <a:gd name="T29" fmla="*/ 4 h 16"/>
                  <a:gd name="T30" fmla="*/ 10 w 21"/>
                  <a:gd name="T31" fmla="*/ 4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1" h="16">
                    <a:moveTo>
                      <a:pt x="10" y="4"/>
                    </a:moveTo>
                    <a:cubicBezTo>
                      <a:pt x="16" y="6"/>
                      <a:pt x="16" y="6"/>
                      <a:pt x="16" y="6"/>
                    </a:cubicBezTo>
                    <a:cubicBezTo>
                      <a:pt x="19" y="9"/>
                      <a:pt x="19" y="9"/>
                      <a:pt x="19" y="9"/>
                    </a:cubicBezTo>
                    <a:cubicBezTo>
                      <a:pt x="21" y="9"/>
                      <a:pt x="21" y="9"/>
                      <a:pt x="21" y="9"/>
                    </a:cubicBezTo>
                    <a:cubicBezTo>
                      <a:pt x="21" y="11"/>
                      <a:pt x="21" y="11"/>
                      <a:pt x="21" y="11"/>
                    </a:cubicBezTo>
                    <a:cubicBezTo>
                      <a:pt x="20" y="15"/>
                      <a:pt x="20" y="15"/>
                      <a:pt x="20" y="15"/>
                    </a:cubicBezTo>
                    <a:cubicBezTo>
                      <a:pt x="16" y="16"/>
                      <a:pt x="16" y="16"/>
                      <a:pt x="16" y="16"/>
                    </a:cubicBezTo>
                    <a:cubicBezTo>
                      <a:pt x="13" y="12"/>
                      <a:pt x="13" y="12"/>
                      <a:pt x="13" y="12"/>
                    </a:cubicBezTo>
                    <a:cubicBezTo>
                      <a:pt x="9" y="12"/>
                      <a:pt x="9" y="12"/>
                      <a:pt x="9" y="12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6" y="4"/>
                      <a:pt x="6" y="4"/>
                      <a:pt x="6" y="4"/>
                    </a:cubicBezTo>
                    <a:cubicBezTo>
                      <a:pt x="10" y="4"/>
                      <a:pt x="10" y="4"/>
                      <a:pt x="10" y="4"/>
                    </a:cubicBez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118" name="Freeform 120"/>
              <p:cNvSpPr>
                <a:spLocks/>
              </p:cNvSpPr>
              <p:nvPr userDrawn="1"/>
            </p:nvSpPr>
            <p:spPr bwMode="auto">
              <a:xfrm>
                <a:off x="6423" y="3098"/>
                <a:ext cx="4" cy="3"/>
              </a:xfrm>
              <a:custGeom>
                <a:avLst/>
                <a:gdLst>
                  <a:gd name="T0" fmla="*/ 4 w 4"/>
                  <a:gd name="T1" fmla="*/ 0 h 3"/>
                  <a:gd name="T2" fmla="*/ 0 w 4"/>
                  <a:gd name="T3" fmla="*/ 0 h 3"/>
                  <a:gd name="T4" fmla="*/ 1 w 4"/>
                  <a:gd name="T5" fmla="*/ 2 h 3"/>
                  <a:gd name="T6" fmla="*/ 4 w 4"/>
                  <a:gd name="T7" fmla="*/ 3 h 3"/>
                  <a:gd name="T8" fmla="*/ 4 w 4"/>
                  <a:gd name="T9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3">
                    <a:moveTo>
                      <a:pt x="4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0"/>
                      <a:pt x="4" y="0"/>
                      <a:pt x="4" y="0"/>
                    </a:cubicBez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119" name="Freeform 121"/>
              <p:cNvSpPr>
                <a:spLocks/>
              </p:cNvSpPr>
              <p:nvPr userDrawn="1"/>
            </p:nvSpPr>
            <p:spPr bwMode="auto">
              <a:xfrm>
                <a:off x="6429" y="3085"/>
                <a:ext cx="20" cy="26"/>
              </a:xfrm>
              <a:custGeom>
                <a:avLst/>
                <a:gdLst>
                  <a:gd name="T0" fmla="*/ 0 w 21"/>
                  <a:gd name="T1" fmla="*/ 0 h 27"/>
                  <a:gd name="T2" fmla="*/ 0 w 21"/>
                  <a:gd name="T3" fmla="*/ 2 h 27"/>
                  <a:gd name="T4" fmla="*/ 3 w 21"/>
                  <a:gd name="T5" fmla="*/ 3 h 27"/>
                  <a:gd name="T6" fmla="*/ 2 w 21"/>
                  <a:gd name="T7" fmla="*/ 6 h 27"/>
                  <a:gd name="T8" fmla="*/ 4 w 21"/>
                  <a:gd name="T9" fmla="*/ 9 h 27"/>
                  <a:gd name="T10" fmla="*/ 6 w 21"/>
                  <a:gd name="T11" fmla="*/ 15 h 27"/>
                  <a:gd name="T12" fmla="*/ 13 w 21"/>
                  <a:gd name="T13" fmla="*/ 21 h 27"/>
                  <a:gd name="T14" fmla="*/ 17 w 21"/>
                  <a:gd name="T15" fmla="*/ 22 h 27"/>
                  <a:gd name="T16" fmla="*/ 17 w 21"/>
                  <a:gd name="T17" fmla="*/ 26 h 27"/>
                  <a:gd name="T18" fmla="*/ 20 w 21"/>
                  <a:gd name="T19" fmla="*/ 27 h 27"/>
                  <a:gd name="T20" fmla="*/ 21 w 21"/>
                  <a:gd name="T21" fmla="*/ 23 h 27"/>
                  <a:gd name="T22" fmla="*/ 17 w 21"/>
                  <a:gd name="T23" fmla="*/ 19 h 27"/>
                  <a:gd name="T24" fmla="*/ 14 w 21"/>
                  <a:gd name="T25" fmla="*/ 17 h 27"/>
                  <a:gd name="T26" fmla="*/ 12 w 21"/>
                  <a:gd name="T27" fmla="*/ 14 h 27"/>
                  <a:gd name="T28" fmla="*/ 7 w 21"/>
                  <a:gd name="T29" fmla="*/ 8 h 27"/>
                  <a:gd name="T30" fmla="*/ 8 w 21"/>
                  <a:gd name="T31" fmla="*/ 5 h 27"/>
                  <a:gd name="T32" fmla="*/ 4 w 21"/>
                  <a:gd name="T33" fmla="*/ 1 h 27"/>
                  <a:gd name="T34" fmla="*/ 0 w 21"/>
                  <a:gd name="T35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1" h="27">
                    <a:moveTo>
                      <a:pt x="0" y="0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2" y="6"/>
                      <a:pt x="2" y="6"/>
                      <a:pt x="2" y="6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6" y="15"/>
                      <a:pt x="6" y="15"/>
                      <a:pt x="6" y="15"/>
                    </a:cubicBezTo>
                    <a:cubicBezTo>
                      <a:pt x="13" y="21"/>
                      <a:pt x="13" y="21"/>
                      <a:pt x="13" y="21"/>
                    </a:cubicBezTo>
                    <a:cubicBezTo>
                      <a:pt x="17" y="22"/>
                      <a:pt x="17" y="22"/>
                      <a:pt x="17" y="22"/>
                    </a:cubicBezTo>
                    <a:cubicBezTo>
                      <a:pt x="17" y="26"/>
                      <a:pt x="17" y="26"/>
                      <a:pt x="17" y="26"/>
                    </a:cubicBezTo>
                    <a:cubicBezTo>
                      <a:pt x="20" y="27"/>
                      <a:pt x="20" y="27"/>
                      <a:pt x="20" y="27"/>
                    </a:cubicBezTo>
                    <a:cubicBezTo>
                      <a:pt x="21" y="23"/>
                      <a:pt x="21" y="23"/>
                      <a:pt x="21" y="23"/>
                    </a:cubicBezTo>
                    <a:cubicBezTo>
                      <a:pt x="17" y="19"/>
                      <a:pt x="17" y="19"/>
                      <a:pt x="17" y="19"/>
                    </a:cubicBezTo>
                    <a:cubicBezTo>
                      <a:pt x="14" y="17"/>
                      <a:pt x="14" y="17"/>
                      <a:pt x="14" y="17"/>
                    </a:cubicBezTo>
                    <a:cubicBezTo>
                      <a:pt x="12" y="14"/>
                      <a:pt x="12" y="14"/>
                      <a:pt x="12" y="14"/>
                    </a:cubicBezTo>
                    <a:cubicBezTo>
                      <a:pt x="7" y="8"/>
                      <a:pt x="7" y="8"/>
                      <a:pt x="7" y="8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120" name="Freeform 122"/>
              <p:cNvSpPr>
                <a:spLocks/>
              </p:cNvSpPr>
              <p:nvPr userDrawn="1"/>
            </p:nvSpPr>
            <p:spPr bwMode="auto">
              <a:xfrm>
                <a:off x="6392" y="3070"/>
                <a:ext cx="24" cy="18"/>
              </a:xfrm>
              <a:custGeom>
                <a:avLst/>
                <a:gdLst>
                  <a:gd name="T0" fmla="*/ 24 w 25"/>
                  <a:gd name="T1" fmla="*/ 16 h 19"/>
                  <a:gd name="T2" fmla="*/ 25 w 25"/>
                  <a:gd name="T3" fmla="*/ 19 h 19"/>
                  <a:gd name="T4" fmla="*/ 22 w 25"/>
                  <a:gd name="T5" fmla="*/ 17 h 19"/>
                  <a:gd name="T6" fmla="*/ 20 w 25"/>
                  <a:gd name="T7" fmla="*/ 19 h 19"/>
                  <a:gd name="T8" fmla="*/ 19 w 25"/>
                  <a:gd name="T9" fmla="*/ 17 h 19"/>
                  <a:gd name="T10" fmla="*/ 17 w 25"/>
                  <a:gd name="T11" fmla="*/ 15 h 19"/>
                  <a:gd name="T12" fmla="*/ 14 w 25"/>
                  <a:gd name="T13" fmla="*/ 12 h 19"/>
                  <a:gd name="T14" fmla="*/ 5 w 25"/>
                  <a:gd name="T15" fmla="*/ 3 h 19"/>
                  <a:gd name="T16" fmla="*/ 0 w 25"/>
                  <a:gd name="T17" fmla="*/ 0 h 19"/>
                  <a:gd name="T18" fmla="*/ 0 w 25"/>
                  <a:gd name="T19" fmla="*/ 0 h 19"/>
                  <a:gd name="T20" fmla="*/ 7 w 25"/>
                  <a:gd name="T21" fmla="*/ 1 h 19"/>
                  <a:gd name="T22" fmla="*/ 12 w 25"/>
                  <a:gd name="T23" fmla="*/ 5 h 19"/>
                  <a:gd name="T24" fmla="*/ 18 w 25"/>
                  <a:gd name="T25" fmla="*/ 7 h 19"/>
                  <a:gd name="T26" fmla="*/ 25 w 25"/>
                  <a:gd name="T27" fmla="*/ 15 h 19"/>
                  <a:gd name="T28" fmla="*/ 24 w 25"/>
                  <a:gd name="T29" fmla="*/ 16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5" h="19">
                    <a:moveTo>
                      <a:pt x="24" y="16"/>
                    </a:moveTo>
                    <a:cubicBezTo>
                      <a:pt x="25" y="19"/>
                      <a:pt x="25" y="19"/>
                      <a:pt x="25" y="19"/>
                    </a:cubicBezTo>
                    <a:cubicBezTo>
                      <a:pt x="22" y="17"/>
                      <a:pt x="22" y="17"/>
                      <a:pt x="22" y="17"/>
                    </a:cubicBezTo>
                    <a:cubicBezTo>
                      <a:pt x="20" y="19"/>
                      <a:pt x="20" y="19"/>
                      <a:pt x="20" y="19"/>
                    </a:cubicBezTo>
                    <a:cubicBezTo>
                      <a:pt x="19" y="17"/>
                      <a:pt x="19" y="17"/>
                      <a:pt x="19" y="17"/>
                    </a:cubicBezTo>
                    <a:cubicBezTo>
                      <a:pt x="17" y="15"/>
                      <a:pt x="17" y="15"/>
                      <a:pt x="17" y="15"/>
                    </a:cubicBezTo>
                    <a:cubicBezTo>
                      <a:pt x="14" y="12"/>
                      <a:pt x="14" y="12"/>
                      <a:pt x="14" y="12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12" y="5"/>
                      <a:pt x="12" y="5"/>
                      <a:pt x="12" y="5"/>
                    </a:cubicBezTo>
                    <a:cubicBezTo>
                      <a:pt x="18" y="7"/>
                      <a:pt x="18" y="7"/>
                      <a:pt x="18" y="7"/>
                    </a:cubicBezTo>
                    <a:cubicBezTo>
                      <a:pt x="25" y="15"/>
                      <a:pt x="25" y="15"/>
                      <a:pt x="25" y="15"/>
                    </a:cubicBezTo>
                    <a:cubicBezTo>
                      <a:pt x="24" y="16"/>
                      <a:pt x="24" y="16"/>
                      <a:pt x="24" y="16"/>
                    </a:cubicBez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121" name="Freeform 123"/>
              <p:cNvSpPr>
                <a:spLocks/>
              </p:cNvSpPr>
              <p:nvPr userDrawn="1"/>
            </p:nvSpPr>
            <p:spPr bwMode="auto">
              <a:xfrm>
                <a:off x="6381" y="3089"/>
                <a:ext cx="4" cy="4"/>
              </a:xfrm>
              <a:custGeom>
                <a:avLst/>
                <a:gdLst>
                  <a:gd name="T0" fmla="*/ 0 w 4"/>
                  <a:gd name="T1" fmla="*/ 0 h 4"/>
                  <a:gd name="T2" fmla="*/ 4 w 4"/>
                  <a:gd name="T3" fmla="*/ 0 h 4"/>
                  <a:gd name="T4" fmla="*/ 3 w 4"/>
                  <a:gd name="T5" fmla="*/ 3 h 4"/>
                  <a:gd name="T6" fmla="*/ 1 w 4"/>
                  <a:gd name="T7" fmla="*/ 4 h 4"/>
                  <a:gd name="T8" fmla="*/ 0 w 4"/>
                  <a:gd name="T9" fmla="*/ 2 h 4"/>
                  <a:gd name="T10" fmla="*/ 0 w 4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4">
                    <a:moveTo>
                      <a:pt x="0" y="0"/>
                    </a:moveTo>
                    <a:cubicBezTo>
                      <a:pt x="4" y="0"/>
                      <a:pt x="4" y="0"/>
                      <a:pt x="4" y="0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122" name="Freeform 124"/>
              <p:cNvSpPr>
                <a:spLocks/>
              </p:cNvSpPr>
              <p:nvPr userDrawn="1"/>
            </p:nvSpPr>
            <p:spPr bwMode="auto">
              <a:xfrm>
                <a:off x="6370" y="3087"/>
                <a:ext cx="3" cy="2"/>
              </a:xfrm>
              <a:custGeom>
                <a:avLst/>
                <a:gdLst>
                  <a:gd name="T0" fmla="*/ 0 w 3"/>
                  <a:gd name="T1" fmla="*/ 1 h 2"/>
                  <a:gd name="T2" fmla="*/ 1 w 3"/>
                  <a:gd name="T3" fmla="*/ 0 h 2"/>
                  <a:gd name="T4" fmla="*/ 3 w 3"/>
                  <a:gd name="T5" fmla="*/ 1 h 2"/>
                  <a:gd name="T6" fmla="*/ 2 w 3"/>
                  <a:gd name="T7" fmla="*/ 2 h 2"/>
                  <a:gd name="T8" fmla="*/ 0 w 3"/>
                  <a:gd name="T9" fmla="*/ 1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2">
                    <a:moveTo>
                      <a:pt x="0" y="1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0" y="1"/>
                      <a:pt x="0" y="1"/>
                      <a:pt x="0" y="1"/>
                    </a:cubicBez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123" name="Freeform 125"/>
              <p:cNvSpPr>
                <a:spLocks/>
              </p:cNvSpPr>
              <p:nvPr userDrawn="1"/>
            </p:nvSpPr>
            <p:spPr bwMode="auto">
              <a:xfrm>
                <a:off x="6370" y="3078"/>
                <a:ext cx="10" cy="10"/>
              </a:xfrm>
              <a:custGeom>
                <a:avLst/>
                <a:gdLst>
                  <a:gd name="T0" fmla="*/ 0 w 11"/>
                  <a:gd name="T1" fmla="*/ 6 h 11"/>
                  <a:gd name="T2" fmla="*/ 3 w 11"/>
                  <a:gd name="T3" fmla="*/ 6 h 11"/>
                  <a:gd name="T4" fmla="*/ 5 w 11"/>
                  <a:gd name="T5" fmla="*/ 7 h 11"/>
                  <a:gd name="T6" fmla="*/ 6 w 11"/>
                  <a:gd name="T7" fmla="*/ 10 h 11"/>
                  <a:gd name="T8" fmla="*/ 9 w 11"/>
                  <a:gd name="T9" fmla="*/ 11 h 11"/>
                  <a:gd name="T10" fmla="*/ 11 w 11"/>
                  <a:gd name="T11" fmla="*/ 11 h 11"/>
                  <a:gd name="T12" fmla="*/ 11 w 11"/>
                  <a:gd name="T13" fmla="*/ 7 h 11"/>
                  <a:gd name="T14" fmla="*/ 10 w 11"/>
                  <a:gd name="T15" fmla="*/ 5 h 11"/>
                  <a:gd name="T16" fmla="*/ 7 w 11"/>
                  <a:gd name="T17" fmla="*/ 3 h 11"/>
                  <a:gd name="T18" fmla="*/ 6 w 11"/>
                  <a:gd name="T19" fmla="*/ 1 h 11"/>
                  <a:gd name="T20" fmla="*/ 4 w 11"/>
                  <a:gd name="T21" fmla="*/ 0 h 11"/>
                  <a:gd name="T22" fmla="*/ 1 w 11"/>
                  <a:gd name="T23" fmla="*/ 2 h 11"/>
                  <a:gd name="T24" fmla="*/ 0 w 11"/>
                  <a:gd name="T25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" h="11">
                    <a:moveTo>
                      <a:pt x="0" y="6"/>
                    </a:moveTo>
                    <a:cubicBezTo>
                      <a:pt x="3" y="6"/>
                      <a:pt x="3" y="6"/>
                      <a:pt x="3" y="6"/>
                    </a:cubicBezTo>
                    <a:cubicBezTo>
                      <a:pt x="5" y="7"/>
                      <a:pt x="5" y="7"/>
                      <a:pt x="5" y="7"/>
                    </a:cubicBezTo>
                    <a:cubicBezTo>
                      <a:pt x="6" y="10"/>
                      <a:pt x="6" y="10"/>
                      <a:pt x="6" y="10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11" y="11"/>
                      <a:pt x="11" y="11"/>
                      <a:pt x="11" y="11"/>
                    </a:cubicBezTo>
                    <a:cubicBezTo>
                      <a:pt x="11" y="7"/>
                      <a:pt x="11" y="7"/>
                      <a:pt x="11" y="7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7" y="3"/>
                      <a:pt x="7" y="3"/>
                      <a:pt x="7" y="3"/>
                    </a:cubicBezTo>
                    <a:cubicBezTo>
                      <a:pt x="6" y="1"/>
                      <a:pt x="6" y="1"/>
                      <a:pt x="6" y="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0" y="6"/>
                      <a:pt x="0" y="6"/>
                      <a:pt x="0" y="6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124" name="Freeform 126"/>
              <p:cNvSpPr>
                <a:spLocks/>
              </p:cNvSpPr>
              <p:nvPr userDrawn="1"/>
            </p:nvSpPr>
            <p:spPr bwMode="auto">
              <a:xfrm>
                <a:off x="6365" y="3076"/>
                <a:ext cx="5" cy="4"/>
              </a:xfrm>
              <a:custGeom>
                <a:avLst/>
                <a:gdLst>
                  <a:gd name="T0" fmla="*/ 0 w 5"/>
                  <a:gd name="T1" fmla="*/ 1 h 4"/>
                  <a:gd name="T2" fmla="*/ 2 w 5"/>
                  <a:gd name="T3" fmla="*/ 0 h 4"/>
                  <a:gd name="T4" fmla="*/ 5 w 5"/>
                  <a:gd name="T5" fmla="*/ 2 h 4"/>
                  <a:gd name="T6" fmla="*/ 5 w 5"/>
                  <a:gd name="T7" fmla="*/ 4 h 4"/>
                  <a:gd name="T8" fmla="*/ 1 w 5"/>
                  <a:gd name="T9" fmla="*/ 4 h 4"/>
                  <a:gd name="T10" fmla="*/ 0 w 5"/>
                  <a:gd name="T11" fmla="*/ 3 h 4"/>
                  <a:gd name="T12" fmla="*/ 0 w 5"/>
                  <a:gd name="T13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" h="4">
                    <a:moveTo>
                      <a:pt x="0" y="1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1"/>
                      <a:pt x="0" y="1"/>
                      <a:pt x="0" y="1"/>
                    </a:cubicBez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125" name="Freeform 127"/>
              <p:cNvSpPr>
                <a:spLocks/>
              </p:cNvSpPr>
              <p:nvPr userDrawn="1"/>
            </p:nvSpPr>
            <p:spPr bwMode="auto">
              <a:xfrm>
                <a:off x="6358" y="3071"/>
                <a:ext cx="4" cy="7"/>
              </a:xfrm>
              <a:custGeom>
                <a:avLst/>
                <a:gdLst>
                  <a:gd name="T0" fmla="*/ 0 w 4"/>
                  <a:gd name="T1" fmla="*/ 0 h 7"/>
                  <a:gd name="T2" fmla="*/ 4 w 4"/>
                  <a:gd name="T3" fmla="*/ 4 h 7"/>
                  <a:gd name="T4" fmla="*/ 3 w 4"/>
                  <a:gd name="T5" fmla="*/ 6 h 7"/>
                  <a:gd name="T6" fmla="*/ 1 w 4"/>
                  <a:gd name="T7" fmla="*/ 7 h 7"/>
                  <a:gd name="T8" fmla="*/ 1 w 4"/>
                  <a:gd name="T9" fmla="*/ 5 h 7"/>
                  <a:gd name="T10" fmla="*/ 0 w 4"/>
                  <a:gd name="T11" fmla="*/ 3 h 7"/>
                  <a:gd name="T12" fmla="*/ 0 w 4"/>
                  <a:gd name="T13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7">
                    <a:moveTo>
                      <a:pt x="0" y="0"/>
                    </a:moveTo>
                    <a:cubicBezTo>
                      <a:pt x="4" y="4"/>
                      <a:pt x="4" y="4"/>
                      <a:pt x="4" y="4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1" y="7"/>
                      <a:pt x="1" y="7"/>
                      <a:pt x="1" y="7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126" name="Freeform 128"/>
              <p:cNvSpPr>
                <a:spLocks/>
              </p:cNvSpPr>
              <p:nvPr userDrawn="1"/>
            </p:nvSpPr>
            <p:spPr bwMode="auto">
              <a:xfrm>
                <a:off x="6354" y="3046"/>
                <a:ext cx="4" cy="5"/>
              </a:xfrm>
              <a:custGeom>
                <a:avLst/>
                <a:gdLst>
                  <a:gd name="T0" fmla="*/ 5 w 5"/>
                  <a:gd name="T1" fmla="*/ 0 h 5"/>
                  <a:gd name="T2" fmla="*/ 0 w 5"/>
                  <a:gd name="T3" fmla="*/ 5 h 5"/>
                  <a:gd name="T4" fmla="*/ 4 w 5"/>
                  <a:gd name="T5" fmla="*/ 3 h 5"/>
                  <a:gd name="T6" fmla="*/ 5 w 5"/>
                  <a:gd name="T7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" h="5">
                    <a:moveTo>
                      <a:pt x="5" y="0"/>
                    </a:moveTo>
                    <a:cubicBezTo>
                      <a:pt x="0" y="5"/>
                      <a:pt x="0" y="5"/>
                      <a:pt x="0" y="5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5" y="0"/>
                      <a:pt x="5" y="0"/>
                      <a:pt x="5" y="0"/>
                    </a:cubicBez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127" name="Freeform 129"/>
              <p:cNvSpPr>
                <a:spLocks/>
              </p:cNvSpPr>
              <p:nvPr userDrawn="1"/>
            </p:nvSpPr>
            <p:spPr bwMode="auto">
              <a:xfrm>
                <a:off x="6356" y="3052"/>
                <a:ext cx="20" cy="15"/>
              </a:xfrm>
              <a:custGeom>
                <a:avLst/>
                <a:gdLst>
                  <a:gd name="T0" fmla="*/ 1 w 21"/>
                  <a:gd name="T1" fmla="*/ 0 h 16"/>
                  <a:gd name="T2" fmla="*/ 0 w 21"/>
                  <a:gd name="T3" fmla="*/ 2 h 16"/>
                  <a:gd name="T4" fmla="*/ 3 w 21"/>
                  <a:gd name="T5" fmla="*/ 7 h 16"/>
                  <a:gd name="T6" fmla="*/ 9 w 21"/>
                  <a:gd name="T7" fmla="*/ 11 h 16"/>
                  <a:gd name="T8" fmla="*/ 13 w 21"/>
                  <a:gd name="T9" fmla="*/ 15 h 16"/>
                  <a:gd name="T10" fmla="*/ 17 w 21"/>
                  <a:gd name="T11" fmla="*/ 16 h 16"/>
                  <a:gd name="T12" fmla="*/ 21 w 21"/>
                  <a:gd name="T13" fmla="*/ 16 h 16"/>
                  <a:gd name="T14" fmla="*/ 20 w 21"/>
                  <a:gd name="T15" fmla="*/ 13 h 16"/>
                  <a:gd name="T16" fmla="*/ 16 w 21"/>
                  <a:gd name="T17" fmla="*/ 10 h 16"/>
                  <a:gd name="T18" fmla="*/ 13 w 21"/>
                  <a:gd name="T19" fmla="*/ 9 h 16"/>
                  <a:gd name="T20" fmla="*/ 13 w 21"/>
                  <a:gd name="T21" fmla="*/ 6 h 16"/>
                  <a:gd name="T22" fmla="*/ 10 w 21"/>
                  <a:gd name="T23" fmla="*/ 4 h 16"/>
                  <a:gd name="T24" fmla="*/ 4 w 21"/>
                  <a:gd name="T25" fmla="*/ 4 h 16"/>
                  <a:gd name="T26" fmla="*/ 4 w 21"/>
                  <a:gd name="T27" fmla="*/ 0 h 16"/>
                  <a:gd name="T28" fmla="*/ 1 w 21"/>
                  <a:gd name="T29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1" h="16">
                    <a:moveTo>
                      <a:pt x="1" y="0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13" y="15"/>
                      <a:pt x="13" y="15"/>
                      <a:pt x="13" y="15"/>
                    </a:cubicBezTo>
                    <a:cubicBezTo>
                      <a:pt x="17" y="16"/>
                      <a:pt x="17" y="16"/>
                      <a:pt x="17" y="16"/>
                    </a:cubicBezTo>
                    <a:cubicBezTo>
                      <a:pt x="21" y="16"/>
                      <a:pt x="21" y="16"/>
                      <a:pt x="21" y="16"/>
                    </a:cubicBezTo>
                    <a:cubicBezTo>
                      <a:pt x="20" y="13"/>
                      <a:pt x="20" y="13"/>
                      <a:pt x="20" y="13"/>
                    </a:cubicBezTo>
                    <a:cubicBezTo>
                      <a:pt x="16" y="10"/>
                      <a:pt x="16" y="10"/>
                      <a:pt x="16" y="10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3" y="6"/>
                      <a:pt x="13" y="6"/>
                      <a:pt x="13" y="6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1" y="0"/>
                      <a:pt x="1" y="0"/>
                      <a:pt x="1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128" name="Freeform 130"/>
              <p:cNvSpPr>
                <a:spLocks/>
              </p:cNvSpPr>
              <p:nvPr userDrawn="1"/>
            </p:nvSpPr>
            <p:spPr bwMode="auto">
              <a:xfrm>
                <a:off x="6349" y="3056"/>
                <a:ext cx="2" cy="2"/>
              </a:xfrm>
              <a:custGeom>
                <a:avLst/>
                <a:gdLst>
                  <a:gd name="T0" fmla="*/ 1 w 2"/>
                  <a:gd name="T1" fmla="*/ 0 h 2"/>
                  <a:gd name="T2" fmla="*/ 0 w 2"/>
                  <a:gd name="T3" fmla="*/ 1 h 2"/>
                  <a:gd name="T4" fmla="*/ 2 w 2"/>
                  <a:gd name="T5" fmla="*/ 2 h 2"/>
                  <a:gd name="T6" fmla="*/ 1 w 2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2" y="2"/>
                      <a:pt x="2" y="2"/>
                      <a:pt x="2" y="2"/>
                    </a:cubicBez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129" name="Freeform 131"/>
              <p:cNvSpPr>
                <a:spLocks/>
              </p:cNvSpPr>
              <p:nvPr userDrawn="1"/>
            </p:nvSpPr>
            <p:spPr bwMode="auto">
              <a:xfrm>
                <a:off x="6307" y="3141"/>
                <a:ext cx="5" cy="4"/>
              </a:xfrm>
              <a:custGeom>
                <a:avLst/>
                <a:gdLst>
                  <a:gd name="T0" fmla="*/ 0 w 6"/>
                  <a:gd name="T1" fmla="*/ 2 h 4"/>
                  <a:gd name="T2" fmla="*/ 3 w 6"/>
                  <a:gd name="T3" fmla="*/ 0 h 4"/>
                  <a:gd name="T4" fmla="*/ 6 w 6"/>
                  <a:gd name="T5" fmla="*/ 1 h 4"/>
                  <a:gd name="T6" fmla="*/ 5 w 6"/>
                  <a:gd name="T7" fmla="*/ 3 h 4"/>
                  <a:gd name="T8" fmla="*/ 2 w 6"/>
                  <a:gd name="T9" fmla="*/ 4 h 4"/>
                  <a:gd name="T10" fmla="*/ 0 w 6"/>
                  <a:gd name="T11" fmla="*/ 3 h 4"/>
                  <a:gd name="T12" fmla="*/ 0 w 6"/>
                  <a:gd name="T13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4">
                    <a:moveTo>
                      <a:pt x="0" y="2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6" y="1"/>
                      <a:pt x="6" y="1"/>
                      <a:pt x="6" y="1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2" y="4"/>
                      <a:pt x="2" y="4"/>
                      <a:pt x="2" y="4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2"/>
                      <a:pt x="0" y="2"/>
                      <a:pt x="0" y="2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130" name="Freeform 132"/>
              <p:cNvSpPr>
                <a:spLocks/>
              </p:cNvSpPr>
              <p:nvPr userDrawn="1"/>
            </p:nvSpPr>
            <p:spPr bwMode="auto">
              <a:xfrm>
                <a:off x="6291" y="3143"/>
                <a:ext cx="11" cy="6"/>
              </a:xfrm>
              <a:custGeom>
                <a:avLst/>
                <a:gdLst>
                  <a:gd name="T0" fmla="*/ 0 w 11"/>
                  <a:gd name="T1" fmla="*/ 1 h 6"/>
                  <a:gd name="T2" fmla="*/ 5 w 11"/>
                  <a:gd name="T3" fmla="*/ 5 h 6"/>
                  <a:gd name="T4" fmla="*/ 7 w 11"/>
                  <a:gd name="T5" fmla="*/ 5 h 6"/>
                  <a:gd name="T6" fmla="*/ 9 w 11"/>
                  <a:gd name="T7" fmla="*/ 6 h 6"/>
                  <a:gd name="T8" fmla="*/ 11 w 11"/>
                  <a:gd name="T9" fmla="*/ 5 h 6"/>
                  <a:gd name="T10" fmla="*/ 10 w 11"/>
                  <a:gd name="T11" fmla="*/ 3 h 6"/>
                  <a:gd name="T12" fmla="*/ 6 w 11"/>
                  <a:gd name="T13" fmla="*/ 3 h 6"/>
                  <a:gd name="T14" fmla="*/ 2 w 11"/>
                  <a:gd name="T15" fmla="*/ 0 h 6"/>
                  <a:gd name="T16" fmla="*/ 0 w 11"/>
                  <a:gd name="T17" fmla="*/ 1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1" h="6">
                    <a:moveTo>
                      <a:pt x="0" y="1"/>
                    </a:moveTo>
                    <a:cubicBezTo>
                      <a:pt x="5" y="5"/>
                      <a:pt x="5" y="5"/>
                      <a:pt x="5" y="5"/>
                    </a:cubicBezTo>
                    <a:cubicBezTo>
                      <a:pt x="7" y="5"/>
                      <a:pt x="7" y="5"/>
                      <a:pt x="7" y="5"/>
                    </a:cubicBezTo>
                    <a:cubicBezTo>
                      <a:pt x="9" y="6"/>
                      <a:pt x="9" y="6"/>
                      <a:pt x="9" y="6"/>
                    </a:cubicBezTo>
                    <a:cubicBezTo>
                      <a:pt x="11" y="5"/>
                      <a:pt x="11" y="5"/>
                      <a:pt x="11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1"/>
                      <a:pt x="0" y="1"/>
                      <a:pt x="0" y="1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131" name="Freeform 133"/>
              <p:cNvSpPr>
                <a:spLocks/>
              </p:cNvSpPr>
              <p:nvPr userDrawn="1"/>
            </p:nvSpPr>
            <p:spPr bwMode="auto">
              <a:xfrm>
                <a:off x="6176" y="2967"/>
                <a:ext cx="14" cy="6"/>
              </a:xfrm>
              <a:custGeom>
                <a:avLst/>
                <a:gdLst>
                  <a:gd name="T0" fmla="*/ 0 w 15"/>
                  <a:gd name="T1" fmla="*/ 1 h 6"/>
                  <a:gd name="T2" fmla="*/ 1 w 15"/>
                  <a:gd name="T3" fmla="*/ 0 h 6"/>
                  <a:gd name="T4" fmla="*/ 4 w 15"/>
                  <a:gd name="T5" fmla="*/ 1 h 6"/>
                  <a:gd name="T6" fmla="*/ 8 w 15"/>
                  <a:gd name="T7" fmla="*/ 0 h 6"/>
                  <a:gd name="T8" fmla="*/ 10 w 15"/>
                  <a:gd name="T9" fmla="*/ 1 h 6"/>
                  <a:gd name="T10" fmla="*/ 13 w 15"/>
                  <a:gd name="T11" fmla="*/ 1 h 6"/>
                  <a:gd name="T12" fmla="*/ 15 w 15"/>
                  <a:gd name="T13" fmla="*/ 2 h 6"/>
                  <a:gd name="T14" fmla="*/ 11 w 15"/>
                  <a:gd name="T15" fmla="*/ 5 h 6"/>
                  <a:gd name="T16" fmla="*/ 6 w 15"/>
                  <a:gd name="T17" fmla="*/ 6 h 6"/>
                  <a:gd name="T18" fmla="*/ 4 w 15"/>
                  <a:gd name="T19" fmla="*/ 4 h 6"/>
                  <a:gd name="T20" fmla="*/ 1 w 15"/>
                  <a:gd name="T21" fmla="*/ 4 h 6"/>
                  <a:gd name="T22" fmla="*/ 0 w 15"/>
                  <a:gd name="T23" fmla="*/ 1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5" h="6">
                    <a:moveTo>
                      <a:pt x="0" y="1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10" y="1"/>
                      <a:pt x="10" y="1"/>
                      <a:pt x="10" y="1"/>
                    </a:cubicBezTo>
                    <a:cubicBezTo>
                      <a:pt x="13" y="1"/>
                      <a:pt x="13" y="1"/>
                      <a:pt x="13" y="1"/>
                    </a:cubicBezTo>
                    <a:cubicBezTo>
                      <a:pt x="15" y="2"/>
                      <a:pt x="15" y="2"/>
                      <a:pt x="15" y="2"/>
                    </a:cubicBezTo>
                    <a:cubicBezTo>
                      <a:pt x="11" y="5"/>
                      <a:pt x="11" y="5"/>
                      <a:pt x="11" y="5"/>
                    </a:cubicBezTo>
                    <a:cubicBezTo>
                      <a:pt x="6" y="6"/>
                      <a:pt x="6" y="6"/>
                      <a:pt x="6" y="6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0" y="1"/>
                      <a:pt x="0" y="1"/>
                      <a:pt x="0" y="1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132" name="Freeform 134"/>
              <p:cNvSpPr>
                <a:spLocks/>
              </p:cNvSpPr>
              <p:nvPr userDrawn="1"/>
            </p:nvSpPr>
            <p:spPr bwMode="auto">
              <a:xfrm>
                <a:off x="6325" y="3031"/>
                <a:ext cx="22" cy="26"/>
              </a:xfrm>
              <a:custGeom>
                <a:avLst/>
                <a:gdLst>
                  <a:gd name="T0" fmla="*/ 4 w 23"/>
                  <a:gd name="T1" fmla="*/ 15 h 27"/>
                  <a:gd name="T2" fmla="*/ 0 w 23"/>
                  <a:gd name="T3" fmla="*/ 13 h 27"/>
                  <a:gd name="T4" fmla="*/ 0 w 23"/>
                  <a:gd name="T5" fmla="*/ 7 h 27"/>
                  <a:gd name="T6" fmla="*/ 0 w 23"/>
                  <a:gd name="T7" fmla="*/ 4 h 27"/>
                  <a:gd name="T8" fmla="*/ 0 w 23"/>
                  <a:gd name="T9" fmla="*/ 1 h 27"/>
                  <a:gd name="T10" fmla="*/ 0 w 23"/>
                  <a:gd name="T11" fmla="*/ 1 h 27"/>
                  <a:gd name="T12" fmla="*/ 4 w 23"/>
                  <a:gd name="T13" fmla="*/ 0 h 27"/>
                  <a:gd name="T14" fmla="*/ 7 w 23"/>
                  <a:gd name="T15" fmla="*/ 3 h 27"/>
                  <a:gd name="T16" fmla="*/ 8 w 23"/>
                  <a:gd name="T17" fmla="*/ 8 h 27"/>
                  <a:gd name="T18" fmla="*/ 13 w 23"/>
                  <a:gd name="T19" fmla="*/ 10 h 27"/>
                  <a:gd name="T20" fmla="*/ 19 w 23"/>
                  <a:gd name="T21" fmla="*/ 15 h 27"/>
                  <a:gd name="T22" fmla="*/ 23 w 23"/>
                  <a:gd name="T23" fmla="*/ 19 h 27"/>
                  <a:gd name="T24" fmla="*/ 23 w 23"/>
                  <a:gd name="T25" fmla="*/ 24 h 27"/>
                  <a:gd name="T26" fmla="*/ 20 w 23"/>
                  <a:gd name="T27" fmla="*/ 25 h 27"/>
                  <a:gd name="T28" fmla="*/ 19 w 23"/>
                  <a:gd name="T29" fmla="*/ 27 h 27"/>
                  <a:gd name="T30" fmla="*/ 15 w 23"/>
                  <a:gd name="T31" fmla="*/ 27 h 27"/>
                  <a:gd name="T32" fmla="*/ 12 w 23"/>
                  <a:gd name="T33" fmla="*/ 26 h 27"/>
                  <a:gd name="T34" fmla="*/ 9 w 23"/>
                  <a:gd name="T35" fmla="*/ 26 h 27"/>
                  <a:gd name="T36" fmla="*/ 7 w 23"/>
                  <a:gd name="T37" fmla="*/ 23 h 27"/>
                  <a:gd name="T38" fmla="*/ 8 w 23"/>
                  <a:gd name="T39" fmla="*/ 21 h 27"/>
                  <a:gd name="T40" fmla="*/ 4 w 23"/>
                  <a:gd name="T41" fmla="*/ 15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3" h="27">
                    <a:moveTo>
                      <a:pt x="4" y="15"/>
                    </a:moveTo>
                    <a:cubicBezTo>
                      <a:pt x="0" y="13"/>
                      <a:pt x="0" y="13"/>
                      <a:pt x="0" y="13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7" y="3"/>
                      <a:pt x="7" y="3"/>
                      <a:pt x="7" y="3"/>
                    </a:cubicBezTo>
                    <a:cubicBezTo>
                      <a:pt x="8" y="8"/>
                      <a:pt x="8" y="8"/>
                      <a:pt x="8" y="8"/>
                    </a:cubicBezTo>
                    <a:cubicBezTo>
                      <a:pt x="13" y="10"/>
                      <a:pt x="13" y="10"/>
                      <a:pt x="13" y="10"/>
                    </a:cubicBezTo>
                    <a:cubicBezTo>
                      <a:pt x="19" y="15"/>
                      <a:pt x="19" y="15"/>
                      <a:pt x="19" y="15"/>
                    </a:cubicBezTo>
                    <a:cubicBezTo>
                      <a:pt x="23" y="19"/>
                      <a:pt x="23" y="19"/>
                      <a:pt x="23" y="19"/>
                    </a:cubicBezTo>
                    <a:cubicBezTo>
                      <a:pt x="23" y="24"/>
                      <a:pt x="23" y="24"/>
                      <a:pt x="23" y="24"/>
                    </a:cubicBezTo>
                    <a:cubicBezTo>
                      <a:pt x="20" y="25"/>
                      <a:pt x="20" y="25"/>
                      <a:pt x="20" y="25"/>
                    </a:cubicBezTo>
                    <a:cubicBezTo>
                      <a:pt x="19" y="27"/>
                      <a:pt x="19" y="27"/>
                      <a:pt x="19" y="27"/>
                    </a:cubicBezTo>
                    <a:cubicBezTo>
                      <a:pt x="15" y="27"/>
                      <a:pt x="15" y="27"/>
                      <a:pt x="15" y="27"/>
                    </a:cubicBezTo>
                    <a:cubicBezTo>
                      <a:pt x="12" y="26"/>
                      <a:pt x="12" y="26"/>
                      <a:pt x="12" y="26"/>
                    </a:cubicBezTo>
                    <a:cubicBezTo>
                      <a:pt x="9" y="26"/>
                      <a:pt x="9" y="26"/>
                      <a:pt x="9" y="26"/>
                    </a:cubicBezTo>
                    <a:cubicBezTo>
                      <a:pt x="7" y="23"/>
                      <a:pt x="7" y="23"/>
                      <a:pt x="7" y="23"/>
                    </a:cubicBezTo>
                    <a:cubicBezTo>
                      <a:pt x="8" y="21"/>
                      <a:pt x="8" y="21"/>
                      <a:pt x="8" y="21"/>
                    </a:cubicBezTo>
                    <a:cubicBezTo>
                      <a:pt x="4" y="15"/>
                      <a:pt x="4" y="15"/>
                      <a:pt x="4" y="15"/>
                    </a:cubicBez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133" name="Freeform 135"/>
              <p:cNvSpPr>
                <a:spLocks/>
              </p:cNvSpPr>
              <p:nvPr userDrawn="1"/>
            </p:nvSpPr>
            <p:spPr bwMode="auto">
              <a:xfrm>
                <a:off x="6320" y="3023"/>
                <a:ext cx="4" cy="7"/>
              </a:xfrm>
              <a:custGeom>
                <a:avLst/>
                <a:gdLst>
                  <a:gd name="T0" fmla="*/ 1 w 4"/>
                  <a:gd name="T1" fmla="*/ 0 h 7"/>
                  <a:gd name="T2" fmla="*/ 0 w 4"/>
                  <a:gd name="T3" fmla="*/ 2 h 7"/>
                  <a:gd name="T4" fmla="*/ 2 w 4"/>
                  <a:gd name="T5" fmla="*/ 4 h 7"/>
                  <a:gd name="T6" fmla="*/ 2 w 4"/>
                  <a:gd name="T7" fmla="*/ 7 h 7"/>
                  <a:gd name="T8" fmla="*/ 4 w 4"/>
                  <a:gd name="T9" fmla="*/ 4 h 7"/>
                  <a:gd name="T10" fmla="*/ 4 w 4"/>
                  <a:gd name="T11" fmla="*/ 1 h 7"/>
                  <a:gd name="T12" fmla="*/ 1 w 4"/>
                  <a:gd name="T13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7">
                    <a:moveTo>
                      <a:pt x="1" y="0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2" y="4"/>
                      <a:pt x="2" y="4"/>
                      <a:pt x="2" y="4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1" y="0"/>
                      <a:pt x="1" y="0"/>
                      <a:pt x="1" y="0"/>
                    </a:cubicBez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134" name="Freeform 136"/>
              <p:cNvSpPr>
                <a:spLocks/>
              </p:cNvSpPr>
              <p:nvPr userDrawn="1"/>
            </p:nvSpPr>
            <p:spPr bwMode="auto">
              <a:xfrm>
                <a:off x="6315" y="3012"/>
                <a:ext cx="6" cy="6"/>
              </a:xfrm>
              <a:custGeom>
                <a:avLst/>
                <a:gdLst>
                  <a:gd name="T0" fmla="*/ 0 w 6"/>
                  <a:gd name="T1" fmla="*/ 4 h 6"/>
                  <a:gd name="T2" fmla="*/ 2 w 6"/>
                  <a:gd name="T3" fmla="*/ 3 h 6"/>
                  <a:gd name="T4" fmla="*/ 3 w 6"/>
                  <a:gd name="T5" fmla="*/ 0 h 6"/>
                  <a:gd name="T6" fmla="*/ 6 w 6"/>
                  <a:gd name="T7" fmla="*/ 3 h 6"/>
                  <a:gd name="T8" fmla="*/ 3 w 6"/>
                  <a:gd name="T9" fmla="*/ 6 h 6"/>
                  <a:gd name="T10" fmla="*/ 0 w 6"/>
                  <a:gd name="T11" fmla="*/ 5 h 6"/>
                  <a:gd name="T12" fmla="*/ 0 w 6"/>
                  <a:gd name="T13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6">
                    <a:moveTo>
                      <a:pt x="0" y="4"/>
                    </a:moveTo>
                    <a:cubicBezTo>
                      <a:pt x="2" y="3"/>
                      <a:pt x="2" y="3"/>
                      <a:pt x="2" y="3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135" name="Freeform 137"/>
              <p:cNvSpPr>
                <a:spLocks/>
              </p:cNvSpPr>
              <p:nvPr userDrawn="1"/>
            </p:nvSpPr>
            <p:spPr bwMode="auto">
              <a:xfrm>
                <a:off x="6253" y="2979"/>
                <a:ext cx="43" cy="42"/>
              </a:xfrm>
              <a:custGeom>
                <a:avLst/>
                <a:gdLst>
                  <a:gd name="T0" fmla="*/ 0 w 45"/>
                  <a:gd name="T1" fmla="*/ 0 h 44"/>
                  <a:gd name="T2" fmla="*/ 9 w 45"/>
                  <a:gd name="T3" fmla="*/ 5 h 44"/>
                  <a:gd name="T4" fmla="*/ 15 w 45"/>
                  <a:gd name="T5" fmla="*/ 6 h 44"/>
                  <a:gd name="T6" fmla="*/ 22 w 45"/>
                  <a:gd name="T7" fmla="*/ 12 h 44"/>
                  <a:gd name="T8" fmla="*/ 27 w 45"/>
                  <a:gd name="T9" fmla="*/ 13 h 44"/>
                  <a:gd name="T10" fmla="*/ 30 w 45"/>
                  <a:gd name="T11" fmla="*/ 16 h 44"/>
                  <a:gd name="T12" fmla="*/ 35 w 45"/>
                  <a:gd name="T13" fmla="*/ 18 h 44"/>
                  <a:gd name="T14" fmla="*/ 38 w 45"/>
                  <a:gd name="T15" fmla="*/ 24 h 44"/>
                  <a:gd name="T16" fmla="*/ 41 w 45"/>
                  <a:gd name="T17" fmla="*/ 24 h 44"/>
                  <a:gd name="T18" fmla="*/ 42 w 45"/>
                  <a:gd name="T19" fmla="*/ 32 h 44"/>
                  <a:gd name="T20" fmla="*/ 44 w 45"/>
                  <a:gd name="T21" fmla="*/ 32 h 44"/>
                  <a:gd name="T22" fmla="*/ 45 w 45"/>
                  <a:gd name="T23" fmla="*/ 35 h 44"/>
                  <a:gd name="T24" fmla="*/ 43 w 45"/>
                  <a:gd name="T25" fmla="*/ 39 h 44"/>
                  <a:gd name="T26" fmla="*/ 41 w 45"/>
                  <a:gd name="T27" fmla="*/ 44 h 44"/>
                  <a:gd name="T28" fmla="*/ 37 w 45"/>
                  <a:gd name="T29" fmla="*/ 39 h 44"/>
                  <a:gd name="T30" fmla="*/ 36 w 45"/>
                  <a:gd name="T31" fmla="*/ 35 h 44"/>
                  <a:gd name="T32" fmla="*/ 38 w 45"/>
                  <a:gd name="T33" fmla="*/ 32 h 44"/>
                  <a:gd name="T34" fmla="*/ 35 w 45"/>
                  <a:gd name="T35" fmla="*/ 23 h 44"/>
                  <a:gd name="T36" fmla="*/ 28 w 45"/>
                  <a:gd name="T37" fmla="*/ 16 h 44"/>
                  <a:gd name="T38" fmla="*/ 24 w 45"/>
                  <a:gd name="T39" fmla="*/ 16 h 44"/>
                  <a:gd name="T40" fmla="*/ 17 w 45"/>
                  <a:gd name="T41" fmla="*/ 12 h 44"/>
                  <a:gd name="T42" fmla="*/ 3 w 45"/>
                  <a:gd name="T43" fmla="*/ 4 h 44"/>
                  <a:gd name="T44" fmla="*/ 1 w 45"/>
                  <a:gd name="T45" fmla="*/ 2 h 44"/>
                  <a:gd name="T46" fmla="*/ 0 w 45"/>
                  <a:gd name="T47" fmla="*/ 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45" h="44">
                    <a:moveTo>
                      <a:pt x="0" y="0"/>
                    </a:moveTo>
                    <a:cubicBezTo>
                      <a:pt x="9" y="5"/>
                      <a:pt x="9" y="5"/>
                      <a:pt x="9" y="5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22" y="12"/>
                      <a:pt x="22" y="12"/>
                      <a:pt x="22" y="12"/>
                    </a:cubicBezTo>
                    <a:cubicBezTo>
                      <a:pt x="27" y="13"/>
                      <a:pt x="27" y="13"/>
                      <a:pt x="27" y="13"/>
                    </a:cubicBezTo>
                    <a:cubicBezTo>
                      <a:pt x="30" y="16"/>
                      <a:pt x="30" y="16"/>
                      <a:pt x="30" y="16"/>
                    </a:cubicBezTo>
                    <a:cubicBezTo>
                      <a:pt x="35" y="18"/>
                      <a:pt x="35" y="18"/>
                      <a:pt x="35" y="18"/>
                    </a:cubicBezTo>
                    <a:cubicBezTo>
                      <a:pt x="38" y="24"/>
                      <a:pt x="38" y="24"/>
                      <a:pt x="38" y="24"/>
                    </a:cubicBezTo>
                    <a:cubicBezTo>
                      <a:pt x="41" y="24"/>
                      <a:pt x="41" y="24"/>
                      <a:pt x="41" y="24"/>
                    </a:cubicBezTo>
                    <a:cubicBezTo>
                      <a:pt x="42" y="32"/>
                      <a:pt x="42" y="32"/>
                      <a:pt x="42" y="32"/>
                    </a:cubicBezTo>
                    <a:cubicBezTo>
                      <a:pt x="44" y="32"/>
                      <a:pt x="44" y="32"/>
                      <a:pt x="44" y="32"/>
                    </a:cubicBezTo>
                    <a:cubicBezTo>
                      <a:pt x="45" y="35"/>
                      <a:pt x="45" y="35"/>
                      <a:pt x="45" y="35"/>
                    </a:cubicBezTo>
                    <a:cubicBezTo>
                      <a:pt x="43" y="39"/>
                      <a:pt x="43" y="39"/>
                      <a:pt x="43" y="39"/>
                    </a:cubicBezTo>
                    <a:cubicBezTo>
                      <a:pt x="41" y="44"/>
                      <a:pt x="41" y="44"/>
                      <a:pt x="41" y="44"/>
                    </a:cubicBezTo>
                    <a:cubicBezTo>
                      <a:pt x="37" y="39"/>
                      <a:pt x="37" y="39"/>
                      <a:pt x="37" y="39"/>
                    </a:cubicBezTo>
                    <a:cubicBezTo>
                      <a:pt x="36" y="35"/>
                      <a:pt x="36" y="35"/>
                      <a:pt x="36" y="35"/>
                    </a:cubicBezTo>
                    <a:cubicBezTo>
                      <a:pt x="38" y="32"/>
                      <a:pt x="38" y="32"/>
                      <a:pt x="38" y="32"/>
                    </a:cubicBezTo>
                    <a:cubicBezTo>
                      <a:pt x="35" y="23"/>
                      <a:pt x="35" y="23"/>
                      <a:pt x="35" y="23"/>
                    </a:cubicBezTo>
                    <a:cubicBezTo>
                      <a:pt x="28" y="16"/>
                      <a:pt x="28" y="16"/>
                      <a:pt x="28" y="16"/>
                    </a:cubicBezTo>
                    <a:cubicBezTo>
                      <a:pt x="24" y="16"/>
                      <a:pt x="24" y="16"/>
                      <a:pt x="24" y="16"/>
                    </a:cubicBezTo>
                    <a:cubicBezTo>
                      <a:pt x="17" y="12"/>
                      <a:pt x="17" y="12"/>
                      <a:pt x="17" y="12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136" name="Freeform 138"/>
              <p:cNvSpPr>
                <a:spLocks/>
              </p:cNvSpPr>
              <p:nvPr userDrawn="1"/>
            </p:nvSpPr>
            <p:spPr bwMode="auto">
              <a:xfrm>
                <a:off x="6228" y="2953"/>
                <a:ext cx="6" cy="5"/>
              </a:xfrm>
              <a:custGeom>
                <a:avLst/>
                <a:gdLst>
                  <a:gd name="T0" fmla="*/ 0 w 6"/>
                  <a:gd name="T1" fmla="*/ 0 h 6"/>
                  <a:gd name="T2" fmla="*/ 3 w 6"/>
                  <a:gd name="T3" fmla="*/ 0 h 6"/>
                  <a:gd name="T4" fmla="*/ 6 w 6"/>
                  <a:gd name="T5" fmla="*/ 3 h 6"/>
                  <a:gd name="T6" fmla="*/ 6 w 6"/>
                  <a:gd name="T7" fmla="*/ 6 h 6"/>
                  <a:gd name="T8" fmla="*/ 1 w 6"/>
                  <a:gd name="T9" fmla="*/ 3 h 6"/>
                  <a:gd name="T10" fmla="*/ 0 w 6"/>
                  <a:gd name="T11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" h="6">
                    <a:moveTo>
                      <a:pt x="0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6"/>
                      <a:pt x="6" y="6"/>
                      <a:pt x="6" y="6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137" name="Freeform 139"/>
              <p:cNvSpPr>
                <a:spLocks/>
              </p:cNvSpPr>
              <p:nvPr userDrawn="1"/>
            </p:nvSpPr>
            <p:spPr bwMode="auto">
              <a:xfrm>
                <a:off x="6239" y="2977"/>
                <a:ext cx="7" cy="6"/>
              </a:xfrm>
              <a:custGeom>
                <a:avLst/>
                <a:gdLst>
                  <a:gd name="T0" fmla="*/ 0 w 7"/>
                  <a:gd name="T1" fmla="*/ 1 h 6"/>
                  <a:gd name="T2" fmla="*/ 5 w 7"/>
                  <a:gd name="T3" fmla="*/ 0 h 6"/>
                  <a:gd name="T4" fmla="*/ 7 w 7"/>
                  <a:gd name="T5" fmla="*/ 1 h 6"/>
                  <a:gd name="T6" fmla="*/ 7 w 7"/>
                  <a:gd name="T7" fmla="*/ 5 h 6"/>
                  <a:gd name="T8" fmla="*/ 4 w 7"/>
                  <a:gd name="T9" fmla="*/ 6 h 6"/>
                  <a:gd name="T10" fmla="*/ 1 w 7"/>
                  <a:gd name="T11" fmla="*/ 4 h 6"/>
                  <a:gd name="T12" fmla="*/ 0 w 7"/>
                  <a:gd name="T13" fmla="*/ 1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" h="6">
                    <a:moveTo>
                      <a:pt x="0" y="1"/>
                    </a:moveTo>
                    <a:cubicBezTo>
                      <a:pt x="5" y="0"/>
                      <a:pt x="5" y="0"/>
                      <a:pt x="5" y="0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7" y="5"/>
                      <a:pt x="7" y="5"/>
                      <a:pt x="7" y="5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0" y="1"/>
                      <a:pt x="0" y="1"/>
                      <a:pt x="0" y="1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138" name="Freeform 140"/>
              <p:cNvSpPr>
                <a:spLocks/>
              </p:cNvSpPr>
              <p:nvPr userDrawn="1"/>
            </p:nvSpPr>
            <p:spPr bwMode="auto">
              <a:xfrm>
                <a:off x="6237" y="3020"/>
                <a:ext cx="6" cy="5"/>
              </a:xfrm>
              <a:custGeom>
                <a:avLst/>
                <a:gdLst>
                  <a:gd name="T0" fmla="*/ 0 w 6"/>
                  <a:gd name="T1" fmla="*/ 3 h 6"/>
                  <a:gd name="T2" fmla="*/ 4 w 6"/>
                  <a:gd name="T3" fmla="*/ 6 h 6"/>
                  <a:gd name="T4" fmla="*/ 6 w 6"/>
                  <a:gd name="T5" fmla="*/ 4 h 6"/>
                  <a:gd name="T6" fmla="*/ 4 w 6"/>
                  <a:gd name="T7" fmla="*/ 0 h 6"/>
                  <a:gd name="T8" fmla="*/ 1 w 6"/>
                  <a:gd name="T9" fmla="*/ 1 h 6"/>
                  <a:gd name="T10" fmla="*/ 0 w 6"/>
                  <a:gd name="T11" fmla="*/ 3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" h="6">
                    <a:moveTo>
                      <a:pt x="0" y="3"/>
                    </a:moveTo>
                    <a:cubicBezTo>
                      <a:pt x="4" y="6"/>
                      <a:pt x="4" y="6"/>
                      <a:pt x="4" y="6"/>
                    </a:cubicBezTo>
                    <a:cubicBezTo>
                      <a:pt x="6" y="4"/>
                      <a:pt x="6" y="4"/>
                      <a:pt x="6" y="4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0" y="3"/>
                      <a:pt x="0" y="3"/>
                      <a:pt x="0" y="3"/>
                    </a:cubicBez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139" name="Freeform 141"/>
              <p:cNvSpPr>
                <a:spLocks/>
              </p:cNvSpPr>
              <p:nvPr userDrawn="1"/>
            </p:nvSpPr>
            <p:spPr bwMode="auto">
              <a:xfrm>
                <a:off x="6205" y="3008"/>
                <a:ext cx="79" cy="40"/>
              </a:xfrm>
              <a:custGeom>
                <a:avLst/>
                <a:gdLst>
                  <a:gd name="T0" fmla="*/ 23 w 82"/>
                  <a:gd name="T1" fmla="*/ 38 h 42"/>
                  <a:gd name="T2" fmla="*/ 25 w 82"/>
                  <a:gd name="T3" fmla="*/ 41 h 42"/>
                  <a:gd name="T4" fmla="*/ 30 w 82"/>
                  <a:gd name="T5" fmla="*/ 42 h 42"/>
                  <a:gd name="T6" fmla="*/ 33 w 82"/>
                  <a:gd name="T7" fmla="*/ 42 h 42"/>
                  <a:gd name="T8" fmla="*/ 40 w 82"/>
                  <a:gd name="T9" fmla="*/ 40 h 42"/>
                  <a:gd name="T10" fmla="*/ 43 w 82"/>
                  <a:gd name="T11" fmla="*/ 41 h 42"/>
                  <a:gd name="T12" fmla="*/ 47 w 82"/>
                  <a:gd name="T13" fmla="*/ 40 h 42"/>
                  <a:gd name="T14" fmla="*/ 51 w 82"/>
                  <a:gd name="T15" fmla="*/ 42 h 42"/>
                  <a:gd name="T16" fmla="*/ 53 w 82"/>
                  <a:gd name="T17" fmla="*/ 40 h 42"/>
                  <a:gd name="T18" fmla="*/ 53 w 82"/>
                  <a:gd name="T19" fmla="*/ 37 h 42"/>
                  <a:gd name="T20" fmla="*/ 58 w 82"/>
                  <a:gd name="T21" fmla="*/ 37 h 42"/>
                  <a:gd name="T22" fmla="*/ 64 w 82"/>
                  <a:gd name="T23" fmla="*/ 29 h 42"/>
                  <a:gd name="T24" fmla="*/ 64 w 82"/>
                  <a:gd name="T25" fmla="*/ 26 h 42"/>
                  <a:gd name="T26" fmla="*/ 67 w 82"/>
                  <a:gd name="T27" fmla="*/ 26 h 42"/>
                  <a:gd name="T28" fmla="*/ 70 w 82"/>
                  <a:gd name="T29" fmla="*/ 27 h 42"/>
                  <a:gd name="T30" fmla="*/ 74 w 82"/>
                  <a:gd name="T31" fmla="*/ 26 h 42"/>
                  <a:gd name="T32" fmla="*/ 77 w 82"/>
                  <a:gd name="T33" fmla="*/ 23 h 42"/>
                  <a:gd name="T34" fmla="*/ 72 w 82"/>
                  <a:gd name="T35" fmla="*/ 19 h 42"/>
                  <a:gd name="T36" fmla="*/ 72 w 82"/>
                  <a:gd name="T37" fmla="*/ 16 h 42"/>
                  <a:gd name="T38" fmla="*/ 75 w 82"/>
                  <a:gd name="T39" fmla="*/ 15 h 42"/>
                  <a:gd name="T40" fmla="*/ 77 w 82"/>
                  <a:gd name="T41" fmla="*/ 16 h 42"/>
                  <a:gd name="T42" fmla="*/ 82 w 82"/>
                  <a:gd name="T43" fmla="*/ 12 h 42"/>
                  <a:gd name="T44" fmla="*/ 81 w 82"/>
                  <a:gd name="T45" fmla="*/ 3 h 42"/>
                  <a:gd name="T46" fmla="*/ 77 w 82"/>
                  <a:gd name="T47" fmla="*/ 0 h 42"/>
                  <a:gd name="T48" fmla="*/ 75 w 82"/>
                  <a:gd name="T49" fmla="*/ 1 h 42"/>
                  <a:gd name="T50" fmla="*/ 73 w 82"/>
                  <a:gd name="T51" fmla="*/ 3 h 42"/>
                  <a:gd name="T52" fmla="*/ 71 w 82"/>
                  <a:gd name="T53" fmla="*/ 1 h 42"/>
                  <a:gd name="T54" fmla="*/ 66 w 82"/>
                  <a:gd name="T55" fmla="*/ 1 h 42"/>
                  <a:gd name="T56" fmla="*/ 64 w 82"/>
                  <a:gd name="T57" fmla="*/ 4 h 42"/>
                  <a:gd name="T58" fmla="*/ 66 w 82"/>
                  <a:gd name="T59" fmla="*/ 12 h 42"/>
                  <a:gd name="T60" fmla="*/ 68 w 82"/>
                  <a:gd name="T61" fmla="*/ 13 h 42"/>
                  <a:gd name="T62" fmla="*/ 66 w 82"/>
                  <a:gd name="T63" fmla="*/ 15 h 42"/>
                  <a:gd name="T64" fmla="*/ 62 w 82"/>
                  <a:gd name="T65" fmla="*/ 15 h 42"/>
                  <a:gd name="T66" fmla="*/ 55 w 82"/>
                  <a:gd name="T67" fmla="*/ 21 h 42"/>
                  <a:gd name="T68" fmla="*/ 53 w 82"/>
                  <a:gd name="T69" fmla="*/ 25 h 42"/>
                  <a:gd name="T70" fmla="*/ 51 w 82"/>
                  <a:gd name="T71" fmla="*/ 26 h 42"/>
                  <a:gd name="T72" fmla="*/ 49 w 82"/>
                  <a:gd name="T73" fmla="*/ 26 h 42"/>
                  <a:gd name="T74" fmla="*/ 46 w 82"/>
                  <a:gd name="T75" fmla="*/ 27 h 42"/>
                  <a:gd name="T76" fmla="*/ 44 w 82"/>
                  <a:gd name="T77" fmla="*/ 25 h 42"/>
                  <a:gd name="T78" fmla="*/ 41 w 82"/>
                  <a:gd name="T79" fmla="*/ 25 h 42"/>
                  <a:gd name="T80" fmla="*/ 39 w 82"/>
                  <a:gd name="T81" fmla="*/ 28 h 42"/>
                  <a:gd name="T82" fmla="*/ 36 w 82"/>
                  <a:gd name="T83" fmla="*/ 28 h 42"/>
                  <a:gd name="T84" fmla="*/ 35 w 82"/>
                  <a:gd name="T85" fmla="*/ 23 h 42"/>
                  <a:gd name="T86" fmla="*/ 36 w 82"/>
                  <a:gd name="T87" fmla="*/ 20 h 42"/>
                  <a:gd name="T88" fmla="*/ 33 w 82"/>
                  <a:gd name="T89" fmla="*/ 18 h 42"/>
                  <a:gd name="T90" fmla="*/ 31 w 82"/>
                  <a:gd name="T91" fmla="*/ 20 h 42"/>
                  <a:gd name="T92" fmla="*/ 31 w 82"/>
                  <a:gd name="T93" fmla="*/ 23 h 42"/>
                  <a:gd name="T94" fmla="*/ 29 w 82"/>
                  <a:gd name="T95" fmla="*/ 25 h 42"/>
                  <a:gd name="T96" fmla="*/ 25 w 82"/>
                  <a:gd name="T97" fmla="*/ 24 h 42"/>
                  <a:gd name="T98" fmla="*/ 20 w 82"/>
                  <a:gd name="T99" fmla="*/ 26 h 42"/>
                  <a:gd name="T100" fmla="*/ 17 w 82"/>
                  <a:gd name="T101" fmla="*/ 26 h 42"/>
                  <a:gd name="T102" fmla="*/ 14 w 82"/>
                  <a:gd name="T103" fmla="*/ 25 h 42"/>
                  <a:gd name="T104" fmla="*/ 11 w 82"/>
                  <a:gd name="T105" fmla="*/ 25 h 42"/>
                  <a:gd name="T106" fmla="*/ 6 w 82"/>
                  <a:gd name="T107" fmla="*/ 26 h 42"/>
                  <a:gd name="T108" fmla="*/ 2 w 82"/>
                  <a:gd name="T109" fmla="*/ 24 h 42"/>
                  <a:gd name="T110" fmla="*/ 2 w 82"/>
                  <a:gd name="T111" fmla="*/ 24 h 42"/>
                  <a:gd name="T112" fmla="*/ 0 w 82"/>
                  <a:gd name="T113" fmla="*/ 28 h 42"/>
                  <a:gd name="T114" fmla="*/ 3 w 82"/>
                  <a:gd name="T115" fmla="*/ 32 h 42"/>
                  <a:gd name="T116" fmla="*/ 7 w 82"/>
                  <a:gd name="T117" fmla="*/ 33 h 42"/>
                  <a:gd name="T118" fmla="*/ 13 w 82"/>
                  <a:gd name="T119" fmla="*/ 38 h 42"/>
                  <a:gd name="T120" fmla="*/ 14 w 82"/>
                  <a:gd name="T121" fmla="*/ 40 h 42"/>
                  <a:gd name="T122" fmla="*/ 17 w 82"/>
                  <a:gd name="T123" fmla="*/ 38 h 42"/>
                  <a:gd name="T124" fmla="*/ 23 w 82"/>
                  <a:gd name="T125" fmla="*/ 38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82" h="42">
                    <a:moveTo>
                      <a:pt x="23" y="38"/>
                    </a:moveTo>
                    <a:cubicBezTo>
                      <a:pt x="25" y="41"/>
                      <a:pt x="25" y="41"/>
                      <a:pt x="25" y="41"/>
                    </a:cubicBezTo>
                    <a:cubicBezTo>
                      <a:pt x="30" y="42"/>
                      <a:pt x="30" y="42"/>
                      <a:pt x="30" y="42"/>
                    </a:cubicBezTo>
                    <a:cubicBezTo>
                      <a:pt x="33" y="42"/>
                      <a:pt x="33" y="42"/>
                      <a:pt x="33" y="42"/>
                    </a:cubicBezTo>
                    <a:cubicBezTo>
                      <a:pt x="40" y="40"/>
                      <a:pt x="40" y="40"/>
                      <a:pt x="40" y="40"/>
                    </a:cubicBezTo>
                    <a:cubicBezTo>
                      <a:pt x="43" y="41"/>
                      <a:pt x="43" y="41"/>
                      <a:pt x="43" y="41"/>
                    </a:cubicBezTo>
                    <a:cubicBezTo>
                      <a:pt x="47" y="40"/>
                      <a:pt x="47" y="40"/>
                      <a:pt x="47" y="40"/>
                    </a:cubicBezTo>
                    <a:cubicBezTo>
                      <a:pt x="51" y="42"/>
                      <a:pt x="51" y="42"/>
                      <a:pt x="51" y="42"/>
                    </a:cubicBezTo>
                    <a:cubicBezTo>
                      <a:pt x="53" y="40"/>
                      <a:pt x="53" y="40"/>
                      <a:pt x="53" y="40"/>
                    </a:cubicBezTo>
                    <a:cubicBezTo>
                      <a:pt x="53" y="37"/>
                      <a:pt x="53" y="37"/>
                      <a:pt x="53" y="37"/>
                    </a:cubicBezTo>
                    <a:cubicBezTo>
                      <a:pt x="58" y="37"/>
                      <a:pt x="58" y="37"/>
                      <a:pt x="58" y="37"/>
                    </a:cubicBezTo>
                    <a:cubicBezTo>
                      <a:pt x="64" y="29"/>
                      <a:pt x="64" y="29"/>
                      <a:pt x="64" y="29"/>
                    </a:cubicBezTo>
                    <a:cubicBezTo>
                      <a:pt x="64" y="26"/>
                      <a:pt x="64" y="26"/>
                      <a:pt x="64" y="26"/>
                    </a:cubicBezTo>
                    <a:cubicBezTo>
                      <a:pt x="67" y="26"/>
                      <a:pt x="67" y="26"/>
                      <a:pt x="67" y="26"/>
                    </a:cubicBezTo>
                    <a:cubicBezTo>
                      <a:pt x="70" y="27"/>
                      <a:pt x="70" y="27"/>
                      <a:pt x="70" y="27"/>
                    </a:cubicBezTo>
                    <a:cubicBezTo>
                      <a:pt x="74" y="26"/>
                      <a:pt x="74" y="26"/>
                      <a:pt x="74" y="26"/>
                    </a:cubicBezTo>
                    <a:cubicBezTo>
                      <a:pt x="77" y="23"/>
                      <a:pt x="77" y="23"/>
                      <a:pt x="77" y="23"/>
                    </a:cubicBezTo>
                    <a:cubicBezTo>
                      <a:pt x="72" y="19"/>
                      <a:pt x="72" y="19"/>
                      <a:pt x="72" y="19"/>
                    </a:cubicBezTo>
                    <a:cubicBezTo>
                      <a:pt x="72" y="16"/>
                      <a:pt x="72" y="16"/>
                      <a:pt x="72" y="16"/>
                    </a:cubicBezTo>
                    <a:cubicBezTo>
                      <a:pt x="75" y="15"/>
                      <a:pt x="75" y="15"/>
                      <a:pt x="75" y="15"/>
                    </a:cubicBezTo>
                    <a:cubicBezTo>
                      <a:pt x="77" y="16"/>
                      <a:pt x="77" y="16"/>
                      <a:pt x="77" y="16"/>
                    </a:cubicBezTo>
                    <a:cubicBezTo>
                      <a:pt x="82" y="12"/>
                      <a:pt x="82" y="12"/>
                      <a:pt x="82" y="12"/>
                    </a:cubicBezTo>
                    <a:cubicBezTo>
                      <a:pt x="81" y="3"/>
                      <a:pt x="81" y="3"/>
                      <a:pt x="81" y="3"/>
                    </a:cubicBezTo>
                    <a:cubicBezTo>
                      <a:pt x="77" y="0"/>
                      <a:pt x="77" y="0"/>
                      <a:pt x="77" y="0"/>
                    </a:cubicBezTo>
                    <a:cubicBezTo>
                      <a:pt x="75" y="1"/>
                      <a:pt x="75" y="1"/>
                      <a:pt x="75" y="1"/>
                    </a:cubicBezTo>
                    <a:cubicBezTo>
                      <a:pt x="73" y="3"/>
                      <a:pt x="73" y="3"/>
                      <a:pt x="73" y="3"/>
                    </a:cubicBezTo>
                    <a:cubicBezTo>
                      <a:pt x="71" y="1"/>
                      <a:pt x="71" y="1"/>
                      <a:pt x="71" y="1"/>
                    </a:cubicBezTo>
                    <a:cubicBezTo>
                      <a:pt x="66" y="1"/>
                      <a:pt x="66" y="1"/>
                      <a:pt x="66" y="1"/>
                    </a:cubicBezTo>
                    <a:cubicBezTo>
                      <a:pt x="64" y="4"/>
                      <a:pt x="64" y="4"/>
                      <a:pt x="64" y="4"/>
                    </a:cubicBezTo>
                    <a:cubicBezTo>
                      <a:pt x="66" y="12"/>
                      <a:pt x="66" y="12"/>
                      <a:pt x="66" y="12"/>
                    </a:cubicBezTo>
                    <a:cubicBezTo>
                      <a:pt x="68" y="13"/>
                      <a:pt x="68" y="13"/>
                      <a:pt x="68" y="13"/>
                    </a:cubicBezTo>
                    <a:cubicBezTo>
                      <a:pt x="66" y="15"/>
                      <a:pt x="66" y="15"/>
                      <a:pt x="66" y="15"/>
                    </a:cubicBezTo>
                    <a:cubicBezTo>
                      <a:pt x="62" y="15"/>
                      <a:pt x="62" y="15"/>
                      <a:pt x="62" y="15"/>
                    </a:cubicBezTo>
                    <a:cubicBezTo>
                      <a:pt x="55" y="21"/>
                      <a:pt x="55" y="21"/>
                      <a:pt x="55" y="21"/>
                    </a:cubicBezTo>
                    <a:cubicBezTo>
                      <a:pt x="53" y="25"/>
                      <a:pt x="53" y="25"/>
                      <a:pt x="53" y="25"/>
                    </a:cubicBezTo>
                    <a:cubicBezTo>
                      <a:pt x="51" y="26"/>
                      <a:pt x="51" y="26"/>
                      <a:pt x="51" y="26"/>
                    </a:cubicBezTo>
                    <a:cubicBezTo>
                      <a:pt x="49" y="26"/>
                      <a:pt x="49" y="26"/>
                      <a:pt x="49" y="26"/>
                    </a:cubicBezTo>
                    <a:cubicBezTo>
                      <a:pt x="46" y="27"/>
                      <a:pt x="46" y="27"/>
                      <a:pt x="46" y="27"/>
                    </a:cubicBezTo>
                    <a:cubicBezTo>
                      <a:pt x="44" y="25"/>
                      <a:pt x="44" y="25"/>
                      <a:pt x="44" y="25"/>
                    </a:cubicBezTo>
                    <a:cubicBezTo>
                      <a:pt x="41" y="25"/>
                      <a:pt x="41" y="25"/>
                      <a:pt x="41" y="25"/>
                    </a:cubicBezTo>
                    <a:cubicBezTo>
                      <a:pt x="39" y="28"/>
                      <a:pt x="39" y="28"/>
                      <a:pt x="39" y="28"/>
                    </a:cubicBezTo>
                    <a:cubicBezTo>
                      <a:pt x="36" y="28"/>
                      <a:pt x="36" y="28"/>
                      <a:pt x="36" y="28"/>
                    </a:cubicBezTo>
                    <a:cubicBezTo>
                      <a:pt x="35" y="23"/>
                      <a:pt x="35" y="23"/>
                      <a:pt x="35" y="23"/>
                    </a:cubicBezTo>
                    <a:cubicBezTo>
                      <a:pt x="36" y="20"/>
                      <a:pt x="36" y="20"/>
                      <a:pt x="36" y="20"/>
                    </a:cubicBezTo>
                    <a:cubicBezTo>
                      <a:pt x="33" y="18"/>
                      <a:pt x="33" y="18"/>
                      <a:pt x="33" y="18"/>
                    </a:cubicBezTo>
                    <a:cubicBezTo>
                      <a:pt x="31" y="20"/>
                      <a:pt x="31" y="20"/>
                      <a:pt x="31" y="20"/>
                    </a:cubicBezTo>
                    <a:cubicBezTo>
                      <a:pt x="31" y="23"/>
                      <a:pt x="31" y="23"/>
                      <a:pt x="31" y="23"/>
                    </a:cubicBezTo>
                    <a:cubicBezTo>
                      <a:pt x="29" y="25"/>
                      <a:pt x="29" y="25"/>
                      <a:pt x="29" y="25"/>
                    </a:cubicBezTo>
                    <a:cubicBezTo>
                      <a:pt x="25" y="24"/>
                      <a:pt x="25" y="24"/>
                      <a:pt x="25" y="24"/>
                    </a:cubicBezTo>
                    <a:cubicBezTo>
                      <a:pt x="20" y="26"/>
                      <a:pt x="20" y="26"/>
                      <a:pt x="20" y="26"/>
                    </a:cubicBezTo>
                    <a:cubicBezTo>
                      <a:pt x="17" y="26"/>
                      <a:pt x="17" y="26"/>
                      <a:pt x="17" y="26"/>
                    </a:cubicBezTo>
                    <a:cubicBezTo>
                      <a:pt x="14" y="25"/>
                      <a:pt x="14" y="25"/>
                      <a:pt x="14" y="25"/>
                    </a:cubicBezTo>
                    <a:cubicBezTo>
                      <a:pt x="11" y="25"/>
                      <a:pt x="11" y="25"/>
                      <a:pt x="11" y="25"/>
                    </a:cubicBezTo>
                    <a:cubicBezTo>
                      <a:pt x="6" y="26"/>
                      <a:pt x="6" y="26"/>
                      <a:pt x="6" y="26"/>
                    </a:cubicBezTo>
                    <a:cubicBezTo>
                      <a:pt x="2" y="24"/>
                      <a:pt x="2" y="24"/>
                      <a:pt x="2" y="24"/>
                    </a:cubicBezTo>
                    <a:cubicBezTo>
                      <a:pt x="2" y="24"/>
                      <a:pt x="2" y="24"/>
                      <a:pt x="2" y="24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3" y="32"/>
                      <a:pt x="3" y="32"/>
                      <a:pt x="3" y="32"/>
                    </a:cubicBezTo>
                    <a:cubicBezTo>
                      <a:pt x="7" y="33"/>
                      <a:pt x="7" y="33"/>
                      <a:pt x="7" y="33"/>
                    </a:cubicBezTo>
                    <a:cubicBezTo>
                      <a:pt x="13" y="38"/>
                      <a:pt x="13" y="38"/>
                      <a:pt x="13" y="38"/>
                    </a:cubicBezTo>
                    <a:cubicBezTo>
                      <a:pt x="14" y="40"/>
                      <a:pt x="14" y="40"/>
                      <a:pt x="14" y="40"/>
                    </a:cubicBezTo>
                    <a:cubicBezTo>
                      <a:pt x="17" y="38"/>
                      <a:pt x="17" y="38"/>
                      <a:pt x="17" y="38"/>
                    </a:cubicBezTo>
                    <a:cubicBezTo>
                      <a:pt x="23" y="38"/>
                      <a:pt x="23" y="38"/>
                      <a:pt x="23" y="38"/>
                    </a:cubicBez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140" name="Freeform 142"/>
              <p:cNvSpPr>
                <a:spLocks/>
              </p:cNvSpPr>
              <p:nvPr userDrawn="1"/>
            </p:nvSpPr>
            <p:spPr bwMode="auto">
              <a:xfrm>
                <a:off x="6195" y="3032"/>
                <a:ext cx="6" cy="7"/>
              </a:xfrm>
              <a:custGeom>
                <a:avLst/>
                <a:gdLst>
                  <a:gd name="T0" fmla="*/ 0 w 6"/>
                  <a:gd name="T1" fmla="*/ 2 h 7"/>
                  <a:gd name="T2" fmla="*/ 2 w 6"/>
                  <a:gd name="T3" fmla="*/ 0 h 7"/>
                  <a:gd name="T4" fmla="*/ 5 w 6"/>
                  <a:gd name="T5" fmla="*/ 2 h 7"/>
                  <a:gd name="T6" fmla="*/ 6 w 6"/>
                  <a:gd name="T7" fmla="*/ 5 h 7"/>
                  <a:gd name="T8" fmla="*/ 5 w 6"/>
                  <a:gd name="T9" fmla="*/ 7 h 7"/>
                  <a:gd name="T10" fmla="*/ 2 w 6"/>
                  <a:gd name="T11" fmla="*/ 5 h 7"/>
                  <a:gd name="T12" fmla="*/ 0 w 6"/>
                  <a:gd name="T13" fmla="*/ 2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7">
                    <a:moveTo>
                      <a:pt x="0" y="2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5" y="7"/>
                      <a:pt x="5" y="7"/>
                      <a:pt x="5" y="7"/>
                    </a:cubicBezTo>
                    <a:cubicBezTo>
                      <a:pt x="2" y="5"/>
                      <a:pt x="2" y="5"/>
                      <a:pt x="2" y="5"/>
                    </a:cubicBezTo>
                    <a:cubicBezTo>
                      <a:pt x="0" y="2"/>
                      <a:pt x="0" y="2"/>
                      <a:pt x="0" y="2"/>
                    </a:cubicBez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141" name="Freeform 143"/>
              <p:cNvSpPr>
                <a:spLocks/>
              </p:cNvSpPr>
              <p:nvPr userDrawn="1"/>
            </p:nvSpPr>
            <p:spPr bwMode="auto">
              <a:xfrm>
                <a:off x="6182" y="3027"/>
                <a:ext cx="4" cy="5"/>
              </a:xfrm>
              <a:custGeom>
                <a:avLst/>
                <a:gdLst>
                  <a:gd name="T0" fmla="*/ 2 w 4"/>
                  <a:gd name="T1" fmla="*/ 0 h 5"/>
                  <a:gd name="T2" fmla="*/ 0 w 4"/>
                  <a:gd name="T3" fmla="*/ 3 h 5"/>
                  <a:gd name="T4" fmla="*/ 2 w 4"/>
                  <a:gd name="T5" fmla="*/ 5 h 5"/>
                  <a:gd name="T6" fmla="*/ 4 w 4"/>
                  <a:gd name="T7" fmla="*/ 5 h 5"/>
                  <a:gd name="T8" fmla="*/ 4 w 4"/>
                  <a:gd name="T9" fmla="*/ 2 h 5"/>
                  <a:gd name="T10" fmla="*/ 2 w 4"/>
                  <a:gd name="T11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5">
                    <a:moveTo>
                      <a:pt x="2" y="0"/>
                    </a:moveTo>
                    <a:cubicBezTo>
                      <a:pt x="0" y="3"/>
                      <a:pt x="0" y="3"/>
                      <a:pt x="0" y="3"/>
                    </a:cubicBezTo>
                    <a:cubicBezTo>
                      <a:pt x="2" y="5"/>
                      <a:pt x="2" y="5"/>
                      <a:pt x="2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2"/>
                      <a:pt x="4" y="2"/>
                      <a:pt x="4" y="2"/>
                    </a:cubicBezTo>
                    <a:cubicBezTo>
                      <a:pt x="2" y="0"/>
                      <a:pt x="2" y="0"/>
                      <a:pt x="2" y="0"/>
                    </a:cubicBez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142" name="Freeform 144"/>
              <p:cNvSpPr>
                <a:spLocks/>
              </p:cNvSpPr>
              <p:nvPr userDrawn="1"/>
            </p:nvSpPr>
            <p:spPr bwMode="auto">
              <a:xfrm>
                <a:off x="6161" y="3016"/>
                <a:ext cx="5" cy="4"/>
              </a:xfrm>
              <a:custGeom>
                <a:avLst/>
                <a:gdLst>
                  <a:gd name="T0" fmla="*/ 5 w 5"/>
                  <a:gd name="T1" fmla="*/ 0 h 4"/>
                  <a:gd name="T2" fmla="*/ 0 w 5"/>
                  <a:gd name="T3" fmla="*/ 2 h 4"/>
                  <a:gd name="T4" fmla="*/ 2 w 5"/>
                  <a:gd name="T5" fmla="*/ 4 h 4"/>
                  <a:gd name="T6" fmla="*/ 4 w 5"/>
                  <a:gd name="T7" fmla="*/ 2 h 4"/>
                  <a:gd name="T8" fmla="*/ 5 w 5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4">
                    <a:moveTo>
                      <a:pt x="5" y="0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2" y="4"/>
                      <a:pt x="2" y="4"/>
                      <a:pt x="2" y="4"/>
                    </a:cubicBezTo>
                    <a:cubicBezTo>
                      <a:pt x="4" y="2"/>
                      <a:pt x="4" y="2"/>
                      <a:pt x="4" y="2"/>
                    </a:cubicBezTo>
                    <a:cubicBezTo>
                      <a:pt x="5" y="0"/>
                      <a:pt x="5" y="0"/>
                      <a:pt x="5" y="0"/>
                    </a:cubicBez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143" name="Freeform 145"/>
              <p:cNvSpPr>
                <a:spLocks/>
              </p:cNvSpPr>
              <p:nvPr userDrawn="1"/>
            </p:nvSpPr>
            <p:spPr bwMode="auto">
              <a:xfrm>
                <a:off x="6282" y="3097"/>
                <a:ext cx="7" cy="7"/>
              </a:xfrm>
              <a:custGeom>
                <a:avLst/>
                <a:gdLst>
                  <a:gd name="T0" fmla="*/ 1 w 7"/>
                  <a:gd name="T1" fmla="*/ 0 h 7"/>
                  <a:gd name="T2" fmla="*/ 0 w 7"/>
                  <a:gd name="T3" fmla="*/ 3 h 7"/>
                  <a:gd name="T4" fmla="*/ 1 w 7"/>
                  <a:gd name="T5" fmla="*/ 5 h 7"/>
                  <a:gd name="T6" fmla="*/ 2 w 7"/>
                  <a:gd name="T7" fmla="*/ 4 h 7"/>
                  <a:gd name="T8" fmla="*/ 7 w 7"/>
                  <a:gd name="T9" fmla="*/ 7 h 7"/>
                  <a:gd name="T10" fmla="*/ 6 w 7"/>
                  <a:gd name="T11" fmla="*/ 5 h 7"/>
                  <a:gd name="T12" fmla="*/ 1 w 7"/>
                  <a:gd name="T13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" h="7">
                    <a:moveTo>
                      <a:pt x="1" y="0"/>
                    </a:moveTo>
                    <a:cubicBezTo>
                      <a:pt x="0" y="3"/>
                      <a:pt x="0" y="3"/>
                      <a:pt x="0" y="3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2" y="4"/>
                      <a:pt x="2" y="4"/>
                      <a:pt x="2" y="4"/>
                    </a:cubicBezTo>
                    <a:cubicBezTo>
                      <a:pt x="7" y="7"/>
                      <a:pt x="7" y="7"/>
                      <a:pt x="7" y="7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1" y="0"/>
                      <a:pt x="1" y="0"/>
                      <a:pt x="1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144" name="Freeform 146"/>
              <p:cNvSpPr>
                <a:spLocks/>
              </p:cNvSpPr>
              <p:nvPr userDrawn="1"/>
            </p:nvSpPr>
            <p:spPr bwMode="auto">
              <a:xfrm>
                <a:off x="6254" y="3085"/>
                <a:ext cx="4" cy="8"/>
              </a:xfrm>
              <a:custGeom>
                <a:avLst/>
                <a:gdLst>
                  <a:gd name="T0" fmla="*/ 1 w 4"/>
                  <a:gd name="T1" fmla="*/ 1 h 8"/>
                  <a:gd name="T2" fmla="*/ 0 w 4"/>
                  <a:gd name="T3" fmla="*/ 2 h 8"/>
                  <a:gd name="T4" fmla="*/ 2 w 4"/>
                  <a:gd name="T5" fmla="*/ 5 h 8"/>
                  <a:gd name="T6" fmla="*/ 3 w 4"/>
                  <a:gd name="T7" fmla="*/ 5 h 8"/>
                  <a:gd name="T8" fmla="*/ 3 w 4"/>
                  <a:gd name="T9" fmla="*/ 7 h 8"/>
                  <a:gd name="T10" fmla="*/ 3 w 4"/>
                  <a:gd name="T11" fmla="*/ 8 h 8"/>
                  <a:gd name="T12" fmla="*/ 3 w 4"/>
                  <a:gd name="T13" fmla="*/ 8 h 8"/>
                  <a:gd name="T14" fmla="*/ 4 w 4"/>
                  <a:gd name="T15" fmla="*/ 5 h 8"/>
                  <a:gd name="T16" fmla="*/ 3 w 4"/>
                  <a:gd name="T17" fmla="*/ 0 h 8"/>
                  <a:gd name="T18" fmla="*/ 1 w 4"/>
                  <a:gd name="T19" fmla="*/ 1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" h="8">
                    <a:moveTo>
                      <a:pt x="1" y="1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2" y="5"/>
                      <a:pt x="2" y="5"/>
                      <a:pt x="2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3" y="8"/>
                      <a:pt x="3" y="8"/>
                      <a:pt x="3" y="8"/>
                    </a:cubicBezTo>
                    <a:cubicBezTo>
                      <a:pt x="3" y="8"/>
                      <a:pt x="3" y="8"/>
                      <a:pt x="3" y="8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1" y="1"/>
                      <a:pt x="1" y="1"/>
                      <a:pt x="1" y="1"/>
                    </a:cubicBez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145" name="Freeform 147"/>
              <p:cNvSpPr>
                <a:spLocks/>
              </p:cNvSpPr>
              <p:nvPr userDrawn="1"/>
            </p:nvSpPr>
            <p:spPr bwMode="auto">
              <a:xfrm>
                <a:off x="6247" y="3112"/>
                <a:ext cx="11" cy="8"/>
              </a:xfrm>
              <a:custGeom>
                <a:avLst/>
                <a:gdLst>
                  <a:gd name="T0" fmla="*/ 0 w 11"/>
                  <a:gd name="T1" fmla="*/ 0 h 8"/>
                  <a:gd name="T2" fmla="*/ 3 w 11"/>
                  <a:gd name="T3" fmla="*/ 0 h 8"/>
                  <a:gd name="T4" fmla="*/ 4 w 11"/>
                  <a:gd name="T5" fmla="*/ 2 h 8"/>
                  <a:gd name="T6" fmla="*/ 5 w 11"/>
                  <a:gd name="T7" fmla="*/ 3 h 8"/>
                  <a:gd name="T8" fmla="*/ 6 w 11"/>
                  <a:gd name="T9" fmla="*/ 3 h 8"/>
                  <a:gd name="T10" fmla="*/ 7 w 11"/>
                  <a:gd name="T11" fmla="*/ 4 h 8"/>
                  <a:gd name="T12" fmla="*/ 9 w 11"/>
                  <a:gd name="T13" fmla="*/ 3 h 8"/>
                  <a:gd name="T14" fmla="*/ 11 w 11"/>
                  <a:gd name="T15" fmla="*/ 2 h 8"/>
                  <a:gd name="T16" fmla="*/ 11 w 11"/>
                  <a:gd name="T17" fmla="*/ 4 h 8"/>
                  <a:gd name="T18" fmla="*/ 9 w 11"/>
                  <a:gd name="T19" fmla="*/ 6 h 8"/>
                  <a:gd name="T20" fmla="*/ 9 w 11"/>
                  <a:gd name="T21" fmla="*/ 7 h 8"/>
                  <a:gd name="T22" fmla="*/ 7 w 11"/>
                  <a:gd name="T23" fmla="*/ 8 h 8"/>
                  <a:gd name="T24" fmla="*/ 4 w 11"/>
                  <a:gd name="T25" fmla="*/ 7 h 8"/>
                  <a:gd name="T26" fmla="*/ 4 w 11"/>
                  <a:gd name="T27" fmla="*/ 5 h 8"/>
                  <a:gd name="T28" fmla="*/ 3 w 11"/>
                  <a:gd name="T29" fmla="*/ 4 h 8"/>
                  <a:gd name="T30" fmla="*/ 2 w 11"/>
                  <a:gd name="T31" fmla="*/ 1 h 8"/>
                  <a:gd name="T32" fmla="*/ 0 w 11"/>
                  <a:gd name="T33" fmla="*/ 1 h 8"/>
                  <a:gd name="T34" fmla="*/ 0 w 11"/>
                  <a:gd name="T35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1" h="8">
                    <a:moveTo>
                      <a:pt x="0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4" y="2"/>
                      <a:pt x="4" y="2"/>
                      <a:pt x="4" y="2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11" y="2"/>
                      <a:pt x="11" y="2"/>
                      <a:pt x="11" y="2"/>
                    </a:cubicBezTo>
                    <a:cubicBezTo>
                      <a:pt x="11" y="4"/>
                      <a:pt x="11" y="4"/>
                      <a:pt x="11" y="4"/>
                    </a:cubicBezTo>
                    <a:cubicBezTo>
                      <a:pt x="9" y="6"/>
                      <a:pt x="9" y="6"/>
                      <a:pt x="9" y="6"/>
                    </a:cubicBezTo>
                    <a:cubicBezTo>
                      <a:pt x="9" y="7"/>
                      <a:pt x="9" y="7"/>
                      <a:pt x="9" y="7"/>
                    </a:cubicBezTo>
                    <a:cubicBezTo>
                      <a:pt x="7" y="8"/>
                      <a:pt x="7" y="8"/>
                      <a:pt x="7" y="8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146" name="Freeform 148"/>
              <p:cNvSpPr>
                <a:spLocks/>
              </p:cNvSpPr>
              <p:nvPr userDrawn="1"/>
            </p:nvSpPr>
            <p:spPr bwMode="auto">
              <a:xfrm>
                <a:off x="6245" y="3106"/>
                <a:ext cx="6" cy="5"/>
              </a:xfrm>
              <a:custGeom>
                <a:avLst/>
                <a:gdLst>
                  <a:gd name="T0" fmla="*/ 0 w 7"/>
                  <a:gd name="T1" fmla="*/ 1 h 6"/>
                  <a:gd name="T2" fmla="*/ 0 w 7"/>
                  <a:gd name="T3" fmla="*/ 4 h 6"/>
                  <a:gd name="T4" fmla="*/ 2 w 7"/>
                  <a:gd name="T5" fmla="*/ 5 h 6"/>
                  <a:gd name="T6" fmla="*/ 5 w 7"/>
                  <a:gd name="T7" fmla="*/ 5 h 6"/>
                  <a:gd name="T8" fmla="*/ 6 w 7"/>
                  <a:gd name="T9" fmla="*/ 6 h 6"/>
                  <a:gd name="T10" fmla="*/ 7 w 7"/>
                  <a:gd name="T11" fmla="*/ 5 h 6"/>
                  <a:gd name="T12" fmla="*/ 6 w 7"/>
                  <a:gd name="T13" fmla="*/ 3 h 6"/>
                  <a:gd name="T14" fmla="*/ 4 w 7"/>
                  <a:gd name="T15" fmla="*/ 3 h 6"/>
                  <a:gd name="T16" fmla="*/ 5 w 7"/>
                  <a:gd name="T17" fmla="*/ 2 h 6"/>
                  <a:gd name="T18" fmla="*/ 4 w 7"/>
                  <a:gd name="T19" fmla="*/ 1 h 6"/>
                  <a:gd name="T20" fmla="*/ 3 w 7"/>
                  <a:gd name="T21" fmla="*/ 1 h 6"/>
                  <a:gd name="T22" fmla="*/ 1 w 7"/>
                  <a:gd name="T23" fmla="*/ 0 h 6"/>
                  <a:gd name="T24" fmla="*/ 0 w 7"/>
                  <a:gd name="T25" fmla="*/ 1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7" h="6">
                    <a:moveTo>
                      <a:pt x="0" y="1"/>
                    </a:moveTo>
                    <a:cubicBezTo>
                      <a:pt x="0" y="4"/>
                      <a:pt x="0" y="4"/>
                      <a:pt x="0" y="4"/>
                    </a:cubicBezTo>
                    <a:cubicBezTo>
                      <a:pt x="2" y="5"/>
                      <a:pt x="2" y="5"/>
                      <a:pt x="2" y="5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6" y="6"/>
                      <a:pt x="6" y="6"/>
                      <a:pt x="6" y="6"/>
                    </a:cubicBezTo>
                    <a:cubicBezTo>
                      <a:pt x="7" y="5"/>
                      <a:pt x="7" y="5"/>
                      <a:pt x="7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1"/>
                      <a:pt x="0" y="1"/>
                      <a:pt x="0" y="1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147" name="Freeform 149"/>
              <p:cNvSpPr>
                <a:spLocks/>
              </p:cNvSpPr>
              <p:nvPr userDrawn="1"/>
            </p:nvSpPr>
            <p:spPr bwMode="auto">
              <a:xfrm>
                <a:off x="6236" y="3102"/>
                <a:ext cx="7" cy="6"/>
              </a:xfrm>
              <a:custGeom>
                <a:avLst/>
                <a:gdLst>
                  <a:gd name="T0" fmla="*/ 0 w 7"/>
                  <a:gd name="T1" fmla="*/ 2 h 7"/>
                  <a:gd name="T2" fmla="*/ 2 w 7"/>
                  <a:gd name="T3" fmla="*/ 5 h 7"/>
                  <a:gd name="T4" fmla="*/ 3 w 7"/>
                  <a:gd name="T5" fmla="*/ 5 h 7"/>
                  <a:gd name="T6" fmla="*/ 5 w 7"/>
                  <a:gd name="T7" fmla="*/ 7 h 7"/>
                  <a:gd name="T8" fmla="*/ 7 w 7"/>
                  <a:gd name="T9" fmla="*/ 7 h 7"/>
                  <a:gd name="T10" fmla="*/ 7 w 7"/>
                  <a:gd name="T11" fmla="*/ 5 h 7"/>
                  <a:gd name="T12" fmla="*/ 5 w 7"/>
                  <a:gd name="T13" fmla="*/ 2 h 7"/>
                  <a:gd name="T14" fmla="*/ 2 w 7"/>
                  <a:gd name="T15" fmla="*/ 0 h 7"/>
                  <a:gd name="T16" fmla="*/ 0 w 7"/>
                  <a:gd name="T17" fmla="*/ 2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" h="7">
                    <a:moveTo>
                      <a:pt x="0" y="2"/>
                    </a:moveTo>
                    <a:cubicBezTo>
                      <a:pt x="2" y="5"/>
                      <a:pt x="2" y="5"/>
                      <a:pt x="2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5" y="7"/>
                      <a:pt x="5" y="7"/>
                      <a:pt x="5" y="7"/>
                    </a:cubicBezTo>
                    <a:cubicBezTo>
                      <a:pt x="7" y="7"/>
                      <a:pt x="7" y="7"/>
                      <a:pt x="7" y="7"/>
                    </a:cubicBezTo>
                    <a:cubicBezTo>
                      <a:pt x="7" y="5"/>
                      <a:pt x="7" y="5"/>
                      <a:pt x="7" y="5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2"/>
                      <a:pt x="0" y="2"/>
                      <a:pt x="0" y="2"/>
                    </a:cubicBez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148" name="Freeform 150"/>
              <p:cNvSpPr>
                <a:spLocks/>
              </p:cNvSpPr>
              <p:nvPr userDrawn="1"/>
            </p:nvSpPr>
            <p:spPr bwMode="auto">
              <a:xfrm>
                <a:off x="6143" y="3074"/>
                <a:ext cx="1" cy="3"/>
              </a:xfrm>
              <a:custGeom>
                <a:avLst/>
                <a:gdLst>
                  <a:gd name="T0" fmla="*/ 1 w 1"/>
                  <a:gd name="T1" fmla="*/ 0 h 3"/>
                  <a:gd name="T2" fmla="*/ 0 w 1"/>
                  <a:gd name="T3" fmla="*/ 1 h 3"/>
                  <a:gd name="T4" fmla="*/ 1 w 1"/>
                  <a:gd name="T5" fmla="*/ 3 h 3"/>
                  <a:gd name="T6" fmla="*/ 1 w 1"/>
                  <a:gd name="T7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3"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1" y="0"/>
                      <a:pt x="1" y="0"/>
                      <a:pt x="1" y="0"/>
                    </a:cubicBez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149" name="Freeform 151"/>
              <p:cNvSpPr>
                <a:spLocks/>
              </p:cNvSpPr>
              <p:nvPr userDrawn="1"/>
            </p:nvSpPr>
            <p:spPr bwMode="auto">
              <a:xfrm>
                <a:off x="6137" y="3073"/>
                <a:ext cx="1" cy="2"/>
              </a:xfrm>
              <a:custGeom>
                <a:avLst/>
                <a:gdLst>
                  <a:gd name="T0" fmla="*/ 0 w 1"/>
                  <a:gd name="T1" fmla="*/ 2 h 2"/>
                  <a:gd name="T2" fmla="*/ 0 w 1"/>
                  <a:gd name="T3" fmla="*/ 0 h 2"/>
                  <a:gd name="T4" fmla="*/ 1 w 1"/>
                  <a:gd name="T5" fmla="*/ 0 h 2"/>
                  <a:gd name="T6" fmla="*/ 0 w 1"/>
                  <a:gd name="T7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2">
                    <a:moveTo>
                      <a:pt x="0" y="2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2"/>
                      <a:pt x="0" y="2"/>
                      <a:pt x="0" y="2"/>
                    </a:cubicBez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150" name="Freeform 152"/>
              <p:cNvSpPr>
                <a:spLocks/>
              </p:cNvSpPr>
              <p:nvPr userDrawn="1"/>
            </p:nvSpPr>
            <p:spPr bwMode="auto">
              <a:xfrm>
                <a:off x="6131" y="3073"/>
                <a:ext cx="3" cy="3"/>
              </a:xfrm>
              <a:custGeom>
                <a:avLst/>
                <a:gdLst>
                  <a:gd name="T0" fmla="*/ 1 w 3"/>
                  <a:gd name="T1" fmla="*/ 0 h 3"/>
                  <a:gd name="T2" fmla="*/ 0 w 3"/>
                  <a:gd name="T3" fmla="*/ 2 h 3"/>
                  <a:gd name="T4" fmla="*/ 3 w 3"/>
                  <a:gd name="T5" fmla="*/ 3 h 3"/>
                  <a:gd name="T6" fmla="*/ 2 w 3"/>
                  <a:gd name="T7" fmla="*/ 1 h 3"/>
                  <a:gd name="T8" fmla="*/ 1 w 3"/>
                  <a:gd name="T9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3">
                    <a:moveTo>
                      <a:pt x="1" y="0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0"/>
                      <a:pt x="1" y="0"/>
                      <a:pt x="1" y="0"/>
                    </a:cubicBez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151" name="Freeform 153"/>
              <p:cNvSpPr>
                <a:spLocks/>
              </p:cNvSpPr>
              <p:nvPr userDrawn="1"/>
            </p:nvSpPr>
            <p:spPr bwMode="auto">
              <a:xfrm>
                <a:off x="6134" y="3070"/>
                <a:ext cx="3" cy="5"/>
              </a:xfrm>
              <a:custGeom>
                <a:avLst/>
                <a:gdLst>
                  <a:gd name="T0" fmla="*/ 2 w 3"/>
                  <a:gd name="T1" fmla="*/ 5 h 5"/>
                  <a:gd name="T2" fmla="*/ 0 w 3"/>
                  <a:gd name="T3" fmla="*/ 2 h 5"/>
                  <a:gd name="T4" fmla="*/ 1 w 3"/>
                  <a:gd name="T5" fmla="*/ 0 h 5"/>
                  <a:gd name="T6" fmla="*/ 3 w 3"/>
                  <a:gd name="T7" fmla="*/ 1 h 5"/>
                  <a:gd name="T8" fmla="*/ 2 w 3"/>
                  <a:gd name="T9" fmla="*/ 3 h 5"/>
                  <a:gd name="T10" fmla="*/ 2 w 3"/>
                  <a:gd name="T11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" h="5">
                    <a:moveTo>
                      <a:pt x="2" y="5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2" y="5"/>
                      <a:pt x="2" y="5"/>
                      <a:pt x="2" y="5"/>
                    </a:cubicBez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152" name="Freeform 154"/>
              <p:cNvSpPr>
                <a:spLocks/>
              </p:cNvSpPr>
              <p:nvPr userDrawn="1"/>
            </p:nvSpPr>
            <p:spPr bwMode="auto">
              <a:xfrm>
                <a:off x="6122" y="3074"/>
                <a:ext cx="3" cy="4"/>
              </a:xfrm>
              <a:custGeom>
                <a:avLst/>
                <a:gdLst>
                  <a:gd name="T0" fmla="*/ 0 w 3"/>
                  <a:gd name="T1" fmla="*/ 0 h 4"/>
                  <a:gd name="T2" fmla="*/ 2 w 3"/>
                  <a:gd name="T3" fmla="*/ 3 h 4"/>
                  <a:gd name="T4" fmla="*/ 3 w 3"/>
                  <a:gd name="T5" fmla="*/ 4 h 4"/>
                  <a:gd name="T6" fmla="*/ 2 w 3"/>
                  <a:gd name="T7" fmla="*/ 2 h 4"/>
                  <a:gd name="T8" fmla="*/ 0 w 3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4">
                    <a:moveTo>
                      <a:pt x="0" y="0"/>
                    </a:moveTo>
                    <a:cubicBezTo>
                      <a:pt x="2" y="3"/>
                      <a:pt x="2" y="3"/>
                      <a:pt x="2" y="3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153" name="Freeform 155"/>
              <p:cNvSpPr>
                <a:spLocks/>
              </p:cNvSpPr>
              <p:nvPr userDrawn="1"/>
            </p:nvSpPr>
            <p:spPr bwMode="auto">
              <a:xfrm>
                <a:off x="6117" y="3086"/>
                <a:ext cx="4" cy="2"/>
              </a:xfrm>
              <a:custGeom>
                <a:avLst/>
                <a:gdLst>
                  <a:gd name="T0" fmla="*/ 0 w 5"/>
                  <a:gd name="T1" fmla="*/ 2 h 2"/>
                  <a:gd name="T2" fmla="*/ 2 w 5"/>
                  <a:gd name="T3" fmla="*/ 0 h 2"/>
                  <a:gd name="T4" fmla="*/ 5 w 5"/>
                  <a:gd name="T5" fmla="*/ 0 h 2"/>
                  <a:gd name="T6" fmla="*/ 4 w 5"/>
                  <a:gd name="T7" fmla="*/ 2 h 2"/>
                  <a:gd name="T8" fmla="*/ 0 w 5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2">
                    <a:moveTo>
                      <a:pt x="0" y="2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4" y="2"/>
                      <a:pt x="4" y="2"/>
                      <a:pt x="4" y="2"/>
                    </a:cubicBezTo>
                    <a:cubicBezTo>
                      <a:pt x="0" y="2"/>
                      <a:pt x="0" y="2"/>
                      <a:pt x="0" y="2"/>
                    </a:cubicBez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154" name="Freeform 156"/>
              <p:cNvSpPr>
                <a:spLocks/>
              </p:cNvSpPr>
              <p:nvPr userDrawn="1"/>
            </p:nvSpPr>
            <p:spPr bwMode="auto">
              <a:xfrm>
                <a:off x="6117" y="3090"/>
                <a:ext cx="1" cy="2"/>
              </a:xfrm>
              <a:custGeom>
                <a:avLst/>
                <a:gdLst>
                  <a:gd name="T0" fmla="*/ 0 w 1"/>
                  <a:gd name="T1" fmla="*/ 0 h 2"/>
                  <a:gd name="T2" fmla="*/ 1 w 1"/>
                  <a:gd name="T3" fmla="*/ 2 h 2"/>
                  <a:gd name="T4" fmla="*/ 1 w 1"/>
                  <a:gd name="T5" fmla="*/ 0 h 2"/>
                  <a:gd name="T6" fmla="*/ 0 w 1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2">
                    <a:moveTo>
                      <a:pt x="0" y="0"/>
                    </a:moveTo>
                    <a:cubicBezTo>
                      <a:pt x="1" y="2"/>
                      <a:pt x="1" y="2"/>
                      <a:pt x="1" y="2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155" name="Freeform 157"/>
              <p:cNvSpPr>
                <a:spLocks/>
              </p:cNvSpPr>
              <p:nvPr userDrawn="1"/>
            </p:nvSpPr>
            <p:spPr bwMode="auto">
              <a:xfrm>
                <a:off x="6112" y="3088"/>
                <a:ext cx="3" cy="1"/>
              </a:xfrm>
              <a:custGeom>
                <a:avLst/>
                <a:gdLst>
                  <a:gd name="T0" fmla="*/ 0 w 3"/>
                  <a:gd name="T1" fmla="*/ 0 h 1"/>
                  <a:gd name="T2" fmla="*/ 2 w 3"/>
                  <a:gd name="T3" fmla="*/ 1 h 1"/>
                  <a:gd name="T4" fmla="*/ 3 w 3"/>
                  <a:gd name="T5" fmla="*/ 0 h 1"/>
                  <a:gd name="T6" fmla="*/ 0 w 3"/>
                  <a:gd name="T7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1">
                    <a:moveTo>
                      <a:pt x="0" y="0"/>
                    </a:moveTo>
                    <a:cubicBezTo>
                      <a:pt x="2" y="1"/>
                      <a:pt x="2" y="1"/>
                      <a:pt x="2" y="1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156" name="Freeform 158"/>
              <p:cNvSpPr>
                <a:spLocks/>
              </p:cNvSpPr>
              <p:nvPr userDrawn="1"/>
            </p:nvSpPr>
            <p:spPr bwMode="auto">
              <a:xfrm>
                <a:off x="6111" y="3090"/>
                <a:ext cx="7" cy="5"/>
              </a:xfrm>
              <a:custGeom>
                <a:avLst/>
                <a:gdLst>
                  <a:gd name="T0" fmla="*/ 0 w 8"/>
                  <a:gd name="T1" fmla="*/ 0 h 5"/>
                  <a:gd name="T2" fmla="*/ 5 w 8"/>
                  <a:gd name="T3" fmla="*/ 2 h 5"/>
                  <a:gd name="T4" fmla="*/ 8 w 8"/>
                  <a:gd name="T5" fmla="*/ 5 h 5"/>
                  <a:gd name="T6" fmla="*/ 0 w 8"/>
                  <a:gd name="T7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" h="5">
                    <a:moveTo>
                      <a:pt x="0" y="0"/>
                    </a:moveTo>
                    <a:cubicBezTo>
                      <a:pt x="5" y="2"/>
                      <a:pt x="5" y="2"/>
                      <a:pt x="5" y="2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157" name="Freeform 159"/>
              <p:cNvSpPr>
                <a:spLocks/>
              </p:cNvSpPr>
              <p:nvPr userDrawn="1"/>
            </p:nvSpPr>
            <p:spPr bwMode="auto">
              <a:xfrm>
                <a:off x="6116" y="3082"/>
                <a:ext cx="3" cy="1"/>
              </a:xfrm>
              <a:custGeom>
                <a:avLst/>
                <a:gdLst>
                  <a:gd name="T0" fmla="*/ 0 w 4"/>
                  <a:gd name="T1" fmla="*/ 0 h 1"/>
                  <a:gd name="T2" fmla="*/ 4 w 4"/>
                  <a:gd name="T3" fmla="*/ 0 h 1"/>
                  <a:gd name="T4" fmla="*/ 3 w 4"/>
                  <a:gd name="T5" fmla="*/ 1 h 1"/>
                  <a:gd name="T6" fmla="*/ 1 w 4"/>
                  <a:gd name="T7" fmla="*/ 1 h 1"/>
                  <a:gd name="T8" fmla="*/ 0 w 4"/>
                  <a:gd name="T9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1">
                    <a:moveTo>
                      <a:pt x="0" y="0"/>
                    </a:moveTo>
                    <a:cubicBezTo>
                      <a:pt x="4" y="0"/>
                      <a:pt x="4" y="0"/>
                      <a:pt x="4" y="0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158" name="Freeform 160"/>
              <p:cNvSpPr>
                <a:spLocks/>
              </p:cNvSpPr>
              <p:nvPr userDrawn="1"/>
            </p:nvSpPr>
            <p:spPr bwMode="auto">
              <a:xfrm>
                <a:off x="6118" y="3076"/>
                <a:ext cx="4" cy="5"/>
              </a:xfrm>
              <a:custGeom>
                <a:avLst/>
                <a:gdLst>
                  <a:gd name="T0" fmla="*/ 2 w 4"/>
                  <a:gd name="T1" fmla="*/ 5 h 5"/>
                  <a:gd name="T2" fmla="*/ 0 w 4"/>
                  <a:gd name="T3" fmla="*/ 3 h 5"/>
                  <a:gd name="T4" fmla="*/ 1 w 4"/>
                  <a:gd name="T5" fmla="*/ 2 h 5"/>
                  <a:gd name="T6" fmla="*/ 3 w 4"/>
                  <a:gd name="T7" fmla="*/ 0 h 5"/>
                  <a:gd name="T8" fmla="*/ 4 w 4"/>
                  <a:gd name="T9" fmla="*/ 4 h 5"/>
                  <a:gd name="T10" fmla="*/ 3 w 4"/>
                  <a:gd name="T11" fmla="*/ 5 h 5"/>
                  <a:gd name="T12" fmla="*/ 2 w 4"/>
                  <a:gd name="T13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5">
                    <a:moveTo>
                      <a:pt x="2" y="5"/>
                    </a:moveTo>
                    <a:cubicBezTo>
                      <a:pt x="0" y="3"/>
                      <a:pt x="0" y="3"/>
                      <a:pt x="0" y="3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2" y="5"/>
                      <a:pt x="2" y="5"/>
                      <a:pt x="2" y="5"/>
                    </a:cubicBez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159" name="Freeform 161"/>
              <p:cNvSpPr>
                <a:spLocks/>
              </p:cNvSpPr>
              <p:nvPr userDrawn="1"/>
            </p:nvSpPr>
            <p:spPr bwMode="auto">
              <a:xfrm>
                <a:off x="6068" y="2981"/>
                <a:ext cx="180" cy="149"/>
              </a:xfrm>
              <a:custGeom>
                <a:avLst/>
                <a:gdLst>
                  <a:gd name="T0" fmla="*/ 8 w 189"/>
                  <a:gd name="T1" fmla="*/ 0 h 156"/>
                  <a:gd name="T2" fmla="*/ 1 w 189"/>
                  <a:gd name="T3" fmla="*/ 78 h 156"/>
                  <a:gd name="T4" fmla="*/ 9 w 189"/>
                  <a:gd name="T5" fmla="*/ 126 h 156"/>
                  <a:gd name="T6" fmla="*/ 26 w 189"/>
                  <a:gd name="T7" fmla="*/ 127 h 156"/>
                  <a:gd name="T8" fmla="*/ 42 w 189"/>
                  <a:gd name="T9" fmla="*/ 126 h 156"/>
                  <a:gd name="T10" fmla="*/ 46 w 189"/>
                  <a:gd name="T11" fmla="*/ 118 h 156"/>
                  <a:gd name="T12" fmla="*/ 29 w 189"/>
                  <a:gd name="T13" fmla="*/ 109 h 156"/>
                  <a:gd name="T14" fmla="*/ 22 w 189"/>
                  <a:gd name="T15" fmla="*/ 103 h 156"/>
                  <a:gd name="T16" fmla="*/ 12 w 189"/>
                  <a:gd name="T17" fmla="*/ 92 h 156"/>
                  <a:gd name="T18" fmla="*/ 22 w 189"/>
                  <a:gd name="T19" fmla="*/ 100 h 156"/>
                  <a:gd name="T20" fmla="*/ 30 w 189"/>
                  <a:gd name="T21" fmla="*/ 108 h 156"/>
                  <a:gd name="T22" fmla="*/ 44 w 189"/>
                  <a:gd name="T23" fmla="*/ 109 h 156"/>
                  <a:gd name="T24" fmla="*/ 47 w 189"/>
                  <a:gd name="T25" fmla="*/ 105 h 156"/>
                  <a:gd name="T26" fmla="*/ 44 w 189"/>
                  <a:gd name="T27" fmla="*/ 102 h 156"/>
                  <a:gd name="T28" fmla="*/ 53 w 189"/>
                  <a:gd name="T29" fmla="*/ 103 h 156"/>
                  <a:gd name="T30" fmla="*/ 54 w 189"/>
                  <a:gd name="T31" fmla="*/ 94 h 156"/>
                  <a:gd name="T32" fmla="*/ 56 w 189"/>
                  <a:gd name="T33" fmla="*/ 94 h 156"/>
                  <a:gd name="T34" fmla="*/ 62 w 189"/>
                  <a:gd name="T35" fmla="*/ 94 h 156"/>
                  <a:gd name="T36" fmla="*/ 66 w 189"/>
                  <a:gd name="T37" fmla="*/ 95 h 156"/>
                  <a:gd name="T38" fmla="*/ 72 w 189"/>
                  <a:gd name="T39" fmla="*/ 92 h 156"/>
                  <a:gd name="T40" fmla="*/ 80 w 189"/>
                  <a:gd name="T41" fmla="*/ 96 h 156"/>
                  <a:gd name="T42" fmla="*/ 83 w 189"/>
                  <a:gd name="T43" fmla="*/ 100 h 156"/>
                  <a:gd name="T44" fmla="*/ 102 w 189"/>
                  <a:gd name="T45" fmla="*/ 109 h 156"/>
                  <a:gd name="T46" fmla="*/ 113 w 189"/>
                  <a:gd name="T47" fmla="*/ 124 h 156"/>
                  <a:gd name="T48" fmla="*/ 125 w 189"/>
                  <a:gd name="T49" fmla="*/ 141 h 156"/>
                  <a:gd name="T50" fmla="*/ 138 w 189"/>
                  <a:gd name="T51" fmla="*/ 144 h 156"/>
                  <a:gd name="T52" fmla="*/ 154 w 189"/>
                  <a:gd name="T53" fmla="*/ 146 h 156"/>
                  <a:gd name="T54" fmla="*/ 169 w 189"/>
                  <a:gd name="T55" fmla="*/ 150 h 156"/>
                  <a:gd name="T56" fmla="*/ 175 w 189"/>
                  <a:gd name="T57" fmla="*/ 154 h 156"/>
                  <a:gd name="T58" fmla="*/ 181 w 189"/>
                  <a:gd name="T59" fmla="*/ 150 h 156"/>
                  <a:gd name="T60" fmla="*/ 186 w 189"/>
                  <a:gd name="T61" fmla="*/ 148 h 156"/>
                  <a:gd name="T62" fmla="*/ 168 w 189"/>
                  <a:gd name="T63" fmla="*/ 141 h 156"/>
                  <a:gd name="T64" fmla="*/ 176 w 189"/>
                  <a:gd name="T65" fmla="*/ 136 h 156"/>
                  <a:gd name="T66" fmla="*/ 158 w 189"/>
                  <a:gd name="T67" fmla="*/ 132 h 156"/>
                  <a:gd name="T68" fmla="*/ 159 w 189"/>
                  <a:gd name="T69" fmla="*/ 122 h 156"/>
                  <a:gd name="T70" fmla="*/ 150 w 189"/>
                  <a:gd name="T71" fmla="*/ 123 h 156"/>
                  <a:gd name="T72" fmla="*/ 139 w 189"/>
                  <a:gd name="T73" fmla="*/ 104 h 156"/>
                  <a:gd name="T74" fmla="*/ 130 w 189"/>
                  <a:gd name="T75" fmla="*/ 99 h 156"/>
                  <a:gd name="T76" fmla="*/ 119 w 189"/>
                  <a:gd name="T77" fmla="*/ 85 h 156"/>
                  <a:gd name="T78" fmla="*/ 132 w 189"/>
                  <a:gd name="T79" fmla="*/ 76 h 156"/>
                  <a:gd name="T80" fmla="*/ 125 w 189"/>
                  <a:gd name="T81" fmla="*/ 63 h 156"/>
                  <a:gd name="T82" fmla="*/ 108 w 189"/>
                  <a:gd name="T83" fmla="*/ 56 h 156"/>
                  <a:gd name="T84" fmla="*/ 97 w 189"/>
                  <a:gd name="T85" fmla="*/ 46 h 156"/>
                  <a:gd name="T86" fmla="*/ 86 w 189"/>
                  <a:gd name="T87" fmla="*/ 33 h 156"/>
                  <a:gd name="T88" fmla="*/ 78 w 189"/>
                  <a:gd name="T89" fmla="*/ 26 h 156"/>
                  <a:gd name="T90" fmla="*/ 66 w 189"/>
                  <a:gd name="T91" fmla="*/ 21 h 156"/>
                  <a:gd name="T92" fmla="*/ 47 w 189"/>
                  <a:gd name="T93" fmla="*/ 13 h 156"/>
                  <a:gd name="T94" fmla="*/ 28 w 189"/>
                  <a:gd name="T95" fmla="*/ 8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89" h="156">
                    <a:moveTo>
                      <a:pt x="20" y="6"/>
                    </a:moveTo>
                    <a:cubicBezTo>
                      <a:pt x="18" y="4"/>
                      <a:pt x="18" y="4"/>
                      <a:pt x="18" y="4"/>
                    </a:cubicBezTo>
                    <a:cubicBezTo>
                      <a:pt x="14" y="3"/>
                      <a:pt x="14" y="3"/>
                      <a:pt x="14" y="3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2" y="69"/>
                      <a:pt x="2" y="69"/>
                      <a:pt x="2" y="69"/>
                    </a:cubicBezTo>
                    <a:cubicBezTo>
                      <a:pt x="1" y="75"/>
                      <a:pt x="1" y="75"/>
                      <a:pt x="1" y="75"/>
                    </a:cubicBezTo>
                    <a:cubicBezTo>
                      <a:pt x="1" y="78"/>
                      <a:pt x="1" y="78"/>
                      <a:pt x="1" y="78"/>
                    </a:cubicBezTo>
                    <a:cubicBezTo>
                      <a:pt x="2" y="79"/>
                      <a:pt x="2" y="79"/>
                      <a:pt x="2" y="79"/>
                    </a:cubicBezTo>
                    <a:cubicBezTo>
                      <a:pt x="0" y="124"/>
                      <a:pt x="0" y="124"/>
                      <a:pt x="0" y="124"/>
                    </a:cubicBezTo>
                    <a:cubicBezTo>
                      <a:pt x="7" y="124"/>
                      <a:pt x="7" y="124"/>
                      <a:pt x="7" y="124"/>
                    </a:cubicBezTo>
                    <a:cubicBezTo>
                      <a:pt x="9" y="126"/>
                      <a:pt x="9" y="126"/>
                      <a:pt x="9" y="126"/>
                    </a:cubicBezTo>
                    <a:cubicBezTo>
                      <a:pt x="12" y="125"/>
                      <a:pt x="12" y="125"/>
                      <a:pt x="12" y="125"/>
                    </a:cubicBezTo>
                    <a:cubicBezTo>
                      <a:pt x="22" y="125"/>
                      <a:pt x="22" y="125"/>
                      <a:pt x="22" y="125"/>
                    </a:cubicBezTo>
                    <a:cubicBezTo>
                      <a:pt x="25" y="124"/>
                      <a:pt x="25" y="124"/>
                      <a:pt x="25" y="124"/>
                    </a:cubicBezTo>
                    <a:cubicBezTo>
                      <a:pt x="26" y="127"/>
                      <a:pt x="26" y="127"/>
                      <a:pt x="26" y="127"/>
                    </a:cubicBezTo>
                    <a:cubicBezTo>
                      <a:pt x="28" y="129"/>
                      <a:pt x="28" y="129"/>
                      <a:pt x="28" y="129"/>
                    </a:cubicBezTo>
                    <a:cubicBezTo>
                      <a:pt x="31" y="130"/>
                      <a:pt x="31" y="130"/>
                      <a:pt x="31" y="130"/>
                    </a:cubicBezTo>
                    <a:cubicBezTo>
                      <a:pt x="35" y="127"/>
                      <a:pt x="35" y="127"/>
                      <a:pt x="35" y="127"/>
                    </a:cubicBezTo>
                    <a:cubicBezTo>
                      <a:pt x="42" y="126"/>
                      <a:pt x="42" y="126"/>
                      <a:pt x="42" y="126"/>
                    </a:cubicBezTo>
                    <a:cubicBezTo>
                      <a:pt x="43" y="124"/>
                      <a:pt x="43" y="124"/>
                      <a:pt x="43" y="124"/>
                    </a:cubicBezTo>
                    <a:cubicBezTo>
                      <a:pt x="44" y="125"/>
                      <a:pt x="44" y="125"/>
                      <a:pt x="44" y="125"/>
                    </a:cubicBezTo>
                    <a:cubicBezTo>
                      <a:pt x="46" y="123"/>
                      <a:pt x="46" y="123"/>
                      <a:pt x="46" y="123"/>
                    </a:cubicBezTo>
                    <a:cubicBezTo>
                      <a:pt x="46" y="118"/>
                      <a:pt x="46" y="118"/>
                      <a:pt x="46" y="118"/>
                    </a:cubicBezTo>
                    <a:cubicBezTo>
                      <a:pt x="41" y="114"/>
                      <a:pt x="41" y="114"/>
                      <a:pt x="41" y="114"/>
                    </a:cubicBezTo>
                    <a:cubicBezTo>
                      <a:pt x="35" y="112"/>
                      <a:pt x="35" y="112"/>
                      <a:pt x="35" y="112"/>
                    </a:cubicBezTo>
                    <a:cubicBezTo>
                      <a:pt x="31" y="111"/>
                      <a:pt x="31" y="111"/>
                      <a:pt x="31" y="111"/>
                    </a:cubicBezTo>
                    <a:cubicBezTo>
                      <a:pt x="29" y="109"/>
                      <a:pt x="29" y="109"/>
                      <a:pt x="29" y="109"/>
                    </a:cubicBezTo>
                    <a:cubicBezTo>
                      <a:pt x="26" y="108"/>
                      <a:pt x="26" y="108"/>
                      <a:pt x="26" y="108"/>
                    </a:cubicBezTo>
                    <a:cubicBezTo>
                      <a:pt x="25" y="109"/>
                      <a:pt x="25" y="109"/>
                      <a:pt x="25" y="109"/>
                    </a:cubicBezTo>
                    <a:cubicBezTo>
                      <a:pt x="23" y="107"/>
                      <a:pt x="23" y="107"/>
                      <a:pt x="23" y="107"/>
                    </a:cubicBezTo>
                    <a:cubicBezTo>
                      <a:pt x="22" y="103"/>
                      <a:pt x="22" y="103"/>
                      <a:pt x="22" y="103"/>
                    </a:cubicBezTo>
                    <a:cubicBezTo>
                      <a:pt x="18" y="98"/>
                      <a:pt x="18" y="98"/>
                      <a:pt x="18" y="98"/>
                    </a:cubicBezTo>
                    <a:cubicBezTo>
                      <a:pt x="15" y="97"/>
                      <a:pt x="15" y="97"/>
                      <a:pt x="15" y="97"/>
                    </a:cubicBezTo>
                    <a:cubicBezTo>
                      <a:pt x="14" y="94"/>
                      <a:pt x="14" y="94"/>
                      <a:pt x="14" y="94"/>
                    </a:cubicBezTo>
                    <a:cubicBezTo>
                      <a:pt x="12" y="92"/>
                      <a:pt x="12" y="92"/>
                      <a:pt x="12" y="92"/>
                    </a:cubicBezTo>
                    <a:cubicBezTo>
                      <a:pt x="15" y="94"/>
                      <a:pt x="15" y="94"/>
                      <a:pt x="15" y="94"/>
                    </a:cubicBezTo>
                    <a:cubicBezTo>
                      <a:pt x="16" y="96"/>
                      <a:pt x="16" y="96"/>
                      <a:pt x="16" y="96"/>
                    </a:cubicBezTo>
                    <a:cubicBezTo>
                      <a:pt x="18" y="97"/>
                      <a:pt x="18" y="97"/>
                      <a:pt x="18" y="97"/>
                    </a:cubicBezTo>
                    <a:cubicBezTo>
                      <a:pt x="22" y="100"/>
                      <a:pt x="22" y="100"/>
                      <a:pt x="22" y="100"/>
                    </a:cubicBezTo>
                    <a:cubicBezTo>
                      <a:pt x="23" y="103"/>
                      <a:pt x="23" y="103"/>
                      <a:pt x="23" y="103"/>
                    </a:cubicBezTo>
                    <a:cubicBezTo>
                      <a:pt x="23" y="107"/>
                      <a:pt x="23" y="107"/>
                      <a:pt x="23" y="107"/>
                    </a:cubicBezTo>
                    <a:cubicBezTo>
                      <a:pt x="25" y="107"/>
                      <a:pt x="25" y="107"/>
                      <a:pt x="25" y="107"/>
                    </a:cubicBezTo>
                    <a:cubicBezTo>
                      <a:pt x="30" y="108"/>
                      <a:pt x="30" y="108"/>
                      <a:pt x="30" y="108"/>
                    </a:cubicBezTo>
                    <a:cubicBezTo>
                      <a:pt x="32" y="110"/>
                      <a:pt x="32" y="110"/>
                      <a:pt x="32" y="110"/>
                    </a:cubicBezTo>
                    <a:cubicBezTo>
                      <a:pt x="34" y="110"/>
                      <a:pt x="34" y="110"/>
                      <a:pt x="34" y="110"/>
                    </a:cubicBezTo>
                    <a:cubicBezTo>
                      <a:pt x="39" y="110"/>
                      <a:pt x="39" y="110"/>
                      <a:pt x="39" y="110"/>
                    </a:cubicBezTo>
                    <a:cubicBezTo>
                      <a:pt x="44" y="109"/>
                      <a:pt x="44" y="109"/>
                      <a:pt x="44" y="109"/>
                    </a:cubicBezTo>
                    <a:cubicBezTo>
                      <a:pt x="48" y="109"/>
                      <a:pt x="48" y="109"/>
                      <a:pt x="48" y="109"/>
                    </a:cubicBezTo>
                    <a:cubicBezTo>
                      <a:pt x="51" y="108"/>
                      <a:pt x="51" y="108"/>
                      <a:pt x="51" y="108"/>
                    </a:cubicBezTo>
                    <a:cubicBezTo>
                      <a:pt x="50" y="107"/>
                      <a:pt x="50" y="107"/>
                      <a:pt x="50" y="107"/>
                    </a:cubicBezTo>
                    <a:cubicBezTo>
                      <a:pt x="47" y="105"/>
                      <a:pt x="47" y="105"/>
                      <a:pt x="47" y="105"/>
                    </a:cubicBezTo>
                    <a:cubicBezTo>
                      <a:pt x="46" y="102"/>
                      <a:pt x="46" y="102"/>
                      <a:pt x="46" y="102"/>
                    </a:cubicBezTo>
                    <a:cubicBezTo>
                      <a:pt x="43" y="103"/>
                      <a:pt x="43" y="103"/>
                      <a:pt x="43" y="103"/>
                    </a:cubicBezTo>
                    <a:cubicBezTo>
                      <a:pt x="42" y="100"/>
                      <a:pt x="42" y="100"/>
                      <a:pt x="42" y="100"/>
                    </a:cubicBezTo>
                    <a:cubicBezTo>
                      <a:pt x="44" y="102"/>
                      <a:pt x="44" y="102"/>
                      <a:pt x="44" y="102"/>
                    </a:cubicBezTo>
                    <a:cubicBezTo>
                      <a:pt x="48" y="101"/>
                      <a:pt x="48" y="101"/>
                      <a:pt x="48" y="101"/>
                    </a:cubicBezTo>
                    <a:cubicBezTo>
                      <a:pt x="51" y="104"/>
                      <a:pt x="51" y="104"/>
                      <a:pt x="51" y="104"/>
                    </a:cubicBezTo>
                    <a:cubicBezTo>
                      <a:pt x="54" y="105"/>
                      <a:pt x="54" y="105"/>
                      <a:pt x="54" y="105"/>
                    </a:cubicBezTo>
                    <a:cubicBezTo>
                      <a:pt x="53" y="103"/>
                      <a:pt x="53" y="103"/>
                      <a:pt x="53" y="103"/>
                    </a:cubicBezTo>
                    <a:cubicBezTo>
                      <a:pt x="53" y="100"/>
                      <a:pt x="53" y="100"/>
                      <a:pt x="53" y="100"/>
                    </a:cubicBezTo>
                    <a:cubicBezTo>
                      <a:pt x="55" y="99"/>
                      <a:pt x="55" y="99"/>
                      <a:pt x="55" y="99"/>
                    </a:cubicBezTo>
                    <a:cubicBezTo>
                      <a:pt x="55" y="97"/>
                      <a:pt x="55" y="97"/>
                      <a:pt x="55" y="97"/>
                    </a:cubicBezTo>
                    <a:cubicBezTo>
                      <a:pt x="54" y="94"/>
                      <a:pt x="54" y="94"/>
                      <a:pt x="54" y="94"/>
                    </a:cubicBezTo>
                    <a:cubicBezTo>
                      <a:pt x="52" y="91"/>
                      <a:pt x="52" y="91"/>
                      <a:pt x="52" y="91"/>
                    </a:cubicBezTo>
                    <a:cubicBezTo>
                      <a:pt x="52" y="90"/>
                      <a:pt x="52" y="90"/>
                      <a:pt x="52" y="90"/>
                    </a:cubicBezTo>
                    <a:cubicBezTo>
                      <a:pt x="55" y="92"/>
                      <a:pt x="55" y="92"/>
                      <a:pt x="55" y="92"/>
                    </a:cubicBezTo>
                    <a:cubicBezTo>
                      <a:pt x="56" y="94"/>
                      <a:pt x="56" y="94"/>
                      <a:pt x="56" y="94"/>
                    </a:cubicBezTo>
                    <a:cubicBezTo>
                      <a:pt x="60" y="97"/>
                      <a:pt x="60" y="97"/>
                      <a:pt x="60" y="97"/>
                    </a:cubicBezTo>
                    <a:cubicBezTo>
                      <a:pt x="63" y="98"/>
                      <a:pt x="63" y="98"/>
                      <a:pt x="63" y="98"/>
                    </a:cubicBezTo>
                    <a:cubicBezTo>
                      <a:pt x="63" y="96"/>
                      <a:pt x="63" y="96"/>
                      <a:pt x="63" y="96"/>
                    </a:cubicBezTo>
                    <a:cubicBezTo>
                      <a:pt x="62" y="94"/>
                      <a:pt x="62" y="94"/>
                      <a:pt x="62" y="94"/>
                    </a:cubicBezTo>
                    <a:cubicBezTo>
                      <a:pt x="63" y="94"/>
                      <a:pt x="63" y="94"/>
                      <a:pt x="63" y="94"/>
                    </a:cubicBezTo>
                    <a:cubicBezTo>
                      <a:pt x="64" y="98"/>
                      <a:pt x="64" y="98"/>
                      <a:pt x="64" y="98"/>
                    </a:cubicBezTo>
                    <a:cubicBezTo>
                      <a:pt x="66" y="97"/>
                      <a:pt x="66" y="97"/>
                      <a:pt x="66" y="97"/>
                    </a:cubicBezTo>
                    <a:cubicBezTo>
                      <a:pt x="66" y="95"/>
                      <a:pt x="66" y="95"/>
                      <a:pt x="66" y="95"/>
                    </a:cubicBezTo>
                    <a:cubicBezTo>
                      <a:pt x="65" y="93"/>
                      <a:pt x="65" y="93"/>
                      <a:pt x="65" y="93"/>
                    </a:cubicBezTo>
                    <a:cubicBezTo>
                      <a:pt x="66" y="89"/>
                      <a:pt x="66" y="89"/>
                      <a:pt x="66" y="89"/>
                    </a:cubicBezTo>
                    <a:cubicBezTo>
                      <a:pt x="68" y="91"/>
                      <a:pt x="68" y="91"/>
                      <a:pt x="68" y="91"/>
                    </a:cubicBezTo>
                    <a:cubicBezTo>
                      <a:pt x="72" y="92"/>
                      <a:pt x="72" y="92"/>
                      <a:pt x="72" y="92"/>
                    </a:cubicBezTo>
                    <a:cubicBezTo>
                      <a:pt x="73" y="95"/>
                      <a:pt x="73" y="95"/>
                      <a:pt x="73" y="95"/>
                    </a:cubicBezTo>
                    <a:cubicBezTo>
                      <a:pt x="76" y="96"/>
                      <a:pt x="76" y="96"/>
                      <a:pt x="76" y="96"/>
                    </a:cubicBezTo>
                    <a:cubicBezTo>
                      <a:pt x="78" y="95"/>
                      <a:pt x="78" y="95"/>
                      <a:pt x="78" y="95"/>
                    </a:cubicBezTo>
                    <a:cubicBezTo>
                      <a:pt x="80" y="96"/>
                      <a:pt x="80" y="96"/>
                      <a:pt x="80" y="96"/>
                    </a:cubicBezTo>
                    <a:cubicBezTo>
                      <a:pt x="81" y="94"/>
                      <a:pt x="81" y="94"/>
                      <a:pt x="81" y="94"/>
                    </a:cubicBezTo>
                    <a:cubicBezTo>
                      <a:pt x="81" y="97"/>
                      <a:pt x="81" y="97"/>
                      <a:pt x="81" y="97"/>
                    </a:cubicBezTo>
                    <a:cubicBezTo>
                      <a:pt x="81" y="99"/>
                      <a:pt x="81" y="99"/>
                      <a:pt x="81" y="99"/>
                    </a:cubicBezTo>
                    <a:cubicBezTo>
                      <a:pt x="83" y="100"/>
                      <a:pt x="83" y="100"/>
                      <a:pt x="83" y="100"/>
                    </a:cubicBezTo>
                    <a:cubicBezTo>
                      <a:pt x="86" y="102"/>
                      <a:pt x="86" y="102"/>
                      <a:pt x="86" y="102"/>
                    </a:cubicBezTo>
                    <a:cubicBezTo>
                      <a:pt x="96" y="104"/>
                      <a:pt x="96" y="104"/>
                      <a:pt x="96" y="104"/>
                    </a:cubicBezTo>
                    <a:cubicBezTo>
                      <a:pt x="99" y="106"/>
                      <a:pt x="99" y="106"/>
                      <a:pt x="99" y="106"/>
                    </a:cubicBezTo>
                    <a:cubicBezTo>
                      <a:pt x="102" y="109"/>
                      <a:pt x="102" y="109"/>
                      <a:pt x="102" y="109"/>
                    </a:cubicBezTo>
                    <a:cubicBezTo>
                      <a:pt x="104" y="115"/>
                      <a:pt x="104" y="115"/>
                      <a:pt x="104" y="115"/>
                    </a:cubicBezTo>
                    <a:cubicBezTo>
                      <a:pt x="109" y="121"/>
                      <a:pt x="109" y="121"/>
                      <a:pt x="109" y="121"/>
                    </a:cubicBezTo>
                    <a:cubicBezTo>
                      <a:pt x="110" y="123"/>
                      <a:pt x="110" y="123"/>
                      <a:pt x="110" y="123"/>
                    </a:cubicBezTo>
                    <a:cubicBezTo>
                      <a:pt x="113" y="124"/>
                      <a:pt x="113" y="124"/>
                      <a:pt x="113" y="124"/>
                    </a:cubicBezTo>
                    <a:cubicBezTo>
                      <a:pt x="115" y="127"/>
                      <a:pt x="115" y="127"/>
                      <a:pt x="115" y="127"/>
                    </a:cubicBezTo>
                    <a:cubicBezTo>
                      <a:pt x="116" y="129"/>
                      <a:pt x="116" y="129"/>
                      <a:pt x="116" y="129"/>
                    </a:cubicBezTo>
                    <a:cubicBezTo>
                      <a:pt x="125" y="138"/>
                      <a:pt x="125" y="138"/>
                      <a:pt x="125" y="138"/>
                    </a:cubicBezTo>
                    <a:cubicBezTo>
                      <a:pt x="125" y="141"/>
                      <a:pt x="125" y="141"/>
                      <a:pt x="125" y="141"/>
                    </a:cubicBezTo>
                    <a:cubicBezTo>
                      <a:pt x="129" y="143"/>
                      <a:pt x="129" y="143"/>
                      <a:pt x="129" y="143"/>
                    </a:cubicBezTo>
                    <a:cubicBezTo>
                      <a:pt x="134" y="145"/>
                      <a:pt x="134" y="145"/>
                      <a:pt x="134" y="145"/>
                    </a:cubicBezTo>
                    <a:cubicBezTo>
                      <a:pt x="136" y="144"/>
                      <a:pt x="136" y="144"/>
                      <a:pt x="136" y="144"/>
                    </a:cubicBezTo>
                    <a:cubicBezTo>
                      <a:pt x="138" y="144"/>
                      <a:pt x="138" y="144"/>
                      <a:pt x="138" y="144"/>
                    </a:cubicBezTo>
                    <a:cubicBezTo>
                      <a:pt x="141" y="145"/>
                      <a:pt x="141" y="145"/>
                      <a:pt x="141" y="145"/>
                    </a:cubicBezTo>
                    <a:cubicBezTo>
                      <a:pt x="147" y="145"/>
                      <a:pt x="147" y="145"/>
                      <a:pt x="147" y="145"/>
                    </a:cubicBezTo>
                    <a:cubicBezTo>
                      <a:pt x="151" y="146"/>
                      <a:pt x="151" y="146"/>
                      <a:pt x="151" y="146"/>
                    </a:cubicBezTo>
                    <a:cubicBezTo>
                      <a:pt x="154" y="146"/>
                      <a:pt x="154" y="146"/>
                      <a:pt x="154" y="146"/>
                    </a:cubicBezTo>
                    <a:cubicBezTo>
                      <a:pt x="160" y="147"/>
                      <a:pt x="160" y="147"/>
                      <a:pt x="160" y="147"/>
                    </a:cubicBezTo>
                    <a:cubicBezTo>
                      <a:pt x="163" y="148"/>
                      <a:pt x="163" y="148"/>
                      <a:pt x="163" y="148"/>
                    </a:cubicBezTo>
                    <a:cubicBezTo>
                      <a:pt x="167" y="148"/>
                      <a:pt x="167" y="148"/>
                      <a:pt x="167" y="148"/>
                    </a:cubicBezTo>
                    <a:cubicBezTo>
                      <a:pt x="169" y="150"/>
                      <a:pt x="169" y="150"/>
                      <a:pt x="169" y="150"/>
                    </a:cubicBezTo>
                    <a:cubicBezTo>
                      <a:pt x="173" y="150"/>
                      <a:pt x="173" y="150"/>
                      <a:pt x="173" y="150"/>
                    </a:cubicBezTo>
                    <a:cubicBezTo>
                      <a:pt x="174" y="151"/>
                      <a:pt x="174" y="151"/>
                      <a:pt x="174" y="151"/>
                    </a:cubicBezTo>
                    <a:cubicBezTo>
                      <a:pt x="172" y="153"/>
                      <a:pt x="172" y="153"/>
                      <a:pt x="172" y="153"/>
                    </a:cubicBezTo>
                    <a:cubicBezTo>
                      <a:pt x="175" y="154"/>
                      <a:pt x="175" y="154"/>
                      <a:pt x="175" y="154"/>
                    </a:cubicBezTo>
                    <a:cubicBezTo>
                      <a:pt x="180" y="156"/>
                      <a:pt x="180" y="156"/>
                      <a:pt x="180" y="156"/>
                    </a:cubicBezTo>
                    <a:cubicBezTo>
                      <a:pt x="184" y="155"/>
                      <a:pt x="184" y="155"/>
                      <a:pt x="184" y="155"/>
                    </a:cubicBezTo>
                    <a:cubicBezTo>
                      <a:pt x="185" y="153"/>
                      <a:pt x="185" y="153"/>
                      <a:pt x="185" y="153"/>
                    </a:cubicBezTo>
                    <a:cubicBezTo>
                      <a:pt x="181" y="150"/>
                      <a:pt x="181" y="150"/>
                      <a:pt x="181" y="150"/>
                    </a:cubicBezTo>
                    <a:cubicBezTo>
                      <a:pt x="179" y="150"/>
                      <a:pt x="179" y="150"/>
                      <a:pt x="179" y="150"/>
                    </a:cubicBezTo>
                    <a:cubicBezTo>
                      <a:pt x="179" y="148"/>
                      <a:pt x="179" y="148"/>
                      <a:pt x="179" y="148"/>
                    </a:cubicBezTo>
                    <a:cubicBezTo>
                      <a:pt x="183" y="147"/>
                      <a:pt x="183" y="147"/>
                      <a:pt x="183" y="147"/>
                    </a:cubicBezTo>
                    <a:cubicBezTo>
                      <a:pt x="186" y="148"/>
                      <a:pt x="186" y="148"/>
                      <a:pt x="186" y="148"/>
                    </a:cubicBezTo>
                    <a:cubicBezTo>
                      <a:pt x="189" y="146"/>
                      <a:pt x="189" y="146"/>
                      <a:pt x="189" y="146"/>
                    </a:cubicBezTo>
                    <a:cubicBezTo>
                      <a:pt x="182" y="145"/>
                      <a:pt x="182" y="145"/>
                      <a:pt x="182" y="145"/>
                    </a:cubicBezTo>
                    <a:cubicBezTo>
                      <a:pt x="173" y="144"/>
                      <a:pt x="173" y="144"/>
                      <a:pt x="173" y="144"/>
                    </a:cubicBezTo>
                    <a:cubicBezTo>
                      <a:pt x="168" y="141"/>
                      <a:pt x="168" y="141"/>
                      <a:pt x="168" y="141"/>
                    </a:cubicBezTo>
                    <a:cubicBezTo>
                      <a:pt x="167" y="139"/>
                      <a:pt x="167" y="139"/>
                      <a:pt x="167" y="139"/>
                    </a:cubicBezTo>
                    <a:cubicBezTo>
                      <a:pt x="171" y="137"/>
                      <a:pt x="171" y="137"/>
                      <a:pt x="171" y="137"/>
                    </a:cubicBezTo>
                    <a:cubicBezTo>
                      <a:pt x="174" y="137"/>
                      <a:pt x="174" y="137"/>
                      <a:pt x="174" y="137"/>
                    </a:cubicBezTo>
                    <a:cubicBezTo>
                      <a:pt x="176" y="136"/>
                      <a:pt x="176" y="136"/>
                      <a:pt x="176" y="136"/>
                    </a:cubicBezTo>
                    <a:cubicBezTo>
                      <a:pt x="173" y="135"/>
                      <a:pt x="173" y="135"/>
                      <a:pt x="173" y="135"/>
                    </a:cubicBezTo>
                    <a:cubicBezTo>
                      <a:pt x="166" y="135"/>
                      <a:pt x="166" y="135"/>
                      <a:pt x="166" y="135"/>
                    </a:cubicBezTo>
                    <a:cubicBezTo>
                      <a:pt x="160" y="134"/>
                      <a:pt x="160" y="134"/>
                      <a:pt x="160" y="134"/>
                    </a:cubicBezTo>
                    <a:cubicBezTo>
                      <a:pt x="158" y="132"/>
                      <a:pt x="158" y="132"/>
                      <a:pt x="158" y="132"/>
                    </a:cubicBezTo>
                    <a:cubicBezTo>
                      <a:pt x="158" y="129"/>
                      <a:pt x="158" y="129"/>
                      <a:pt x="158" y="129"/>
                    </a:cubicBezTo>
                    <a:cubicBezTo>
                      <a:pt x="160" y="127"/>
                      <a:pt x="160" y="127"/>
                      <a:pt x="160" y="127"/>
                    </a:cubicBezTo>
                    <a:cubicBezTo>
                      <a:pt x="161" y="124"/>
                      <a:pt x="161" y="124"/>
                      <a:pt x="161" y="124"/>
                    </a:cubicBezTo>
                    <a:cubicBezTo>
                      <a:pt x="159" y="122"/>
                      <a:pt x="159" y="122"/>
                      <a:pt x="159" y="122"/>
                    </a:cubicBezTo>
                    <a:cubicBezTo>
                      <a:pt x="156" y="122"/>
                      <a:pt x="156" y="122"/>
                      <a:pt x="156" y="122"/>
                    </a:cubicBezTo>
                    <a:cubicBezTo>
                      <a:pt x="155" y="123"/>
                      <a:pt x="155" y="123"/>
                      <a:pt x="155" y="123"/>
                    </a:cubicBezTo>
                    <a:cubicBezTo>
                      <a:pt x="152" y="122"/>
                      <a:pt x="152" y="122"/>
                      <a:pt x="152" y="122"/>
                    </a:cubicBezTo>
                    <a:cubicBezTo>
                      <a:pt x="150" y="123"/>
                      <a:pt x="150" y="123"/>
                      <a:pt x="150" y="123"/>
                    </a:cubicBezTo>
                    <a:cubicBezTo>
                      <a:pt x="146" y="119"/>
                      <a:pt x="146" y="119"/>
                      <a:pt x="146" y="119"/>
                    </a:cubicBezTo>
                    <a:cubicBezTo>
                      <a:pt x="146" y="114"/>
                      <a:pt x="146" y="114"/>
                      <a:pt x="146" y="114"/>
                    </a:cubicBezTo>
                    <a:cubicBezTo>
                      <a:pt x="143" y="113"/>
                      <a:pt x="143" y="113"/>
                      <a:pt x="143" y="113"/>
                    </a:cubicBezTo>
                    <a:cubicBezTo>
                      <a:pt x="139" y="104"/>
                      <a:pt x="139" y="104"/>
                      <a:pt x="139" y="104"/>
                    </a:cubicBezTo>
                    <a:cubicBezTo>
                      <a:pt x="138" y="104"/>
                      <a:pt x="138" y="104"/>
                      <a:pt x="138" y="104"/>
                    </a:cubicBezTo>
                    <a:cubicBezTo>
                      <a:pt x="136" y="101"/>
                      <a:pt x="136" y="101"/>
                      <a:pt x="136" y="101"/>
                    </a:cubicBezTo>
                    <a:cubicBezTo>
                      <a:pt x="132" y="101"/>
                      <a:pt x="132" y="101"/>
                      <a:pt x="132" y="101"/>
                    </a:cubicBezTo>
                    <a:cubicBezTo>
                      <a:pt x="130" y="99"/>
                      <a:pt x="130" y="99"/>
                      <a:pt x="130" y="99"/>
                    </a:cubicBezTo>
                    <a:cubicBezTo>
                      <a:pt x="127" y="95"/>
                      <a:pt x="127" y="95"/>
                      <a:pt x="127" y="95"/>
                    </a:cubicBezTo>
                    <a:cubicBezTo>
                      <a:pt x="123" y="91"/>
                      <a:pt x="123" y="91"/>
                      <a:pt x="123" y="91"/>
                    </a:cubicBezTo>
                    <a:cubicBezTo>
                      <a:pt x="122" y="87"/>
                      <a:pt x="122" y="87"/>
                      <a:pt x="122" y="87"/>
                    </a:cubicBezTo>
                    <a:cubicBezTo>
                      <a:pt x="119" y="85"/>
                      <a:pt x="119" y="85"/>
                      <a:pt x="119" y="85"/>
                    </a:cubicBezTo>
                    <a:cubicBezTo>
                      <a:pt x="117" y="81"/>
                      <a:pt x="117" y="81"/>
                      <a:pt x="117" y="81"/>
                    </a:cubicBezTo>
                    <a:cubicBezTo>
                      <a:pt x="118" y="79"/>
                      <a:pt x="118" y="79"/>
                      <a:pt x="118" y="79"/>
                    </a:cubicBezTo>
                    <a:cubicBezTo>
                      <a:pt x="126" y="80"/>
                      <a:pt x="126" y="80"/>
                      <a:pt x="126" y="80"/>
                    </a:cubicBezTo>
                    <a:cubicBezTo>
                      <a:pt x="132" y="76"/>
                      <a:pt x="132" y="76"/>
                      <a:pt x="132" y="76"/>
                    </a:cubicBezTo>
                    <a:cubicBezTo>
                      <a:pt x="134" y="73"/>
                      <a:pt x="134" y="73"/>
                      <a:pt x="134" y="73"/>
                    </a:cubicBezTo>
                    <a:cubicBezTo>
                      <a:pt x="134" y="69"/>
                      <a:pt x="134" y="69"/>
                      <a:pt x="134" y="69"/>
                    </a:cubicBezTo>
                    <a:cubicBezTo>
                      <a:pt x="129" y="64"/>
                      <a:pt x="129" y="64"/>
                      <a:pt x="129" y="64"/>
                    </a:cubicBezTo>
                    <a:cubicBezTo>
                      <a:pt x="125" y="63"/>
                      <a:pt x="125" y="63"/>
                      <a:pt x="125" y="63"/>
                    </a:cubicBezTo>
                    <a:cubicBezTo>
                      <a:pt x="123" y="64"/>
                      <a:pt x="123" y="64"/>
                      <a:pt x="123" y="64"/>
                    </a:cubicBezTo>
                    <a:cubicBezTo>
                      <a:pt x="119" y="62"/>
                      <a:pt x="119" y="62"/>
                      <a:pt x="119" y="62"/>
                    </a:cubicBezTo>
                    <a:cubicBezTo>
                      <a:pt x="112" y="59"/>
                      <a:pt x="112" y="59"/>
                      <a:pt x="112" y="59"/>
                    </a:cubicBezTo>
                    <a:cubicBezTo>
                      <a:pt x="108" y="56"/>
                      <a:pt x="108" y="56"/>
                      <a:pt x="108" y="56"/>
                    </a:cubicBezTo>
                    <a:cubicBezTo>
                      <a:pt x="104" y="56"/>
                      <a:pt x="104" y="56"/>
                      <a:pt x="104" y="56"/>
                    </a:cubicBezTo>
                    <a:cubicBezTo>
                      <a:pt x="95" y="53"/>
                      <a:pt x="95" y="53"/>
                      <a:pt x="95" y="53"/>
                    </a:cubicBezTo>
                    <a:cubicBezTo>
                      <a:pt x="94" y="51"/>
                      <a:pt x="94" y="51"/>
                      <a:pt x="94" y="51"/>
                    </a:cubicBezTo>
                    <a:cubicBezTo>
                      <a:pt x="97" y="46"/>
                      <a:pt x="97" y="46"/>
                      <a:pt x="97" y="46"/>
                    </a:cubicBezTo>
                    <a:cubicBezTo>
                      <a:pt x="97" y="43"/>
                      <a:pt x="97" y="43"/>
                      <a:pt x="97" y="43"/>
                    </a:cubicBezTo>
                    <a:cubicBezTo>
                      <a:pt x="95" y="40"/>
                      <a:pt x="95" y="40"/>
                      <a:pt x="95" y="40"/>
                    </a:cubicBezTo>
                    <a:cubicBezTo>
                      <a:pt x="88" y="33"/>
                      <a:pt x="88" y="33"/>
                      <a:pt x="88" y="33"/>
                    </a:cubicBezTo>
                    <a:cubicBezTo>
                      <a:pt x="86" y="33"/>
                      <a:pt x="86" y="33"/>
                      <a:pt x="86" y="33"/>
                    </a:cubicBezTo>
                    <a:cubicBezTo>
                      <a:pt x="84" y="34"/>
                      <a:pt x="84" y="34"/>
                      <a:pt x="84" y="34"/>
                    </a:cubicBezTo>
                    <a:cubicBezTo>
                      <a:pt x="82" y="31"/>
                      <a:pt x="82" y="31"/>
                      <a:pt x="82" y="31"/>
                    </a:cubicBezTo>
                    <a:cubicBezTo>
                      <a:pt x="79" y="29"/>
                      <a:pt x="79" y="29"/>
                      <a:pt x="79" y="29"/>
                    </a:cubicBezTo>
                    <a:cubicBezTo>
                      <a:pt x="78" y="26"/>
                      <a:pt x="78" y="26"/>
                      <a:pt x="78" y="26"/>
                    </a:cubicBezTo>
                    <a:cubicBezTo>
                      <a:pt x="74" y="25"/>
                      <a:pt x="74" y="25"/>
                      <a:pt x="74" y="25"/>
                    </a:cubicBezTo>
                    <a:cubicBezTo>
                      <a:pt x="72" y="23"/>
                      <a:pt x="72" y="23"/>
                      <a:pt x="72" y="23"/>
                    </a:cubicBezTo>
                    <a:cubicBezTo>
                      <a:pt x="70" y="23"/>
                      <a:pt x="70" y="23"/>
                      <a:pt x="70" y="23"/>
                    </a:cubicBezTo>
                    <a:cubicBezTo>
                      <a:pt x="66" y="21"/>
                      <a:pt x="66" y="21"/>
                      <a:pt x="66" y="21"/>
                    </a:cubicBezTo>
                    <a:cubicBezTo>
                      <a:pt x="62" y="21"/>
                      <a:pt x="62" y="21"/>
                      <a:pt x="62" y="21"/>
                    </a:cubicBezTo>
                    <a:cubicBezTo>
                      <a:pt x="58" y="18"/>
                      <a:pt x="58" y="18"/>
                      <a:pt x="58" y="18"/>
                    </a:cubicBezTo>
                    <a:cubicBezTo>
                      <a:pt x="54" y="17"/>
                      <a:pt x="54" y="17"/>
                      <a:pt x="54" y="17"/>
                    </a:cubicBezTo>
                    <a:cubicBezTo>
                      <a:pt x="47" y="13"/>
                      <a:pt x="47" y="13"/>
                      <a:pt x="47" y="13"/>
                    </a:cubicBezTo>
                    <a:cubicBezTo>
                      <a:pt x="36" y="12"/>
                      <a:pt x="36" y="12"/>
                      <a:pt x="36" y="12"/>
                    </a:cubicBezTo>
                    <a:cubicBezTo>
                      <a:pt x="32" y="10"/>
                      <a:pt x="32" y="10"/>
                      <a:pt x="32" y="10"/>
                    </a:cubicBezTo>
                    <a:cubicBezTo>
                      <a:pt x="30" y="8"/>
                      <a:pt x="30" y="8"/>
                      <a:pt x="30" y="8"/>
                    </a:cubicBezTo>
                    <a:cubicBezTo>
                      <a:pt x="28" y="8"/>
                      <a:pt x="28" y="8"/>
                      <a:pt x="28" y="8"/>
                    </a:cubicBezTo>
                    <a:cubicBezTo>
                      <a:pt x="27" y="9"/>
                      <a:pt x="27" y="9"/>
                      <a:pt x="27" y="9"/>
                    </a:cubicBezTo>
                    <a:cubicBezTo>
                      <a:pt x="20" y="6"/>
                      <a:pt x="20" y="6"/>
                      <a:pt x="20" y="6"/>
                    </a:cubicBezTo>
                  </a:path>
                </a:pathLst>
              </a:custGeom>
              <a:solidFill>
                <a:schemeClr val="accent2"/>
              </a:solidFill>
              <a:ln w="1651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160" name="Freeform 162"/>
              <p:cNvSpPr>
                <a:spLocks/>
              </p:cNvSpPr>
              <p:nvPr userDrawn="1"/>
            </p:nvSpPr>
            <p:spPr bwMode="auto">
              <a:xfrm>
                <a:off x="5777" y="3091"/>
                <a:ext cx="14" cy="1"/>
              </a:xfrm>
              <a:custGeom>
                <a:avLst/>
                <a:gdLst>
                  <a:gd name="T0" fmla="*/ 14 w 14"/>
                  <a:gd name="T1" fmla="*/ 0 h 1"/>
                  <a:gd name="T2" fmla="*/ 8 w 14"/>
                  <a:gd name="T3" fmla="*/ 1 h 1"/>
                  <a:gd name="T4" fmla="*/ 0 w 14"/>
                  <a:gd name="T5" fmla="*/ 1 h 1"/>
                  <a:gd name="T6" fmla="*/ 14 w 14"/>
                  <a:gd name="T7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" h="1">
                    <a:moveTo>
                      <a:pt x="14" y="0"/>
                    </a:moveTo>
                    <a:lnTo>
                      <a:pt x="8" y="1"/>
                    </a:lnTo>
                    <a:lnTo>
                      <a:pt x="0" y="1"/>
                    </a:lnTo>
                    <a:lnTo>
                      <a:pt x="14" y="0"/>
                    </a:ln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161" name="Freeform 163"/>
              <p:cNvSpPr>
                <a:spLocks/>
              </p:cNvSpPr>
              <p:nvPr userDrawn="1"/>
            </p:nvSpPr>
            <p:spPr bwMode="auto">
              <a:xfrm>
                <a:off x="5777" y="3091"/>
                <a:ext cx="14" cy="1"/>
              </a:xfrm>
              <a:custGeom>
                <a:avLst/>
                <a:gdLst>
                  <a:gd name="T0" fmla="*/ 14 w 14"/>
                  <a:gd name="T1" fmla="*/ 0 h 1"/>
                  <a:gd name="T2" fmla="*/ 8 w 14"/>
                  <a:gd name="T3" fmla="*/ 1 h 1"/>
                  <a:gd name="T4" fmla="*/ 0 w 14"/>
                  <a:gd name="T5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4" h="1">
                    <a:moveTo>
                      <a:pt x="14" y="0"/>
                    </a:moveTo>
                    <a:lnTo>
                      <a:pt x="8" y="1"/>
                    </a:lnTo>
                    <a:lnTo>
                      <a:pt x="0" y="1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162" name="Freeform 164"/>
              <p:cNvSpPr>
                <a:spLocks/>
              </p:cNvSpPr>
              <p:nvPr userDrawn="1"/>
            </p:nvSpPr>
            <p:spPr bwMode="auto">
              <a:xfrm>
                <a:off x="5591" y="2845"/>
                <a:ext cx="1" cy="2"/>
              </a:xfrm>
              <a:custGeom>
                <a:avLst/>
                <a:gdLst>
                  <a:gd name="T0" fmla="*/ 0 w 1"/>
                  <a:gd name="T1" fmla="*/ 0 h 2"/>
                  <a:gd name="T2" fmla="*/ 0 w 1"/>
                  <a:gd name="T3" fmla="*/ 0 h 2"/>
                  <a:gd name="T4" fmla="*/ 1 w 1"/>
                  <a:gd name="T5" fmla="*/ 2 h 2"/>
                  <a:gd name="T6" fmla="*/ 0 w 1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2">
                    <a:moveTo>
                      <a:pt x="0" y="0"/>
                    </a:moveTo>
                    <a:lnTo>
                      <a:pt x="0" y="0"/>
                    </a:lnTo>
                    <a:lnTo>
                      <a:pt x="1" y="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2F1E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163" name="Freeform 165"/>
              <p:cNvSpPr>
                <a:spLocks/>
              </p:cNvSpPr>
              <p:nvPr userDrawn="1"/>
            </p:nvSpPr>
            <p:spPr bwMode="auto">
              <a:xfrm>
                <a:off x="5591" y="2845"/>
                <a:ext cx="1" cy="2"/>
              </a:xfrm>
              <a:custGeom>
                <a:avLst/>
                <a:gdLst>
                  <a:gd name="T0" fmla="*/ 0 w 1"/>
                  <a:gd name="T1" fmla="*/ 0 h 2"/>
                  <a:gd name="T2" fmla="*/ 0 w 1"/>
                  <a:gd name="T3" fmla="*/ 0 h 2"/>
                  <a:gd name="T4" fmla="*/ 1 w 1"/>
                  <a:gd name="T5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2">
                    <a:moveTo>
                      <a:pt x="0" y="0"/>
                    </a:moveTo>
                    <a:lnTo>
                      <a:pt x="0" y="0"/>
                    </a:lnTo>
                    <a:lnTo>
                      <a:pt x="1" y="2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164" name="Freeform 166"/>
              <p:cNvSpPr>
                <a:spLocks noEditPoints="1"/>
              </p:cNvSpPr>
              <p:nvPr userDrawn="1"/>
            </p:nvSpPr>
            <p:spPr bwMode="auto">
              <a:xfrm>
                <a:off x="5063" y="2426"/>
                <a:ext cx="95" cy="118"/>
              </a:xfrm>
              <a:custGeom>
                <a:avLst/>
                <a:gdLst>
                  <a:gd name="T0" fmla="*/ 97 w 99"/>
                  <a:gd name="T1" fmla="*/ 111 h 124"/>
                  <a:gd name="T2" fmla="*/ 91 w 99"/>
                  <a:gd name="T3" fmla="*/ 118 h 124"/>
                  <a:gd name="T4" fmla="*/ 92 w 99"/>
                  <a:gd name="T5" fmla="*/ 124 h 124"/>
                  <a:gd name="T6" fmla="*/ 85 w 99"/>
                  <a:gd name="T7" fmla="*/ 113 h 124"/>
                  <a:gd name="T8" fmla="*/ 84 w 99"/>
                  <a:gd name="T9" fmla="*/ 106 h 124"/>
                  <a:gd name="T10" fmla="*/ 81 w 99"/>
                  <a:gd name="T11" fmla="*/ 108 h 124"/>
                  <a:gd name="T12" fmla="*/ 81 w 99"/>
                  <a:gd name="T13" fmla="*/ 98 h 124"/>
                  <a:gd name="T14" fmla="*/ 73 w 99"/>
                  <a:gd name="T15" fmla="*/ 81 h 124"/>
                  <a:gd name="T16" fmla="*/ 70 w 99"/>
                  <a:gd name="T17" fmla="*/ 82 h 124"/>
                  <a:gd name="T18" fmla="*/ 59 w 99"/>
                  <a:gd name="T19" fmla="*/ 79 h 124"/>
                  <a:gd name="T20" fmla="*/ 52 w 99"/>
                  <a:gd name="T21" fmla="*/ 71 h 124"/>
                  <a:gd name="T22" fmla="*/ 54 w 99"/>
                  <a:gd name="T23" fmla="*/ 83 h 124"/>
                  <a:gd name="T24" fmla="*/ 56 w 99"/>
                  <a:gd name="T25" fmla="*/ 90 h 124"/>
                  <a:gd name="T26" fmla="*/ 48 w 99"/>
                  <a:gd name="T27" fmla="*/ 101 h 124"/>
                  <a:gd name="T28" fmla="*/ 49 w 99"/>
                  <a:gd name="T29" fmla="*/ 96 h 124"/>
                  <a:gd name="T30" fmla="*/ 45 w 99"/>
                  <a:gd name="T31" fmla="*/ 99 h 124"/>
                  <a:gd name="T32" fmla="*/ 44 w 99"/>
                  <a:gd name="T33" fmla="*/ 88 h 124"/>
                  <a:gd name="T34" fmla="*/ 42 w 99"/>
                  <a:gd name="T35" fmla="*/ 91 h 124"/>
                  <a:gd name="T36" fmla="*/ 43 w 99"/>
                  <a:gd name="T37" fmla="*/ 99 h 124"/>
                  <a:gd name="T38" fmla="*/ 40 w 99"/>
                  <a:gd name="T39" fmla="*/ 103 h 124"/>
                  <a:gd name="T40" fmla="*/ 35 w 99"/>
                  <a:gd name="T41" fmla="*/ 104 h 124"/>
                  <a:gd name="T42" fmla="*/ 30 w 99"/>
                  <a:gd name="T43" fmla="*/ 99 h 124"/>
                  <a:gd name="T44" fmla="*/ 27 w 99"/>
                  <a:gd name="T45" fmla="*/ 91 h 124"/>
                  <a:gd name="T46" fmla="*/ 20 w 99"/>
                  <a:gd name="T47" fmla="*/ 72 h 124"/>
                  <a:gd name="T48" fmla="*/ 19 w 99"/>
                  <a:gd name="T49" fmla="*/ 58 h 124"/>
                  <a:gd name="T50" fmla="*/ 5 w 99"/>
                  <a:gd name="T51" fmla="*/ 46 h 124"/>
                  <a:gd name="T52" fmla="*/ 10 w 99"/>
                  <a:gd name="T53" fmla="*/ 33 h 124"/>
                  <a:gd name="T54" fmla="*/ 18 w 99"/>
                  <a:gd name="T55" fmla="*/ 30 h 124"/>
                  <a:gd name="T56" fmla="*/ 13 w 99"/>
                  <a:gd name="T57" fmla="*/ 23 h 124"/>
                  <a:gd name="T58" fmla="*/ 1 w 99"/>
                  <a:gd name="T59" fmla="*/ 16 h 124"/>
                  <a:gd name="T60" fmla="*/ 4 w 99"/>
                  <a:gd name="T61" fmla="*/ 6 h 124"/>
                  <a:gd name="T62" fmla="*/ 7 w 99"/>
                  <a:gd name="T63" fmla="*/ 0 h 124"/>
                  <a:gd name="T64" fmla="*/ 11 w 99"/>
                  <a:gd name="T65" fmla="*/ 8 h 124"/>
                  <a:gd name="T66" fmla="*/ 20 w 99"/>
                  <a:gd name="T67" fmla="*/ 10 h 124"/>
                  <a:gd name="T68" fmla="*/ 20 w 99"/>
                  <a:gd name="T69" fmla="*/ 7 h 124"/>
                  <a:gd name="T70" fmla="*/ 28 w 99"/>
                  <a:gd name="T71" fmla="*/ 12 h 124"/>
                  <a:gd name="T72" fmla="*/ 33 w 99"/>
                  <a:gd name="T73" fmla="*/ 15 h 124"/>
                  <a:gd name="T74" fmla="*/ 36 w 99"/>
                  <a:gd name="T75" fmla="*/ 26 h 124"/>
                  <a:gd name="T76" fmla="*/ 43 w 99"/>
                  <a:gd name="T77" fmla="*/ 29 h 124"/>
                  <a:gd name="T78" fmla="*/ 60 w 99"/>
                  <a:gd name="T79" fmla="*/ 31 h 124"/>
                  <a:gd name="T80" fmla="*/ 75 w 99"/>
                  <a:gd name="T81" fmla="*/ 31 h 124"/>
                  <a:gd name="T82" fmla="*/ 82 w 99"/>
                  <a:gd name="T83" fmla="*/ 35 h 124"/>
                  <a:gd name="T84" fmla="*/ 81 w 99"/>
                  <a:gd name="T85" fmla="*/ 44 h 124"/>
                  <a:gd name="T86" fmla="*/ 76 w 99"/>
                  <a:gd name="T87" fmla="*/ 54 h 124"/>
                  <a:gd name="T88" fmla="*/ 71 w 99"/>
                  <a:gd name="T89" fmla="*/ 54 h 124"/>
                  <a:gd name="T90" fmla="*/ 65 w 99"/>
                  <a:gd name="T91" fmla="*/ 60 h 124"/>
                  <a:gd name="T92" fmla="*/ 69 w 99"/>
                  <a:gd name="T93" fmla="*/ 69 h 124"/>
                  <a:gd name="T94" fmla="*/ 76 w 99"/>
                  <a:gd name="T95" fmla="*/ 77 h 124"/>
                  <a:gd name="T96" fmla="*/ 77 w 99"/>
                  <a:gd name="T97" fmla="*/ 73 h 124"/>
                  <a:gd name="T98" fmla="*/ 80 w 99"/>
                  <a:gd name="T99" fmla="*/ 67 h 124"/>
                  <a:gd name="T100" fmla="*/ 83 w 99"/>
                  <a:gd name="T101" fmla="*/ 65 h 124"/>
                  <a:gd name="T102" fmla="*/ 89 w 99"/>
                  <a:gd name="T103" fmla="*/ 69 h 124"/>
                  <a:gd name="T104" fmla="*/ 92 w 99"/>
                  <a:gd name="T105" fmla="*/ 81 h 124"/>
                  <a:gd name="T106" fmla="*/ 96 w 99"/>
                  <a:gd name="T107" fmla="*/ 97 h 124"/>
                  <a:gd name="T108" fmla="*/ 98 w 99"/>
                  <a:gd name="T109" fmla="*/ 101 h 124"/>
                  <a:gd name="T110" fmla="*/ 71 w 99"/>
                  <a:gd name="T111" fmla="*/ 86 h 124"/>
                  <a:gd name="T112" fmla="*/ 72 w 99"/>
                  <a:gd name="T113" fmla="*/ 90 h 124"/>
                  <a:gd name="T114" fmla="*/ 65 w 99"/>
                  <a:gd name="T115" fmla="*/ 90 h 124"/>
                  <a:gd name="T116" fmla="*/ 68 w 99"/>
                  <a:gd name="T117" fmla="*/ 91 h 124"/>
                  <a:gd name="T118" fmla="*/ 63 w 99"/>
                  <a:gd name="T119" fmla="*/ 86 h 124"/>
                  <a:gd name="T120" fmla="*/ 55 w 99"/>
                  <a:gd name="T121" fmla="*/ 87 h 124"/>
                  <a:gd name="T122" fmla="*/ 61 w 99"/>
                  <a:gd name="T123" fmla="*/ 87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99" h="124">
                    <a:moveTo>
                      <a:pt x="99" y="102"/>
                    </a:moveTo>
                    <a:cubicBezTo>
                      <a:pt x="99" y="106"/>
                      <a:pt x="99" y="106"/>
                      <a:pt x="99" y="106"/>
                    </a:cubicBezTo>
                    <a:cubicBezTo>
                      <a:pt x="97" y="111"/>
                      <a:pt x="97" y="111"/>
                      <a:pt x="97" y="111"/>
                    </a:cubicBezTo>
                    <a:cubicBezTo>
                      <a:pt x="95" y="110"/>
                      <a:pt x="95" y="110"/>
                      <a:pt x="95" y="110"/>
                    </a:cubicBezTo>
                    <a:cubicBezTo>
                      <a:pt x="91" y="114"/>
                      <a:pt x="91" y="114"/>
                      <a:pt x="91" y="114"/>
                    </a:cubicBezTo>
                    <a:cubicBezTo>
                      <a:pt x="91" y="118"/>
                      <a:pt x="91" y="118"/>
                      <a:pt x="91" y="118"/>
                    </a:cubicBezTo>
                    <a:cubicBezTo>
                      <a:pt x="91" y="119"/>
                      <a:pt x="91" y="119"/>
                      <a:pt x="91" y="119"/>
                    </a:cubicBezTo>
                    <a:cubicBezTo>
                      <a:pt x="91" y="120"/>
                      <a:pt x="91" y="120"/>
                      <a:pt x="91" y="120"/>
                    </a:cubicBezTo>
                    <a:cubicBezTo>
                      <a:pt x="92" y="124"/>
                      <a:pt x="92" y="124"/>
                      <a:pt x="92" y="124"/>
                    </a:cubicBezTo>
                    <a:cubicBezTo>
                      <a:pt x="91" y="124"/>
                      <a:pt x="91" y="124"/>
                      <a:pt x="91" y="124"/>
                    </a:cubicBezTo>
                    <a:cubicBezTo>
                      <a:pt x="88" y="118"/>
                      <a:pt x="88" y="118"/>
                      <a:pt x="88" y="118"/>
                    </a:cubicBezTo>
                    <a:cubicBezTo>
                      <a:pt x="85" y="113"/>
                      <a:pt x="85" y="113"/>
                      <a:pt x="85" y="113"/>
                    </a:cubicBezTo>
                    <a:cubicBezTo>
                      <a:pt x="83" y="111"/>
                      <a:pt x="83" y="111"/>
                      <a:pt x="83" y="111"/>
                    </a:cubicBezTo>
                    <a:cubicBezTo>
                      <a:pt x="84" y="109"/>
                      <a:pt x="84" y="109"/>
                      <a:pt x="84" y="109"/>
                    </a:cubicBezTo>
                    <a:cubicBezTo>
                      <a:pt x="84" y="106"/>
                      <a:pt x="84" y="106"/>
                      <a:pt x="84" y="106"/>
                    </a:cubicBezTo>
                    <a:cubicBezTo>
                      <a:pt x="84" y="107"/>
                      <a:pt x="84" y="107"/>
                      <a:pt x="84" y="107"/>
                    </a:cubicBezTo>
                    <a:cubicBezTo>
                      <a:pt x="81" y="110"/>
                      <a:pt x="81" y="110"/>
                      <a:pt x="81" y="110"/>
                    </a:cubicBezTo>
                    <a:cubicBezTo>
                      <a:pt x="81" y="108"/>
                      <a:pt x="81" y="108"/>
                      <a:pt x="81" y="108"/>
                    </a:cubicBezTo>
                    <a:cubicBezTo>
                      <a:pt x="82" y="103"/>
                      <a:pt x="82" y="103"/>
                      <a:pt x="82" y="103"/>
                    </a:cubicBezTo>
                    <a:cubicBezTo>
                      <a:pt x="80" y="102"/>
                      <a:pt x="80" y="102"/>
                      <a:pt x="80" y="102"/>
                    </a:cubicBezTo>
                    <a:cubicBezTo>
                      <a:pt x="81" y="98"/>
                      <a:pt x="81" y="98"/>
                      <a:pt x="81" y="98"/>
                    </a:cubicBezTo>
                    <a:cubicBezTo>
                      <a:pt x="81" y="95"/>
                      <a:pt x="81" y="95"/>
                      <a:pt x="81" y="95"/>
                    </a:cubicBezTo>
                    <a:cubicBezTo>
                      <a:pt x="79" y="94"/>
                      <a:pt x="79" y="94"/>
                      <a:pt x="79" y="94"/>
                    </a:cubicBezTo>
                    <a:cubicBezTo>
                      <a:pt x="73" y="81"/>
                      <a:pt x="73" y="81"/>
                      <a:pt x="73" y="81"/>
                    </a:cubicBezTo>
                    <a:cubicBezTo>
                      <a:pt x="71" y="81"/>
                      <a:pt x="71" y="81"/>
                      <a:pt x="71" y="81"/>
                    </a:cubicBezTo>
                    <a:cubicBezTo>
                      <a:pt x="71" y="82"/>
                      <a:pt x="71" y="82"/>
                      <a:pt x="71" y="82"/>
                    </a:cubicBezTo>
                    <a:cubicBezTo>
                      <a:pt x="70" y="82"/>
                      <a:pt x="70" y="82"/>
                      <a:pt x="70" y="82"/>
                    </a:cubicBezTo>
                    <a:cubicBezTo>
                      <a:pt x="66" y="84"/>
                      <a:pt x="66" y="84"/>
                      <a:pt x="66" y="84"/>
                    </a:cubicBezTo>
                    <a:cubicBezTo>
                      <a:pt x="60" y="81"/>
                      <a:pt x="60" y="81"/>
                      <a:pt x="60" y="81"/>
                    </a:cubicBezTo>
                    <a:cubicBezTo>
                      <a:pt x="59" y="79"/>
                      <a:pt x="59" y="79"/>
                      <a:pt x="59" y="79"/>
                    </a:cubicBezTo>
                    <a:cubicBezTo>
                      <a:pt x="57" y="79"/>
                      <a:pt x="57" y="79"/>
                      <a:pt x="57" y="79"/>
                    </a:cubicBezTo>
                    <a:cubicBezTo>
                      <a:pt x="53" y="76"/>
                      <a:pt x="53" y="76"/>
                      <a:pt x="53" y="76"/>
                    </a:cubicBezTo>
                    <a:cubicBezTo>
                      <a:pt x="52" y="71"/>
                      <a:pt x="52" y="71"/>
                      <a:pt x="52" y="71"/>
                    </a:cubicBezTo>
                    <a:cubicBezTo>
                      <a:pt x="52" y="77"/>
                      <a:pt x="52" y="77"/>
                      <a:pt x="52" y="77"/>
                    </a:cubicBezTo>
                    <a:cubicBezTo>
                      <a:pt x="55" y="81"/>
                      <a:pt x="55" y="81"/>
                      <a:pt x="55" y="81"/>
                    </a:cubicBezTo>
                    <a:cubicBezTo>
                      <a:pt x="54" y="83"/>
                      <a:pt x="54" y="83"/>
                      <a:pt x="54" y="83"/>
                    </a:cubicBezTo>
                    <a:cubicBezTo>
                      <a:pt x="51" y="84"/>
                      <a:pt x="51" y="84"/>
                      <a:pt x="51" y="84"/>
                    </a:cubicBezTo>
                    <a:cubicBezTo>
                      <a:pt x="53" y="85"/>
                      <a:pt x="53" y="85"/>
                      <a:pt x="53" y="85"/>
                    </a:cubicBezTo>
                    <a:cubicBezTo>
                      <a:pt x="56" y="90"/>
                      <a:pt x="56" y="90"/>
                      <a:pt x="56" y="90"/>
                    </a:cubicBezTo>
                    <a:cubicBezTo>
                      <a:pt x="55" y="95"/>
                      <a:pt x="55" y="95"/>
                      <a:pt x="55" y="95"/>
                    </a:cubicBezTo>
                    <a:cubicBezTo>
                      <a:pt x="51" y="96"/>
                      <a:pt x="51" y="96"/>
                      <a:pt x="51" y="96"/>
                    </a:cubicBezTo>
                    <a:cubicBezTo>
                      <a:pt x="48" y="101"/>
                      <a:pt x="48" y="101"/>
                      <a:pt x="48" y="101"/>
                    </a:cubicBezTo>
                    <a:cubicBezTo>
                      <a:pt x="45" y="99"/>
                      <a:pt x="45" y="99"/>
                      <a:pt x="45" y="99"/>
                    </a:cubicBezTo>
                    <a:cubicBezTo>
                      <a:pt x="47" y="96"/>
                      <a:pt x="47" y="96"/>
                      <a:pt x="47" y="96"/>
                    </a:cubicBezTo>
                    <a:cubicBezTo>
                      <a:pt x="49" y="96"/>
                      <a:pt x="49" y="96"/>
                      <a:pt x="49" y="96"/>
                    </a:cubicBezTo>
                    <a:cubicBezTo>
                      <a:pt x="50" y="94"/>
                      <a:pt x="50" y="94"/>
                      <a:pt x="50" y="94"/>
                    </a:cubicBezTo>
                    <a:cubicBezTo>
                      <a:pt x="47" y="95"/>
                      <a:pt x="47" y="95"/>
                      <a:pt x="47" y="95"/>
                    </a:cubicBezTo>
                    <a:cubicBezTo>
                      <a:pt x="45" y="99"/>
                      <a:pt x="45" y="99"/>
                      <a:pt x="45" y="99"/>
                    </a:cubicBezTo>
                    <a:cubicBezTo>
                      <a:pt x="42" y="95"/>
                      <a:pt x="42" y="95"/>
                      <a:pt x="42" y="95"/>
                    </a:cubicBezTo>
                    <a:cubicBezTo>
                      <a:pt x="44" y="89"/>
                      <a:pt x="44" y="89"/>
                      <a:pt x="44" y="89"/>
                    </a:cubicBezTo>
                    <a:cubicBezTo>
                      <a:pt x="44" y="88"/>
                      <a:pt x="44" y="88"/>
                      <a:pt x="44" y="88"/>
                    </a:cubicBezTo>
                    <a:cubicBezTo>
                      <a:pt x="43" y="86"/>
                      <a:pt x="43" y="86"/>
                      <a:pt x="43" y="86"/>
                    </a:cubicBezTo>
                    <a:cubicBezTo>
                      <a:pt x="43" y="88"/>
                      <a:pt x="43" y="88"/>
                      <a:pt x="43" y="88"/>
                    </a:cubicBezTo>
                    <a:cubicBezTo>
                      <a:pt x="42" y="91"/>
                      <a:pt x="42" y="91"/>
                      <a:pt x="42" y="91"/>
                    </a:cubicBezTo>
                    <a:cubicBezTo>
                      <a:pt x="42" y="94"/>
                      <a:pt x="42" y="94"/>
                      <a:pt x="42" y="94"/>
                    </a:cubicBezTo>
                    <a:cubicBezTo>
                      <a:pt x="40" y="94"/>
                      <a:pt x="40" y="94"/>
                      <a:pt x="40" y="94"/>
                    </a:cubicBezTo>
                    <a:cubicBezTo>
                      <a:pt x="43" y="99"/>
                      <a:pt x="43" y="99"/>
                      <a:pt x="43" y="99"/>
                    </a:cubicBezTo>
                    <a:cubicBezTo>
                      <a:pt x="42" y="102"/>
                      <a:pt x="42" y="102"/>
                      <a:pt x="42" y="102"/>
                    </a:cubicBezTo>
                    <a:cubicBezTo>
                      <a:pt x="40" y="103"/>
                      <a:pt x="40" y="103"/>
                      <a:pt x="40" y="103"/>
                    </a:cubicBezTo>
                    <a:cubicBezTo>
                      <a:pt x="40" y="103"/>
                      <a:pt x="40" y="103"/>
                      <a:pt x="40" y="103"/>
                    </a:cubicBezTo>
                    <a:cubicBezTo>
                      <a:pt x="37" y="101"/>
                      <a:pt x="37" y="101"/>
                      <a:pt x="37" y="101"/>
                    </a:cubicBezTo>
                    <a:cubicBezTo>
                      <a:pt x="36" y="102"/>
                      <a:pt x="36" y="102"/>
                      <a:pt x="36" y="102"/>
                    </a:cubicBezTo>
                    <a:cubicBezTo>
                      <a:pt x="35" y="104"/>
                      <a:pt x="35" y="104"/>
                      <a:pt x="35" y="104"/>
                    </a:cubicBezTo>
                    <a:cubicBezTo>
                      <a:pt x="33" y="104"/>
                      <a:pt x="33" y="104"/>
                      <a:pt x="33" y="104"/>
                    </a:cubicBezTo>
                    <a:cubicBezTo>
                      <a:pt x="32" y="103"/>
                      <a:pt x="32" y="103"/>
                      <a:pt x="32" y="103"/>
                    </a:cubicBezTo>
                    <a:cubicBezTo>
                      <a:pt x="30" y="99"/>
                      <a:pt x="30" y="99"/>
                      <a:pt x="30" y="99"/>
                    </a:cubicBezTo>
                    <a:cubicBezTo>
                      <a:pt x="29" y="100"/>
                      <a:pt x="29" y="100"/>
                      <a:pt x="29" y="100"/>
                    </a:cubicBezTo>
                    <a:cubicBezTo>
                      <a:pt x="28" y="94"/>
                      <a:pt x="28" y="94"/>
                      <a:pt x="28" y="94"/>
                    </a:cubicBezTo>
                    <a:cubicBezTo>
                      <a:pt x="27" y="91"/>
                      <a:pt x="27" y="91"/>
                      <a:pt x="27" y="91"/>
                    </a:cubicBezTo>
                    <a:cubicBezTo>
                      <a:pt x="27" y="86"/>
                      <a:pt x="27" y="86"/>
                      <a:pt x="27" y="86"/>
                    </a:cubicBezTo>
                    <a:cubicBezTo>
                      <a:pt x="21" y="78"/>
                      <a:pt x="21" y="78"/>
                      <a:pt x="21" y="78"/>
                    </a:cubicBezTo>
                    <a:cubicBezTo>
                      <a:pt x="20" y="72"/>
                      <a:pt x="20" y="72"/>
                      <a:pt x="20" y="72"/>
                    </a:cubicBezTo>
                    <a:cubicBezTo>
                      <a:pt x="21" y="69"/>
                      <a:pt x="21" y="69"/>
                      <a:pt x="21" y="69"/>
                    </a:cubicBezTo>
                    <a:cubicBezTo>
                      <a:pt x="19" y="64"/>
                      <a:pt x="19" y="64"/>
                      <a:pt x="19" y="64"/>
                    </a:cubicBezTo>
                    <a:cubicBezTo>
                      <a:pt x="19" y="58"/>
                      <a:pt x="19" y="58"/>
                      <a:pt x="19" y="58"/>
                    </a:cubicBezTo>
                    <a:cubicBezTo>
                      <a:pt x="14" y="53"/>
                      <a:pt x="14" y="53"/>
                      <a:pt x="14" y="53"/>
                    </a:cubicBezTo>
                    <a:cubicBezTo>
                      <a:pt x="9" y="51"/>
                      <a:pt x="9" y="51"/>
                      <a:pt x="9" y="51"/>
                    </a:cubicBezTo>
                    <a:cubicBezTo>
                      <a:pt x="5" y="46"/>
                      <a:pt x="5" y="46"/>
                      <a:pt x="5" y="46"/>
                    </a:cubicBezTo>
                    <a:cubicBezTo>
                      <a:pt x="5" y="38"/>
                      <a:pt x="5" y="38"/>
                      <a:pt x="5" y="38"/>
                    </a:cubicBezTo>
                    <a:cubicBezTo>
                      <a:pt x="9" y="38"/>
                      <a:pt x="9" y="38"/>
                      <a:pt x="9" y="38"/>
                    </a:cubicBezTo>
                    <a:cubicBezTo>
                      <a:pt x="10" y="33"/>
                      <a:pt x="10" y="33"/>
                      <a:pt x="10" y="33"/>
                    </a:cubicBezTo>
                    <a:cubicBezTo>
                      <a:pt x="13" y="31"/>
                      <a:pt x="13" y="31"/>
                      <a:pt x="13" y="31"/>
                    </a:cubicBezTo>
                    <a:cubicBezTo>
                      <a:pt x="16" y="32"/>
                      <a:pt x="16" y="32"/>
                      <a:pt x="16" y="32"/>
                    </a:cubicBezTo>
                    <a:cubicBezTo>
                      <a:pt x="18" y="30"/>
                      <a:pt x="18" y="30"/>
                      <a:pt x="18" y="30"/>
                    </a:cubicBezTo>
                    <a:cubicBezTo>
                      <a:pt x="17" y="25"/>
                      <a:pt x="17" y="25"/>
                      <a:pt x="17" y="25"/>
                    </a:cubicBezTo>
                    <a:cubicBezTo>
                      <a:pt x="18" y="23"/>
                      <a:pt x="18" y="23"/>
                      <a:pt x="18" y="23"/>
                    </a:cubicBezTo>
                    <a:cubicBezTo>
                      <a:pt x="13" y="23"/>
                      <a:pt x="13" y="23"/>
                      <a:pt x="13" y="23"/>
                    </a:cubicBezTo>
                    <a:cubicBezTo>
                      <a:pt x="9" y="24"/>
                      <a:pt x="9" y="24"/>
                      <a:pt x="9" y="24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1" y="16"/>
                      <a:pt x="1" y="16"/>
                      <a:pt x="1" y="16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6" y="7"/>
                      <a:pt x="6" y="7"/>
                      <a:pt x="6" y="7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11" y="6"/>
                      <a:pt x="11" y="6"/>
                      <a:pt x="11" y="6"/>
                    </a:cubicBezTo>
                    <a:cubicBezTo>
                      <a:pt x="11" y="8"/>
                      <a:pt x="11" y="8"/>
                      <a:pt x="11" y="8"/>
                    </a:cubicBezTo>
                    <a:cubicBezTo>
                      <a:pt x="14" y="11"/>
                      <a:pt x="14" y="11"/>
                      <a:pt x="14" y="11"/>
                    </a:cubicBezTo>
                    <a:cubicBezTo>
                      <a:pt x="18" y="11"/>
                      <a:pt x="18" y="11"/>
                      <a:pt x="18" y="11"/>
                    </a:cubicBezTo>
                    <a:cubicBezTo>
                      <a:pt x="20" y="10"/>
                      <a:pt x="20" y="10"/>
                      <a:pt x="20" y="10"/>
                    </a:cubicBezTo>
                    <a:cubicBezTo>
                      <a:pt x="17" y="9"/>
                      <a:pt x="17" y="9"/>
                      <a:pt x="17" y="9"/>
                    </a:cubicBezTo>
                    <a:cubicBezTo>
                      <a:pt x="18" y="7"/>
                      <a:pt x="18" y="7"/>
                      <a:pt x="18" y="7"/>
                    </a:cubicBezTo>
                    <a:cubicBezTo>
                      <a:pt x="20" y="7"/>
                      <a:pt x="20" y="7"/>
                      <a:pt x="20" y="7"/>
                    </a:cubicBezTo>
                    <a:cubicBezTo>
                      <a:pt x="22" y="9"/>
                      <a:pt x="22" y="9"/>
                      <a:pt x="22" y="9"/>
                    </a:cubicBezTo>
                    <a:cubicBezTo>
                      <a:pt x="24" y="11"/>
                      <a:pt x="24" y="11"/>
                      <a:pt x="24" y="11"/>
                    </a:cubicBezTo>
                    <a:cubicBezTo>
                      <a:pt x="28" y="12"/>
                      <a:pt x="28" y="12"/>
                      <a:pt x="28" y="12"/>
                    </a:cubicBezTo>
                    <a:cubicBezTo>
                      <a:pt x="28" y="11"/>
                      <a:pt x="28" y="11"/>
                      <a:pt x="28" y="11"/>
                    </a:cubicBezTo>
                    <a:cubicBezTo>
                      <a:pt x="30" y="10"/>
                      <a:pt x="30" y="10"/>
                      <a:pt x="30" y="10"/>
                    </a:cubicBezTo>
                    <a:cubicBezTo>
                      <a:pt x="33" y="15"/>
                      <a:pt x="33" y="15"/>
                      <a:pt x="33" y="15"/>
                    </a:cubicBezTo>
                    <a:cubicBezTo>
                      <a:pt x="34" y="19"/>
                      <a:pt x="34" y="19"/>
                      <a:pt x="34" y="19"/>
                    </a:cubicBezTo>
                    <a:cubicBezTo>
                      <a:pt x="34" y="22"/>
                      <a:pt x="34" y="22"/>
                      <a:pt x="34" y="22"/>
                    </a:cubicBezTo>
                    <a:cubicBezTo>
                      <a:pt x="36" y="26"/>
                      <a:pt x="36" y="26"/>
                      <a:pt x="36" y="26"/>
                    </a:cubicBezTo>
                    <a:cubicBezTo>
                      <a:pt x="36" y="28"/>
                      <a:pt x="36" y="28"/>
                      <a:pt x="36" y="28"/>
                    </a:cubicBezTo>
                    <a:cubicBezTo>
                      <a:pt x="39" y="30"/>
                      <a:pt x="39" y="30"/>
                      <a:pt x="39" y="30"/>
                    </a:cubicBezTo>
                    <a:cubicBezTo>
                      <a:pt x="43" y="29"/>
                      <a:pt x="43" y="29"/>
                      <a:pt x="43" y="29"/>
                    </a:cubicBezTo>
                    <a:cubicBezTo>
                      <a:pt x="47" y="31"/>
                      <a:pt x="47" y="31"/>
                      <a:pt x="47" y="31"/>
                    </a:cubicBezTo>
                    <a:cubicBezTo>
                      <a:pt x="52" y="31"/>
                      <a:pt x="52" y="31"/>
                      <a:pt x="52" y="31"/>
                    </a:cubicBezTo>
                    <a:cubicBezTo>
                      <a:pt x="60" y="31"/>
                      <a:pt x="60" y="31"/>
                      <a:pt x="60" y="31"/>
                    </a:cubicBezTo>
                    <a:cubicBezTo>
                      <a:pt x="65" y="31"/>
                      <a:pt x="65" y="31"/>
                      <a:pt x="65" y="31"/>
                    </a:cubicBezTo>
                    <a:cubicBezTo>
                      <a:pt x="72" y="31"/>
                      <a:pt x="72" y="31"/>
                      <a:pt x="72" y="31"/>
                    </a:cubicBezTo>
                    <a:cubicBezTo>
                      <a:pt x="75" y="31"/>
                      <a:pt x="75" y="31"/>
                      <a:pt x="75" y="31"/>
                    </a:cubicBezTo>
                    <a:cubicBezTo>
                      <a:pt x="76" y="32"/>
                      <a:pt x="76" y="32"/>
                      <a:pt x="76" y="32"/>
                    </a:cubicBezTo>
                    <a:cubicBezTo>
                      <a:pt x="79" y="31"/>
                      <a:pt x="79" y="31"/>
                      <a:pt x="79" y="31"/>
                    </a:cubicBezTo>
                    <a:cubicBezTo>
                      <a:pt x="82" y="35"/>
                      <a:pt x="82" y="35"/>
                      <a:pt x="82" y="35"/>
                    </a:cubicBezTo>
                    <a:cubicBezTo>
                      <a:pt x="84" y="35"/>
                      <a:pt x="84" y="35"/>
                      <a:pt x="84" y="35"/>
                    </a:cubicBezTo>
                    <a:cubicBezTo>
                      <a:pt x="82" y="39"/>
                      <a:pt x="82" y="39"/>
                      <a:pt x="82" y="39"/>
                    </a:cubicBezTo>
                    <a:cubicBezTo>
                      <a:pt x="81" y="44"/>
                      <a:pt x="81" y="44"/>
                      <a:pt x="81" y="44"/>
                    </a:cubicBezTo>
                    <a:cubicBezTo>
                      <a:pt x="79" y="50"/>
                      <a:pt x="79" y="50"/>
                      <a:pt x="79" y="50"/>
                    </a:cubicBezTo>
                    <a:cubicBezTo>
                      <a:pt x="76" y="51"/>
                      <a:pt x="76" y="51"/>
                      <a:pt x="76" y="51"/>
                    </a:cubicBezTo>
                    <a:cubicBezTo>
                      <a:pt x="76" y="54"/>
                      <a:pt x="76" y="54"/>
                      <a:pt x="76" y="54"/>
                    </a:cubicBezTo>
                    <a:cubicBezTo>
                      <a:pt x="75" y="55"/>
                      <a:pt x="75" y="55"/>
                      <a:pt x="75" y="55"/>
                    </a:cubicBezTo>
                    <a:cubicBezTo>
                      <a:pt x="73" y="55"/>
                      <a:pt x="73" y="55"/>
                      <a:pt x="73" y="55"/>
                    </a:cubicBezTo>
                    <a:cubicBezTo>
                      <a:pt x="71" y="54"/>
                      <a:pt x="71" y="54"/>
                      <a:pt x="71" y="54"/>
                    </a:cubicBezTo>
                    <a:cubicBezTo>
                      <a:pt x="68" y="56"/>
                      <a:pt x="68" y="56"/>
                      <a:pt x="68" y="56"/>
                    </a:cubicBezTo>
                    <a:cubicBezTo>
                      <a:pt x="67" y="59"/>
                      <a:pt x="67" y="59"/>
                      <a:pt x="67" y="59"/>
                    </a:cubicBezTo>
                    <a:cubicBezTo>
                      <a:pt x="65" y="60"/>
                      <a:pt x="65" y="60"/>
                      <a:pt x="65" y="60"/>
                    </a:cubicBezTo>
                    <a:cubicBezTo>
                      <a:pt x="65" y="62"/>
                      <a:pt x="65" y="62"/>
                      <a:pt x="65" y="62"/>
                    </a:cubicBezTo>
                    <a:cubicBezTo>
                      <a:pt x="67" y="67"/>
                      <a:pt x="67" y="67"/>
                      <a:pt x="67" y="67"/>
                    </a:cubicBezTo>
                    <a:cubicBezTo>
                      <a:pt x="69" y="69"/>
                      <a:pt x="69" y="69"/>
                      <a:pt x="69" y="69"/>
                    </a:cubicBezTo>
                    <a:cubicBezTo>
                      <a:pt x="70" y="71"/>
                      <a:pt x="70" y="71"/>
                      <a:pt x="70" y="71"/>
                    </a:cubicBezTo>
                    <a:cubicBezTo>
                      <a:pt x="73" y="73"/>
                      <a:pt x="73" y="73"/>
                      <a:pt x="73" y="73"/>
                    </a:cubicBezTo>
                    <a:cubicBezTo>
                      <a:pt x="76" y="77"/>
                      <a:pt x="76" y="77"/>
                      <a:pt x="76" y="77"/>
                    </a:cubicBezTo>
                    <a:cubicBezTo>
                      <a:pt x="78" y="77"/>
                      <a:pt x="78" y="77"/>
                      <a:pt x="78" y="77"/>
                    </a:cubicBezTo>
                    <a:cubicBezTo>
                      <a:pt x="78" y="74"/>
                      <a:pt x="78" y="74"/>
                      <a:pt x="78" y="74"/>
                    </a:cubicBezTo>
                    <a:cubicBezTo>
                      <a:pt x="77" y="73"/>
                      <a:pt x="77" y="73"/>
                      <a:pt x="77" y="73"/>
                    </a:cubicBezTo>
                    <a:cubicBezTo>
                      <a:pt x="79" y="70"/>
                      <a:pt x="79" y="70"/>
                      <a:pt x="79" y="70"/>
                    </a:cubicBezTo>
                    <a:cubicBezTo>
                      <a:pt x="79" y="68"/>
                      <a:pt x="79" y="68"/>
                      <a:pt x="79" y="68"/>
                    </a:cubicBezTo>
                    <a:cubicBezTo>
                      <a:pt x="80" y="67"/>
                      <a:pt x="80" y="67"/>
                      <a:pt x="80" y="67"/>
                    </a:cubicBezTo>
                    <a:cubicBezTo>
                      <a:pt x="79" y="65"/>
                      <a:pt x="79" y="65"/>
                      <a:pt x="79" y="65"/>
                    </a:cubicBezTo>
                    <a:cubicBezTo>
                      <a:pt x="81" y="64"/>
                      <a:pt x="81" y="64"/>
                      <a:pt x="81" y="64"/>
                    </a:cubicBezTo>
                    <a:cubicBezTo>
                      <a:pt x="83" y="65"/>
                      <a:pt x="83" y="65"/>
                      <a:pt x="83" y="65"/>
                    </a:cubicBezTo>
                    <a:cubicBezTo>
                      <a:pt x="87" y="65"/>
                      <a:pt x="87" y="65"/>
                      <a:pt x="87" y="65"/>
                    </a:cubicBezTo>
                    <a:cubicBezTo>
                      <a:pt x="88" y="67"/>
                      <a:pt x="88" y="67"/>
                      <a:pt x="88" y="67"/>
                    </a:cubicBezTo>
                    <a:cubicBezTo>
                      <a:pt x="89" y="69"/>
                      <a:pt x="89" y="69"/>
                      <a:pt x="89" y="69"/>
                    </a:cubicBezTo>
                    <a:cubicBezTo>
                      <a:pt x="91" y="75"/>
                      <a:pt x="91" y="75"/>
                      <a:pt x="91" y="75"/>
                    </a:cubicBezTo>
                    <a:cubicBezTo>
                      <a:pt x="91" y="78"/>
                      <a:pt x="91" y="78"/>
                      <a:pt x="91" y="78"/>
                    </a:cubicBezTo>
                    <a:cubicBezTo>
                      <a:pt x="92" y="81"/>
                      <a:pt x="92" y="81"/>
                      <a:pt x="92" y="81"/>
                    </a:cubicBezTo>
                    <a:cubicBezTo>
                      <a:pt x="93" y="89"/>
                      <a:pt x="93" y="89"/>
                      <a:pt x="93" y="89"/>
                    </a:cubicBezTo>
                    <a:cubicBezTo>
                      <a:pt x="95" y="94"/>
                      <a:pt x="95" y="94"/>
                      <a:pt x="95" y="94"/>
                    </a:cubicBezTo>
                    <a:cubicBezTo>
                      <a:pt x="96" y="97"/>
                      <a:pt x="96" y="97"/>
                      <a:pt x="96" y="97"/>
                    </a:cubicBezTo>
                    <a:cubicBezTo>
                      <a:pt x="97" y="98"/>
                      <a:pt x="97" y="98"/>
                      <a:pt x="97" y="98"/>
                    </a:cubicBezTo>
                    <a:cubicBezTo>
                      <a:pt x="97" y="100"/>
                      <a:pt x="97" y="100"/>
                      <a:pt x="97" y="100"/>
                    </a:cubicBezTo>
                    <a:cubicBezTo>
                      <a:pt x="98" y="101"/>
                      <a:pt x="98" y="101"/>
                      <a:pt x="98" y="101"/>
                    </a:cubicBezTo>
                    <a:cubicBezTo>
                      <a:pt x="99" y="102"/>
                      <a:pt x="99" y="102"/>
                      <a:pt x="99" y="102"/>
                    </a:cubicBezTo>
                    <a:close/>
                    <a:moveTo>
                      <a:pt x="73" y="87"/>
                    </a:moveTo>
                    <a:cubicBezTo>
                      <a:pt x="71" y="86"/>
                      <a:pt x="71" y="86"/>
                      <a:pt x="71" y="86"/>
                    </a:cubicBezTo>
                    <a:cubicBezTo>
                      <a:pt x="70" y="87"/>
                      <a:pt x="70" y="87"/>
                      <a:pt x="70" y="87"/>
                    </a:cubicBezTo>
                    <a:cubicBezTo>
                      <a:pt x="70" y="91"/>
                      <a:pt x="70" y="91"/>
                      <a:pt x="70" y="91"/>
                    </a:cubicBezTo>
                    <a:cubicBezTo>
                      <a:pt x="72" y="90"/>
                      <a:pt x="72" y="90"/>
                      <a:pt x="72" y="90"/>
                    </a:cubicBezTo>
                    <a:cubicBezTo>
                      <a:pt x="73" y="87"/>
                      <a:pt x="73" y="87"/>
                      <a:pt x="73" y="87"/>
                    </a:cubicBezTo>
                    <a:close/>
                    <a:moveTo>
                      <a:pt x="63" y="86"/>
                    </a:moveTo>
                    <a:cubicBezTo>
                      <a:pt x="65" y="90"/>
                      <a:pt x="65" y="90"/>
                      <a:pt x="65" y="90"/>
                    </a:cubicBezTo>
                    <a:cubicBezTo>
                      <a:pt x="64" y="93"/>
                      <a:pt x="64" y="93"/>
                      <a:pt x="64" y="93"/>
                    </a:cubicBezTo>
                    <a:cubicBezTo>
                      <a:pt x="66" y="96"/>
                      <a:pt x="66" y="96"/>
                      <a:pt x="66" y="96"/>
                    </a:cubicBezTo>
                    <a:cubicBezTo>
                      <a:pt x="68" y="91"/>
                      <a:pt x="68" y="91"/>
                      <a:pt x="68" y="91"/>
                    </a:cubicBezTo>
                    <a:cubicBezTo>
                      <a:pt x="67" y="88"/>
                      <a:pt x="67" y="88"/>
                      <a:pt x="67" y="88"/>
                    </a:cubicBezTo>
                    <a:cubicBezTo>
                      <a:pt x="63" y="84"/>
                      <a:pt x="63" y="84"/>
                      <a:pt x="63" y="84"/>
                    </a:cubicBezTo>
                    <a:cubicBezTo>
                      <a:pt x="63" y="86"/>
                      <a:pt x="63" y="86"/>
                      <a:pt x="63" y="86"/>
                    </a:cubicBezTo>
                    <a:close/>
                    <a:moveTo>
                      <a:pt x="59" y="84"/>
                    </a:moveTo>
                    <a:cubicBezTo>
                      <a:pt x="55" y="85"/>
                      <a:pt x="55" y="85"/>
                      <a:pt x="55" y="85"/>
                    </a:cubicBezTo>
                    <a:cubicBezTo>
                      <a:pt x="55" y="87"/>
                      <a:pt x="55" y="87"/>
                      <a:pt x="55" y="87"/>
                    </a:cubicBezTo>
                    <a:cubicBezTo>
                      <a:pt x="58" y="92"/>
                      <a:pt x="58" y="92"/>
                      <a:pt x="58" y="92"/>
                    </a:cubicBezTo>
                    <a:cubicBezTo>
                      <a:pt x="61" y="92"/>
                      <a:pt x="61" y="92"/>
                      <a:pt x="61" y="92"/>
                    </a:cubicBezTo>
                    <a:cubicBezTo>
                      <a:pt x="61" y="87"/>
                      <a:pt x="61" y="87"/>
                      <a:pt x="61" y="87"/>
                    </a:cubicBezTo>
                    <a:lnTo>
                      <a:pt x="59" y="84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165" name="Freeform 167"/>
              <p:cNvSpPr>
                <a:spLocks/>
              </p:cNvSpPr>
              <p:nvPr userDrawn="1"/>
            </p:nvSpPr>
            <p:spPr bwMode="auto">
              <a:xfrm>
                <a:off x="3310" y="1877"/>
                <a:ext cx="6" cy="6"/>
              </a:xfrm>
              <a:custGeom>
                <a:avLst/>
                <a:gdLst>
                  <a:gd name="T0" fmla="*/ 6 w 6"/>
                  <a:gd name="T1" fmla="*/ 1 h 6"/>
                  <a:gd name="T2" fmla="*/ 4 w 6"/>
                  <a:gd name="T3" fmla="*/ 0 h 6"/>
                  <a:gd name="T4" fmla="*/ 0 w 6"/>
                  <a:gd name="T5" fmla="*/ 6 h 6"/>
                  <a:gd name="T6" fmla="*/ 6 w 6"/>
                  <a:gd name="T7" fmla="*/ 1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" h="6">
                    <a:moveTo>
                      <a:pt x="6" y="1"/>
                    </a:moveTo>
                    <a:lnTo>
                      <a:pt x="4" y="0"/>
                    </a:lnTo>
                    <a:lnTo>
                      <a:pt x="0" y="6"/>
                    </a:lnTo>
                    <a:lnTo>
                      <a:pt x="6" y="1"/>
                    </a:ln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166" name="Freeform 168"/>
              <p:cNvSpPr>
                <a:spLocks/>
              </p:cNvSpPr>
              <p:nvPr userDrawn="1"/>
            </p:nvSpPr>
            <p:spPr bwMode="auto">
              <a:xfrm>
                <a:off x="3310" y="1877"/>
                <a:ext cx="6" cy="6"/>
              </a:xfrm>
              <a:custGeom>
                <a:avLst/>
                <a:gdLst>
                  <a:gd name="T0" fmla="*/ 6 w 6"/>
                  <a:gd name="T1" fmla="*/ 1 h 6"/>
                  <a:gd name="T2" fmla="*/ 4 w 6"/>
                  <a:gd name="T3" fmla="*/ 0 h 6"/>
                  <a:gd name="T4" fmla="*/ 0 w 6"/>
                  <a:gd name="T5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6">
                    <a:moveTo>
                      <a:pt x="6" y="1"/>
                    </a:moveTo>
                    <a:lnTo>
                      <a:pt x="4" y="0"/>
                    </a:lnTo>
                    <a:lnTo>
                      <a:pt x="0" y="6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167" name="Freeform 169"/>
              <p:cNvSpPr>
                <a:spLocks/>
              </p:cNvSpPr>
              <p:nvPr userDrawn="1"/>
            </p:nvSpPr>
            <p:spPr bwMode="auto">
              <a:xfrm>
                <a:off x="3317" y="2233"/>
                <a:ext cx="12" cy="6"/>
              </a:xfrm>
              <a:custGeom>
                <a:avLst/>
                <a:gdLst>
                  <a:gd name="T0" fmla="*/ 0 w 12"/>
                  <a:gd name="T1" fmla="*/ 0 h 6"/>
                  <a:gd name="T2" fmla="*/ 8 w 12"/>
                  <a:gd name="T3" fmla="*/ 3 h 6"/>
                  <a:gd name="T4" fmla="*/ 12 w 12"/>
                  <a:gd name="T5" fmla="*/ 6 h 6"/>
                  <a:gd name="T6" fmla="*/ 0 w 12"/>
                  <a:gd name="T7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2" h="6">
                    <a:moveTo>
                      <a:pt x="0" y="0"/>
                    </a:moveTo>
                    <a:lnTo>
                      <a:pt x="8" y="3"/>
                    </a:lnTo>
                    <a:lnTo>
                      <a:pt x="12" y="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168" name="Freeform 170"/>
              <p:cNvSpPr>
                <a:spLocks/>
              </p:cNvSpPr>
              <p:nvPr userDrawn="1"/>
            </p:nvSpPr>
            <p:spPr bwMode="auto">
              <a:xfrm>
                <a:off x="3317" y="2233"/>
                <a:ext cx="12" cy="6"/>
              </a:xfrm>
              <a:custGeom>
                <a:avLst/>
                <a:gdLst>
                  <a:gd name="T0" fmla="*/ 0 w 12"/>
                  <a:gd name="T1" fmla="*/ 0 h 6"/>
                  <a:gd name="T2" fmla="*/ 8 w 12"/>
                  <a:gd name="T3" fmla="*/ 3 h 6"/>
                  <a:gd name="T4" fmla="*/ 12 w 12"/>
                  <a:gd name="T5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" h="6">
                    <a:moveTo>
                      <a:pt x="0" y="0"/>
                    </a:moveTo>
                    <a:lnTo>
                      <a:pt x="8" y="3"/>
                    </a:lnTo>
                    <a:lnTo>
                      <a:pt x="12" y="6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169" name="Freeform 171"/>
              <p:cNvSpPr>
                <a:spLocks/>
              </p:cNvSpPr>
              <p:nvPr userDrawn="1"/>
            </p:nvSpPr>
            <p:spPr bwMode="auto">
              <a:xfrm>
                <a:off x="4266" y="2180"/>
                <a:ext cx="13" cy="13"/>
              </a:xfrm>
              <a:custGeom>
                <a:avLst/>
                <a:gdLst>
                  <a:gd name="T0" fmla="*/ 13 w 13"/>
                  <a:gd name="T1" fmla="*/ 12 h 13"/>
                  <a:gd name="T2" fmla="*/ 8 w 13"/>
                  <a:gd name="T3" fmla="*/ 13 h 13"/>
                  <a:gd name="T4" fmla="*/ 0 w 13"/>
                  <a:gd name="T5" fmla="*/ 0 h 13"/>
                  <a:gd name="T6" fmla="*/ 13 w 13"/>
                  <a:gd name="T7" fmla="*/ 12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13">
                    <a:moveTo>
                      <a:pt x="13" y="12"/>
                    </a:moveTo>
                    <a:lnTo>
                      <a:pt x="8" y="13"/>
                    </a:lnTo>
                    <a:lnTo>
                      <a:pt x="0" y="0"/>
                    </a:lnTo>
                    <a:lnTo>
                      <a:pt x="13" y="12"/>
                    </a:ln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170" name="Freeform 172"/>
              <p:cNvSpPr>
                <a:spLocks/>
              </p:cNvSpPr>
              <p:nvPr userDrawn="1"/>
            </p:nvSpPr>
            <p:spPr bwMode="auto">
              <a:xfrm>
                <a:off x="4266" y="2180"/>
                <a:ext cx="13" cy="13"/>
              </a:xfrm>
              <a:custGeom>
                <a:avLst/>
                <a:gdLst>
                  <a:gd name="T0" fmla="*/ 13 w 13"/>
                  <a:gd name="T1" fmla="*/ 12 h 13"/>
                  <a:gd name="T2" fmla="*/ 8 w 13"/>
                  <a:gd name="T3" fmla="*/ 13 h 13"/>
                  <a:gd name="T4" fmla="*/ 0 w 13"/>
                  <a:gd name="T5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13">
                    <a:moveTo>
                      <a:pt x="13" y="12"/>
                    </a:moveTo>
                    <a:lnTo>
                      <a:pt x="8" y="13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171" name="Freeform 173"/>
              <p:cNvSpPr>
                <a:spLocks/>
              </p:cNvSpPr>
              <p:nvPr userDrawn="1"/>
            </p:nvSpPr>
            <p:spPr bwMode="auto">
              <a:xfrm>
                <a:off x="4323" y="2384"/>
                <a:ext cx="7" cy="5"/>
              </a:xfrm>
              <a:custGeom>
                <a:avLst/>
                <a:gdLst>
                  <a:gd name="T0" fmla="*/ 0 w 7"/>
                  <a:gd name="T1" fmla="*/ 0 h 5"/>
                  <a:gd name="T2" fmla="*/ 6 w 7"/>
                  <a:gd name="T3" fmla="*/ 5 h 5"/>
                  <a:gd name="T4" fmla="*/ 7 w 7"/>
                  <a:gd name="T5" fmla="*/ 3 h 5"/>
                  <a:gd name="T6" fmla="*/ 0 w 7"/>
                  <a:gd name="T7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5">
                    <a:moveTo>
                      <a:pt x="0" y="0"/>
                    </a:moveTo>
                    <a:lnTo>
                      <a:pt x="6" y="5"/>
                    </a:lnTo>
                    <a:lnTo>
                      <a:pt x="7" y="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172" name="Freeform 174"/>
              <p:cNvSpPr>
                <a:spLocks/>
              </p:cNvSpPr>
              <p:nvPr userDrawn="1"/>
            </p:nvSpPr>
            <p:spPr bwMode="auto">
              <a:xfrm>
                <a:off x="4323" y="2384"/>
                <a:ext cx="7" cy="5"/>
              </a:xfrm>
              <a:custGeom>
                <a:avLst/>
                <a:gdLst>
                  <a:gd name="T0" fmla="*/ 0 w 7"/>
                  <a:gd name="T1" fmla="*/ 0 h 5"/>
                  <a:gd name="T2" fmla="*/ 6 w 7"/>
                  <a:gd name="T3" fmla="*/ 5 h 5"/>
                  <a:gd name="T4" fmla="*/ 7 w 7"/>
                  <a:gd name="T5" fmla="*/ 3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5">
                    <a:moveTo>
                      <a:pt x="0" y="0"/>
                    </a:moveTo>
                    <a:lnTo>
                      <a:pt x="6" y="5"/>
                    </a:lnTo>
                    <a:lnTo>
                      <a:pt x="7" y="3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173" name="Freeform 175"/>
              <p:cNvSpPr>
                <a:spLocks/>
              </p:cNvSpPr>
              <p:nvPr userDrawn="1"/>
            </p:nvSpPr>
            <p:spPr bwMode="auto">
              <a:xfrm>
                <a:off x="4099" y="2312"/>
                <a:ext cx="2" cy="10"/>
              </a:xfrm>
              <a:custGeom>
                <a:avLst/>
                <a:gdLst>
                  <a:gd name="T0" fmla="*/ 0 w 2"/>
                  <a:gd name="T1" fmla="*/ 10 h 10"/>
                  <a:gd name="T2" fmla="*/ 1 w 2"/>
                  <a:gd name="T3" fmla="*/ 4 h 10"/>
                  <a:gd name="T4" fmla="*/ 2 w 2"/>
                  <a:gd name="T5" fmla="*/ 0 h 10"/>
                  <a:gd name="T6" fmla="*/ 0 w 2"/>
                  <a:gd name="T7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10">
                    <a:moveTo>
                      <a:pt x="0" y="10"/>
                    </a:moveTo>
                    <a:lnTo>
                      <a:pt x="1" y="4"/>
                    </a:lnTo>
                    <a:lnTo>
                      <a:pt x="2" y="0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174" name="Freeform 176"/>
              <p:cNvSpPr>
                <a:spLocks/>
              </p:cNvSpPr>
              <p:nvPr userDrawn="1"/>
            </p:nvSpPr>
            <p:spPr bwMode="auto">
              <a:xfrm>
                <a:off x="4099" y="2312"/>
                <a:ext cx="2" cy="10"/>
              </a:xfrm>
              <a:custGeom>
                <a:avLst/>
                <a:gdLst>
                  <a:gd name="T0" fmla="*/ 0 w 2"/>
                  <a:gd name="T1" fmla="*/ 10 h 10"/>
                  <a:gd name="T2" fmla="*/ 1 w 2"/>
                  <a:gd name="T3" fmla="*/ 4 h 10"/>
                  <a:gd name="T4" fmla="*/ 2 w 2"/>
                  <a:gd name="T5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10">
                    <a:moveTo>
                      <a:pt x="0" y="10"/>
                    </a:moveTo>
                    <a:lnTo>
                      <a:pt x="1" y="4"/>
                    </a:lnTo>
                    <a:lnTo>
                      <a:pt x="2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175" name="Freeform 177"/>
              <p:cNvSpPr>
                <a:spLocks/>
              </p:cNvSpPr>
              <p:nvPr userDrawn="1"/>
            </p:nvSpPr>
            <p:spPr bwMode="auto">
              <a:xfrm>
                <a:off x="4385" y="2465"/>
                <a:ext cx="2" cy="5"/>
              </a:xfrm>
              <a:custGeom>
                <a:avLst/>
                <a:gdLst>
                  <a:gd name="T0" fmla="*/ 2 w 2"/>
                  <a:gd name="T1" fmla="*/ 5 h 5"/>
                  <a:gd name="T2" fmla="*/ 2 w 2"/>
                  <a:gd name="T3" fmla="*/ 2 h 5"/>
                  <a:gd name="T4" fmla="*/ 0 w 2"/>
                  <a:gd name="T5" fmla="*/ 0 h 5"/>
                  <a:gd name="T6" fmla="*/ 2 w 2"/>
                  <a:gd name="T7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5">
                    <a:moveTo>
                      <a:pt x="2" y="5"/>
                    </a:moveTo>
                    <a:lnTo>
                      <a:pt x="2" y="2"/>
                    </a:lnTo>
                    <a:lnTo>
                      <a:pt x="0" y="0"/>
                    </a:lnTo>
                    <a:lnTo>
                      <a:pt x="2" y="5"/>
                    </a:ln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176" name="Freeform 178"/>
              <p:cNvSpPr>
                <a:spLocks/>
              </p:cNvSpPr>
              <p:nvPr userDrawn="1"/>
            </p:nvSpPr>
            <p:spPr bwMode="auto">
              <a:xfrm>
                <a:off x="4385" y="2465"/>
                <a:ext cx="2" cy="5"/>
              </a:xfrm>
              <a:custGeom>
                <a:avLst/>
                <a:gdLst>
                  <a:gd name="T0" fmla="*/ 2 w 2"/>
                  <a:gd name="T1" fmla="*/ 5 h 5"/>
                  <a:gd name="T2" fmla="*/ 2 w 2"/>
                  <a:gd name="T3" fmla="*/ 2 h 5"/>
                  <a:gd name="T4" fmla="*/ 0 w 2"/>
                  <a:gd name="T5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5">
                    <a:moveTo>
                      <a:pt x="2" y="5"/>
                    </a:moveTo>
                    <a:lnTo>
                      <a:pt x="2" y="2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177" name="Freeform 179"/>
              <p:cNvSpPr>
                <a:spLocks/>
              </p:cNvSpPr>
              <p:nvPr userDrawn="1"/>
            </p:nvSpPr>
            <p:spPr bwMode="auto">
              <a:xfrm>
                <a:off x="3239" y="2423"/>
                <a:ext cx="74" cy="1"/>
              </a:xfrm>
              <a:custGeom>
                <a:avLst/>
                <a:gdLst>
                  <a:gd name="T0" fmla="*/ 74 w 74"/>
                  <a:gd name="T1" fmla="*/ 1 h 1"/>
                  <a:gd name="T2" fmla="*/ 0 w 74"/>
                  <a:gd name="T3" fmla="*/ 0 h 1"/>
                  <a:gd name="T4" fmla="*/ 74 w 74"/>
                  <a:gd name="T5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4" h="1">
                    <a:moveTo>
                      <a:pt x="74" y="1"/>
                    </a:moveTo>
                    <a:lnTo>
                      <a:pt x="0" y="0"/>
                    </a:lnTo>
                    <a:lnTo>
                      <a:pt x="74" y="1"/>
                    </a:ln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178" name="Line 180"/>
              <p:cNvSpPr>
                <a:spLocks noChangeShapeType="1"/>
              </p:cNvSpPr>
              <p:nvPr userDrawn="1"/>
            </p:nvSpPr>
            <p:spPr bwMode="auto">
              <a:xfrm flipH="1" flipV="1">
                <a:off x="3239" y="2423"/>
                <a:ext cx="74" cy="1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179" name="Freeform 181"/>
              <p:cNvSpPr>
                <a:spLocks/>
              </p:cNvSpPr>
              <p:nvPr userDrawn="1"/>
            </p:nvSpPr>
            <p:spPr bwMode="auto">
              <a:xfrm>
                <a:off x="3357" y="2473"/>
                <a:ext cx="14" cy="156"/>
              </a:xfrm>
              <a:custGeom>
                <a:avLst/>
                <a:gdLst>
                  <a:gd name="T0" fmla="*/ 0 w 14"/>
                  <a:gd name="T1" fmla="*/ 0 h 156"/>
                  <a:gd name="T2" fmla="*/ 14 w 14"/>
                  <a:gd name="T3" fmla="*/ 156 h 156"/>
                  <a:gd name="T4" fmla="*/ 0 w 14"/>
                  <a:gd name="T5" fmla="*/ 0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4" h="156">
                    <a:moveTo>
                      <a:pt x="0" y="0"/>
                    </a:moveTo>
                    <a:lnTo>
                      <a:pt x="14" y="15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180" name="Line 182"/>
              <p:cNvSpPr>
                <a:spLocks noChangeShapeType="1"/>
              </p:cNvSpPr>
              <p:nvPr userDrawn="1"/>
            </p:nvSpPr>
            <p:spPr bwMode="auto">
              <a:xfrm>
                <a:off x="3357" y="2473"/>
                <a:ext cx="14" cy="156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181" name="Freeform 183"/>
              <p:cNvSpPr>
                <a:spLocks/>
              </p:cNvSpPr>
              <p:nvPr userDrawn="1"/>
            </p:nvSpPr>
            <p:spPr bwMode="auto">
              <a:xfrm>
                <a:off x="3151" y="2625"/>
                <a:ext cx="119" cy="84"/>
              </a:xfrm>
              <a:custGeom>
                <a:avLst/>
                <a:gdLst>
                  <a:gd name="T0" fmla="*/ 20 w 119"/>
                  <a:gd name="T1" fmla="*/ 8 h 84"/>
                  <a:gd name="T2" fmla="*/ 27 w 119"/>
                  <a:gd name="T3" fmla="*/ 5 h 84"/>
                  <a:gd name="T4" fmla="*/ 46 w 119"/>
                  <a:gd name="T5" fmla="*/ 0 h 84"/>
                  <a:gd name="T6" fmla="*/ 58 w 119"/>
                  <a:gd name="T7" fmla="*/ 3 h 84"/>
                  <a:gd name="T8" fmla="*/ 67 w 119"/>
                  <a:gd name="T9" fmla="*/ 8 h 84"/>
                  <a:gd name="T10" fmla="*/ 69 w 119"/>
                  <a:gd name="T11" fmla="*/ 11 h 84"/>
                  <a:gd name="T12" fmla="*/ 74 w 119"/>
                  <a:gd name="T13" fmla="*/ 11 h 84"/>
                  <a:gd name="T14" fmla="*/ 79 w 119"/>
                  <a:gd name="T15" fmla="*/ 12 h 84"/>
                  <a:gd name="T16" fmla="*/ 83 w 119"/>
                  <a:gd name="T17" fmla="*/ 20 h 84"/>
                  <a:gd name="T18" fmla="*/ 87 w 119"/>
                  <a:gd name="T19" fmla="*/ 25 h 84"/>
                  <a:gd name="T20" fmla="*/ 91 w 119"/>
                  <a:gd name="T21" fmla="*/ 29 h 84"/>
                  <a:gd name="T22" fmla="*/ 97 w 119"/>
                  <a:gd name="T23" fmla="*/ 35 h 84"/>
                  <a:gd name="T24" fmla="*/ 100 w 119"/>
                  <a:gd name="T25" fmla="*/ 40 h 84"/>
                  <a:gd name="T26" fmla="*/ 99 w 119"/>
                  <a:gd name="T27" fmla="*/ 50 h 84"/>
                  <a:gd name="T28" fmla="*/ 103 w 119"/>
                  <a:gd name="T29" fmla="*/ 56 h 84"/>
                  <a:gd name="T30" fmla="*/ 108 w 119"/>
                  <a:gd name="T31" fmla="*/ 63 h 84"/>
                  <a:gd name="T32" fmla="*/ 112 w 119"/>
                  <a:gd name="T33" fmla="*/ 64 h 84"/>
                  <a:gd name="T34" fmla="*/ 116 w 119"/>
                  <a:gd name="T35" fmla="*/ 69 h 84"/>
                  <a:gd name="T36" fmla="*/ 114 w 119"/>
                  <a:gd name="T37" fmla="*/ 73 h 84"/>
                  <a:gd name="T38" fmla="*/ 119 w 119"/>
                  <a:gd name="T39" fmla="*/ 78 h 84"/>
                  <a:gd name="T40" fmla="*/ 118 w 119"/>
                  <a:gd name="T41" fmla="*/ 84 h 84"/>
                  <a:gd name="T42" fmla="*/ 114 w 119"/>
                  <a:gd name="T43" fmla="*/ 81 h 84"/>
                  <a:gd name="T44" fmla="*/ 108 w 119"/>
                  <a:gd name="T45" fmla="*/ 78 h 84"/>
                  <a:gd name="T46" fmla="*/ 100 w 119"/>
                  <a:gd name="T47" fmla="*/ 78 h 84"/>
                  <a:gd name="T48" fmla="*/ 91 w 119"/>
                  <a:gd name="T49" fmla="*/ 76 h 84"/>
                  <a:gd name="T50" fmla="*/ 72 w 119"/>
                  <a:gd name="T51" fmla="*/ 72 h 84"/>
                  <a:gd name="T52" fmla="*/ 68 w 119"/>
                  <a:gd name="T53" fmla="*/ 73 h 84"/>
                  <a:gd name="T54" fmla="*/ 47 w 119"/>
                  <a:gd name="T55" fmla="*/ 71 h 84"/>
                  <a:gd name="T56" fmla="*/ 36 w 119"/>
                  <a:gd name="T57" fmla="*/ 78 h 84"/>
                  <a:gd name="T58" fmla="*/ 18 w 119"/>
                  <a:gd name="T59" fmla="*/ 80 h 84"/>
                  <a:gd name="T60" fmla="*/ 15 w 119"/>
                  <a:gd name="T61" fmla="*/ 75 h 84"/>
                  <a:gd name="T62" fmla="*/ 15 w 119"/>
                  <a:gd name="T63" fmla="*/ 75 h 84"/>
                  <a:gd name="T64" fmla="*/ 22 w 119"/>
                  <a:gd name="T65" fmla="*/ 73 h 84"/>
                  <a:gd name="T66" fmla="*/ 12 w 119"/>
                  <a:gd name="T67" fmla="*/ 73 h 84"/>
                  <a:gd name="T68" fmla="*/ 13 w 119"/>
                  <a:gd name="T69" fmla="*/ 71 h 84"/>
                  <a:gd name="T70" fmla="*/ 15 w 119"/>
                  <a:gd name="T71" fmla="*/ 65 h 84"/>
                  <a:gd name="T72" fmla="*/ 29 w 119"/>
                  <a:gd name="T73" fmla="*/ 61 h 84"/>
                  <a:gd name="T74" fmla="*/ 36 w 119"/>
                  <a:gd name="T75" fmla="*/ 57 h 84"/>
                  <a:gd name="T76" fmla="*/ 39 w 119"/>
                  <a:gd name="T77" fmla="*/ 59 h 84"/>
                  <a:gd name="T78" fmla="*/ 44 w 119"/>
                  <a:gd name="T79" fmla="*/ 56 h 84"/>
                  <a:gd name="T80" fmla="*/ 53 w 119"/>
                  <a:gd name="T81" fmla="*/ 59 h 84"/>
                  <a:gd name="T82" fmla="*/ 63 w 119"/>
                  <a:gd name="T83" fmla="*/ 63 h 84"/>
                  <a:gd name="T84" fmla="*/ 68 w 119"/>
                  <a:gd name="T85" fmla="*/ 61 h 84"/>
                  <a:gd name="T86" fmla="*/ 65 w 119"/>
                  <a:gd name="T87" fmla="*/ 59 h 84"/>
                  <a:gd name="T88" fmla="*/ 54 w 119"/>
                  <a:gd name="T89" fmla="*/ 53 h 84"/>
                  <a:gd name="T90" fmla="*/ 43 w 119"/>
                  <a:gd name="T91" fmla="*/ 50 h 84"/>
                  <a:gd name="T92" fmla="*/ 36 w 119"/>
                  <a:gd name="T93" fmla="*/ 51 h 84"/>
                  <a:gd name="T94" fmla="*/ 25 w 119"/>
                  <a:gd name="T95" fmla="*/ 56 h 84"/>
                  <a:gd name="T96" fmla="*/ 15 w 119"/>
                  <a:gd name="T97" fmla="*/ 57 h 84"/>
                  <a:gd name="T98" fmla="*/ 17 w 119"/>
                  <a:gd name="T99" fmla="*/ 54 h 84"/>
                  <a:gd name="T100" fmla="*/ 15 w 119"/>
                  <a:gd name="T101" fmla="*/ 50 h 84"/>
                  <a:gd name="T102" fmla="*/ 11 w 119"/>
                  <a:gd name="T103" fmla="*/ 47 h 84"/>
                  <a:gd name="T104" fmla="*/ 0 w 119"/>
                  <a:gd name="T105" fmla="*/ 35 h 84"/>
                  <a:gd name="T106" fmla="*/ 16 w 119"/>
                  <a:gd name="T107" fmla="*/ 17 h 84"/>
                  <a:gd name="T108" fmla="*/ 17 w 119"/>
                  <a:gd name="T109" fmla="*/ 1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19" h="84">
                    <a:moveTo>
                      <a:pt x="17" y="10"/>
                    </a:moveTo>
                    <a:lnTo>
                      <a:pt x="20" y="8"/>
                    </a:lnTo>
                    <a:lnTo>
                      <a:pt x="23" y="8"/>
                    </a:lnTo>
                    <a:lnTo>
                      <a:pt x="27" y="5"/>
                    </a:lnTo>
                    <a:lnTo>
                      <a:pt x="36" y="4"/>
                    </a:lnTo>
                    <a:lnTo>
                      <a:pt x="46" y="0"/>
                    </a:lnTo>
                    <a:lnTo>
                      <a:pt x="50" y="0"/>
                    </a:lnTo>
                    <a:lnTo>
                      <a:pt x="58" y="3"/>
                    </a:lnTo>
                    <a:lnTo>
                      <a:pt x="63" y="4"/>
                    </a:lnTo>
                    <a:lnTo>
                      <a:pt x="67" y="8"/>
                    </a:lnTo>
                    <a:lnTo>
                      <a:pt x="67" y="10"/>
                    </a:lnTo>
                    <a:lnTo>
                      <a:pt x="69" y="11"/>
                    </a:lnTo>
                    <a:lnTo>
                      <a:pt x="73" y="10"/>
                    </a:lnTo>
                    <a:lnTo>
                      <a:pt x="74" y="11"/>
                    </a:lnTo>
                    <a:lnTo>
                      <a:pt x="77" y="10"/>
                    </a:lnTo>
                    <a:lnTo>
                      <a:pt x="79" y="12"/>
                    </a:lnTo>
                    <a:lnTo>
                      <a:pt x="79" y="16"/>
                    </a:lnTo>
                    <a:lnTo>
                      <a:pt x="83" y="20"/>
                    </a:lnTo>
                    <a:lnTo>
                      <a:pt x="83" y="24"/>
                    </a:lnTo>
                    <a:lnTo>
                      <a:pt x="87" y="25"/>
                    </a:lnTo>
                    <a:lnTo>
                      <a:pt x="88" y="28"/>
                    </a:lnTo>
                    <a:lnTo>
                      <a:pt x="91" y="29"/>
                    </a:lnTo>
                    <a:lnTo>
                      <a:pt x="96" y="32"/>
                    </a:lnTo>
                    <a:lnTo>
                      <a:pt x="97" y="35"/>
                    </a:lnTo>
                    <a:lnTo>
                      <a:pt x="100" y="37"/>
                    </a:lnTo>
                    <a:lnTo>
                      <a:pt x="100" y="40"/>
                    </a:lnTo>
                    <a:lnTo>
                      <a:pt x="101" y="43"/>
                    </a:lnTo>
                    <a:lnTo>
                      <a:pt x="99" y="50"/>
                    </a:lnTo>
                    <a:lnTo>
                      <a:pt x="100" y="52"/>
                    </a:lnTo>
                    <a:lnTo>
                      <a:pt x="103" y="56"/>
                    </a:lnTo>
                    <a:lnTo>
                      <a:pt x="105" y="61"/>
                    </a:lnTo>
                    <a:lnTo>
                      <a:pt x="108" y="63"/>
                    </a:lnTo>
                    <a:lnTo>
                      <a:pt x="110" y="62"/>
                    </a:lnTo>
                    <a:lnTo>
                      <a:pt x="112" y="64"/>
                    </a:lnTo>
                    <a:lnTo>
                      <a:pt x="113" y="67"/>
                    </a:lnTo>
                    <a:lnTo>
                      <a:pt x="116" y="69"/>
                    </a:lnTo>
                    <a:lnTo>
                      <a:pt x="115" y="71"/>
                    </a:lnTo>
                    <a:lnTo>
                      <a:pt x="114" y="73"/>
                    </a:lnTo>
                    <a:lnTo>
                      <a:pt x="114" y="76"/>
                    </a:lnTo>
                    <a:lnTo>
                      <a:pt x="119" y="78"/>
                    </a:lnTo>
                    <a:lnTo>
                      <a:pt x="119" y="81"/>
                    </a:lnTo>
                    <a:lnTo>
                      <a:pt x="118" y="84"/>
                    </a:lnTo>
                    <a:lnTo>
                      <a:pt x="118" y="81"/>
                    </a:lnTo>
                    <a:lnTo>
                      <a:pt x="114" y="81"/>
                    </a:lnTo>
                    <a:lnTo>
                      <a:pt x="112" y="79"/>
                    </a:lnTo>
                    <a:lnTo>
                      <a:pt x="108" y="78"/>
                    </a:lnTo>
                    <a:lnTo>
                      <a:pt x="105" y="80"/>
                    </a:lnTo>
                    <a:lnTo>
                      <a:pt x="100" y="78"/>
                    </a:lnTo>
                    <a:lnTo>
                      <a:pt x="94" y="78"/>
                    </a:lnTo>
                    <a:lnTo>
                      <a:pt x="91" y="76"/>
                    </a:lnTo>
                    <a:lnTo>
                      <a:pt x="83" y="72"/>
                    </a:lnTo>
                    <a:lnTo>
                      <a:pt x="72" y="72"/>
                    </a:lnTo>
                    <a:lnTo>
                      <a:pt x="68" y="72"/>
                    </a:lnTo>
                    <a:lnTo>
                      <a:pt x="68" y="73"/>
                    </a:lnTo>
                    <a:lnTo>
                      <a:pt x="63" y="71"/>
                    </a:lnTo>
                    <a:lnTo>
                      <a:pt x="47" y="71"/>
                    </a:lnTo>
                    <a:lnTo>
                      <a:pt x="40" y="74"/>
                    </a:lnTo>
                    <a:lnTo>
                      <a:pt x="36" y="78"/>
                    </a:lnTo>
                    <a:lnTo>
                      <a:pt x="25" y="77"/>
                    </a:lnTo>
                    <a:lnTo>
                      <a:pt x="18" y="80"/>
                    </a:lnTo>
                    <a:lnTo>
                      <a:pt x="15" y="79"/>
                    </a:lnTo>
                    <a:lnTo>
                      <a:pt x="15" y="75"/>
                    </a:lnTo>
                    <a:lnTo>
                      <a:pt x="13" y="74"/>
                    </a:lnTo>
                    <a:lnTo>
                      <a:pt x="15" y="75"/>
                    </a:lnTo>
                    <a:lnTo>
                      <a:pt x="18" y="75"/>
                    </a:lnTo>
                    <a:lnTo>
                      <a:pt x="22" y="73"/>
                    </a:lnTo>
                    <a:lnTo>
                      <a:pt x="15" y="71"/>
                    </a:lnTo>
                    <a:lnTo>
                      <a:pt x="12" y="73"/>
                    </a:lnTo>
                    <a:lnTo>
                      <a:pt x="11" y="72"/>
                    </a:lnTo>
                    <a:lnTo>
                      <a:pt x="13" y="71"/>
                    </a:lnTo>
                    <a:lnTo>
                      <a:pt x="13" y="66"/>
                    </a:lnTo>
                    <a:lnTo>
                      <a:pt x="15" y="65"/>
                    </a:lnTo>
                    <a:lnTo>
                      <a:pt x="25" y="65"/>
                    </a:lnTo>
                    <a:lnTo>
                      <a:pt x="29" y="61"/>
                    </a:lnTo>
                    <a:lnTo>
                      <a:pt x="32" y="60"/>
                    </a:lnTo>
                    <a:lnTo>
                      <a:pt x="36" y="57"/>
                    </a:lnTo>
                    <a:lnTo>
                      <a:pt x="38" y="58"/>
                    </a:lnTo>
                    <a:lnTo>
                      <a:pt x="39" y="59"/>
                    </a:lnTo>
                    <a:lnTo>
                      <a:pt x="42" y="56"/>
                    </a:lnTo>
                    <a:lnTo>
                      <a:pt x="44" y="56"/>
                    </a:lnTo>
                    <a:lnTo>
                      <a:pt x="49" y="59"/>
                    </a:lnTo>
                    <a:lnTo>
                      <a:pt x="53" y="59"/>
                    </a:lnTo>
                    <a:lnTo>
                      <a:pt x="58" y="60"/>
                    </a:lnTo>
                    <a:lnTo>
                      <a:pt x="63" y="63"/>
                    </a:lnTo>
                    <a:lnTo>
                      <a:pt x="67" y="63"/>
                    </a:lnTo>
                    <a:lnTo>
                      <a:pt x="68" y="61"/>
                    </a:lnTo>
                    <a:lnTo>
                      <a:pt x="67" y="58"/>
                    </a:lnTo>
                    <a:lnTo>
                      <a:pt x="65" y="59"/>
                    </a:lnTo>
                    <a:lnTo>
                      <a:pt x="58" y="53"/>
                    </a:lnTo>
                    <a:lnTo>
                      <a:pt x="54" y="53"/>
                    </a:lnTo>
                    <a:lnTo>
                      <a:pt x="48" y="50"/>
                    </a:lnTo>
                    <a:lnTo>
                      <a:pt x="43" y="50"/>
                    </a:lnTo>
                    <a:lnTo>
                      <a:pt x="40" y="49"/>
                    </a:lnTo>
                    <a:lnTo>
                      <a:pt x="36" y="51"/>
                    </a:lnTo>
                    <a:lnTo>
                      <a:pt x="29" y="56"/>
                    </a:lnTo>
                    <a:lnTo>
                      <a:pt x="25" y="56"/>
                    </a:lnTo>
                    <a:lnTo>
                      <a:pt x="23" y="57"/>
                    </a:lnTo>
                    <a:lnTo>
                      <a:pt x="15" y="57"/>
                    </a:lnTo>
                    <a:lnTo>
                      <a:pt x="15" y="55"/>
                    </a:lnTo>
                    <a:lnTo>
                      <a:pt x="17" y="54"/>
                    </a:lnTo>
                    <a:lnTo>
                      <a:pt x="13" y="51"/>
                    </a:lnTo>
                    <a:lnTo>
                      <a:pt x="15" y="50"/>
                    </a:lnTo>
                    <a:lnTo>
                      <a:pt x="15" y="48"/>
                    </a:lnTo>
                    <a:lnTo>
                      <a:pt x="11" y="47"/>
                    </a:lnTo>
                    <a:lnTo>
                      <a:pt x="7" y="40"/>
                    </a:lnTo>
                    <a:lnTo>
                      <a:pt x="0" y="35"/>
                    </a:lnTo>
                    <a:lnTo>
                      <a:pt x="12" y="25"/>
                    </a:lnTo>
                    <a:lnTo>
                      <a:pt x="16" y="17"/>
                    </a:lnTo>
                    <a:lnTo>
                      <a:pt x="17" y="10"/>
                    </a:lnTo>
                    <a:lnTo>
                      <a:pt x="17" y="10"/>
                    </a:lnTo>
                    <a:close/>
                  </a:path>
                </a:pathLst>
              </a:custGeom>
              <a:solidFill>
                <a:schemeClr val="accent2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182" name="Freeform 184"/>
              <p:cNvSpPr>
                <a:spLocks/>
              </p:cNvSpPr>
              <p:nvPr userDrawn="1"/>
            </p:nvSpPr>
            <p:spPr bwMode="auto">
              <a:xfrm>
                <a:off x="3166" y="2696"/>
                <a:ext cx="55" cy="34"/>
              </a:xfrm>
              <a:custGeom>
                <a:avLst/>
                <a:gdLst>
                  <a:gd name="T0" fmla="*/ 0 w 55"/>
                  <a:gd name="T1" fmla="*/ 8 h 34"/>
                  <a:gd name="T2" fmla="*/ 3 w 55"/>
                  <a:gd name="T3" fmla="*/ 9 h 34"/>
                  <a:gd name="T4" fmla="*/ 10 w 55"/>
                  <a:gd name="T5" fmla="*/ 6 h 34"/>
                  <a:gd name="T6" fmla="*/ 21 w 55"/>
                  <a:gd name="T7" fmla="*/ 7 h 34"/>
                  <a:gd name="T8" fmla="*/ 25 w 55"/>
                  <a:gd name="T9" fmla="*/ 3 h 34"/>
                  <a:gd name="T10" fmla="*/ 32 w 55"/>
                  <a:gd name="T11" fmla="*/ 0 h 34"/>
                  <a:gd name="T12" fmla="*/ 48 w 55"/>
                  <a:gd name="T13" fmla="*/ 0 h 34"/>
                  <a:gd name="T14" fmla="*/ 53 w 55"/>
                  <a:gd name="T15" fmla="*/ 2 h 34"/>
                  <a:gd name="T16" fmla="*/ 54 w 55"/>
                  <a:gd name="T17" fmla="*/ 7 h 34"/>
                  <a:gd name="T18" fmla="*/ 53 w 55"/>
                  <a:gd name="T19" fmla="*/ 10 h 34"/>
                  <a:gd name="T20" fmla="*/ 53 w 55"/>
                  <a:gd name="T21" fmla="*/ 16 h 34"/>
                  <a:gd name="T22" fmla="*/ 55 w 55"/>
                  <a:gd name="T23" fmla="*/ 18 h 34"/>
                  <a:gd name="T24" fmla="*/ 55 w 55"/>
                  <a:gd name="T25" fmla="*/ 22 h 34"/>
                  <a:gd name="T26" fmla="*/ 52 w 55"/>
                  <a:gd name="T27" fmla="*/ 23 h 34"/>
                  <a:gd name="T28" fmla="*/ 45 w 55"/>
                  <a:gd name="T29" fmla="*/ 24 h 34"/>
                  <a:gd name="T30" fmla="*/ 41 w 55"/>
                  <a:gd name="T31" fmla="*/ 27 h 34"/>
                  <a:gd name="T32" fmla="*/ 37 w 55"/>
                  <a:gd name="T33" fmla="*/ 28 h 34"/>
                  <a:gd name="T34" fmla="*/ 35 w 55"/>
                  <a:gd name="T35" fmla="*/ 33 h 34"/>
                  <a:gd name="T36" fmla="*/ 30 w 55"/>
                  <a:gd name="T37" fmla="*/ 34 h 34"/>
                  <a:gd name="T38" fmla="*/ 29 w 55"/>
                  <a:gd name="T39" fmla="*/ 33 h 34"/>
                  <a:gd name="T40" fmla="*/ 30 w 55"/>
                  <a:gd name="T41" fmla="*/ 30 h 34"/>
                  <a:gd name="T42" fmla="*/ 22 w 55"/>
                  <a:gd name="T43" fmla="*/ 31 h 34"/>
                  <a:gd name="T44" fmla="*/ 26 w 55"/>
                  <a:gd name="T45" fmla="*/ 26 h 34"/>
                  <a:gd name="T46" fmla="*/ 24 w 55"/>
                  <a:gd name="T47" fmla="*/ 26 h 34"/>
                  <a:gd name="T48" fmla="*/ 25 w 55"/>
                  <a:gd name="T49" fmla="*/ 24 h 34"/>
                  <a:gd name="T50" fmla="*/ 23 w 55"/>
                  <a:gd name="T51" fmla="*/ 22 h 34"/>
                  <a:gd name="T52" fmla="*/ 21 w 55"/>
                  <a:gd name="T53" fmla="*/ 22 h 34"/>
                  <a:gd name="T54" fmla="*/ 20 w 55"/>
                  <a:gd name="T55" fmla="*/ 21 h 34"/>
                  <a:gd name="T56" fmla="*/ 29 w 55"/>
                  <a:gd name="T57" fmla="*/ 21 h 34"/>
                  <a:gd name="T58" fmla="*/ 30 w 55"/>
                  <a:gd name="T59" fmla="*/ 20 h 34"/>
                  <a:gd name="T60" fmla="*/ 25 w 55"/>
                  <a:gd name="T61" fmla="*/ 17 h 34"/>
                  <a:gd name="T62" fmla="*/ 21 w 55"/>
                  <a:gd name="T63" fmla="*/ 18 h 34"/>
                  <a:gd name="T64" fmla="*/ 16 w 55"/>
                  <a:gd name="T65" fmla="*/ 20 h 34"/>
                  <a:gd name="T66" fmla="*/ 14 w 55"/>
                  <a:gd name="T67" fmla="*/ 19 h 34"/>
                  <a:gd name="T68" fmla="*/ 13 w 55"/>
                  <a:gd name="T69" fmla="*/ 17 h 34"/>
                  <a:gd name="T70" fmla="*/ 9 w 55"/>
                  <a:gd name="T71" fmla="*/ 17 h 34"/>
                  <a:gd name="T72" fmla="*/ 6 w 55"/>
                  <a:gd name="T73" fmla="*/ 14 h 34"/>
                  <a:gd name="T74" fmla="*/ 9 w 55"/>
                  <a:gd name="T75" fmla="*/ 11 h 34"/>
                  <a:gd name="T76" fmla="*/ 7 w 55"/>
                  <a:gd name="T77" fmla="*/ 11 h 34"/>
                  <a:gd name="T78" fmla="*/ 0 w 55"/>
                  <a:gd name="T79" fmla="*/ 11 h 34"/>
                  <a:gd name="T80" fmla="*/ 0 w 55"/>
                  <a:gd name="T81" fmla="*/ 8 h 34"/>
                  <a:gd name="T82" fmla="*/ 0 w 55"/>
                  <a:gd name="T83" fmla="*/ 8 h 34"/>
                  <a:gd name="T84" fmla="*/ 0 w 55"/>
                  <a:gd name="T85" fmla="*/ 8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55" h="34">
                    <a:moveTo>
                      <a:pt x="0" y="8"/>
                    </a:moveTo>
                    <a:lnTo>
                      <a:pt x="3" y="9"/>
                    </a:lnTo>
                    <a:lnTo>
                      <a:pt x="10" y="6"/>
                    </a:lnTo>
                    <a:lnTo>
                      <a:pt x="21" y="7"/>
                    </a:lnTo>
                    <a:lnTo>
                      <a:pt x="25" y="3"/>
                    </a:lnTo>
                    <a:lnTo>
                      <a:pt x="32" y="0"/>
                    </a:lnTo>
                    <a:lnTo>
                      <a:pt x="48" y="0"/>
                    </a:lnTo>
                    <a:lnTo>
                      <a:pt x="53" y="2"/>
                    </a:lnTo>
                    <a:lnTo>
                      <a:pt x="54" y="7"/>
                    </a:lnTo>
                    <a:lnTo>
                      <a:pt x="53" y="10"/>
                    </a:lnTo>
                    <a:lnTo>
                      <a:pt x="53" y="16"/>
                    </a:lnTo>
                    <a:lnTo>
                      <a:pt x="55" y="18"/>
                    </a:lnTo>
                    <a:lnTo>
                      <a:pt x="55" y="22"/>
                    </a:lnTo>
                    <a:lnTo>
                      <a:pt x="52" y="23"/>
                    </a:lnTo>
                    <a:lnTo>
                      <a:pt x="45" y="24"/>
                    </a:lnTo>
                    <a:lnTo>
                      <a:pt x="41" y="27"/>
                    </a:lnTo>
                    <a:lnTo>
                      <a:pt x="37" y="28"/>
                    </a:lnTo>
                    <a:lnTo>
                      <a:pt x="35" y="33"/>
                    </a:lnTo>
                    <a:lnTo>
                      <a:pt x="30" y="34"/>
                    </a:lnTo>
                    <a:lnTo>
                      <a:pt x="29" y="33"/>
                    </a:lnTo>
                    <a:lnTo>
                      <a:pt x="30" y="30"/>
                    </a:lnTo>
                    <a:lnTo>
                      <a:pt x="22" y="31"/>
                    </a:lnTo>
                    <a:lnTo>
                      <a:pt x="26" y="26"/>
                    </a:lnTo>
                    <a:lnTo>
                      <a:pt x="24" y="26"/>
                    </a:lnTo>
                    <a:lnTo>
                      <a:pt x="25" y="24"/>
                    </a:lnTo>
                    <a:lnTo>
                      <a:pt x="23" y="22"/>
                    </a:lnTo>
                    <a:lnTo>
                      <a:pt x="21" y="22"/>
                    </a:lnTo>
                    <a:lnTo>
                      <a:pt x="20" y="21"/>
                    </a:lnTo>
                    <a:lnTo>
                      <a:pt x="29" y="21"/>
                    </a:lnTo>
                    <a:lnTo>
                      <a:pt x="30" y="20"/>
                    </a:lnTo>
                    <a:lnTo>
                      <a:pt x="25" y="17"/>
                    </a:lnTo>
                    <a:lnTo>
                      <a:pt x="21" y="18"/>
                    </a:lnTo>
                    <a:lnTo>
                      <a:pt x="16" y="20"/>
                    </a:lnTo>
                    <a:lnTo>
                      <a:pt x="14" y="19"/>
                    </a:lnTo>
                    <a:lnTo>
                      <a:pt x="13" y="17"/>
                    </a:lnTo>
                    <a:lnTo>
                      <a:pt x="9" y="17"/>
                    </a:lnTo>
                    <a:lnTo>
                      <a:pt x="6" y="14"/>
                    </a:lnTo>
                    <a:lnTo>
                      <a:pt x="9" y="11"/>
                    </a:lnTo>
                    <a:lnTo>
                      <a:pt x="7" y="11"/>
                    </a:lnTo>
                    <a:lnTo>
                      <a:pt x="0" y="11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chemeClr val="accent1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183" name="Freeform 185"/>
              <p:cNvSpPr>
                <a:spLocks noEditPoints="1"/>
              </p:cNvSpPr>
              <p:nvPr userDrawn="1"/>
            </p:nvSpPr>
            <p:spPr bwMode="auto">
              <a:xfrm>
                <a:off x="3230" y="2745"/>
                <a:ext cx="50" cy="61"/>
              </a:xfrm>
              <a:custGeom>
                <a:avLst/>
                <a:gdLst>
                  <a:gd name="T0" fmla="*/ 13 w 50"/>
                  <a:gd name="T1" fmla="*/ 52 h 61"/>
                  <a:gd name="T2" fmla="*/ 13 w 50"/>
                  <a:gd name="T3" fmla="*/ 50 h 61"/>
                  <a:gd name="T4" fmla="*/ 11 w 50"/>
                  <a:gd name="T5" fmla="*/ 48 h 61"/>
                  <a:gd name="T6" fmla="*/ 9 w 50"/>
                  <a:gd name="T7" fmla="*/ 47 h 61"/>
                  <a:gd name="T8" fmla="*/ 8 w 50"/>
                  <a:gd name="T9" fmla="*/ 49 h 61"/>
                  <a:gd name="T10" fmla="*/ 9 w 50"/>
                  <a:gd name="T11" fmla="*/ 50 h 61"/>
                  <a:gd name="T12" fmla="*/ 12 w 50"/>
                  <a:gd name="T13" fmla="*/ 52 h 61"/>
                  <a:gd name="T14" fmla="*/ 13 w 50"/>
                  <a:gd name="T15" fmla="*/ 52 h 61"/>
                  <a:gd name="T16" fmla="*/ 13 w 50"/>
                  <a:gd name="T17" fmla="*/ 52 h 61"/>
                  <a:gd name="T18" fmla="*/ 13 w 50"/>
                  <a:gd name="T19" fmla="*/ 52 h 61"/>
                  <a:gd name="T20" fmla="*/ 1 w 50"/>
                  <a:gd name="T21" fmla="*/ 15 h 61"/>
                  <a:gd name="T22" fmla="*/ 4 w 50"/>
                  <a:gd name="T23" fmla="*/ 15 h 61"/>
                  <a:gd name="T24" fmla="*/ 10 w 50"/>
                  <a:gd name="T25" fmla="*/ 12 h 61"/>
                  <a:gd name="T26" fmla="*/ 10 w 50"/>
                  <a:gd name="T27" fmla="*/ 10 h 61"/>
                  <a:gd name="T28" fmla="*/ 15 w 50"/>
                  <a:gd name="T29" fmla="*/ 5 h 61"/>
                  <a:gd name="T30" fmla="*/ 18 w 50"/>
                  <a:gd name="T31" fmla="*/ 2 h 61"/>
                  <a:gd name="T32" fmla="*/ 22 w 50"/>
                  <a:gd name="T33" fmla="*/ 0 h 61"/>
                  <a:gd name="T34" fmla="*/ 38 w 50"/>
                  <a:gd name="T35" fmla="*/ 0 h 61"/>
                  <a:gd name="T36" fmla="*/ 41 w 50"/>
                  <a:gd name="T37" fmla="*/ 5 h 61"/>
                  <a:gd name="T38" fmla="*/ 43 w 50"/>
                  <a:gd name="T39" fmla="*/ 8 h 61"/>
                  <a:gd name="T40" fmla="*/ 47 w 50"/>
                  <a:gd name="T41" fmla="*/ 16 h 61"/>
                  <a:gd name="T42" fmla="*/ 46 w 50"/>
                  <a:gd name="T43" fmla="*/ 18 h 61"/>
                  <a:gd name="T44" fmla="*/ 50 w 50"/>
                  <a:gd name="T45" fmla="*/ 22 h 61"/>
                  <a:gd name="T46" fmla="*/ 50 w 50"/>
                  <a:gd name="T47" fmla="*/ 25 h 61"/>
                  <a:gd name="T48" fmla="*/ 47 w 50"/>
                  <a:gd name="T49" fmla="*/ 26 h 61"/>
                  <a:gd name="T50" fmla="*/ 47 w 50"/>
                  <a:gd name="T51" fmla="*/ 29 h 61"/>
                  <a:gd name="T52" fmla="*/ 49 w 50"/>
                  <a:gd name="T53" fmla="*/ 30 h 61"/>
                  <a:gd name="T54" fmla="*/ 48 w 50"/>
                  <a:gd name="T55" fmla="*/ 33 h 61"/>
                  <a:gd name="T56" fmla="*/ 47 w 50"/>
                  <a:gd name="T57" fmla="*/ 56 h 61"/>
                  <a:gd name="T58" fmla="*/ 40 w 50"/>
                  <a:gd name="T59" fmla="*/ 61 h 61"/>
                  <a:gd name="T60" fmla="*/ 38 w 50"/>
                  <a:gd name="T61" fmla="*/ 59 h 61"/>
                  <a:gd name="T62" fmla="*/ 30 w 50"/>
                  <a:gd name="T63" fmla="*/ 59 h 61"/>
                  <a:gd name="T64" fmla="*/ 21 w 50"/>
                  <a:gd name="T65" fmla="*/ 55 h 61"/>
                  <a:gd name="T66" fmla="*/ 17 w 50"/>
                  <a:gd name="T67" fmla="*/ 54 h 61"/>
                  <a:gd name="T68" fmla="*/ 18 w 50"/>
                  <a:gd name="T69" fmla="*/ 52 h 61"/>
                  <a:gd name="T70" fmla="*/ 15 w 50"/>
                  <a:gd name="T71" fmla="*/ 49 h 61"/>
                  <a:gd name="T72" fmla="*/ 13 w 50"/>
                  <a:gd name="T73" fmla="*/ 47 h 61"/>
                  <a:gd name="T74" fmla="*/ 14 w 50"/>
                  <a:gd name="T75" fmla="*/ 44 h 61"/>
                  <a:gd name="T76" fmla="*/ 14 w 50"/>
                  <a:gd name="T77" fmla="*/ 43 h 61"/>
                  <a:gd name="T78" fmla="*/ 10 w 50"/>
                  <a:gd name="T79" fmla="*/ 44 h 61"/>
                  <a:gd name="T80" fmla="*/ 6 w 50"/>
                  <a:gd name="T81" fmla="*/ 40 h 61"/>
                  <a:gd name="T82" fmla="*/ 6 w 50"/>
                  <a:gd name="T83" fmla="*/ 36 h 61"/>
                  <a:gd name="T84" fmla="*/ 4 w 50"/>
                  <a:gd name="T85" fmla="*/ 31 h 61"/>
                  <a:gd name="T86" fmla="*/ 0 w 50"/>
                  <a:gd name="T87" fmla="*/ 30 h 61"/>
                  <a:gd name="T88" fmla="*/ 0 w 50"/>
                  <a:gd name="T89" fmla="*/ 27 h 61"/>
                  <a:gd name="T90" fmla="*/ 2 w 50"/>
                  <a:gd name="T91" fmla="*/ 22 h 61"/>
                  <a:gd name="T92" fmla="*/ 0 w 50"/>
                  <a:gd name="T93" fmla="*/ 21 h 61"/>
                  <a:gd name="T94" fmla="*/ 0 w 50"/>
                  <a:gd name="T95" fmla="*/ 18 h 61"/>
                  <a:gd name="T96" fmla="*/ 1 w 50"/>
                  <a:gd name="T97" fmla="*/ 16 h 61"/>
                  <a:gd name="T98" fmla="*/ 1 w 50"/>
                  <a:gd name="T99" fmla="*/ 15 h 61"/>
                  <a:gd name="T100" fmla="*/ 1 w 50"/>
                  <a:gd name="T101" fmla="*/ 15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50" h="61">
                    <a:moveTo>
                      <a:pt x="13" y="52"/>
                    </a:moveTo>
                    <a:lnTo>
                      <a:pt x="13" y="50"/>
                    </a:lnTo>
                    <a:lnTo>
                      <a:pt x="11" y="48"/>
                    </a:lnTo>
                    <a:lnTo>
                      <a:pt x="9" y="47"/>
                    </a:lnTo>
                    <a:lnTo>
                      <a:pt x="8" y="49"/>
                    </a:lnTo>
                    <a:lnTo>
                      <a:pt x="9" y="50"/>
                    </a:lnTo>
                    <a:lnTo>
                      <a:pt x="12" y="52"/>
                    </a:lnTo>
                    <a:lnTo>
                      <a:pt x="13" y="52"/>
                    </a:lnTo>
                    <a:lnTo>
                      <a:pt x="13" y="52"/>
                    </a:lnTo>
                    <a:lnTo>
                      <a:pt x="13" y="52"/>
                    </a:lnTo>
                    <a:close/>
                    <a:moveTo>
                      <a:pt x="1" y="15"/>
                    </a:moveTo>
                    <a:lnTo>
                      <a:pt x="4" y="15"/>
                    </a:lnTo>
                    <a:lnTo>
                      <a:pt x="10" y="12"/>
                    </a:lnTo>
                    <a:lnTo>
                      <a:pt x="10" y="10"/>
                    </a:lnTo>
                    <a:lnTo>
                      <a:pt x="15" y="5"/>
                    </a:lnTo>
                    <a:lnTo>
                      <a:pt x="18" y="2"/>
                    </a:lnTo>
                    <a:lnTo>
                      <a:pt x="22" y="0"/>
                    </a:lnTo>
                    <a:lnTo>
                      <a:pt x="38" y="0"/>
                    </a:lnTo>
                    <a:lnTo>
                      <a:pt x="41" y="5"/>
                    </a:lnTo>
                    <a:lnTo>
                      <a:pt x="43" y="8"/>
                    </a:lnTo>
                    <a:lnTo>
                      <a:pt x="47" y="16"/>
                    </a:lnTo>
                    <a:lnTo>
                      <a:pt x="46" y="18"/>
                    </a:lnTo>
                    <a:lnTo>
                      <a:pt x="50" y="22"/>
                    </a:lnTo>
                    <a:lnTo>
                      <a:pt x="50" y="25"/>
                    </a:lnTo>
                    <a:lnTo>
                      <a:pt x="47" y="26"/>
                    </a:lnTo>
                    <a:lnTo>
                      <a:pt x="47" y="29"/>
                    </a:lnTo>
                    <a:lnTo>
                      <a:pt x="49" y="30"/>
                    </a:lnTo>
                    <a:lnTo>
                      <a:pt x="48" y="33"/>
                    </a:lnTo>
                    <a:lnTo>
                      <a:pt x="47" y="56"/>
                    </a:lnTo>
                    <a:lnTo>
                      <a:pt x="40" y="61"/>
                    </a:lnTo>
                    <a:lnTo>
                      <a:pt x="38" y="59"/>
                    </a:lnTo>
                    <a:lnTo>
                      <a:pt x="30" y="59"/>
                    </a:lnTo>
                    <a:lnTo>
                      <a:pt x="21" y="55"/>
                    </a:lnTo>
                    <a:lnTo>
                      <a:pt x="17" y="54"/>
                    </a:lnTo>
                    <a:lnTo>
                      <a:pt x="18" y="52"/>
                    </a:lnTo>
                    <a:lnTo>
                      <a:pt x="15" y="49"/>
                    </a:lnTo>
                    <a:lnTo>
                      <a:pt x="13" y="47"/>
                    </a:lnTo>
                    <a:lnTo>
                      <a:pt x="14" y="44"/>
                    </a:lnTo>
                    <a:lnTo>
                      <a:pt x="14" y="43"/>
                    </a:lnTo>
                    <a:lnTo>
                      <a:pt x="10" y="44"/>
                    </a:lnTo>
                    <a:lnTo>
                      <a:pt x="6" y="40"/>
                    </a:lnTo>
                    <a:lnTo>
                      <a:pt x="6" y="36"/>
                    </a:lnTo>
                    <a:lnTo>
                      <a:pt x="4" y="31"/>
                    </a:lnTo>
                    <a:lnTo>
                      <a:pt x="0" y="30"/>
                    </a:lnTo>
                    <a:lnTo>
                      <a:pt x="0" y="27"/>
                    </a:lnTo>
                    <a:lnTo>
                      <a:pt x="2" y="22"/>
                    </a:lnTo>
                    <a:lnTo>
                      <a:pt x="0" y="21"/>
                    </a:lnTo>
                    <a:lnTo>
                      <a:pt x="0" y="18"/>
                    </a:lnTo>
                    <a:lnTo>
                      <a:pt x="1" y="16"/>
                    </a:lnTo>
                    <a:lnTo>
                      <a:pt x="1" y="15"/>
                    </a:lnTo>
                    <a:lnTo>
                      <a:pt x="1" y="15"/>
                    </a:lnTo>
                    <a:close/>
                  </a:path>
                </a:pathLst>
              </a:custGeom>
              <a:solidFill>
                <a:schemeClr val="accent2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184" name="Freeform 186"/>
              <p:cNvSpPr>
                <a:spLocks/>
              </p:cNvSpPr>
              <p:nvPr userDrawn="1"/>
            </p:nvSpPr>
            <p:spPr bwMode="auto">
              <a:xfrm>
                <a:off x="3684" y="3007"/>
                <a:ext cx="20" cy="26"/>
              </a:xfrm>
              <a:custGeom>
                <a:avLst/>
                <a:gdLst>
                  <a:gd name="T0" fmla="*/ 20 w 20"/>
                  <a:gd name="T1" fmla="*/ 7 h 26"/>
                  <a:gd name="T2" fmla="*/ 20 w 20"/>
                  <a:gd name="T3" fmla="*/ 4 h 26"/>
                  <a:gd name="T4" fmla="*/ 19 w 20"/>
                  <a:gd name="T5" fmla="*/ 1 h 26"/>
                  <a:gd name="T6" fmla="*/ 17 w 20"/>
                  <a:gd name="T7" fmla="*/ 0 h 26"/>
                  <a:gd name="T8" fmla="*/ 15 w 20"/>
                  <a:gd name="T9" fmla="*/ 0 h 26"/>
                  <a:gd name="T10" fmla="*/ 12 w 20"/>
                  <a:gd name="T11" fmla="*/ 2 h 26"/>
                  <a:gd name="T12" fmla="*/ 9 w 20"/>
                  <a:gd name="T13" fmla="*/ 3 h 26"/>
                  <a:gd name="T14" fmla="*/ 8 w 20"/>
                  <a:gd name="T15" fmla="*/ 6 h 26"/>
                  <a:gd name="T16" fmla="*/ 5 w 20"/>
                  <a:gd name="T17" fmla="*/ 8 h 26"/>
                  <a:gd name="T18" fmla="*/ 4 w 20"/>
                  <a:gd name="T19" fmla="*/ 8 h 26"/>
                  <a:gd name="T20" fmla="*/ 2 w 20"/>
                  <a:gd name="T21" fmla="*/ 12 h 26"/>
                  <a:gd name="T22" fmla="*/ 0 w 20"/>
                  <a:gd name="T23" fmla="*/ 13 h 26"/>
                  <a:gd name="T24" fmla="*/ 2 w 20"/>
                  <a:gd name="T25" fmla="*/ 14 h 26"/>
                  <a:gd name="T26" fmla="*/ 4 w 20"/>
                  <a:gd name="T27" fmla="*/ 20 h 26"/>
                  <a:gd name="T28" fmla="*/ 1 w 20"/>
                  <a:gd name="T29" fmla="*/ 24 h 26"/>
                  <a:gd name="T30" fmla="*/ 2 w 20"/>
                  <a:gd name="T31" fmla="*/ 26 h 26"/>
                  <a:gd name="T32" fmla="*/ 6 w 20"/>
                  <a:gd name="T33" fmla="*/ 24 h 26"/>
                  <a:gd name="T34" fmla="*/ 10 w 20"/>
                  <a:gd name="T35" fmla="*/ 23 h 26"/>
                  <a:gd name="T36" fmla="*/ 12 w 20"/>
                  <a:gd name="T37" fmla="*/ 21 h 26"/>
                  <a:gd name="T38" fmla="*/ 11 w 20"/>
                  <a:gd name="T39" fmla="*/ 14 h 26"/>
                  <a:gd name="T40" fmla="*/ 13 w 20"/>
                  <a:gd name="T41" fmla="*/ 13 h 26"/>
                  <a:gd name="T42" fmla="*/ 17 w 20"/>
                  <a:gd name="T43" fmla="*/ 10 h 26"/>
                  <a:gd name="T44" fmla="*/ 20 w 20"/>
                  <a:gd name="T45" fmla="*/ 7 h 26"/>
                  <a:gd name="T46" fmla="*/ 20 w 20"/>
                  <a:gd name="T47" fmla="*/ 7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20" h="26">
                    <a:moveTo>
                      <a:pt x="20" y="7"/>
                    </a:moveTo>
                    <a:lnTo>
                      <a:pt x="20" y="4"/>
                    </a:lnTo>
                    <a:lnTo>
                      <a:pt x="19" y="1"/>
                    </a:lnTo>
                    <a:lnTo>
                      <a:pt x="17" y="0"/>
                    </a:lnTo>
                    <a:lnTo>
                      <a:pt x="15" y="0"/>
                    </a:lnTo>
                    <a:lnTo>
                      <a:pt x="12" y="2"/>
                    </a:lnTo>
                    <a:lnTo>
                      <a:pt x="9" y="3"/>
                    </a:lnTo>
                    <a:lnTo>
                      <a:pt x="8" y="6"/>
                    </a:lnTo>
                    <a:lnTo>
                      <a:pt x="5" y="8"/>
                    </a:lnTo>
                    <a:lnTo>
                      <a:pt x="4" y="8"/>
                    </a:lnTo>
                    <a:lnTo>
                      <a:pt x="2" y="12"/>
                    </a:lnTo>
                    <a:lnTo>
                      <a:pt x="0" y="13"/>
                    </a:lnTo>
                    <a:lnTo>
                      <a:pt x="2" y="14"/>
                    </a:lnTo>
                    <a:lnTo>
                      <a:pt x="4" y="20"/>
                    </a:lnTo>
                    <a:lnTo>
                      <a:pt x="1" y="24"/>
                    </a:lnTo>
                    <a:lnTo>
                      <a:pt x="2" y="26"/>
                    </a:lnTo>
                    <a:lnTo>
                      <a:pt x="6" y="24"/>
                    </a:lnTo>
                    <a:lnTo>
                      <a:pt x="10" y="23"/>
                    </a:lnTo>
                    <a:lnTo>
                      <a:pt x="12" y="21"/>
                    </a:lnTo>
                    <a:lnTo>
                      <a:pt x="11" y="14"/>
                    </a:lnTo>
                    <a:lnTo>
                      <a:pt x="13" y="13"/>
                    </a:lnTo>
                    <a:lnTo>
                      <a:pt x="17" y="10"/>
                    </a:lnTo>
                    <a:lnTo>
                      <a:pt x="20" y="7"/>
                    </a:lnTo>
                    <a:lnTo>
                      <a:pt x="20" y="7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185" name="Freeform 187"/>
              <p:cNvSpPr>
                <a:spLocks/>
              </p:cNvSpPr>
              <p:nvPr userDrawn="1"/>
            </p:nvSpPr>
            <p:spPr bwMode="auto">
              <a:xfrm>
                <a:off x="4084" y="3101"/>
                <a:ext cx="5" cy="4"/>
              </a:xfrm>
              <a:custGeom>
                <a:avLst/>
                <a:gdLst>
                  <a:gd name="T0" fmla="*/ 0 w 5"/>
                  <a:gd name="T1" fmla="*/ 0 h 4"/>
                  <a:gd name="T2" fmla="*/ 3 w 5"/>
                  <a:gd name="T3" fmla="*/ 2 h 4"/>
                  <a:gd name="T4" fmla="*/ 5 w 5"/>
                  <a:gd name="T5" fmla="*/ 4 h 4"/>
                  <a:gd name="T6" fmla="*/ 0 w 5"/>
                  <a:gd name="T7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" h="4">
                    <a:moveTo>
                      <a:pt x="0" y="0"/>
                    </a:moveTo>
                    <a:lnTo>
                      <a:pt x="3" y="2"/>
                    </a:lnTo>
                    <a:lnTo>
                      <a:pt x="5" y="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186" name="Freeform 188"/>
              <p:cNvSpPr>
                <a:spLocks/>
              </p:cNvSpPr>
              <p:nvPr userDrawn="1"/>
            </p:nvSpPr>
            <p:spPr bwMode="auto">
              <a:xfrm>
                <a:off x="4084" y="3101"/>
                <a:ext cx="5" cy="4"/>
              </a:xfrm>
              <a:custGeom>
                <a:avLst/>
                <a:gdLst>
                  <a:gd name="T0" fmla="*/ 0 w 5"/>
                  <a:gd name="T1" fmla="*/ 0 h 4"/>
                  <a:gd name="T2" fmla="*/ 3 w 5"/>
                  <a:gd name="T3" fmla="*/ 2 h 4"/>
                  <a:gd name="T4" fmla="*/ 5 w 5"/>
                  <a:gd name="T5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" h="4">
                    <a:moveTo>
                      <a:pt x="0" y="0"/>
                    </a:moveTo>
                    <a:lnTo>
                      <a:pt x="3" y="2"/>
                    </a:lnTo>
                    <a:lnTo>
                      <a:pt x="5" y="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187" name="Freeform 189"/>
              <p:cNvSpPr>
                <a:spLocks noEditPoints="1"/>
              </p:cNvSpPr>
              <p:nvPr userDrawn="1"/>
            </p:nvSpPr>
            <p:spPr bwMode="auto">
              <a:xfrm>
                <a:off x="6471" y="3324"/>
                <a:ext cx="74" cy="51"/>
              </a:xfrm>
              <a:custGeom>
                <a:avLst/>
                <a:gdLst>
                  <a:gd name="T0" fmla="*/ 6 w 74"/>
                  <a:gd name="T1" fmla="*/ 6 h 51"/>
                  <a:gd name="T2" fmla="*/ 10 w 74"/>
                  <a:gd name="T3" fmla="*/ 6 h 51"/>
                  <a:gd name="T4" fmla="*/ 15 w 74"/>
                  <a:gd name="T5" fmla="*/ 12 h 51"/>
                  <a:gd name="T6" fmla="*/ 19 w 74"/>
                  <a:gd name="T7" fmla="*/ 16 h 51"/>
                  <a:gd name="T8" fmla="*/ 30 w 74"/>
                  <a:gd name="T9" fmla="*/ 32 h 51"/>
                  <a:gd name="T10" fmla="*/ 35 w 74"/>
                  <a:gd name="T11" fmla="*/ 33 h 51"/>
                  <a:gd name="T12" fmla="*/ 46 w 74"/>
                  <a:gd name="T13" fmla="*/ 45 h 51"/>
                  <a:gd name="T14" fmla="*/ 49 w 74"/>
                  <a:gd name="T15" fmla="*/ 51 h 51"/>
                  <a:gd name="T16" fmla="*/ 44 w 74"/>
                  <a:gd name="T17" fmla="*/ 50 h 51"/>
                  <a:gd name="T18" fmla="*/ 37 w 74"/>
                  <a:gd name="T19" fmla="*/ 49 h 51"/>
                  <a:gd name="T20" fmla="*/ 34 w 74"/>
                  <a:gd name="T21" fmla="*/ 43 h 51"/>
                  <a:gd name="T22" fmla="*/ 27 w 74"/>
                  <a:gd name="T23" fmla="*/ 38 h 51"/>
                  <a:gd name="T24" fmla="*/ 24 w 74"/>
                  <a:gd name="T25" fmla="*/ 38 h 51"/>
                  <a:gd name="T26" fmla="*/ 16 w 74"/>
                  <a:gd name="T27" fmla="*/ 29 h 51"/>
                  <a:gd name="T28" fmla="*/ 13 w 74"/>
                  <a:gd name="T29" fmla="*/ 27 h 51"/>
                  <a:gd name="T30" fmla="*/ 12 w 74"/>
                  <a:gd name="T31" fmla="*/ 21 h 51"/>
                  <a:gd name="T32" fmla="*/ 3 w 74"/>
                  <a:gd name="T33" fmla="*/ 9 h 51"/>
                  <a:gd name="T34" fmla="*/ 0 w 74"/>
                  <a:gd name="T35" fmla="*/ 3 h 51"/>
                  <a:gd name="T36" fmla="*/ 1 w 74"/>
                  <a:gd name="T37" fmla="*/ 0 h 51"/>
                  <a:gd name="T38" fmla="*/ 66 w 74"/>
                  <a:gd name="T39" fmla="*/ 31 h 51"/>
                  <a:gd name="T40" fmla="*/ 74 w 74"/>
                  <a:gd name="T41" fmla="*/ 32 h 51"/>
                  <a:gd name="T42" fmla="*/ 72 w 74"/>
                  <a:gd name="T43" fmla="*/ 36 h 51"/>
                  <a:gd name="T44" fmla="*/ 66 w 74"/>
                  <a:gd name="T45" fmla="*/ 35 h 51"/>
                  <a:gd name="T46" fmla="*/ 66 w 74"/>
                  <a:gd name="T47" fmla="*/ 31 h 51"/>
                  <a:gd name="T48" fmla="*/ 58 w 74"/>
                  <a:gd name="T49" fmla="*/ 13 h 51"/>
                  <a:gd name="T50" fmla="*/ 56 w 74"/>
                  <a:gd name="T51" fmla="*/ 18 h 51"/>
                  <a:gd name="T52" fmla="*/ 56 w 74"/>
                  <a:gd name="T53" fmla="*/ 22 h 51"/>
                  <a:gd name="T54" fmla="*/ 62 w 74"/>
                  <a:gd name="T55" fmla="*/ 23 h 51"/>
                  <a:gd name="T56" fmla="*/ 60 w 74"/>
                  <a:gd name="T57" fmla="*/ 18 h 51"/>
                  <a:gd name="T58" fmla="*/ 58 w 74"/>
                  <a:gd name="T59" fmla="*/ 13 h 51"/>
                  <a:gd name="T60" fmla="*/ 58 w 74"/>
                  <a:gd name="T61" fmla="*/ 13 h 51"/>
                  <a:gd name="T62" fmla="*/ 46 w 74"/>
                  <a:gd name="T63" fmla="*/ 11 h 51"/>
                  <a:gd name="T64" fmla="*/ 47 w 74"/>
                  <a:gd name="T65" fmla="*/ 14 h 51"/>
                  <a:gd name="T66" fmla="*/ 49 w 74"/>
                  <a:gd name="T67" fmla="*/ 9 h 51"/>
                  <a:gd name="T68" fmla="*/ 47 w 74"/>
                  <a:gd name="T69" fmla="*/ 9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74" h="51">
                    <a:moveTo>
                      <a:pt x="1" y="0"/>
                    </a:moveTo>
                    <a:lnTo>
                      <a:pt x="6" y="6"/>
                    </a:lnTo>
                    <a:lnTo>
                      <a:pt x="8" y="3"/>
                    </a:lnTo>
                    <a:lnTo>
                      <a:pt x="10" y="6"/>
                    </a:lnTo>
                    <a:lnTo>
                      <a:pt x="11" y="9"/>
                    </a:lnTo>
                    <a:lnTo>
                      <a:pt x="15" y="12"/>
                    </a:lnTo>
                    <a:lnTo>
                      <a:pt x="17" y="16"/>
                    </a:lnTo>
                    <a:lnTo>
                      <a:pt x="19" y="16"/>
                    </a:lnTo>
                    <a:lnTo>
                      <a:pt x="27" y="25"/>
                    </a:lnTo>
                    <a:lnTo>
                      <a:pt x="30" y="32"/>
                    </a:lnTo>
                    <a:lnTo>
                      <a:pt x="32" y="31"/>
                    </a:lnTo>
                    <a:lnTo>
                      <a:pt x="35" y="33"/>
                    </a:lnTo>
                    <a:lnTo>
                      <a:pt x="39" y="41"/>
                    </a:lnTo>
                    <a:lnTo>
                      <a:pt x="46" y="45"/>
                    </a:lnTo>
                    <a:lnTo>
                      <a:pt x="49" y="45"/>
                    </a:lnTo>
                    <a:lnTo>
                      <a:pt x="49" y="51"/>
                    </a:lnTo>
                    <a:lnTo>
                      <a:pt x="46" y="49"/>
                    </a:lnTo>
                    <a:lnTo>
                      <a:pt x="44" y="50"/>
                    </a:lnTo>
                    <a:lnTo>
                      <a:pt x="41" y="47"/>
                    </a:lnTo>
                    <a:lnTo>
                      <a:pt x="37" y="49"/>
                    </a:lnTo>
                    <a:lnTo>
                      <a:pt x="34" y="46"/>
                    </a:lnTo>
                    <a:lnTo>
                      <a:pt x="34" y="43"/>
                    </a:lnTo>
                    <a:lnTo>
                      <a:pt x="29" y="43"/>
                    </a:lnTo>
                    <a:lnTo>
                      <a:pt x="27" y="38"/>
                    </a:lnTo>
                    <a:lnTo>
                      <a:pt x="25" y="37"/>
                    </a:lnTo>
                    <a:lnTo>
                      <a:pt x="24" y="38"/>
                    </a:lnTo>
                    <a:lnTo>
                      <a:pt x="22" y="33"/>
                    </a:lnTo>
                    <a:lnTo>
                      <a:pt x="16" y="29"/>
                    </a:lnTo>
                    <a:lnTo>
                      <a:pt x="16" y="27"/>
                    </a:lnTo>
                    <a:lnTo>
                      <a:pt x="13" y="27"/>
                    </a:lnTo>
                    <a:lnTo>
                      <a:pt x="12" y="23"/>
                    </a:lnTo>
                    <a:lnTo>
                      <a:pt x="12" y="21"/>
                    </a:lnTo>
                    <a:lnTo>
                      <a:pt x="8" y="19"/>
                    </a:lnTo>
                    <a:lnTo>
                      <a:pt x="3" y="9"/>
                    </a:lnTo>
                    <a:lnTo>
                      <a:pt x="2" y="5"/>
                    </a:lnTo>
                    <a:lnTo>
                      <a:pt x="0" y="3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close/>
                    <a:moveTo>
                      <a:pt x="66" y="31"/>
                    </a:moveTo>
                    <a:lnTo>
                      <a:pt x="71" y="30"/>
                    </a:lnTo>
                    <a:lnTo>
                      <a:pt x="74" y="32"/>
                    </a:lnTo>
                    <a:lnTo>
                      <a:pt x="74" y="36"/>
                    </a:lnTo>
                    <a:lnTo>
                      <a:pt x="72" y="36"/>
                    </a:lnTo>
                    <a:lnTo>
                      <a:pt x="70" y="38"/>
                    </a:lnTo>
                    <a:lnTo>
                      <a:pt x="66" y="35"/>
                    </a:lnTo>
                    <a:lnTo>
                      <a:pt x="66" y="31"/>
                    </a:lnTo>
                    <a:lnTo>
                      <a:pt x="66" y="31"/>
                    </a:lnTo>
                    <a:lnTo>
                      <a:pt x="66" y="31"/>
                    </a:lnTo>
                    <a:close/>
                    <a:moveTo>
                      <a:pt x="58" y="13"/>
                    </a:moveTo>
                    <a:lnTo>
                      <a:pt x="55" y="16"/>
                    </a:lnTo>
                    <a:lnTo>
                      <a:pt x="56" y="18"/>
                    </a:lnTo>
                    <a:lnTo>
                      <a:pt x="55" y="20"/>
                    </a:lnTo>
                    <a:lnTo>
                      <a:pt x="56" y="22"/>
                    </a:lnTo>
                    <a:lnTo>
                      <a:pt x="60" y="24"/>
                    </a:lnTo>
                    <a:lnTo>
                      <a:pt x="62" y="23"/>
                    </a:lnTo>
                    <a:lnTo>
                      <a:pt x="58" y="21"/>
                    </a:lnTo>
                    <a:lnTo>
                      <a:pt x="60" y="18"/>
                    </a:lnTo>
                    <a:lnTo>
                      <a:pt x="59" y="14"/>
                    </a:lnTo>
                    <a:lnTo>
                      <a:pt x="58" y="13"/>
                    </a:lnTo>
                    <a:lnTo>
                      <a:pt x="58" y="13"/>
                    </a:lnTo>
                    <a:lnTo>
                      <a:pt x="58" y="13"/>
                    </a:lnTo>
                    <a:close/>
                    <a:moveTo>
                      <a:pt x="47" y="9"/>
                    </a:moveTo>
                    <a:lnTo>
                      <a:pt x="46" y="11"/>
                    </a:lnTo>
                    <a:lnTo>
                      <a:pt x="44" y="14"/>
                    </a:lnTo>
                    <a:lnTo>
                      <a:pt x="47" y="14"/>
                    </a:lnTo>
                    <a:lnTo>
                      <a:pt x="50" y="11"/>
                    </a:lnTo>
                    <a:lnTo>
                      <a:pt x="49" y="9"/>
                    </a:lnTo>
                    <a:lnTo>
                      <a:pt x="47" y="9"/>
                    </a:lnTo>
                    <a:lnTo>
                      <a:pt x="47" y="9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188" name="Freeform 190"/>
              <p:cNvSpPr>
                <a:spLocks/>
              </p:cNvSpPr>
              <p:nvPr userDrawn="1"/>
            </p:nvSpPr>
            <p:spPr bwMode="auto">
              <a:xfrm>
                <a:off x="4672" y="4016"/>
                <a:ext cx="6" cy="7"/>
              </a:xfrm>
              <a:custGeom>
                <a:avLst/>
                <a:gdLst>
                  <a:gd name="T0" fmla="*/ 0 w 6"/>
                  <a:gd name="T1" fmla="*/ 1 h 7"/>
                  <a:gd name="T2" fmla="*/ 1 w 6"/>
                  <a:gd name="T3" fmla="*/ 4 h 7"/>
                  <a:gd name="T4" fmla="*/ 1 w 6"/>
                  <a:gd name="T5" fmla="*/ 6 h 7"/>
                  <a:gd name="T6" fmla="*/ 3 w 6"/>
                  <a:gd name="T7" fmla="*/ 6 h 7"/>
                  <a:gd name="T8" fmla="*/ 5 w 6"/>
                  <a:gd name="T9" fmla="*/ 7 h 7"/>
                  <a:gd name="T10" fmla="*/ 6 w 6"/>
                  <a:gd name="T11" fmla="*/ 7 h 7"/>
                  <a:gd name="T12" fmla="*/ 2 w 6"/>
                  <a:gd name="T13" fmla="*/ 2 h 7"/>
                  <a:gd name="T14" fmla="*/ 1 w 6"/>
                  <a:gd name="T15" fmla="*/ 0 h 7"/>
                  <a:gd name="T16" fmla="*/ 0 w 6"/>
                  <a:gd name="T17" fmla="*/ 1 h 7"/>
                  <a:gd name="T18" fmla="*/ 0 w 6"/>
                  <a:gd name="T19" fmla="*/ 1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" h="7">
                    <a:moveTo>
                      <a:pt x="0" y="1"/>
                    </a:moveTo>
                    <a:lnTo>
                      <a:pt x="1" y="4"/>
                    </a:lnTo>
                    <a:lnTo>
                      <a:pt x="1" y="6"/>
                    </a:lnTo>
                    <a:lnTo>
                      <a:pt x="3" y="6"/>
                    </a:lnTo>
                    <a:lnTo>
                      <a:pt x="5" y="7"/>
                    </a:lnTo>
                    <a:lnTo>
                      <a:pt x="6" y="7"/>
                    </a:lnTo>
                    <a:lnTo>
                      <a:pt x="2" y="2"/>
                    </a:lnTo>
                    <a:lnTo>
                      <a:pt x="1" y="0"/>
                    </a:lnTo>
                    <a:lnTo>
                      <a:pt x="0" y="1"/>
                    </a:lnTo>
                    <a:lnTo>
                      <a:pt x="0" y="1"/>
                    </a:lnTo>
                    <a:close/>
                  </a:path>
                </a:pathLst>
              </a:custGeom>
              <a:solidFill>
                <a:srgbClr val="F2F1E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189" name="Freeform 191"/>
              <p:cNvSpPr>
                <a:spLocks noEditPoints="1"/>
              </p:cNvSpPr>
              <p:nvPr userDrawn="1"/>
            </p:nvSpPr>
            <p:spPr bwMode="auto">
              <a:xfrm>
                <a:off x="4618" y="3906"/>
                <a:ext cx="30" cy="23"/>
              </a:xfrm>
              <a:custGeom>
                <a:avLst/>
                <a:gdLst>
                  <a:gd name="T0" fmla="*/ 10 w 30"/>
                  <a:gd name="T1" fmla="*/ 6 h 23"/>
                  <a:gd name="T2" fmla="*/ 12 w 30"/>
                  <a:gd name="T3" fmla="*/ 4 h 23"/>
                  <a:gd name="T4" fmla="*/ 14 w 30"/>
                  <a:gd name="T5" fmla="*/ 3 h 23"/>
                  <a:gd name="T6" fmla="*/ 14 w 30"/>
                  <a:gd name="T7" fmla="*/ 4 h 23"/>
                  <a:gd name="T8" fmla="*/ 13 w 30"/>
                  <a:gd name="T9" fmla="*/ 7 h 23"/>
                  <a:gd name="T10" fmla="*/ 11 w 30"/>
                  <a:gd name="T11" fmla="*/ 7 h 23"/>
                  <a:gd name="T12" fmla="*/ 10 w 30"/>
                  <a:gd name="T13" fmla="*/ 6 h 23"/>
                  <a:gd name="T14" fmla="*/ 10 w 30"/>
                  <a:gd name="T15" fmla="*/ 6 h 23"/>
                  <a:gd name="T16" fmla="*/ 10 w 30"/>
                  <a:gd name="T17" fmla="*/ 6 h 23"/>
                  <a:gd name="T18" fmla="*/ 1 w 30"/>
                  <a:gd name="T19" fmla="*/ 21 h 23"/>
                  <a:gd name="T20" fmla="*/ 3 w 30"/>
                  <a:gd name="T21" fmla="*/ 21 h 23"/>
                  <a:gd name="T22" fmla="*/ 7 w 30"/>
                  <a:gd name="T23" fmla="*/ 18 h 23"/>
                  <a:gd name="T24" fmla="*/ 10 w 30"/>
                  <a:gd name="T25" fmla="*/ 17 h 23"/>
                  <a:gd name="T26" fmla="*/ 10 w 30"/>
                  <a:gd name="T27" fmla="*/ 19 h 23"/>
                  <a:gd name="T28" fmla="*/ 13 w 30"/>
                  <a:gd name="T29" fmla="*/ 21 h 23"/>
                  <a:gd name="T30" fmla="*/ 15 w 30"/>
                  <a:gd name="T31" fmla="*/ 21 h 23"/>
                  <a:gd name="T32" fmla="*/ 16 w 30"/>
                  <a:gd name="T33" fmla="*/ 17 h 23"/>
                  <a:gd name="T34" fmla="*/ 17 w 30"/>
                  <a:gd name="T35" fmla="*/ 19 h 23"/>
                  <a:gd name="T36" fmla="*/ 18 w 30"/>
                  <a:gd name="T37" fmla="*/ 21 h 23"/>
                  <a:gd name="T38" fmla="*/ 20 w 30"/>
                  <a:gd name="T39" fmla="*/ 23 h 23"/>
                  <a:gd name="T40" fmla="*/ 24 w 30"/>
                  <a:gd name="T41" fmla="*/ 23 h 23"/>
                  <a:gd name="T42" fmla="*/ 27 w 30"/>
                  <a:gd name="T43" fmla="*/ 21 h 23"/>
                  <a:gd name="T44" fmla="*/ 27 w 30"/>
                  <a:gd name="T45" fmla="*/ 19 h 23"/>
                  <a:gd name="T46" fmla="*/ 22 w 30"/>
                  <a:gd name="T47" fmla="*/ 20 h 23"/>
                  <a:gd name="T48" fmla="*/ 20 w 30"/>
                  <a:gd name="T49" fmla="*/ 17 h 23"/>
                  <a:gd name="T50" fmla="*/ 22 w 30"/>
                  <a:gd name="T51" fmla="*/ 15 h 23"/>
                  <a:gd name="T52" fmla="*/ 24 w 30"/>
                  <a:gd name="T53" fmla="*/ 14 h 23"/>
                  <a:gd name="T54" fmla="*/ 28 w 30"/>
                  <a:gd name="T55" fmla="*/ 15 h 23"/>
                  <a:gd name="T56" fmla="*/ 30 w 30"/>
                  <a:gd name="T57" fmla="*/ 13 h 23"/>
                  <a:gd name="T58" fmla="*/ 29 w 30"/>
                  <a:gd name="T59" fmla="*/ 10 h 23"/>
                  <a:gd name="T60" fmla="*/ 26 w 30"/>
                  <a:gd name="T61" fmla="*/ 11 h 23"/>
                  <a:gd name="T62" fmla="*/ 24 w 30"/>
                  <a:gd name="T63" fmla="*/ 10 h 23"/>
                  <a:gd name="T64" fmla="*/ 20 w 30"/>
                  <a:gd name="T65" fmla="*/ 13 h 23"/>
                  <a:gd name="T66" fmla="*/ 18 w 30"/>
                  <a:gd name="T67" fmla="*/ 13 h 23"/>
                  <a:gd name="T68" fmla="*/ 16 w 30"/>
                  <a:gd name="T69" fmla="*/ 9 h 23"/>
                  <a:gd name="T70" fmla="*/ 18 w 30"/>
                  <a:gd name="T71" fmla="*/ 8 h 23"/>
                  <a:gd name="T72" fmla="*/ 18 w 30"/>
                  <a:gd name="T73" fmla="*/ 4 h 23"/>
                  <a:gd name="T74" fmla="*/ 16 w 30"/>
                  <a:gd name="T75" fmla="*/ 6 h 23"/>
                  <a:gd name="T76" fmla="*/ 15 w 30"/>
                  <a:gd name="T77" fmla="*/ 9 h 23"/>
                  <a:gd name="T78" fmla="*/ 13 w 30"/>
                  <a:gd name="T79" fmla="*/ 10 h 23"/>
                  <a:gd name="T80" fmla="*/ 11 w 30"/>
                  <a:gd name="T81" fmla="*/ 9 h 23"/>
                  <a:gd name="T82" fmla="*/ 8 w 30"/>
                  <a:gd name="T83" fmla="*/ 8 h 23"/>
                  <a:gd name="T84" fmla="*/ 6 w 30"/>
                  <a:gd name="T85" fmla="*/ 7 h 23"/>
                  <a:gd name="T86" fmla="*/ 7 w 30"/>
                  <a:gd name="T87" fmla="*/ 3 h 23"/>
                  <a:gd name="T88" fmla="*/ 6 w 30"/>
                  <a:gd name="T89" fmla="*/ 2 h 23"/>
                  <a:gd name="T90" fmla="*/ 7 w 30"/>
                  <a:gd name="T91" fmla="*/ 1 h 23"/>
                  <a:gd name="T92" fmla="*/ 7 w 30"/>
                  <a:gd name="T93" fmla="*/ 0 h 23"/>
                  <a:gd name="T94" fmla="*/ 5 w 30"/>
                  <a:gd name="T95" fmla="*/ 2 h 23"/>
                  <a:gd name="T96" fmla="*/ 4 w 30"/>
                  <a:gd name="T97" fmla="*/ 3 h 23"/>
                  <a:gd name="T98" fmla="*/ 4 w 30"/>
                  <a:gd name="T99" fmla="*/ 5 h 23"/>
                  <a:gd name="T100" fmla="*/ 4 w 30"/>
                  <a:gd name="T101" fmla="*/ 9 h 23"/>
                  <a:gd name="T102" fmla="*/ 5 w 30"/>
                  <a:gd name="T103" fmla="*/ 9 h 23"/>
                  <a:gd name="T104" fmla="*/ 6 w 30"/>
                  <a:gd name="T105" fmla="*/ 11 h 23"/>
                  <a:gd name="T106" fmla="*/ 2 w 30"/>
                  <a:gd name="T107" fmla="*/ 14 h 23"/>
                  <a:gd name="T108" fmla="*/ 0 w 30"/>
                  <a:gd name="T109" fmla="*/ 18 h 23"/>
                  <a:gd name="T110" fmla="*/ 1 w 30"/>
                  <a:gd name="T111" fmla="*/ 21 h 23"/>
                  <a:gd name="T112" fmla="*/ 1 w 30"/>
                  <a:gd name="T113" fmla="*/ 2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30" h="23">
                    <a:moveTo>
                      <a:pt x="10" y="6"/>
                    </a:moveTo>
                    <a:lnTo>
                      <a:pt x="12" y="4"/>
                    </a:lnTo>
                    <a:lnTo>
                      <a:pt x="14" y="3"/>
                    </a:lnTo>
                    <a:lnTo>
                      <a:pt x="14" y="4"/>
                    </a:lnTo>
                    <a:lnTo>
                      <a:pt x="13" y="7"/>
                    </a:lnTo>
                    <a:lnTo>
                      <a:pt x="11" y="7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close/>
                    <a:moveTo>
                      <a:pt x="1" y="21"/>
                    </a:moveTo>
                    <a:lnTo>
                      <a:pt x="3" y="21"/>
                    </a:lnTo>
                    <a:lnTo>
                      <a:pt x="7" y="18"/>
                    </a:lnTo>
                    <a:lnTo>
                      <a:pt x="10" y="17"/>
                    </a:lnTo>
                    <a:lnTo>
                      <a:pt x="10" y="19"/>
                    </a:lnTo>
                    <a:lnTo>
                      <a:pt x="13" y="21"/>
                    </a:lnTo>
                    <a:lnTo>
                      <a:pt x="15" y="21"/>
                    </a:lnTo>
                    <a:lnTo>
                      <a:pt x="16" y="17"/>
                    </a:lnTo>
                    <a:lnTo>
                      <a:pt x="17" y="19"/>
                    </a:lnTo>
                    <a:lnTo>
                      <a:pt x="18" y="21"/>
                    </a:lnTo>
                    <a:lnTo>
                      <a:pt x="20" y="23"/>
                    </a:lnTo>
                    <a:lnTo>
                      <a:pt x="24" y="23"/>
                    </a:lnTo>
                    <a:lnTo>
                      <a:pt x="27" y="21"/>
                    </a:lnTo>
                    <a:lnTo>
                      <a:pt x="27" y="19"/>
                    </a:lnTo>
                    <a:lnTo>
                      <a:pt x="22" y="20"/>
                    </a:lnTo>
                    <a:lnTo>
                      <a:pt x="20" y="17"/>
                    </a:lnTo>
                    <a:lnTo>
                      <a:pt x="22" y="15"/>
                    </a:lnTo>
                    <a:lnTo>
                      <a:pt x="24" y="14"/>
                    </a:lnTo>
                    <a:lnTo>
                      <a:pt x="28" y="15"/>
                    </a:lnTo>
                    <a:lnTo>
                      <a:pt x="30" y="13"/>
                    </a:lnTo>
                    <a:lnTo>
                      <a:pt x="29" y="10"/>
                    </a:lnTo>
                    <a:lnTo>
                      <a:pt x="26" y="11"/>
                    </a:lnTo>
                    <a:lnTo>
                      <a:pt x="24" y="10"/>
                    </a:lnTo>
                    <a:lnTo>
                      <a:pt x="20" y="13"/>
                    </a:lnTo>
                    <a:lnTo>
                      <a:pt x="18" y="13"/>
                    </a:lnTo>
                    <a:lnTo>
                      <a:pt x="16" y="9"/>
                    </a:lnTo>
                    <a:lnTo>
                      <a:pt x="18" y="8"/>
                    </a:lnTo>
                    <a:lnTo>
                      <a:pt x="18" y="4"/>
                    </a:lnTo>
                    <a:lnTo>
                      <a:pt x="16" y="6"/>
                    </a:lnTo>
                    <a:lnTo>
                      <a:pt x="15" y="9"/>
                    </a:lnTo>
                    <a:lnTo>
                      <a:pt x="13" y="10"/>
                    </a:lnTo>
                    <a:lnTo>
                      <a:pt x="11" y="9"/>
                    </a:lnTo>
                    <a:lnTo>
                      <a:pt x="8" y="8"/>
                    </a:lnTo>
                    <a:lnTo>
                      <a:pt x="6" y="7"/>
                    </a:lnTo>
                    <a:lnTo>
                      <a:pt x="7" y="3"/>
                    </a:lnTo>
                    <a:lnTo>
                      <a:pt x="6" y="2"/>
                    </a:lnTo>
                    <a:lnTo>
                      <a:pt x="7" y="1"/>
                    </a:lnTo>
                    <a:lnTo>
                      <a:pt x="7" y="0"/>
                    </a:lnTo>
                    <a:lnTo>
                      <a:pt x="5" y="2"/>
                    </a:lnTo>
                    <a:lnTo>
                      <a:pt x="4" y="3"/>
                    </a:lnTo>
                    <a:lnTo>
                      <a:pt x="4" y="5"/>
                    </a:lnTo>
                    <a:lnTo>
                      <a:pt x="4" y="9"/>
                    </a:lnTo>
                    <a:lnTo>
                      <a:pt x="5" y="9"/>
                    </a:lnTo>
                    <a:lnTo>
                      <a:pt x="6" y="11"/>
                    </a:lnTo>
                    <a:lnTo>
                      <a:pt x="2" y="14"/>
                    </a:lnTo>
                    <a:lnTo>
                      <a:pt x="0" y="18"/>
                    </a:lnTo>
                    <a:lnTo>
                      <a:pt x="1" y="21"/>
                    </a:lnTo>
                    <a:lnTo>
                      <a:pt x="1" y="21"/>
                    </a:lnTo>
                    <a:close/>
                  </a:path>
                </a:pathLst>
              </a:custGeom>
              <a:solidFill>
                <a:srgbClr val="F2F1E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190" name="Freeform 192"/>
              <p:cNvSpPr>
                <a:spLocks/>
              </p:cNvSpPr>
              <p:nvPr userDrawn="1"/>
            </p:nvSpPr>
            <p:spPr bwMode="auto">
              <a:xfrm>
                <a:off x="4519" y="3295"/>
                <a:ext cx="2" cy="6"/>
              </a:xfrm>
              <a:custGeom>
                <a:avLst/>
                <a:gdLst>
                  <a:gd name="T0" fmla="*/ 0 w 2"/>
                  <a:gd name="T1" fmla="*/ 6 h 6"/>
                  <a:gd name="T2" fmla="*/ 0 w 2"/>
                  <a:gd name="T3" fmla="*/ 2 h 6"/>
                  <a:gd name="T4" fmla="*/ 2 w 2"/>
                  <a:gd name="T5" fmla="*/ 0 h 6"/>
                  <a:gd name="T6" fmla="*/ 0 w 2"/>
                  <a:gd name="T7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6">
                    <a:moveTo>
                      <a:pt x="0" y="6"/>
                    </a:moveTo>
                    <a:lnTo>
                      <a:pt x="0" y="2"/>
                    </a:lnTo>
                    <a:lnTo>
                      <a:pt x="2" y="0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191" name="Freeform 193"/>
              <p:cNvSpPr>
                <a:spLocks/>
              </p:cNvSpPr>
              <p:nvPr userDrawn="1"/>
            </p:nvSpPr>
            <p:spPr bwMode="auto">
              <a:xfrm>
                <a:off x="4519" y="3295"/>
                <a:ext cx="2" cy="6"/>
              </a:xfrm>
              <a:custGeom>
                <a:avLst/>
                <a:gdLst>
                  <a:gd name="T0" fmla="*/ 0 w 2"/>
                  <a:gd name="T1" fmla="*/ 6 h 6"/>
                  <a:gd name="T2" fmla="*/ 0 w 2"/>
                  <a:gd name="T3" fmla="*/ 2 h 6"/>
                  <a:gd name="T4" fmla="*/ 2 w 2"/>
                  <a:gd name="T5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6">
                    <a:moveTo>
                      <a:pt x="0" y="6"/>
                    </a:moveTo>
                    <a:lnTo>
                      <a:pt x="0" y="2"/>
                    </a:lnTo>
                    <a:lnTo>
                      <a:pt x="2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192" name="Freeform 194"/>
              <p:cNvSpPr>
                <a:spLocks/>
              </p:cNvSpPr>
              <p:nvPr userDrawn="1"/>
            </p:nvSpPr>
            <p:spPr bwMode="auto">
              <a:xfrm>
                <a:off x="4473" y="3306"/>
                <a:ext cx="0" cy="5"/>
              </a:xfrm>
              <a:custGeom>
                <a:avLst/>
                <a:gdLst>
                  <a:gd name="T0" fmla="*/ 0 h 5"/>
                  <a:gd name="T1" fmla="*/ 5 h 5"/>
                  <a:gd name="T2" fmla="*/ 0 h 5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5">
                    <a:moveTo>
                      <a:pt x="0" y="0"/>
                    </a:moveTo>
                    <a:lnTo>
                      <a:pt x="0" y="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193" name="Line 195"/>
              <p:cNvSpPr>
                <a:spLocks noChangeShapeType="1"/>
              </p:cNvSpPr>
              <p:nvPr userDrawn="1"/>
            </p:nvSpPr>
            <p:spPr bwMode="auto">
              <a:xfrm>
                <a:off x="4473" y="3306"/>
                <a:ext cx="0" cy="5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194" name="Freeform 196"/>
              <p:cNvSpPr>
                <a:spLocks/>
              </p:cNvSpPr>
              <p:nvPr userDrawn="1"/>
            </p:nvSpPr>
            <p:spPr bwMode="auto">
              <a:xfrm>
                <a:off x="4016" y="3393"/>
                <a:ext cx="27" cy="29"/>
              </a:xfrm>
              <a:custGeom>
                <a:avLst/>
                <a:gdLst>
                  <a:gd name="T0" fmla="*/ 21 w 27"/>
                  <a:gd name="T1" fmla="*/ 7 h 29"/>
                  <a:gd name="T2" fmla="*/ 21 w 27"/>
                  <a:gd name="T3" fmla="*/ 7 h 29"/>
                  <a:gd name="T4" fmla="*/ 23 w 27"/>
                  <a:gd name="T5" fmla="*/ 8 h 29"/>
                  <a:gd name="T6" fmla="*/ 25 w 27"/>
                  <a:gd name="T7" fmla="*/ 10 h 29"/>
                  <a:gd name="T8" fmla="*/ 27 w 27"/>
                  <a:gd name="T9" fmla="*/ 13 h 29"/>
                  <a:gd name="T10" fmla="*/ 26 w 27"/>
                  <a:gd name="T11" fmla="*/ 14 h 29"/>
                  <a:gd name="T12" fmla="*/ 26 w 27"/>
                  <a:gd name="T13" fmla="*/ 17 h 29"/>
                  <a:gd name="T14" fmla="*/ 25 w 27"/>
                  <a:gd name="T15" fmla="*/ 19 h 29"/>
                  <a:gd name="T16" fmla="*/ 26 w 27"/>
                  <a:gd name="T17" fmla="*/ 20 h 29"/>
                  <a:gd name="T18" fmla="*/ 24 w 27"/>
                  <a:gd name="T19" fmla="*/ 20 h 29"/>
                  <a:gd name="T20" fmla="*/ 22 w 27"/>
                  <a:gd name="T21" fmla="*/ 22 h 29"/>
                  <a:gd name="T22" fmla="*/ 22 w 27"/>
                  <a:gd name="T23" fmla="*/ 25 h 29"/>
                  <a:gd name="T24" fmla="*/ 21 w 27"/>
                  <a:gd name="T25" fmla="*/ 28 h 29"/>
                  <a:gd name="T26" fmla="*/ 18 w 27"/>
                  <a:gd name="T27" fmla="*/ 29 h 29"/>
                  <a:gd name="T28" fmla="*/ 11 w 27"/>
                  <a:gd name="T29" fmla="*/ 29 h 29"/>
                  <a:gd name="T30" fmla="*/ 6 w 27"/>
                  <a:gd name="T31" fmla="*/ 25 h 29"/>
                  <a:gd name="T32" fmla="*/ 3 w 27"/>
                  <a:gd name="T33" fmla="*/ 21 h 29"/>
                  <a:gd name="T34" fmla="*/ 1 w 27"/>
                  <a:gd name="T35" fmla="*/ 20 h 29"/>
                  <a:gd name="T36" fmla="*/ 0 w 27"/>
                  <a:gd name="T37" fmla="*/ 17 h 29"/>
                  <a:gd name="T38" fmla="*/ 2 w 27"/>
                  <a:gd name="T39" fmla="*/ 14 h 29"/>
                  <a:gd name="T40" fmla="*/ 7 w 27"/>
                  <a:gd name="T41" fmla="*/ 5 h 29"/>
                  <a:gd name="T42" fmla="*/ 7 w 27"/>
                  <a:gd name="T43" fmla="*/ 2 h 29"/>
                  <a:gd name="T44" fmla="*/ 11 w 27"/>
                  <a:gd name="T45" fmla="*/ 0 h 29"/>
                  <a:gd name="T46" fmla="*/ 15 w 27"/>
                  <a:gd name="T47" fmla="*/ 3 h 29"/>
                  <a:gd name="T48" fmla="*/ 18 w 27"/>
                  <a:gd name="T49" fmla="*/ 5 h 29"/>
                  <a:gd name="T50" fmla="*/ 21 w 27"/>
                  <a:gd name="T51" fmla="*/ 7 h 29"/>
                  <a:gd name="T52" fmla="*/ 21 w 27"/>
                  <a:gd name="T53" fmla="*/ 7 h 29"/>
                  <a:gd name="T54" fmla="*/ 21 w 27"/>
                  <a:gd name="T55" fmla="*/ 7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27" h="29">
                    <a:moveTo>
                      <a:pt x="21" y="7"/>
                    </a:moveTo>
                    <a:lnTo>
                      <a:pt x="21" y="7"/>
                    </a:lnTo>
                    <a:lnTo>
                      <a:pt x="23" y="8"/>
                    </a:lnTo>
                    <a:lnTo>
                      <a:pt x="25" y="10"/>
                    </a:lnTo>
                    <a:lnTo>
                      <a:pt x="27" y="13"/>
                    </a:lnTo>
                    <a:lnTo>
                      <a:pt x="26" y="14"/>
                    </a:lnTo>
                    <a:lnTo>
                      <a:pt x="26" y="17"/>
                    </a:lnTo>
                    <a:lnTo>
                      <a:pt x="25" y="19"/>
                    </a:lnTo>
                    <a:lnTo>
                      <a:pt x="26" y="20"/>
                    </a:lnTo>
                    <a:lnTo>
                      <a:pt x="24" y="20"/>
                    </a:lnTo>
                    <a:lnTo>
                      <a:pt x="22" y="22"/>
                    </a:lnTo>
                    <a:lnTo>
                      <a:pt x="22" y="25"/>
                    </a:lnTo>
                    <a:lnTo>
                      <a:pt x="21" y="28"/>
                    </a:lnTo>
                    <a:lnTo>
                      <a:pt x="18" y="29"/>
                    </a:lnTo>
                    <a:lnTo>
                      <a:pt x="11" y="29"/>
                    </a:lnTo>
                    <a:lnTo>
                      <a:pt x="6" y="25"/>
                    </a:lnTo>
                    <a:lnTo>
                      <a:pt x="3" y="21"/>
                    </a:lnTo>
                    <a:lnTo>
                      <a:pt x="1" y="20"/>
                    </a:lnTo>
                    <a:lnTo>
                      <a:pt x="0" y="17"/>
                    </a:lnTo>
                    <a:lnTo>
                      <a:pt x="2" y="14"/>
                    </a:lnTo>
                    <a:lnTo>
                      <a:pt x="7" y="5"/>
                    </a:lnTo>
                    <a:lnTo>
                      <a:pt x="7" y="2"/>
                    </a:lnTo>
                    <a:lnTo>
                      <a:pt x="11" y="0"/>
                    </a:lnTo>
                    <a:lnTo>
                      <a:pt x="15" y="3"/>
                    </a:lnTo>
                    <a:lnTo>
                      <a:pt x="18" y="5"/>
                    </a:lnTo>
                    <a:lnTo>
                      <a:pt x="21" y="7"/>
                    </a:lnTo>
                    <a:lnTo>
                      <a:pt x="21" y="7"/>
                    </a:lnTo>
                    <a:lnTo>
                      <a:pt x="21" y="7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195" name="Freeform 197"/>
              <p:cNvSpPr>
                <a:spLocks/>
              </p:cNvSpPr>
              <p:nvPr userDrawn="1"/>
            </p:nvSpPr>
            <p:spPr bwMode="auto">
              <a:xfrm>
                <a:off x="3947" y="3459"/>
                <a:ext cx="7" cy="9"/>
              </a:xfrm>
              <a:custGeom>
                <a:avLst/>
                <a:gdLst>
                  <a:gd name="T0" fmla="*/ 0 w 7"/>
                  <a:gd name="T1" fmla="*/ 9 h 9"/>
                  <a:gd name="T2" fmla="*/ 5 w 7"/>
                  <a:gd name="T3" fmla="*/ 5 h 9"/>
                  <a:gd name="T4" fmla="*/ 7 w 7"/>
                  <a:gd name="T5" fmla="*/ 0 h 9"/>
                  <a:gd name="T6" fmla="*/ 0 w 7"/>
                  <a:gd name="T7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9">
                    <a:moveTo>
                      <a:pt x="0" y="9"/>
                    </a:moveTo>
                    <a:lnTo>
                      <a:pt x="5" y="5"/>
                    </a:lnTo>
                    <a:lnTo>
                      <a:pt x="7" y="0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196" name="Freeform 198"/>
              <p:cNvSpPr>
                <a:spLocks/>
              </p:cNvSpPr>
              <p:nvPr userDrawn="1"/>
            </p:nvSpPr>
            <p:spPr bwMode="auto">
              <a:xfrm>
                <a:off x="3947" y="3459"/>
                <a:ext cx="7" cy="9"/>
              </a:xfrm>
              <a:custGeom>
                <a:avLst/>
                <a:gdLst>
                  <a:gd name="T0" fmla="*/ 0 w 7"/>
                  <a:gd name="T1" fmla="*/ 9 h 9"/>
                  <a:gd name="T2" fmla="*/ 5 w 7"/>
                  <a:gd name="T3" fmla="*/ 5 h 9"/>
                  <a:gd name="T4" fmla="*/ 7 w 7"/>
                  <a:gd name="T5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9">
                    <a:moveTo>
                      <a:pt x="0" y="9"/>
                    </a:moveTo>
                    <a:lnTo>
                      <a:pt x="5" y="5"/>
                    </a:lnTo>
                    <a:lnTo>
                      <a:pt x="7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197" name="Freeform 199"/>
              <p:cNvSpPr>
                <a:spLocks noEditPoints="1"/>
              </p:cNvSpPr>
              <p:nvPr userDrawn="1"/>
            </p:nvSpPr>
            <p:spPr bwMode="auto">
              <a:xfrm>
                <a:off x="6275" y="3675"/>
                <a:ext cx="372" cy="547"/>
              </a:xfrm>
              <a:custGeom>
                <a:avLst/>
                <a:gdLst>
                  <a:gd name="T0" fmla="*/ 80 w 372"/>
                  <a:gd name="T1" fmla="*/ 318 h 547"/>
                  <a:gd name="T2" fmla="*/ 25 w 372"/>
                  <a:gd name="T3" fmla="*/ 544 h 547"/>
                  <a:gd name="T4" fmla="*/ 5 w 372"/>
                  <a:gd name="T5" fmla="*/ 478 h 547"/>
                  <a:gd name="T6" fmla="*/ 316 w 372"/>
                  <a:gd name="T7" fmla="*/ 78 h 547"/>
                  <a:gd name="T8" fmla="*/ 327 w 372"/>
                  <a:gd name="T9" fmla="*/ 63 h 547"/>
                  <a:gd name="T10" fmla="*/ 327 w 372"/>
                  <a:gd name="T11" fmla="*/ 63 h 547"/>
                  <a:gd name="T12" fmla="*/ 276 w 372"/>
                  <a:gd name="T13" fmla="*/ 207 h 547"/>
                  <a:gd name="T14" fmla="*/ 313 w 372"/>
                  <a:gd name="T15" fmla="*/ 180 h 547"/>
                  <a:gd name="T16" fmla="*/ 330 w 372"/>
                  <a:gd name="T17" fmla="*/ 157 h 547"/>
                  <a:gd name="T18" fmla="*/ 347 w 372"/>
                  <a:gd name="T19" fmla="*/ 143 h 547"/>
                  <a:gd name="T20" fmla="*/ 356 w 372"/>
                  <a:gd name="T21" fmla="*/ 131 h 547"/>
                  <a:gd name="T22" fmla="*/ 372 w 372"/>
                  <a:gd name="T23" fmla="*/ 106 h 547"/>
                  <a:gd name="T24" fmla="*/ 348 w 372"/>
                  <a:gd name="T25" fmla="*/ 109 h 547"/>
                  <a:gd name="T26" fmla="*/ 329 w 372"/>
                  <a:gd name="T27" fmla="*/ 84 h 547"/>
                  <a:gd name="T28" fmla="*/ 321 w 372"/>
                  <a:gd name="T29" fmla="*/ 66 h 547"/>
                  <a:gd name="T30" fmla="*/ 320 w 372"/>
                  <a:gd name="T31" fmla="*/ 86 h 547"/>
                  <a:gd name="T32" fmla="*/ 313 w 372"/>
                  <a:gd name="T33" fmla="*/ 72 h 547"/>
                  <a:gd name="T34" fmla="*/ 310 w 372"/>
                  <a:gd name="T35" fmla="*/ 47 h 547"/>
                  <a:gd name="T36" fmla="*/ 316 w 372"/>
                  <a:gd name="T37" fmla="*/ 29 h 547"/>
                  <a:gd name="T38" fmla="*/ 306 w 372"/>
                  <a:gd name="T39" fmla="*/ 18 h 547"/>
                  <a:gd name="T40" fmla="*/ 299 w 372"/>
                  <a:gd name="T41" fmla="*/ 17 h 547"/>
                  <a:gd name="T42" fmla="*/ 293 w 372"/>
                  <a:gd name="T43" fmla="*/ 1 h 547"/>
                  <a:gd name="T44" fmla="*/ 291 w 372"/>
                  <a:gd name="T45" fmla="*/ 25 h 547"/>
                  <a:gd name="T46" fmla="*/ 299 w 372"/>
                  <a:gd name="T47" fmla="*/ 54 h 547"/>
                  <a:gd name="T48" fmla="*/ 305 w 372"/>
                  <a:gd name="T49" fmla="*/ 60 h 547"/>
                  <a:gd name="T50" fmla="*/ 301 w 372"/>
                  <a:gd name="T51" fmla="*/ 66 h 547"/>
                  <a:gd name="T52" fmla="*/ 305 w 372"/>
                  <a:gd name="T53" fmla="*/ 86 h 547"/>
                  <a:gd name="T54" fmla="*/ 300 w 372"/>
                  <a:gd name="T55" fmla="*/ 104 h 547"/>
                  <a:gd name="T56" fmla="*/ 290 w 372"/>
                  <a:gd name="T57" fmla="*/ 133 h 547"/>
                  <a:gd name="T58" fmla="*/ 278 w 372"/>
                  <a:gd name="T59" fmla="*/ 155 h 547"/>
                  <a:gd name="T60" fmla="*/ 279 w 372"/>
                  <a:gd name="T61" fmla="*/ 189 h 547"/>
                  <a:gd name="T62" fmla="*/ 257 w 372"/>
                  <a:gd name="T63" fmla="*/ 184 h 547"/>
                  <a:gd name="T64" fmla="*/ 254 w 372"/>
                  <a:gd name="T65" fmla="*/ 193 h 547"/>
                  <a:gd name="T66" fmla="*/ 254 w 372"/>
                  <a:gd name="T67" fmla="*/ 191 h 547"/>
                  <a:gd name="T68" fmla="*/ 101 w 372"/>
                  <a:gd name="T69" fmla="*/ 357 h 547"/>
                  <a:gd name="T70" fmla="*/ 86 w 372"/>
                  <a:gd name="T71" fmla="*/ 359 h 547"/>
                  <a:gd name="T72" fmla="*/ 94 w 372"/>
                  <a:gd name="T73" fmla="*/ 358 h 547"/>
                  <a:gd name="T74" fmla="*/ 89 w 372"/>
                  <a:gd name="T75" fmla="*/ 363 h 547"/>
                  <a:gd name="T76" fmla="*/ 79 w 372"/>
                  <a:gd name="T77" fmla="*/ 328 h 547"/>
                  <a:gd name="T78" fmla="*/ 85 w 372"/>
                  <a:gd name="T79" fmla="*/ 316 h 547"/>
                  <a:gd name="T80" fmla="*/ 97 w 372"/>
                  <a:gd name="T81" fmla="*/ 299 h 547"/>
                  <a:gd name="T82" fmla="*/ 113 w 372"/>
                  <a:gd name="T83" fmla="*/ 289 h 547"/>
                  <a:gd name="T84" fmla="*/ 140 w 372"/>
                  <a:gd name="T85" fmla="*/ 270 h 547"/>
                  <a:gd name="T86" fmla="*/ 163 w 372"/>
                  <a:gd name="T87" fmla="*/ 254 h 547"/>
                  <a:gd name="T88" fmla="*/ 197 w 372"/>
                  <a:gd name="T89" fmla="*/ 227 h 547"/>
                  <a:gd name="T90" fmla="*/ 214 w 372"/>
                  <a:gd name="T91" fmla="*/ 207 h 547"/>
                  <a:gd name="T92" fmla="*/ 241 w 372"/>
                  <a:gd name="T93" fmla="*/ 178 h 547"/>
                  <a:gd name="T94" fmla="*/ 245 w 372"/>
                  <a:gd name="T95" fmla="*/ 190 h 547"/>
                  <a:gd name="T96" fmla="*/ 253 w 372"/>
                  <a:gd name="T97" fmla="*/ 197 h 547"/>
                  <a:gd name="T98" fmla="*/ 260 w 372"/>
                  <a:gd name="T99" fmla="*/ 197 h 547"/>
                  <a:gd name="T100" fmla="*/ 258 w 372"/>
                  <a:gd name="T101" fmla="*/ 215 h 547"/>
                  <a:gd name="T102" fmla="*/ 233 w 372"/>
                  <a:gd name="T103" fmla="*/ 243 h 547"/>
                  <a:gd name="T104" fmla="*/ 215 w 372"/>
                  <a:gd name="T105" fmla="*/ 267 h 547"/>
                  <a:gd name="T106" fmla="*/ 211 w 372"/>
                  <a:gd name="T107" fmla="*/ 276 h 547"/>
                  <a:gd name="T108" fmla="*/ 199 w 372"/>
                  <a:gd name="T109" fmla="*/ 275 h 547"/>
                  <a:gd name="T110" fmla="*/ 187 w 372"/>
                  <a:gd name="T111" fmla="*/ 280 h 547"/>
                  <a:gd name="T112" fmla="*/ 169 w 372"/>
                  <a:gd name="T113" fmla="*/ 305 h 547"/>
                  <a:gd name="T114" fmla="*/ 152 w 372"/>
                  <a:gd name="T115" fmla="*/ 331 h 547"/>
                  <a:gd name="T116" fmla="*/ 131 w 372"/>
                  <a:gd name="T117" fmla="*/ 340 h 547"/>
                  <a:gd name="T118" fmla="*/ 104 w 372"/>
                  <a:gd name="T119" fmla="*/ 353 h 547"/>
                  <a:gd name="T120" fmla="*/ 95 w 372"/>
                  <a:gd name="T121" fmla="*/ 339 h 547"/>
                  <a:gd name="T122" fmla="*/ 80 w 372"/>
                  <a:gd name="T123" fmla="*/ 334 h 5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372" h="547">
                    <a:moveTo>
                      <a:pt x="80" y="318"/>
                    </a:moveTo>
                    <a:lnTo>
                      <a:pt x="80" y="319"/>
                    </a:lnTo>
                    <a:lnTo>
                      <a:pt x="82" y="318"/>
                    </a:lnTo>
                    <a:lnTo>
                      <a:pt x="82" y="316"/>
                    </a:lnTo>
                    <a:lnTo>
                      <a:pt x="80" y="316"/>
                    </a:lnTo>
                    <a:lnTo>
                      <a:pt x="79" y="317"/>
                    </a:lnTo>
                    <a:lnTo>
                      <a:pt x="80" y="318"/>
                    </a:lnTo>
                    <a:lnTo>
                      <a:pt x="80" y="318"/>
                    </a:lnTo>
                    <a:lnTo>
                      <a:pt x="80" y="318"/>
                    </a:lnTo>
                    <a:close/>
                    <a:moveTo>
                      <a:pt x="25" y="544"/>
                    </a:moveTo>
                    <a:lnTo>
                      <a:pt x="28" y="547"/>
                    </a:lnTo>
                    <a:lnTo>
                      <a:pt x="32" y="547"/>
                    </a:lnTo>
                    <a:lnTo>
                      <a:pt x="35" y="542"/>
                    </a:lnTo>
                    <a:lnTo>
                      <a:pt x="33" y="540"/>
                    </a:lnTo>
                    <a:lnTo>
                      <a:pt x="30" y="543"/>
                    </a:lnTo>
                    <a:lnTo>
                      <a:pt x="27" y="543"/>
                    </a:lnTo>
                    <a:lnTo>
                      <a:pt x="25" y="544"/>
                    </a:lnTo>
                    <a:lnTo>
                      <a:pt x="25" y="544"/>
                    </a:lnTo>
                    <a:lnTo>
                      <a:pt x="25" y="544"/>
                    </a:lnTo>
                    <a:close/>
                    <a:moveTo>
                      <a:pt x="0" y="476"/>
                    </a:moveTo>
                    <a:lnTo>
                      <a:pt x="9" y="468"/>
                    </a:lnTo>
                    <a:lnTo>
                      <a:pt x="11" y="468"/>
                    </a:lnTo>
                    <a:lnTo>
                      <a:pt x="11" y="471"/>
                    </a:lnTo>
                    <a:lnTo>
                      <a:pt x="9" y="474"/>
                    </a:lnTo>
                    <a:lnTo>
                      <a:pt x="10" y="477"/>
                    </a:lnTo>
                    <a:lnTo>
                      <a:pt x="9" y="479"/>
                    </a:lnTo>
                    <a:lnTo>
                      <a:pt x="5" y="478"/>
                    </a:lnTo>
                    <a:lnTo>
                      <a:pt x="2" y="479"/>
                    </a:lnTo>
                    <a:lnTo>
                      <a:pt x="0" y="476"/>
                    </a:lnTo>
                    <a:lnTo>
                      <a:pt x="0" y="476"/>
                    </a:lnTo>
                    <a:lnTo>
                      <a:pt x="0" y="476"/>
                    </a:lnTo>
                    <a:close/>
                    <a:moveTo>
                      <a:pt x="316" y="78"/>
                    </a:moveTo>
                    <a:lnTo>
                      <a:pt x="318" y="77"/>
                    </a:lnTo>
                    <a:lnTo>
                      <a:pt x="318" y="79"/>
                    </a:lnTo>
                    <a:lnTo>
                      <a:pt x="317" y="79"/>
                    </a:lnTo>
                    <a:lnTo>
                      <a:pt x="316" y="78"/>
                    </a:lnTo>
                    <a:lnTo>
                      <a:pt x="316" y="78"/>
                    </a:lnTo>
                    <a:lnTo>
                      <a:pt x="316" y="78"/>
                    </a:lnTo>
                    <a:close/>
                    <a:moveTo>
                      <a:pt x="320" y="62"/>
                    </a:moveTo>
                    <a:lnTo>
                      <a:pt x="320" y="61"/>
                    </a:lnTo>
                    <a:lnTo>
                      <a:pt x="321" y="60"/>
                    </a:lnTo>
                    <a:lnTo>
                      <a:pt x="320" y="62"/>
                    </a:lnTo>
                    <a:lnTo>
                      <a:pt x="320" y="62"/>
                    </a:lnTo>
                    <a:lnTo>
                      <a:pt x="320" y="62"/>
                    </a:lnTo>
                    <a:close/>
                    <a:moveTo>
                      <a:pt x="327" y="63"/>
                    </a:moveTo>
                    <a:lnTo>
                      <a:pt x="325" y="61"/>
                    </a:lnTo>
                    <a:lnTo>
                      <a:pt x="327" y="57"/>
                    </a:lnTo>
                    <a:lnTo>
                      <a:pt x="327" y="60"/>
                    </a:lnTo>
                    <a:lnTo>
                      <a:pt x="328" y="60"/>
                    </a:lnTo>
                    <a:lnTo>
                      <a:pt x="327" y="61"/>
                    </a:lnTo>
                    <a:lnTo>
                      <a:pt x="328" y="63"/>
                    </a:lnTo>
                    <a:lnTo>
                      <a:pt x="327" y="63"/>
                    </a:lnTo>
                    <a:lnTo>
                      <a:pt x="327" y="63"/>
                    </a:lnTo>
                    <a:lnTo>
                      <a:pt x="327" y="63"/>
                    </a:lnTo>
                    <a:close/>
                    <a:moveTo>
                      <a:pt x="267" y="203"/>
                    </a:moveTo>
                    <a:lnTo>
                      <a:pt x="271" y="203"/>
                    </a:lnTo>
                    <a:lnTo>
                      <a:pt x="272" y="201"/>
                    </a:lnTo>
                    <a:lnTo>
                      <a:pt x="274" y="201"/>
                    </a:lnTo>
                    <a:lnTo>
                      <a:pt x="274" y="204"/>
                    </a:lnTo>
                    <a:lnTo>
                      <a:pt x="274" y="206"/>
                    </a:lnTo>
                    <a:lnTo>
                      <a:pt x="274" y="206"/>
                    </a:lnTo>
                    <a:lnTo>
                      <a:pt x="275" y="206"/>
                    </a:lnTo>
                    <a:lnTo>
                      <a:pt x="276" y="207"/>
                    </a:lnTo>
                    <a:lnTo>
                      <a:pt x="276" y="210"/>
                    </a:lnTo>
                    <a:lnTo>
                      <a:pt x="277" y="211"/>
                    </a:lnTo>
                    <a:lnTo>
                      <a:pt x="280" y="211"/>
                    </a:lnTo>
                    <a:lnTo>
                      <a:pt x="287" y="206"/>
                    </a:lnTo>
                    <a:lnTo>
                      <a:pt x="293" y="201"/>
                    </a:lnTo>
                    <a:lnTo>
                      <a:pt x="298" y="195"/>
                    </a:lnTo>
                    <a:lnTo>
                      <a:pt x="303" y="190"/>
                    </a:lnTo>
                    <a:lnTo>
                      <a:pt x="310" y="183"/>
                    </a:lnTo>
                    <a:lnTo>
                      <a:pt x="313" y="180"/>
                    </a:lnTo>
                    <a:lnTo>
                      <a:pt x="315" y="180"/>
                    </a:lnTo>
                    <a:lnTo>
                      <a:pt x="317" y="178"/>
                    </a:lnTo>
                    <a:lnTo>
                      <a:pt x="317" y="175"/>
                    </a:lnTo>
                    <a:lnTo>
                      <a:pt x="318" y="174"/>
                    </a:lnTo>
                    <a:lnTo>
                      <a:pt x="322" y="172"/>
                    </a:lnTo>
                    <a:lnTo>
                      <a:pt x="324" y="166"/>
                    </a:lnTo>
                    <a:lnTo>
                      <a:pt x="328" y="160"/>
                    </a:lnTo>
                    <a:lnTo>
                      <a:pt x="328" y="159"/>
                    </a:lnTo>
                    <a:lnTo>
                      <a:pt x="330" y="157"/>
                    </a:lnTo>
                    <a:lnTo>
                      <a:pt x="327" y="154"/>
                    </a:lnTo>
                    <a:lnTo>
                      <a:pt x="324" y="154"/>
                    </a:lnTo>
                    <a:lnTo>
                      <a:pt x="321" y="154"/>
                    </a:lnTo>
                    <a:lnTo>
                      <a:pt x="324" y="152"/>
                    </a:lnTo>
                    <a:lnTo>
                      <a:pt x="326" y="151"/>
                    </a:lnTo>
                    <a:lnTo>
                      <a:pt x="335" y="143"/>
                    </a:lnTo>
                    <a:lnTo>
                      <a:pt x="338" y="142"/>
                    </a:lnTo>
                    <a:lnTo>
                      <a:pt x="344" y="143"/>
                    </a:lnTo>
                    <a:lnTo>
                      <a:pt x="347" y="143"/>
                    </a:lnTo>
                    <a:lnTo>
                      <a:pt x="346" y="146"/>
                    </a:lnTo>
                    <a:lnTo>
                      <a:pt x="347" y="147"/>
                    </a:lnTo>
                    <a:lnTo>
                      <a:pt x="350" y="145"/>
                    </a:lnTo>
                    <a:lnTo>
                      <a:pt x="352" y="144"/>
                    </a:lnTo>
                    <a:lnTo>
                      <a:pt x="348" y="142"/>
                    </a:lnTo>
                    <a:lnTo>
                      <a:pt x="348" y="139"/>
                    </a:lnTo>
                    <a:lnTo>
                      <a:pt x="351" y="133"/>
                    </a:lnTo>
                    <a:lnTo>
                      <a:pt x="353" y="130"/>
                    </a:lnTo>
                    <a:lnTo>
                      <a:pt x="356" y="131"/>
                    </a:lnTo>
                    <a:lnTo>
                      <a:pt x="357" y="132"/>
                    </a:lnTo>
                    <a:lnTo>
                      <a:pt x="359" y="130"/>
                    </a:lnTo>
                    <a:lnTo>
                      <a:pt x="360" y="127"/>
                    </a:lnTo>
                    <a:lnTo>
                      <a:pt x="365" y="121"/>
                    </a:lnTo>
                    <a:lnTo>
                      <a:pt x="365" y="118"/>
                    </a:lnTo>
                    <a:lnTo>
                      <a:pt x="364" y="116"/>
                    </a:lnTo>
                    <a:lnTo>
                      <a:pt x="366" y="111"/>
                    </a:lnTo>
                    <a:lnTo>
                      <a:pt x="369" y="108"/>
                    </a:lnTo>
                    <a:lnTo>
                      <a:pt x="372" y="106"/>
                    </a:lnTo>
                    <a:lnTo>
                      <a:pt x="372" y="105"/>
                    </a:lnTo>
                    <a:lnTo>
                      <a:pt x="367" y="104"/>
                    </a:lnTo>
                    <a:lnTo>
                      <a:pt x="365" y="102"/>
                    </a:lnTo>
                    <a:lnTo>
                      <a:pt x="367" y="102"/>
                    </a:lnTo>
                    <a:lnTo>
                      <a:pt x="367" y="101"/>
                    </a:lnTo>
                    <a:lnTo>
                      <a:pt x="363" y="100"/>
                    </a:lnTo>
                    <a:lnTo>
                      <a:pt x="360" y="103"/>
                    </a:lnTo>
                    <a:lnTo>
                      <a:pt x="353" y="109"/>
                    </a:lnTo>
                    <a:lnTo>
                      <a:pt x="348" y="109"/>
                    </a:lnTo>
                    <a:lnTo>
                      <a:pt x="346" y="110"/>
                    </a:lnTo>
                    <a:lnTo>
                      <a:pt x="342" y="109"/>
                    </a:lnTo>
                    <a:lnTo>
                      <a:pt x="335" y="102"/>
                    </a:lnTo>
                    <a:lnTo>
                      <a:pt x="333" y="102"/>
                    </a:lnTo>
                    <a:lnTo>
                      <a:pt x="330" y="98"/>
                    </a:lnTo>
                    <a:lnTo>
                      <a:pt x="329" y="96"/>
                    </a:lnTo>
                    <a:lnTo>
                      <a:pt x="331" y="94"/>
                    </a:lnTo>
                    <a:lnTo>
                      <a:pt x="332" y="90"/>
                    </a:lnTo>
                    <a:lnTo>
                      <a:pt x="329" y="84"/>
                    </a:lnTo>
                    <a:lnTo>
                      <a:pt x="329" y="81"/>
                    </a:lnTo>
                    <a:lnTo>
                      <a:pt x="328" y="80"/>
                    </a:lnTo>
                    <a:lnTo>
                      <a:pt x="328" y="76"/>
                    </a:lnTo>
                    <a:lnTo>
                      <a:pt x="329" y="74"/>
                    </a:lnTo>
                    <a:lnTo>
                      <a:pt x="327" y="74"/>
                    </a:lnTo>
                    <a:lnTo>
                      <a:pt x="326" y="69"/>
                    </a:lnTo>
                    <a:lnTo>
                      <a:pt x="325" y="67"/>
                    </a:lnTo>
                    <a:lnTo>
                      <a:pt x="324" y="68"/>
                    </a:lnTo>
                    <a:lnTo>
                      <a:pt x="321" y="66"/>
                    </a:lnTo>
                    <a:lnTo>
                      <a:pt x="320" y="68"/>
                    </a:lnTo>
                    <a:lnTo>
                      <a:pt x="323" y="70"/>
                    </a:lnTo>
                    <a:lnTo>
                      <a:pt x="323" y="74"/>
                    </a:lnTo>
                    <a:lnTo>
                      <a:pt x="323" y="75"/>
                    </a:lnTo>
                    <a:lnTo>
                      <a:pt x="320" y="78"/>
                    </a:lnTo>
                    <a:lnTo>
                      <a:pt x="320" y="81"/>
                    </a:lnTo>
                    <a:lnTo>
                      <a:pt x="323" y="83"/>
                    </a:lnTo>
                    <a:lnTo>
                      <a:pt x="323" y="85"/>
                    </a:lnTo>
                    <a:lnTo>
                      <a:pt x="320" y="86"/>
                    </a:lnTo>
                    <a:lnTo>
                      <a:pt x="318" y="83"/>
                    </a:lnTo>
                    <a:lnTo>
                      <a:pt x="317" y="81"/>
                    </a:lnTo>
                    <a:lnTo>
                      <a:pt x="314" y="81"/>
                    </a:lnTo>
                    <a:lnTo>
                      <a:pt x="314" y="79"/>
                    </a:lnTo>
                    <a:lnTo>
                      <a:pt x="311" y="78"/>
                    </a:lnTo>
                    <a:lnTo>
                      <a:pt x="309" y="78"/>
                    </a:lnTo>
                    <a:lnTo>
                      <a:pt x="309" y="76"/>
                    </a:lnTo>
                    <a:lnTo>
                      <a:pt x="312" y="75"/>
                    </a:lnTo>
                    <a:lnTo>
                      <a:pt x="313" y="72"/>
                    </a:lnTo>
                    <a:lnTo>
                      <a:pt x="310" y="70"/>
                    </a:lnTo>
                    <a:lnTo>
                      <a:pt x="312" y="66"/>
                    </a:lnTo>
                    <a:lnTo>
                      <a:pt x="315" y="65"/>
                    </a:lnTo>
                    <a:lnTo>
                      <a:pt x="316" y="61"/>
                    </a:lnTo>
                    <a:lnTo>
                      <a:pt x="314" y="59"/>
                    </a:lnTo>
                    <a:lnTo>
                      <a:pt x="315" y="57"/>
                    </a:lnTo>
                    <a:lnTo>
                      <a:pt x="314" y="54"/>
                    </a:lnTo>
                    <a:lnTo>
                      <a:pt x="314" y="50"/>
                    </a:lnTo>
                    <a:lnTo>
                      <a:pt x="310" y="47"/>
                    </a:lnTo>
                    <a:lnTo>
                      <a:pt x="311" y="45"/>
                    </a:lnTo>
                    <a:lnTo>
                      <a:pt x="313" y="47"/>
                    </a:lnTo>
                    <a:lnTo>
                      <a:pt x="316" y="46"/>
                    </a:lnTo>
                    <a:lnTo>
                      <a:pt x="317" y="42"/>
                    </a:lnTo>
                    <a:lnTo>
                      <a:pt x="317" y="41"/>
                    </a:lnTo>
                    <a:lnTo>
                      <a:pt x="317" y="37"/>
                    </a:lnTo>
                    <a:lnTo>
                      <a:pt x="317" y="32"/>
                    </a:lnTo>
                    <a:lnTo>
                      <a:pt x="317" y="29"/>
                    </a:lnTo>
                    <a:lnTo>
                      <a:pt x="316" y="29"/>
                    </a:lnTo>
                    <a:lnTo>
                      <a:pt x="311" y="31"/>
                    </a:lnTo>
                    <a:lnTo>
                      <a:pt x="308" y="28"/>
                    </a:lnTo>
                    <a:lnTo>
                      <a:pt x="310" y="26"/>
                    </a:lnTo>
                    <a:lnTo>
                      <a:pt x="308" y="24"/>
                    </a:lnTo>
                    <a:lnTo>
                      <a:pt x="306" y="24"/>
                    </a:lnTo>
                    <a:lnTo>
                      <a:pt x="308" y="22"/>
                    </a:lnTo>
                    <a:lnTo>
                      <a:pt x="311" y="21"/>
                    </a:lnTo>
                    <a:lnTo>
                      <a:pt x="310" y="19"/>
                    </a:lnTo>
                    <a:lnTo>
                      <a:pt x="306" y="18"/>
                    </a:lnTo>
                    <a:lnTo>
                      <a:pt x="304" y="16"/>
                    </a:lnTo>
                    <a:lnTo>
                      <a:pt x="302" y="16"/>
                    </a:lnTo>
                    <a:lnTo>
                      <a:pt x="301" y="14"/>
                    </a:lnTo>
                    <a:lnTo>
                      <a:pt x="303" y="14"/>
                    </a:lnTo>
                    <a:lnTo>
                      <a:pt x="304" y="12"/>
                    </a:lnTo>
                    <a:lnTo>
                      <a:pt x="302" y="12"/>
                    </a:lnTo>
                    <a:lnTo>
                      <a:pt x="300" y="13"/>
                    </a:lnTo>
                    <a:lnTo>
                      <a:pt x="300" y="15"/>
                    </a:lnTo>
                    <a:lnTo>
                      <a:pt x="299" y="17"/>
                    </a:lnTo>
                    <a:lnTo>
                      <a:pt x="296" y="16"/>
                    </a:lnTo>
                    <a:lnTo>
                      <a:pt x="297" y="14"/>
                    </a:lnTo>
                    <a:lnTo>
                      <a:pt x="296" y="11"/>
                    </a:lnTo>
                    <a:lnTo>
                      <a:pt x="295" y="7"/>
                    </a:lnTo>
                    <a:lnTo>
                      <a:pt x="295" y="3"/>
                    </a:lnTo>
                    <a:lnTo>
                      <a:pt x="295" y="2"/>
                    </a:lnTo>
                    <a:lnTo>
                      <a:pt x="296" y="2"/>
                    </a:lnTo>
                    <a:lnTo>
                      <a:pt x="295" y="0"/>
                    </a:lnTo>
                    <a:lnTo>
                      <a:pt x="293" y="1"/>
                    </a:lnTo>
                    <a:lnTo>
                      <a:pt x="288" y="1"/>
                    </a:lnTo>
                    <a:lnTo>
                      <a:pt x="288" y="2"/>
                    </a:lnTo>
                    <a:lnTo>
                      <a:pt x="290" y="5"/>
                    </a:lnTo>
                    <a:lnTo>
                      <a:pt x="294" y="14"/>
                    </a:lnTo>
                    <a:lnTo>
                      <a:pt x="295" y="17"/>
                    </a:lnTo>
                    <a:lnTo>
                      <a:pt x="294" y="23"/>
                    </a:lnTo>
                    <a:lnTo>
                      <a:pt x="293" y="24"/>
                    </a:lnTo>
                    <a:lnTo>
                      <a:pt x="291" y="24"/>
                    </a:lnTo>
                    <a:lnTo>
                      <a:pt x="291" y="25"/>
                    </a:lnTo>
                    <a:lnTo>
                      <a:pt x="293" y="33"/>
                    </a:lnTo>
                    <a:lnTo>
                      <a:pt x="294" y="34"/>
                    </a:lnTo>
                    <a:lnTo>
                      <a:pt x="296" y="32"/>
                    </a:lnTo>
                    <a:lnTo>
                      <a:pt x="300" y="32"/>
                    </a:lnTo>
                    <a:lnTo>
                      <a:pt x="297" y="33"/>
                    </a:lnTo>
                    <a:lnTo>
                      <a:pt x="295" y="36"/>
                    </a:lnTo>
                    <a:lnTo>
                      <a:pt x="296" y="40"/>
                    </a:lnTo>
                    <a:lnTo>
                      <a:pt x="298" y="45"/>
                    </a:lnTo>
                    <a:lnTo>
                      <a:pt x="299" y="54"/>
                    </a:lnTo>
                    <a:lnTo>
                      <a:pt x="299" y="60"/>
                    </a:lnTo>
                    <a:lnTo>
                      <a:pt x="299" y="63"/>
                    </a:lnTo>
                    <a:lnTo>
                      <a:pt x="301" y="62"/>
                    </a:lnTo>
                    <a:lnTo>
                      <a:pt x="302" y="59"/>
                    </a:lnTo>
                    <a:lnTo>
                      <a:pt x="301" y="57"/>
                    </a:lnTo>
                    <a:lnTo>
                      <a:pt x="302" y="56"/>
                    </a:lnTo>
                    <a:lnTo>
                      <a:pt x="303" y="58"/>
                    </a:lnTo>
                    <a:lnTo>
                      <a:pt x="303" y="60"/>
                    </a:lnTo>
                    <a:lnTo>
                      <a:pt x="305" y="60"/>
                    </a:lnTo>
                    <a:lnTo>
                      <a:pt x="306" y="59"/>
                    </a:lnTo>
                    <a:lnTo>
                      <a:pt x="305" y="58"/>
                    </a:lnTo>
                    <a:lnTo>
                      <a:pt x="306" y="58"/>
                    </a:lnTo>
                    <a:lnTo>
                      <a:pt x="307" y="60"/>
                    </a:lnTo>
                    <a:lnTo>
                      <a:pt x="305" y="63"/>
                    </a:lnTo>
                    <a:lnTo>
                      <a:pt x="304" y="66"/>
                    </a:lnTo>
                    <a:lnTo>
                      <a:pt x="303" y="68"/>
                    </a:lnTo>
                    <a:lnTo>
                      <a:pt x="302" y="68"/>
                    </a:lnTo>
                    <a:lnTo>
                      <a:pt x="301" y="66"/>
                    </a:lnTo>
                    <a:lnTo>
                      <a:pt x="299" y="66"/>
                    </a:lnTo>
                    <a:lnTo>
                      <a:pt x="300" y="72"/>
                    </a:lnTo>
                    <a:lnTo>
                      <a:pt x="302" y="79"/>
                    </a:lnTo>
                    <a:lnTo>
                      <a:pt x="304" y="79"/>
                    </a:lnTo>
                    <a:lnTo>
                      <a:pt x="305" y="79"/>
                    </a:lnTo>
                    <a:lnTo>
                      <a:pt x="307" y="81"/>
                    </a:lnTo>
                    <a:lnTo>
                      <a:pt x="307" y="82"/>
                    </a:lnTo>
                    <a:lnTo>
                      <a:pt x="309" y="83"/>
                    </a:lnTo>
                    <a:lnTo>
                      <a:pt x="305" y="86"/>
                    </a:lnTo>
                    <a:lnTo>
                      <a:pt x="305" y="87"/>
                    </a:lnTo>
                    <a:lnTo>
                      <a:pt x="306" y="88"/>
                    </a:lnTo>
                    <a:lnTo>
                      <a:pt x="305" y="91"/>
                    </a:lnTo>
                    <a:lnTo>
                      <a:pt x="303" y="97"/>
                    </a:lnTo>
                    <a:lnTo>
                      <a:pt x="303" y="100"/>
                    </a:lnTo>
                    <a:lnTo>
                      <a:pt x="302" y="102"/>
                    </a:lnTo>
                    <a:lnTo>
                      <a:pt x="304" y="103"/>
                    </a:lnTo>
                    <a:lnTo>
                      <a:pt x="303" y="104"/>
                    </a:lnTo>
                    <a:lnTo>
                      <a:pt x="300" y="104"/>
                    </a:lnTo>
                    <a:lnTo>
                      <a:pt x="299" y="107"/>
                    </a:lnTo>
                    <a:lnTo>
                      <a:pt x="299" y="109"/>
                    </a:lnTo>
                    <a:lnTo>
                      <a:pt x="301" y="111"/>
                    </a:lnTo>
                    <a:lnTo>
                      <a:pt x="299" y="112"/>
                    </a:lnTo>
                    <a:lnTo>
                      <a:pt x="296" y="112"/>
                    </a:lnTo>
                    <a:lnTo>
                      <a:pt x="295" y="116"/>
                    </a:lnTo>
                    <a:lnTo>
                      <a:pt x="293" y="128"/>
                    </a:lnTo>
                    <a:lnTo>
                      <a:pt x="293" y="131"/>
                    </a:lnTo>
                    <a:lnTo>
                      <a:pt x="290" y="133"/>
                    </a:lnTo>
                    <a:lnTo>
                      <a:pt x="287" y="134"/>
                    </a:lnTo>
                    <a:lnTo>
                      <a:pt x="284" y="132"/>
                    </a:lnTo>
                    <a:lnTo>
                      <a:pt x="280" y="133"/>
                    </a:lnTo>
                    <a:lnTo>
                      <a:pt x="274" y="136"/>
                    </a:lnTo>
                    <a:lnTo>
                      <a:pt x="271" y="140"/>
                    </a:lnTo>
                    <a:lnTo>
                      <a:pt x="270" y="144"/>
                    </a:lnTo>
                    <a:lnTo>
                      <a:pt x="270" y="149"/>
                    </a:lnTo>
                    <a:lnTo>
                      <a:pt x="274" y="152"/>
                    </a:lnTo>
                    <a:lnTo>
                      <a:pt x="278" y="155"/>
                    </a:lnTo>
                    <a:lnTo>
                      <a:pt x="281" y="160"/>
                    </a:lnTo>
                    <a:lnTo>
                      <a:pt x="286" y="161"/>
                    </a:lnTo>
                    <a:lnTo>
                      <a:pt x="288" y="163"/>
                    </a:lnTo>
                    <a:lnTo>
                      <a:pt x="289" y="170"/>
                    </a:lnTo>
                    <a:lnTo>
                      <a:pt x="289" y="171"/>
                    </a:lnTo>
                    <a:lnTo>
                      <a:pt x="288" y="172"/>
                    </a:lnTo>
                    <a:lnTo>
                      <a:pt x="288" y="176"/>
                    </a:lnTo>
                    <a:lnTo>
                      <a:pt x="287" y="180"/>
                    </a:lnTo>
                    <a:lnTo>
                      <a:pt x="279" y="189"/>
                    </a:lnTo>
                    <a:lnTo>
                      <a:pt x="274" y="193"/>
                    </a:lnTo>
                    <a:lnTo>
                      <a:pt x="269" y="198"/>
                    </a:lnTo>
                    <a:lnTo>
                      <a:pt x="267" y="201"/>
                    </a:lnTo>
                    <a:lnTo>
                      <a:pt x="267" y="203"/>
                    </a:lnTo>
                    <a:lnTo>
                      <a:pt x="267" y="203"/>
                    </a:lnTo>
                    <a:lnTo>
                      <a:pt x="267" y="203"/>
                    </a:lnTo>
                    <a:close/>
                    <a:moveTo>
                      <a:pt x="255" y="189"/>
                    </a:moveTo>
                    <a:lnTo>
                      <a:pt x="255" y="187"/>
                    </a:lnTo>
                    <a:lnTo>
                      <a:pt x="257" y="184"/>
                    </a:lnTo>
                    <a:lnTo>
                      <a:pt x="260" y="185"/>
                    </a:lnTo>
                    <a:lnTo>
                      <a:pt x="260" y="186"/>
                    </a:lnTo>
                    <a:lnTo>
                      <a:pt x="257" y="188"/>
                    </a:lnTo>
                    <a:lnTo>
                      <a:pt x="255" y="190"/>
                    </a:lnTo>
                    <a:lnTo>
                      <a:pt x="254" y="190"/>
                    </a:lnTo>
                    <a:lnTo>
                      <a:pt x="255" y="189"/>
                    </a:lnTo>
                    <a:lnTo>
                      <a:pt x="255" y="189"/>
                    </a:lnTo>
                    <a:lnTo>
                      <a:pt x="255" y="189"/>
                    </a:lnTo>
                    <a:close/>
                    <a:moveTo>
                      <a:pt x="254" y="193"/>
                    </a:moveTo>
                    <a:lnTo>
                      <a:pt x="255" y="191"/>
                    </a:lnTo>
                    <a:lnTo>
                      <a:pt x="257" y="191"/>
                    </a:lnTo>
                    <a:lnTo>
                      <a:pt x="255" y="193"/>
                    </a:lnTo>
                    <a:lnTo>
                      <a:pt x="254" y="193"/>
                    </a:lnTo>
                    <a:lnTo>
                      <a:pt x="254" y="193"/>
                    </a:lnTo>
                    <a:lnTo>
                      <a:pt x="254" y="193"/>
                    </a:lnTo>
                    <a:close/>
                    <a:moveTo>
                      <a:pt x="252" y="192"/>
                    </a:moveTo>
                    <a:lnTo>
                      <a:pt x="253" y="192"/>
                    </a:lnTo>
                    <a:lnTo>
                      <a:pt x="254" y="191"/>
                    </a:lnTo>
                    <a:lnTo>
                      <a:pt x="255" y="190"/>
                    </a:lnTo>
                    <a:lnTo>
                      <a:pt x="252" y="192"/>
                    </a:lnTo>
                    <a:lnTo>
                      <a:pt x="252" y="192"/>
                    </a:lnTo>
                    <a:lnTo>
                      <a:pt x="252" y="192"/>
                    </a:lnTo>
                    <a:close/>
                    <a:moveTo>
                      <a:pt x="101" y="357"/>
                    </a:moveTo>
                    <a:lnTo>
                      <a:pt x="102" y="356"/>
                    </a:lnTo>
                    <a:lnTo>
                      <a:pt x="102" y="358"/>
                    </a:lnTo>
                    <a:lnTo>
                      <a:pt x="101" y="357"/>
                    </a:lnTo>
                    <a:lnTo>
                      <a:pt x="101" y="357"/>
                    </a:lnTo>
                    <a:lnTo>
                      <a:pt x="101" y="357"/>
                    </a:lnTo>
                    <a:close/>
                    <a:moveTo>
                      <a:pt x="83" y="364"/>
                    </a:moveTo>
                    <a:lnTo>
                      <a:pt x="80" y="367"/>
                    </a:lnTo>
                    <a:lnTo>
                      <a:pt x="79" y="367"/>
                    </a:lnTo>
                    <a:lnTo>
                      <a:pt x="79" y="365"/>
                    </a:lnTo>
                    <a:lnTo>
                      <a:pt x="81" y="362"/>
                    </a:lnTo>
                    <a:lnTo>
                      <a:pt x="83" y="361"/>
                    </a:lnTo>
                    <a:lnTo>
                      <a:pt x="83" y="359"/>
                    </a:lnTo>
                    <a:lnTo>
                      <a:pt x="86" y="359"/>
                    </a:lnTo>
                    <a:lnTo>
                      <a:pt x="87" y="355"/>
                    </a:lnTo>
                    <a:lnTo>
                      <a:pt x="86" y="352"/>
                    </a:lnTo>
                    <a:lnTo>
                      <a:pt x="87" y="349"/>
                    </a:lnTo>
                    <a:lnTo>
                      <a:pt x="90" y="348"/>
                    </a:lnTo>
                    <a:lnTo>
                      <a:pt x="94" y="351"/>
                    </a:lnTo>
                    <a:lnTo>
                      <a:pt x="95" y="355"/>
                    </a:lnTo>
                    <a:lnTo>
                      <a:pt x="96" y="357"/>
                    </a:lnTo>
                    <a:lnTo>
                      <a:pt x="96" y="357"/>
                    </a:lnTo>
                    <a:lnTo>
                      <a:pt x="94" y="358"/>
                    </a:lnTo>
                    <a:lnTo>
                      <a:pt x="93" y="357"/>
                    </a:lnTo>
                    <a:lnTo>
                      <a:pt x="91" y="358"/>
                    </a:lnTo>
                    <a:lnTo>
                      <a:pt x="92" y="358"/>
                    </a:lnTo>
                    <a:lnTo>
                      <a:pt x="94" y="359"/>
                    </a:lnTo>
                    <a:lnTo>
                      <a:pt x="96" y="360"/>
                    </a:lnTo>
                    <a:lnTo>
                      <a:pt x="96" y="362"/>
                    </a:lnTo>
                    <a:lnTo>
                      <a:pt x="95" y="363"/>
                    </a:lnTo>
                    <a:lnTo>
                      <a:pt x="93" y="362"/>
                    </a:lnTo>
                    <a:lnTo>
                      <a:pt x="89" y="363"/>
                    </a:lnTo>
                    <a:lnTo>
                      <a:pt x="87" y="364"/>
                    </a:lnTo>
                    <a:lnTo>
                      <a:pt x="85" y="364"/>
                    </a:lnTo>
                    <a:lnTo>
                      <a:pt x="84" y="363"/>
                    </a:lnTo>
                    <a:lnTo>
                      <a:pt x="83" y="364"/>
                    </a:lnTo>
                    <a:lnTo>
                      <a:pt x="83" y="364"/>
                    </a:lnTo>
                    <a:lnTo>
                      <a:pt x="83" y="364"/>
                    </a:lnTo>
                    <a:close/>
                    <a:moveTo>
                      <a:pt x="80" y="334"/>
                    </a:moveTo>
                    <a:lnTo>
                      <a:pt x="78" y="332"/>
                    </a:lnTo>
                    <a:lnTo>
                      <a:pt x="79" y="328"/>
                    </a:lnTo>
                    <a:lnTo>
                      <a:pt x="80" y="327"/>
                    </a:lnTo>
                    <a:lnTo>
                      <a:pt x="79" y="327"/>
                    </a:lnTo>
                    <a:lnTo>
                      <a:pt x="77" y="326"/>
                    </a:lnTo>
                    <a:lnTo>
                      <a:pt x="80" y="321"/>
                    </a:lnTo>
                    <a:lnTo>
                      <a:pt x="84" y="321"/>
                    </a:lnTo>
                    <a:lnTo>
                      <a:pt x="87" y="321"/>
                    </a:lnTo>
                    <a:lnTo>
                      <a:pt x="89" y="320"/>
                    </a:lnTo>
                    <a:lnTo>
                      <a:pt x="87" y="319"/>
                    </a:lnTo>
                    <a:lnTo>
                      <a:pt x="85" y="316"/>
                    </a:lnTo>
                    <a:lnTo>
                      <a:pt x="84" y="314"/>
                    </a:lnTo>
                    <a:lnTo>
                      <a:pt x="88" y="309"/>
                    </a:lnTo>
                    <a:lnTo>
                      <a:pt x="89" y="308"/>
                    </a:lnTo>
                    <a:lnTo>
                      <a:pt x="90" y="305"/>
                    </a:lnTo>
                    <a:lnTo>
                      <a:pt x="92" y="306"/>
                    </a:lnTo>
                    <a:lnTo>
                      <a:pt x="93" y="309"/>
                    </a:lnTo>
                    <a:lnTo>
                      <a:pt x="95" y="308"/>
                    </a:lnTo>
                    <a:lnTo>
                      <a:pt x="95" y="301"/>
                    </a:lnTo>
                    <a:lnTo>
                      <a:pt x="97" y="299"/>
                    </a:lnTo>
                    <a:lnTo>
                      <a:pt x="98" y="299"/>
                    </a:lnTo>
                    <a:lnTo>
                      <a:pt x="103" y="294"/>
                    </a:lnTo>
                    <a:lnTo>
                      <a:pt x="105" y="295"/>
                    </a:lnTo>
                    <a:lnTo>
                      <a:pt x="106" y="293"/>
                    </a:lnTo>
                    <a:lnTo>
                      <a:pt x="106" y="289"/>
                    </a:lnTo>
                    <a:lnTo>
                      <a:pt x="109" y="287"/>
                    </a:lnTo>
                    <a:lnTo>
                      <a:pt x="111" y="285"/>
                    </a:lnTo>
                    <a:lnTo>
                      <a:pt x="113" y="287"/>
                    </a:lnTo>
                    <a:lnTo>
                      <a:pt x="113" y="289"/>
                    </a:lnTo>
                    <a:lnTo>
                      <a:pt x="114" y="285"/>
                    </a:lnTo>
                    <a:lnTo>
                      <a:pt x="117" y="280"/>
                    </a:lnTo>
                    <a:lnTo>
                      <a:pt x="120" y="280"/>
                    </a:lnTo>
                    <a:lnTo>
                      <a:pt x="124" y="276"/>
                    </a:lnTo>
                    <a:lnTo>
                      <a:pt x="126" y="274"/>
                    </a:lnTo>
                    <a:lnTo>
                      <a:pt x="132" y="269"/>
                    </a:lnTo>
                    <a:lnTo>
                      <a:pt x="135" y="269"/>
                    </a:lnTo>
                    <a:lnTo>
                      <a:pt x="137" y="270"/>
                    </a:lnTo>
                    <a:lnTo>
                      <a:pt x="140" y="270"/>
                    </a:lnTo>
                    <a:lnTo>
                      <a:pt x="144" y="269"/>
                    </a:lnTo>
                    <a:lnTo>
                      <a:pt x="144" y="269"/>
                    </a:lnTo>
                    <a:lnTo>
                      <a:pt x="147" y="272"/>
                    </a:lnTo>
                    <a:lnTo>
                      <a:pt x="147" y="268"/>
                    </a:lnTo>
                    <a:lnTo>
                      <a:pt x="145" y="265"/>
                    </a:lnTo>
                    <a:lnTo>
                      <a:pt x="146" y="263"/>
                    </a:lnTo>
                    <a:lnTo>
                      <a:pt x="153" y="259"/>
                    </a:lnTo>
                    <a:lnTo>
                      <a:pt x="157" y="259"/>
                    </a:lnTo>
                    <a:lnTo>
                      <a:pt x="163" y="254"/>
                    </a:lnTo>
                    <a:lnTo>
                      <a:pt x="169" y="250"/>
                    </a:lnTo>
                    <a:lnTo>
                      <a:pt x="172" y="251"/>
                    </a:lnTo>
                    <a:lnTo>
                      <a:pt x="173" y="248"/>
                    </a:lnTo>
                    <a:lnTo>
                      <a:pt x="177" y="245"/>
                    </a:lnTo>
                    <a:lnTo>
                      <a:pt x="181" y="245"/>
                    </a:lnTo>
                    <a:lnTo>
                      <a:pt x="188" y="240"/>
                    </a:lnTo>
                    <a:lnTo>
                      <a:pt x="195" y="233"/>
                    </a:lnTo>
                    <a:lnTo>
                      <a:pt x="196" y="230"/>
                    </a:lnTo>
                    <a:lnTo>
                      <a:pt x="197" y="227"/>
                    </a:lnTo>
                    <a:lnTo>
                      <a:pt x="197" y="223"/>
                    </a:lnTo>
                    <a:lnTo>
                      <a:pt x="201" y="220"/>
                    </a:lnTo>
                    <a:lnTo>
                      <a:pt x="203" y="219"/>
                    </a:lnTo>
                    <a:lnTo>
                      <a:pt x="203" y="215"/>
                    </a:lnTo>
                    <a:lnTo>
                      <a:pt x="204" y="212"/>
                    </a:lnTo>
                    <a:lnTo>
                      <a:pt x="207" y="211"/>
                    </a:lnTo>
                    <a:lnTo>
                      <a:pt x="210" y="211"/>
                    </a:lnTo>
                    <a:lnTo>
                      <a:pt x="213" y="210"/>
                    </a:lnTo>
                    <a:lnTo>
                      <a:pt x="214" y="207"/>
                    </a:lnTo>
                    <a:lnTo>
                      <a:pt x="219" y="202"/>
                    </a:lnTo>
                    <a:lnTo>
                      <a:pt x="221" y="201"/>
                    </a:lnTo>
                    <a:lnTo>
                      <a:pt x="224" y="197"/>
                    </a:lnTo>
                    <a:lnTo>
                      <a:pt x="227" y="190"/>
                    </a:lnTo>
                    <a:lnTo>
                      <a:pt x="228" y="185"/>
                    </a:lnTo>
                    <a:lnTo>
                      <a:pt x="230" y="182"/>
                    </a:lnTo>
                    <a:lnTo>
                      <a:pt x="233" y="181"/>
                    </a:lnTo>
                    <a:lnTo>
                      <a:pt x="238" y="178"/>
                    </a:lnTo>
                    <a:lnTo>
                      <a:pt x="241" y="178"/>
                    </a:lnTo>
                    <a:lnTo>
                      <a:pt x="239" y="182"/>
                    </a:lnTo>
                    <a:lnTo>
                      <a:pt x="239" y="184"/>
                    </a:lnTo>
                    <a:lnTo>
                      <a:pt x="240" y="186"/>
                    </a:lnTo>
                    <a:lnTo>
                      <a:pt x="242" y="187"/>
                    </a:lnTo>
                    <a:lnTo>
                      <a:pt x="244" y="185"/>
                    </a:lnTo>
                    <a:lnTo>
                      <a:pt x="245" y="186"/>
                    </a:lnTo>
                    <a:lnTo>
                      <a:pt x="245" y="188"/>
                    </a:lnTo>
                    <a:lnTo>
                      <a:pt x="246" y="188"/>
                    </a:lnTo>
                    <a:lnTo>
                      <a:pt x="245" y="190"/>
                    </a:lnTo>
                    <a:lnTo>
                      <a:pt x="243" y="191"/>
                    </a:lnTo>
                    <a:lnTo>
                      <a:pt x="241" y="192"/>
                    </a:lnTo>
                    <a:lnTo>
                      <a:pt x="243" y="198"/>
                    </a:lnTo>
                    <a:lnTo>
                      <a:pt x="246" y="199"/>
                    </a:lnTo>
                    <a:lnTo>
                      <a:pt x="248" y="195"/>
                    </a:lnTo>
                    <a:lnTo>
                      <a:pt x="251" y="194"/>
                    </a:lnTo>
                    <a:lnTo>
                      <a:pt x="252" y="194"/>
                    </a:lnTo>
                    <a:lnTo>
                      <a:pt x="254" y="194"/>
                    </a:lnTo>
                    <a:lnTo>
                      <a:pt x="253" y="197"/>
                    </a:lnTo>
                    <a:lnTo>
                      <a:pt x="255" y="198"/>
                    </a:lnTo>
                    <a:lnTo>
                      <a:pt x="259" y="196"/>
                    </a:lnTo>
                    <a:lnTo>
                      <a:pt x="257" y="196"/>
                    </a:lnTo>
                    <a:lnTo>
                      <a:pt x="256" y="195"/>
                    </a:lnTo>
                    <a:lnTo>
                      <a:pt x="259" y="190"/>
                    </a:lnTo>
                    <a:lnTo>
                      <a:pt x="261" y="191"/>
                    </a:lnTo>
                    <a:lnTo>
                      <a:pt x="261" y="193"/>
                    </a:lnTo>
                    <a:lnTo>
                      <a:pt x="263" y="193"/>
                    </a:lnTo>
                    <a:lnTo>
                      <a:pt x="260" y="197"/>
                    </a:lnTo>
                    <a:lnTo>
                      <a:pt x="256" y="199"/>
                    </a:lnTo>
                    <a:lnTo>
                      <a:pt x="259" y="199"/>
                    </a:lnTo>
                    <a:lnTo>
                      <a:pt x="262" y="198"/>
                    </a:lnTo>
                    <a:lnTo>
                      <a:pt x="258" y="203"/>
                    </a:lnTo>
                    <a:lnTo>
                      <a:pt x="257" y="203"/>
                    </a:lnTo>
                    <a:lnTo>
                      <a:pt x="256" y="206"/>
                    </a:lnTo>
                    <a:lnTo>
                      <a:pt x="256" y="209"/>
                    </a:lnTo>
                    <a:lnTo>
                      <a:pt x="257" y="211"/>
                    </a:lnTo>
                    <a:lnTo>
                      <a:pt x="258" y="215"/>
                    </a:lnTo>
                    <a:lnTo>
                      <a:pt x="260" y="216"/>
                    </a:lnTo>
                    <a:lnTo>
                      <a:pt x="256" y="218"/>
                    </a:lnTo>
                    <a:lnTo>
                      <a:pt x="247" y="226"/>
                    </a:lnTo>
                    <a:lnTo>
                      <a:pt x="247" y="228"/>
                    </a:lnTo>
                    <a:lnTo>
                      <a:pt x="240" y="234"/>
                    </a:lnTo>
                    <a:lnTo>
                      <a:pt x="240" y="235"/>
                    </a:lnTo>
                    <a:lnTo>
                      <a:pt x="237" y="235"/>
                    </a:lnTo>
                    <a:lnTo>
                      <a:pt x="233" y="239"/>
                    </a:lnTo>
                    <a:lnTo>
                      <a:pt x="233" y="243"/>
                    </a:lnTo>
                    <a:lnTo>
                      <a:pt x="229" y="247"/>
                    </a:lnTo>
                    <a:lnTo>
                      <a:pt x="229" y="250"/>
                    </a:lnTo>
                    <a:lnTo>
                      <a:pt x="223" y="253"/>
                    </a:lnTo>
                    <a:lnTo>
                      <a:pt x="218" y="254"/>
                    </a:lnTo>
                    <a:lnTo>
                      <a:pt x="215" y="255"/>
                    </a:lnTo>
                    <a:lnTo>
                      <a:pt x="214" y="261"/>
                    </a:lnTo>
                    <a:lnTo>
                      <a:pt x="214" y="265"/>
                    </a:lnTo>
                    <a:lnTo>
                      <a:pt x="213" y="266"/>
                    </a:lnTo>
                    <a:lnTo>
                      <a:pt x="215" y="267"/>
                    </a:lnTo>
                    <a:lnTo>
                      <a:pt x="217" y="270"/>
                    </a:lnTo>
                    <a:lnTo>
                      <a:pt x="217" y="275"/>
                    </a:lnTo>
                    <a:lnTo>
                      <a:pt x="215" y="276"/>
                    </a:lnTo>
                    <a:lnTo>
                      <a:pt x="214" y="275"/>
                    </a:lnTo>
                    <a:lnTo>
                      <a:pt x="214" y="271"/>
                    </a:lnTo>
                    <a:lnTo>
                      <a:pt x="213" y="270"/>
                    </a:lnTo>
                    <a:lnTo>
                      <a:pt x="212" y="271"/>
                    </a:lnTo>
                    <a:lnTo>
                      <a:pt x="212" y="274"/>
                    </a:lnTo>
                    <a:lnTo>
                      <a:pt x="211" y="276"/>
                    </a:lnTo>
                    <a:lnTo>
                      <a:pt x="209" y="275"/>
                    </a:lnTo>
                    <a:lnTo>
                      <a:pt x="205" y="275"/>
                    </a:lnTo>
                    <a:lnTo>
                      <a:pt x="208" y="273"/>
                    </a:lnTo>
                    <a:lnTo>
                      <a:pt x="208" y="272"/>
                    </a:lnTo>
                    <a:lnTo>
                      <a:pt x="206" y="271"/>
                    </a:lnTo>
                    <a:lnTo>
                      <a:pt x="203" y="273"/>
                    </a:lnTo>
                    <a:lnTo>
                      <a:pt x="203" y="274"/>
                    </a:lnTo>
                    <a:lnTo>
                      <a:pt x="201" y="275"/>
                    </a:lnTo>
                    <a:lnTo>
                      <a:pt x="199" y="275"/>
                    </a:lnTo>
                    <a:lnTo>
                      <a:pt x="198" y="271"/>
                    </a:lnTo>
                    <a:lnTo>
                      <a:pt x="195" y="270"/>
                    </a:lnTo>
                    <a:lnTo>
                      <a:pt x="197" y="272"/>
                    </a:lnTo>
                    <a:lnTo>
                      <a:pt x="198" y="275"/>
                    </a:lnTo>
                    <a:lnTo>
                      <a:pt x="195" y="277"/>
                    </a:lnTo>
                    <a:lnTo>
                      <a:pt x="193" y="278"/>
                    </a:lnTo>
                    <a:lnTo>
                      <a:pt x="190" y="278"/>
                    </a:lnTo>
                    <a:lnTo>
                      <a:pt x="189" y="280"/>
                    </a:lnTo>
                    <a:lnTo>
                      <a:pt x="187" y="280"/>
                    </a:lnTo>
                    <a:lnTo>
                      <a:pt x="185" y="278"/>
                    </a:lnTo>
                    <a:lnTo>
                      <a:pt x="184" y="282"/>
                    </a:lnTo>
                    <a:lnTo>
                      <a:pt x="181" y="283"/>
                    </a:lnTo>
                    <a:lnTo>
                      <a:pt x="178" y="287"/>
                    </a:lnTo>
                    <a:lnTo>
                      <a:pt x="178" y="290"/>
                    </a:lnTo>
                    <a:lnTo>
                      <a:pt x="176" y="293"/>
                    </a:lnTo>
                    <a:lnTo>
                      <a:pt x="172" y="298"/>
                    </a:lnTo>
                    <a:lnTo>
                      <a:pt x="171" y="302"/>
                    </a:lnTo>
                    <a:lnTo>
                      <a:pt x="169" y="305"/>
                    </a:lnTo>
                    <a:lnTo>
                      <a:pt x="162" y="311"/>
                    </a:lnTo>
                    <a:lnTo>
                      <a:pt x="159" y="314"/>
                    </a:lnTo>
                    <a:lnTo>
                      <a:pt x="158" y="319"/>
                    </a:lnTo>
                    <a:lnTo>
                      <a:pt x="155" y="324"/>
                    </a:lnTo>
                    <a:lnTo>
                      <a:pt x="151" y="328"/>
                    </a:lnTo>
                    <a:lnTo>
                      <a:pt x="152" y="329"/>
                    </a:lnTo>
                    <a:lnTo>
                      <a:pt x="151" y="330"/>
                    </a:lnTo>
                    <a:lnTo>
                      <a:pt x="149" y="331"/>
                    </a:lnTo>
                    <a:lnTo>
                      <a:pt x="152" y="331"/>
                    </a:lnTo>
                    <a:lnTo>
                      <a:pt x="153" y="332"/>
                    </a:lnTo>
                    <a:lnTo>
                      <a:pt x="151" y="333"/>
                    </a:lnTo>
                    <a:lnTo>
                      <a:pt x="146" y="333"/>
                    </a:lnTo>
                    <a:lnTo>
                      <a:pt x="141" y="335"/>
                    </a:lnTo>
                    <a:lnTo>
                      <a:pt x="139" y="339"/>
                    </a:lnTo>
                    <a:lnTo>
                      <a:pt x="138" y="342"/>
                    </a:lnTo>
                    <a:lnTo>
                      <a:pt x="133" y="344"/>
                    </a:lnTo>
                    <a:lnTo>
                      <a:pt x="134" y="341"/>
                    </a:lnTo>
                    <a:lnTo>
                      <a:pt x="131" y="340"/>
                    </a:lnTo>
                    <a:lnTo>
                      <a:pt x="132" y="342"/>
                    </a:lnTo>
                    <a:lnTo>
                      <a:pt x="132" y="344"/>
                    </a:lnTo>
                    <a:lnTo>
                      <a:pt x="128" y="346"/>
                    </a:lnTo>
                    <a:lnTo>
                      <a:pt x="123" y="350"/>
                    </a:lnTo>
                    <a:lnTo>
                      <a:pt x="117" y="353"/>
                    </a:lnTo>
                    <a:lnTo>
                      <a:pt x="112" y="353"/>
                    </a:lnTo>
                    <a:lnTo>
                      <a:pt x="109" y="353"/>
                    </a:lnTo>
                    <a:lnTo>
                      <a:pt x="109" y="351"/>
                    </a:lnTo>
                    <a:lnTo>
                      <a:pt x="104" y="353"/>
                    </a:lnTo>
                    <a:lnTo>
                      <a:pt x="102" y="353"/>
                    </a:lnTo>
                    <a:lnTo>
                      <a:pt x="106" y="350"/>
                    </a:lnTo>
                    <a:lnTo>
                      <a:pt x="104" y="349"/>
                    </a:lnTo>
                    <a:lnTo>
                      <a:pt x="101" y="346"/>
                    </a:lnTo>
                    <a:lnTo>
                      <a:pt x="100" y="342"/>
                    </a:lnTo>
                    <a:lnTo>
                      <a:pt x="99" y="341"/>
                    </a:lnTo>
                    <a:lnTo>
                      <a:pt x="96" y="341"/>
                    </a:lnTo>
                    <a:lnTo>
                      <a:pt x="94" y="340"/>
                    </a:lnTo>
                    <a:lnTo>
                      <a:pt x="95" y="339"/>
                    </a:lnTo>
                    <a:lnTo>
                      <a:pt x="94" y="336"/>
                    </a:lnTo>
                    <a:lnTo>
                      <a:pt x="91" y="334"/>
                    </a:lnTo>
                    <a:lnTo>
                      <a:pt x="89" y="335"/>
                    </a:lnTo>
                    <a:lnTo>
                      <a:pt x="88" y="337"/>
                    </a:lnTo>
                    <a:lnTo>
                      <a:pt x="87" y="337"/>
                    </a:lnTo>
                    <a:lnTo>
                      <a:pt x="86" y="336"/>
                    </a:lnTo>
                    <a:lnTo>
                      <a:pt x="82" y="335"/>
                    </a:lnTo>
                    <a:lnTo>
                      <a:pt x="80" y="334"/>
                    </a:lnTo>
                    <a:lnTo>
                      <a:pt x="80" y="334"/>
                    </a:lnTo>
                    <a:close/>
                  </a:path>
                </a:pathLst>
              </a:custGeom>
              <a:solidFill>
                <a:schemeClr val="accent2"/>
              </a:solidFill>
              <a:ln w="1651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198" name="Freeform 200"/>
              <p:cNvSpPr>
                <a:spLocks noEditPoints="1"/>
              </p:cNvSpPr>
              <p:nvPr userDrawn="1"/>
            </p:nvSpPr>
            <p:spPr bwMode="auto">
              <a:xfrm>
                <a:off x="2455" y="3958"/>
                <a:ext cx="52" cy="20"/>
              </a:xfrm>
              <a:custGeom>
                <a:avLst/>
                <a:gdLst>
                  <a:gd name="T0" fmla="*/ 20 w 54"/>
                  <a:gd name="T1" fmla="*/ 1 h 21"/>
                  <a:gd name="T2" fmla="*/ 25 w 54"/>
                  <a:gd name="T3" fmla="*/ 0 h 21"/>
                  <a:gd name="T4" fmla="*/ 28 w 54"/>
                  <a:gd name="T5" fmla="*/ 3 h 21"/>
                  <a:gd name="T6" fmla="*/ 20 w 54"/>
                  <a:gd name="T7" fmla="*/ 1 h 21"/>
                  <a:gd name="T8" fmla="*/ 14 w 54"/>
                  <a:gd name="T9" fmla="*/ 2 h 21"/>
                  <a:gd name="T10" fmla="*/ 16 w 54"/>
                  <a:gd name="T11" fmla="*/ 5 h 21"/>
                  <a:gd name="T12" fmla="*/ 18 w 54"/>
                  <a:gd name="T13" fmla="*/ 4 h 21"/>
                  <a:gd name="T14" fmla="*/ 14 w 54"/>
                  <a:gd name="T15" fmla="*/ 2 h 21"/>
                  <a:gd name="T16" fmla="*/ 0 w 54"/>
                  <a:gd name="T17" fmla="*/ 18 h 21"/>
                  <a:gd name="T18" fmla="*/ 2 w 54"/>
                  <a:gd name="T19" fmla="*/ 17 h 21"/>
                  <a:gd name="T20" fmla="*/ 5 w 54"/>
                  <a:gd name="T21" fmla="*/ 18 h 21"/>
                  <a:gd name="T22" fmla="*/ 7 w 54"/>
                  <a:gd name="T23" fmla="*/ 19 h 21"/>
                  <a:gd name="T24" fmla="*/ 2 w 54"/>
                  <a:gd name="T25" fmla="*/ 21 h 21"/>
                  <a:gd name="T26" fmla="*/ 0 w 54"/>
                  <a:gd name="T27" fmla="*/ 18 h 21"/>
                  <a:gd name="T28" fmla="*/ 54 w 54"/>
                  <a:gd name="T29" fmla="*/ 10 h 21"/>
                  <a:gd name="T30" fmla="*/ 54 w 54"/>
                  <a:gd name="T31" fmla="*/ 1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54" h="21">
                    <a:moveTo>
                      <a:pt x="20" y="1"/>
                    </a:moveTo>
                    <a:cubicBezTo>
                      <a:pt x="25" y="0"/>
                      <a:pt x="25" y="0"/>
                      <a:pt x="25" y="0"/>
                    </a:cubicBezTo>
                    <a:cubicBezTo>
                      <a:pt x="28" y="3"/>
                      <a:pt x="28" y="3"/>
                      <a:pt x="28" y="3"/>
                    </a:cubicBezTo>
                    <a:cubicBezTo>
                      <a:pt x="20" y="1"/>
                      <a:pt x="20" y="1"/>
                      <a:pt x="20" y="1"/>
                    </a:cubicBezTo>
                    <a:close/>
                    <a:moveTo>
                      <a:pt x="14" y="2"/>
                    </a:moveTo>
                    <a:cubicBezTo>
                      <a:pt x="16" y="5"/>
                      <a:pt x="16" y="5"/>
                      <a:pt x="16" y="5"/>
                    </a:cubicBezTo>
                    <a:cubicBezTo>
                      <a:pt x="18" y="4"/>
                      <a:pt x="18" y="4"/>
                      <a:pt x="18" y="4"/>
                    </a:cubicBezTo>
                    <a:cubicBezTo>
                      <a:pt x="14" y="2"/>
                      <a:pt x="14" y="2"/>
                      <a:pt x="14" y="2"/>
                    </a:cubicBezTo>
                    <a:close/>
                    <a:moveTo>
                      <a:pt x="0" y="18"/>
                    </a:moveTo>
                    <a:cubicBezTo>
                      <a:pt x="2" y="17"/>
                      <a:pt x="2" y="17"/>
                      <a:pt x="2" y="17"/>
                    </a:cubicBezTo>
                    <a:cubicBezTo>
                      <a:pt x="5" y="18"/>
                      <a:pt x="5" y="18"/>
                      <a:pt x="5" y="18"/>
                    </a:cubicBezTo>
                    <a:cubicBezTo>
                      <a:pt x="7" y="19"/>
                      <a:pt x="7" y="19"/>
                      <a:pt x="7" y="19"/>
                    </a:cubicBezTo>
                    <a:cubicBezTo>
                      <a:pt x="2" y="21"/>
                      <a:pt x="2" y="21"/>
                      <a:pt x="2" y="21"/>
                    </a:cubicBezTo>
                    <a:cubicBezTo>
                      <a:pt x="0" y="18"/>
                      <a:pt x="0" y="18"/>
                      <a:pt x="0" y="18"/>
                    </a:cubicBezTo>
                    <a:close/>
                    <a:moveTo>
                      <a:pt x="54" y="10"/>
                    </a:moveTo>
                    <a:cubicBezTo>
                      <a:pt x="54" y="10"/>
                      <a:pt x="54" y="10"/>
                      <a:pt x="54" y="10"/>
                    </a:cubicBezTo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199" name="Freeform 201"/>
              <p:cNvSpPr>
                <a:spLocks/>
              </p:cNvSpPr>
              <p:nvPr userDrawn="1"/>
            </p:nvSpPr>
            <p:spPr bwMode="auto">
              <a:xfrm>
                <a:off x="1861" y="2674"/>
                <a:ext cx="3" cy="3"/>
              </a:xfrm>
              <a:custGeom>
                <a:avLst/>
                <a:gdLst>
                  <a:gd name="T0" fmla="*/ 0 w 3"/>
                  <a:gd name="T1" fmla="*/ 0 h 3"/>
                  <a:gd name="T2" fmla="*/ 1 w 3"/>
                  <a:gd name="T3" fmla="*/ 2 h 3"/>
                  <a:gd name="T4" fmla="*/ 3 w 3"/>
                  <a:gd name="T5" fmla="*/ 3 h 3"/>
                  <a:gd name="T6" fmla="*/ 0 w 3"/>
                  <a:gd name="T7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3">
                    <a:moveTo>
                      <a:pt x="0" y="0"/>
                    </a:moveTo>
                    <a:lnTo>
                      <a:pt x="1" y="2"/>
                    </a:lnTo>
                    <a:lnTo>
                      <a:pt x="3" y="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200" name="Freeform 202"/>
              <p:cNvSpPr>
                <a:spLocks/>
              </p:cNvSpPr>
              <p:nvPr userDrawn="1"/>
            </p:nvSpPr>
            <p:spPr bwMode="auto">
              <a:xfrm>
                <a:off x="1861" y="2674"/>
                <a:ext cx="3" cy="3"/>
              </a:xfrm>
              <a:custGeom>
                <a:avLst/>
                <a:gdLst>
                  <a:gd name="T0" fmla="*/ 0 w 3"/>
                  <a:gd name="T1" fmla="*/ 0 h 3"/>
                  <a:gd name="T2" fmla="*/ 1 w 3"/>
                  <a:gd name="T3" fmla="*/ 2 h 3"/>
                  <a:gd name="T4" fmla="*/ 3 w 3"/>
                  <a:gd name="T5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" h="3">
                    <a:moveTo>
                      <a:pt x="0" y="0"/>
                    </a:moveTo>
                    <a:lnTo>
                      <a:pt x="1" y="2"/>
                    </a:lnTo>
                    <a:lnTo>
                      <a:pt x="3" y="3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201" name="Freeform 203"/>
              <p:cNvSpPr>
                <a:spLocks noEditPoints="1"/>
              </p:cNvSpPr>
              <p:nvPr userDrawn="1"/>
            </p:nvSpPr>
            <p:spPr bwMode="auto">
              <a:xfrm>
                <a:off x="2180" y="3749"/>
                <a:ext cx="198" cy="342"/>
              </a:xfrm>
              <a:custGeom>
                <a:avLst/>
                <a:gdLst>
                  <a:gd name="T0" fmla="*/ 146 w 207"/>
                  <a:gd name="T1" fmla="*/ 318 h 358"/>
                  <a:gd name="T2" fmla="*/ 140 w 207"/>
                  <a:gd name="T3" fmla="*/ 321 h 358"/>
                  <a:gd name="T4" fmla="*/ 119 w 207"/>
                  <a:gd name="T5" fmla="*/ 329 h 358"/>
                  <a:gd name="T6" fmla="*/ 138 w 207"/>
                  <a:gd name="T7" fmla="*/ 336 h 358"/>
                  <a:gd name="T8" fmla="*/ 143 w 207"/>
                  <a:gd name="T9" fmla="*/ 338 h 358"/>
                  <a:gd name="T10" fmla="*/ 177 w 207"/>
                  <a:gd name="T11" fmla="*/ 330 h 358"/>
                  <a:gd name="T12" fmla="*/ 150 w 207"/>
                  <a:gd name="T13" fmla="*/ 298 h 358"/>
                  <a:gd name="T14" fmla="*/ 138 w 207"/>
                  <a:gd name="T15" fmla="*/ 282 h 358"/>
                  <a:gd name="T16" fmla="*/ 147 w 207"/>
                  <a:gd name="T17" fmla="*/ 265 h 358"/>
                  <a:gd name="T18" fmla="*/ 202 w 207"/>
                  <a:gd name="T19" fmla="*/ 356 h 358"/>
                  <a:gd name="T20" fmla="*/ 20 w 207"/>
                  <a:gd name="T21" fmla="*/ 30 h 358"/>
                  <a:gd name="T22" fmla="*/ 6 w 207"/>
                  <a:gd name="T23" fmla="*/ 11 h 358"/>
                  <a:gd name="T24" fmla="*/ 22 w 207"/>
                  <a:gd name="T25" fmla="*/ 16 h 358"/>
                  <a:gd name="T26" fmla="*/ 5 w 207"/>
                  <a:gd name="T27" fmla="*/ 45 h 358"/>
                  <a:gd name="T28" fmla="*/ 27 w 207"/>
                  <a:gd name="T29" fmla="*/ 51 h 358"/>
                  <a:gd name="T30" fmla="*/ 17 w 207"/>
                  <a:gd name="T31" fmla="*/ 56 h 358"/>
                  <a:gd name="T32" fmla="*/ 13 w 207"/>
                  <a:gd name="T33" fmla="*/ 62 h 358"/>
                  <a:gd name="T34" fmla="*/ 21 w 207"/>
                  <a:gd name="T35" fmla="*/ 64 h 358"/>
                  <a:gd name="T36" fmla="*/ 12 w 207"/>
                  <a:gd name="T37" fmla="*/ 64 h 358"/>
                  <a:gd name="T38" fmla="*/ 19 w 207"/>
                  <a:gd name="T39" fmla="*/ 87 h 358"/>
                  <a:gd name="T40" fmla="*/ 32 w 207"/>
                  <a:gd name="T41" fmla="*/ 61 h 358"/>
                  <a:gd name="T42" fmla="*/ 32 w 207"/>
                  <a:gd name="T43" fmla="*/ 76 h 358"/>
                  <a:gd name="T44" fmla="*/ 15 w 207"/>
                  <a:gd name="T45" fmla="*/ 73 h 358"/>
                  <a:gd name="T46" fmla="*/ 27 w 207"/>
                  <a:gd name="T47" fmla="*/ 90 h 358"/>
                  <a:gd name="T48" fmla="*/ 26 w 207"/>
                  <a:gd name="T49" fmla="*/ 165 h 358"/>
                  <a:gd name="T50" fmla="*/ 30 w 207"/>
                  <a:gd name="T51" fmla="*/ 160 h 358"/>
                  <a:gd name="T52" fmla="*/ 25 w 207"/>
                  <a:gd name="T53" fmla="*/ 167 h 358"/>
                  <a:gd name="T54" fmla="*/ 17 w 207"/>
                  <a:gd name="T55" fmla="*/ 165 h 358"/>
                  <a:gd name="T56" fmla="*/ 19 w 207"/>
                  <a:gd name="T57" fmla="*/ 174 h 358"/>
                  <a:gd name="T58" fmla="*/ 24 w 207"/>
                  <a:gd name="T59" fmla="*/ 193 h 358"/>
                  <a:gd name="T60" fmla="*/ 30 w 207"/>
                  <a:gd name="T61" fmla="*/ 183 h 358"/>
                  <a:gd name="T62" fmla="*/ 39 w 207"/>
                  <a:gd name="T63" fmla="*/ 186 h 358"/>
                  <a:gd name="T64" fmla="*/ 28 w 207"/>
                  <a:gd name="T65" fmla="*/ 212 h 358"/>
                  <a:gd name="T66" fmla="*/ 29 w 207"/>
                  <a:gd name="T67" fmla="*/ 219 h 358"/>
                  <a:gd name="T68" fmla="*/ 40 w 207"/>
                  <a:gd name="T69" fmla="*/ 217 h 358"/>
                  <a:gd name="T70" fmla="*/ 45 w 207"/>
                  <a:gd name="T71" fmla="*/ 226 h 358"/>
                  <a:gd name="T72" fmla="*/ 38 w 207"/>
                  <a:gd name="T73" fmla="*/ 234 h 358"/>
                  <a:gd name="T74" fmla="*/ 44 w 207"/>
                  <a:gd name="T75" fmla="*/ 257 h 358"/>
                  <a:gd name="T76" fmla="*/ 49 w 207"/>
                  <a:gd name="T77" fmla="*/ 252 h 358"/>
                  <a:gd name="T78" fmla="*/ 55 w 207"/>
                  <a:gd name="T79" fmla="*/ 254 h 358"/>
                  <a:gd name="T80" fmla="*/ 54 w 207"/>
                  <a:gd name="T81" fmla="*/ 261 h 358"/>
                  <a:gd name="T82" fmla="*/ 65 w 207"/>
                  <a:gd name="T83" fmla="*/ 257 h 358"/>
                  <a:gd name="T84" fmla="*/ 67 w 207"/>
                  <a:gd name="T85" fmla="*/ 266 h 358"/>
                  <a:gd name="T86" fmla="*/ 71 w 207"/>
                  <a:gd name="T87" fmla="*/ 272 h 358"/>
                  <a:gd name="T88" fmla="*/ 57 w 207"/>
                  <a:gd name="T89" fmla="*/ 282 h 358"/>
                  <a:gd name="T90" fmla="*/ 88 w 207"/>
                  <a:gd name="T91" fmla="*/ 296 h 358"/>
                  <a:gd name="T92" fmla="*/ 99 w 207"/>
                  <a:gd name="T93" fmla="*/ 315 h 358"/>
                  <a:gd name="T94" fmla="*/ 87 w 207"/>
                  <a:gd name="T95" fmla="*/ 308 h 358"/>
                  <a:gd name="T96" fmla="*/ 99 w 207"/>
                  <a:gd name="T97" fmla="*/ 303 h 358"/>
                  <a:gd name="T98" fmla="*/ 105 w 207"/>
                  <a:gd name="T99" fmla="*/ 317 h 358"/>
                  <a:gd name="T100" fmla="*/ 131 w 207"/>
                  <a:gd name="T101" fmla="*/ 317 h 358"/>
                  <a:gd name="T102" fmla="*/ 117 w 207"/>
                  <a:gd name="T103" fmla="*/ 311 h 358"/>
                  <a:gd name="T104" fmla="*/ 139 w 207"/>
                  <a:gd name="T105" fmla="*/ 302 h 358"/>
                  <a:gd name="T106" fmla="*/ 141 w 207"/>
                  <a:gd name="T107" fmla="*/ 313 h 358"/>
                  <a:gd name="T108" fmla="*/ 131 w 207"/>
                  <a:gd name="T109" fmla="*/ 335 h 358"/>
                  <a:gd name="T110" fmla="*/ 160 w 207"/>
                  <a:gd name="T111" fmla="*/ 335 h 358"/>
                  <a:gd name="T112" fmla="*/ 206 w 207"/>
                  <a:gd name="T113" fmla="*/ 337 h 358"/>
                  <a:gd name="T114" fmla="*/ 178 w 207"/>
                  <a:gd name="T115" fmla="*/ 337 h 358"/>
                  <a:gd name="T116" fmla="*/ 184 w 207"/>
                  <a:gd name="T117" fmla="*/ 348 h 358"/>
                  <a:gd name="T118" fmla="*/ 164 w 207"/>
                  <a:gd name="T119" fmla="*/ 349 h 358"/>
                  <a:gd name="T120" fmla="*/ 157 w 207"/>
                  <a:gd name="T121" fmla="*/ 336 h 3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07" h="358">
                    <a:moveTo>
                      <a:pt x="177" y="330"/>
                    </a:moveTo>
                    <a:cubicBezTo>
                      <a:pt x="175" y="323"/>
                      <a:pt x="175" y="323"/>
                      <a:pt x="175" y="323"/>
                    </a:cubicBezTo>
                    <a:cubicBezTo>
                      <a:pt x="173" y="323"/>
                      <a:pt x="173" y="323"/>
                      <a:pt x="173" y="323"/>
                    </a:cubicBezTo>
                    <a:cubicBezTo>
                      <a:pt x="169" y="321"/>
                      <a:pt x="169" y="321"/>
                      <a:pt x="169" y="321"/>
                    </a:cubicBezTo>
                    <a:cubicBezTo>
                      <a:pt x="162" y="319"/>
                      <a:pt x="162" y="319"/>
                      <a:pt x="162" y="319"/>
                    </a:cubicBezTo>
                    <a:cubicBezTo>
                      <a:pt x="153" y="316"/>
                      <a:pt x="153" y="316"/>
                      <a:pt x="153" y="316"/>
                    </a:cubicBezTo>
                    <a:cubicBezTo>
                      <a:pt x="148" y="314"/>
                      <a:pt x="148" y="314"/>
                      <a:pt x="148" y="314"/>
                    </a:cubicBezTo>
                    <a:cubicBezTo>
                      <a:pt x="148" y="316"/>
                      <a:pt x="148" y="316"/>
                      <a:pt x="148" y="316"/>
                    </a:cubicBezTo>
                    <a:cubicBezTo>
                      <a:pt x="149" y="317"/>
                      <a:pt x="149" y="317"/>
                      <a:pt x="149" y="317"/>
                    </a:cubicBezTo>
                    <a:cubicBezTo>
                      <a:pt x="148" y="318"/>
                      <a:pt x="148" y="318"/>
                      <a:pt x="148" y="318"/>
                    </a:cubicBezTo>
                    <a:cubicBezTo>
                      <a:pt x="146" y="318"/>
                      <a:pt x="146" y="318"/>
                      <a:pt x="146" y="318"/>
                    </a:cubicBezTo>
                    <a:cubicBezTo>
                      <a:pt x="140" y="315"/>
                      <a:pt x="140" y="315"/>
                      <a:pt x="140" y="315"/>
                    </a:cubicBezTo>
                    <a:cubicBezTo>
                      <a:pt x="136" y="313"/>
                      <a:pt x="136" y="313"/>
                      <a:pt x="136" y="313"/>
                    </a:cubicBezTo>
                    <a:cubicBezTo>
                      <a:pt x="135" y="314"/>
                      <a:pt x="135" y="314"/>
                      <a:pt x="135" y="314"/>
                    </a:cubicBezTo>
                    <a:cubicBezTo>
                      <a:pt x="137" y="316"/>
                      <a:pt x="137" y="316"/>
                      <a:pt x="137" y="316"/>
                    </a:cubicBezTo>
                    <a:cubicBezTo>
                      <a:pt x="145" y="320"/>
                      <a:pt x="145" y="320"/>
                      <a:pt x="145" y="320"/>
                    </a:cubicBezTo>
                    <a:cubicBezTo>
                      <a:pt x="145" y="321"/>
                      <a:pt x="145" y="321"/>
                      <a:pt x="145" y="321"/>
                    </a:cubicBezTo>
                    <a:cubicBezTo>
                      <a:pt x="143" y="321"/>
                      <a:pt x="143" y="321"/>
                      <a:pt x="143" y="321"/>
                    </a:cubicBezTo>
                    <a:cubicBezTo>
                      <a:pt x="142" y="322"/>
                      <a:pt x="142" y="322"/>
                      <a:pt x="142" y="322"/>
                    </a:cubicBezTo>
                    <a:cubicBezTo>
                      <a:pt x="142" y="323"/>
                      <a:pt x="142" y="323"/>
                      <a:pt x="142" y="323"/>
                    </a:cubicBezTo>
                    <a:cubicBezTo>
                      <a:pt x="141" y="323"/>
                      <a:pt x="141" y="323"/>
                      <a:pt x="141" y="323"/>
                    </a:cubicBezTo>
                    <a:cubicBezTo>
                      <a:pt x="140" y="321"/>
                      <a:pt x="140" y="321"/>
                      <a:pt x="140" y="321"/>
                    </a:cubicBezTo>
                    <a:cubicBezTo>
                      <a:pt x="136" y="319"/>
                      <a:pt x="136" y="319"/>
                      <a:pt x="136" y="319"/>
                    </a:cubicBezTo>
                    <a:cubicBezTo>
                      <a:pt x="134" y="320"/>
                      <a:pt x="134" y="320"/>
                      <a:pt x="134" y="320"/>
                    </a:cubicBezTo>
                    <a:cubicBezTo>
                      <a:pt x="135" y="322"/>
                      <a:pt x="135" y="322"/>
                      <a:pt x="135" y="322"/>
                    </a:cubicBezTo>
                    <a:cubicBezTo>
                      <a:pt x="132" y="323"/>
                      <a:pt x="132" y="323"/>
                      <a:pt x="132" y="323"/>
                    </a:cubicBezTo>
                    <a:cubicBezTo>
                      <a:pt x="126" y="323"/>
                      <a:pt x="126" y="323"/>
                      <a:pt x="126" y="323"/>
                    </a:cubicBezTo>
                    <a:cubicBezTo>
                      <a:pt x="125" y="324"/>
                      <a:pt x="125" y="324"/>
                      <a:pt x="125" y="324"/>
                    </a:cubicBezTo>
                    <a:cubicBezTo>
                      <a:pt x="126" y="325"/>
                      <a:pt x="126" y="325"/>
                      <a:pt x="126" y="325"/>
                    </a:cubicBezTo>
                    <a:cubicBezTo>
                      <a:pt x="125" y="326"/>
                      <a:pt x="125" y="326"/>
                      <a:pt x="125" y="326"/>
                    </a:cubicBezTo>
                    <a:cubicBezTo>
                      <a:pt x="122" y="326"/>
                      <a:pt x="122" y="326"/>
                      <a:pt x="122" y="326"/>
                    </a:cubicBezTo>
                    <a:cubicBezTo>
                      <a:pt x="119" y="327"/>
                      <a:pt x="119" y="327"/>
                      <a:pt x="119" y="327"/>
                    </a:cubicBezTo>
                    <a:cubicBezTo>
                      <a:pt x="119" y="329"/>
                      <a:pt x="119" y="329"/>
                      <a:pt x="119" y="329"/>
                    </a:cubicBezTo>
                    <a:cubicBezTo>
                      <a:pt x="124" y="330"/>
                      <a:pt x="124" y="330"/>
                      <a:pt x="124" y="330"/>
                    </a:cubicBezTo>
                    <a:cubicBezTo>
                      <a:pt x="127" y="329"/>
                      <a:pt x="127" y="329"/>
                      <a:pt x="127" y="329"/>
                    </a:cubicBezTo>
                    <a:cubicBezTo>
                      <a:pt x="128" y="328"/>
                      <a:pt x="128" y="328"/>
                      <a:pt x="128" y="328"/>
                    </a:cubicBezTo>
                    <a:cubicBezTo>
                      <a:pt x="129" y="327"/>
                      <a:pt x="129" y="327"/>
                      <a:pt x="129" y="327"/>
                    </a:cubicBezTo>
                    <a:cubicBezTo>
                      <a:pt x="131" y="328"/>
                      <a:pt x="131" y="328"/>
                      <a:pt x="131" y="328"/>
                    </a:cubicBezTo>
                    <a:cubicBezTo>
                      <a:pt x="135" y="330"/>
                      <a:pt x="135" y="330"/>
                      <a:pt x="135" y="330"/>
                    </a:cubicBezTo>
                    <a:cubicBezTo>
                      <a:pt x="137" y="329"/>
                      <a:pt x="137" y="329"/>
                      <a:pt x="137" y="329"/>
                    </a:cubicBezTo>
                    <a:cubicBezTo>
                      <a:pt x="138" y="331"/>
                      <a:pt x="138" y="331"/>
                      <a:pt x="138" y="331"/>
                    </a:cubicBezTo>
                    <a:cubicBezTo>
                      <a:pt x="138" y="333"/>
                      <a:pt x="138" y="333"/>
                      <a:pt x="138" y="333"/>
                    </a:cubicBezTo>
                    <a:cubicBezTo>
                      <a:pt x="140" y="334"/>
                      <a:pt x="140" y="334"/>
                      <a:pt x="140" y="334"/>
                    </a:cubicBezTo>
                    <a:cubicBezTo>
                      <a:pt x="138" y="336"/>
                      <a:pt x="138" y="336"/>
                      <a:pt x="138" y="336"/>
                    </a:cubicBezTo>
                    <a:cubicBezTo>
                      <a:pt x="136" y="339"/>
                      <a:pt x="136" y="339"/>
                      <a:pt x="136" y="339"/>
                    </a:cubicBezTo>
                    <a:cubicBezTo>
                      <a:pt x="138" y="341"/>
                      <a:pt x="138" y="341"/>
                      <a:pt x="138" y="341"/>
                    </a:cubicBezTo>
                    <a:cubicBezTo>
                      <a:pt x="141" y="341"/>
                      <a:pt x="141" y="341"/>
                      <a:pt x="141" y="341"/>
                    </a:cubicBezTo>
                    <a:cubicBezTo>
                      <a:pt x="143" y="342"/>
                      <a:pt x="143" y="342"/>
                      <a:pt x="143" y="342"/>
                    </a:cubicBezTo>
                    <a:cubicBezTo>
                      <a:pt x="146" y="345"/>
                      <a:pt x="146" y="345"/>
                      <a:pt x="146" y="345"/>
                    </a:cubicBezTo>
                    <a:cubicBezTo>
                      <a:pt x="148" y="345"/>
                      <a:pt x="148" y="345"/>
                      <a:pt x="148" y="345"/>
                    </a:cubicBezTo>
                    <a:cubicBezTo>
                      <a:pt x="149" y="344"/>
                      <a:pt x="149" y="344"/>
                      <a:pt x="149" y="344"/>
                    </a:cubicBezTo>
                    <a:cubicBezTo>
                      <a:pt x="146" y="342"/>
                      <a:pt x="146" y="342"/>
                      <a:pt x="146" y="342"/>
                    </a:cubicBezTo>
                    <a:cubicBezTo>
                      <a:pt x="143" y="340"/>
                      <a:pt x="143" y="340"/>
                      <a:pt x="143" y="340"/>
                    </a:cubicBezTo>
                    <a:cubicBezTo>
                      <a:pt x="142" y="338"/>
                      <a:pt x="142" y="338"/>
                      <a:pt x="142" y="338"/>
                    </a:cubicBezTo>
                    <a:cubicBezTo>
                      <a:pt x="143" y="338"/>
                      <a:pt x="143" y="338"/>
                      <a:pt x="143" y="338"/>
                    </a:cubicBezTo>
                    <a:cubicBezTo>
                      <a:pt x="146" y="339"/>
                      <a:pt x="146" y="339"/>
                      <a:pt x="146" y="339"/>
                    </a:cubicBezTo>
                    <a:cubicBezTo>
                      <a:pt x="148" y="338"/>
                      <a:pt x="148" y="338"/>
                      <a:pt x="148" y="338"/>
                    </a:cubicBezTo>
                    <a:cubicBezTo>
                      <a:pt x="149" y="336"/>
                      <a:pt x="149" y="336"/>
                      <a:pt x="149" y="336"/>
                    </a:cubicBezTo>
                    <a:cubicBezTo>
                      <a:pt x="146" y="336"/>
                      <a:pt x="146" y="336"/>
                      <a:pt x="146" y="336"/>
                    </a:cubicBezTo>
                    <a:cubicBezTo>
                      <a:pt x="144" y="334"/>
                      <a:pt x="144" y="334"/>
                      <a:pt x="144" y="334"/>
                    </a:cubicBezTo>
                    <a:cubicBezTo>
                      <a:pt x="152" y="331"/>
                      <a:pt x="152" y="331"/>
                      <a:pt x="152" y="331"/>
                    </a:cubicBezTo>
                    <a:cubicBezTo>
                      <a:pt x="156" y="330"/>
                      <a:pt x="156" y="330"/>
                      <a:pt x="156" y="330"/>
                    </a:cubicBezTo>
                    <a:cubicBezTo>
                      <a:pt x="171" y="333"/>
                      <a:pt x="171" y="333"/>
                      <a:pt x="171" y="333"/>
                    </a:cubicBezTo>
                    <a:cubicBezTo>
                      <a:pt x="173" y="332"/>
                      <a:pt x="173" y="332"/>
                      <a:pt x="173" y="332"/>
                    </a:cubicBezTo>
                    <a:cubicBezTo>
                      <a:pt x="172" y="330"/>
                      <a:pt x="172" y="330"/>
                      <a:pt x="172" y="330"/>
                    </a:cubicBezTo>
                    <a:cubicBezTo>
                      <a:pt x="177" y="330"/>
                      <a:pt x="177" y="330"/>
                      <a:pt x="177" y="330"/>
                    </a:cubicBezTo>
                    <a:close/>
                    <a:moveTo>
                      <a:pt x="174" y="321"/>
                    </a:moveTo>
                    <a:cubicBezTo>
                      <a:pt x="170" y="320"/>
                      <a:pt x="170" y="320"/>
                      <a:pt x="170" y="320"/>
                    </a:cubicBezTo>
                    <a:cubicBezTo>
                      <a:pt x="161" y="314"/>
                      <a:pt x="161" y="314"/>
                      <a:pt x="161" y="314"/>
                    </a:cubicBezTo>
                    <a:cubicBezTo>
                      <a:pt x="154" y="312"/>
                      <a:pt x="154" y="312"/>
                      <a:pt x="154" y="312"/>
                    </a:cubicBezTo>
                    <a:cubicBezTo>
                      <a:pt x="151" y="312"/>
                      <a:pt x="151" y="312"/>
                      <a:pt x="151" y="312"/>
                    </a:cubicBezTo>
                    <a:cubicBezTo>
                      <a:pt x="147" y="310"/>
                      <a:pt x="147" y="310"/>
                      <a:pt x="147" y="310"/>
                    </a:cubicBezTo>
                    <a:cubicBezTo>
                      <a:pt x="143" y="306"/>
                      <a:pt x="143" y="306"/>
                      <a:pt x="143" y="306"/>
                    </a:cubicBezTo>
                    <a:cubicBezTo>
                      <a:pt x="143" y="305"/>
                      <a:pt x="143" y="305"/>
                      <a:pt x="143" y="305"/>
                    </a:cubicBezTo>
                    <a:cubicBezTo>
                      <a:pt x="143" y="303"/>
                      <a:pt x="143" y="303"/>
                      <a:pt x="143" y="303"/>
                    </a:cubicBezTo>
                    <a:cubicBezTo>
                      <a:pt x="149" y="300"/>
                      <a:pt x="149" y="300"/>
                      <a:pt x="149" y="300"/>
                    </a:cubicBezTo>
                    <a:cubicBezTo>
                      <a:pt x="150" y="298"/>
                      <a:pt x="150" y="298"/>
                      <a:pt x="150" y="298"/>
                    </a:cubicBezTo>
                    <a:cubicBezTo>
                      <a:pt x="153" y="297"/>
                      <a:pt x="153" y="297"/>
                      <a:pt x="153" y="297"/>
                    </a:cubicBezTo>
                    <a:cubicBezTo>
                      <a:pt x="156" y="293"/>
                      <a:pt x="156" y="293"/>
                      <a:pt x="156" y="293"/>
                    </a:cubicBezTo>
                    <a:cubicBezTo>
                      <a:pt x="155" y="290"/>
                      <a:pt x="155" y="290"/>
                      <a:pt x="155" y="290"/>
                    </a:cubicBezTo>
                    <a:cubicBezTo>
                      <a:pt x="151" y="290"/>
                      <a:pt x="151" y="290"/>
                      <a:pt x="151" y="290"/>
                    </a:cubicBezTo>
                    <a:cubicBezTo>
                      <a:pt x="145" y="293"/>
                      <a:pt x="145" y="293"/>
                      <a:pt x="145" y="293"/>
                    </a:cubicBezTo>
                    <a:cubicBezTo>
                      <a:pt x="142" y="296"/>
                      <a:pt x="142" y="296"/>
                      <a:pt x="142" y="296"/>
                    </a:cubicBezTo>
                    <a:cubicBezTo>
                      <a:pt x="140" y="296"/>
                      <a:pt x="140" y="296"/>
                      <a:pt x="140" y="296"/>
                    </a:cubicBezTo>
                    <a:cubicBezTo>
                      <a:pt x="136" y="292"/>
                      <a:pt x="136" y="292"/>
                      <a:pt x="136" y="292"/>
                    </a:cubicBezTo>
                    <a:cubicBezTo>
                      <a:pt x="136" y="287"/>
                      <a:pt x="136" y="287"/>
                      <a:pt x="136" y="287"/>
                    </a:cubicBezTo>
                    <a:cubicBezTo>
                      <a:pt x="134" y="285"/>
                      <a:pt x="134" y="285"/>
                      <a:pt x="134" y="285"/>
                    </a:cubicBezTo>
                    <a:cubicBezTo>
                      <a:pt x="138" y="282"/>
                      <a:pt x="138" y="282"/>
                      <a:pt x="138" y="282"/>
                    </a:cubicBezTo>
                    <a:cubicBezTo>
                      <a:pt x="138" y="279"/>
                      <a:pt x="138" y="279"/>
                      <a:pt x="138" y="279"/>
                    </a:cubicBezTo>
                    <a:cubicBezTo>
                      <a:pt x="135" y="280"/>
                      <a:pt x="135" y="280"/>
                      <a:pt x="135" y="280"/>
                    </a:cubicBezTo>
                    <a:cubicBezTo>
                      <a:pt x="133" y="278"/>
                      <a:pt x="133" y="278"/>
                      <a:pt x="133" y="278"/>
                    </a:cubicBezTo>
                    <a:cubicBezTo>
                      <a:pt x="135" y="275"/>
                      <a:pt x="135" y="275"/>
                      <a:pt x="135" y="275"/>
                    </a:cubicBezTo>
                    <a:cubicBezTo>
                      <a:pt x="138" y="275"/>
                      <a:pt x="138" y="275"/>
                      <a:pt x="138" y="275"/>
                    </a:cubicBezTo>
                    <a:cubicBezTo>
                      <a:pt x="142" y="278"/>
                      <a:pt x="142" y="278"/>
                      <a:pt x="142" y="278"/>
                    </a:cubicBezTo>
                    <a:cubicBezTo>
                      <a:pt x="142" y="276"/>
                      <a:pt x="142" y="276"/>
                      <a:pt x="142" y="276"/>
                    </a:cubicBezTo>
                    <a:cubicBezTo>
                      <a:pt x="146" y="273"/>
                      <a:pt x="146" y="273"/>
                      <a:pt x="146" y="273"/>
                    </a:cubicBezTo>
                    <a:cubicBezTo>
                      <a:pt x="146" y="270"/>
                      <a:pt x="146" y="270"/>
                      <a:pt x="146" y="270"/>
                    </a:cubicBezTo>
                    <a:cubicBezTo>
                      <a:pt x="146" y="267"/>
                      <a:pt x="146" y="267"/>
                      <a:pt x="146" y="267"/>
                    </a:cubicBezTo>
                    <a:cubicBezTo>
                      <a:pt x="147" y="265"/>
                      <a:pt x="147" y="265"/>
                      <a:pt x="147" y="265"/>
                    </a:cubicBezTo>
                    <a:cubicBezTo>
                      <a:pt x="150" y="265"/>
                      <a:pt x="150" y="265"/>
                      <a:pt x="150" y="265"/>
                    </a:cubicBezTo>
                    <a:cubicBezTo>
                      <a:pt x="153" y="268"/>
                      <a:pt x="153" y="268"/>
                      <a:pt x="153" y="268"/>
                    </a:cubicBezTo>
                    <a:cubicBezTo>
                      <a:pt x="154" y="267"/>
                      <a:pt x="154" y="267"/>
                      <a:pt x="154" y="267"/>
                    </a:cubicBezTo>
                    <a:cubicBezTo>
                      <a:pt x="160" y="265"/>
                      <a:pt x="160" y="265"/>
                      <a:pt x="160" y="265"/>
                    </a:cubicBezTo>
                    <a:cubicBezTo>
                      <a:pt x="165" y="286"/>
                      <a:pt x="165" y="286"/>
                      <a:pt x="165" y="286"/>
                    </a:cubicBezTo>
                    <a:cubicBezTo>
                      <a:pt x="165" y="286"/>
                      <a:pt x="165" y="286"/>
                      <a:pt x="165" y="286"/>
                    </a:cubicBezTo>
                    <a:cubicBezTo>
                      <a:pt x="165" y="287"/>
                      <a:pt x="165" y="287"/>
                      <a:pt x="165" y="287"/>
                    </a:cubicBezTo>
                    <a:cubicBezTo>
                      <a:pt x="174" y="321"/>
                      <a:pt x="174" y="321"/>
                      <a:pt x="174" y="321"/>
                    </a:cubicBezTo>
                    <a:close/>
                    <a:moveTo>
                      <a:pt x="198" y="357"/>
                    </a:moveTo>
                    <a:cubicBezTo>
                      <a:pt x="199" y="358"/>
                      <a:pt x="199" y="358"/>
                      <a:pt x="199" y="358"/>
                    </a:cubicBezTo>
                    <a:cubicBezTo>
                      <a:pt x="202" y="356"/>
                      <a:pt x="202" y="356"/>
                      <a:pt x="202" y="356"/>
                    </a:cubicBezTo>
                    <a:cubicBezTo>
                      <a:pt x="200" y="356"/>
                      <a:pt x="200" y="356"/>
                      <a:pt x="200" y="356"/>
                    </a:cubicBezTo>
                    <a:cubicBezTo>
                      <a:pt x="198" y="357"/>
                      <a:pt x="198" y="357"/>
                      <a:pt x="198" y="357"/>
                    </a:cubicBezTo>
                    <a:close/>
                    <a:moveTo>
                      <a:pt x="24" y="20"/>
                    </a:moveTo>
                    <a:cubicBezTo>
                      <a:pt x="20" y="18"/>
                      <a:pt x="20" y="18"/>
                      <a:pt x="20" y="18"/>
                    </a:cubicBezTo>
                    <a:cubicBezTo>
                      <a:pt x="18" y="19"/>
                      <a:pt x="18" y="19"/>
                      <a:pt x="18" y="19"/>
                    </a:cubicBezTo>
                    <a:cubicBezTo>
                      <a:pt x="18" y="21"/>
                      <a:pt x="18" y="21"/>
                      <a:pt x="18" y="21"/>
                    </a:cubicBezTo>
                    <a:cubicBezTo>
                      <a:pt x="22" y="25"/>
                      <a:pt x="22" y="25"/>
                      <a:pt x="22" y="25"/>
                    </a:cubicBezTo>
                    <a:cubicBezTo>
                      <a:pt x="21" y="27"/>
                      <a:pt x="21" y="27"/>
                      <a:pt x="21" y="27"/>
                    </a:cubicBezTo>
                    <a:cubicBezTo>
                      <a:pt x="25" y="30"/>
                      <a:pt x="25" y="30"/>
                      <a:pt x="25" y="30"/>
                    </a:cubicBezTo>
                    <a:cubicBezTo>
                      <a:pt x="24" y="31"/>
                      <a:pt x="24" y="31"/>
                      <a:pt x="24" y="31"/>
                    </a:cubicBezTo>
                    <a:cubicBezTo>
                      <a:pt x="20" y="30"/>
                      <a:pt x="20" y="30"/>
                      <a:pt x="20" y="30"/>
                    </a:cubicBezTo>
                    <a:cubicBezTo>
                      <a:pt x="19" y="32"/>
                      <a:pt x="19" y="32"/>
                      <a:pt x="19" y="32"/>
                    </a:cubicBezTo>
                    <a:cubicBezTo>
                      <a:pt x="19" y="36"/>
                      <a:pt x="19" y="36"/>
                      <a:pt x="19" y="36"/>
                    </a:cubicBezTo>
                    <a:cubicBezTo>
                      <a:pt x="19" y="38"/>
                      <a:pt x="19" y="38"/>
                      <a:pt x="19" y="38"/>
                    </a:cubicBezTo>
                    <a:cubicBezTo>
                      <a:pt x="13" y="39"/>
                      <a:pt x="13" y="39"/>
                      <a:pt x="13" y="39"/>
                    </a:cubicBezTo>
                    <a:cubicBezTo>
                      <a:pt x="8" y="37"/>
                      <a:pt x="8" y="37"/>
                      <a:pt x="8" y="37"/>
                    </a:cubicBezTo>
                    <a:cubicBezTo>
                      <a:pt x="10" y="33"/>
                      <a:pt x="10" y="33"/>
                      <a:pt x="10" y="33"/>
                    </a:cubicBezTo>
                    <a:cubicBezTo>
                      <a:pt x="9" y="21"/>
                      <a:pt x="9" y="21"/>
                      <a:pt x="9" y="21"/>
                    </a:cubicBezTo>
                    <a:cubicBezTo>
                      <a:pt x="8" y="17"/>
                      <a:pt x="8" y="17"/>
                      <a:pt x="8" y="17"/>
                    </a:cubicBezTo>
                    <a:cubicBezTo>
                      <a:pt x="7" y="16"/>
                      <a:pt x="7" y="16"/>
                      <a:pt x="7" y="16"/>
                    </a:cubicBezTo>
                    <a:cubicBezTo>
                      <a:pt x="6" y="13"/>
                      <a:pt x="6" y="13"/>
                      <a:pt x="6" y="13"/>
                    </a:cubicBezTo>
                    <a:cubicBezTo>
                      <a:pt x="6" y="11"/>
                      <a:pt x="6" y="11"/>
                      <a:pt x="6" y="11"/>
                    </a:cubicBezTo>
                    <a:cubicBezTo>
                      <a:pt x="9" y="9"/>
                      <a:pt x="9" y="9"/>
                      <a:pt x="9" y="9"/>
                    </a:cubicBezTo>
                    <a:cubicBezTo>
                      <a:pt x="9" y="6"/>
                      <a:pt x="9" y="6"/>
                      <a:pt x="9" y="6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2"/>
                      <a:pt x="8" y="2"/>
                      <a:pt x="8" y="2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18" y="1"/>
                      <a:pt x="18" y="1"/>
                      <a:pt x="18" y="1"/>
                    </a:cubicBezTo>
                    <a:cubicBezTo>
                      <a:pt x="21" y="6"/>
                      <a:pt x="21" y="6"/>
                      <a:pt x="21" y="6"/>
                    </a:cubicBezTo>
                    <a:cubicBezTo>
                      <a:pt x="21" y="11"/>
                      <a:pt x="21" y="11"/>
                      <a:pt x="21" y="11"/>
                    </a:cubicBezTo>
                    <a:cubicBezTo>
                      <a:pt x="22" y="12"/>
                      <a:pt x="22" y="12"/>
                      <a:pt x="22" y="12"/>
                    </a:cubicBezTo>
                    <a:cubicBezTo>
                      <a:pt x="22" y="16"/>
                      <a:pt x="22" y="16"/>
                      <a:pt x="22" y="16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22" y="18"/>
                      <a:pt x="22" y="18"/>
                      <a:pt x="22" y="18"/>
                    </a:cubicBezTo>
                    <a:cubicBezTo>
                      <a:pt x="24" y="20"/>
                      <a:pt x="24" y="20"/>
                      <a:pt x="24" y="20"/>
                    </a:cubicBezTo>
                    <a:cubicBezTo>
                      <a:pt x="24" y="20"/>
                      <a:pt x="24" y="20"/>
                      <a:pt x="24" y="20"/>
                    </a:cubicBezTo>
                    <a:close/>
                    <a:moveTo>
                      <a:pt x="26" y="11"/>
                    </a:moveTo>
                    <a:cubicBezTo>
                      <a:pt x="29" y="10"/>
                      <a:pt x="29" y="10"/>
                      <a:pt x="29" y="10"/>
                    </a:cubicBezTo>
                    <a:cubicBezTo>
                      <a:pt x="31" y="12"/>
                      <a:pt x="31" y="12"/>
                      <a:pt x="31" y="12"/>
                    </a:cubicBezTo>
                    <a:cubicBezTo>
                      <a:pt x="29" y="14"/>
                      <a:pt x="29" y="14"/>
                      <a:pt x="29" y="14"/>
                    </a:cubicBezTo>
                    <a:cubicBezTo>
                      <a:pt x="26" y="11"/>
                      <a:pt x="26" y="11"/>
                      <a:pt x="26" y="11"/>
                    </a:cubicBezTo>
                    <a:close/>
                    <a:moveTo>
                      <a:pt x="4" y="46"/>
                    </a:moveTo>
                    <a:cubicBezTo>
                      <a:pt x="5" y="45"/>
                      <a:pt x="5" y="45"/>
                      <a:pt x="5" y="45"/>
                    </a:cubicBezTo>
                    <a:cubicBezTo>
                      <a:pt x="8" y="45"/>
                      <a:pt x="8" y="45"/>
                      <a:pt x="8" y="45"/>
                    </a:cubicBezTo>
                    <a:cubicBezTo>
                      <a:pt x="10" y="46"/>
                      <a:pt x="10" y="46"/>
                      <a:pt x="10" y="46"/>
                    </a:cubicBezTo>
                    <a:cubicBezTo>
                      <a:pt x="6" y="48"/>
                      <a:pt x="6" y="48"/>
                      <a:pt x="6" y="48"/>
                    </a:cubicBezTo>
                    <a:cubicBezTo>
                      <a:pt x="4" y="46"/>
                      <a:pt x="4" y="46"/>
                      <a:pt x="4" y="46"/>
                    </a:cubicBezTo>
                    <a:close/>
                    <a:moveTo>
                      <a:pt x="30" y="50"/>
                    </a:moveTo>
                    <a:cubicBezTo>
                      <a:pt x="34" y="48"/>
                      <a:pt x="34" y="48"/>
                      <a:pt x="34" y="48"/>
                    </a:cubicBezTo>
                    <a:cubicBezTo>
                      <a:pt x="34" y="51"/>
                      <a:pt x="34" y="51"/>
                      <a:pt x="34" y="51"/>
                    </a:cubicBezTo>
                    <a:cubicBezTo>
                      <a:pt x="32" y="53"/>
                      <a:pt x="32" y="53"/>
                      <a:pt x="32" y="53"/>
                    </a:cubicBezTo>
                    <a:cubicBezTo>
                      <a:pt x="30" y="50"/>
                      <a:pt x="30" y="50"/>
                      <a:pt x="30" y="50"/>
                    </a:cubicBezTo>
                    <a:close/>
                    <a:moveTo>
                      <a:pt x="24" y="50"/>
                    </a:moveTo>
                    <a:cubicBezTo>
                      <a:pt x="27" y="51"/>
                      <a:pt x="27" y="51"/>
                      <a:pt x="27" y="51"/>
                    </a:cubicBezTo>
                    <a:cubicBezTo>
                      <a:pt x="28" y="54"/>
                      <a:pt x="28" y="54"/>
                      <a:pt x="28" y="54"/>
                    </a:cubicBezTo>
                    <a:cubicBezTo>
                      <a:pt x="25" y="56"/>
                      <a:pt x="25" y="56"/>
                      <a:pt x="25" y="56"/>
                    </a:cubicBezTo>
                    <a:cubicBezTo>
                      <a:pt x="25" y="53"/>
                      <a:pt x="25" y="53"/>
                      <a:pt x="25" y="53"/>
                    </a:cubicBezTo>
                    <a:cubicBezTo>
                      <a:pt x="22" y="51"/>
                      <a:pt x="22" y="51"/>
                      <a:pt x="22" y="51"/>
                    </a:cubicBezTo>
                    <a:cubicBezTo>
                      <a:pt x="24" y="50"/>
                      <a:pt x="24" y="50"/>
                      <a:pt x="24" y="50"/>
                    </a:cubicBezTo>
                    <a:close/>
                    <a:moveTo>
                      <a:pt x="16" y="49"/>
                    </a:moveTo>
                    <a:cubicBezTo>
                      <a:pt x="17" y="47"/>
                      <a:pt x="17" y="47"/>
                      <a:pt x="17" y="47"/>
                    </a:cubicBezTo>
                    <a:cubicBezTo>
                      <a:pt x="22" y="49"/>
                      <a:pt x="22" y="49"/>
                      <a:pt x="22" y="49"/>
                    </a:cubicBezTo>
                    <a:cubicBezTo>
                      <a:pt x="18" y="51"/>
                      <a:pt x="18" y="51"/>
                      <a:pt x="18" y="51"/>
                    </a:cubicBezTo>
                    <a:cubicBezTo>
                      <a:pt x="16" y="49"/>
                      <a:pt x="16" y="49"/>
                      <a:pt x="16" y="49"/>
                    </a:cubicBezTo>
                    <a:close/>
                    <a:moveTo>
                      <a:pt x="17" y="56"/>
                    </a:moveTo>
                    <a:cubicBezTo>
                      <a:pt x="18" y="55"/>
                      <a:pt x="18" y="55"/>
                      <a:pt x="18" y="55"/>
                    </a:cubicBezTo>
                    <a:cubicBezTo>
                      <a:pt x="20" y="56"/>
                      <a:pt x="20" y="56"/>
                      <a:pt x="20" y="56"/>
                    </a:cubicBezTo>
                    <a:cubicBezTo>
                      <a:pt x="19" y="58"/>
                      <a:pt x="19" y="58"/>
                      <a:pt x="19" y="58"/>
                    </a:cubicBezTo>
                    <a:cubicBezTo>
                      <a:pt x="17" y="56"/>
                      <a:pt x="17" y="56"/>
                      <a:pt x="17" y="56"/>
                    </a:cubicBezTo>
                    <a:close/>
                    <a:moveTo>
                      <a:pt x="12" y="60"/>
                    </a:moveTo>
                    <a:cubicBezTo>
                      <a:pt x="13" y="58"/>
                      <a:pt x="13" y="58"/>
                      <a:pt x="13" y="58"/>
                    </a:cubicBezTo>
                    <a:cubicBezTo>
                      <a:pt x="16" y="58"/>
                      <a:pt x="16" y="58"/>
                      <a:pt x="16" y="58"/>
                    </a:cubicBezTo>
                    <a:cubicBezTo>
                      <a:pt x="18" y="60"/>
                      <a:pt x="18" y="60"/>
                      <a:pt x="18" y="60"/>
                    </a:cubicBezTo>
                    <a:cubicBezTo>
                      <a:pt x="18" y="61"/>
                      <a:pt x="18" y="61"/>
                      <a:pt x="18" y="61"/>
                    </a:cubicBezTo>
                    <a:cubicBezTo>
                      <a:pt x="15" y="63"/>
                      <a:pt x="15" y="63"/>
                      <a:pt x="15" y="63"/>
                    </a:cubicBezTo>
                    <a:cubicBezTo>
                      <a:pt x="13" y="62"/>
                      <a:pt x="13" y="62"/>
                      <a:pt x="13" y="62"/>
                    </a:cubicBezTo>
                    <a:cubicBezTo>
                      <a:pt x="12" y="60"/>
                      <a:pt x="12" y="60"/>
                      <a:pt x="12" y="60"/>
                    </a:cubicBezTo>
                    <a:close/>
                    <a:moveTo>
                      <a:pt x="9" y="67"/>
                    </a:moveTo>
                    <a:cubicBezTo>
                      <a:pt x="11" y="68"/>
                      <a:pt x="11" y="68"/>
                      <a:pt x="11" y="68"/>
                    </a:cubicBezTo>
                    <a:cubicBezTo>
                      <a:pt x="9" y="70"/>
                      <a:pt x="9" y="70"/>
                      <a:pt x="9" y="70"/>
                    </a:cubicBezTo>
                    <a:cubicBezTo>
                      <a:pt x="7" y="69"/>
                      <a:pt x="7" y="69"/>
                      <a:pt x="7" y="69"/>
                    </a:cubicBezTo>
                    <a:cubicBezTo>
                      <a:pt x="9" y="67"/>
                      <a:pt x="9" y="67"/>
                      <a:pt x="9" y="67"/>
                    </a:cubicBezTo>
                    <a:close/>
                    <a:moveTo>
                      <a:pt x="27" y="65"/>
                    </a:moveTo>
                    <a:cubicBezTo>
                      <a:pt x="28" y="70"/>
                      <a:pt x="28" y="70"/>
                      <a:pt x="28" y="70"/>
                    </a:cubicBezTo>
                    <a:cubicBezTo>
                      <a:pt x="26" y="69"/>
                      <a:pt x="26" y="69"/>
                      <a:pt x="26" y="69"/>
                    </a:cubicBezTo>
                    <a:cubicBezTo>
                      <a:pt x="27" y="65"/>
                      <a:pt x="27" y="65"/>
                      <a:pt x="27" y="65"/>
                    </a:cubicBezTo>
                    <a:close/>
                    <a:moveTo>
                      <a:pt x="21" y="64"/>
                    </a:moveTo>
                    <a:cubicBezTo>
                      <a:pt x="24" y="63"/>
                      <a:pt x="24" y="63"/>
                      <a:pt x="24" y="63"/>
                    </a:cubicBezTo>
                    <a:cubicBezTo>
                      <a:pt x="24" y="68"/>
                      <a:pt x="24" y="68"/>
                      <a:pt x="24" y="68"/>
                    </a:cubicBezTo>
                    <a:cubicBezTo>
                      <a:pt x="21" y="64"/>
                      <a:pt x="21" y="64"/>
                      <a:pt x="21" y="64"/>
                    </a:cubicBezTo>
                    <a:close/>
                    <a:moveTo>
                      <a:pt x="13" y="93"/>
                    </a:moveTo>
                    <a:cubicBezTo>
                      <a:pt x="14" y="93"/>
                      <a:pt x="14" y="93"/>
                      <a:pt x="14" y="93"/>
                    </a:cubicBezTo>
                    <a:cubicBezTo>
                      <a:pt x="15" y="96"/>
                      <a:pt x="15" y="96"/>
                      <a:pt x="15" y="96"/>
                    </a:cubicBezTo>
                    <a:cubicBezTo>
                      <a:pt x="13" y="96"/>
                      <a:pt x="13" y="96"/>
                      <a:pt x="13" y="96"/>
                    </a:cubicBezTo>
                    <a:cubicBezTo>
                      <a:pt x="13" y="93"/>
                      <a:pt x="13" y="93"/>
                      <a:pt x="13" y="93"/>
                    </a:cubicBezTo>
                    <a:close/>
                    <a:moveTo>
                      <a:pt x="13" y="69"/>
                    </a:moveTo>
                    <a:cubicBezTo>
                      <a:pt x="13" y="66"/>
                      <a:pt x="13" y="66"/>
                      <a:pt x="13" y="66"/>
                    </a:cubicBezTo>
                    <a:cubicBezTo>
                      <a:pt x="12" y="64"/>
                      <a:pt x="12" y="64"/>
                      <a:pt x="12" y="64"/>
                    </a:cubicBezTo>
                    <a:cubicBezTo>
                      <a:pt x="16" y="64"/>
                      <a:pt x="16" y="64"/>
                      <a:pt x="16" y="64"/>
                    </a:cubicBezTo>
                    <a:cubicBezTo>
                      <a:pt x="18" y="67"/>
                      <a:pt x="18" y="67"/>
                      <a:pt x="18" y="67"/>
                    </a:cubicBezTo>
                    <a:cubicBezTo>
                      <a:pt x="15" y="68"/>
                      <a:pt x="15" y="68"/>
                      <a:pt x="15" y="68"/>
                    </a:cubicBezTo>
                    <a:cubicBezTo>
                      <a:pt x="13" y="69"/>
                      <a:pt x="13" y="69"/>
                      <a:pt x="13" y="69"/>
                    </a:cubicBezTo>
                    <a:close/>
                    <a:moveTo>
                      <a:pt x="5" y="75"/>
                    </a:moveTo>
                    <a:cubicBezTo>
                      <a:pt x="0" y="73"/>
                      <a:pt x="0" y="73"/>
                      <a:pt x="0" y="73"/>
                    </a:cubicBezTo>
                    <a:cubicBezTo>
                      <a:pt x="1" y="71"/>
                      <a:pt x="1" y="71"/>
                      <a:pt x="1" y="71"/>
                    </a:cubicBezTo>
                    <a:cubicBezTo>
                      <a:pt x="4" y="71"/>
                      <a:pt x="4" y="71"/>
                      <a:pt x="4" y="71"/>
                    </a:cubicBezTo>
                    <a:cubicBezTo>
                      <a:pt x="6" y="73"/>
                      <a:pt x="6" y="73"/>
                      <a:pt x="6" y="73"/>
                    </a:cubicBezTo>
                    <a:cubicBezTo>
                      <a:pt x="5" y="75"/>
                      <a:pt x="5" y="75"/>
                      <a:pt x="5" y="75"/>
                    </a:cubicBezTo>
                    <a:close/>
                    <a:moveTo>
                      <a:pt x="19" y="87"/>
                    </a:moveTo>
                    <a:cubicBezTo>
                      <a:pt x="22" y="87"/>
                      <a:pt x="22" y="87"/>
                      <a:pt x="22" y="87"/>
                    </a:cubicBezTo>
                    <a:cubicBezTo>
                      <a:pt x="22" y="90"/>
                      <a:pt x="22" y="90"/>
                      <a:pt x="22" y="90"/>
                    </a:cubicBezTo>
                    <a:cubicBezTo>
                      <a:pt x="19" y="87"/>
                      <a:pt x="19" y="87"/>
                      <a:pt x="19" y="87"/>
                    </a:cubicBezTo>
                    <a:close/>
                    <a:moveTo>
                      <a:pt x="24" y="92"/>
                    </a:moveTo>
                    <a:cubicBezTo>
                      <a:pt x="28" y="92"/>
                      <a:pt x="28" y="92"/>
                      <a:pt x="28" y="92"/>
                    </a:cubicBezTo>
                    <a:cubicBezTo>
                      <a:pt x="26" y="94"/>
                      <a:pt x="26" y="94"/>
                      <a:pt x="26" y="94"/>
                    </a:cubicBezTo>
                    <a:cubicBezTo>
                      <a:pt x="24" y="92"/>
                      <a:pt x="24" y="92"/>
                      <a:pt x="24" y="92"/>
                    </a:cubicBezTo>
                    <a:close/>
                    <a:moveTo>
                      <a:pt x="31" y="59"/>
                    </a:moveTo>
                    <a:cubicBezTo>
                      <a:pt x="32" y="58"/>
                      <a:pt x="32" y="58"/>
                      <a:pt x="32" y="58"/>
                    </a:cubicBezTo>
                    <a:cubicBezTo>
                      <a:pt x="36" y="61"/>
                      <a:pt x="36" y="61"/>
                      <a:pt x="36" y="61"/>
                    </a:cubicBezTo>
                    <a:cubicBezTo>
                      <a:pt x="32" y="61"/>
                      <a:pt x="32" y="61"/>
                      <a:pt x="32" y="61"/>
                    </a:cubicBezTo>
                    <a:cubicBezTo>
                      <a:pt x="31" y="59"/>
                      <a:pt x="31" y="59"/>
                      <a:pt x="31" y="59"/>
                    </a:cubicBezTo>
                    <a:close/>
                    <a:moveTo>
                      <a:pt x="37" y="62"/>
                    </a:moveTo>
                    <a:cubicBezTo>
                      <a:pt x="41" y="63"/>
                      <a:pt x="41" y="63"/>
                      <a:pt x="41" y="63"/>
                    </a:cubicBezTo>
                    <a:cubicBezTo>
                      <a:pt x="41" y="66"/>
                      <a:pt x="41" y="66"/>
                      <a:pt x="41" y="66"/>
                    </a:cubicBezTo>
                    <a:cubicBezTo>
                      <a:pt x="44" y="69"/>
                      <a:pt x="44" y="69"/>
                      <a:pt x="44" y="69"/>
                    </a:cubicBezTo>
                    <a:cubicBezTo>
                      <a:pt x="42" y="72"/>
                      <a:pt x="42" y="72"/>
                      <a:pt x="42" y="72"/>
                    </a:cubicBezTo>
                    <a:cubicBezTo>
                      <a:pt x="41" y="74"/>
                      <a:pt x="41" y="74"/>
                      <a:pt x="41" y="74"/>
                    </a:cubicBezTo>
                    <a:cubicBezTo>
                      <a:pt x="39" y="75"/>
                      <a:pt x="39" y="75"/>
                      <a:pt x="39" y="75"/>
                    </a:cubicBezTo>
                    <a:cubicBezTo>
                      <a:pt x="37" y="74"/>
                      <a:pt x="37" y="74"/>
                      <a:pt x="37" y="74"/>
                    </a:cubicBezTo>
                    <a:cubicBezTo>
                      <a:pt x="35" y="73"/>
                      <a:pt x="35" y="73"/>
                      <a:pt x="35" y="73"/>
                    </a:cubicBezTo>
                    <a:cubicBezTo>
                      <a:pt x="32" y="76"/>
                      <a:pt x="32" y="76"/>
                      <a:pt x="32" y="76"/>
                    </a:cubicBezTo>
                    <a:cubicBezTo>
                      <a:pt x="32" y="72"/>
                      <a:pt x="32" y="72"/>
                      <a:pt x="32" y="72"/>
                    </a:cubicBezTo>
                    <a:cubicBezTo>
                      <a:pt x="31" y="69"/>
                      <a:pt x="31" y="69"/>
                      <a:pt x="31" y="69"/>
                    </a:cubicBezTo>
                    <a:cubicBezTo>
                      <a:pt x="33" y="64"/>
                      <a:pt x="33" y="64"/>
                      <a:pt x="33" y="64"/>
                    </a:cubicBezTo>
                    <a:cubicBezTo>
                      <a:pt x="37" y="62"/>
                      <a:pt x="37" y="62"/>
                      <a:pt x="37" y="62"/>
                    </a:cubicBezTo>
                    <a:close/>
                    <a:moveTo>
                      <a:pt x="15" y="73"/>
                    </a:moveTo>
                    <a:cubicBezTo>
                      <a:pt x="16" y="70"/>
                      <a:pt x="16" y="70"/>
                      <a:pt x="16" y="70"/>
                    </a:cubicBezTo>
                    <a:cubicBezTo>
                      <a:pt x="24" y="70"/>
                      <a:pt x="24" y="70"/>
                      <a:pt x="24" y="70"/>
                    </a:cubicBezTo>
                    <a:cubicBezTo>
                      <a:pt x="23" y="72"/>
                      <a:pt x="23" y="72"/>
                      <a:pt x="23" y="72"/>
                    </a:cubicBezTo>
                    <a:cubicBezTo>
                      <a:pt x="18" y="73"/>
                      <a:pt x="18" y="73"/>
                      <a:pt x="18" y="73"/>
                    </a:cubicBezTo>
                    <a:cubicBezTo>
                      <a:pt x="17" y="75"/>
                      <a:pt x="17" y="75"/>
                      <a:pt x="17" y="75"/>
                    </a:cubicBezTo>
                    <a:cubicBezTo>
                      <a:pt x="15" y="73"/>
                      <a:pt x="15" y="73"/>
                      <a:pt x="15" y="73"/>
                    </a:cubicBezTo>
                    <a:close/>
                    <a:moveTo>
                      <a:pt x="20" y="80"/>
                    </a:moveTo>
                    <a:cubicBezTo>
                      <a:pt x="18" y="79"/>
                      <a:pt x="18" y="79"/>
                      <a:pt x="18" y="79"/>
                    </a:cubicBezTo>
                    <a:cubicBezTo>
                      <a:pt x="22" y="77"/>
                      <a:pt x="22" y="77"/>
                      <a:pt x="22" y="77"/>
                    </a:cubicBezTo>
                    <a:cubicBezTo>
                      <a:pt x="25" y="77"/>
                      <a:pt x="25" y="77"/>
                      <a:pt x="25" y="77"/>
                    </a:cubicBezTo>
                    <a:cubicBezTo>
                      <a:pt x="25" y="80"/>
                      <a:pt x="25" y="80"/>
                      <a:pt x="25" y="80"/>
                    </a:cubicBezTo>
                    <a:cubicBezTo>
                      <a:pt x="20" y="80"/>
                      <a:pt x="20" y="80"/>
                      <a:pt x="20" y="80"/>
                    </a:cubicBezTo>
                    <a:close/>
                    <a:moveTo>
                      <a:pt x="21" y="83"/>
                    </a:moveTo>
                    <a:cubicBezTo>
                      <a:pt x="25" y="81"/>
                      <a:pt x="25" y="81"/>
                      <a:pt x="25" y="81"/>
                    </a:cubicBezTo>
                    <a:cubicBezTo>
                      <a:pt x="29" y="81"/>
                      <a:pt x="29" y="81"/>
                      <a:pt x="29" y="81"/>
                    </a:cubicBezTo>
                    <a:cubicBezTo>
                      <a:pt x="29" y="87"/>
                      <a:pt x="29" y="87"/>
                      <a:pt x="29" y="87"/>
                    </a:cubicBezTo>
                    <a:cubicBezTo>
                      <a:pt x="27" y="90"/>
                      <a:pt x="27" y="90"/>
                      <a:pt x="27" y="90"/>
                    </a:cubicBezTo>
                    <a:cubicBezTo>
                      <a:pt x="25" y="88"/>
                      <a:pt x="25" y="88"/>
                      <a:pt x="25" y="88"/>
                    </a:cubicBezTo>
                    <a:cubicBezTo>
                      <a:pt x="23" y="84"/>
                      <a:pt x="23" y="84"/>
                      <a:pt x="23" y="84"/>
                    </a:cubicBezTo>
                    <a:cubicBezTo>
                      <a:pt x="21" y="83"/>
                      <a:pt x="21" y="83"/>
                      <a:pt x="21" y="83"/>
                    </a:cubicBezTo>
                    <a:close/>
                    <a:moveTo>
                      <a:pt x="16" y="93"/>
                    </a:moveTo>
                    <a:cubicBezTo>
                      <a:pt x="18" y="91"/>
                      <a:pt x="18" y="91"/>
                      <a:pt x="18" y="91"/>
                    </a:cubicBezTo>
                    <a:cubicBezTo>
                      <a:pt x="19" y="92"/>
                      <a:pt x="19" y="92"/>
                      <a:pt x="19" y="92"/>
                    </a:cubicBezTo>
                    <a:cubicBezTo>
                      <a:pt x="22" y="93"/>
                      <a:pt x="22" y="93"/>
                      <a:pt x="22" y="93"/>
                    </a:cubicBezTo>
                    <a:cubicBezTo>
                      <a:pt x="23" y="96"/>
                      <a:pt x="23" y="96"/>
                      <a:pt x="23" y="96"/>
                    </a:cubicBezTo>
                    <a:cubicBezTo>
                      <a:pt x="20" y="97"/>
                      <a:pt x="20" y="97"/>
                      <a:pt x="20" y="97"/>
                    </a:cubicBezTo>
                    <a:cubicBezTo>
                      <a:pt x="16" y="93"/>
                      <a:pt x="16" y="93"/>
                      <a:pt x="16" y="93"/>
                    </a:cubicBezTo>
                    <a:close/>
                    <a:moveTo>
                      <a:pt x="26" y="165"/>
                    </a:moveTo>
                    <a:cubicBezTo>
                      <a:pt x="28" y="163"/>
                      <a:pt x="28" y="163"/>
                      <a:pt x="28" y="163"/>
                    </a:cubicBezTo>
                    <a:cubicBezTo>
                      <a:pt x="27" y="161"/>
                      <a:pt x="27" y="161"/>
                      <a:pt x="27" y="161"/>
                    </a:cubicBezTo>
                    <a:cubicBezTo>
                      <a:pt x="26" y="163"/>
                      <a:pt x="26" y="163"/>
                      <a:pt x="26" y="163"/>
                    </a:cubicBezTo>
                    <a:cubicBezTo>
                      <a:pt x="21" y="156"/>
                      <a:pt x="21" y="156"/>
                      <a:pt x="21" y="156"/>
                    </a:cubicBezTo>
                    <a:cubicBezTo>
                      <a:pt x="18" y="153"/>
                      <a:pt x="18" y="153"/>
                      <a:pt x="18" y="153"/>
                    </a:cubicBezTo>
                    <a:cubicBezTo>
                      <a:pt x="19" y="151"/>
                      <a:pt x="19" y="151"/>
                      <a:pt x="19" y="151"/>
                    </a:cubicBezTo>
                    <a:cubicBezTo>
                      <a:pt x="23" y="150"/>
                      <a:pt x="23" y="150"/>
                      <a:pt x="23" y="150"/>
                    </a:cubicBezTo>
                    <a:cubicBezTo>
                      <a:pt x="26" y="149"/>
                      <a:pt x="26" y="149"/>
                      <a:pt x="26" y="149"/>
                    </a:cubicBezTo>
                    <a:cubicBezTo>
                      <a:pt x="26" y="154"/>
                      <a:pt x="26" y="154"/>
                      <a:pt x="26" y="154"/>
                    </a:cubicBezTo>
                    <a:cubicBezTo>
                      <a:pt x="30" y="156"/>
                      <a:pt x="30" y="156"/>
                      <a:pt x="30" y="156"/>
                    </a:cubicBezTo>
                    <a:cubicBezTo>
                      <a:pt x="30" y="160"/>
                      <a:pt x="30" y="160"/>
                      <a:pt x="30" y="160"/>
                    </a:cubicBezTo>
                    <a:cubicBezTo>
                      <a:pt x="33" y="163"/>
                      <a:pt x="33" y="163"/>
                      <a:pt x="33" y="163"/>
                    </a:cubicBezTo>
                    <a:cubicBezTo>
                      <a:pt x="35" y="169"/>
                      <a:pt x="35" y="169"/>
                      <a:pt x="35" y="169"/>
                    </a:cubicBezTo>
                    <a:cubicBezTo>
                      <a:pt x="31" y="168"/>
                      <a:pt x="31" y="168"/>
                      <a:pt x="31" y="168"/>
                    </a:cubicBezTo>
                    <a:cubicBezTo>
                      <a:pt x="27" y="169"/>
                      <a:pt x="27" y="169"/>
                      <a:pt x="27" y="169"/>
                    </a:cubicBezTo>
                    <a:cubicBezTo>
                      <a:pt x="26" y="165"/>
                      <a:pt x="26" y="165"/>
                      <a:pt x="26" y="165"/>
                    </a:cubicBezTo>
                    <a:close/>
                    <a:moveTo>
                      <a:pt x="12" y="158"/>
                    </a:moveTo>
                    <a:cubicBezTo>
                      <a:pt x="12" y="155"/>
                      <a:pt x="12" y="155"/>
                      <a:pt x="12" y="155"/>
                    </a:cubicBezTo>
                    <a:cubicBezTo>
                      <a:pt x="13" y="154"/>
                      <a:pt x="13" y="154"/>
                      <a:pt x="13" y="154"/>
                    </a:cubicBezTo>
                    <a:cubicBezTo>
                      <a:pt x="16" y="155"/>
                      <a:pt x="16" y="155"/>
                      <a:pt x="16" y="155"/>
                    </a:cubicBezTo>
                    <a:cubicBezTo>
                      <a:pt x="21" y="162"/>
                      <a:pt x="21" y="162"/>
                      <a:pt x="21" y="162"/>
                    </a:cubicBezTo>
                    <a:cubicBezTo>
                      <a:pt x="25" y="167"/>
                      <a:pt x="25" y="167"/>
                      <a:pt x="25" y="167"/>
                    </a:cubicBezTo>
                    <a:cubicBezTo>
                      <a:pt x="25" y="171"/>
                      <a:pt x="25" y="171"/>
                      <a:pt x="25" y="171"/>
                    </a:cubicBezTo>
                    <a:cubicBezTo>
                      <a:pt x="23" y="173"/>
                      <a:pt x="23" y="173"/>
                      <a:pt x="23" y="173"/>
                    </a:cubicBezTo>
                    <a:cubicBezTo>
                      <a:pt x="20" y="171"/>
                      <a:pt x="20" y="171"/>
                      <a:pt x="20" y="171"/>
                    </a:cubicBezTo>
                    <a:cubicBezTo>
                      <a:pt x="19" y="166"/>
                      <a:pt x="19" y="166"/>
                      <a:pt x="19" y="166"/>
                    </a:cubicBezTo>
                    <a:cubicBezTo>
                      <a:pt x="19" y="165"/>
                      <a:pt x="19" y="165"/>
                      <a:pt x="19" y="165"/>
                    </a:cubicBezTo>
                    <a:cubicBezTo>
                      <a:pt x="17" y="163"/>
                      <a:pt x="17" y="163"/>
                      <a:pt x="17" y="163"/>
                    </a:cubicBezTo>
                    <a:cubicBezTo>
                      <a:pt x="13" y="162"/>
                      <a:pt x="13" y="162"/>
                      <a:pt x="13" y="162"/>
                    </a:cubicBezTo>
                    <a:cubicBezTo>
                      <a:pt x="12" y="158"/>
                      <a:pt x="12" y="158"/>
                      <a:pt x="12" y="158"/>
                    </a:cubicBezTo>
                    <a:close/>
                    <a:moveTo>
                      <a:pt x="13" y="164"/>
                    </a:moveTo>
                    <a:cubicBezTo>
                      <a:pt x="14" y="164"/>
                      <a:pt x="14" y="164"/>
                      <a:pt x="14" y="164"/>
                    </a:cubicBezTo>
                    <a:cubicBezTo>
                      <a:pt x="17" y="165"/>
                      <a:pt x="17" y="165"/>
                      <a:pt x="17" y="165"/>
                    </a:cubicBezTo>
                    <a:cubicBezTo>
                      <a:pt x="18" y="169"/>
                      <a:pt x="18" y="169"/>
                      <a:pt x="18" y="169"/>
                    </a:cubicBezTo>
                    <a:cubicBezTo>
                      <a:pt x="17" y="172"/>
                      <a:pt x="17" y="172"/>
                      <a:pt x="17" y="172"/>
                    </a:cubicBezTo>
                    <a:cubicBezTo>
                      <a:pt x="15" y="172"/>
                      <a:pt x="15" y="172"/>
                      <a:pt x="15" y="172"/>
                    </a:cubicBezTo>
                    <a:cubicBezTo>
                      <a:pt x="15" y="170"/>
                      <a:pt x="15" y="170"/>
                      <a:pt x="15" y="170"/>
                    </a:cubicBezTo>
                    <a:cubicBezTo>
                      <a:pt x="13" y="169"/>
                      <a:pt x="13" y="169"/>
                      <a:pt x="13" y="169"/>
                    </a:cubicBezTo>
                    <a:cubicBezTo>
                      <a:pt x="13" y="164"/>
                      <a:pt x="13" y="164"/>
                      <a:pt x="13" y="164"/>
                    </a:cubicBezTo>
                    <a:close/>
                    <a:moveTo>
                      <a:pt x="20" y="186"/>
                    </a:moveTo>
                    <a:cubicBezTo>
                      <a:pt x="18" y="185"/>
                      <a:pt x="18" y="185"/>
                      <a:pt x="18" y="185"/>
                    </a:cubicBezTo>
                    <a:cubicBezTo>
                      <a:pt x="19" y="182"/>
                      <a:pt x="19" y="182"/>
                      <a:pt x="19" y="182"/>
                    </a:cubicBezTo>
                    <a:cubicBezTo>
                      <a:pt x="17" y="176"/>
                      <a:pt x="17" y="176"/>
                      <a:pt x="17" y="176"/>
                    </a:cubicBezTo>
                    <a:cubicBezTo>
                      <a:pt x="19" y="174"/>
                      <a:pt x="19" y="174"/>
                      <a:pt x="19" y="174"/>
                    </a:cubicBezTo>
                    <a:cubicBezTo>
                      <a:pt x="19" y="175"/>
                      <a:pt x="19" y="175"/>
                      <a:pt x="19" y="175"/>
                    </a:cubicBezTo>
                    <a:cubicBezTo>
                      <a:pt x="24" y="177"/>
                      <a:pt x="24" y="177"/>
                      <a:pt x="24" y="177"/>
                    </a:cubicBezTo>
                    <a:cubicBezTo>
                      <a:pt x="25" y="180"/>
                      <a:pt x="25" y="180"/>
                      <a:pt x="25" y="180"/>
                    </a:cubicBezTo>
                    <a:cubicBezTo>
                      <a:pt x="23" y="181"/>
                      <a:pt x="23" y="181"/>
                      <a:pt x="23" y="181"/>
                    </a:cubicBezTo>
                    <a:cubicBezTo>
                      <a:pt x="20" y="186"/>
                      <a:pt x="20" y="186"/>
                      <a:pt x="20" y="186"/>
                    </a:cubicBezTo>
                    <a:close/>
                    <a:moveTo>
                      <a:pt x="25" y="200"/>
                    </a:moveTo>
                    <a:cubicBezTo>
                      <a:pt x="22" y="201"/>
                      <a:pt x="22" y="201"/>
                      <a:pt x="22" y="201"/>
                    </a:cubicBezTo>
                    <a:cubicBezTo>
                      <a:pt x="20" y="199"/>
                      <a:pt x="20" y="199"/>
                      <a:pt x="20" y="199"/>
                    </a:cubicBezTo>
                    <a:cubicBezTo>
                      <a:pt x="21" y="197"/>
                      <a:pt x="21" y="197"/>
                      <a:pt x="21" y="197"/>
                    </a:cubicBezTo>
                    <a:cubicBezTo>
                      <a:pt x="19" y="195"/>
                      <a:pt x="19" y="195"/>
                      <a:pt x="19" y="195"/>
                    </a:cubicBezTo>
                    <a:cubicBezTo>
                      <a:pt x="24" y="193"/>
                      <a:pt x="24" y="193"/>
                      <a:pt x="24" y="193"/>
                    </a:cubicBezTo>
                    <a:cubicBezTo>
                      <a:pt x="26" y="197"/>
                      <a:pt x="26" y="197"/>
                      <a:pt x="26" y="197"/>
                    </a:cubicBezTo>
                    <a:cubicBezTo>
                      <a:pt x="25" y="200"/>
                      <a:pt x="25" y="200"/>
                      <a:pt x="25" y="200"/>
                    </a:cubicBezTo>
                    <a:close/>
                    <a:moveTo>
                      <a:pt x="35" y="198"/>
                    </a:moveTo>
                    <a:cubicBezTo>
                      <a:pt x="34" y="202"/>
                      <a:pt x="34" y="202"/>
                      <a:pt x="34" y="202"/>
                    </a:cubicBezTo>
                    <a:cubicBezTo>
                      <a:pt x="32" y="203"/>
                      <a:pt x="32" y="203"/>
                      <a:pt x="32" y="203"/>
                    </a:cubicBezTo>
                    <a:cubicBezTo>
                      <a:pt x="28" y="200"/>
                      <a:pt x="28" y="200"/>
                      <a:pt x="28" y="200"/>
                    </a:cubicBezTo>
                    <a:cubicBezTo>
                      <a:pt x="27" y="196"/>
                      <a:pt x="27" y="196"/>
                      <a:pt x="27" y="196"/>
                    </a:cubicBezTo>
                    <a:cubicBezTo>
                      <a:pt x="23" y="188"/>
                      <a:pt x="23" y="188"/>
                      <a:pt x="23" y="188"/>
                    </a:cubicBezTo>
                    <a:cubicBezTo>
                      <a:pt x="27" y="188"/>
                      <a:pt x="27" y="188"/>
                      <a:pt x="27" y="188"/>
                    </a:cubicBezTo>
                    <a:cubicBezTo>
                      <a:pt x="30" y="185"/>
                      <a:pt x="30" y="185"/>
                      <a:pt x="30" y="185"/>
                    </a:cubicBezTo>
                    <a:cubicBezTo>
                      <a:pt x="30" y="183"/>
                      <a:pt x="30" y="183"/>
                      <a:pt x="30" y="183"/>
                    </a:cubicBezTo>
                    <a:cubicBezTo>
                      <a:pt x="29" y="185"/>
                      <a:pt x="29" y="185"/>
                      <a:pt x="29" y="185"/>
                    </a:cubicBezTo>
                    <a:cubicBezTo>
                      <a:pt x="27" y="185"/>
                      <a:pt x="27" y="185"/>
                      <a:pt x="27" y="185"/>
                    </a:cubicBezTo>
                    <a:cubicBezTo>
                      <a:pt x="27" y="183"/>
                      <a:pt x="27" y="183"/>
                      <a:pt x="27" y="183"/>
                    </a:cubicBezTo>
                    <a:cubicBezTo>
                      <a:pt x="28" y="180"/>
                      <a:pt x="28" y="180"/>
                      <a:pt x="28" y="180"/>
                    </a:cubicBezTo>
                    <a:cubicBezTo>
                      <a:pt x="25" y="178"/>
                      <a:pt x="25" y="178"/>
                      <a:pt x="25" y="178"/>
                    </a:cubicBezTo>
                    <a:cubicBezTo>
                      <a:pt x="25" y="173"/>
                      <a:pt x="25" y="173"/>
                      <a:pt x="25" y="173"/>
                    </a:cubicBezTo>
                    <a:cubicBezTo>
                      <a:pt x="27" y="172"/>
                      <a:pt x="27" y="172"/>
                      <a:pt x="27" y="172"/>
                    </a:cubicBezTo>
                    <a:cubicBezTo>
                      <a:pt x="33" y="172"/>
                      <a:pt x="33" y="172"/>
                      <a:pt x="33" y="172"/>
                    </a:cubicBezTo>
                    <a:cubicBezTo>
                      <a:pt x="35" y="173"/>
                      <a:pt x="35" y="173"/>
                      <a:pt x="35" y="173"/>
                    </a:cubicBezTo>
                    <a:cubicBezTo>
                      <a:pt x="37" y="182"/>
                      <a:pt x="37" y="182"/>
                      <a:pt x="37" y="182"/>
                    </a:cubicBezTo>
                    <a:cubicBezTo>
                      <a:pt x="39" y="186"/>
                      <a:pt x="39" y="186"/>
                      <a:pt x="39" y="186"/>
                    </a:cubicBezTo>
                    <a:cubicBezTo>
                      <a:pt x="40" y="192"/>
                      <a:pt x="40" y="192"/>
                      <a:pt x="40" y="192"/>
                    </a:cubicBezTo>
                    <a:cubicBezTo>
                      <a:pt x="39" y="194"/>
                      <a:pt x="39" y="194"/>
                      <a:pt x="39" y="194"/>
                    </a:cubicBezTo>
                    <a:cubicBezTo>
                      <a:pt x="41" y="199"/>
                      <a:pt x="41" y="199"/>
                      <a:pt x="41" y="199"/>
                    </a:cubicBezTo>
                    <a:cubicBezTo>
                      <a:pt x="41" y="204"/>
                      <a:pt x="41" y="204"/>
                      <a:pt x="41" y="204"/>
                    </a:cubicBezTo>
                    <a:cubicBezTo>
                      <a:pt x="38" y="206"/>
                      <a:pt x="38" y="206"/>
                      <a:pt x="38" y="206"/>
                    </a:cubicBezTo>
                    <a:cubicBezTo>
                      <a:pt x="36" y="205"/>
                      <a:pt x="36" y="205"/>
                      <a:pt x="36" y="205"/>
                    </a:cubicBezTo>
                    <a:cubicBezTo>
                      <a:pt x="36" y="201"/>
                      <a:pt x="36" y="201"/>
                      <a:pt x="36" y="201"/>
                    </a:cubicBezTo>
                    <a:cubicBezTo>
                      <a:pt x="35" y="198"/>
                      <a:pt x="35" y="198"/>
                      <a:pt x="35" y="198"/>
                    </a:cubicBezTo>
                    <a:close/>
                    <a:moveTo>
                      <a:pt x="32" y="217"/>
                    </a:moveTo>
                    <a:cubicBezTo>
                      <a:pt x="31" y="214"/>
                      <a:pt x="31" y="214"/>
                      <a:pt x="31" y="214"/>
                    </a:cubicBezTo>
                    <a:cubicBezTo>
                      <a:pt x="28" y="212"/>
                      <a:pt x="28" y="212"/>
                      <a:pt x="28" y="212"/>
                    </a:cubicBezTo>
                    <a:cubicBezTo>
                      <a:pt x="30" y="211"/>
                      <a:pt x="30" y="211"/>
                      <a:pt x="30" y="211"/>
                    </a:cubicBezTo>
                    <a:cubicBezTo>
                      <a:pt x="30" y="208"/>
                      <a:pt x="30" y="208"/>
                      <a:pt x="30" y="208"/>
                    </a:cubicBezTo>
                    <a:cubicBezTo>
                      <a:pt x="31" y="208"/>
                      <a:pt x="31" y="208"/>
                      <a:pt x="31" y="208"/>
                    </a:cubicBezTo>
                    <a:cubicBezTo>
                      <a:pt x="33" y="208"/>
                      <a:pt x="33" y="208"/>
                      <a:pt x="33" y="208"/>
                    </a:cubicBezTo>
                    <a:cubicBezTo>
                      <a:pt x="37" y="209"/>
                      <a:pt x="37" y="209"/>
                      <a:pt x="37" y="209"/>
                    </a:cubicBezTo>
                    <a:cubicBezTo>
                      <a:pt x="35" y="212"/>
                      <a:pt x="35" y="212"/>
                      <a:pt x="35" y="212"/>
                    </a:cubicBezTo>
                    <a:cubicBezTo>
                      <a:pt x="35" y="215"/>
                      <a:pt x="35" y="215"/>
                      <a:pt x="35" y="215"/>
                    </a:cubicBezTo>
                    <a:cubicBezTo>
                      <a:pt x="33" y="217"/>
                      <a:pt x="33" y="217"/>
                      <a:pt x="33" y="217"/>
                    </a:cubicBezTo>
                    <a:cubicBezTo>
                      <a:pt x="32" y="217"/>
                      <a:pt x="32" y="217"/>
                      <a:pt x="32" y="217"/>
                    </a:cubicBezTo>
                    <a:close/>
                    <a:moveTo>
                      <a:pt x="29" y="222"/>
                    </a:moveTo>
                    <a:cubicBezTo>
                      <a:pt x="29" y="219"/>
                      <a:pt x="29" y="219"/>
                      <a:pt x="29" y="219"/>
                    </a:cubicBezTo>
                    <a:cubicBezTo>
                      <a:pt x="34" y="219"/>
                      <a:pt x="34" y="219"/>
                      <a:pt x="34" y="219"/>
                    </a:cubicBezTo>
                    <a:cubicBezTo>
                      <a:pt x="31" y="221"/>
                      <a:pt x="31" y="221"/>
                      <a:pt x="31" y="221"/>
                    </a:cubicBezTo>
                    <a:cubicBezTo>
                      <a:pt x="29" y="222"/>
                      <a:pt x="29" y="222"/>
                      <a:pt x="29" y="222"/>
                    </a:cubicBezTo>
                    <a:close/>
                    <a:moveTo>
                      <a:pt x="37" y="220"/>
                    </a:moveTo>
                    <a:cubicBezTo>
                      <a:pt x="38" y="222"/>
                      <a:pt x="38" y="222"/>
                      <a:pt x="38" y="222"/>
                    </a:cubicBezTo>
                    <a:cubicBezTo>
                      <a:pt x="38" y="226"/>
                      <a:pt x="38" y="226"/>
                      <a:pt x="38" y="226"/>
                    </a:cubicBezTo>
                    <a:cubicBezTo>
                      <a:pt x="37" y="227"/>
                      <a:pt x="37" y="227"/>
                      <a:pt x="37" y="227"/>
                    </a:cubicBezTo>
                    <a:cubicBezTo>
                      <a:pt x="36" y="223"/>
                      <a:pt x="36" y="223"/>
                      <a:pt x="36" y="223"/>
                    </a:cubicBezTo>
                    <a:cubicBezTo>
                      <a:pt x="37" y="220"/>
                      <a:pt x="37" y="220"/>
                      <a:pt x="37" y="220"/>
                    </a:cubicBezTo>
                    <a:close/>
                    <a:moveTo>
                      <a:pt x="40" y="218"/>
                    </a:moveTo>
                    <a:cubicBezTo>
                      <a:pt x="40" y="217"/>
                      <a:pt x="40" y="217"/>
                      <a:pt x="40" y="217"/>
                    </a:cubicBezTo>
                    <a:cubicBezTo>
                      <a:pt x="41" y="217"/>
                      <a:pt x="41" y="217"/>
                      <a:pt x="41" y="217"/>
                    </a:cubicBezTo>
                    <a:cubicBezTo>
                      <a:pt x="44" y="219"/>
                      <a:pt x="44" y="219"/>
                      <a:pt x="44" y="219"/>
                    </a:cubicBezTo>
                    <a:cubicBezTo>
                      <a:pt x="46" y="219"/>
                      <a:pt x="46" y="219"/>
                      <a:pt x="46" y="219"/>
                    </a:cubicBezTo>
                    <a:cubicBezTo>
                      <a:pt x="50" y="224"/>
                      <a:pt x="50" y="224"/>
                      <a:pt x="50" y="224"/>
                    </a:cubicBezTo>
                    <a:cubicBezTo>
                      <a:pt x="51" y="228"/>
                      <a:pt x="51" y="228"/>
                      <a:pt x="51" y="228"/>
                    </a:cubicBezTo>
                    <a:cubicBezTo>
                      <a:pt x="46" y="224"/>
                      <a:pt x="46" y="224"/>
                      <a:pt x="46" y="224"/>
                    </a:cubicBezTo>
                    <a:cubicBezTo>
                      <a:pt x="43" y="223"/>
                      <a:pt x="43" y="223"/>
                      <a:pt x="43" y="223"/>
                    </a:cubicBezTo>
                    <a:cubicBezTo>
                      <a:pt x="40" y="218"/>
                      <a:pt x="40" y="218"/>
                      <a:pt x="40" y="218"/>
                    </a:cubicBezTo>
                    <a:close/>
                    <a:moveTo>
                      <a:pt x="40" y="225"/>
                    </a:moveTo>
                    <a:cubicBezTo>
                      <a:pt x="41" y="224"/>
                      <a:pt x="41" y="224"/>
                      <a:pt x="41" y="224"/>
                    </a:cubicBezTo>
                    <a:cubicBezTo>
                      <a:pt x="45" y="226"/>
                      <a:pt x="45" y="226"/>
                      <a:pt x="45" y="226"/>
                    </a:cubicBezTo>
                    <a:cubicBezTo>
                      <a:pt x="49" y="232"/>
                      <a:pt x="49" y="232"/>
                      <a:pt x="49" y="232"/>
                    </a:cubicBezTo>
                    <a:cubicBezTo>
                      <a:pt x="48" y="234"/>
                      <a:pt x="48" y="234"/>
                      <a:pt x="48" y="234"/>
                    </a:cubicBezTo>
                    <a:cubicBezTo>
                      <a:pt x="45" y="234"/>
                      <a:pt x="45" y="234"/>
                      <a:pt x="45" y="234"/>
                    </a:cubicBezTo>
                    <a:cubicBezTo>
                      <a:pt x="40" y="229"/>
                      <a:pt x="40" y="229"/>
                      <a:pt x="40" y="229"/>
                    </a:cubicBezTo>
                    <a:cubicBezTo>
                      <a:pt x="40" y="225"/>
                      <a:pt x="40" y="225"/>
                      <a:pt x="40" y="225"/>
                    </a:cubicBezTo>
                    <a:close/>
                    <a:moveTo>
                      <a:pt x="43" y="243"/>
                    </a:moveTo>
                    <a:cubicBezTo>
                      <a:pt x="38" y="244"/>
                      <a:pt x="38" y="244"/>
                      <a:pt x="38" y="244"/>
                    </a:cubicBezTo>
                    <a:cubicBezTo>
                      <a:pt x="36" y="243"/>
                      <a:pt x="36" y="243"/>
                      <a:pt x="36" y="243"/>
                    </a:cubicBezTo>
                    <a:cubicBezTo>
                      <a:pt x="38" y="241"/>
                      <a:pt x="38" y="241"/>
                      <a:pt x="38" y="241"/>
                    </a:cubicBezTo>
                    <a:cubicBezTo>
                      <a:pt x="40" y="237"/>
                      <a:pt x="40" y="237"/>
                      <a:pt x="40" y="237"/>
                    </a:cubicBezTo>
                    <a:cubicBezTo>
                      <a:pt x="38" y="234"/>
                      <a:pt x="38" y="234"/>
                      <a:pt x="38" y="234"/>
                    </a:cubicBezTo>
                    <a:cubicBezTo>
                      <a:pt x="40" y="234"/>
                      <a:pt x="40" y="234"/>
                      <a:pt x="40" y="234"/>
                    </a:cubicBezTo>
                    <a:cubicBezTo>
                      <a:pt x="43" y="236"/>
                      <a:pt x="43" y="236"/>
                      <a:pt x="43" y="236"/>
                    </a:cubicBezTo>
                    <a:cubicBezTo>
                      <a:pt x="45" y="236"/>
                      <a:pt x="45" y="236"/>
                      <a:pt x="45" y="236"/>
                    </a:cubicBezTo>
                    <a:cubicBezTo>
                      <a:pt x="51" y="239"/>
                      <a:pt x="51" y="239"/>
                      <a:pt x="51" y="239"/>
                    </a:cubicBezTo>
                    <a:cubicBezTo>
                      <a:pt x="51" y="241"/>
                      <a:pt x="51" y="241"/>
                      <a:pt x="51" y="241"/>
                    </a:cubicBezTo>
                    <a:cubicBezTo>
                      <a:pt x="48" y="242"/>
                      <a:pt x="48" y="242"/>
                      <a:pt x="48" y="242"/>
                    </a:cubicBezTo>
                    <a:cubicBezTo>
                      <a:pt x="47" y="243"/>
                      <a:pt x="47" y="243"/>
                      <a:pt x="47" y="243"/>
                    </a:cubicBezTo>
                    <a:cubicBezTo>
                      <a:pt x="43" y="243"/>
                      <a:pt x="43" y="243"/>
                      <a:pt x="43" y="243"/>
                    </a:cubicBezTo>
                    <a:close/>
                    <a:moveTo>
                      <a:pt x="48" y="259"/>
                    </a:moveTo>
                    <a:cubicBezTo>
                      <a:pt x="46" y="258"/>
                      <a:pt x="46" y="258"/>
                      <a:pt x="46" y="258"/>
                    </a:cubicBezTo>
                    <a:cubicBezTo>
                      <a:pt x="44" y="257"/>
                      <a:pt x="44" y="257"/>
                      <a:pt x="44" y="257"/>
                    </a:cubicBezTo>
                    <a:cubicBezTo>
                      <a:pt x="43" y="254"/>
                      <a:pt x="43" y="254"/>
                      <a:pt x="43" y="254"/>
                    </a:cubicBezTo>
                    <a:cubicBezTo>
                      <a:pt x="44" y="252"/>
                      <a:pt x="44" y="252"/>
                      <a:pt x="44" y="252"/>
                    </a:cubicBezTo>
                    <a:cubicBezTo>
                      <a:pt x="45" y="251"/>
                      <a:pt x="45" y="251"/>
                      <a:pt x="45" y="251"/>
                    </a:cubicBezTo>
                    <a:cubicBezTo>
                      <a:pt x="44" y="250"/>
                      <a:pt x="44" y="250"/>
                      <a:pt x="44" y="250"/>
                    </a:cubicBezTo>
                    <a:cubicBezTo>
                      <a:pt x="44" y="249"/>
                      <a:pt x="44" y="249"/>
                      <a:pt x="44" y="249"/>
                    </a:cubicBezTo>
                    <a:cubicBezTo>
                      <a:pt x="47" y="248"/>
                      <a:pt x="47" y="248"/>
                      <a:pt x="47" y="248"/>
                    </a:cubicBezTo>
                    <a:cubicBezTo>
                      <a:pt x="48" y="251"/>
                      <a:pt x="48" y="251"/>
                      <a:pt x="48" y="251"/>
                    </a:cubicBezTo>
                    <a:cubicBezTo>
                      <a:pt x="48" y="254"/>
                      <a:pt x="48" y="254"/>
                      <a:pt x="48" y="254"/>
                    </a:cubicBezTo>
                    <a:cubicBezTo>
                      <a:pt x="46" y="256"/>
                      <a:pt x="46" y="256"/>
                      <a:pt x="46" y="256"/>
                    </a:cubicBezTo>
                    <a:cubicBezTo>
                      <a:pt x="48" y="259"/>
                      <a:pt x="48" y="259"/>
                      <a:pt x="48" y="259"/>
                    </a:cubicBezTo>
                    <a:close/>
                    <a:moveTo>
                      <a:pt x="49" y="252"/>
                    </a:moveTo>
                    <a:cubicBezTo>
                      <a:pt x="49" y="251"/>
                      <a:pt x="49" y="251"/>
                      <a:pt x="49" y="251"/>
                    </a:cubicBezTo>
                    <a:cubicBezTo>
                      <a:pt x="51" y="250"/>
                      <a:pt x="51" y="250"/>
                      <a:pt x="51" y="250"/>
                    </a:cubicBezTo>
                    <a:cubicBezTo>
                      <a:pt x="52" y="252"/>
                      <a:pt x="52" y="252"/>
                      <a:pt x="52" y="252"/>
                    </a:cubicBezTo>
                    <a:cubicBezTo>
                      <a:pt x="54" y="253"/>
                      <a:pt x="54" y="253"/>
                      <a:pt x="54" y="253"/>
                    </a:cubicBezTo>
                    <a:cubicBezTo>
                      <a:pt x="54" y="257"/>
                      <a:pt x="54" y="257"/>
                      <a:pt x="54" y="257"/>
                    </a:cubicBezTo>
                    <a:cubicBezTo>
                      <a:pt x="52" y="258"/>
                      <a:pt x="52" y="258"/>
                      <a:pt x="52" y="258"/>
                    </a:cubicBezTo>
                    <a:cubicBezTo>
                      <a:pt x="50" y="258"/>
                      <a:pt x="50" y="258"/>
                      <a:pt x="50" y="258"/>
                    </a:cubicBezTo>
                    <a:cubicBezTo>
                      <a:pt x="50" y="256"/>
                      <a:pt x="50" y="256"/>
                      <a:pt x="50" y="256"/>
                    </a:cubicBezTo>
                    <a:cubicBezTo>
                      <a:pt x="49" y="255"/>
                      <a:pt x="49" y="255"/>
                      <a:pt x="49" y="255"/>
                    </a:cubicBezTo>
                    <a:cubicBezTo>
                      <a:pt x="49" y="252"/>
                      <a:pt x="49" y="252"/>
                      <a:pt x="49" y="252"/>
                    </a:cubicBezTo>
                    <a:close/>
                    <a:moveTo>
                      <a:pt x="55" y="254"/>
                    </a:moveTo>
                    <a:cubicBezTo>
                      <a:pt x="59" y="256"/>
                      <a:pt x="59" y="256"/>
                      <a:pt x="59" y="256"/>
                    </a:cubicBezTo>
                    <a:cubicBezTo>
                      <a:pt x="60" y="258"/>
                      <a:pt x="60" y="258"/>
                      <a:pt x="60" y="258"/>
                    </a:cubicBezTo>
                    <a:cubicBezTo>
                      <a:pt x="59" y="258"/>
                      <a:pt x="59" y="258"/>
                      <a:pt x="59" y="258"/>
                    </a:cubicBezTo>
                    <a:cubicBezTo>
                      <a:pt x="56" y="256"/>
                      <a:pt x="56" y="256"/>
                      <a:pt x="56" y="256"/>
                    </a:cubicBezTo>
                    <a:cubicBezTo>
                      <a:pt x="55" y="254"/>
                      <a:pt x="55" y="254"/>
                      <a:pt x="55" y="254"/>
                    </a:cubicBezTo>
                    <a:close/>
                    <a:moveTo>
                      <a:pt x="54" y="267"/>
                    </a:moveTo>
                    <a:cubicBezTo>
                      <a:pt x="52" y="267"/>
                      <a:pt x="52" y="267"/>
                      <a:pt x="52" y="267"/>
                    </a:cubicBezTo>
                    <a:cubicBezTo>
                      <a:pt x="51" y="266"/>
                      <a:pt x="51" y="266"/>
                      <a:pt x="51" y="266"/>
                    </a:cubicBezTo>
                    <a:cubicBezTo>
                      <a:pt x="53" y="265"/>
                      <a:pt x="53" y="265"/>
                      <a:pt x="53" y="265"/>
                    </a:cubicBezTo>
                    <a:cubicBezTo>
                      <a:pt x="52" y="261"/>
                      <a:pt x="52" y="261"/>
                      <a:pt x="52" y="261"/>
                    </a:cubicBezTo>
                    <a:cubicBezTo>
                      <a:pt x="54" y="261"/>
                      <a:pt x="54" y="261"/>
                      <a:pt x="54" y="261"/>
                    </a:cubicBezTo>
                    <a:cubicBezTo>
                      <a:pt x="55" y="262"/>
                      <a:pt x="55" y="262"/>
                      <a:pt x="55" y="262"/>
                    </a:cubicBezTo>
                    <a:cubicBezTo>
                      <a:pt x="54" y="267"/>
                      <a:pt x="54" y="267"/>
                      <a:pt x="54" y="267"/>
                    </a:cubicBezTo>
                    <a:close/>
                    <a:moveTo>
                      <a:pt x="65" y="257"/>
                    </a:moveTo>
                    <a:cubicBezTo>
                      <a:pt x="60" y="255"/>
                      <a:pt x="60" y="255"/>
                      <a:pt x="60" y="255"/>
                    </a:cubicBezTo>
                    <a:cubicBezTo>
                      <a:pt x="58" y="253"/>
                      <a:pt x="58" y="253"/>
                      <a:pt x="58" y="253"/>
                    </a:cubicBezTo>
                    <a:cubicBezTo>
                      <a:pt x="58" y="247"/>
                      <a:pt x="58" y="247"/>
                      <a:pt x="58" y="247"/>
                    </a:cubicBezTo>
                    <a:cubicBezTo>
                      <a:pt x="59" y="247"/>
                      <a:pt x="59" y="247"/>
                      <a:pt x="59" y="247"/>
                    </a:cubicBezTo>
                    <a:cubicBezTo>
                      <a:pt x="61" y="251"/>
                      <a:pt x="61" y="251"/>
                      <a:pt x="61" y="251"/>
                    </a:cubicBezTo>
                    <a:cubicBezTo>
                      <a:pt x="65" y="255"/>
                      <a:pt x="65" y="255"/>
                      <a:pt x="65" y="255"/>
                    </a:cubicBezTo>
                    <a:cubicBezTo>
                      <a:pt x="66" y="257"/>
                      <a:pt x="66" y="257"/>
                      <a:pt x="66" y="257"/>
                    </a:cubicBezTo>
                    <a:cubicBezTo>
                      <a:pt x="65" y="257"/>
                      <a:pt x="65" y="257"/>
                      <a:pt x="65" y="257"/>
                    </a:cubicBezTo>
                    <a:close/>
                    <a:moveTo>
                      <a:pt x="64" y="263"/>
                    </a:moveTo>
                    <a:cubicBezTo>
                      <a:pt x="61" y="260"/>
                      <a:pt x="61" y="260"/>
                      <a:pt x="61" y="260"/>
                    </a:cubicBezTo>
                    <a:cubicBezTo>
                      <a:pt x="62" y="259"/>
                      <a:pt x="62" y="259"/>
                      <a:pt x="62" y="259"/>
                    </a:cubicBezTo>
                    <a:cubicBezTo>
                      <a:pt x="65" y="259"/>
                      <a:pt x="65" y="259"/>
                      <a:pt x="65" y="259"/>
                    </a:cubicBezTo>
                    <a:cubicBezTo>
                      <a:pt x="66" y="262"/>
                      <a:pt x="66" y="262"/>
                      <a:pt x="66" y="262"/>
                    </a:cubicBezTo>
                    <a:cubicBezTo>
                      <a:pt x="64" y="263"/>
                      <a:pt x="64" y="263"/>
                      <a:pt x="64" y="263"/>
                    </a:cubicBezTo>
                    <a:close/>
                    <a:moveTo>
                      <a:pt x="66" y="270"/>
                    </a:moveTo>
                    <a:cubicBezTo>
                      <a:pt x="62" y="265"/>
                      <a:pt x="62" y="265"/>
                      <a:pt x="62" y="265"/>
                    </a:cubicBezTo>
                    <a:cubicBezTo>
                      <a:pt x="60" y="263"/>
                      <a:pt x="60" y="263"/>
                      <a:pt x="60" y="263"/>
                    </a:cubicBezTo>
                    <a:cubicBezTo>
                      <a:pt x="61" y="262"/>
                      <a:pt x="61" y="262"/>
                      <a:pt x="61" y="262"/>
                    </a:cubicBezTo>
                    <a:cubicBezTo>
                      <a:pt x="67" y="266"/>
                      <a:pt x="67" y="266"/>
                      <a:pt x="67" y="266"/>
                    </a:cubicBezTo>
                    <a:cubicBezTo>
                      <a:pt x="67" y="269"/>
                      <a:pt x="67" y="269"/>
                      <a:pt x="67" y="269"/>
                    </a:cubicBezTo>
                    <a:cubicBezTo>
                      <a:pt x="66" y="270"/>
                      <a:pt x="66" y="270"/>
                      <a:pt x="66" y="270"/>
                    </a:cubicBezTo>
                    <a:close/>
                    <a:moveTo>
                      <a:pt x="70" y="278"/>
                    </a:moveTo>
                    <a:cubicBezTo>
                      <a:pt x="68" y="277"/>
                      <a:pt x="68" y="277"/>
                      <a:pt x="68" y="277"/>
                    </a:cubicBezTo>
                    <a:cubicBezTo>
                      <a:pt x="66" y="276"/>
                      <a:pt x="66" y="276"/>
                      <a:pt x="66" y="276"/>
                    </a:cubicBezTo>
                    <a:cubicBezTo>
                      <a:pt x="66" y="274"/>
                      <a:pt x="66" y="274"/>
                      <a:pt x="66" y="274"/>
                    </a:cubicBezTo>
                    <a:cubicBezTo>
                      <a:pt x="62" y="274"/>
                      <a:pt x="62" y="274"/>
                      <a:pt x="62" y="274"/>
                    </a:cubicBezTo>
                    <a:cubicBezTo>
                      <a:pt x="61" y="273"/>
                      <a:pt x="61" y="273"/>
                      <a:pt x="61" y="273"/>
                    </a:cubicBezTo>
                    <a:cubicBezTo>
                      <a:pt x="64" y="272"/>
                      <a:pt x="64" y="272"/>
                      <a:pt x="64" y="272"/>
                    </a:cubicBezTo>
                    <a:cubicBezTo>
                      <a:pt x="66" y="272"/>
                      <a:pt x="66" y="272"/>
                      <a:pt x="66" y="272"/>
                    </a:cubicBezTo>
                    <a:cubicBezTo>
                      <a:pt x="71" y="272"/>
                      <a:pt x="71" y="272"/>
                      <a:pt x="71" y="272"/>
                    </a:cubicBezTo>
                    <a:cubicBezTo>
                      <a:pt x="72" y="275"/>
                      <a:pt x="72" y="275"/>
                      <a:pt x="72" y="275"/>
                    </a:cubicBezTo>
                    <a:cubicBezTo>
                      <a:pt x="70" y="278"/>
                      <a:pt x="70" y="278"/>
                      <a:pt x="70" y="278"/>
                    </a:cubicBezTo>
                    <a:close/>
                    <a:moveTo>
                      <a:pt x="82" y="297"/>
                    </a:moveTo>
                    <a:cubicBezTo>
                      <a:pt x="76" y="295"/>
                      <a:pt x="76" y="295"/>
                      <a:pt x="76" y="295"/>
                    </a:cubicBezTo>
                    <a:cubicBezTo>
                      <a:pt x="75" y="296"/>
                      <a:pt x="75" y="296"/>
                      <a:pt x="75" y="296"/>
                    </a:cubicBezTo>
                    <a:cubicBezTo>
                      <a:pt x="72" y="296"/>
                      <a:pt x="72" y="296"/>
                      <a:pt x="72" y="296"/>
                    </a:cubicBezTo>
                    <a:cubicBezTo>
                      <a:pt x="70" y="293"/>
                      <a:pt x="70" y="293"/>
                      <a:pt x="70" y="293"/>
                    </a:cubicBezTo>
                    <a:cubicBezTo>
                      <a:pt x="65" y="291"/>
                      <a:pt x="65" y="291"/>
                      <a:pt x="65" y="291"/>
                    </a:cubicBezTo>
                    <a:cubicBezTo>
                      <a:pt x="61" y="290"/>
                      <a:pt x="61" y="290"/>
                      <a:pt x="61" y="290"/>
                    </a:cubicBezTo>
                    <a:cubicBezTo>
                      <a:pt x="58" y="286"/>
                      <a:pt x="58" y="286"/>
                      <a:pt x="58" y="286"/>
                    </a:cubicBezTo>
                    <a:cubicBezTo>
                      <a:pt x="57" y="282"/>
                      <a:pt x="57" y="282"/>
                      <a:pt x="57" y="282"/>
                    </a:cubicBezTo>
                    <a:cubicBezTo>
                      <a:pt x="59" y="281"/>
                      <a:pt x="59" y="281"/>
                      <a:pt x="59" y="281"/>
                    </a:cubicBezTo>
                    <a:cubicBezTo>
                      <a:pt x="61" y="282"/>
                      <a:pt x="61" y="282"/>
                      <a:pt x="61" y="282"/>
                    </a:cubicBezTo>
                    <a:cubicBezTo>
                      <a:pt x="65" y="287"/>
                      <a:pt x="65" y="287"/>
                      <a:pt x="65" y="287"/>
                    </a:cubicBezTo>
                    <a:cubicBezTo>
                      <a:pt x="67" y="288"/>
                      <a:pt x="67" y="288"/>
                      <a:pt x="67" y="288"/>
                    </a:cubicBezTo>
                    <a:cubicBezTo>
                      <a:pt x="71" y="288"/>
                      <a:pt x="71" y="288"/>
                      <a:pt x="71" y="288"/>
                    </a:cubicBezTo>
                    <a:cubicBezTo>
                      <a:pt x="74" y="289"/>
                      <a:pt x="74" y="289"/>
                      <a:pt x="74" y="289"/>
                    </a:cubicBezTo>
                    <a:cubicBezTo>
                      <a:pt x="77" y="291"/>
                      <a:pt x="77" y="291"/>
                      <a:pt x="77" y="291"/>
                    </a:cubicBezTo>
                    <a:cubicBezTo>
                      <a:pt x="81" y="291"/>
                      <a:pt x="81" y="291"/>
                      <a:pt x="81" y="291"/>
                    </a:cubicBezTo>
                    <a:cubicBezTo>
                      <a:pt x="83" y="293"/>
                      <a:pt x="83" y="293"/>
                      <a:pt x="83" y="293"/>
                    </a:cubicBezTo>
                    <a:cubicBezTo>
                      <a:pt x="87" y="295"/>
                      <a:pt x="87" y="295"/>
                      <a:pt x="87" y="295"/>
                    </a:cubicBezTo>
                    <a:cubicBezTo>
                      <a:pt x="88" y="296"/>
                      <a:pt x="88" y="296"/>
                      <a:pt x="88" y="296"/>
                    </a:cubicBezTo>
                    <a:cubicBezTo>
                      <a:pt x="89" y="297"/>
                      <a:pt x="89" y="297"/>
                      <a:pt x="89" y="297"/>
                    </a:cubicBezTo>
                    <a:cubicBezTo>
                      <a:pt x="89" y="298"/>
                      <a:pt x="89" y="298"/>
                      <a:pt x="89" y="298"/>
                    </a:cubicBezTo>
                    <a:cubicBezTo>
                      <a:pt x="85" y="298"/>
                      <a:pt x="85" y="298"/>
                      <a:pt x="85" y="298"/>
                    </a:cubicBezTo>
                    <a:cubicBezTo>
                      <a:pt x="82" y="297"/>
                      <a:pt x="82" y="297"/>
                      <a:pt x="82" y="297"/>
                    </a:cubicBezTo>
                    <a:close/>
                    <a:moveTo>
                      <a:pt x="69" y="298"/>
                    </a:moveTo>
                    <a:cubicBezTo>
                      <a:pt x="69" y="299"/>
                      <a:pt x="72" y="301"/>
                      <a:pt x="72" y="301"/>
                    </a:cubicBezTo>
                    <a:cubicBezTo>
                      <a:pt x="67" y="300"/>
                      <a:pt x="67" y="300"/>
                      <a:pt x="67" y="300"/>
                    </a:cubicBezTo>
                    <a:cubicBezTo>
                      <a:pt x="69" y="298"/>
                      <a:pt x="69" y="298"/>
                      <a:pt x="69" y="298"/>
                    </a:cubicBezTo>
                    <a:close/>
                    <a:moveTo>
                      <a:pt x="96" y="315"/>
                    </a:moveTo>
                    <a:cubicBezTo>
                      <a:pt x="97" y="316"/>
                      <a:pt x="97" y="316"/>
                      <a:pt x="97" y="316"/>
                    </a:cubicBezTo>
                    <a:cubicBezTo>
                      <a:pt x="99" y="315"/>
                      <a:pt x="99" y="315"/>
                      <a:pt x="99" y="315"/>
                    </a:cubicBezTo>
                    <a:cubicBezTo>
                      <a:pt x="97" y="313"/>
                      <a:pt x="97" y="313"/>
                      <a:pt x="97" y="313"/>
                    </a:cubicBezTo>
                    <a:cubicBezTo>
                      <a:pt x="95" y="315"/>
                      <a:pt x="95" y="315"/>
                      <a:pt x="95" y="315"/>
                    </a:cubicBezTo>
                    <a:cubicBezTo>
                      <a:pt x="96" y="315"/>
                      <a:pt x="96" y="315"/>
                      <a:pt x="96" y="315"/>
                    </a:cubicBezTo>
                    <a:close/>
                    <a:moveTo>
                      <a:pt x="105" y="317"/>
                    </a:moveTo>
                    <a:cubicBezTo>
                      <a:pt x="103" y="318"/>
                      <a:pt x="103" y="318"/>
                      <a:pt x="103" y="318"/>
                    </a:cubicBezTo>
                    <a:cubicBezTo>
                      <a:pt x="100" y="316"/>
                      <a:pt x="100" y="316"/>
                      <a:pt x="100" y="316"/>
                    </a:cubicBezTo>
                    <a:cubicBezTo>
                      <a:pt x="100" y="313"/>
                      <a:pt x="100" y="313"/>
                      <a:pt x="100" y="313"/>
                    </a:cubicBezTo>
                    <a:cubicBezTo>
                      <a:pt x="98" y="312"/>
                      <a:pt x="98" y="312"/>
                      <a:pt x="98" y="312"/>
                    </a:cubicBezTo>
                    <a:cubicBezTo>
                      <a:pt x="94" y="313"/>
                      <a:pt x="94" y="313"/>
                      <a:pt x="94" y="313"/>
                    </a:cubicBezTo>
                    <a:cubicBezTo>
                      <a:pt x="91" y="312"/>
                      <a:pt x="91" y="312"/>
                      <a:pt x="91" y="312"/>
                    </a:cubicBezTo>
                    <a:cubicBezTo>
                      <a:pt x="87" y="308"/>
                      <a:pt x="87" y="308"/>
                      <a:pt x="87" y="308"/>
                    </a:cubicBezTo>
                    <a:cubicBezTo>
                      <a:pt x="83" y="307"/>
                      <a:pt x="83" y="307"/>
                      <a:pt x="83" y="307"/>
                    </a:cubicBezTo>
                    <a:cubicBezTo>
                      <a:pt x="82" y="304"/>
                      <a:pt x="82" y="304"/>
                      <a:pt x="82" y="304"/>
                    </a:cubicBezTo>
                    <a:cubicBezTo>
                      <a:pt x="78" y="302"/>
                      <a:pt x="78" y="302"/>
                      <a:pt x="78" y="302"/>
                    </a:cubicBezTo>
                    <a:cubicBezTo>
                      <a:pt x="78" y="300"/>
                      <a:pt x="78" y="300"/>
                      <a:pt x="78" y="300"/>
                    </a:cubicBezTo>
                    <a:cubicBezTo>
                      <a:pt x="79" y="298"/>
                      <a:pt x="79" y="298"/>
                      <a:pt x="79" y="298"/>
                    </a:cubicBezTo>
                    <a:cubicBezTo>
                      <a:pt x="82" y="298"/>
                      <a:pt x="82" y="298"/>
                      <a:pt x="82" y="298"/>
                    </a:cubicBezTo>
                    <a:cubicBezTo>
                      <a:pt x="84" y="300"/>
                      <a:pt x="84" y="300"/>
                      <a:pt x="84" y="300"/>
                    </a:cubicBezTo>
                    <a:cubicBezTo>
                      <a:pt x="86" y="301"/>
                      <a:pt x="86" y="301"/>
                      <a:pt x="86" y="301"/>
                    </a:cubicBezTo>
                    <a:cubicBezTo>
                      <a:pt x="90" y="299"/>
                      <a:pt x="90" y="299"/>
                      <a:pt x="90" y="299"/>
                    </a:cubicBezTo>
                    <a:cubicBezTo>
                      <a:pt x="94" y="299"/>
                      <a:pt x="94" y="299"/>
                      <a:pt x="94" y="299"/>
                    </a:cubicBezTo>
                    <a:cubicBezTo>
                      <a:pt x="99" y="303"/>
                      <a:pt x="99" y="303"/>
                      <a:pt x="99" y="303"/>
                    </a:cubicBezTo>
                    <a:cubicBezTo>
                      <a:pt x="101" y="304"/>
                      <a:pt x="101" y="304"/>
                      <a:pt x="101" y="304"/>
                    </a:cubicBezTo>
                    <a:cubicBezTo>
                      <a:pt x="102" y="306"/>
                      <a:pt x="102" y="306"/>
                      <a:pt x="102" y="306"/>
                    </a:cubicBezTo>
                    <a:cubicBezTo>
                      <a:pt x="106" y="305"/>
                      <a:pt x="106" y="305"/>
                      <a:pt x="106" y="305"/>
                    </a:cubicBezTo>
                    <a:cubicBezTo>
                      <a:pt x="109" y="306"/>
                      <a:pt x="109" y="306"/>
                      <a:pt x="109" y="306"/>
                    </a:cubicBezTo>
                    <a:cubicBezTo>
                      <a:pt x="110" y="309"/>
                      <a:pt x="110" y="309"/>
                      <a:pt x="110" y="309"/>
                    </a:cubicBezTo>
                    <a:cubicBezTo>
                      <a:pt x="107" y="308"/>
                      <a:pt x="107" y="308"/>
                      <a:pt x="107" y="308"/>
                    </a:cubicBezTo>
                    <a:cubicBezTo>
                      <a:pt x="106" y="309"/>
                      <a:pt x="106" y="309"/>
                      <a:pt x="106" y="309"/>
                    </a:cubicBezTo>
                    <a:cubicBezTo>
                      <a:pt x="107" y="310"/>
                      <a:pt x="107" y="310"/>
                      <a:pt x="107" y="310"/>
                    </a:cubicBezTo>
                    <a:cubicBezTo>
                      <a:pt x="107" y="312"/>
                      <a:pt x="107" y="312"/>
                      <a:pt x="107" y="312"/>
                    </a:cubicBezTo>
                    <a:cubicBezTo>
                      <a:pt x="104" y="315"/>
                      <a:pt x="104" y="315"/>
                      <a:pt x="104" y="315"/>
                    </a:cubicBezTo>
                    <a:cubicBezTo>
                      <a:pt x="105" y="317"/>
                      <a:pt x="105" y="317"/>
                      <a:pt x="105" y="317"/>
                    </a:cubicBezTo>
                    <a:close/>
                    <a:moveTo>
                      <a:pt x="110" y="316"/>
                    </a:moveTo>
                    <a:cubicBezTo>
                      <a:pt x="108" y="318"/>
                      <a:pt x="108" y="318"/>
                      <a:pt x="108" y="318"/>
                    </a:cubicBezTo>
                    <a:cubicBezTo>
                      <a:pt x="108" y="321"/>
                      <a:pt x="108" y="321"/>
                      <a:pt x="108" y="321"/>
                    </a:cubicBezTo>
                    <a:cubicBezTo>
                      <a:pt x="110" y="320"/>
                      <a:pt x="110" y="320"/>
                      <a:pt x="110" y="320"/>
                    </a:cubicBezTo>
                    <a:cubicBezTo>
                      <a:pt x="112" y="317"/>
                      <a:pt x="112" y="317"/>
                      <a:pt x="112" y="317"/>
                    </a:cubicBezTo>
                    <a:cubicBezTo>
                      <a:pt x="113" y="316"/>
                      <a:pt x="113" y="316"/>
                      <a:pt x="113" y="316"/>
                    </a:cubicBezTo>
                    <a:cubicBezTo>
                      <a:pt x="111" y="315"/>
                      <a:pt x="111" y="315"/>
                      <a:pt x="111" y="315"/>
                    </a:cubicBezTo>
                    <a:cubicBezTo>
                      <a:pt x="110" y="316"/>
                      <a:pt x="110" y="316"/>
                      <a:pt x="110" y="316"/>
                    </a:cubicBezTo>
                    <a:close/>
                    <a:moveTo>
                      <a:pt x="132" y="313"/>
                    </a:moveTo>
                    <a:cubicBezTo>
                      <a:pt x="130" y="315"/>
                      <a:pt x="130" y="315"/>
                      <a:pt x="130" y="315"/>
                    </a:cubicBezTo>
                    <a:cubicBezTo>
                      <a:pt x="131" y="317"/>
                      <a:pt x="131" y="317"/>
                      <a:pt x="131" y="317"/>
                    </a:cubicBezTo>
                    <a:cubicBezTo>
                      <a:pt x="129" y="319"/>
                      <a:pt x="129" y="319"/>
                      <a:pt x="129" y="319"/>
                    </a:cubicBezTo>
                    <a:cubicBezTo>
                      <a:pt x="126" y="318"/>
                      <a:pt x="126" y="318"/>
                      <a:pt x="126" y="318"/>
                    </a:cubicBezTo>
                    <a:cubicBezTo>
                      <a:pt x="124" y="316"/>
                      <a:pt x="124" y="316"/>
                      <a:pt x="124" y="316"/>
                    </a:cubicBezTo>
                    <a:cubicBezTo>
                      <a:pt x="123" y="318"/>
                      <a:pt x="123" y="318"/>
                      <a:pt x="123" y="318"/>
                    </a:cubicBezTo>
                    <a:cubicBezTo>
                      <a:pt x="121" y="316"/>
                      <a:pt x="121" y="316"/>
                      <a:pt x="121" y="316"/>
                    </a:cubicBezTo>
                    <a:cubicBezTo>
                      <a:pt x="117" y="315"/>
                      <a:pt x="117" y="315"/>
                      <a:pt x="117" y="315"/>
                    </a:cubicBezTo>
                    <a:cubicBezTo>
                      <a:pt x="115" y="317"/>
                      <a:pt x="115" y="317"/>
                      <a:pt x="115" y="317"/>
                    </a:cubicBezTo>
                    <a:cubicBezTo>
                      <a:pt x="114" y="314"/>
                      <a:pt x="114" y="314"/>
                      <a:pt x="114" y="314"/>
                    </a:cubicBezTo>
                    <a:cubicBezTo>
                      <a:pt x="112" y="313"/>
                      <a:pt x="112" y="313"/>
                      <a:pt x="112" y="313"/>
                    </a:cubicBezTo>
                    <a:cubicBezTo>
                      <a:pt x="112" y="311"/>
                      <a:pt x="112" y="311"/>
                      <a:pt x="112" y="311"/>
                    </a:cubicBezTo>
                    <a:cubicBezTo>
                      <a:pt x="117" y="311"/>
                      <a:pt x="117" y="311"/>
                      <a:pt x="117" y="311"/>
                    </a:cubicBezTo>
                    <a:cubicBezTo>
                      <a:pt x="118" y="309"/>
                      <a:pt x="118" y="309"/>
                      <a:pt x="118" y="309"/>
                    </a:cubicBezTo>
                    <a:cubicBezTo>
                      <a:pt x="125" y="311"/>
                      <a:pt x="125" y="311"/>
                      <a:pt x="125" y="311"/>
                    </a:cubicBezTo>
                    <a:cubicBezTo>
                      <a:pt x="126" y="314"/>
                      <a:pt x="126" y="314"/>
                      <a:pt x="126" y="314"/>
                    </a:cubicBezTo>
                    <a:cubicBezTo>
                      <a:pt x="128" y="312"/>
                      <a:pt x="128" y="312"/>
                      <a:pt x="128" y="312"/>
                    </a:cubicBezTo>
                    <a:cubicBezTo>
                      <a:pt x="130" y="312"/>
                      <a:pt x="130" y="312"/>
                      <a:pt x="130" y="312"/>
                    </a:cubicBezTo>
                    <a:cubicBezTo>
                      <a:pt x="132" y="313"/>
                      <a:pt x="132" y="313"/>
                      <a:pt x="132" y="313"/>
                    </a:cubicBezTo>
                    <a:close/>
                    <a:moveTo>
                      <a:pt x="142" y="311"/>
                    </a:moveTo>
                    <a:cubicBezTo>
                      <a:pt x="138" y="308"/>
                      <a:pt x="138" y="308"/>
                      <a:pt x="138" y="308"/>
                    </a:cubicBezTo>
                    <a:cubicBezTo>
                      <a:pt x="141" y="306"/>
                      <a:pt x="141" y="306"/>
                      <a:pt x="141" y="306"/>
                    </a:cubicBezTo>
                    <a:cubicBezTo>
                      <a:pt x="139" y="304"/>
                      <a:pt x="139" y="304"/>
                      <a:pt x="139" y="304"/>
                    </a:cubicBezTo>
                    <a:cubicBezTo>
                      <a:pt x="139" y="302"/>
                      <a:pt x="139" y="302"/>
                      <a:pt x="139" y="302"/>
                    </a:cubicBezTo>
                    <a:cubicBezTo>
                      <a:pt x="137" y="299"/>
                      <a:pt x="137" y="299"/>
                      <a:pt x="137" y="299"/>
                    </a:cubicBezTo>
                    <a:cubicBezTo>
                      <a:pt x="136" y="295"/>
                      <a:pt x="136" y="295"/>
                      <a:pt x="136" y="295"/>
                    </a:cubicBezTo>
                    <a:cubicBezTo>
                      <a:pt x="134" y="294"/>
                      <a:pt x="134" y="294"/>
                      <a:pt x="134" y="294"/>
                    </a:cubicBezTo>
                    <a:cubicBezTo>
                      <a:pt x="133" y="297"/>
                      <a:pt x="133" y="297"/>
                      <a:pt x="133" y="297"/>
                    </a:cubicBezTo>
                    <a:cubicBezTo>
                      <a:pt x="132" y="301"/>
                      <a:pt x="132" y="301"/>
                      <a:pt x="132" y="301"/>
                    </a:cubicBezTo>
                    <a:cubicBezTo>
                      <a:pt x="134" y="304"/>
                      <a:pt x="134" y="304"/>
                      <a:pt x="134" y="304"/>
                    </a:cubicBezTo>
                    <a:cubicBezTo>
                      <a:pt x="132" y="306"/>
                      <a:pt x="132" y="306"/>
                      <a:pt x="132" y="306"/>
                    </a:cubicBezTo>
                    <a:cubicBezTo>
                      <a:pt x="132" y="309"/>
                      <a:pt x="132" y="309"/>
                      <a:pt x="132" y="309"/>
                    </a:cubicBezTo>
                    <a:cubicBezTo>
                      <a:pt x="136" y="311"/>
                      <a:pt x="136" y="311"/>
                      <a:pt x="136" y="311"/>
                    </a:cubicBezTo>
                    <a:cubicBezTo>
                      <a:pt x="140" y="312"/>
                      <a:pt x="140" y="312"/>
                      <a:pt x="140" y="312"/>
                    </a:cubicBezTo>
                    <a:cubicBezTo>
                      <a:pt x="141" y="313"/>
                      <a:pt x="141" y="313"/>
                      <a:pt x="141" y="313"/>
                    </a:cubicBezTo>
                    <a:cubicBezTo>
                      <a:pt x="142" y="311"/>
                      <a:pt x="142" y="311"/>
                      <a:pt x="142" y="311"/>
                    </a:cubicBezTo>
                    <a:close/>
                    <a:moveTo>
                      <a:pt x="128" y="339"/>
                    </a:moveTo>
                    <a:cubicBezTo>
                      <a:pt x="131" y="337"/>
                      <a:pt x="131" y="337"/>
                      <a:pt x="131" y="337"/>
                    </a:cubicBezTo>
                    <a:cubicBezTo>
                      <a:pt x="133" y="339"/>
                      <a:pt x="133" y="339"/>
                      <a:pt x="133" y="339"/>
                    </a:cubicBezTo>
                    <a:cubicBezTo>
                      <a:pt x="130" y="341"/>
                      <a:pt x="130" y="341"/>
                      <a:pt x="130" y="341"/>
                    </a:cubicBezTo>
                    <a:cubicBezTo>
                      <a:pt x="128" y="339"/>
                      <a:pt x="128" y="339"/>
                      <a:pt x="128" y="339"/>
                    </a:cubicBezTo>
                    <a:close/>
                    <a:moveTo>
                      <a:pt x="129" y="335"/>
                    </a:moveTo>
                    <a:cubicBezTo>
                      <a:pt x="128" y="334"/>
                      <a:pt x="128" y="334"/>
                      <a:pt x="128" y="334"/>
                    </a:cubicBezTo>
                    <a:cubicBezTo>
                      <a:pt x="129" y="332"/>
                      <a:pt x="129" y="332"/>
                      <a:pt x="129" y="332"/>
                    </a:cubicBezTo>
                    <a:cubicBezTo>
                      <a:pt x="132" y="333"/>
                      <a:pt x="132" y="333"/>
                      <a:pt x="132" y="333"/>
                    </a:cubicBezTo>
                    <a:cubicBezTo>
                      <a:pt x="131" y="335"/>
                      <a:pt x="131" y="335"/>
                      <a:pt x="131" y="335"/>
                    </a:cubicBezTo>
                    <a:cubicBezTo>
                      <a:pt x="129" y="335"/>
                      <a:pt x="129" y="335"/>
                      <a:pt x="129" y="335"/>
                    </a:cubicBezTo>
                    <a:close/>
                    <a:moveTo>
                      <a:pt x="204" y="355"/>
                    </a:moveTo>
                    <a:cubicBezTo>
                      <a:pt x="203" y="353"/>
                      <a:pt x="203" y="353"/>
                      <a:pt x="203" y="353"/>
                    </a:cubicBezTo>
                    <a:cubicBezTo>
                      <a:pt x="205" y="350"/>
                      <a:pt x="205" y="350"/>
                      <a:pt x="205" y="350"/>
                    </a:cubicBezTo>
                    <a:cubicBezTo>
                      <a:pt x="204" y="348"/>
                      <a:pt x="204" y="348"/>
                      <a:pt x="204" y="348"/>
                    </a:cubicBezTo>
                    <a:cubicBezTo>
                      <a:pt x="206" y="349"/>
                      <a:pt x="206" y="349"/>
                      <a:pt x="206" y="349"/>
                    </a:cubicBezTo>
                    <a:cubicBezTo>
                      <a:pt x="207" y="352"/>
                      <a:pt x="207" y="352"/>
                      <a:pt x="207" y="352"/>
                    </a:cubicBezTo>
                    <a:cubicBezTo>
                      <a:pt x="207" y="355"/>
                      <a:pt x="207" y="355"/>
                      <a:pt x="207" y="355"/>
                    </a:cubicBezTo>
                    <a:cubicBezTo>
                      <a:pt x="204" y="355"/>
                      <a:pt x="204" y="355"/>
                      <a:pt x="204" y="355"/>
                    </a:cubicBezTo>
                    <a:close/>
                    <a:moveTo>
                      <a:pt x="157" y="336"/>
                    </a:moveTo>
                    <a:cubicBezTo>
                      <a:pt x="160" y="335"/>
                      <a:pt x="160" y="335"/>
                      <a:pt x="160" y="335"/>
                    </a:cubicBezTo>
                    <a:cubicBezTo>
                      <a:pt x="163" y="335"/>
                      <a:pt x="163" y="335"/>
                      <a:pt x="163" y="335"/>
                    </a:cubicBezTo>
                    <a:cubicBezTo>
                      <a:pt x="165" y="335"/>
                      <a:pt x="165" y="335"/>
                      <a:pt x="165" y="335"/>
                    </a:cubicBezTo>
                    <a:cubicBezTo>
                      <a:pt x="169" y="335"/>
                      <a:pt x="169" y="335"/>
                      <a:pt x="169" y="335"/>
                    </a:cubicBezTo>
                    <a:cubicBezTo>
                      <a:pt x="178" y="333"/>
                      <a:pt x="178" y="333"/>
                      <a:pt x="178" y="333"/>
                    </a:cubicBezTo>
                    <a:cubicBezTo>
                      <a:pt x="183" y="331"/>
                      <a:pt x="183" y="331"/>
                      <a:pt x="183" y="331"/>
                    </a:cubicBezTo>
                    <a:cubicBezTo>
                      <a:pt x="189" y="332"/>
                      <a:pt x="189" y="332"/>
                      <a:pt x="189" y="332"/>
                    </a:cubicBezTo>
                    <a:cubicBezTo>
                      <a:pt x="194" y="331"/>
                      <a:pt x="194" y="331"/>
                      <a:pt x="194" y="331"/>
                    </a:cubicBezTo>
                    <a:cubicBezTo>
                      <a:pt x="199" y="331"/>
                      <a:pt x="199" y="331"/>
                      <a:pt x="199" y="331"/>
                    </a:cubicBezTo>
                    <a:cubicBezTo>
                      <a:pt x="203" y="332"/>
                      <a:pt x="203" y="332"/>
                      <a:pt x="203" y="332"/>
                    </a:cubicBezTo>
                    <a:cubicBezTo>
                      <a:pt x="204" y="335"/>
                      <a:pt x="204" y="335"/>
                      <a:pt x="204" y="335"/>
                    </a:cubicBezTo>
                    <a:cubicBezTo>
                      <a:pt x="206" y="337"/>
                      <a:pt x="206" y="337"/>
                      <a:pt x="206" y="337"/>
                    </a:cubicBezTo>
                    <a:cubicBezTo>
                      <a:pt x="204" y="339"/>
                      <a:pt x="204" y="339"/>
                      <a:pt x="204" y="339"/>
                    </a:cubicBezTo>
                    <a:cubicBezTo>
                      <a:pt x="201" y="341"/>
                      <a:pt x="201" y="341"/>
                      <a:pt x="201" y="341"/>
                    </a:cubicBezTo>
                    <a:cubicBezTo>
                      <a:pt x="199" y="339"/>
                      <a:pt x="199" y="339"/>
                      <a:pt x="199" y="339"/>
                    </a:cubicBezTo>
                    <a:cubicBezTo>
                      <a:pt x="197" y="338"/>
                      <a:pt x="197" y="338"/>
                      <a:pt x="197" y="338"/>
                    </a:cubicBezTo>
                    <a:cubicBezTo>
                      <a:pt x="193" y="340"/>
                      <a:pt x="193" y="340"/>
                      <a:pt x="193" y="340"/>
                    </a:cubicBezTo>
                    <a:cubicBezTo>
                      <a:pt x="189" y="340"/>
                      <a:pt x="189" y="340"/>
                      <a:pt x="189" y="340"/>
                    </a:cubicBezTo>
                    <a:cubicBezTo>
                      <a:pt x="187" y="338"/>
                      <a:pt x="187" y="338"/>
                      <a:pt x="187" y="338"/>
                    </a:cubicBezTo>
                    <a:cubicBezTo>
                      <a:pt x="186" y="335"/>
                      <a:pt x="186" y="335"/>
                      <a:pt x="186" y="335"/>
                    </a:cubicBezTo>
                    <a:cubicBezTo>
                      <a:pt x="183" y="335"/>
                      <a:pt x="183" y="335"/>
                      <a:pt x="183" y="335"/>
                    </a:cubicBezTo>
                    <a:cubicBezTo>
                      <a:pt x="180" y="337"/>
                      <a:pt x="180" y="337"/>
                      <a:pt x="180" y="337"/>
                    </a:cubicBezTo>
                    <a:cubicBezTo>
                      <a:pt x="178" y="337"/>
                      <a:pt x="178" y="337"/>
                      <a:pt x="178" y="337"/>
                    </a:cubicBezTo>
                    <a:cubicBezTo>
                      <a:pt x="173" y="338"/>
                      <a:pt x="173" y="338"/>
                      <a:pt x="173" y="338"/>
                    </a:cubicBezTo>
                    <a:cubicBezTo>
                      <a:pt x="177" y="341"/>
                      <a:pt x="177" y="341"/>
                      <a:pt x="177" y="341"/>
                    </a:cubicBezTo>
                    <a:cubicBezTo>
                      <a:pt x="178" y="340"/>
                      <a:pt x="178" y="340"/>
                      <a:pt x="178" y="340"/>
                    </a:cubicBezTo>
                    <a:cubicBezTo>
                      <a:pt x="182" y="341"/>
                      <a:pt x="182" y="341"/>
                      <a:pt x="182" y="341"/>
                    </a:cubicBezTo>
                    <a:cubicBezTo>
                      <a:pt x="184" y="343"/>
                      <a:pt x="184" y="343"/>
                      <a:pt x="184" y="343"/>
                    </a:cubicBezTo>
                    <a:cubicBezTo>
                      <a:pt x="183" y="344"/>
                      <a:pt x="183" y="344"/>
                      <a:pt x="183" y="344"/>
                    </a:cubicBezTo>
                    <a:cubicBezTo>
                      <a:pt x="186" y="345"/>
                      <a:pt x="186" y="345"/>
                      <a:pt x="186" y="345"/>
                    </a:cubicBezTo>
                    <a:cubicBezTo>
                      <a:pt x="190" y="349"/>
                      <a:pt x="190" y="349"/>
                      <a:pt x="190" y="349"/>
                    </a:cubicBezTo>
                    <a:cubicBezTo>
                      <a:pt x="190" y="352"/>
                      <a:pt x="190" y="352"/>
                      <a:pt x="190" y="352"/>
                    </a:cubicBezTo>
                    <a:cubicBezTo>
                      <a:pt x="188" y="352"/>
                      <a:pt x="188" y="352"/>
                      <a:pt x="188" y="352"/>
                    </a:cubicBezTo>
                    <a:cubicBezTo>
                      <a:pt x="184" y="348"/>
                      <a:pt x="184" y="348"/>
                      <a:pt x="184" y="348"/>
                    </a:cubicBezTo>
                    <a:cubicBezTo>
                      <a:pt x="181" y="347"/>
                      <a:pt x="181" y="347"/>
                      <a:pt x="181" y="347"/>
                    </a:cubicBezTo>
                    <a:cubicBezTo>
                      <a:pt x="178" y="349"/>
                      <a:pt x="178" y="349"/>
                      <a:pt x="178" y="349"/>
                    </a:cubicBezTo>
                    <a:cubicBezTo>
                      <a:pt x="175" y="347"/>
                      <a:pt x="175" y="347"/>
                      <a:pt x="175" y="347"/>
                    </a:cubicBezTo>
                    <a:cubicBezTo>
                      <a:pt x="174" y="343"/>
                      <a:pt x="174" y="343"/>
                      <a:pt x="174" y="343"/>
                    </a:cubicBezTo>
                    <a:cubicBezTo>
                      <a:pt x="170" y="344"/>
                      <a:pt x="170" y="344"/>
                      <a:pt x="170" y="344"/>
                    </a:cubicBezTo>
                    <a:cubicBezTo>
                      <a:pt x="170" y="346"/>
                      <a:pt x="170" y="346"/>
                      <a:pt x="170" y="346"/>
                    </a:cubicBezTo>
                    <a:cubicBezTo>
                      <a:pt x="173" y="347"/>
                      <a:pt x="173" y="347"/>
                      <a:pt x="173" y="347"/>
                    </a:cubicBezTo>
                    <a:cubicBezTo>
                      <a:pt x="172" y="350"/>
                      <a:pt x="172" y="350"/>
                      <a:pt x="172" y="350"/>
                    </a:cubicBezTo>
                    <a:cubicBezTo>
                      <a:pt x="171" y="350"/>
                      <a:pt x="171" y="350"/>
                      <a:pt x="171" y="350"/>
                    </a:cubicBezTo>
                    <a:cubicBezTo>
                      <a:pt x="166" y="348"/>
                      <a:pt x="166" y="348"/>
                      <a:pt x="166" y="348"/>
                    </a:cubicBezTo>
                    <a:cubicBezTo>
                      <a:pt x="164" y="349"/>
                      <a:pt x="164" y="349"/>
                      <a:pt x="164" y="349"/>
                    </a:cubicBezTo>
                    <a:cubicBezTo>
                      <a:pt x="163" y="347"/>
                      <a:pt x="163" y="347"/>
                      <a:pt x="163" y="347"/>
                    </a:cubicBezTo>
                    <a:cubicBezTo>
                      <a:pt x="160" y="346"/>
                      <a:pt x="160" y="346"/>
                      <a:pt x="160" y="346"/>
                    </a:cubicBezTo>
                    <a:cubicBezTo>
                      <a:pt x="161" y="344"/>
                      <a:pt x="161" y="344"/>
                      <a:pt x="161" y="344"/>
                    </a:cubicBezTo>
                    <a:cubicBezTo>
                      <a:pt x="159" y="346"/>
                      <a:pt x="159" y="346"/>
                      <a:pt x="159" y="346"/>
                    </a:cubicBezTo>
                    <a:cubicBezTo>
                      <a:pt x="156" y="344"/>
                      <a:pt x="156" y="344"/>
                      <a:pt x="156" y="344"/>
                    </a:cubicBezTo>
                    <a:cubicBezTo>
                      <a:pt x="156" y="342"/>
                      <a:pt x="156" y="342"/>
                      <a:pt x="156" y="342"/>
                    </a:cubicBezTo>
                    <a:cubicBezTo>
                      <a:pt x="159" y="341"/>
                      <a:pt x="159" y="341"/>
                      <a:pt x="159" y="341"/>
                    </a:cubicBezTo>
                    <a:cubicBezTo>
                      <a:pt x="164" y="339"/>
                      <a:pt x="164" y="339"/>
                      <a:pt x="164" y="339"/>
                    </a:cubicBezTo>
                    <a:cubicBezTo>
                      <a:pt x="161" y="337"/>
                      <a:pt x="161" y="337"/>
                      <a:pt x="161" y="337"/>
                    </a:cubicBezTo>
                    <a:cubicBezTo>
                      <a:pt x="159" y="338"/>
                      <a:pt x="159" y="338"/>
                      <a:pt x="159" y="338"/>
                    </a:cubicBezTo>
                    <a:lnTo>
                      <a:pt x="157" y="336"/>
                    </a:ln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202" name="Freeform 204"/>
              <p:cNvSpPr>
                <a:spLocks/>
              </p:cNvSpPr>
              <p:nvPr userDrawn="1"/>
            </p:nvSpPr>
            <p:spPr bwMode="auto">
              <a:xfrm>
                <a:off x="5724" y="2076"/>
                <a:ext cx="15" cy="16"/>
              </a:xfrm>
              <a:custGeom>
                <a:avLst/>
                <a:gdLst>
                  <a:gd name="T0" fmla="*/ 15 w 15"/>
                  <a:gd name="T1" fmla="*/ 0 h 16"/>
                  <a:gd name="T2" fmla="*/ 6 w 15"/>
                  <a:gd name="T3" fmla="*/ 10 h 16"/>
                  <a:gd name="T4" fmla="*/ 6 w 15"/>
                  <a:gd name="T5" fmla="*/ 13 h 16"/>
                  <a:gd name="T6" fmla="*/ 5 w 15"/>
                  <a:gd name="T7" fmla="*/ 14 h 16"/>
                  <a:gd name="T8" fmla="*/ 4 w 15"/>
                  <a:gd name="T9" fmla="*/ 16 h 16"/>
                  <a:gd name="T10" fmla="*/ 0 w 15"/>
                  <a:gd name="T11" fmla="*/ 16 h 16"/>
                  <a:gd name="T12" fmla="*/ 15 w 15"/>
                  <a:gd name="T13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" h="16">
                    <a:moveTo>
                      <a:pt x="15" y="0"/>
                    </a:moveTo>
                    <a:lnTo>
                      <a:pt x="6" y="10"/>
                    </a:lnTo>
                    <a:lnTo>
                      <a:pt x="6" y="13"/>
                    </a:lnTo>
                    <a:lnTo>
                      <a:pt x="5" y="14"/>
                    </a:lnTo>
                    <a:lnTo>
                      <a:pt x="4" y="16"/>
                    </a:lnTo>
                    <a:lnTo>
                      <a:pt x="0" y="16"/>
                    </a:lnTo>
                    <a:lnTo>
                      <a:pt x="15" y="0"/>
                    </a:ln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</p:grpSp>
        <p:grpSp>
          <p:nvGrpSpPr>
            <p:cNvPr id="1041" name="Group 406"/>
            <p:cNvGrpSpPr>
              <a:grpSpLocks/>
            </p:cNvGrpSpPr>
            <p:nvPr userDrawn="1"/>
          </p:nvGrpSpPr>
          <p:grpSpPr bwMode="auto">
            <a:xfrm>
              <a:off x="1855" y="1506"/>
              <a:ext cx="4919" cy="2716"/>
              <a:chOff x="1855" y="1506"/>
              <a:chExt cx="4919" cy="2716"/>
            </a:xfrm>
          </p:grpSpPr>
          <p:sp>
            <p:nvSpPr>
              <p:cNvPr id="1803" name="Freeform 206"/>
              <p:cNvSpPr>
                <a:spLocks/>
              </p:cNvSpPr>
              <p:nvPr userDrawn="1"/>
            </p:nvSpPr>
            <p:spPr bwMode="auto">
              <a:xfrm>
                <a:off x="5724" y="2076"/>
                <a:ext cx="15" cy="16"/>
              </a:xfrm>
              <a:custGeom>
                <a:avLst/>
                <a:gdLst>
                  <a:gd name="T0" fmla="*/ 15 w 15"/>
                  <a:gd name="T1" fmla="*/ 0 h 16"/>
                  <a:gd name="T2" fmla="*/ 6 w 15"/>
                  <a:gd name="T3" fmla="*/ 10 h 16"/>
                  <a:gd name="T4" fmla="*/ 6 w 15"/>
                  <a:gd name="T5" fmla="*/ 13 h 16"/>
                  <a:gd name="T6" fmla="*/ 5 w 15"/>
                  <a:gd name="T7" fmla="*/ 14 h 16"/>
                  <a:gd name="T8" fmla="*/ 4 w 15"/>
                  <a:gd name="T9" fmla="*/ 16 h 16"/>
                  <a:gd name="T10" fmla="*/ 0 w 15"/>
                  <a:gd name="T11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5" h="16">
                    <a:moveTo>
                      <a:pt x="15" y="0"/>
                    </a:moveTo>
                    <a:lnTo>
                      <a:pt x="6" y="10"/>
                    </a:lnTo>
                    <a:lnTo>
                      <a:pt x="6" y="13"/>
                    </a:lnTo>
                    <a:lnTo>
                      <a:pt x="5" y="14"/>
                    </a:lnTo>
                    <a:lnTo>
                      <a:pt x="4" y="16"/>
                    </a:lnTo>
                    <a:lnTo>
                      <a:pt x="0" y="16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804" name="Freeform 207"/>
              <p:cNvSpPr>
                <a:spLocks/>
              </p:cNvSpPr>
              <p:nvPr userDrawn="1"/>
            </p:nvSpPr>
            <p:spPr bwMode="auto">
              <a:xfrm>
                <a:off x="5662" y="2014"/>
                <a:ext cx="87" cy="144"/>
              </a:xfrm>
              <a:custGeom>
                <a:avLst/>
                <a:gdLst>
                  <a:gd name="T0" fmla="*/ 51 w 87"/>
                  <a:gd name="T1" fmla="*/ 88 h 144"/>
                  <a:gd name="T2" fmla="*/ 53 w 87"/>
                  <a:gd name="T3" fmla="*/ 96 h 144"/>
                  <a:gd name="T4" fmla="*/ 52 w 87"/>
                  <a:gd name="T5" fmla="*/ 102 h 144"/>
                  <a:gd name="T6" fmla="*/ 61 w 87"/>
                  <a:gd name="T7" fmla="*/ 107 h 144"/>
                  <a:gd name="T8" fmla="*/ 76 w 87"/>
                  <a:gd name="T9" fmla="*/ 119 h 144"/>
                  <a:gd name="T10" fmla="*/ 56 w 87"/>
                  <a:gd name="T11" fmla="*/ 123 h 144"/>
                  <a:gd name="T12" fmla="*/ 44 w 87"/>
                  <a:gd name="T13" fmla="*/ 131 h 144"/>
                  <a:gd name="T14" fmla="*/ 37 w 87"/>
                  <a:gd name="T15" fmla="*/ 141 h 144"/>
                  <a:gd name="T16" fmla="*/ 30 w 87"/>
                  <a:gd name="T17" fmla="*/ 138 h 144"/>
                  <a:gd name="T18" fmla="*/ 28 w 87"/>
                  <a:gd name="T19" fmla="*/ 143 h 144"/>
                  <a:gd name="T20" fmla="*/ 22 w 87"/>
                  <a:gd name="T21" fmla="*/ 144 h 144"/>
                  <a:gd name="T22" fmla="*/ 24 w 87"/>
                  <a:gd name="T23" fmla="*/ 138 h 144"/>
                  <a:gd name="T24" fmla="*/ 17 w 87"/>
                  <a:gd name="T25" fmla="*/ 138 h 144"/>
                  <a:gd name="T26" fmla="*/ 16 w 87"/>
                  <a:gd name="T27" fmla="*/ 134 h 144"/>
                  <a:gd name="T28" fmla="*/ 19 w 87"/>
                  <a:gd name="T29" fmla="*/ 121 h 144"/>
                  <a:gd name="T30" fmla="*/ 27 w 87"/>
                  <a:gd name="T31" fmla="*/ 118 h 144"/>
                  <a:gd name="T32" fmla="*/ 17 w 87"/>
                  <a:gd name="T33" fmla="*/ 119 h 144"/>
                  <a:gd name="T34" fmla="*/ 16 w 87"/>
                  <a:gd name="T35" fmla="*/ 110 h 144"/>
                  <a:gd name="T36" fmla="*/ 18 w 87"/>
                  <a:gd name="T37" fmla="*/ 99 h 144"/>
                  <a:gd name="T38" fmla="*/ 21 w 87"/>
                  <a:gd name="T39" fmla="*/ 95 h 144"/>
                  <a:gd name="T40" fmla="*/ 17 w 87"/>
                  <a:gd name="T41" fmla="*/ 98 h 144"/>
                  <a:gd name="T42" fmla="*/ 9 w 87"/>
                  <a:gd name="T43" fmla="*/ 96 h 144"/>
                  <a:gd name="T44" fmla="*/ 4 w 87"/>
                  <a:gd name="T45" fmla="*/ 97 h 144"/>
                  <a:gd name="T46" fmla="*/ 1 w 87"/>
                  <a:gd name="T47" fmla="*/ 92 h 144"/>
                  <a:gd name="T48" fmla="*/ 0 w 87"/>
                  <a:gd name="T49" fmla="*/ 91 h 144"/>
                  <a:gd name="T50" fmla="*/ 0 w 87"/>
                  <a:gd name="T51" fmla="*/ 80 h 144"/>
                  <a:gd name="T52" fmla="*/ 6 w 87"/>
                  <a:gd name="T53" fmla="*/ 73 h 144"/>
                  <a:gd name="T54" fmla="*/ 11 w 87"/>
                  <a:gd name="T55" fmla="*/ 66 h 144"/>
                  <a:gd name="T56" fmla="*/ 18 w 87"/>
                  <a:gd name="T57" fmla="*/ 58 h 144"/>
                  <a:gd name="T58" fmla="*/ 22 w 87"/>
                  <a:gd name="T59" fmla="*/ 47 h 144"/>
                  <a:gd name="T60" fmla="*/ 22 w 87"/>
                  <a:gd name="T61" fmla="*/ 39 h 144"/>
                  <a:gd name="T62" fmla="*/ 29 w 87"/>
                  <a:gd name="T63" fmla="*/ 40 h 144"/>
                  <a:gd name="T64" fmla="*/ 34 w 87"/>
                  <a:gd name="T65" fmla="*/ 44 h 144"/>
                  <a:gd name="T66" fmla="*/ 42 w 87"/>
                  <a:gd name="T67" fmla="*/ 44 h 144"/>
                  <a:gd name="T68" fmla="*/ 54 w 87"/>
                  <a:gd name="T69" fmla="*/ 44 h 144"/>
                  <a:gd name="T70" fmla="*/ 56 w 87"/>
                  <a:gd name="T71" fmla="*/ 37 h 144"/>
                  <a:gd name="T72" fmla="*/ 48 w 87"/>
                  <a:gd name="T73" fmla="*/ 31 h 144"/>
                  <a:gd name="T74" fmla="*/ 55 w 87"/>
                  <a:gd name="T75" fmla="*/ 28 h 144"/>
                  <a:gd name="T76" fmla="*/ 63 w 87"/>
                  <a:gd name="T77" fmla="*/ 18 h 144"/>
                  <a:gd name="T78" fmla="*/ 69 w 87"/>
                  <a:gd name="T79" fmla="*/ 14 h 144"/>
                  <a:gd name="T80" fmla="*/ 69 w 87"/>
                  <a:gd name="T81" fmla="*/ 9 h 144"/>
                  <a:gd name="T82" fmla="*/ 69 w 87"/>
                  <a:gd name="T83" fmla="*/ 1 h 144"/>
                  <a:gd name="T84" fmla="*/ 75 w 87"/>
                  <a:gd name="T85" fmla="*/ 3 h 144"/>
                  <a:gd name="T86" fmla="*/ 77 w 87"/>
                  <a:gd name="T87" fmla="*/ 8 h 144"/>
                  <a:gd name="T88" fmla="*/ 87 w 87"/>
                  <a:gd name="T89" fmla="*/ 14 h 144"/>
                  <a:gd name="T90" fmla="*/ 80 w 87"/>
                  <a:gd name="T91" fmla="*/ 21 h 144"/>
                  <a:gd name="T92" fmla="*/ 77 w 87"/>
                  <a:gd name="T93" fmla="*/ 25 h 144"/>
                  <a:gd name="T94" fmla="*/ 75 w 87"/>
                  <a:gd name="T95" fmla="*/ 39 h 144"/>
                  <a:gd name="T96" fmla="*/ 79 w 87"/>
                  <a:gd name="T97" fmla="*/ 51 h 144"/>
                  <a:gd name="T98" fmla="*/ 81 w 87"/>
                  <a:gd name="T99" fmla="*/ 57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87" h="144">
                    <a:moveTo>
                      <a:pt x="56" y="84"/>
                    </a:moveTo>
                    <a:lnTo>
                      <a:pt x="51" y="88"/>
                    </a:lnTo>
                    <a:lnTo>
                      <a:pt x="51" y="92"/>
                    </a:lnTo>
                    <a:lnTo>
                      <a:pt x="53" y="96"/>
                    </a:lnTo>
                    <a:lnTo>
                      <a:pt x="51" y="98"/>
                    </a:lnTo>
                    <a:lnTo>
                      <a:pt x="52" y="102"/>
                    </a:lnTo>
                    <a:lnTo>
                      <a:pt x="59" y="104"/>
                    </a:lnTo>
                    <a:lnTo>
                      <a:pt x="61" y="107"/>
                    </a:lnTo>
                    <a:lnTo>
                      <a:pt x="74" y="114"/>
                    </a:lnTo>
                    <a:lnTo>
                      <a:pt x="76" y="119"/>
                    </a:lnTo>
                    <a:lnTo>
                      <a:pt x="69" y="122"/>
                    </a:lnTo>
                    <a:lnTo>
                      <a:pt x="56" y="123"/>
                    </a:lnTo>
                    <a:lnTo>
                      <a:pt x="50" y="129"/>
                    </a:lnTo>
                    <a:lnTo>
                      <a:pt x="44" y="131"/>
                    </a:lnTo>
                    <a:lnTo>
                      <a:pt x="38" y="136"/>
                    </a:lnTo>
                    <a:lnTo>
                      <a:pt x="37" y="141"/>
                    </a:lnTo>
                    <a:lnTo>
                      <a:pt x="32" y="136"/>
                    </a:lnTo>
                    <a:lnTo>
                      <a:pt x="30" y="138"/>
                    </a:lnTo>
                    <a:lnTo>
                      <a:pt x="31" y="140"/>
                    </a:lnTo>
                    <a:lnTo>
                      <a:pt x="28" y="143"/>
                    </a:lnTo>
                    <a:lnTo>
                      <a:pt x="25" y="141"/>
                    </a:lnTo>
                    <a:lnTo>
                      <a:pt x="22" y="144"/>
                    </a:lnTo>
                    <a:lnTo>
                      <a:pt x="21" y="142"/>
                    </a:lnTo>
                    <a:lnTo>
                      <a:pt x="24" y="138"/>
                    </a:lnTo>
                    <a:lnTo>
                      <a:pt x="20" y="136"/>
                    </a:lnTo>
                    <a:lnTo>
                      <a:pt x="17" y="138"/>
                    </a:lnTo>
                    <a:lnTo>
                      <a:pt x="15" y="138"/>
                    </a:lnTo>
                    <a:lnTo>
                      <a:pt x="16" y="134"/>
                    </a:lnTo>
                    <a:lnTo>
                      <a:pt x="16" y="127"/>
                    </a:lnTo>
                    <a:lnTo>
                      <a:pt x="19" y="121"/>
                    </a:lnTo>
                    <a:lnTo>
                      <a:pt x="24" y="121"/>
                    </a:lnTo>
                    <a:lnTo>
                      <a:pt x="27" y="118"/>
                    </a:lnTo>
                    <a:lnTo>
                      <a:pt x="24" y="119"/>
                    </a:lnTo>
                    <a:lnTo>
                      <a:pt x="17" y="119"/>
                    </a:lnTo>
                    <a:lnTo>
                      <a:pt x="16" y="118"/>
                    </a:lnTo>
                    <a:lnTo>
                      <a:pt x="16" y="110"/>
                    </a:lnTo>
                    <a:lnTo>
                      <a:pt x="20" y="102"/>
                    </a:lnTo>
                    <a:lnTo>
                      <a:pt x="18" y="99"/>
                    </a:lnTo>
                    <a:lnTo>
                      <a:pt x="20" y="98"/>
                    </a:lnTo>
                    <a:lnTo>
                      <a:pt x="21" y="95"/>
                    </a:lnTo>
                    <a:lnTo>
                      <a:pt x="19" y="95"/>
                    </a:lnTo>
                    <a:lnTo>
                      <a:pt x="17" y="98"/>
                    </a:lnTo>
                    <a:lnTo>
                      <a:pt x="11" y="98"/>
                    </a:lnTo>
                    <a:lnTo>
                      <a:pt x="9" y="96"/>
                    </a:lnTo>
                    <a:lnTo>
                      <a:pt x="5" y="94"/>
                    </a:lnTo>
                    <a:lnTo>
                      <a:pt x="4" y="97"/>
                    </a:lnTo>
                    <a:lnTo>
                      <a:pt x="3" y="98"/>
                    </a:lnTo>
                    <a:lnTo>
                      <a:pt x="1" y="92"/>
                    </a:lnTo>
                    <a:lnTo>
                      <a:pt x="0" y="92"/>
                    </a:lnTo>
                    <a:lnTo>
                      <a:pt x="0" y="91"/>
                    </a:lnTo>
                    <a:lnTo>
                      <a:pt x="0" y="91"/>
                    </a:lnTo>
                    <a:lnTo>
                      <a:pt x="0" y="80"/>
                    </a:lnTo>
                    <a:lnTo>
                      <a:pt x="4" y="76"/>
                    </a:lnTo>
                    <a:lnTo>
                      <a:pt x="6" y="73"/>
                    </a:lnTo>
                    <a:lnTo>
                      <a:pt x="6" y="69"/>
                    </a:lnTo>
                    <a:lnTo>
                      <a:pt x="11" y="66"/>
                    </a:lnTo>
                    <a:lnTo>
                      <a:pt x="14" y="60"/>
                    </a:lnTo>
                    <a:lnTo>
                      <a:pt x="18" y="58"/>
                    </a:lnTo>
                    <a:lnTo>
                      <a:pt x="21" y="50"/>
                    </a:lnTo>
                    <a:lnTo>
                      <a:pt x="22" y="47"/>
                    </a:lnTo>
                    <a:lnTo>
                      <a:pt x="22" y="45"/>
                    </a:lnTo>
                    <a:lnTo>
                      <a:pt x="22" y="39"/>
                    </a:lnTo>
                    <a:lnTo>
                      <a:pt x="25" y="35"/>
                    </a:lnTo>
                    <a:lnTo>
                      <a:pt x="29" y="40"/>
                    </a:lnTo>
                    <a:lnTo>
                      <a:pt x="32" y="42"/>
                    </a:lnTo>
                    <a:lnTo>
                      <a:pt x="34" y="44"/>
                    </a:lnTo>
                    <a:lnTo>
                      <a:pt x="38" y="43"/>
                    </a:lnTo>
                    <a:lnTo>
                      <a:pt x="42" y="44"/>
                    </a:lnTo>
                    <a:lnTo>
                      <a:pt x="49" y="44"/>
                    </a:lnTo>
                    <a:lnTo>
                      <a:pt x="54" y="44"/>
                    </a:lnTo>
                    <a:lnTo>
                      <a:pt x="56" y="39"/>
                    </a:lnTo>
                    <a:lnTo>
                      <a:pt x="56" y="37"/>
                    </a:lnTo>
                    <a:lnTo>
                      <a:pt x="52" y="33"/>
                    </a:lnTo>
                    <a:lnTo>
                      <a:pt x="48" y="31"/>
                    </a:lnTo>
                    <a:lnTo>
                      <a:pt x="51" y="29"/>
                    </a:lnTo>
                    <a:lnTo>
                      <a:pt x="55" y="28"/>
                    </a:lnTo>
                    <a:lnTo>
                      <a:pt x="63" y="22"/>
                    </a:lnTo>
                    <a:lnTo>
                      <a:pt x="63" y="18"/>
                    </a:lnTo>
                    <a:lnTo>
                      <a:pt x="66" y="14"/>
                    </a:lnTo>
                    <a:lnTo>
                      <a:pt x="69" y="14"/>
                    </a:lnTo>
                    <a:lnTo>
                      <a:pt x="70" y="11"/>
                    </a:lnTo>
                    <a:lnTo>
                      <a:pt x="69" y="9"/>
                    </a:lnTo>
                    <a:lnTo>
                      <a:pt x="69" y="5"/>
                    </a:lnTo>
                    <a:lnTo>
                      <a:pt x="69" y="1"/>
                    </a:lnTo>
                    <a:lnTo>
                      <a:pt x="72" y="0"/>
                    </a:lnTo>
                    <a:lnTo>
                      <a:pt x="75" y="3"/>
                    </a:lnTo>
                    <a:lnTo>
                      <a:pt x="75" y="6"/>
                    </a:lnTo>
                    <a:lnTo>
                      <a:pt x="77" y="8"/>
                    </a:lnTo>
                    <a:lnTo>
                      <a:pt x="83" y="10"/>
                    </a:lnTo>
                    <a:lnTo>
                      <a:pt x="87" y="14"/>
                    </a:lnTo>
                    <a:lnTo>
                      <a:pt x="86" y="14"/>
                    </a:lnTo>
                    <a:lnTo>
                      <a:pt x="80" y="21"/>
                    </a:lnTo>
                    <a:lnTo>
                      <a:pt x="78" y="21"/>
                    </a:lnTo>
                    <a:lnTo>
                      <a:pt x="77" y="25"/>
                    </a:lnTo>
                    <a:lnTo>
                      <a:pt x="75" y="33"/>
                    </a:lnTo>
                    <a:lnTo>
                      <a:pt x="75" y="39"/>
                    </a:lnTo>
                    <a:lnTo>
                      <a:pt x="79" y="42"/>
                    </a:lnTo>
                    <a:lnTo>
                      <a:pt x="79" y="51"/>
                    </a:lnTo>
                    <a:lnTo>
                      <a:pt x="82" y="54"/>
                    </a:lnTo>
                    <a:lnTo>
                      <a:pt x="81" y="57"/>
                    </a:lnTo>
                    <a:lnTo>
                      <a:pt x="56" y="84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805" name="Freeform 208"/>
              <p:cNvSpPr>
                <a:spLocks/>
              </p:cNvSpPr>
              <p:nvPr userDrawn="1"/>
            </p:nvSpPr>
            <p:spPr bwMode="auto">
              <a:xfrm>
                <a:off x="5662" y="2014"/>
                <a:ext cx="87" cy="144"/>
              </a:xfrm>
              <a:custGeom>
                <a:avLst/>
                <a:gdLst>
                  <a:gd name="T0" fmla="*/ 51 w 87"/>
                  <a:gd name="T1" fmla="*/ 88 h 144"/>
                  <a:gd name="T2" fmla="*/ 53 w 87"/>
                  <a:gd name="T3" fmla="*/ 96 h 144"/>
                  <a:gd name="T4" fmla="*/ 52 w 87"/>
                  <a:gd name="T5" fmla="*/ 102 h 144"/>
                  <a:gd name="T6" fmla="*/ 61 w 87"/>
                  <a:gd name="T7" fmla="*/ 107 h 144"/>
                  <a:gd name="T8" fmla="*/ 76 w 87"/>
                  <a:gd name="T9" fmla="*/ 119 h 144"/>
                  <a:gd name="T10" fmla="*/ 56 w 87"/>
                  <a:gd name="T11" fmla="*/ 123 h 144"/>
                  <a:gd name="T12" fmla="*/ 44 w 87"/>
                  <a:gd name="T13" fmla="*/ 131 h 144"/>
                  <a:gd name="T14" fmla="*/ 37 w 87"/>
                  <a:gd name="T15" fmla="*/ 141 h 144"/>
                  <a:gd name="T16" fmla="*/ 30 w 87"/>
                  <a:gd name="T17" fmla="*/ 138 h 144"/>
                  <a:gd name="T18" fmla="*/ 28 w 87"/>
                  <a:gd name="T19" fmla="*/ 143 h 144"/>
                  <a:gd name="T20" fmla="*/ 22 w 87"/>
                  <a:gd name="T21" fmla="*/ 144 h 144"/>
                  <a:gd name="T22" fmla="*/ 24 w 87"/>
                  <a:gd name="T23" fmla="*/ 138 h 144"/>
                  <a:gd name="T24" fmla="*/ 17 w 87"/>
                  <a:gd name="T25" fmla="*/ 138 h 144"/>
                  <a:gd name="T26" fmla="*/ 16 w 87"/>
                  <a:gd name="T27" fmla="*/ 134 h 144"/>
                  <a:gd name="T28" fmla="*/ 19 w 87"/>
                  <a:gd name="T29" fmla="*/ 121 h 144"/>
                  <a:gd name="T30" fmla="*/ 27 w 87"/>
                  <a:gd name="T31" fmla="*/ 118 h 144"/>
                  <a:gd name="T32" fmla="*/ 17 w 87"/>
                  <a:gd name="T33" fmla="*/ 119 h 144"/>
                  <a:gd name="T34" fmla="*/ 16 w 87"/>
                  <a:gd name="T35" fmla="*/ 110 h 144"/>
                  <a:gd name="T36" fmla="*/ 18 w 87"/>
                  <a:gd name="T37" fmla="*/ 99 h 144"/>
                  <a:gd name="T38" fmla="*/ 21 w 87"/>
                  <a:gd name="T39" fmla="*/ 95 h 144"/>
                  <a:gd name="T40" fmla="*/ 17 w 87"/>
                  <a:gd name="T41" fmla="*/ 98 h 144"/>
                  <a:gd name="T42" fmla="*/ 9 w 87"/>
                  <a:gd name="T43" fmla="*/ 96 h 144"/>
                  <a:gd name="T44" fmla="*/ 4 w 87"/>
                  <a:gd name="T45" fmla="*/ 97 h 144"/>
                  <a:gd name="T46" fmla="*/ 1 w 87"/>
                  <a:gd name="T47" fmla="*/ 92 h 144"/>
                  <a:gd name="T48" fmla="*/ 0 w 87"/>
                  <a:gd name="T49" fmla="*/ 91 h 144"/>
                  <a:gd name="T50" fmla="*/ 0 w 87"/>
                  <a:gd name="T51" fmla="*/ 80 h 144"/>
                  <a:gd name="T52" fmla="*/ 6 w 87"/>
                  <a:gd name="T53" fmla="*/ 73 h 144"/>
                  <a:gd name="T54" fmla="*/ 11 w 87"/>
                  <a:gd name="T55" fmla="*/ 66 h 144"/>
                  <a:gd name="T56" fmla="*/ 18 w 87"/>
                  <a:gd name="T57" fmla="*/ 58 h 144"/>
                  <a:gd name="T58" fmla="*/ 22 w 87"/>
                  <a:gd name="T59" fmla="*/ 47 h 144"/>
                  <a:gd name="T60" fmla="*/ 22 w 87"/>
                  <a:gd name="T61" fmla="*/ 39 h 144"/>
                  <a:gd name="T62" fmla="*/ 29 w 87"/>
                  <a:gd name="T63" fmla="*/ 40 h 144"/>
                  <a:gd name="T64" fmla="*/ 34 w 87"/>
                  <a:gd name="T65" fmla="*/ 44 h 144"/>
                  <a:gd name="T66" fmla="*/ 42 w 87"/>
                  <a:gd name="T67" fmla="*/ 44 h 144"/>
                  <a:gd name="T68" fmla="*/ 54 w 87"/>
                  <a:gd name="T69" fmla="*/ 44 h 144"/>
                  <a:gd name="T70" fmla="*/ 56 w 87"/>
                  <a:gd name="T71" fmla="*/ 37 h 144"/>
                  <a:gd name="T72" fmla="*/ 48 w 87"/>
                  <a:gd name="T73" fmla="*/ 31 h 144"/>
                  <a:gd name="T74" fmla="*/ 55 w 87"/>
                  <a:gd name="T75" fmla="*/ 28 h 144"/>
                  <a:gd name="T76" fmla="*/ 63 w 87"/>
                  <a:gd name="T77" fmla="*/ 18 h 144"/>
                  <a:gd name="T78" fmla="*/ 69 w 87"/>
                  <a:gd name="T79" fmla="*/ 14 h 144"/>
                  <a:gd name="T80" fmla="*/ 69 w 87"/>
                  <a:gd name="T81" fmla="*/ 9 h 144"/>
                  <a:gd name="T82" fmla="*/ 69 w 87"/>
                  <a:gd name="T83" fmla="*/ 1 h 144"/>
                  <a:gd name="T84" fmla="*/ 75 w 87"/>
                  <a:gd name="T85" fmla="*/ 3 h 144"/>
                  <a:gd name="T86" fmla="*/ 77 w 87"/>
                  <a:gd name="T87" fmla="*/ 8 h 144"/>
                  <a:gd name="T88" fmla="*/ 87 w 87"/>
                  <a:gd name="T89" fmla="*/ 14 h 144"/>
                  <a:gd name="T90" fmla="*/ 80 w 87"/>
                  <a:gd name="T91" fmla="*/ 21 h 144"/>
                  <a:gd name="T92" fmla="*/ 77 w 87"/>
                  <a:gd name="T93" fmla="*/ 25 h 144"/>
                  <a:gd name="T94" fmla="*/ 75 w 87"/>
                  <a:gd name="T95" fmla="*/ 39 h 144"/>
                  <a:gd name="T96" fmla="*/ 79 w 87"/>
                  <a:gd name="T97" fmla="*/ 51 h 144"/>
                  <a:gd name="T98" fmla="*/ 81 w 87"/>
                  <a:gd name="T99" fmla="*/ 57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87" h="144">
                    <a:moveTo>
                      <a:pt x="56" y="84"/>
                    </a:moveTo>
                    <a:lnTo>
                      <a:pt x="51" y="88"/>
                    </a:lnTo>
                    <a:lnTo>
                      <a:pt x="51" y="92"/>
                    </a:lnTo>
                    <a:lnTo>
                      <a:pt x="53" y="96"/>
                    </a:lnTo>
                    <a:lnTo>
                      <a:pt x="51" y="98"/>
                    </a:lnTo>
                    <a:lnTo>
                      <a:pt x="52" y="102"/>
                    </a:lnTo>
                    <a:lnTo>
                      <a:pt x="59" y="104"/>
                    </a:lnTo>
                    <a:lnTo>
                      <a:pt x="61" y="107"/>
                    </a:lnTo>
                    <a:lnTo>
                      <a:pt x="74" y="114"/>
                    </a:lnTo>
                    <a:lnTo>
                      <a:pt x="76" y="119"/>
                    </a:lnTo>
                    <a:lnTo>
                      <a:pt x="69" y="122"/>
                    </a:lnTo>
                    <a:lnTo>
                      <a:pt x="56" y="123"/>
                    </a:lnTo>
                    <a:lnTo>
                      <a:pt x="50" y="129"/>
                    </a:lnTo>
                    <a:lnTo>
                      <a:pt x="44" y="131"/>
                    </a:lnTo>
                    <a:lnTo>
                      <a:pt x="38" y="136"/>
                    </a:lnTo>
                    <a:lnTo>
                      <a:pt x="37" y="141"/>
                    </a:lnTo>
                    <a:lnTo>
                      <a:pt x="32" y="136"/>
                    </a:lnTo>
                    <a:lnTo>
                      <a:pt x="30" y="138"/>
                    </a:lnTo>
                    <a:lnTo>
                      <a:pt x="31" y="140"/>
                    </a:lnTo>
                    <a:lnTo>
                      <a:pt x="28" y="143"/>
                    </a:lnTo>
                    <a:lnTo>
                      <a:pt x="25" y="141"/>
                    </a:lnTo>
                    <a:lnTo>
                      <a:pt x="22" y="144"/>
                    </a:lnTo>
                    <a:lnTo>
                      <a:pt x="21" y="142"/>
                    </a:lnTo>
                    <a:lnTo>
                      <a:pt x="24" y="138"/>
                    </a:lnTo>
                    <a:lnTo>
                      <a:pt x="20" y="136"/>
                    </a:lnTo>
                    <a:lnTo>
                      <a:pt x="17" y="138"/>
                    </a:lnTo>
                    <a:lnTo>
                      <a:pt x="15" y="138"/>
                    </a:lnTo>
                    <a:lnTo>
                      <a:pt x="16" y="134"/>
                    </a:lnTo>
                    <a:lnTo>
                      <a:pt x="16" y="127"/>
                    </a:lnTo>
                    <a:lnTo>
                      <a:pt x="19" y="121"/>
                    </a:lnTo>
                    <a:lnTo>
                      <a:pt x="24" y="121"/>
                    </a:lnTo>
                    <a:lnTo>
                      <a:pt x="27" y="118"/>
                    </a:lnTo>
                    <a:lnTo>
                      <a:pt x="24" y="119"/>
                    </a:lnTo>
                    <a:lnTo>
                      <a:pt x="17" y="119"/>
                    </a:lnTo>
                    <a:lnTo>
                      <a:pt x="16" y="118"/>
                    </a:lnTo>
                    <a:lnTo>
                      <a:pt x="16" y="110"/>
                    </a:lnTo>
                    <a:lnTo>
                      <a:pt x="20" y="102"/>
                    </a:lnTo>
                    <a:lnTo>
                      <a:pt x="18" y="99"/>
                    </a:lnTo>
                    <a:lnTo>
                      <a:pt x="20" y="98"/>
                    </a:lnTo>
                    <a:lnTo>
                      <a:pt x="21" y="95"/>
                    </a:lnTo>
                    <a:lnTo>
                      <a:pt x="19" y="95"/>
                    </a:lnTo>
                    <a:lnTo>
                      <a:pt x="17" y="98"/>
                    </a:lnTo>
                    <a:lnTo>
                      <a:pt x="11" y="98"/>
                    </a:lnTo>
                    <a:lnTo>
                      <a:pt x="9" y="96"/>
                    </a:lnTo>
                    <a:lnTo>
                      <a:pt x="5" y="94"/>
                    </a:lnTo>
                    <a:lnTo>
                      <a:pt x="4" y="97"/>
                    </a:lnTo>
                    <a:lnTo>
                      <a:pt x="3" y="98"/>
                    </a:lnTo>
                    <a:lnTo>
                      <a:pt x="1" y="92"/>
                    </a:lnTo>
                    <a:lnTo>
                      <a:pt x="0" y="92"/>
                    </a:lnTo>
                    <a:lnTo>
                      <a:pt x="0" y="91"/>
                    </a:lnTo>
                    <a:lnTo>
                      <a:pt x="0" y="91"/>
                    </a:lnTo>
                    <a:lnTo>
                      <a:pt x="0" y="80"/>
                    </a:lnTo>
                    <a:lnTo>
                      <a:pt x="4" y="76"/>
                    </a:lnTo>
                    <a:lnTo>
                      <a:pt x="6" y="73"/>
                    </a:lnTo>
                    <a:lnTo>
                      <a:pt x="6" y="69"/>
                    </a:lnTo>
                    <a:lnTo>
                      <a:pt x="11" y="66"/>
                    </a:lnTo>
                    <a:lnTo>
                      <a:pt x="14" y="60"/>
                    </a:lnTo>
                    <a:lnTo>
                      <a:pt x="18" y="58"/>
                    </a:lnTo>
                    <a:lnTo>
                      <a:pt x="21" y="50"/>
                    </a:lnTo>
                    <a:lnTo>
                      <a:pt x="22" y="47"/>
                    </a:lnTo>
                    <a:lnTo>
                      <a:pt x="22" y="45"/>
                    </a:lnTo>
                    <a:lnTo>
                      <a:pt x="22" y="39"/>
                    </a:lnTo>
                    <a:lnTo>
                      <a:pt x="25" y="35"/>
                    </a:lnTo>
                    <a:lnTo>
                      <a:pt x="29" y="40"/>
                    </a:lnTo>
                    <a:lnTo>
                      <a:pt x="32" y="42"/>
                    </a:lnTo>
                    <a:lnTo>
                      <a:pt x="34" y="44"/>
                    </a:lnTo>
                    <a:lnTo>
                      <a:pt x="38" y="43"/>
                    </a:lnTo>
                    <a:lnTo>
                      <a:pt x="42" y="44"/>
                    </a:lnTo>
                    <a:lnTo>
                      <a:pt x="49" y="44"/>
                    </a:lnTo>
                    <a:lnTo>
                      <a:pt x="54" y="44"/>
                    </a:lnTo>
                    <a:lnTo>
                      <a:pt x="56" y="39"/>
                    </a:lnTo>
                    <a:lnTo>
                      <a:pt x="56" y="37"/>
                    </a:lnTo>
                    <a:lnTo>
                      <a:pt x="52" y="33"/>
                    </a:lnTo>
                    <a:lnTo>
                      <a:pt x="48" y="31"/>
                    </a:lnTo>
                    <a:lnTo>
                      <a:pt x="51" y="29"/>
                    </a:lnTo>
                    <a:lnTo>
                      <a:pt x="55" y="28"/>
                    </a:lnTo>
                    <a:lnTo>
                      <a:pt x="63" y="22"/>
                    </a:lnTo>
                    <a:lnTo>
                      <a:pt x="63" y="18"/>
                    </a:lnTo>
                    <a:lnTo>
                      <a:pt x="66" y="14"/>
                    </a:lnTo>
                    <a:lnTo>
                      <a:pt x="69" y="14"/>
                    </a:lnTo>
                    <a:lnTo>
                      <a:pt x="70" y="11"/>
                    </a:lnTo>
                    <a:lnTo>
                      <a:pt x="69" y="9"/>
                    </a:lnTo>
                    <a:lnTo>
                      <a:pt x="69" y="5"/>
                    </a:lnTo>
                    <a:lnTo>
                      <a:pt x="69" y="1"/>
                    </a:lnTo>
                    <a:lnTo>
                      <a:pt x="72" y="0"/>
                    </a:lnTo>
                    <a:lnTo>
                      <a:pt x="75" y="3"/>
                    </a:lnTo>
                    <a:lnTo>
                      <a:pt x="75" y="6"/>
                    </a:lnTo>
                    <a:lnTo>
                      <a:pt x="77" y="8"/>
                    </a:lnTo>
                    <a:lnTo>
                      <a:pt x="83" y="10"/>
                    </a:lnTo>
                    <a:lnTo>
                      <a:pt x="87" y="14"/>
                    </a:lnTo>
                    <a:lnTo>
                      <a:pt x="86" y="14"/>
                    </a:lnTo>
                    <a:lnTo>
                      <a:pt x="80" y="21"/>
                    </a:lnTo>
                    <a:lnTo>
                      <a:pt x="78" y="21"/>
                    </a:lnTo>
                    <a:lnTo>
                      <a:pt x="77" y="25"/>
                    </a:lnTo>
                    <a:lnTo>
                      <a:pt x="75" y="33"/>
                    </a:lnTo>
                    <a:lnTo>
                      <a:pt x="75" y="39"/>
                    </a:lnTo>
                    <a:lnTo>
                      <a:pt x="79" y="42"/>
                    </a:lnTo>
                    <a:lnTo>
                      <a:pt x="79" y="51"/>
                    </a:lnTo>
                    <a:lnTo>
                      <a:pt x="82" y="54"/>
                    </a:lnTo>
                    <a:lnTo>
                      <a:pt x="81" y="57"/>
                    </a:lnTo>
                  </a:path>
                </a:pathLst>
              </a:custGeom>
              <a:noFill/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806" name="Freeform 209"/>
              <p:cNvSpPr>
                <a:spLocks/>
              </p:cNvSpPr>
              <p:nvPr userDrawn="1"/>
            </p:nvSpPr>
            <p:spPr bwMode="auto">
              <a:xfrm>
                <a:off x="5777" y="3091"/>
                <a:ext cx="14" cy="1"/>
              </a:xfrm>
              <a:custGeom>
                <a:avLst/>
                <a:gdLst>
                  <a:gd name="T0" fmla="*/ 14 w 14"/>
                  <a:gd name="T1" fmla="*/ 0 h 1"/>
                  <a:gd name="T2" fmla="*/ 8 w 14"/>
                  <a:gd name="T3" fmla="*/ 1 h 1"/>
                  <a:gd name="T4" fmla="*/ 0 w 14"/>
                  <a:gd name="T5" fmla="*/ 1 h 1"/>
                  <a:gd name="T6" fmla="*/ 14 w 14"/>
                  <a:gd name="T7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" h="1">
                    <a:moveTo>
                      <a:pt x="14" y="0"/>
                    </a:moveTo>
                    <a:lnTo>
                      <a:pt x="8" y="1"/>
                    </a:lnTo>
                    <a:lnTo>
                      <a:pt x="0" y="1"/>
                    </a:lnTo>
                    <a:lnTo>
                      <a:pt x="14" y="0"/>
                    </a:ln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807" name="Freeform 210"/>
              <p:cNvSpPr>
                <a:spLocks/>
              </p:cNvSpPr>
              <p:nvPr userDrawn="1"/>
            </p:nvSpPr>
            <p:spPr bwMode="auto">
              <a:xfrm>
                <a:off x="5777" y="3091"/>
                <a:ext cx="14" cy="1"/>
              </a:xfrm>
              <a:custGeom>
                <a:avLst/>
                <a:gdLst>
                  <a:gd name="T0" fmla="*/ 14 w 14"/>
                  <a:gd name="T1" fmla="*/ 0 h 1"/>
                  <a:gd name="T2" fmla="*/ 8 w 14"/>
                  <a:gd name="T3" fmla="*/ 1 h 1"/>
                  <a:gd name="T4" fmla="*/ 0 w 14"/>
                  <a:gd name="T5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4" h="1">
                    <a:moveTo>
                      <a:pt x="14" y="0"/>
                    </a:moveTo>
                    <a:lnTo>
                      <a:pt x="8" y="1"/>
                    </a:lnTo>
                    <a:lnTo>
                      <a:pt x="0" y="1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808" name="Freeform 211"/>
              <p:cNvSpPr>
                <a:spLocks noEditPoints="1"/>
              </p:cNvSpPr>
              <p:nvPr userDrawn="1"/>
            </p:nvSpPr>
            <p:spPr bwMode="auto">
              <a:xfrm>
                <a:off x="5752" y="3089"/>
                <a:ext cx="60" cy="18"/>
              </a:xfrm>
              <a:custGeom>
                <a:avLst/>
                <a:gdLst>
                  <a:gd name="T0" fmla="*/ 0 w 60"/>
                  <a:gd name="T1" fmla="*/ 16 h 18"/>
                  <a:gd name="T2" fmla="*/ 3 w 60"/>
                  <a:gd name="T3" fmla="*/ 18 h 18"/>
                  <a:gd name="T4" fmla="*/ 7 w 60"/>
                  <a:gd name="T5" fmla="*/ 17 h 18"/>
                  <a:gd name="T6" fmla="*/ 11 w 60"/>
                  <a:gd name="T7" fmla="*/ 17 h 18"/>
                  <a:gd name="T8" fmla="*/ 11 w 60"/>
                  <a:gd name="T9" fmla="*/ 12 h 18"/>
                  <a:gd name="T10" fmla="*/ 8 w 60"/>
                  <a:gd name="T11" fmla="*/ 13 h 18"/>
                  <a:gd name="T12" fmla="*/ 3 w 60"/>
                  <a:gd name="T13" fmla="*/ 13 h 18"/>
                  <a:gd name="T14" fmla="*/ 0 w 60"/>
                  <a:gd name="T15" fmla="*/ 16 h 18"/>
                  <a:gd name="T16" fmla="*/ 0 w 60"/>
                  <a:gd name="T17" fmla="*/ 16 h 18"/>
                  <a:gd name="T18" fmla="*/ 0 w 60"/>
                  <a:gd name="T19" fmla="*/ 16 h 18"/>
                  <a:gd name="T20" fmla="*/ 60 w 60"/>
                  <a:gd name="T21" fmla="*/ 3 h 18"/>
                  <a:gd name="T22" fmla="*/ 60 w 60"/>
                  <a:gd name="T23" fmla="*/ 2 h 18"/>
                  <a:gd name="T24" fmla="*/ 58 w 60"/>
                  <a:gd name="T25" fmla="*/ 0 h 18"/>
                  <a:gd name="T26" fmla="*/ 51 w 60"/>
                  <a:gd name="T27" fmla="*/ 2 h 18"/>
                  <a:gd name="T28" fmla="*/ 46 w 60"/>
                  <a:gd name="T29" fmla="*/ 2 h 18"/>
                  <a:gd name="T30" fmla="*/ 42 w 60"/>
                  <a:gd name="T31" fmla="*/ 2 h 18"/>
                  <a:gd name="T32" fmla="*/ 39 w 60"/>
                  <a:gd name="T33" fmla="*/ 2 h 18"/>
                  <a:gd name="T34" fmla="*/ 33 w 60"/>
                  <a:gd name="T35" fmla="*/ 3 h 18"/>
                  <a:gd name="T36" fmla="*/ 25 w 60"/>
                  <a:gd name="T37" fmla="*/ 3 h 18"/>
                  <a:gd name="T38" fmla="*/ 20 w 60"/>
                  <a:gd name="T39" fmla="*/ 8 h 18"/>
                  <a:gd name="T40" fmla="*/ 16 w 60"/>
                  <a:gd name="T41" fmla="*/ 10 h 18"/>
                  <a:gd name="T42" fmla="*/ 16 w 60"/>
                  <a:gd name="T43" fmla="*/ 10 h 18"/>
                  <a:gd name="T44" fmla="*/ 20 w 60"/>
                  <a:gd name="T45" fmla="*/ 15 h 18"/>
                  <a:gd name="T46" fmla="*/ 23 w 60"/>
                  <a:gd name="T47" fmla="*/ 18 h 18"/>
                  <a:gd name="T48" fmla="*/ 24 w 60"/>
                  <a:gd name="T49" fmla="*/ 18 h 18"/>
                  <a:gd name="T50" fmla="*/ 28 w 60"/>
                  <a:gd name="T51" fmla="*/ 15 h 18"/>
                  <a:gd name="T52" fmla="*/ 31 w 60"/>
                  <a:gd name="T53" fmla="*/ 14 h 18"/>
                  <a:gd name="T54" fmla="*/ 34 w 60"/>
                  <a:gd name="T55" fmla="*/ 14 h 18"/>
                  <a:gd name="T56" fmla="*/ 42 w 60"/>
                  <a:gd name="T57" fmla="*/ 13 h 18"/>
                  <a:gd name="T58" fmla="*/ 47 w 60"/>
                  <a:gd name="T59" fmla="*/ 10 h 18"/>
                  <a:gd name="T60" fmla="*/ 52 w 60"/>
                  <a:gd name="T61" fmla="*/ 8 h 18"/>
                  <a:gd name="T62" fmla="*/ 54 w 60"/>
                  <a:gd name="T63" fmla="*/ 6 h 18"/>
                  <a:gd name="T64" fmla="*/ 60 w 60"/>
                  <a:gd name="T65" fmla="*/ 3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60" h="18">
                    <a:moveTo>
                      <a:pt x="0" y="16"/>
                    </a:moveTo>
                    <a:lnTo>
                      <a:pt x="3" y="18"/>
                    </a:lnTo>
                    <a:lnTo>
                      <a:pt x="7" y="17"/>
                    </a:lnTo>
                    <a:lnTo>
                      <a:pt x="11" y="17"/>
                    </a:lnTo>
                    <a:lnTo>
                      <a:pt x="11" y="12"/>
                    </a:lnTo>
                    <a:lnTo>
                      <a:pt x="8" y="13"/>
                    </a:lnTo>
                    <a:lnTo>
                      <a:pt x="3" y="13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close/>
                    <a:moveTo>
                      <a:pt x="60" y="3"/>
                    </a:moveTo>
                    <a:lnTo>
                      <a:pt x="60" y="2"/>
                    </a:lnTo>
                    <a:lnTo>
                      <a:pt x="58" y="0"/>
                    </a:lnTo>
                    <a:lnTo>
                      <a:pt x="51" y="2"/>
                    </a:lnTo>
                    <a:lnTo>
                      <a:pt x="46" y="2"/>
                    </a:lnTo>
                    <a:lnTo>
                      <a:pt x="42" y="2"/>
                    </a:lnTo>
                    <a:lnTo>
                      <a:pt x="39" y="2"/>
                    </a:lnTo>
                    <a:lnTo>
                      <a:pt x="33" y="3"/>
                    </a:lnTo>
                    <a:lnTo>
                      <a:pt x="25" y="3"/>
                    </a:lnTo>
                    <a:lnTo>
                      <a:pt x="20" y="8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20" y="15"/>
                    </a:lnTo>
                    <a:lnTo>
                      <a:pt x="23" y="18"/>
                    </a:lnTo>
                    <a:lnTo>
                      <a:pt x="24" y="18"/>
                    </a:lnTo>
                    <a:lnTo>
                      <a:pt x="28" y="15"/>
                    </a:lnTo>
                    <a:lnTo>
                      <a:pt x="31" y="14"/>
                    </a:lnTo>
                    <a:lnTo>
                      <a:pt x="34" y="14"/>
                    </a:lnTo>
                    <a:lnTo>
                      <a:pt x="42" y="13"/>
                    </a:lnTo>
                    <a:lnTo>
                      <a:pt x="47" y="10"/>
                    </a:lnTo>
                    <a:lnTo>
                      <a:pt x="52" y="8"/>
                    </a:lnTo>
                    <a:lnTo>
                      <a:pt x="54" y="6"/>
                    </a:lnTo>
                    <a:lnTo>
                      <a:pt x="60" y="3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809" name="Freeform 212"/>
              <p:cNvSpPr>
                <a:spLocks noEditPoints="1"/>
              </p:cNvSpPr>
              <p:nvPr userDrawn="1"/>
            </p:nvSpPr>
            <p:spPr bwMode="auto">
              <a:xfrm>
                <a:off x="5752" y="3089"/>
                <a:ext cx="60" cy="18"/>
              </a:xfrm>
              <a:custGeom>
                <a:avLst/>
                <a:gdLst>
                  <a:gd name="T0" fmla="*/ 0 w 60"/>
                  <a:gd name="T1" fmla="*/ 16 h 18"/>
                  <a:gd name="T2" fmla="*/ 3 w 60"/>
                  <a:gd name="T3" fmla="*/ 18 h 18"/>
                  <a:gd name="T4" fmla="*/ 7 w 60"/>
                  <a:gd name="T5" fmla="*/ 17 h 18"/>
                  <a:gd name="T6" fmla="*/ 11 w 60"/>
                  <a:gd name="T7" fmla="*/ 17 h 18"/>
                  <a:gd name="T8" fmla="*/ 11 w 60"/>
                  <a:gd name="T9" fmla="*/ 12 h 18"/>
                  <a:gd name="T10" fmla="*/ 8 w 60"/>
                  <a:gd name="T11" fmla="*/ 13 h 18"/>
                  <a:gd name="T12" fmla="*/ 3 w 60"/>
                  <a:gd name="T13" fmla="*/ 13 h 18"/>
                  <a:gd name="T14" fmla="*/ 0 w 60"/>
                  <a:gd name="T15" fmla="*/ 16 h 18"/>
                  <a:gd name="T16" fmla="*/ 0 w 60"/>
                  <a:gd name="T17" fmla="*/ 16 h 18"/>
                  <a:gd name="T18" fmla="*/ 0 w 60"/>
                  <a:gd name="T19" fmla="*/ 16 h 18"/>
                  <a:gd name="T20" fmla="*/ 60 w 60"/>
                  <a:gd name="T21" fmla="*/ 3 h 18"/>
                  <a:gd name="T22" fmla="*/ 60 w 60"/>
                  <a:gd name="T23" fmla="*/ 2 h 18"/>
                  <a:gd name="T24" fmla="*/ 58 w 60"/>
                  <a:gd name="T25" fmla="*/ 0 h 18"/>
                  <a:gd name="T26" fmla="*/ 51 w 60"/>
                  <a:gd name="T27" fmla="*/ 2 h 18"/>
                  <a:gd name="T28" fmla="*/ 46 w 60"/>
                  <a:gd name="T29" fmla="*/ 2 h 18"/>
                  <a:gd name="T30" fmla="*/ 42 w 60"/>
                  <a:gd name="T31" fmla="*/ 2 h 18"/>
                  <a:gd name="T32" fmla="*/ 39 w 60"/>
                  <a:gd name="T33" fmla="*/ 2 h 18"/>
                  <a:gd name="T34" fmla="*/ 33 w 60"/>
                  <a:gd name="T35" fmla="*/ 3 h 18"/>
                  <a:gd name="T36" fmla="*/ 25 w 60"/>
                  <a:gd name="T37" fmla="*/ 3 h 18"/>
                  <a:gd name="T38" fmla="*/ 20 w 60"/>
                  <a:gd name="T39" fmla="*/ 8 h 18"/>
                  <a:gd name="T40" fmla="*/ 16 w 60"/>
                  <a:gd name="T41" fmla="*/ 10 h 18"/>
                  <a:gd name="T42" fmla="*/ 16 w 60"/>
                  <a:gd name="T43" fmla="*/ 10 h 18"/>
                  <a:gd name="T44" fmla="*/ 20 w 60"/>
                  <a:gd name="T45" fmla="*/ 15 h 18"/>
                  <a:gd name="T46" fmla="*/ 23 w 60"/>
                  <a:gd name="T47" fmla="*/ 18 h 18"/>
                  <a:gd name="T48" fmla="*/ 24 w 60"/>
                  <a:gd name="T49" fmla="*/ 18 h 18"/>
                  <a:gd name="T50" fmla="*/ 28 w 60"/>
                  <a:gd name="T51" fmla="*/ 15 h 18"/>
                  <a:gd name="T52" fmla="*/ 31 w 60"/>
                  <a:gd name="T53" fmla="*/ 14 h 18"/>
                  <a:gd name="T54" fmla="*/ 34 w 60"/>
                  <a:gd name="T55" fmla="*/ 14 h 18"/>
                  <a:gd name="T56" fmla="*/ 42 w 60"/>
                  <a:gd name="T57" fmla="*/ 13 h 18"/>
                  <a:gd name="T58" fmla="*/ 47 w 60"/>
                  <a:gd name="T59" fmla="*/ 10 h 18"/>
                  <a:gd name="T60" fmla="*/ 52 w 60"/>
                  <a:gd name="T61" fmla="*/ 8 h 18"/>
                  <a:gd name="T62" fmla="*/ 54 w 60"/>
                  <a:gd name="T63" fmla="*/ 6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60" h="18">
                    <a:moveTo>
                      <a:pt x="0" y="16"/>
                    </a:moveTo>
                    <a:lnTo>
                      <a:pt x="3" y="18"/>
                    </a:lnTo>
                    <a:lnTo>
                      <a:pt x="7" y="17"/>
                    </a:lnTo>
                    <a:lnTo>
                      <a:pt x="11" y="17"/>
                    </a:lnTo>
                    <a:lnTo>
                      <a:pt x="11" y="12"/>
                    </a:lnTo>
                    <a:lnTo>
                      <a:pt x="8" y="13"/>
                    </a:lnTo>
                    <a:lnTo>
                      <a:pt x="3" y="13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moveTo>
                      <a:pt x="60" y="3"/>
                    </a:moveTo>
                    <a:lnTo>
                      <a:pt x="60" y="2"/>
                    </a:lnTo>
                    <a:lnTo>
                      <a:pt x="58" y="0"/>
                    </a:lnTo>
                    <a:lnTo>
                      <a:pt x="51" y="2"/>
                    </a:lnTo>
                    <a:lnTo>
                      <a:pt x="46" y="2"/>
                    </a:lnTo>
                    <a:lnTo>
                      <a:pt x="42" y="2"/>
                    </a:lnTo>
                    <a:lnTo>
                      <a:pt x="39" y="2"/>
                    </a:lnTo>
                    <a:lnTo>
                      <a:pt x="33" y="3"/>
                    </a:lnTo>
                    <a:lnTo>
                      <a:pt x="25" y="3"/>
                    </a:lnTo>
                    <a:lnTo>
                      <a:pt x="20" y="8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20" y="15"/>
                    </a:lnTo>
                    <a:lnTo>
                      <a:pt x="23" y="18"/>
                    </a:lnTo>
                    <a:lnTo>
                      <a:pt x="24" y="18"/>
                    </a:lnTo>
                    <a:lnTo>
                      <a:pt x="28" y="15"/>
                    </a:lnTo>
                    <a:lnTo>
                      <a:pt x="31" y="14"/>
                    </a:lnTo>
                    <a:lnTo>
                      <a:pt x="34" y="14"/>
                    </a:lnTo>
                    <a:lnTo>
                      <a:pt x="42" y="13"/>
                    </a:lnTo>
                    <a:lnTo>
                      <a:pt x="47" y="10"/>
                    </a:lnTo>
                    <a:lnTo>
                      <a:pt x="52" y="8"/>
                    </a:lnTo>
                    <a:lnTo>
                      <a:pt x="54" y="6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810" name="Freeform 213"/>
              <p:cNvSpPr>
                <a:spLocks/>
              </p:cNvSpPr>
              <p:nvPr userDrawn="1"/>
            </p:nvSpPr>
            <p:spPr bwMode="auto">
              <a:xfrm>
                <a:off x="5591" y="2845"/>
                <a:ext cx="1" cy="2"/>
              </a:xfrm>
              <a:custGeom>
                <a:avLst/>
                <a:gdLst>
                  <a:gd name="T0" fmla="*/ 0 w 1"/>
                  <a:gd name="T1" fmla="*/ 0 h 2"/>
                  <a:gd name="T2" fmla="*/ 0 w 1"/>
                  <a:gd name="T3" fmla="*/ 0 h 2"/>
                  <a:gd name="T4" fmla="*/ 1 w 1"/>
                  <a:gd name="T5" fmla="*/ 2 h 2"/>
                  <a:gd name="T6" fmla="*/ 0 w 1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2">
                    <a:moveTo>
                      <a:pt x="0" y="0"/>
                    </a:moveTo>
                    <a:lnTo>
                      <a:pt x="0" y="0"/>
                    </a:lnTo>
                    <a:lnTo>
                      <a:pt x="1" y="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2F1E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811" name="Freeform 214"/>
              <p:cNvSpPr>
                <a:spLocks/>
              </p:cNvSpPr>
              <p:nvPr userDrawn="1"/>
            </p:nvSpPr>
            <p:spPr bwMode="auto">
              <a:xfrm>
                <a:off x="5591" y="2845"/>
                <a:ext cx="1" cy="2"/>
              </a:xfrm>
              <a:custGeom>
                <a:avLst/>
                <a:gdLst>
                  <a:gd name="T0" fmla="*/ 0 w 1"/>
                  <a:gd name="T1" fmla="*/ 0 h 2"/>
                  <a:gd name="T2" fmla="*/ 0 w 1"/>
                  <a:gd name="T3" fmla="*/ 0 h 2"/>
                  <a:gd name="T4" fmla="*/ 1 w 1"/>
                  <a:gd name="T5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2">
                    <a:moveTo>
                      <a:pt x="0" y="0"/>
                    </a:moveTo>
                    <a:lnTo>
                      <a:pt x="0" y="0"/>
                    </a:lnTo>
                    <a:lnTo>
                      <a:pt x="1" y="2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812" name="Freeform 215"/>
              <p:cNvSpPr>
                <a:spLocks noEditPoints="1"/>
              </p:cNvSpPr>
              <p:nvPr userDrawn="1"/>
            </p:nvSpPr>
            <p:spPr bwMode="auto">
              <a:xfrm>
                <a:off x="5575" y="2839"/>
                <a:ext cx="22" cy="17"/>
              </a:xfrm>
              <a:custGeom>
                <a:avLst/>
                <a:gdLst>
                  <a:gd name="T0" fmla="*/ 0 w 22"/>
                  <a:gd name="T1" fmla="*/ 8 h 17"/>
                  <a:gd name="T2" fmla="*/ 3 w 22"/>
                  <a:gd name="T3" fmla="*/ 8 h 17"/>
                  <a:gd name="T4" fmla="*/ 4 w 22"/>
                  <a:gd name="T5" fmla="*/ 8 h 17"/>
                  <a:gd name="T6" fmla="*/ 7 w 22"/>
                  <a:gd name="T7" fmla="*/ 14 h 17"/>
                  <a:gd name="T8" fmla="*/ 11 w 22"/>
                  <a:gd name="T9" fmla="*/ 17 h 17"/>
                  <a:gd name="T10" fmla="*/ 13 w 22"/>
                  <a:gd name="T11" fmla="*/ 16 h 17"/>
                  <a:gd name="T12" fmla="*/ 12 w 22"/>
                  <a:gd name="T13" fmla="*/ 8 h 17"/>
                  <a:gd name="T14" fmla="*/ 14 w 22"/>
                  <a:gd name="T15" fmla="*/ 5 h 17"/>
                  <a:gd name="T16" fmla="*/ 16 w 22"/>
                  <a:gd name="T17" fmla="*/ 5 h 17"/>
                  <a:gd name="T18" fmla="*/ 16 w 22"/>
                  <a:gd name="T19" fmla="*/ 4 h 17"/>
                  <a:gd name="T20" fmla="*/ 15 w 22"/>
                  <a:gd name="T21" fmla="*/ 0 h 17"/>
                  <a:gd name="T22" fmla="*/ 12 w 22"/>
                  <a:gd name="T23" fmla="*/ 1 h 17"/>
                  <a:gd name="T24" fmla="*/ 7 w 22"/>
                  <a:gd name="T25" fmla="*/ 5 h 17"/>
                  <a:gd name="T26" fmla="*/ 1 w 22"/>
                  <a:gd name="T27" fmla="*/ 7 h 17"/>
                  <a:gd name="T28" fmla="*/ 0 w 22"/>
                  <a:gd name="T29" fmla="*/ 8 h 17"/>
                  <a:gd name="T30" fmla="*/ 0 w 22"/>
                  <a:gd name="T31" fmla="*/ 8 h 17"/>
                  <a:gd name="T32" fmla="*/ 0 w 22"/>
                  <a:gd name="T33" fmla="*/ 8 h 17"/>
                  <a:gd name="T34" fmla="*/ 16 w 22"/>
                  <a:gd name="T35" fmla="*/ 6 h 17"/>
                  <a:gd name="T36" fmla="*/ 17 w 22"/>
                  <a:gd name="T37" fmla="*/ 8 h 17"/>
                  <a:gd name="T38" fmla="*/ 17 w 22"/>
                  <a:gd name="T39" fmla="*/ 13 h 17"/>
                  <a:gd name="T40" fmla="*/ 20 w 22"/>
                  <a:gd name="T41" fmla="*/ 14 h 17"/>
                  <a:gd name="T42" fmla="*/ 22 w 22"/>
                  <a:gd name="T43" fmla="*/ 11 h 17"/>
                  <a:gd name="T44" fmla="*/ 19 w 22"/>
                  <a:gd name="T45" fmla="*/ 6 h 17"/>
                  <a:gd name="T46" fmla="*/ 19 w 22"/>
                  <a:gd name="T47" fmla="*/ 4 h 17"/>
                  <a:gd name="T48" fmla="*/ 18 w 22"/>
                  <a:gd name="T49" fmla="*/ 5 h 17"/>
                  <a:gd name="T50" fmla="*/ 16 w 22"/>
                  <a:gd name="T51" fmla="*/ 6 h 17"/>
                  <a:gd name="T52" fmla="*/ 16 w 22"/>
                  <a:gd name="T53" fmla="*/ 6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22" h="17">
                    <a:moveTo>
                      <a:pt x="0" y="8"/>
                    </a:moveTo>
                    <a:lnTo>
                      <a:pt x="3" y="8"/>
                    </a:lnTo>
                    <a:lnTo>
                      <a:pt x="4" y="8"/>
                    </a:lnTo>
                    <a:lnTo>
                      <a:pt x="7" y="14"/>
                    </a:lnTo>
                    <a:lnTo>
                      <a:pt x="11" y="17"/>
                    </a:lnTo>
                    <a:lnTo>
                      <a:pt x="13" y="16"/>
                    </a:lnTo>
                    <a:lnTo>
                      <a:pt x="12" y="8"/>
                    </a:lnTo>
                    <a:lnTo>
                      <a:pt x="14" y="5"/>
                    </a:lnTo>
                    <a:lnTo>
                      <a:pt x="16" y="5"/>
                    </a:lnTo>
                    <a:lnTo>
                      <a:pt x="16" y="4"/>
                    </a:lnTo>
                    <a:lnTo>
                      <a:pt x="15" y="0"/>
                    </a:lnTo>
                    <a:lnTo>
                      <a:pt x="12" y="1"/>
                    </a:lnTo>
                    <a:lnTo>
                      <a:pt x="7" y="5"/>
                    </a:lnTo>
                    <a:lnTo>
                      <a:pt x="1" y="7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close/>
                    <a:moveTo>
                      <a:pt x="16" y="6"/>
                    </a:moveTo>
                    <a:lnTo>
                      <a:pt x="17" y="8"/>
                    </a:lnTo>
                    <a:lnTo>
                      <a:pt x="17" y="13"/>
                    </a:lnTo>
                    <a:lnTo>
                      <a:pt x="20" y="14"/>
                    </a:lnTo>
                    <a:lnTo>
                      <a:pt x="22" y="11"/>
                    </a:lnTo>
                    <a:lnTo>
                      <a:pt x="19" y="6"/>
                    </a:lnTo>
                    <a:lnTo>
                      <a:pt x="19" y="4"/>
                    </a:lnTo>
                    <a:lnTo>
                      <a:pt x="18" y="5"/>
                    </a:lnTo>
                    <a:lnTo>
                      <a:pt x="16" y="6"/>
                    </a:lnTo>
                    <a:lnTo>
                      <a:pt x="16" y="6"/>
                    </a:lnTo>
                    <a:close/>
                  </a:path>
                </a:pathLst>
              </a:custGeom>
              <a:solidFill>
                <a:srgbClr val="F2F1E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813" name="Freeform 216"/>
              <p:cNvSpPr>
                <a:spLocks noEditPoints="1"/>
              </p:cNvSpPr>
              <p:nvPr userDrawn="1"/>
            </p:nvSpPr>
            <p:spPr bwMode="auto">
              <a:xfrm>
                <a:off x="2455" y="3958"/>
                <a:ext cx="52" cy="20"/>
              </a:xfrm>
              <a:custGeom>
                <a:avLst/>
                <a:gdLst>
                  <a:gd name="T0" fmla="*/ 20 w 54"/>
                  <a:gd name="T1" fmla="*/ 1 h 21"/>
                  <a:gd name="T2" fmla="*/ 25 w 54"/>
                  <a:gd name="T3" fmla="*/ 0 h 21"/>
                  <a:gd name="T4" fmla="*/ 28 w 54"/>
                  <a:gd name="T5" fmla="*/ 3 h 21"/>
                  <a:gd name="T6" fmla="*/ 20 w 54"/>
                  <a:gd name="T7" fmla="*/ 1 h 21"/>
                  <a:gd name="T8" fmla="*/ 14 w 54"/>
                  <a:gd name="T9" fmla="*/ 2 h 21"/>
                  <a:gd name="T10" fmla="*/ 16 w 54"/>
                  <a:gd name="T11" fmla="*/ 5 h 21"/>
                  <a:gd name="T12" fmla="*/ 18 w 54"/>
                  <a:gd name="T13" fmla="*/ 4 h 21"/>
                  <a:gd name="T14" fmla="*/ 14 w 54"/>
                  <a:gd name="T15" fmla="*/ 2 h 21"/>
                  <a:gd name="T16" fmla="*/ 0 w 54"/>
                  <a:gd name="T17" fmla="*/ 18 h 21"/>
                  <a:gd name="T18" fmla="*/ 2 w 54"/>
                  <a:gd name="T19" fmla="*/ 17 h 21"/>
                  <a:gd name="T20" fmla="*/ 5 w 54"/>
                  <a:gd name="T21" fmla="*/ 18 h 21"/>
                  <a:gd name="T22" fmla="*/ 7 w 54"/>
                  <a:gd name="T23" fmla="*/ 19 h 21"/>
                  <a:gd name="T24" fmla="*/ 2 w 54"/>
                  <a:gd name="T25" fmla="*/ 21 h 21"/>
                  <a:gd name="T26" fmla="*/ 0 w 54"/>
                  <a:gd name="T27" fmla="*/ 18 h 21"/>
                  <a:gd name="T28" fmla="*/ 54 w 54"/>
                  <a:gd name="T29" fmla="*/ 10 h 21"/>
                  <a:gd name="T30" fmla="*/ 54 w 54"/>
                  <a:gd name="T31" fmla="*/ 1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54" h="21">
                    <a:moveTo>
                      <a:pt x="20" y="1"/>
                    </a:moveTo>
                    <a:cubicBezTo>
                      <a:pt x="25" y="0"/>
                      <a:pt x="25" y="0"/>
                      <a:pt x="25" y="0"/>
                    </a:cubicBezTo>
                    <a:cubicBezTo>
                      <a:pt x="28" y="3"/>
                      <a:pt x="28" y="3"/>
                      <a:pt x="28" y="3"/>
                    </a:cubicBezTo>
                    <a:cubicBezTo>
                      <a:pt x="20" y="1"/>
                      <a:pt x="20" y="1"/>
                      <a:pt x="20" y="1"/>
                    </a:cubicBezTo>
                    <a:close/>
                    <a:moveTo>
                      <a:pt x="14" y="2"/>
                    </a:moveTo>
                    <a:cubicBezTo>
                      <a:pt x="16" y="5"/>
                      <a:pt x="16" y="5"/>
                      <a:pt x="16" y="5"/>
                    </a:cubicBezTo>
                    <a:cubicBezTo>
                      <a:pt x="18" y="4"/>
                      <a:pt x="18" y="4"/>
                      <a:pt x="18" y="4"/>
                    </a:cubicBezTo>
                    <a:cubicBezTo>
                      <a:pt x="14" y="2"/>
                      <a:pt x="14" y="2"/>
                      <a:pt x="14" y="2"/>
                    </a:cubicBezTo>
                    <a:close/>
                    <a:moveTo>
                      <a:pt x="0" y="18"/>
                    </a:moveTo>
                    <a:cubicBezTo>
                      <a:pt x="2" y="17"/>
                      <a:pt x="2" y="17"/>
                      <a:pt x="2" y="17"/>
                    </a:cubicBezTo>
                    <a:cubicBezTo>
                      <a:pt x="5" y="18"/>
                      <a:pt x="5" y="18"/>
                      <a:pt x="5" y="18"/>
                    </a:cubicBezTo>
                    <a:cubicBezTo>
                      <a:pt x="7" y="19"/>
                      <a:pt x="7" y="19"/>
                      <a:pt x="7" y="19"/>
                    </a:cubicBezTo>
                    <a:cubicBezTo>
                      <a:pt x="2" y="21"/>
                      <a:pt x="2" y="21"/>
                      <a:pt x="2" y="21"/>
                    </a:cubicBezTo>
                    <a:cubicBezTo>
                      <a:pt x="0" y="18"/>
                      <a:pt x="0" y="18"/>
                      <a:pt x="0" y="18"/>
                    </a:cubicBezTo>
                    <a:close/>
                    <a:moveTo>
                      <a:pt x="54" y="10"/>
                    </a:moveTo>
                    <a:cubicBezTo>
                      <a:pt x="54" y="10"/>
                      <a:pt x="54" y="10"/>
                      <a:pt x="54" y="10"/>
                    </a:cubicBezTo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814" name="Freeform 217"/>
              <p:cNvSpPr>
                <a:spLocks noEditPoints="1"/>
              </p:cNvSpPr>
              <p:nvPr userDrawn="1"/>
            </p:nvSpPr>
            <p:spPr bwMode="auto">
              <a:xfrm>
                <a:off x="2180" y="3749"/>
                <a:ext cx="198" cy="342"/>
              </a:xfrm>
              <a:custGeom>
                <a:avLst/>
                <a:gdLst>
                  <a:gd name="T0" fmla="*/ 146 w 207"/>
                  <a:gd name="T1" fmla="*/ 318 h 358"/>
                  <a:gd name="T2" fmla="*/ 140 w 207"/>
                  <a:gd name="T3" fmla="*/ 321 h 358"/>
                  <a:gd name="T4" fmla="*/ 119 w 207"/>
                  <a:gd name="T5" fmla="*/ 329 h 358"/>
                  <a:gd name="T6" fmla="*/ 138 w 207"/>
                  <a:gd name="T7" fmla="*/ 336 h 358"/>
                  <a:gd name="T8" fmla="*/ 143 w 207"/>
                  <a:gd name="T9" fmla="*/ 338 h 358"/>
                  <a:gd name="T10" fmla="*/ 177 w 207"/>
                  <a:gd name="T11" fmla="*/ 330 h 358"/>
                  <a:gd name="T12" fmla="*/ 150 w 207"/>
                  <a:gd name="T13" fmla="*/ 298 h 358"/>
                  <a:gd name="T14" fmla="*/ 138 w 207"/>
                  <a:gd name="T15" fmla="*/ 282 h 358"/>
                  <a:gd name="T16" fmla="*/ 147 w 207"/>
                  <a:gd name="T17" fmla="*/ 265 h 358"/>
                  <a:gd name="T18" fmla="*/ 202 w 207"/>
                  <a:gd name="T19" fmla="*/ 356 h 358"/>
                  <a:gd name="T20" fmla="*/ 20 w 207"/>
                  <a:gd name="T21" fmla="*/ 30 h 358"/>
                  <a:gd name="T22" fmla="*/ 6 w 207"/>
                  <a:gd name="T23" fmla="*/ 11 h 358"/>
                  <a:gd name="T24" fmla="*/ 22 w 207"/>
                  <a:gd name="T25" fmla="*/ 16 h 358"/>
                  <a:gd name="T26" fmla="*/ 5 w 207"/>
                  <a:gd name="T27" fmla="*/ 45 h 358"/>
                  <a:gd name="T28" fmla="*/ 27 w 207"/>
                  <a:gd name="T29" fmla="*/ 51 h 358"/>
                  <a:gd name="T30" fmla="*/ 17 w 207"/>
                  <a:gd name="T31" fmla="*/ 56 h 358"/>
                  <a:gd name="T32" fmla="*/ 13 w 207"/>
                  <a:gd name="T33" fmla="*/ 62 h 358"/>
                  <a:gd name="T34" fmla="*/ 21 w 207"/>
                  <a:gd name="T35" fmla="*/ 64 h 358"/>
                  <a:gd name="T36" fmla="*/ 12 w 207"/>
                  <a:gd name="T37" fmla="*/ 64 h 358"/>
                  <a:gd name="T38" fmla="*/ 19 w 207"/>
                  <a:gd name="T39" fmla="*/ 87 h 358"/>
                  <a:gd name="T40" fmla="*/ 32 w 207"/>
                  <a:gd name="T41" fmla="*/ 61 h 358"/>
                  <a:gd name="T42" fmla="*/ 32 w 207"/>
                  <a:gd name="T43" fmla="*/ 76 h 358"/>
                  <a:gd name="T44" fmla="*/ 15 w 207"/>
                  <a:gd name="T45" fmla="*/ 73 h 358"/>
                  <a:gd name="T46" fmla="*/ 27 w 207"/>
                  <a:gd name="T47" fmla="*/ 90 h 358"/>
                  <a:gd name="T48" fmla="*/ 26 w 207"/>
                  <a:gd name="T49" fmla="*/ 165 h 358"/>
                  <a:gd name="T50" fmla="*/ 30 w 207"/>
                  <a:gd name="T51" fmla="*/ 160 h 358"/>
                  <a:gd name="T52" fmla="*/ 25 w 207"/>
                  <a:gd name="T53" fmla="*/ 167 h 358"/>
                  <a:gd name="T54" fmla="*/ 17 w 207"/>
                  <a:gd name="T55" fmla="*/ 165 h 358"/>
                  <a:gd name="T56" fmla="*/ 19 w 207"/>
                  <a:gd name="T57" fmla="*/ 174 h 358"/>
                  <a:gd name="T58" fmla="*/ 24 w 207"/>
                  <a:gd name="T59" fmla="*/ 193 h 358"/>
                  <a:gd name="T60" fmla="*/ 30 w 207"/>
                  <a:gd name="T61" fmla="*/ 183 h 358"/>
                  <a:gd name="T62" fmla="*/ 39 w 207"/>
                  <a:gd name="T63" fmla="*/ 186 h 358"/>
                  <a:gd name="T64" fmla="*/ 28 w 207"/>
                  <a:gd name="T65" fmla="*/ 212 h 358"/>
                  <a:gd name="T66" fmla="*/ 29 w 207"/>
                  <a:gd name="T67" fmla="*/ 219 h 358"/>
                  <a:gd name="T68" fmla="*/ 40 w 207"/>
                  <a:gd name="T69" fmla="*/ 217 h 358"/>
                  <a:gd name="T70" fmla="*/ 45 w 207"/>
                  <a:gd name="T71" fmla="*/ 226 h 358"/>
                  <a:gd name="T72" fmla="*/ 38 w 207"/>
                  <a:gd name="T73" fmla="*/ 234 h 358"/>
                  <a:gd name="T74" fmla="*/ 44 w 207"/>
                  <a:gd name="T75" fmla="*/ 257 h 358"/>
                  <a:gd name="T76" fmla="*/ 49 w 207"/>
                  <a:gd name="T77" fmla="*/ 252 h 358"/>
                  <a:gd name="T78" fmla="*/ 55 w 207"/>
                  <a:gd name="T79" fmla="*/ 254 h 358"/>
                  <a:gd name="T80" fmla="*/ 54 w 207"/>
                  <a:gd name="T81" fmla="*/ 261 h 358"/>
                  <a:gd name="T82" fmla="*/ 65 w 207"/>
                  <a:gd name="T83" fmla="*/ 257 h 358"/>
                  <a:gd name="T84" fmla="*/ 67 w 207"/>
                  <a:gd name="T85" fmla="*/ 266 h 358"/>
                  <a:gd name="T86" fmla="*/ 71 w 207"/>
                  <a:gd name="T87" fmla="*/ 272 h 358"/>
                  <a:gd name="T88" fmla="*/ 57 w 207"/>
                  <a:gd name="T89" fmla="*/ 282 h 358"/>
                  <a:gd name="T90" fmla="*/ 88 w 207"/>
                  <a:gd name="T91" fmla="*/ 296 h 358"/>
                  <a:gd name="T92" fmla="*/ 99 w 207"/>
                  <a:gd name="T93" fmla="*/ 315 h 358"/>
                  <a:gd name="T94" fmla="*/ 87 w 207"/>
                  <a:gd name="T95" fmla="*/ 308 h 358"/>
                  <a:gd name="T96" fmla="*/ 99 w 207"/>
                  <a:gd name="T97" fmla="*/ 303 h 358"/>
                  <a:gd name="T98" fmla="*/ 105 w 207"/>
                  <a:gd name="T99" fmla="*/ 317 h 358"/>
                  <a:gd name="T100" fmla="*/ 131 w 207"/>
                  <a:gd name="T101" fmla="*/ 317 h 358"/>
                  <a:gd name="T102" fmla="*/ 117 w 207"/>
                  <a:gd name="T103" fmla="*/ 311 h 358"/>
                  <a:gd name="T104" fmla="*/ 139 w 207"/>
                  <a:gd name="T105" fmla="*/ 302 h 358"/>
                  <a:gd name="T106" fmla="*/ 141 w 207"/>
                  <a:gd name="T107" fmla="*/ 313 h 358"/>
                  <a:gd name="T108" fmla="*/ 131 w 207"/>
                  <a:gd name="T109" fmla="*/ 335 h 358"/>
                  <a:gd name="T110" fmla="*/ 160 w 207"/>
                  <a:gd name="T111" fmla="*/ 335 h 358"/>
                  <a:gd name="T112" fmla="*/ 206 w 207"/>
                  <a:gd name="T113" fmla="*/ 337 h 358"/>
                  <a:gd name="T114" fmla="*/ 178 w 207"/>
                  <a:gd name="T115" fmla="*/ 337 h 358"/>
                  <a:gd name="T116" fmla="*/ 184 w 207"/>
                  <a:gd name="T117" fmla="*/ 348 h 358"/>
                  <a:gd name="T118" fmla="*/ 164 w 207"/>
                  <a:gd name="T119" fmla="*/ 349 h 358"/>
                  <a:gd name="T120" fmla="*/ 157 w 207"/>
                  <a:gd name="T121" fmla="*/ 336 h 3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07" h="358">
                    <a:moveTo>
                      <a:pt x="177" y="330"/>
                    </a:moveTo>
                    <a:cubicBezTo>
                      <a:pt x="175" y="323"/>
                      <a:pt x="175" y="323"/>
                      <a:pt x="175" y="323"/>
                    </a:cubicBezTo>
                    <a:cubicBezTo>
                      <a:pt x="173" y="323"/>
                      <a:pt x="173" y="323"/>
                      <a:pt x="173" y="323"/>
                    </a:cubicBezTo>
                    <a:cubicBezTo>
                      <a:pt x="169" y="321"/>
                      <a:pt x="169" y="321"/>
                      <a:pt x="169" y="321"/>
                    </a:cubicBezTo>
                    <a:cubicBezTo>
                      <a:pt x="162" y="319"/>
                      <a:pt x="162" y="319"/>
                      <a:pt x="162" y="319"/>
                    </a:cubicBezTo>
                    <a:cubicBezTo>
                      <a:pt x="153" y="316"/>
                      <a:pt x="153" y="316"/>
                      <a:pt x="153" y="316"/>
                    </a:cubicBezTo>
                    <a:cubicBezTo>
                      <a:pt x="148" y="314"/>
                      <a:pt x="148" y="314"/>
                      <a:pt x="148" y="314"/>
                    </a:cubicBezTo>
                    <a:cubicBezTo>
                      <a:pt x="148" y="316"/>
                      <a:pt x="148" y="316"/>
                      <a:pt x="148" y="316"/>
                    </a:cubicBezTo>
                    <a:cubicBezTo>
                      <a:pt x="149" y="317"/>
                      <a:pt x="149" y="317"/>
                      <a:pt x="149" y="317"/>
                    </a:cubicBezTo>
                    <a:cubicBezTo>
                      <a:pt x="148" y="318"/>
                      <a:pt x="148" y="318"/>
                      <a:pt x="148" y="318"/>
                    </a:cubicBezTo>
                    <a:cubicBezTo>
                      <a:pt x="146" y="318"/>
                      <a:pt x="146" y="318"/>
                      <a:pt x="146" y="318"/>
                    </a:cubicBezTo>
                    <a:cubicBezTo>
                      <a:pt x="140" y="315"/>
                      <a:pt x="140" y="315"/>
                      <a:pt x="140" y="315"/>
                    </a:cubicBezTo>
                    <a:cubicBezTo>
                      <a:pt x="136" y="313"/>
                      <a:pt x="136" y="313"/>
                      <a:pt x="136" y="313"/>
                    </a:cubicBezTo>
                    <a:cubicBezTo>
                      <a:pt x="135" y="314"/>
                      <a:pt x="135" y="314"/>
                      <a:pt x="135" y="314"/>
                    </a:cubicBezTo>
                    <a:cubicBezTo>
                      <a:pt x="137" y="316"/>
                      <a:pt x="137" y="316"/>
                      <a:pt x="137" y="316"/>
                    </a:cubicBezTo>
                    <a:cubicBezTo>
                      <a:pt x="145" y="320"/>
                      <a:pt x="145" y="320"/>
                      <a:pt x="145" y="320"/>
                    </a:cubicBezTo>
                    <a:cubicBezTo>
                      <a:pt x="145" y="321"/>
                      <a:pt x="145" y="321"/>
                      <a:pt x="145" y="321"/>
                    </a:cubicBezTo>
                    <a:cubicBezTo>
                      <a:pt x="143" y="321"/>
                      <a:pt x="143" y="321"/>
                      <a:pt x="143" y="321"/>
                    </a:cubicBezTo>
                    <a:cubicBezTo>
                      <a:pt x="142" y="322"/>
                      <a:pt x="142" y="322"/>
                      <a:pt x="142" y="322"/>
                    </a:cubicBezTo>
                    <a:cubicBezTo>
                      <a:pt x="142" y="323"/>
                      <a:pt x="142" y="323"/>
                      <a:pt x="142" y="323"/>
                    </a:cubicBezTo>
                    <a:cubicBezTo>
                      <a:pt x="141" y="323"/>
                      <a:pt x="141" y="323"/>
                      <a:pt x="141" y="323"/>
                    </a:cubicBezTo>
                    <a:cubicBezTo>
                      <a:pt x="140" y="321"/>
                      <a:pt x="140" y="321"/>
                      <a:pt x="140" y="321"/>
                    </a:cubicBezTo>
                    <a:cubicBezTo>
                      <a:pt x="136" y="319"/>
                      <a:pt x="136" y="319"/>
                      <a:pt x="136" y="319"/>
                    </a:cubicBezTo>
                    <a:cubicBezTo>
                      <a:pt x="134" y="320"/>
                      <a:pt x="134" y="320"/>
                      <a:pt x="134" y="320"/>
                    </a:cubicBezTo>
                    <a:cubicBezTo>
                      <a:pt x="135" y="322"/>
                      <a:pt x="135" y="322"/>
                      <a:pt x="135" y="322"/>
                    </a:cubicBezTo>
                    <a:cubicBezTo>
                      <a:pt x="132" y="323"/>
                      <a:pt x="132" y="323"/>
                      <a:pt x="132" y="323"/>
                    </a:cubicBezTo>
                    <a:cubicBezTo>
                      <a:pt x="126" y="323"/>
                      <a:pt x="126" y="323"/>
                      <a:pt x="126" y="323"/>
                    </a:cubicBezTo>
                    <a:cubicBezTo>
                      <a:pt x="125" y="324"/>
                      <a:pt x="125" y="324"/>
                      <a:pt x="125" y="324"/>
                    </a:cubicBezTo>
                    <a:cubicBezTo>
                      <a:pt x="126" y="325"/>
                      <a:pt x="126" y="325"/>
                      <a:pt x="126" y="325"/>
                    </a:cubicBezTo>
                    <a:cubicBezTo>
                      <a:pt x="125" y="326"/>
                      <a:pt x="125" y="326"/>
                      <a:pt x="125" y="326"/>
                    </a:cubicBezTo>
                    <a:cubicBezTo>
                      <a:pt x="122" y="326"/>
                      <a:pt x="122" y="326"/>
                      <a:pt x="122" y="326"/>
                    </a:cubicBezTo>
                    <a:cubicBezTo>
                      <a:pt x="119" y="327"/>
                      <a:pt x="119" y="327"/>
                      <a:pt x="119" y="327"/>
                    </a:cubicBezTo>
                    <a:cubicBezTo>
                      <a:pt x="119" y="329"/>
                      <a:pt x="119" y="329"/>
                      <a:pt x="119" y="329"/>
                    </a:cubicBezTo>
                    <a:cubicBezTo>
                      <a:pt x="124" y="330"/>
                      <a:pt x="124" y="330"/>
                      <a:pt x="124" y="330"/>
                    </a:cubicBezTo>
                    <a:cubicBezTo>
                      <a:pt x="127" y="329"/>
                      <a:pt x="127" y="329"/>
                      <a:pt x="127" y="329"/>
                    </a:cubicBezTo>
                    <a:cubicBezTo>
                      <a:pt x="128" y="328"/>
                      <a:pt x="128" y="328"/>
                      <a:pt x="128" y="328"/>
                    </a:cubicBezTo>
                    <a:cubicBezTo>
                      <a:pt x="129" y="327"/>
                      <a:pt x="129" y="327"/>
                      <a:pt x="129" y="327"/>
                    </a:cubicBezTo>
                    <a:cubicBezTo>
                      <a:pt x="131" y="328"/>
                      <a:pt x="131" y="328"/>
                      <a:pt x="131" y="328"/>
                    </a:cubicBezTo>
                    <a:cubicBezTo>
                      <a:pt x="135" y="330"/>
                      <a:pt x="135" y="330"/>
                      <a:pt x="135" y="330"/>
                    </a:cubicBezTo>
                    <a:cubicBezTo>
                      <a:pt x="137" y="329"/>
                      <a:pt x="137" y="329"/>
                      <a:pt x="137" y="329"/>
                    </a:cubicBezTo>
                    <a:cubicBezTo>
                      <a:pt x="138" y="331"/>
                      <a:pt x="138" y="331"/>
                      <a:pt x="138" y="331"/>
                    </a:cubicBezTo>
                    <a:cubicBezTo>
                      <a:pt x="138" y="333"/>
                      <a:pt x="138" y="333"/>
                      <a:pt x="138" y="333"/>
                    </a:cubicBezTo>
                    <a:cubicBezTo>
                      <a:pt x="140" y="334"/>
                      <a:pt x="140" y="334"/>
                      <a:pt x="140" y="334"/>
                    </a:cubicBezTo>
                    <a:cubicBezTo>
                      <a:pt x="138" y="336"/>
                      <a:pt x="138" y="336"/>
                      <a:pt x="138" y="336"/>
                    </a:cubicBezTo>
                    <a:cubicBezTo>
                      <a:pt x="136" y="339"/>
                      <a:pt x="136" y="339"/>
                      <a:pt x="136" y="339"/>
                    </a:cubicBezTo>
                    <a:cubicBezTo>
                      <a:pt x="138" y="341"/>
                      <a:pt x="138" y="341"/>
                      <a:pt x="138" y="341"/>
                    </a:cubicBezTo>
                    <a:cubicBezTo>
                      <a:pt x="141" y="341"/>
                      <a:pt x="141" y="341"/>
                      <a:pt x="141" y="341"/>
                    </a:cubicBezTo>
                    <a:cubicBezTo>
                      <a:pt x="143" y="342"/>
                      <a:pt x="143" y="342"/>
                      <a:pt x="143" y="342"/>
                    </a:cubicBezTo>
                    <a:cubicBezTo>
                      <a:pt x="146" y="345"/>
                      <a:pt x="146" y="345"/>
                      <a:pt x="146" y="345"/>
                    </a:cubicBezTo>
                    <a:cubicBezTo>
                      <a:pt x="148" y="345"/>
                      <a:pt x="148" y="345"/>
                      <a:pt x="148" y="345"/>
                    </a:cubicBezTo>
                    <a:cubicBezTo>
                      <a:pt x="149" y="344"/>
                      <a:pt x="149" y="344"/>
                      <a:pt x="149" y="344"/>
                    </a:cubicBezTo>
                    <a:cubicBezTo>
                      <a:pt x="146" y="342"/>
                      <a:pt x="146" y="342"/>
                      <a:pt x="146" y="342"/>
                    </a:cubicBezTo>
                    <a:cubicBezTo>
                      <a:pt x="143" y="340"/>
                      <a:pt x="143" y="340"/>
                      <a:pt x="143" y="340"/>
                    </a:cubicBezTo>
                    <a:cubicBezTo>
                      <a:pt x="142" y="338"/>
                      <a:pt x="142" y="338"/>
                      <a:pt x="142" y="338"/>
                    </a:cubicBezTo>
                    <a:cubicBezTo>
                      <a:pt x="143" y="338"/>
                      <a:pt x="143" y="338"/>
                      <a:pt x="143" y="338"/>
                    </a:cubicBezTo>
                    <a:cubicBezTo>
                      <a:pt x="146" y="339"/>
                      <a:pt x="146" y="339"/>
                      <a:pt x="146" y="339"/>
                    </a:cubicBezTo>
                    <a:cubicBezTo>
                      <a:pt x="148" y="338"/>
                      <a:pt x="148" y="338"/>
                      <a:pt x="148" y="338"/>
                    </a:cubicBezTo>
                    <a:cubicBezTo>
                      <a:pt x="149" y="336"/>
                      <a:pt x="149" y="336"/>
                      <a:pt x="149" y="336"/>
                    </a:cubicBezTo>
                    <a:cubicBezTo>
                      <a:pt x="146" y="336"/>
                      <a:pt x="146" y="336"/>
                      <a:pt x="146" y="336"/>
                    </a:cubicBezTo>
                    <a:cubicBezTo>
                      <a:pt x="144" y="334"/>
                      <a:pt x="144" y="334"/>
                      <a:pt x="144" y="334"/>
                    </a:cubicBezTo>
                    <a:cubicBezTo>
                      <a:pt x="152" y="331"/>
                      <a:pt x="152" y="331"/>
                      <a:pt x="152" y="331"/>
                    </a:cubicBezTo>
                    <a:cubicBezTo>
                      <a:pt x="156" y="330"/>
                      <a:pt x="156" y="330"/>
                      <a:pt x="156" y="330"/>
                    </a:cubicBezTo>
                    <a:cubicBezTo>
                      <a:pt x="171" y="333"/>
                      <a:pt x="171" y="333"/>
                      <a:pt x="171" y="333"/>
                    </a:cubicBezTo>
                    <a:cubicBezTo>
                      <a:pt x="173" y="332"/>
                      <a:pt x="173" y="332"/>
                      <a:pt x="173" y="332"/>
                    </a:cubicBezTo>
                    <a:cubicBezTo>
                      <a:pt x="172" y="330"/>
                      <a:pt x="172" y="330"/>
                      <a:pt x="172" y="330"/>
                    </a:cubicBezTo>
                    <a:cubicBezTo>
                      <a:pt x="177" y="330"/>
                      <a:pt x="177" y="330"/>
                      <a:pt x="177" y="330"/>
                    </a:cubicBezTo>
                    <a:close/>
                    <a:moveTo>
                      <a:pt x="174" y="321"/>
                    </a:moveTo>
                    <a:cubicBezTo>
                      <a:pt x="170" y="320"/>
                      <a:pt x="170" y="320"/>
                      <a:pt x="170" y="320"/>
                    </a:cubicBezTo>
                    <a:cubicBezTo>
                      <a:pt x="161" y="314"/>
                      <a:pt x="161" y="314"/>
                      <a:pt x="161" y="314"/>
                    </a:cubicBezTo>
                    <a:cubicBezTo>
                      <a:pt x="154" y="312"/>
                      <a:pt x="154" y="312"/>
                      <a:pt x="154" y="312"/>
                    </a:cubicBezTo>
                    <a:cubicBezTo>
                      <a:pt x="151" y="312"/>
                      <a:pt x="151" y="312"/>
                      <a:pt x="151" y="312"/>
                    </a:cubicBezTo>
                    <a:cubicBezTo>
                      <a:pt x="147" y="310"/>
                      <a:pt x="147" y="310"/>
                      <a:pt x="147" y="310"/>
                    </a:cubicBezTo>
                    <a:cubicBezTo>
                      <a:pt x="143" y="306"/>
                      <a:pt x="143" y="306"/>
                      <a:pt x="143" y="306"/>
                    </a:cubicBezTo>
                    <a:cubicBezTo>
                      <a:pt x="143" y="305"/>
                      <a:pt x="143" y="305"/>
                      <a:pt x="143" y="305"/>
                    </a:cubicBezTo>
                    <a:cubicBezTo>
                      <a:pt x="143" y="303"/>
                      <a:pt x="143" y="303"/>
                      <a:pt x="143" y="303"/>
                    </a:cubicBezTo>
                    <a:cubicBezTo>
                      <a:pt x="149" y="300"/>
                      <a:pt x="149" y="300"/>
                      <a:pt x="149" y="300"/>
                    </a:cubicBezTo>
                    <a:cubicBezTo>
                      <a:pt x="150" y="298"/>
                      <a:pt x="150" y="298"/>
                      <a:pt x="150" y="298"/>
                    </a:cubicBezTo>
                    <a:cubicBezTo>
                      <a:pt x="153" y="297"/>
                      <a:pt x="153" y="297"/>
                      <a:pt x="153" y="297"/>
                    </a:cubicBezTo>
                    <a:cubicBezTo>
                      <a:pt x="156" y="293"/>
                      <a:pt x="156" y="293"/>
                      <a:pt x="156" y="293"/>
                    </a:cubicBezTo>
                    <a:cubicBezTo>
                      <a:pt x="155" y="290"/>
                      <a:pt x="155" y="290"/>
                      <a:pt x="155" y="290"/>
                    </a:cubicBezTo>
                    <a:cubicBezTo>
                      <a:pt x="151" y="290"/>
                      <a:pt x="151" y="290"/>
                      <a:pt x="151" y="290"/>
                    </a:cubicBezTo>
                    <a:cubicBezTo>
                      <a:pt x="145" y="293"/>
                      <a:pt x="145" y="293"/>
                      <a:pt x="145" y="293"/>
                    </a:cubicBezTo>
                    <a:cubicBezTo>
                      <a:pt x="142" y="296"/>
                      <a:pt x="142" y="296"/>
                      <a:pt x="142" y="296"/>
                    </a:cubicBezTo>
                    <a:cubicBezTo>
                      <a:pt x="140" y="296"/>
                      <a:pt x="140" y="296"/>
                      <a:pt x="140" y="296"/>
                    </a:cubicBezTo>
                    <a:cubicBezTo>
                      <a:pt x="136" y="292"/>
                      <a:pt x="136" y="292"/>
                      <a:pt x="136" y="292"/>
                    </a:cubicBezTo>
                    <a:cubicBezTo>
                      <a:pt x="136" y="287"/>
                      <a:pt x="136" y="287"/>
                      <a:pt x="136" y="287"/>
                    </a:cubicBezTo>
                    <a:cubicBezTo>
                      <a:pt x="134" y="285"/>
                      <a:pt x="134" y="285"/>
                      <a:pt x="134" y="285"/>
                    </a:cubicBezTo>
                    <a:cubicBezTo>
                      <a:pt x="138" y="282"/>
                      <a:pt x="138" y="282"/>
                      <a:pt x="138" y="282"/>
                    </a:cubicBezTo>
                    <a:cubicBezTo>
                      <a:pt x="138" y="279"/>
                      <a:pt x="138" y="279"/>
                      <a:pt x="138" y="279"/>
                    </a:cubicBezTo>
                    <a:cubicBezTo>
                      <a:pt x="135" y="280"/>
                      <a:pt x="135" y="280"/>
                      <a:pt x="135" y="280"/>
                    </a:cubicBezTo>
                    <a:cubicBezTo>
                      <a:pt x="133" y="278"/>
                      <a:pt x="133" y="278"/>
                      <a:pt x="133" y="278"/>
                    </a:cubicBezTo>
                    <a:cubicBezTo>
                      <a:pt x="135" y="275"/>
                      <a:pt x="135" y="275"/>
                      <a:pt x="135" y="275"/>
                    </a:cubicBezTo>
                    <a:cubicBezTo>
                      <a:pt x="138" y="275"/>
                      <a:pt x="138" y="275"/>
                      <a:pt x="138" y="275"/>
                    </a:cubicBezTo>
                    <a:cubicBezTo>
                      <a:pt x="142" y="278"/>
                      <a:pt x="142" y="278"/>
                      <a:pt x="142" y="278"/>
                    </a:cubicBezTo>
                    <a:cubicBezTo>
                      <a:pt x="142" y="276"/>
                      <a:pt x="142" y="276"/>
                      <a:pt x="142" y="276"/>
                    </a:cubicBezTo>
                    <a:cubicBezTo>
                      <a:pt x="146" y="273"/>
                      <a:pt x="146" y="273"/>
                      <a:pt x="146" y="273"/>
                    </a:cubicBezTo>
                    <a:cubicBezTo>
                      <a:pt x="146" y="270"/>
                      <a:pt x="146" y="270"/>
                      <a:pt x="146" y="270"/>
                    </a:cubicBezTo>
                    <a:cubicBezTo>
                      <a:pt x="146" y="267"/>
                      <a:pt x="146" y="267"/>
                      <a:pt x="146" y="267"/>
                    </a:cubicBezTo>
                    <a:cubicBezTo>
                      <a:pt x="147" y="265"/>
                      <a:pt x="147" y="265"/>
                      <a:pt x="147" y="265"/>
                    </a:cubicBezTo>
                    <a:cubicBezTo>
                      <a:pt x="150" y="265"/>
                      <a:pt x="150" y="265"/>
                      <a:pt x="150" y="265"/>
                    </a:cubicBezTo>
                    <a:cubicBezTo>
                      <a:pt x="153" y="268"/>
                      <a:pt x="153" y="268"/>
                      <a:pt x="153" y="268"/>
                    </a:cubicBezTo>
                    <a:cubicBezTo>
                      <a:pt x="154" y="267"/>
                      <a:pt x="154" y="267"/>
                      <a:pt x="154" y="267"/>
                    </a:cubicBezTo>
                    <a:cubicBezTo>
                      <a:pt x="160" y="265"/>
                      <a:pt x="160" y="265"/>
                      <a:pt x="160" y="265"/>
                    </a:cubicBezTo>
                    <a:cubicBezTo>
                      <a:pt x="165" y="286"/>
                      <a:pt x="165" y="286"/>
                      <a:pt x="165" y="286"/>
                    </a:cubicBezTo>
                    <a:cubicBezTo>
                      <a:pt x="165" y="286"/>
                      <a:pt x="165" y="286"/>
                      <a:pt x="165" y="286"/>
                    </a:cubicBezTo>
                    <a:cubicBezTo>
                      <a:pt x="165" y="287"/>
                      <a:pt x="165" y="287"/>
                      <a:pt x="165" y="287"/>
                    </a:cubicBezTo>
                    <a:cubicBezTo>
                      <a:pt x="174" y="321"/>
                      <a:pt x="174" y="321"/>
                      <a:pt x="174" y="321"/>
                    </a:cubicBezTo>
                    <a:close/>
                    <a:moveTo>
                      <a:pt x="198" y="357"/>
                    </a:moveTo>
                    <a:cubicBezTo>
                      <a:pt x="199" y="358"/>
                      <a:pt x="199" y="358"/>
                      <a:pt x="199" y="358"/>
                    </a:cubicBezTo>
                    <a:cubicBezTo>
                      <a:pt x="202" y="356"/>
                      <a:pt x="202" y="356"/>
                      <a:pt x="202" y="356"/>
                    </a:cubicBezTo>
                    <a:cubicBezTo>
                      <a:pt x="200" y="356"/>
                      <a:pt x="200" y="356"/>
                      <a:pt x="200" y="356"/>
                    </a:cubicBezTo>
                    <a:cubicBezTo>
                      <a:pt x="198" y="357"/>
                      <a:pt x="198" y="357"/>
                      <a:pt x="198" y="357"/>
                    </a:cubicBezTo>
                    <a:close/>
                    <a:moveTo>
                      <a:pt x="24" y="20"/>
                    </a:moveTo>
                    <a:cubicBezTo>
                      <a:pt x="20" y="18"/>
                      <a:pt x="20" y="18"/>
                      <a:pt x="20" y="18"/>
                    </a:cubicBezTo>
                    <a:cubicBezTo>
                      <a:pt x="18" y="19"/>
                      <a:pt x="18" y="19"/>
                      <a:pt x="18" y="19"/>
                    </a:cubicBezTo>
                    <a:cubicBezTo>
                      <a:pt x="18" y="21"/>
                      <a:pt x="18" y="21"/>
                      <a:pt x="18" y="21"/>
                    </a:cubicBezTo>
                    <a:cubicBezTo>
                      <a:pt x="22" y="25"/>
                      <a:pt x="22" y="25"/>
                      <a:pt x="22" y="25"/>
                    </a:cubicBezTo>
                    <a:cubicBezTo>
                      <a:pt x="21" y="27"/>
                      <a:pt x="21" y="27"/>
                      <a:pt x="21" y="27"/>
                    </a:cubicBezTo>
                    <a:cubicBezTo>
                      <a:pt x="25" y="30"/>
                      <a:pt x="25" y="30"/>
                      <a:pt x="25" y="30"/>
                    </a:cubicBezTo>
                    <a:cubicBezTo>
                      <a:pt x="24" y="31"/>
                      <a:pt x="24" y="31"/>
                      <a:pt x="24" y="31"/>
                    </a:cubicBezTo>
                    <a:cubicBezTo>
                      <a:pt x="20" y="30"/>
                      <a:pt x="20" y="30"/>
                      <a:pt x="20" y="30"/>
                    </a:cubicBezTo>
                    <a:cubicBezTo>
                      <a:pt x="19" y="32"/>
                      <a:pt x="19" y="32"/>
                      <a:pt x="19" y="32"/>
                    </a:cubicBezTo>
                    <a:cubicBezTo>
                      <a:pt x="19" y="36"/>
                      <a:pt x="19" y="36"/>
                      <a:pt x="19" y="36"/>
                    </a:cubicBezTo>
                    <a:cubicBezTo>
                      <a:pt x="19" y="38"/>
                      <a:pt x="19" y="38"/>
                      <a:pt x="19" y="38"/>
                    </a:cubicBezTo>
                    <a:cubicBezTo>
                      <a:pt x="13" y="39"/>
                      <a:pt x="13" y="39"/>
                      <a:pt x="13" y="39"/>
                    </a:cubicBezTo>
                    <a:cubicBezTo>
                      <a:pt x="8" y="37"/>
                      <a:pt x="8" y="37"/>
                      <a:pt x="8" y="37"/>
                    </a:cubicBezTo>
                    <a:cubicBezTo>
                      <a:pt x="10" y="33"/>
                      <a:pt x="10" y="33"/>
                      <a:pt x="10" y="33"/>
                    </a:cubicBezTo>
                    <a:cubicBezTo>
                      <a:pt x="9" y="21"/>
                      <a:pt x="9" y="21"/>
                      <a:pt x="9" y="21"/>
                    </a:cubicBezTo>
                    <a:cubicBezTo>
                      <a:pt x="8" y="17"/>
                      <a:pt x="8" y="17"/>
                      <a:pt x="8" y="17"/>
                    </a:cubicBezTo>
                    <a:cubicBezTo>
                      <a:pt x="7" y="16"/>
                      <a:pt x="7" y="16"/>
                      <a:pt x="7" y="16"/>
                    </a:cubicBezTo>
                    <a:cubicBezTo>
                      <a:pt x="6" y="13"/>
                      <a:pt x="6" y="13"/>
                      <a:pt x="6" y="13"/>
                    </a:cubicBezTo>
                    <a:cubicBezTo>
                      <a:pt x="6" y="11"/>
                      <a:pt x="6" y="11"/>
                      <a:pt x="6" y="11"/>
                    </a:cubicBezTo>
                    <a:cubicBezTo>
                      <a:pt x="9" y="9"/>
                      <a:pt x="9" y="9"/>
                      <a:pt x="9" y="9"/>
                    </a:cubicBezTo>
                    <a:cubicBezTo>
                      <a:pt x="9" y="6"/>
                      <a:pt x="9" y="6"/>
                      <a:pt x="9" y="6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2"/>
                      <a:pt x="8" y="2"/>
                      <a:pt x="8" y="2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18" y="1"/>
                      <a:pt x="18" y="1"/>
                      <a:pt x="18" y="1"/>
                    </a:cubicBezTo>
                    <a:cubicBezTo>
                      <a:pt x="21" y="6"/>
                      <a:pt x="21" y="6"/>
                      <a:pt x="21" y="6"/>
                    </a:cubicBezTo>
                    <a:cubicBezTo>
                      <a:pt x="21" y="11"/>
                      <a:pt x="21" y="11"/>
                      <a:pt x="21" y="11"/>
                    </a:cubicBezTo>
                    <a:cubicBezTo>
                      <a:pt x="22" y="12"/>
                      <a:pt x="22" y="12"/>
                      <a:pt x="22" y="12"/>
                    </a:cubicBezTo>
                    <a:cubicBezTo>
                      <a:pt x="22" y="16"/>
                      <a:pt x="22" y="16"/>
                      <a:pt x="22" y="16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22" y="18"/>
                      <a:pt x="22" y="18"/>
                      <a:pt x="22" y="18"/>
                    </a:cubicBezTo>
                    <a:cubicBezTo>
                      <a:pt x="24" y="20"/>
                      <a:pt x="24" y="20"/>
                      <a:pt x="24" y="20"/>
                    </a:cubicBezTo>
                    <a:cubicBezTo>
                      <a:pt x="24" y="20"/>
                      <a:pt x="24" y="20"/>
                      <a:pt x="24" y="20"/>
                    </a:cubicBezTo>
                    <a:close/>
                    <a:moveTo>
                      <a:pt x="26" y="11"/>
                    </a:moveTo>
                    <a:cubicBezTo>
                      <a:pt x="29" y="10"/>
                      <a:pt x="29" y="10"/>
                      <a:pt x="29" y="10"/>
                    </a:cubicBezTo>
                    <a:cubicBezTo>
                      <a:pt x="31" y="12"/>
                      <a:pt x="31" y="12"/>
                      <a:pt x="31" y="12"/>
                    </a:cubicBezTo>
                    <a:cubicBezTo>
                      <a:pt x="29" y="14"/>
                      <a:pt x="29" y="14"/>
                      <a:pt x="29" y="14"/>
                    </a:cubicBezTo>
                    <a:cubicBezTo>
                      <a:pt x="26" y="11"/>
                      <a:pt x="26" y="11"/>
                      <a:pt x="26" y="11"/>
                    </a:cubicBezTo>
                    <a:close/>
                    <a:moveTo>
                      <a:pt x="4" y="46"/>
                    </a:moveTo>
                    <a:cubicBezTo>
                      <a:pt x="5" y="45"/>
                      <a:pt x="5" y="45"/>
                      <a:pt x="5" y="45"/>
                    </a:cubicBezTo>
                    <a:cubicBezTo>
                      <a:pt x="8" y="45"/>
                      <a:pt x="8" y="45"/>
                      <a:pt x="8" y="45"/>
                    </a:cubicBezTo>
                    <a:cubicBezTo>
                      <a:pt x="10" y="46"/>
                      <a:pt x="10" y="46"/>
                      <a:pt x="10" y="46"/>
                    </a:cubicBezTo>
                    <a:cubicBezTo>
                      <a:pt x="6" y="48"/>
                      <a:pt x="6" y="48"/>
                      <a:pt x="6" y="48"/>
                    </a:cubicBezTo>
                    <a:cubicBezTo>
                      <a:pt x="4" y="46"/>
                      <a:pt x="4" y="46"/>
                      <a:pt x="4" y="46"/>
                    </a:cubicBezTo>
                    <a:close/>
                    <a:moveTo>
                      <a:pt x="30" y="50"/>
                    </a:moveTo>
                    <a:cubicBezTo>
                      <a:pt x="34" y="48"/>
                      <a:pt x="34" y="48"/>
                      <a:pt x="34" y="48"/>
                    </a:cubicBezTo>
                    <a:cubicBezTo>
                      <a:pt x="34" y="51"/>
                      <a:pt x="34" y="51"/>
                      <a:pt x="34" y="51"/>
                    </a:cubicBezTo>
                    <a:cubicBezTo>
                      <a:pt x="32" y="53"/>
                      <a:pt x="32" y="53"/>
                      <a:pt x="32" y="53"/>
                    </a:cubicBezTo>
                    <a:cubicBezTo>
                      <a:pt x="30" y="50"/>
                      <a:pt x="30" y="50"/>
                      <a:pt x="30" y="50"/>
                    </a:cubicBezTo>
                    <a:close/>
                    <a:moveTo>
                      <a:pt x="24" y="50"/>
                    </a:moveTo>
                    <a:cubicBezTo>
                      <a:pt x="27" y="51"/>
                      <a:pt x="27" y="51"/>
                      <a:pt x="27" y="51"/>
                    </a:cubicBezTo>
                    <a:cubicBezTo>
                      <a:pt x="28" y="54"/>
                      <a:pt x="28" y="54"/>
                      <a:pt x="28" y="54"/>
                    </a:cubicBezTo>
                    <a:cubicBezTo>
                      <a:pt x="25" y="56"/>
                      <a:pt x="25" y="56"/>
                      <a:pt x="25" y="56"/>
                    </a:cubicBezTo>
                    <a:cubicBezTo>
                      <a:pt x="25" y="53"/>
                      <a:pt x="25" y="53"/>
                      <a:pt x="25" y="53"/>
                    </a:cubicBezTo>
                    <a:cubicBezTo>
                      <a:pt x="22" y="51"/>
                      <a:pt x="22" y="51"/>
                      <a:pt x="22" y="51"/>
                    </a:cubicBezTo>
                    <a:cubicBezTo>
                      <a:pt x="24" y="50"/>
                      <a:pt x="24" y="50"/>
                      <a:pt x="24" y="50"/>
                    </a:cubicBezTo>
                    <a:close/>
                    <a:moveTo>
                      <a:pt x="16" y="49"/>
                    </a:moveTo>
                    <a:cubicBezTo>
                      <a:pt x="17" y="47"/>
                      <a:pt x="17" y="47"/>
                      <a:pt x="17" y="47"/>
                    </a:cubicBezTo>
                    <a:cubicBezTo>
                      <a:pt x="22" y="49"/>
                      <a:pt x="22" y="49"/>
                      <a:pt x="22" y="49"/>
                    </a:cubicBezTo>
                    <a:cubicBezTo>
                      <a:pt x="18" y="51"/>
                      <a:pt x="18" y="51"/>
                      <a:pt x="18" y="51"/>
                    </a:cubicBezTo>
                    <a:cubicBezTo>
                      <a:pt x="16" y="49"/>
                      <a:pt x="16" y="49"/>
                      <a:pt x="16" y="49"/>
                    </a:cubicBezTo>
                    <a:close/>
                    <a:moveTo>
                      <a:pt x="17" y="56"/>
                    </a:moveTo>
                    <a:cubicBezTo>
                      <a:pt x="18" y="55"/>
                      <a:pt x="18" y="55"/>
                      <a:pt x="18" y="55"/>
                    </a:cubicBezTo>
                    <a:cubicBezTo>
                      <a:pt x="20" y="56"/>
                      <a:pt x="20" y="56"/>
                      <a:pt x="20" y="56"/>
                    </a:cubicBezTo>
                    <a:cubicBezTo>
                      <a:pt x="19" y="58"/>
                      <a:pt x="19" y="58"/>
                      <a:pt x="19" y="58"/>
                    </a:cubicBezTo>
                    <a:cubicBezTo>
                      <a:pt x="17" y="56"/>
                      <a:pt x="17" y="56"/>
                      <a:pt x="17" y="56"/>
                    </a:cubicBezTo>
                    <a:close/>
                    <a:moveTo>
                      <a:pt x="12" y="60"/>
                    </a:moveTo>
                    <a:cubicBezTo>
                      <a:pt x="13" y="58"/>
                      <a:pt x="13" y="58"/>
                      <a:pt x="13" y="58"/>
                    </a:cubicBezTo>
                    <a:cubicBezTo>
                      <a:pt x="16" y="58"/>
                      <a:pt x="16" y="58"/>
                      <a:pt x="16" y="58"/>
                    </a:cubicBezTo>
                    <a:cubicBezTo>
                      <a:pt x="18" y="60"/>
                      <a:pt x="18" y="60"/>
                      <a:pt x="18" y="60"/>
                    </a:cubicBezTo>
                    <a:cubicBezTo>
                      <a:pt x="18" y="61"/>
                      <a:pt x="18" y="61"/>
                      <a:pt x="18" y="61"/>
                    </a:cubicBezTo>
                    <a:cubicBezTo>
                      <a:pt x="15" y="63"/>
                      <a:pt x="15" y="63"/>
                      <a:pt x="15" y="63"/>
                    </a:cubicBezTo>
                    <a:cubicBezTo>
                      <a:pt x="13" y="62"/>
                      <a:pt x="13" y="62"/>
                      <a:pt x="13" y="62"/>
                    </a:cubicBezTo>
                    <a:cubicBezTo>
                      <a:pt x="12" y="60"/>
                      <a:pt x="12" y="60"/>
                      <a:pt x="12" y="60"/>
                    </a:cubicBezTo>
                    <a:close/>
                    <a:moveTo>
                      <a:pt x="9" y="67"/>
                    </a:moveTo>
                    <a:cubicBezTo>
                      <a:pt x="11" y="68"/>
                      <a:pt x="11" y="68"/>
                      <a:pt x="11" y="68"/>
                    </a:cubicBezTo>
                    <a:cubicBezTo>
                      <a:pt x="9" y="70"/>
                      <a:pt x="9" y="70"/>
                      <a:pt x="9" y="70"/>
                    </a:cubicBezTo>
                    <a:cubicBezTo>
                      <a:pt x="7" y="69"/>
                      <a:pt x="7" y="69"/>
                      <a:pt x="7" y="69"/>
                    </a:cubicBezTo>
                    <a:cubicBezTo>
                      <a:pt x="9" y="67"/>
                      <a:pt x="9" y="67"/>
                      <a:pt x="9" y="67"/>
                    </a:cubicBezTo>
                    <a:close/>
                    <a:moveTo>
                      <a:pt x="27" y="65"/>
                    </a:moveTo>
                    <a:cubicBezTo>
                      <a:pt x="28" y="70"/>
                      <a:pt x="28" y="70"/>
                      <a:pt x="28" y="70"/>
                    </a:cubicBezTo>
                    <a:cubicBezTo>
                      <a:pt x="26" y="69"/>
                      <a:pt x="26" y="69"/>
                      <a:pt x="26" y="69"/>
                    </a:cubicBezTo>
                    <a:cubicBezTo>
                      <a:pt x="27" y="65"/>
                      <a:pt x="27" y="65"/>
                      <a:pt x="27" y="65"/>
                    </a:cubicBezTo>
                    <a:close/>
                    <a:moveTo>
                      <a:pt x="21" y="64"/>
                    </a:moveTo>
                    <a:cubicBezTo>
                      <a:pt x="24" y="63"/>
                      <a:pt x="24" y="63"/>
                      <a:pt x="24" y="63"/>
                    </a:cubicBezTo>
                    <a:cubicBezTo>
                      <a:pt x="24" y="68"/>
                      <a:pt x="24" y="68"/>
                      <a:pt x="24" y="68"/>
                    </a:cubicBezTo>
                    <a:cubicBezTo>
                      <a:pt x="21" y="64"/>
                      <a:pt x="21" y="64"/>
                      <a:pt x="21" y="64"/>
                    </a:cubicBezTo>
                    <a:close/>
                    <a:moveTo>
                      <a:pt x="13" y="93"/>
                    </a:moveTo>
                    <a:cubicBezTo>
                      <a:pt x="14" y="93"/>
                      <a:pt x="14" y="93"/>
                      <a:pt x="14" y="93"/>
                    </a:cubicBezTo>
                    <a:cubicBezTo>
                      <a:pt x="15" y="96"/>
                      <a:pt x="15" y="96"/>
                      <a:pt x="15" y="96"/>
                    </a:cubicBezTo>
                    <a:cubicBezTo>
                      <a:pt x="13" y="96"/>
                      <a:pt x="13" y="96"/>
                      <a:pt x="13" y="96"/>
                    </a:cubicBezTo>
                    <a:cubicBezTo>
                      <a:pt x="13" y="93"/>
                      <a:pt x="13" y="93"/>
                      <a:pt x="13" y="93"/>
                    </a:cubicBezTo>
                    <a:close/>
                    <a:moveTo>
                      <a:pt x="13" y="69"/>
                    </a:moveTo>
                    <a:cubicBezTo>
                      <a:pt x="13" y="66"/>
                      <a:pt x="13" y="66"/>
                      <a:pt x="13" y="66"/>
                    </a:cubicBezTo>
                    <a:cubicBezTo>
                      <a:pt x="12" y="64"/>
                      <a:pt x="12" y="64"/>
                      <a:pt x="12" y="64"/>
                    </a:cubicBezTo>
                    <a:cubicBezTo>
                      <a:pt x="16" y="64"/>
                      <a:pt x="16" y="64"/>
                      <a:pt x="16" y="64"/>
                    </a:cubicBezTo>
                    <a:cubicBezTo>
                      <a:pt x="18" y="67"/>
                      <a:pt x="18" y="67"/>
                      <a:pt x="18" y="67"/>
                    </a:cubicBezTo>
                    <a:cubicBezTo>
                      <a:pt x="15" y="68"/>
                      <a:pt x="15" y="68"/>
                      <a:pt x="15" y="68"/>
                    </a:cubicBezTo>
                    <a:cubicBezTo>
                      <a:pt x="13" y="69"/>
                      <a:pt x="13" y="69"/>
                      <a:pt x="13" y="69"/>
                    </a:cubicBezTo>
                    <a:close/>
                    <a:moveTo>
                      <a:pt x="5" y="75"/>
                    </a:moveTo>
                    <a:cubicBezTo>
                      <a:pt x="0" y="73"/>
                      <a:pt x="0" y="73"/>
                      <a:pt x="0" y="73"/>
                    </a:cubicBezTo>
                    <a:cubicBezTo>
                      <a:pt x="1" y="71"/>
                      <a:pt x="1" y="71"/>
                      <a:pt x="1" y="71"/>
                    </a:cubicBezTo>
                    <a:cubicBezTo>
                      <a:pt x="4" y="71"/>
                      <a:pt x="4" y="71"/>
                      <a:pt x="4" y="71"/>
                    </a:cubicBezTo>
                    <a:cubicBezTo>
                      <a:pt x="6" y="73"/>
                      <a:pt x="6" y="73"/>
                      <a:pt x="6" y="73"/>
                    </a:cubicBezTo>
                    <a:cubicBezTo>
                      <a:pt x="5" y="75"/>
                      <a:pt x="5" y="75"/>
                      <a:pt x="5" y="75"/>
                    </a:cubicBezTo>
                    <a:close/>
                    <a:moveTo>
                      <a:pt x="19" y="87"/>
                    </a:moveTo>
                    <a:cubicBezTo>
                      <a:pt x="22" y="87"/>
                      <a:pt x="22" y="87"/>
                      <a:pt x="22" y="87"/>
                    </a:cubicBezTo>
                    <a:cubicBezTo>
                      <a:pt x="22" y="90"/>
                      <a:pt x="22" y="90"/>
                      <a:pt x="22" y="90"/>
                    </a:cubicBezTo>
                    <a:cubicBezTo>
                      <a:pt x="19" y="87"/>
                      <a:pt x="19" y="87"/>
                      <a:pt x="19" y="87"/>
                    </a:cubicBezTo>
                    <a:close/>
                    <a:moveTo>
                      <a:pt x="24" y="92"/>
                    </a:moveTo>
                    <a:cubicBezTo>
                      <a:pt x="28" y="92"/>
                      <a:pt x="28" y="92"/>
                      <a:pt x="28" y="92"/>
                    </a:cubicBezTo>
                    <a:cubicBezTo>
                      <a:pt x="26" y="94"/>
                      <a:pt x="26" y="94"/>
                      <a:pt x="26" y="94"/>
                    </a:cubicBezTo>
                    <a:cubicBezTo>
                      <a:pt x="24" y="92"/>
                      <a:pt x="24" y="92"/>
                      <a:pt x="24" y="92"/>
                    </a:cubicBezTo>
                    <a:close/>
                    <a:moveTo>
                      <a:pt x="31" y="59"/>
                    </a:moveTo>
                    <a:cubicBezTo>
                      <a:pt x="32" y="58"/>
                      <a:pt x="32" y="58"/>
                      <a:pt x="32" y="58"/>
                    </a:cubicBezTo>
                    <a:cubicBezTo>
                      <a:pt x="36" y="61"/>
                      <a:pt x="36" y="61"/>
                      <a:pt x="36" y="61"/>
                    </a:cubicBezTo>
                    <a:cubicBezTo>
                      <a:pt x="32" y="61"/>
                      <a:pt x="32" y="61"/>
                      <a:pt x="32" y="61"/>
                    </a:cubicBezTo>
                    <a:cubicBezTo>
                      <a:pt x="31" y="59"/>
                      <a:pt x="31" y="59"/>
                      <a:pt x="31" y="59"/>
                    </a:cubicBezTo>
                    <a:close/>
                    <a:moveTo>
                      <a:pt x="37" y="62"/>
                    </a:moveTo>
                    <a:cubicBezTo>
                      <a:pt x="41" y="63"/>
                      <a:pt x="41" y="63"/>
                      <a:pt x="41" y="63"/>
                    </a:cubicBezTo>
                    <a:cubicBezTo>
                      <a:pt x="41" y="66"/>
                      <a:pt x="41" y="66"/>
                      <a:pt x="41" y="66"/>
                    </a:cubicBezTo>
                    <a:cubicBezTo>
                      <a:pt x="44" y="69"/>
                      <a:pt x="44" y="69"/>
                      <a:pt x="44" y="69"/>
                    </a:cubicBezTo>
                    <a:cubicBezTo>
                      <a:pt x="42" y="72"/>
                      <a:pt x="42" y="72"/>
                      <a:pt x="42" y="72"/>
                    </a:cubicBezTo>
                    <a:cubicBezTo>
                      <a:pt x="41" y="74"/>
                      <a:pt x="41" y="74"/>
                      <a:pt x="41" y="74"/>
                    </a:cubicBezTo>
                    <a:cubicBezTo>
                      <a:pt x="39" y="75"/>
                      <a:pt x="39" y="75"/>
                      <a:pt x="39" y="75"/>
                    </a:cubicBezTo>
                    <a:cubicBezTo>
                      <a:pt x="37" y="74"/>
                      <a:pt x="37" y="74"/>
                      <a:pt x="37" y="74"/>
                    </a:cubicBezTo>
                    <a:cubicBezTo>
                      <a:pt x="35" y="73"/>
                      <a:pt x="35" y="73"/>
                      <a:pt x="35" y="73"/>
                    </a:cubicBezTo>
                    <a:cubicBezTo>
                      <a:pt x="32" y="76"/>
                      <a:pt x="32" y="76"/>
                      <a:pt x="32" y="76"/>
                    </a:cubicBezTo>
                    <a:cubicBezTo>
                      <a:pt x="32" y="72"/>
                      <a:pt x="32" y="72"/>
                      <a:pt x="32" y="72"/>
                    </a:cubicBezTo>
                    <a:cubicBezTo>
                      <a:pt x="31" y="69"/>
                      <a:pt x="31" y="69"/>
                      <a:pt x="31" y="69"/>
                    </a:cubicBezTo>
                    <a:cubicBezTo>
                      <a:pt x="33" y="64"/>
                      <a:pt x="33" y="64"/>
                      <a:pt x="33" y="64"/>
                    </a:cubicBezTo>
                    <a:cubicBezTo>
                      <a:pt x="37" y="62"/>
                      <a:pt x="37" y="62"/>
                      <a:pt x="37" y="62"/>
                    </a:cubicBezTo>
                    <a:close/>
                    <a:moveTo>
                      <a:pt x="15" y="73"/>
                    </a:moveTo>
                    <a:cubicBezTo>
                      <a:pt x="16" y="70"/>
                      <a:pt x="16" y="70"/>
                      <a:pt x="16" y="70"/>
                    </a:cubicBezTo>
                    <a:cubicBezTo>
                      <a:pt x="24" y="70"/>
                      <a:pt x="24" y="70"/>
                      <a:pt x="24" y="70"/>
                    </a:cubicBezTo>
                    <a:cubicBezTo>
                      <a:pt x="23" y="72"/>
                      <a:pt x="23" y="72"/>
                      <a:pt x="23" y="72"/>
                    </a:cubicBezTo>
                    <a:cubicBezTo>
                      <a:pt x="18" y="73"/>
                      <a:pt x="18" y="73"/>
                      <a:pt x="18" y="73"/>
                    </a:cubicBezTo>
                    <a:cubicBezTo>
                      <a:pt x="17" y="75"/>
                      <a:pt x="17" y="75"/>
                      <a:pt x="17" y="75"/>
                    </a:cubicBezTo>
                    <a:cubicBezTo>
                      <a:pt x="15" y="73"/>
                      <a:pt x="15" y="73"/>
                      <a:pt x="15" y="73"/>
                    </a:cubicBezTo>
                    <a:close/>
                    <a:moveTo>
                      <a:pt x="20" y="80"/>
                    </a:moveTo>
                    <a:cubicBezTo>
                      <a:pt x="18" y="79"/>
                      <a:pt x="18" y="79"/>
                      <a:pt x="18" y="79"/>
                    </a:cubicBezTo>
                    <a:cubicBezTo>
                      <a:pt x="22" y="77"/>
                      <a:pt x="22" y="77"/>
                      <a:pt x="22" y="77"/>
                    </a:cubicBezTo>
                    <a:cubicBezTo>
                      <a:pt x="25" y="77"/>
                      <a:pt x="25" y="77"/>
                      <a:pt x="25" y="77"/>
                    </a:cubicBezTo>
                    <a:cubicBezTo>
                      <a:pt x="25" y="80"/>
                      <a:pt x="25" y="80"/>
                      <a:pt x="25" y="80"/>
                    </a:cubicBezTo>
                    <a:cubicBezTo>
                      <a:pt x="20" y="80"/>
                      <a:pt x="20" y="80"/>
                      <a:pt x="20" y="80"/>
                    </a:cubicBezTo>
                    <a:close/>
                    <a:moveTo>
                      <a:pt x="21" y="83"/>
                    </a:moveTo>
                    <a:cubicBezTo>
                      <a:pt x="25" y="81"/>
                      <a:pt x="25" y="81"/>
                      <a:pt x="25" y="81"/>
                    </a:cubicBezTo>
                    <a:cubicBezTo>
                      <a:pt x="29" y="81"/>
                      <a:pt x="29" y="81"/>
                      <a:pt x="29" y="81"/>
                    </a:cubicBezTo>
                    <a:cubicBezTo>
                      <a:pt x="29" y="87"/>
                      <a:pt x="29" y="87"/>
                      <a:pt x="29" y="87"/>
                    </a:cubicBezTo>
                    <a:cubicBezTo>
                      <a:pt x="27" y="90"/>
                      <a:pt x="27" y="90"/>
                      <a:pt x="27" y="90"/>
                    </a:cubicBezTo>
                    <a:cubicBezTo>
                      <a:pt x="25" y="88"/>
                      <a:pt x="25" y="88"/>
                      <a:pt x="25" y="88"/>
                    </a:cubicBezTo>
                    <a:cubicBezTo>
                      <a:pt x="23" y="84"/>
                      <a:pt x="23" y="84"/>
                      <a:pt x="23" y="84"/>
                    </a:cubicBezTo>
                    <a:cubicBezTo>
                      <a:pt x="21" y="83"/>
                      <a:pt x="21" y="83"/>
                      <a:pt x="21" y="83"/>
                    </a:cubicBezTo>
                    <a:close/>
                    <a:moveTo>
                      <a:pt x="16" y="93"/>
                    </a:moveTo>
                    <a:cubicBezTo>
                      <a:pt x="18" y="91"/>
                      <a:pt x="18" y="91"/>
                      <a:pt x="18" y="91"/>
                    </a:cubicBezTo>
                    <a:cubicBezTo>
                      <a:pt x="19" y="92"/>
                      <a:pt x="19" y="92"/>
                      <a:pt x="19" y="92"/>
                    </a:cubicBezTo>
                    <a:cubicBezTo>
                      <a:pt x="22" y="93"/>
                      <a:pt x="22" y="93"/>
                      <a:pt x="22" y="93"/>
                    </a:cubicBezTo>
                    <a:cubicBezTo>
                      <a:pt x="23" y="96"/>
                      <a:pt x="23" y="96"/>
                      <a:pt x="23" y="96"/>
                    </a:cubicBezTo>
                    <a:cubicBezTo>
                      <a:pt x="20" y="97"/>
                      <a:pt x="20" y="97"/>
                      <a:pt x="20" y="97"/>
                    </a:cubicBezTo>
                    <a:cubicBezTo>
                      <a:pt x="16" y="93"/>
                      <a:pt x="16" y="93"/>
                      <a:pt x="16" y="93"/>
                    </a:cubicBezTo>
                    <a:close/>
                    <a:moveTo>
                      <a:pt x="26" y="165"/>
                    </a:moveTo>
                    <a:cubicBezTo>
                      <a:pt x="28" y="163"/>
                      <a:pt x="28" y="163"/>
                      <a:pt x="28" y="163"/>
                    </a:cubicBezTo>
                    <a:cubicBezTo>
                      <a:pt x="27" y="161"/>
                      <a:pt x="27" y="161"/>
                      <a:pt x="27" y="161"/>
                    </a:cubicBezTo>
                    <a:cubicBezTo>
                      <a:pt x="26" y="163"/>
                      <a:pt x="26" y="163"/>
                      <a:pt x="26" y="163"/>
                    </a:cubicBezTo>
                    <a:cubicBezTo>
                      <a:pt x="21" y="156"/>
                      <a:pt x="21" y="156"/>
                      <a:pt x="21" y="156"/>
                    </a:cubicBezTo>
                    <a:cubicBezTo>
                      <a:pt x="18" y="153"/>
                      <a:pt x="18" y="153"/>
                      <a:pt x="18" y="153"/>
                    </a:cubicBezTo>
                    <a:cubicBezTo>
                      <a:pt x="19" y="151"/>
                      <a:pt x="19" y="151"/>
                      <a:pt x="19" y="151"/>
                    </a:cubicBezTo>
                    <a:cubicBezTo>
                      <a:pt x="23" y="150"/>
                      <a:pt x="23" y="150"/>
                      <a:pt x="23" y="150"/>
                    </a:cubicBezTo>
                    <a:cubicBezTo>
                      <a:pt x="26" y="149"/>
                      <a:pt x="26" y="149"/>
                      <a:pt x="26" y="149"/>
                    </a:cubicBezTo>
                    <a:cubicBezTo>
                      <a:pt x="26" y="154"/>
                      <a:pt x="26" y="154"/>
                      <a:pt x="26" y="154"/>
                    </a:cubicBezTo>
                    <a:cubicBezTo>
                      <a:pt x="30" y="156"/>
                      <a:pt x="30" y="156"/>
                      <a:pt x="30" y="156"/>
                    </a:cubicBezTo>
                    <a:cubicBezTo>
                      <a:pt x="30" y="160"/>
                      <a:pt x="30" y="160"/>
                      <a:pt x="30" y="160"/>
                    </a:cubicBezTo>
                    <a:cubicBezTo>
                      <a:pt x="33" y="163"/>
                      <a:pt x="33" y="163"/>
                      <a:pt x="33" y="163"/>
                    </a:cubicBezTo>
                    <a:cubicBezTo>
                      <a:pt x="35" y="169"/>
                      <a:pt x="35" y="169"/>
                      <a:pt x="35" y="169"/>
                    </a:cubicBezTo>
                    <a:cubicBezTo>
                      <a:pt x="31" y="168"/>
                      <a:pt x="31" y="168"/>
                      <a:pt x="31" y="168"/>
                    </a:cubicBezTo>
                    <a:cubicBezTo>
                      <a:pt x="27" y="169"/>
                      <a:pt x="27" y="169"/>
                      <a:pt x="27" y="169"/>
                    </a:cubicBezTo>
                    <a:cubicBezTo>
                      <a:pt x="26" y="165"/>
                      <a:pt x="26" y="165"/>
                      <a:pt x="26" y="165"/>
                    </a:cubicBezTo>
                    <a:close/>
                    <a:moveTo>
                      <a:pt x="12" y="158"/>
                    </a:moveTo>
                    <a:cubicBezTo>
                      <a:pt x="12" y="155"/>
                      <a:pt x="12" y="155"/>
                      <a:pt x="12" y="155"/>
                    </a:cubicBezTo>
                    <a:cubicBezTo>
                      <a:pt x="13" y="154"/>
                      <a:pt x="13" y="154"/>
                      <a:pt x="13" y="154"/>
                    </a:cubicBezTo>
                    <a:cubicBezTo>
                      <a:pt x="16" y="155"/>
                      <a:pt x="16" y="155"/>
                      <a:pt x="16" y="155"/>
                    </a:cubicBezTo>
                    <a:cubicBezTo>
                      <a:pt x="21" y="162"/>
                      <a:pt x="21" y="162"/>
                      <a:pt x="21" y="162"/>
                    </a:cubicBezTo>
                    <a:cubicBezTo>
                      <a:pt x="25" y="167"/>
                      <a:pt x="25" y="167"/>
                      <a:pt x="25" y="167"/>
                    </a:cubicBezTo>
                    <a:cubicBezTo>
                      <a:pt x="25" y="171"/>
                      <a:pt x="25" y="171"/>
                      <a:pt x="25" y="171"/>
                    </a:cubicBezTo>
                    <a:cubicBezTo>
                      <a:pt x="23" y="173"/>
                      <a:pt x="23" y="173"/>
                      <a:pt x="23" y="173"/>
                    </a:cubicBezTo>
                    <a:cubicBezTo>
                      <a:pt x="20" y="171"/>
                      <a:pt x="20" y="171"/>
                      <a:pt x="20" y="171"/>
                    </a:cubicBezTo>
                    <a:cubicBezTo>
                      <a:pt x="19" y="166"/>
                      <a:pt x="19" y="166"/>
                      <a:pt x="19" y="166"/>
                    </a:cubicBezTo>
                    <a:cubicBezTo>
                      <a:pt x="19" y="165"/>
                      <a:pt x="19" y="165"/>
                      <a:pt x="19" y="165"/>
                    </a:cubicBezTo>
                    <a:cubicBezTo>
                      <a:pt x="17" y="163"/>
                      <a:pt x="17" y="163"/>
                      <a:pt x="17" y="163"/>
                    </a:cubicBezTo>
                    <a:cubicBezTo>
                      <a:pt x="13" y="162"/>
                      <a:pt x="13" y="162"/>
                      <a:pt x="13" y="162"/>
                    </a:cubicBezTo>
                    <a:cubicBezTo>
                      <a:pt x="12" y="158"/>
                      <a:pt x="12" y="158"/>
                      <a:pt x="12" y="158"/>
                    </a:cubicBezTo>
                    <a:close/>
                    <a:moveTo>
                      <a:pt x="13" y="164"/>
                    </a:moveTo>
                    <a:cubicBezTo>
                      <a:pt x="14" y="164"/>
                      <a:pt x="14" y="164"/>
                      <a:pt x="14" y="164"/>
                    </a:cubicBezTo>
                    <a:cubicBezTo>
                      <a:pt x="17" y="165"/>
                      <a:pt x="17" y="165"/>
                      <a:pt x="17" y="165"/>
                    </a:cubicBezTo>
                    <a:cubicBezTo>
                      <a:pt x="18" y="169"/>
                      <a:pt x="18" y="169"/>
                      <a:pt x="18" y="169"/>
                    </a:cubicBezTo>
                    <a:cubicBezTo>
                      <a:pt x="17" y="172"/>
                      <a:pt x="17" y="172"/>
                      <a:pt x="17" y="172"/>
                    </a:cubicBezTo>
                    <a:cubicBezTo>
                      <a:pt x="15" y="172"/>
                      <a:pt x="15" y="172"/>
                      <a:pt x="15" y="172"/>
                    </a:cubicBezTo>
                    <a:cubicBezTo>
                      <a:pt x="15" y="170"/>
                      <a:pt x="15" y="170"/>
                      <a:pt x="15" y="170"/>
                    </a:cubicBezTo>
                    <a:cubicBezTo>
                      <a:pt x="13" y="169"/>
                      <a:pt x="13" y="169"/>
                      <a:pt x="13" y="169"/>
                    </a:cubicBezTo>
                    <a:cubicBezTo>
                      <a:pt x="13" y="164"/>
                      <a:pt x="13" y="164"/>
                      <a:pt x="13" y="164"/>
                    </a:cubicBezTo>
                    <a:close/>
                    <a:moveTo>
                      <a:pt x="20" y="186"/>
                    </a:moveTo>
                    <a:cubicBezTo>
                      <a:pt x="18" y="185"/>
                      <a:pt x="18" y="185"/>
                      <a:pt x="18" y="185"/>
                    </a:cubicBezTo>
                    <a:cubicBezTo>
                      <a:pt x="19" y="182"/>
                      <a:pt x="19" y="182"/>
                      <a:pt x="19" y="182"/>
                    </a:cubicBezTo>
                    <a:cubicBezTo>
                      <a:pt x="17" y="176"/>
                      <a:pt x="17" y="176"/>
                      <a:pt x="17" y="176"/>
                    </a:cubicBezTo>
                    <a:cubicBezTo>
                      <a:pt x="19" y="174"/>
                      <a:pt x="19" y="174"/>
                      <a:pt x="19" y="174"/>
                    </a:cubicBezTo>
                    <a:cubicBezTo>
                      <a:pt x="19" y="175"/>
                      <a:pt x="19" y="175"/>
                      <a:pt x="19" y="175"/>
                    </a:cubicBezTo>
                    <a:cubicBezTo>
                      <a:pt x="24" y="177"/>
                      <a:pt x="24" y="177"/>
                      <a:pt x="24" y="177"/>
                    </a:cubicBezTo>
                    <a:cubicBezTo>
                      <a:pt x="25" y="180"/>
                      <a:pt x="25" y="180"/>
                      <a:pt x="25" y="180"/>
                    </a:cubicBezTo>
                    <a:cubicBezTo>
                      <a:pt x="23" y="181"/>
                      <a:pt x="23" y="181"/>
                      <a:pt x="23" y="181"/>
                    </a:cubicBezTo>
                    <a:cubicBezTo>
                      <a:pt x="20" y="186"/>
                      <a:pt x="20" y="186"/>
                      <a:pt x="20" y="186"/>
                    </a:cubicBezTo>
                    <a:close/>
                    <a:moveTo>
                      <a:pt x="25" y="200"/>
                    </a:moveTo>
                    <a:cubicBezTo>
                      <a:pt x="22" y="201"/>
                      <a:pt x="22" y="201"/>
                      <a:pt x="22" y="201"/>
                    </a:cubicBezTo>
                    <a:cubicBezTo>
                      <a:pt x="20" y="199"/>
                      <a:pt x="20" y="199"/>
                      <a:pt x="20" y="199"/>
                    </a:cubicBezTo>
                    <a:cubicBezTo>
                      <a:pt x="21" y="197"/>
                      <a:pt x="21" y="197"/>
                      <a:pt x="21" y="197"/>
                    </a:cubicBezTo>
                    <a:cubicBezTo>
                      <a:pt x="19" y="195"/>
                      <a:pt x="19" y="195"/>
                      <a:pt x="19" y="195"/>
                    </a:cubicBezTo>
                    <a:cubicBezTo>
                      <a:pt x="24" y="193"/>
                      <a:pt x="24" y="193"/>
                      <a:pt x="24" y="193"/>
                    </a:cubicBezTo>
                    <a:cubicBezTo>
                      <a:pt x="26" y="197"/>
                      <a:pt x="26" y="197"/>
                      <a:pt x="26" y="197"/>
                    </a:cubicBezTo>
                    <a:cubicBezTo>
                      <a:pt x="25" y="200"/>
                      <a:pt x="25" y="200"/>
                      <a:pt x="25" y="200"/>
                    </a:cubicBezTo>
                    <a:close/>
                    <a:moveTo>
                      <a:pt x="35" y="198"/>
                    </a:moveTo>
                    <a:cubicBezTo>
                      <a:pt x="34" y="202"/>
                      <a:pt x="34" y="202"/>
                      <a:pt x="34" y="202"/>
                    </a:cubicBezTo>
                    <a:cubicBezTo>
                      <a:pt x="32" y="203"/>
                      <a:pt x="32" y="203"/>
                      <a:pt x="32" y="203"/>
                    </a:cubicBezTo>
                    <a:cubicBezTo>
                      <a:pt x="28" y="200"/>
                      <a:pt x="28" y="200"/>
                      <a:pt x="28" y="200"/>
                    </a:cubicBezTo>
                    <a:cubicBezTo>
                      <a:pt x="27" y="196"/>
                      <a:pt x="27" y="196"/>
                      <a:pt x="27" y="196"/>
                    </a:cubicBezTo>
                    <a:cubicBezTo>
                      <a:pt x="23" y="188"/>
                      <a:pt x="23" y="188"/>
                      <a:pt x="23" y="188"/>
                    </a:cubicBezTo>
                    <a:cubicBezTo>
                      <a:pt x="27" y="188"/>
                      <a:pt x="27" y="188"/>
                      <a:pt x="27" y="188"/>
                    </a:cubicBezTo>
                    <a:cubicBezTo>
                      <a:pt x="30" y="185"/>
                      <a:pt x="30" y="185"/>
                      <a:pt x="30" y="185"/>
                    </a:cubicBezTo>
                    <a:cubicBezTo>
                      <a:pt x="30" y="183"/>
                      <a:pt x="30" y="183"/>
                      <a:pt x="30" y="183"/>
                    </a:cubicBezTo>
                    <a:cubicBezTo>
                      <a:pt x="29" y="185"/>
                      <a:pt x="29" y="185"/>
                      <a:pt x="29" y="185"/>
                    </a:cubicBezTo>
                    <a:cubicBezTo>
                      <a:pt x="27" y="185"/>
                      <a:pt x="27" y="185"/>
                      <a:pt x="27" y="185"/>
                    </a:cubicBezTo>
                    <a:cubicBezTo>
                      <a:pt x="27" y="183"/>
                      <a:pt x="27" y="183"/>
                      <a:pt x="27" y="183"/>
                    </a:cubicBezTo>
                    <a:cubicBezTo>
                      <a:pt x="28" y="180"/>
                      <a:pt x="28" y="180"/>
                      <a:pt x="28" y="180"/>
                    </a:cubicBezTo>
                    <a:cubicBezTo>
                      <a:pt x="25" y="178"/>
                      <a:pt x="25" y="178"/>
                      <a:pt x="25" y="178"/>
                    </a:cubicBezTo>
                    <a:cubicBezTo>
                      <a:pt x="25" y="173"/>
                      <a:pt x="25" y="173"/>
                      <a:pt x="25" y="173"/>
                    </a:cubicBezTo>
                    <a:cubicBezTo>
                      <a:pt x="27" y="172"/>
                      <a:pt x="27" y="172"/>
                      <a:pt x="27" y="172"/>
                    </a:cubicBezTo>
                    <a:cubicBezTo>
                      <a:pt x="33" y="172"/>
                      <a:pt x="33" y="172"/>
                      <a:pt x="33" y="172"/>
                    </a:cubicBezTo>
                    <a:cubicBezTo>
                      <a:pt x="35" y="173"/>
                      <a:pt x="35" y="173"/>
                      <a:pt x="35" y="173"/>
                    </a:cubicBezTo>
                    <a:cubicBezTo>
                      <a:pt x="37" y="182"/>
                      <a:pt x="37" y="182"/>
                      <a:pt x="37" y="182"/>
                    </a:cubicBezTo>
                    <a:cubicBezTo>
                      <a:pt x="39" y="186"/>
                      <a:pt x="39" y="186"/>
                      <a:pt x="39" y="186"/>
                    </a:cubicBezTo>
                    <a:cubicBezTo>
                      <a:pt x="40" y="192"/>
                      <a:pt x="40" y="192"/>
                      <a:pt x="40" y="192"/>
                    </a:cubicBezTo>
                    <a:cubicBezTo>
                      <a:pt x="39" y="194"/>
                      <a:pt x="39" y="194"/>
                      <a:pt x="39" y="194"/>
                    </a:cubicBezTo>
                    <a:cubicBezTo>
                      <a:pt x="41" y="199"/>
                      <a:pt x="41" y="199"/>
                      <a:pt x="41" y="199"/>
                    </a:cubicBezTo>
                    <a:cubicBezTo>
                      <a:pt x="41" y="204"/>
                      <a:pt x="41" y="204"/>
                      <a:pt x="41" y="204"/>
                    </a:cubicBezTo>
                    <a:cubicBezTo>
                      <a:pt x="38" y="206"/>
                      <a:pt x="38" y="206"/>
                      <a:pt x="38" y="206"/>
                    </a:cubicBezTo>
                    <a:cubicBezTo>
                      <a:pt x="36" y="205"/>
                      <a:pt x="36" y="205"/>
                      <a:pt x="36" y="205"/>
                    </a:cubicBezTo>
                    <a:cubicBezTo>
                      <a:pt x="36" y="201"/>
                      <a:pt x="36" y="201"/>
                      <a:pt x="36" y="201"/>
                    </a:cubicBezTo>
                    <a:cubicBezTo>
                      <a:pt x="35" y="198"/>
                      <a:pt x="35" y="198"/>
                      <a:pt x="35" y="198"/>
                    </a:cubicBezTo>
                    <a:close/>
                    <a:moveTo>
                      <a:pt x="32" y="217"/>
                    </a:moveTo>
                    <a:cubicBezTo>
                      <a:pt x="31" y="214"/>
                      <a:pt x="31" y="214"/>
                      <a:pt x="31" y="214"/>
                    </a:cubicBezTo>
                    <a:cubicBezTo>
                      <a:pt x="28" y="212"/>
                      <a:pt x="28" y="212"/>
                      <a:pt x="28" y="212"/>
                    </a:cubicBezTo>
                    <a:cubicBezTo>
                      <a:pt x="30" y="211"/>
                      <a:pt x="30" y="211"/>
                      <a:pt x="30" y="211"/>
                    </a:cubicBezTo>
                    <a:cubicBezTo>
                      <a:pt x="30" y="208"/>
                      <a:pt x="30" y="208"/>
                      <a:pt x="30" y="208"/>
                    </a:cubicBezTo>
                    <a:cubicBezTo>
                      <a:pt x="31" y="208"/>
                      <a:pt x="31" y="208"/>
                      <a:pt x="31" y="208"/>
                    </a:cubicBezTo>
                    <a:cubicBezTo>
                      <a:pt x="33" y="208"/>
                      <a:pt x="33" y="208"/>
                      <a:pt x="33" y="208"/>
                    </a:cubicBezTo>
                    <a:cubicBezTo>
                      <a:pt x="37" y="209"/>
                      <a:pt x="37" y="209"/>
                      <a:pt x="37" y="209"/>
                    </a:cubicBezTo>
                    <a:cubicBezTo>
                      <a:pt x="35" y="212"/>
                      <a:pt x="35" y="212"/>
                      <a:pt x="35" y="212"/>
                    </a:cubicBezTo>
                    <a:cubicBezTo>
                      <a:pt x="35" y="215"/>
                      <a:pt x="35" y="215"/>
                      <a:pt x="35" y="215"/>
                    </a:cubicBezTo>
                    <a:cubicBezTo>
                      <a:pt x="33" y="217"/>
                      <a:pt x="33" y="217"/>
                      <a:pt x="33" y="217"/>
                    </a:cubicBezTo>
                    <a:cubicBezTo>
                      <a:pt x="32" y="217"/>
                      <a:pt x="32" y="217"/>
                      <a:pt x="32" y="217"/>
                    </a:cubicBezTo>
                    <a:close/>
                    <a:moveTo>
                      <a:pt x="29" y="222"/>
                    </a:moveTo>
                    <a:cubicBezTo>
                      <a:pt x="29" y="219"/>
                      <a:pt x="29" y="219"/>
                      <a:pt x="29" y="219"/>
                    </a:cubicBezTo>
                    <a:cubicBezTo>
                      <a:pt x="34" y="219"/>
                      <a:pt x="34" y="219"/>
                      <a:pt x="34" y="219"/>
                    </a:cubicBezTo>
                    <a:cubicBezTo>
                      <a:pt x="31" y="221"/>
                      <a:pt x="31" y="221"/>
                      <a:pt x="31" y="221"/>
                    </a:cubicBezTo>
                    <a:cubicBezTo>
                      <a:pt x="29" y="222"/>
                      <a:pt x="29" y="222"/>
                      <a:pt x="29" y="222"/>
                    </a:cubicBezTo>
                    <a:close/>
                    <a:moveTo>
                      <a:pt x="37" y="220"/>
                    </a:moveTo>
                    <a:cubicBezTo>
                      <a:pt x="38" y="222"/>
                      <a:pt x="38" y="222"/>
                      <a:pt x="38" y="222"/>
                    </a:cubicBezTo>
                    <a:cubicBezTo>
                      <a:pt x="38" y="226"/>
                      <a:pt x="38" y="226"/>
                      <a:pt x="38" y="226"/>
                    </a:cubicBezTo>
                    <a:cubicBezTo>
                      <a:pt x="37" y="227"/>
                      <a:pt x="37" y="227"/>
                      <a:pt x="37" y="227"/>
                    </a:cubicBezTo>
                    <a:cubicBezTo>
                      <a:pt x="36" y="223"/>
                      <a:pt x="36" y="223"/>
                      <a:pt x="36" y="223"/>
                    </a:cubicBezTo>
                    <a:cubicBezTo>
                      <a:pt x="37" y="220"/>
                      <a:pt x="37" y="220"/>
                      <a:pt x="37" y="220"/>
                    </a:cubicBezTo>
                    <a:close/>
                    <a:moveTo>
                      <a:pt x="40" y="218"/>
                    </a:moveTo>
                    <a:cubicBezTo>
                      <a:pt x="40" y="217"/>
                      <a:pt x="40" y="217"/>
                      <a:pt x="40" y="217"/>
                    </a:cubicBezTo>
                    <a:cubicBezTo>
                      <a:pt x="41" y="217"/>
                      <a:pt x="41" y="217"/>
                      <a:pt x="41" y="217"/>
                    </a:cubicBezTo>
                    <a:cubicBezTo>
                      <a:pt x="44" y="219"/>
                      <a:pt x="44" y="219"/>
                      <a:pt x="44" y="219"/>
                    </a:cubicBezTo>
                    <a:cubicBezTo>
                      <a:pt x="46" y="219"/>
                      <a:pt x="46" y="219"/>
                      <a:pt x="46" y="219"/>
                    </a:cubicBezTo>
                    <a:cubicBezTo>
                      <a:pt x="50" y="224"/>
                      <a:pt x="50" y="224"/>
                      <a:pt x="50" y="224"/>
                    </a:cubicBezTo>
                    <a:cubicBezTo>
                      <a:pt x="51" y="228"/>
                      <a:pt x="51" y="228"/>
                      <a:pt x="51" y="228"/>
                    </a:cubicBezTo>
                    <a:cubicBezTo>
                      <a:pt x="46" y="224"/>
                      <a:pt x="46" y="224"/>
                      <a:pt x="46" y="224"/>
                    </a:cubicBezTo>
                    <a:cubicBezTo>
                      <a:pt x="43" y="223"/>
                      <a:pt x="43" y="223"/>
                      <a:pt x="43" y="223"/>
                    </a:cubicBezTo>
                    <a:cubicBezTo>
                      <a:pt x="40" y="218"/>
                      <a:pt x="40" y="218"/>
                      <a:pt x="40" y="218"/>
                    </a:cubicBezTo>
                    <a:close/>
                    <a:moveTo>
                      <a:pt x="40" y="225"/>
                    </a:moveTo>
                    <a:cubicBezTo>
                      <a:pt x="41" y="224"/>
                      <a:pt x="41" y="224"/>
                      <a:pt x="41" y="224"/>
                    </a:cubicBezTo>
                    <a:cubicBezTo>
                      <a:pt x="45" y="226"/>
                      <a:pt x="45" y="226"/>
                      <a:pt x="45" y="226"/>
                    </a:cubicBezTo>
                    <a:cubicBezTo>
                      <a:pt x="49" y="232"/>
                      <a:pt x="49" y="232"/>
                      <a:pt x="49" y="232"/>
                    </a:cubicBezTo>
                    <a:cubicBezTo>
                      <a:pt x="48" y="234"/>
                      <a:pt x="48" y="234"/>
                      <a:pt x="48" y="234"/>
                    </a:cubicBezTo>
                    <a:cubicBezTo>
                      <a:pt x="45" y="234"/>
                      <a:pt x="45" y="234"/>
                      <a:pt x="45" y="234"/>
                    </a:cubicBezTo>
                    <a:cubicBezTo>
                      <a:pt x="40" y="229"/>
                      <a:pt x="40" y="229"/>
                      <a:pt x="40" y="229"/>
                    </a:cubicBezTo>
                    <a:cubicBezTo>
                      <a:pt x="40" y="225"/>
                      <a:pt x="40" y="225"/>
                      <a:pt x="40" y="225"/>
                    </a:cubicBezTo>
                    <a:close/>
                    <a:moveTo>
                      <a:pt x="43" y="243"/>
                    </a:moveTo>
                    <a:cubicBezTo>
                      <a:pt x="38" y="244"/>
                      <a:pt x="38" y="244"/>
                      <a:pt x="38" y="244"/>
                    </a:cubicBezTo>
                    <a:cubicBezTo>
                      <a:pt x="36" y="243"/>
                      <a:pt x="36" y="243"/>
                      <a:pt x="36" y="243"/>
                    </a:cubicBezTo>
                    <a:cubicBezTo>
                      <a:pt x="38" y="241"/>
                      <a:pt x="38" y="241"/>
                      <a:pt x="38" y="241"/>
                    </a:cubicBezTo>
                    <a:cubicBezTo>
                      <a:pt x="40" y="237"/>
                      <a:pt x="40" y="237"/>
                      <a:pt x="40" y="237"/>
                    </a:cubicBezTo>
                    <a:cubicBezTo>
                      <a:pt x="38" y="234"/>
                      <a:pt x="38" y="234"/>
                      <a:pt x="38" y="234"/>
                    </a:cubicBezTo>
                    <a:cubicBezTo>
                      <a:pt x="40" y="234"/>
                      <a:pt x="40" y="234"/>
                      <a:pt x="40" y="234"/>
                    </a:cubicBezTo>
                    <a:cubicBezTo>
                      <a:pt x="43" y="236"/>
                      <a:pt x="43" y="236"/>
                      <a:pt x="43" y="236"/>
                    </a:cubicBezTo>
                    <a:cubicBezTo>
                      <a:pt x="45" y="236"/>
                      <a:pt x="45" y="236"/>
                      <a:pt x="45" y="236"/>
                    </a:cubicBezTo>
                    <a:cubicBezTo>
                      <a:pt x="51" y="239"/>
                      <a:pt x="51" y="239"/>
                      <a:pt x="51" y="239"/>
                    </a:cubicBezTo>
                    <a:cubicBezTo>
                      <a:pt x="51" y="241"/>
                      <a:pt x="51" y="241"/>
                      <a:pt x="51" y="241"/>
                    </a:cubicBezTo>
                    <a:cubicBezTo>
                      <a:pt x="48" y="242"/>
                      <a:pt x="48" y="242"/>
                      <a:pt x="48" y="242"/>
                    </a:cubicBezTo>
                    <a:cubicBezTo>
                      <a:pt x="47" y="243"/>
                      <a:pt x="47" y="243"/>
                      <a:pt x="47" y="243"/>
                    </a:cubicBezTo>
                    <a:cubicBezTo>
                      <a:pt x="43" y="243"/>
                      <a:pt x="43" y="243"/>
                      <a:pt x="43" y="243"/>
                    </a:cubicBezTo>
                    <a:close/>
                    <a:moveTo>
                      <a:pt x="48" y="259"/>
                    </a:moveTo>
                    <a:cubicBezTo>
                      <a:pt x="46" y="258"/>
                      <a:pt x="46" y="258"/>
                      <a:pt x="46" y="258"/>
                    </a:cubicBezTo>
                    <a:cubicBezTo>
                      <a:pt x="44" y="257"/>
                      <a:pt x="44" y="257"/>
                      <a:pt x="44" y="257"/>
                    </a:cubicBezTo>
                    <a:cubicBezTo>
                      <a:pt x="43" y="254"/>
                      <a:pt x="43" y="254"/>
                      <a:pt x="43" y="254"/>
                    </a:cubicBezTo>
                    <a:cubicBezTo>
                      <a:pt x="44" y="252"/>
                      <a:pt x="44" y="252"/>
                      <a:pt x="44" y="252"/>
                    </a:cubicBezTo>
                    <a:cubicBezTo>
                      <a:pt x="45" y="251"/>
                      <a:pt x="45" y="251"/>
                      <a:pt x="45" y="251"/>
                    </a:cubicBezTo>
                    <a:cubicBezTo>
                      <a:pt x="44" y="250"/>
                      <a:pt x="44" y="250"/>
                      <a:pt x="44" y="250"/>
                    </a:cubicBezTo>
                    <a:cubicBezTo>
                      <a:pt x="44" y="249"/>
                      <a:pt x="44" y="249"/>
                      <a:pt x="44" y="249"/>
                    </a:cubicBezTo>
                    <a:cubicBezTo>
                      <a:pt x="47" y="248"/>
                      <a:pt x="47" y="248"/>
                      <a:pt x="47" y="248"/>
                    </a:cubicBezTo>
                    <a:cubicBezTo>
                      <a:pt x="48" y="251"/>
                      <a:pt x="48" y="251"/>
                      <a:pt x="48" y="251"/>
                    </a:cubicBezTo>
                    <a:cubicBezTo>
                      <a:pt x="48" y="254"/>
                      <a:pt x="48" y="254"/>
                      <a:pt x="48" y="254"/>
                    </a:cubicBezTo>
                    <a:cubicBezTo>
                      <a:pt x="46" y="256"/>
                      <a:pt x="46" y="256"/>
                      <a:pt x="46" y="256"/>
                    </a:cubicBezTo>
                    <a:cubicBezTo>
                      <a:pt x="48" y="259"/>
                      <a:pt x="48" y="259"/>
                      <a:pt x="48" y="259"/>
                    </a:cubicBezTo>
                    <a:close/>
                    <a:moveTo>
                      <a:pt x="49" y="252"/>
                    </a:moveTo>
                    <a:cubicBezTo>
                      <a:pt x="49" y="251"/>
                      <a:pt x="49" y="251"/>
                      <a:pt x="49" y="251"/>
                    </a:cubicBezTo>
                    <a:cubicBezTo>
                      <a:pt x="51" y="250"/>
                      <a:pt x="51" y="250"/>
                      <a:pt x="51" y="250"/>
                    </a:cubicBezTo>
                    <a:cubicBezTo>
                      <a:pt x="52" y="252"/>
                      <a:pt x="52" y="252"/>
                      <a:pt x="52" y="252"/>
                    </a:cubicBezTo>
                    <a:cubicBezTo>
                      <a:pt x="54" y="253"/>
                      <a:pt x="54" y="253"/>
                      <a:pt x="54" y="253"/>
                    </a:cubicBezTo>
                    <a:cubicBezTo>
                      <a:pt x="54" y="257"/>
                      <a:pt x="54" y="257"/>
                      <a:pt x="54" y="257"/>
                    </a:cubicBezTo>
                    <a:cubicBezTo>
                      <a:pt x="52" y="258"/>
                      <a:pt x="52" y="258"/>
                      <a:pt x="52" y="258"/>
                    </a:cubicBezTo>
                    <a:cubicBezTo>
                      <a:pt x="50" y="258"/>
                      <a:pt x="50" y="258"/>
                      <a:pt x="50" y="258"/>
                    </a:cubicBezTo>
                    <a:cubicBezTo>
                      <a:pt x="50" y="256"/>
                      <a:pt x="50" y="256"/>
                      <a:pt x="50" y="256"/>
                    </a:cubicBezTo>
                    <a:cubicBezTo>
                      <a:pt x="49" y="255"/>
                      <a:pt x="49" y="255"/>
                      <a:pt x="49" y="255"/>
                    </a:cubicBezTo>
                    <a:cubicBezTo>
                      <a:pt x="49" y="252"/>
                      <a:pt x="49" y="252"/>
                      <a:pt x="49" y="252"/>
                    </a:cubicBezTo>
                    <a:close/>
                    <a:moveTo>
                      <a:pt x="55" y="254"/>
                    </a:moveTo>
                    <a:cubicBezTo>
                      <a:pt x="59" y="256"/>
                      <a:pt x="59" y="256"/>
                      <a:pt x="59" y="256"/>
                    </a:cubicBezTo>
                    <a:cubicBezTo>
                      <a:pt x="60" y="258"/>
                      <a:pt x="60" y="258"/>
                      <a:pt x="60" y="258"/>
                    </a:cubicBezTo>
                    <a:cubicBezTo>
                      <a:pt x="59" y="258"/>
                      <a:pt x="59" y="258"/>
                      <a:pt x="59" y="258"/>
                    </a:cubicBezTo>
                    <a:cubicBezTo>
                      <a:pt x="56" y="256"/>
                      <a:pt x="56" y="256"/>
                      <a:pt x="56" y="256"/>
                    </a:cubicBezTo>
                    <a:cubicBezTo>
                      <a:pt x="55" y="254"/>
                      <a:pt x="55" y="254"/>
                      <a:pt x="55" y="254"/>
                    </a:cubicBezTo>
                    <a:close/>
                    <a:moveTo>
                      <a:pt x="54" y="267"/>
                    </a:moveTo>
                    <a:cubicBezTo>
                      <a:pt x="52" y="267"/>
                      <a:pt x="52" y="267"/>
                      <a:pt x="52" y="267"/>
                    </a:cubicBezTo>
                    <a:cubicBezTo>
                      <a:pt x="51" y="266"/>
                      <a:pt x="51" y="266"/>
                      <a:pt x="51" y="266"/>
                    </a:cubicBezTo>
                    <a:cubicBezTo>
                      <a:pt x="53" y="265"/>
                      <a:pt x="53" y="265"/>
                      <a:pt x="53" y="265"/>
                    </a:cubicBezTo>
                    <a:cubicBezTo>
                      <a:pt x="52" y="261"/>
                      <a:pt x="52" y="261"/>
                      <a:pt x="52" y="261"/>
                    </a:cubicBezTo>
                    <a:cubicBezTo>
                      <a:pt x="54" y="261"/>
                      <a:pt x="54" y="261"/>
                      <a:pt x="54" y="261"/>
                    </a:cubicBezTo>
                    <a:cubicBezTo>
                      <a:pt x="55" y="262"/>
                      <a:pt x="55" y="262"/>
                      <a:pt x="55" y="262"/>
                    </a:cubicBezTo>
                    <a:cubicBezTo>
                      <a:pt x="54" y="267"/>
                      <a:pt x="54" y="267"/>
                      <a:pt x="54" y="267"/>
                    </a:cubicBezTo>
                    <a:close/>
                    <a:moveTo>
                      <a:pt x="65" y="257"/>
                    </a:moveTo>
                    <a:cubicBezTo>
                      <a:pt x="60" y="255"/>
                      <a:pt x="60" y="255"/>
                      <a:pt x="60" y="255"/>
                    </a:cubicBezTo>
                    <a:cubicBezTo>
                      <a:pt x="58" y="253"/>
                      <a:pt x="58" y="253"/>
                      <a:pt x="58" y="253"/>
                    </a:cubicBezTo>
                    <a:cubicBezTo>
                      <a:pt x="58" y="247"/>
                      <a:pt x="58" y="247"/>
                      <a:pt x="58" y="247"/>
                    </a:cubicBezTo>
                    <a:cubicBezTo>
                      <a:pt x="59" y="247"/>
                      <a:pt x="59" y="247"/>
                      <a:pt x="59" y="247"/>
                    </a:cubicBezTo>
                    <a:cubicBezTo>
                      <a:pt x="61" y="251"/>
                      <a:pt x="61" y="251"/>
                      <a:pt x="61" y="251"/>
                    </a:cubicBezTo>
                    <a:cubicBezTo>
                      <a:pt x="65" y="255"/>
                      <a:pt x="65" y="255"/>
                      <a:pt x="65" y="255"/>
                    </a:cubicBezTo>
                    <a:cubicBezTo>
                      <a:pt x="66" y="257"/>
                      <a:pt x="66" y="257"/>
                      <a:pt x="66" y="257"/>
                    </a:cubicBezTo>
                    <a:cubicBezTo>
                      <a:pt x="65" y="257"/>
                      <a:pt x="65" y="257"/>
                      <a:pt x="65" y="257"/>
                    </a:cubicBezTo>
                    <a:close/>
                    <a:moveTo>
                      <a:pt x="64" y="263"/>
                    </a:moveTo>
                    <a:cubicBezTo>
                      <a:pt x="61" y="260"/>
                      <a:pt x="61" y="260"/>
                      <a:pt x="61" y="260"/>
                    </a:cubicBezTo>
                    <a:cubicBezTo>
                      <a:pt x="62" y="259"/>
                      <a:pt x="62" y="259"/>
                      <a:pt x="62" y="259"/>
                    </a:cubicBezTo>
                    <a:cubicBezTo>
                      <a:pt x="65" y="259"/>
                      <a:pt x="65" y="259"/>
                      <a:pt x="65" y="259"/>
                    </a:cubicBezTo>
                    <a:cubicBezTo>
                      <a:pt x="66" y="262"/>
                      <a:pt x="66" y="262"/>
                      <a:pt x="66" y="262"/>
                    </a:cubicBezTo>
                    <a:cubicBezTo>
                      <a:pt x="64" y="263"/>
                      <a:pt x="64" y="263"/>
                      <a:pt x="64" y="263"/>
                    </a:cubicBezTo>
                    <a:close/>
                    <a:moveTo>
                      <a:pt x="66" y="270"/>
                    </a:moveTo>
                    <a:cubicBezTo>
                      <a:pt x="62" y="265"/>
                      <a:pt x="62" y="265"/>
                      <a:pt x="62" y="265"/>
                    </a:cubicBezTo>
                    <a:cubicBezTo>
                      <a:pt x="60" y="263"/>
                      <a:pt x="60" y="263"/>
                      <a:pt x="60" y="263"/>
                    </a:cubicBezTo>
                    <a:cubicBezTo>
                      <a:pt x="61" y="262"/>
                      <a:pt x="61" y="262"/>
                      <a:pt x="61" y="262"/>
                    </a:cubicBezTo>
                    <a:cubicBezTo>
                      <a:pt x="67" y="266"/>
                      <a:pt x="67" y="266"/>
                      <a:pt x="67" y="266"/>
                    </a:cubicBezTo>
                    <a:cubicBezTo>
                      <a:pt x="67" y="269"/>
                      <a:pt x="67" y="269"/>
                      <a:pt x="67" y="269"/>
                    </a:cubicBezTo>
                    <a:cubicBezTo>
                      <a:pt x="66" y="270"/>
                      <a:pt x="66" y="270"/>
                      <a:pt x="66" y="270"/>
                    </a:cubicBezTo>
                    <a:close/>
                    <a:moveTo>
                      <a:pt x="70" y="278"/>
                    </a:moveTo>
                    <a:cubicBezTo>
                      <a:pt x="68" y="277"/>
                      <a:pt x="68" y="277"/>
                      <a:pt x="68" y="277"/>
                    </a:cubicBezTo>
                    <a:cubicBezTo>
                      <a:pt x="66" y="276"/>
                      <a:pt x="66" y="276"/>
                      <a:pt x="66" y="276"/>
                    </a:cubicBezTo>
                    <a:cubicBezTo>
                      <a:pt x="66" y="274"/>
                      <a:pt x="66" y="274"/>
                      <a:pt x="66" y="274"/>
                    </a:cubicBezTo>
                    <a:cubicBezTo>
                      <a:pt x="62" y="274"/>
                      <a:pt x="62" y="274"/>
                      <a:pt x="62" y="274"/>
                    </a:cubicBezTo>
                    <a:cubicBezTo>
                      <a:pt x="61" y="273"/>
                      <a:pt x="61" y="273"/>
                      <a:pt x="61" y="273"/>
                    </a:cubicBezTo>
                    <a:cubicBezTo>
                      <a:pt x="64" y="272"/>
                      <a:pt x="64" y="272"/>
                      <a:pt x="64" y="272"/>
                    </a:cubicBezTo>
                    <a:cubicBezTo>
                      <a:pt x="66" y="272"/>
                      <a:pt x="66" y="272"/>
                      <a:pt x="66" y="272"/>
                    </a:cubicBezTo>
                    <a:cubicBezTo>
                      <a:pt x="71" y="272"/>
                      <a:pt x="71" y="272"/>
                      <a:pt x="71" y="272"/>
                    </a:cubicBezTo>
                    <a:cubicBezTo>
                      <a:pt x="72" y="275"/>
                      <a:pt x="72" y="275"/>
                      <a:pt x="72" y="275"/>
                    </a:cubicBezTo>
                    <a:cubicBezTo>
                      <a:pt x="70" y="278"/>
                      <a:pt x="70" y="278"/>
                      <a:pt x="70" y="278"/>
                    </a:cubicBezTo>
                    <a:close/>
                    <a:moveTo>
                      <a:pt x="82" y="297"/>
                    </a:moveTo>
                    <a:cubicBezTo>
                      <a:pt x="76" y="295"/>
                      <a:pt x="76" y="295"/>
                      <a:pt x="76" y="295"/>
                    </a:cubicBezTo>
                    <a:cubicBezTo>
                      <a:pt x="75" y="296"/>
                      <a:pt x="75" y="296"/>
                      <a:pt x="75" y="296"/>
                    </a:cubicBezTo>
                    <a:cubicBezTo>
                      <a:pt x="72" y="296"/>
                      <a:pt x="72" y="296"/>
                      <a:pt x="72" y="296"/>
                    </a:cubicBezTo>
                    <a:cubicBezTo>
                      <a:pt x="70" y="293"/>
                      <a:pt x="70" y="293"/>
                      <a:pt x="70" y="293"/>
                    </a:cubicBezTo>
                    <a:cubicBezTo>
                      <a:pt x="65" y="291"/>
                      <a:pt x="65" y="291"/>
                      <a:pt x="65" y="291"/>
                    </a:cubicBezTo>
                    <a:cubicBezTo>
                      <a:pt x="61" y="290"/>
                      <a:pt x="61" y="290"/>
                      <a:pt x="61" y="290"/>
                    </a:cubicBezTo>
                    <a:cubicBezTo>
                      <a:pt x="58" y="286"/>
                      <a:pt x="58" y="286"/>
                      <a:pt x="58" y="286"/>
                    </a:cubicBezTo>
                    <a:cubicBezTo>
                      <a:pt x="57" y="282"/>
                      <a:pt x="57" y="282"/>
                      <a:pt x="57" y="282"/>
                    </a:cubicBezTo>
                    <a:cubicBezTo>
                      <a:pt x="59" y="281"/>
                      <a:pt x="59" y="281"/>
                      <a:pt x="59" y="281"/>
                    </a:cubicBezTo>
                    <a:cubicBezTo>
                      <a:pt x="61" y="282"/>
                      <a:pt x="61" y="282"/>
                      <a:pt x="61" y="282"/>
                    </a:cubicBezTo>
                    <a:cubicBezTo>
                      <a:pt x="65" y="287"/>
                      <a:pt x="65" y="287"/>
                      <a:pt x="65" y="287"/>
                    </a:cubicBezTo>
                    <a:cubicBezTo>
                      <a:pt x="67" y="288"/>
                      <a:pt x="67" y="288"/>
                      <a:pt x="67" y="288"/>
                    </a:cubicBezTo>
                    <a:cubicBezTo>
                      <a:pt x="71" y="288"/>
                      <a:pt x="71" y="288"/>
                      <a:pt x="71" y="288"/>
                    </a:cubicBezTo>
                    <a:cubicBezTo>
                      <a:pt x="74" y="289"/>
                      <a:pt x="74" y="289"/>
                      <a:pt x="74" y="289"/>
                    </a:cubicBezTo>
                    <a:cubicBezTo>
                      <a:pt x="77" y="291"/>
                      <a:pt x="77" y="291"/>
                      <a:pt x="77" y="291"/>
                    </a:cubicBezTo>
                    <a:cubicBezTo>
                      <a:pt x="81" y="291"/>
                      <a:pt x="81" y="291"/>
                      <a:pt x="81" y="291"/>
                    </a:cubicBezTo>
                    <a:cubicBezTo>
                      <a:pt x="83" y="293"/>
                      <a:pt x="83" y="293"/>
                      <a:pt x="83" y="293"/>
                    </a:cubicBezTo>
                    <a:cubicBezTo>
                      <a:pt x="87" y="295"/>
                      <a:pt x="87" y="295"/>
                      <a:pt x="87" y="295"/>
                    </a:cubicBezTo>
                    <a:cubicBezTo>
                      <a:pt x="88" y="296"/>
                      <a:pt x="88" y="296"/>
                      <a:pt x="88" y="296"/>
                    </a:cubicBezTo>
                    <a:cubicBezTo>
                      <a:pt x="89" y="297"/>
                      <a:pt x="89" y="297"/>
                      <a:pt x="89" y="297"/>
                    </a:cubicBezTo>
                    <a:cubicBezTo>
                      <a:pt x="89" y="298"/>
                      <a:pt x="89" y="298"/>
                      <a:pt x="89" y="298"/>
                    </a:cubicBezTo>
                    <a:cubicBezTo>
                      <a:pt x="85" y="298"/>
                      <a:pt x="85" y="298"/>
                      <a:pt x="85" y="298"/>
                    </a:cubicBezTo>
                    <a:cubicBezTo>
                      <a:pt x="82" y="297"/>
                      <a:pt x="82" y="297"/>
                      <a:pt x="82" y="297"/>
                    </a:cubicBezTo>
                    <a:close/>
                    <a:moveTo>
                      <a:pt x="69" y="298"/>
                    </a:moveTo>
                    <a:cubicBezTo>
                      <a:pt x="69" y="299"/>
                      <a:pt x="72" y="301"/>
                      <a:pt x="72" y="301"/>
                    </a:cubicBezTo>
                    <a:cubicBezTo>
                      <a:pt x="67" y="300"/>
                      <a:pt x="67" y="300"/>
                      <a:pt x="67" y="300"/>
                    </a:cubicBezTo>
                    <a:cubicBezTo>
                      <a:pt x="69" y="298"/>
                      <a:pt x="69" y="298"/>
                      <a:pt x="69" y="298"/>
                    </a:cubicBezTo>
                    <a:close/>
                    <a:moveTo>
                      <a:pt x="96" y="315"/>
                    </a:moveTo>
                    <a:cubicBezTo>
                      <a:pt x="97" y="316"/>
                      <a:pt x="97" y="316"/>
                      <a:pt x="97" y="316"/>
                    </a:cubicBezTo>
                    <a:cubicBezTo>
                      <a:pt x="99" y="315"/>
                      <a:pt x="99" y="315"/>
                      <a:pt x="99" y="315"/>
                    </a:cubicBezTo>
                    <a:cubicBezTo>
                      <a:pt x="97" y="313"/>
                      <a:pt x="97" y="313"/>
                      <a:pt x="97" y="313"/>
                    </a:cubicBezTo>
                    <a:cubicBezTo>
                      <a:pt x="95" y="315"/>
                      <a:pt x="95" y="315"/>
                      <a:pt x="95" y="315"/>
                    </a:cubicBezTo>
                    <a:cubicBezTo>
                      <a:pt x="96" y="315"/>
                      <a:pt x="96" y="315"/>
                      <a:pt x="96" y="315"/>
                    </a:cubicBezTo>
                    <a:close/>
                    <a:moveTo>
                      <a:pt x="105" y="317"/>
                    </a:moveTo>
                    <a:cubicBezTo>
                      <a:pt x="103" y="318"/>
                      <a:pt x="103" y="318"/>
                      <a:pt x="103" y="318"/>
                    </a:cubicBezTo>
                    <a:cubicBezTo>
                      <a:pt x="100" y="316"/>
                      <a:pt x="100" y="316"/>
                      <a:pt x="100" y="316"/>
                    </a:cubicBezTo>
                    <a:cubicBezTo>
                      <a:pt x="100" y="313"/>
                      <a:pt x="100" y="313"/>
                      <a:pt x="100" y="313"/>
                    </a:cubicBezTo>
                    <a:cubicBezTo>
                      <a:pt x="98" y="312"/>
                      <a:pt x="98" y="312"/>
                      <a:pt x="98" y="312"/>
                    </a:cubicBezTo>
                    <a:cubicBezTo>
                      <a:pt x="94" y="313"/>
                      <a:pt x="94" y="313"/>
                      <a:pt x="94" y="313"/>
                    </a:cubicBezTo>
                    <a:cubicBezTo>
                      <a:pt x="91" y="312"/>
                      <a:pt x="91" y="312"/>
                      <a:pt x="91" y="312"/>
                    </a:cubicBezTo>
                    <a:cubicBezTo>
                      <a:pt x="87" y="308"/>
                      <a:pt x="87" y="308"/>
                      <a:pt x="87" y="308"/>
                    </a:cubicBezTo>
                    <a:cubicBezTo>
                      <a:pt x="83" y="307"/>
                      <a:pt x="83" y="307"/>
                      <a:pt x="83" y="307"/>
                    </a:cubicBezTo>
                    <a:cubicBezTo>
                      <a:pt x="82" y="304"/>
                      <a:pt x="82" y="304"/>
                      <a:pt x="82" y="304"/>
                    </a:cubicBezTo>
                    <a:cubicBezTo>
                      <a:pt x="78" y="302"/>
                      <a:pt x="78" y="302"/>
                      <a:pt x="78" y="302"/>
                    </a:cubicBezTo>
                    <a:cubicBezTo>
                      <a:pt x="78" y="300"/>
                      <a:pt x="78" y="300"/>
                      <a:pt x="78" y="300"/>
                    </a:cubicBezTo>
                    <a:cubicBezTo>
                      <a:pt x="79" y="298"/>
                      <a:pt x="79" y="298"/>
                      <a:pt x="79" y="298"/>
                    </a:cubicBezTo>
                    <a:cubicBezTo>
                      <a:pt x="82" y="298"/>
                      <a:pt x="82" y="298"/>
                      <a:pt x="82" y="298"/>
                    </a:cubicBezTo>
                    <a:cubicBezTo>
                      <a:pt x="84" y="300"/>
                      <a:pt x="84" y="300"/>
                      <a:pt x="84" y="300"/>
                    </a:cubicBezTo>
                    <a:cubicBezTo>
                      <a:pt x="86" y="301"/>
                      <a:pt x="86" y="301"/>
                      <a:pt x="86" y="301"/>
                    </a:cubicBezTo>
                    <a:cubicBezTo>
                      <a:pt x="90" y="299"/>
                      <a:pt x="90" y="299"/>
                      <a:pt x="90" y="299"/>
                    </a:cubicBezTo>
                    <a:cubicBezTo>
                      <a:pt x="94" y="299"/>
                      <a:pt x="94" y="299"/>
                      <a:pt x="94" y="299"/>
                    </a:cubicBezTo>
                    <a:cubicBezTo>
                      <a:pt x="99" y="303"/>
                      <a:pt x="99" y="303"/>
                      <a:pt x="99" y="303"/>
                    </a:cubicBezTo>
                    <a:cubicBezTo>
                      <a:pt x="101" y="304"/>
                      <a:pt x="101" y="304"/>
                      <a:pt x="101" y="304"/>
                    </a:cubicBezTo>
                    <a:cubicBezTo>
                      <a:pt x="102" y="306"/>
                      <a:pt x="102" y="306"/>
                      <a:pt x="102" y="306"/>
                    </a:cubicBezTo>
                    <a:cubicBezTo>
                      <a:pt x="106" y="305"/>
                      <a:pt x="106" y="305"/>
                      <a:pt x="106" y="305"/>
                    </a:cubicBezTo>
                    <a:cubicBezTo>
                      <a:pt x="109" y="306"/>
                      <a:pt x="109" y="306"/>
                      <a:pt x="109" y="306"/>
                    </a:cubicBezTo>
                    <a:cubicBezTo>
                      <a:pt x="110" y="309"/>
                      <a:pt x="110" y="309"/>
                      <a:pt x="110" y="309"/>
                    </a:cubicBezTo>
                    <a:cubicBezTo>
                      <a:pt x="107" y="308"/>
                      <a:pt x="107" y="308"/>
                      <a:pt x="107" y="308"/>
                    </a:cubicBezTo>
                    <a:cubicBezTo>
                      <a:pt x="106" y="309"/>
                      <a:pt x="106" y="309"/>
                      <a:pt x="106" y="309"/>
                    </a:cubicBezTo>
                    <a:cubicBezTo>
                      <a:pt x="107" y="310"/>
                      <a:pt x="107" y="310"/>
                      <a:pt x="107" y="310"/>
                    </a:cubicBezTo>
                    <a:cubicBezTo>
                      <a:pt x="107" y="312"/>
                      <a:pt x="107" y="312"/>
                      <a:pt x="107" y="312"/>
                    </a:cubicBezTo>
                    <a:cubicBezTo>
                      <a:pt x="104" y="315"/>
                      <a:pt x="104" y="315"/>
                      <a:pt x="104" y="315"/>
                    </a:cubicBezTo>
                    <a:cubicBezTo>
                      <a:pt x="105" y="317"/>
                      <a:pt x="105" y="317"/>
                      <a:pt x="105" y="317"/>
                    </a:cubicBezTo>
                    <a:close/>
                    <a:moveTo>
                      <a:pt x="110" y="316"/>
                    </a:moveTo>
                    <a:cubicBezTo>
                      <a:pt x="108" y="318"/>
                      <a:pt x="108" y="318"/>
                      <a:pt x="108" y="318"/>
                    </a:cubicBezTo>
                    <a:cubicBezTo>
                      <a:pt x="108" y="321"/>
                      <a:pt x="108" y="321"/>
                      <a:pt x="108" y="321"/>
                    </a:cubicBezTo>
                    <a:cubicBezTo>
                      <a:pt x="110" y="320"/>
                      <a:pt x="110" y="320"/>
                      <a:pt x="110" y="320"/>
                    </a:cubicBezTo>
                    <a:cubicBezTo>
                      <a:pt x="112" y="317"/>
                      <a:pt x="112" y="317"/>
                      <a:pt x="112" y="317"/>
                    </a:cubicBezTo>
                    <a:cubicBezTo>
                      <a:pt x="113" y="316"/>
                      <a:pt x="113" y="316"/>
                      <a:pt x="113" y="316"/>
                    </a:cubicBezTo>
                    <a:cubicBezTo>
                      <a:pt x="111" y="315"/>
                      <a:pt x="111" y="315"/>
                      <a:pt x="111" y="315"/>
                    </a:cubicBezTo>
                    <a:cubicBezTo>
                      <a:pt x="110" y="316"/>
                      <a:pt x="110" y="316"/>
                      <a:pt x="110" y="316"/>
                    </a:cubicBezTo>
                    <a:close/>
                    <a:moveTo>
                      <a:pt x="132" y="313"/>
                    </a:moveTo>
                    <a:cubicBezTo>
                      <a:pt x="130" y="315"/>
                      <a:pt x="130" y="315"/>
                      <a:pt x="130" y="315"/>
                    </a:cubicBezTo>
                    <a:cubicBezTo>
                      <a:pt x="131" y="317"/>
                      <a:pt x="131" y="317"/>
                      <a:pt x="131" y="317"/>
                    </a:cubicBezTo>
                    <a:cubicBezTo>
                      <a:pt x="129" y="319"/>
                      <a:pt x="129" y="319"/>
                      <a:pt x="129" y="319"/>
                    </a:cubicBezTo>
                    <a:cubicBezTo>
                      <a:pt x="126" y="318"/>
                      <a:pt x="126" y="318"/>
                      <a:pt x="126" y="318"/>
                    </a:cubicBezTo>
                    <a:cubicBezTo>
                      <a:pt x="124" y="316"/>
                      <a:pt x="124" y="316"/>
                      <a:pt x="124" y="316"/>
                    </a:cubicBezTo>
                    <a:cubicBezTo>
                      <a:pt x="123" y="318"/>
                      <a:pt x="123" y="318"/>
                      <a:pt x="123" y="318"/>
                    </a:cubicBezTo>
                    <a:cubicBezTo>
                      <a:pt x="121" y="316"/>
                      <a:pt x="121" y="316"/>
                      <a:pt x="121" y="316"/>
                    </a:cubicBezTo>
                    <a:cubicBezTo>
                      <a:pt x="117" y="315"/>
                      <a:pt x="117" y="315"/>
                      <a:pt x="117" y="315"/>
                    </a:cubicBezTo>
                    <a:cubicBezTo>
                      <a:pt x="115" y="317"/>
                      <a:pt x="115" y="317"/>
                      <a:pt x="115" y="317"/>
                    </a:cubicBezTo>
                    <a:cubicBezTo>
                      <a:pt x="114" y="314"/>
                      <a:pt x="114" y="314"/>
                      <a:pt x="114" y="314"/>
                    </a:cubicBezTo>
                    <a:cubicBezTo>
                      <a:pt x="112" y="313"/>
                      <a:pt x="112" y="313"/>
                      <a:pt x="112" y="313"/>
                    </a:cubicBezTo>
                    <a:cubicBezTo>
                      <a:pt x="112" y="311"/>
                      <a:pt x="112" y="311"/>
                      <a:pt x="112" y="311"/>
                    </a:cubicBezTo>
                    <a:cubicBezTo>
                      <a:pt x="117" y="311"/>
                      <a:pt x="117" y="311"/>
                      <a:pt x="117" y="311"/>
                    </a:cubicBezTo>
                    <a:cubicBezTo>
                      <a:pt x="118" y="309"/>
                      <a:pt x="118" y="309"/>
                      <a:pt x="118" y="309"/>
                    </a:cubicBezTo>
                    <a:cubicBezTo>
                      <a:pt x="125" y="311"/>
                      <a:pt x="125" y="311"/>
                      <a:pt x="125" y="311"/>
                    </a:cubicBezTo>
                    <a:cubicBezTo>
                      <a:pt x="126" y="314"/>
                      <a:pt x="126" y="314"/>
                      <a:pt x="126" y="314"/>
                    </a:cubicBezTo>
                    <a:cubicBezTo>
                      <a:pt x="128" y="312"/>
                      <a:pt x="128" y="312"/>
                      <a:pt x="128" y="312"/>
                    </a:cubicBezTo>
                    <a:cubicBezTo>
                      <a:pt x="130" y="312"/>
                      <a:pt x="130" y="312"/>
                      <a:pt x="130" y="312"/>
                    </a:cubicBezTo>
                    <a:cubicBezTo>
                      <a:pt x="132" y="313"/>
                      <a:pt x="132" y="313"/>
                      <a:pt x="132" y="313"/>
                    </a:cubicBezTo>
                    <a:close/>
                    <a:moveTo>
                      <a:pt x="142" y="311"/>
                    </a:moveTo>
                    <a:cubicBezTo>
                      <a:pt x="138" y="308"/>
                      <a:pt x="138" y="308"/>
                      <a:pt x="138" y="308"/>
                    </a:cubicBezTo>
                    <a:cubicBezTo>
                      <a:pt x="141" y="306"/>
                      <a:pt x="141" y="306"/>
                      <a:pt x="141" y="306"/>
                    </a:cubicBezTo>
                    <a:cubicBezTo>
                      <a:pt x="139" y="304"/>
                      <a:pt x="139" y="304"/>
                      <a:pt x="139" y="304"/>
                    </a:cubicBezTo>
                    <a:cubicBezTo>
                      <a:pt x="139" y="302"/>
                      <a:pt x="139" y="302"/>
                      <a:pt x="139" y="302"/>
                    </a:cubicBezTo>
                    <a:cubicBezTo>
                      <a:pt x="137" y="299"/>
                      <a:pt x="137" y="299"/>
                      <a:pt x="137" y="299"/>
                    </a:cubicBezTo>
                    <a:cubicBezTo>
                      <a:pt x="136" y="295"/>
                      <a:pt x="136" y="295"/>
                      <a:pt x="136" y="295"/>
                    </a:cubicBezTo>
                    <a:cubicBezTo>
                      <a:pt x="134" y="294"/>
                      <a:pt x="134" y="294"/>
                      <a:pt x="134" y="294"/>
                    </a:cubicBezTo>
                    <a:cubicBezTo>
                      <a:pt x="133" y="297"/>
                      <a:pt x="133" y="297"/>
                      <a:pt x="133" y="297"/>
                    </a:cubicBezTo>
                    <a:cubicBezTo>
                      <a:pt x="132" y="301"/>
                      <a:pt x="132" y="301"/>
                      <a:pt x="132" y="301"/>
                    </a:cubicBezTo>
                    <a:cubicBezTo>
                      <a:pt x="134" y="304"/>
                      <a:pt x="134" y="304"/>
                      <a:pt x="134" y="304"/>
                    </a:cubicBezTo>
                    <a:cubicBezTo>
                      <a:pt x="132" y="306"/>
                      <a:pt x="132" y="306"/>
                      <a:pt x="132" y="306"/>
                    </a:cubicBezTo>
                    <a:cubicBezTo>
                      <a:pt x="132" y="309"/>
                      <a:pt x="132" y="309"/>
                      <a:pt x="132" y="309"/>
                    </a:cubicBezTo>
                    <a:cubicBezTo>
                      <a:pt x="136" y="311"/>
                      <a:pt x="136" y="311"/>
                      <a:pt x="136" y="311"/>
                    </a:cubicBezTo>
                    <a:cubicBezTo>
                      <a:pt x="140" y="312"/>
                      <a:pt x="140" y="312"/>
                      <a:pt x="140" y="312"/>
                    </a:cubicBezTo>
                    <a:cubicBezTo>
                      <a:pt x="141" y="313"/>
                      <a:pt x="141" y="313"/>
                      <a:pt x="141" y="313"/>
                    </a:cubicBezTo>
                    <a:cubicBezTo>
                      <a:pt x="142" y="311"/>
                      <a:pt x="142" y="311"/>
                      <a:pt x="142" y="311"/>
                    </a:cubicBezTo>
                    <a:close/>
                    <a:moveTo>
                      <a:pt x="128" y="339"/>
                    </a:moveTo>
                    <a:cubicBezTo>
                      <a:pt x="131" y="337"/>
                      <a:pt x="131" y="337"/>
                      <a:pt x="131" y="337"/>
                    </a:cubicBezTo>
                    <a:cubicBezTo>
                      <a:pt x="133" y="339"/>
                      <a:pt x="133" y="339"/>
                      <a:pt x="133" y="339"/>
                    </a:cubicBezTo>
                    <a:cubicBezTo>
                      <a:pt x="130" y="341"/>
                      <a:pt x="130" y="341"/>
                      <a:pt x="130" y="341"/>
                    </a:cubicBezTo>
                    <a:cubicBezTo>
                      <a:pt x="128" y="339"/>
                      <a:pt x="128" y="339"/>
                      <a:pt x="128" y="339"/>
                    </a:cubicBezTo>
                    <a:close/>
                    <a:moveTo>
                      <a:pt x="129" y="335"/>
                    </a:moveTo>
                    <a:cubicBezTo>
                      <a:pt x="128" y="334"/>
                      <a:pt x="128" y="334"/>
                      <a:pt x="128" y="334"/>
                    </a:cubicBezTo>
                    <a:cubicBezTo>
                      <a:pt x="129" y="332"/>
                      <a:pt x="129" y="332"/>
                      <a:pt x="129" y="332"/>
                    </a:cubicBezTo>
                    <a:cubicBezTo>
                      <a:pt x="132" y="333"/>
                      <a:pt x="132" y="333"/>
                      <a:pt x="132" y="333"/>
                    </a:cubicBezTo>
                    <a:cubicBezTo>
                      <a:pt x="131" y="335"/>
                      <a:pt x="131" y="335"/>
                      <a:pt x="131" y="335"/>
                    </a:cubicBezTo>
                    <a:cubicBezTo>
                      <a:pt x="129" y="335"/>
                      <a:pt x="129" y="335"/>
                      <a:pt x="129" y="335"/>
                    </a:cubicBezTo>
                    <a:close/>
                    <a:moveTo>
                      <a:pt x="204" y="355"/>
                    </a:moveTo>
                    <a:cubicBezTo>
                      <a:pt x="203" y="353"/>
                      <a:pt x="203" y="353"/>
                      <a:pt x="203" y="353"/>
                    </a:cubicBezTo>
                    <a:cubicBezTo>
                      <a:pt x="205" y="350"/>
                      <a:pt x="205" y="350"/>
                      <a:pt x="205" y="350"/>
                    </a:cubicBezTo>
                    <a:cubicBezTo>
                      <a:pt x="204" y="348"/>
                      <a:pt x="204" y="348"/>
                      <a:pt x="204" y="348"/>
                    </a:cubicBezTo>
                    <a:cubicBezTo>
                      <a:pt x="206" y="349"/>
                      <a:pt x="206" y="349"/>
                      <a:pt x="206" y="349"/>
                    </a:cubicBezTo>
                    <a:cubicBezTo>
                      <a:pt x="207" y="352"/>
                      <a:pt x="207" y="352"/>
                      <a:pt x="207" y="352"/>
                    </a:cubicBezTo>
                    <a:cubicBezTo>
                      <a:pt x="207" y="355"/>
                      <a:pt x="207" y="355"/>
                      <a:pt x="207" y="355"/>
                    </a:cubicBezTo>
                    <a:cubicBezTo>
                      <a:pt x="204" y="355"/>
                      <a:pt x="204" y="355"/>
                      <a:pt x="204" y="355"/>
                    </a:cubicBezTo>
                    <a:close/>
                    <a:moveTo>
                      <a:pt x="157" y="336"/>
                    </a:moveTo>
                    <a:cubicBezTo>
                      <a:pt x="160" y="335"/>
                      <a:pt x="160" y="335"/>
                      <a:pt x="160" y="335"/>
                    </a:cubicBezTo>
                    <a:cubicBezTo>
                      <a:pt x="163" y="335"/>
                      <a:pt x="163" y="335"/>
                      <a:pt x="163" y="335"/>
                    </a:cubicBezTo>
                    <a:cubicBezTo>
                      <a:pt x="165" y="335"/>
                      <a:pt x="165" y="335"/>
                      <a:pt x="165" y="335"/>
                    </a:cubicBezTo>
                    <a:cubicBezTo>
                      <a:pt x="169" y="335"/>
                      <a:pt x="169" y="335"/>
                      <a:pt x="169" y="335"/>
                    </a:cubicBezTo>
                    <a:cubicBezTo>
                      <a:pt x="178" y="333"/>
                      <a:pt x="178" y="333"/>
                      <a:pt x="178" y="333"/>
                    </a:cubicBezTo>
                    <a:cubicBezTo>
                      <a:pt x="183" y="331"/>
                      <a:pt x="183" y="331"/>
                      <a:pt x="183" y="331"/>
                    </a:cubicBezTo>
                    <a:cubicBezTo>
                      <a:pt x="189" y="332"/>
                      <a:pt x="189" y="332"/>
                      <a:pt x="189" y="332"/>
                    </a:cubicBezTo>
                    <a:cubicBezTo>
                      <a:pt x="194" y="331"/>
                      <a:pt x="194" y="331"/>
                      <a:pt x="194" y="331"/>
                    </a:cubicBezTo>
                    <a:cubicBezTo>
                      <a:pt x="199" y="331"/>
                      <a:pt x="199" y="331"/>
                      <a:pt x="199" y="331"/>
                    </a:cubicBezTo>
                    <a:cubicBezTo>
                      <a:pt x="203" y="332"/>
                      <a:pt x="203" y="332"/>
                      <a:pt x="203" y="332"/>
                    </a:cubicBezTo>
                    <a:cubicBezTo>
                      <a:pt x="204" y="335"/>
                      <a:pt x="204" y="335"/>
                      <a:pt x="204" y="335"/>
                    </a:cubicBezTo>
                    <a:cubicBezTo>
                      <a:pt x="206" y="337"/>
                      <a:pt x="206" y="337"/>
                      <a:pt x="206" y="337"/>
                    </a:cubicBezTo>
                    <a:cubicBezTo>
                      <a:pt x="204" y="339"/>
                      <a:pt x="204" y="339"/>
                      <a:pt x="204" y="339"/>
                    </a:cubicBezTo>
                    <a:cubicBezTo>
                      <a:pt x="201" y="341"/>
                      <a:pt x="201" y="341"/>
                      <a:pt x="201" y="341"/>
                    </a:cubicBezTo>
                    <a:cubicBezTo>
                      <a:pt x="199" y="339"/>
                      <a:pt x="199" y="339"/>
                      <a:pt x="199" y="339"/>
                    </a:cubicBezTo>
                    <a:cubicBezTo>
                      <a:pt x="197" y="338"/>
                      <a:pt x="197" y="338"/>
                      <a:pt x="197" y="338"/>
                    </a:cubicBezTo>
                    <a:cubicBezTo>
                      <a:pt x="193" y="340"/>
                      <a:pt x="193" y="340"/>
                      <a:pt x="193" y="340"/>
                    </a:cubicBezTo>
                    <a:cubicBezTo>
                      <a:pt x="189" y="340"/>
                      <a:pt x="189" y="340"/>
                      <a:pt x="189" y="340"/>
                    </a:cubicBezTo>
                    <a:cubicBezTo>
                      <a:pt x="187" y="338"/>
                      <a:pt x="187" y="338"/>
                      <a:pt x="187" y="338"/>
                    </a:cubicBezTo>
                    <a:cubicBezTo>
                      <a:pt x="186" y="335"/>
                      <a:pt x="186" y="335"/>
                      <a:pt x="186" y="335"/>
                    </a:cubicBezTo>
                    <a:cubicBezTo>
                      <a:pt x="183" y="335"/>
                      <a:pt x="183" y="335"/>
                      <a:pt x="183" y="335"/>
                    </a:cubicBezTo>
                    <a:cubicBezTo>
                      <a:pt x="180" y="337"/>
                      <a:pt x="180" y="337"/>
                      <a:pt x="180" y="337"/>
                    </a:cubicBezTo>
                    <a:cubicBezTo>
                      <a:pt x="178" y="337"/>
                      <a:pt x="178" y="337"/>
                      <a:pt x="178" y="337"/>
                    </a:cubicBezTo>
                    <a:cubicBezTo>
                      <a:pt x="173" y="338"/>
                      <a:pt x="173" y="338"/>
                      <a:pt x="173" y="338"/>
                    </a:cubicBezTo>
                    <a:cubicBezTo>
                      <a:pt x="177" y="341"/>
                      <a:pt x="177" y="341"/>
                      <a:pt x="177" y="341"/>
                    </a:cubicBezTo>
                    <a:cubicBezTo>
                      <a:pt x="178" y="340"/>
                      <a:pt x="178" y="340"/>
                      <a:pt x="178" y="340"/>
                    </a:cubicBezTo>
                    <a:cubicBezTo>
                      <a:pt x="182" y="341"/>
                      <a:pt x="182" y="341"/>
                      <a:pt x="182" y="341"/>
                    </a:cubicBezTo>
                    <a:cubicBezTo>
                      <a:pt x="184" y="343"/>
                      <a:pt x="184" y="343"/>
                      <a:pt x="184" y="343"/>
                    </a:cubicBezTo>
                    <a:cubicBezTo>
                      <a:pt x="183" y="344"/>
                      <a:pt x="183" y="344"/>
                      <a:pt x="183" y="344"/>
                    </a:cubicBezTo>
                    <a:cubicBezTo>
                      <a:pt x="186" y="345"/>
                      <a:pt x="186" y="345"/>
                      <a:pt x="186" y="345"/>
                    </a:cubicBezTo>
                    <a:cubicBezTo>
                      <a:pt x="190" y="349"/>
                      <a:pt x="190" y="349"/>
                      <a:pt x="190" y="349"/>
                    </a:cubicBezTo>
                    <a:cubicBezTo>
                      <a:pt x="190" y="352"/>
                      <a:pt x="190" y="352"/>
                      <a:pt x="190" y="352"/>
                    </a:cubicBezTo>
                    <a:cubicBezTo>
                      <a:pt x="188" y="352"/>
                      <a:pt x="188" y="352"/>
                      <a:pt x="188" y="352"/>
                    </a:cubicBezTo>
                    <a:cubicBezTo>
                      <a:pt x="184" y="348"/>
                      <a:pt x="184" y="348"/>
                      <a:pt x="184" y="348"/>
                    </a:cubicBezTo>
                    <a:cubicBezTo>
                      <a:pt x="181" y="347"/>
                      <a:pt x="181" y="347"/>
                      <a:pt x="181" y="347"/>
                    </a:cubicBezTo>
                    <a:cubicBezTo>
                      <a:pt x="178" y="349"/>
                      <a:pt x="178" y="349"/>
                      <a:pt x="178" y="349"/>
                    </a:cubicBezTo>
                    <a:cubicBezTo>
                      <a:pt x="175" y="347"/>
                      <a:pt x="175" y="347"/>
                      <a:pt x="175" y="347"/>
                    </a:cubicBezTo>
                    <a:cubicBezTo>
                      <a:pt x="174" y="343"/>
                      <a:pt x="174" y="343"/>
                      <a:pt x="174" y="343"/>
                    </a:cubicBezTo>
                    <a:cubicBezTo>
                      <a:pt x="170" y="344"/>
                      <a:pt x="170" y="344"/>
                      <a:pt x="170" y="344"/>
                    </a:cubicBezTo>
                    <a:cubicBezTo>
                      <a:pt x="170" y="346"/>
                      <a:pt x="170" y="346"/>
                      <a:pt x="170" y="346"/>
                    </a:cubicBezTo>
                    <a:cubicBezTo>
                      <a:pt x="173" y="347"/>
                      <a:pt x="173" y="347"/>
                      <a:pt x="173" y="347"/>
                    </a:cubicBezTo>
                    <a:cubicBezTo>
                      <a:pt x="172" y="350"/>
                      <a:pt x="172" y="350"/>
                      <a:pt x="172" y="350"/>
                    </a:cubicBezTo>
                    <a:cubicBezTo>
                      <a:pt x="171" y="350"/>
                      <a:pt x="171" y="350"/>
                      <a:pt x="171" y="350"/>
                    </a:cubicBezTo>
                    <a:cubicBezTo>
                      <a:pt x="166" y="348"/>
                      <a:pt x="166" y="348"/>
                      <a:pt x="166" y="348"/>
                    </a:cubicBezTo>
                    <a:cubicBezTo>
                      <a:pt x="164" y="349"/>
                      <a:pt x="164" y="349"/>
                      <a:pt x="164" y="349"/>
                    </a:cubicBezTo>
                    <a:cubicBezTo>
                      <a:pt x="163" y="347"/>
                      <a:pt x="163" y="347"/>
                      <a:pt x="163" y="347"/>
                    </a:cubicBezTo>
                    <a:cubicBezTo>
                      <a:pt x="160" y="346"/>
                      <a:pt x="160" y="346"/>
                      <a:pt x="160" y="346"/>
                    </a:cubicBezTo>
                    <a:cubicBezTo>
                      <a:pt x="161" y="344"/>
                      <a:pt x="161" y="344"/>
                      <a:pt x="161" y="344"/>
                    </a:cubicBezTo>
                    <a:cubicBezTo>
                      <a:pt x="159" y="346"/>
                      <a:pt x="159" y="346"/>
                      <a:pt x="159" y="346"/>
                    </a:cubicBezTo>
                    <a:cubicBezTo>
                      <a:pt x="156" y="344"/>
                      <a:pt x="156" y="344"/>
                      <a:pt x="156" y="344"/>
                    </a:cubicBezTo>
                    <a:cubicBezTo>
                      <a:pt x="156" y="342"/>
                      <a:pt x="156" y="342"/>
                      <a:pt x="156" y="342"/>
                    </a:cubicBezTo>
                    <a:cubicBezTo>
                      <a:pt x="159" y="341"/>
                      <a:pt x="159" y="341"/>
                      <a:pt x="159" y="341"/>
                    </a:cubicBezTo>
                    <a:cubicBezTo>
                      <a:pt x="164" y="339"/>
                      <a:pt x="164" y="339"/>
                      <a:pt x="164" y="339"/>
                    </a:cubicBezTo>
                    <a:cubicBezTo>
                      <a:pt x="161" y="337"/>
                      <a:pt x="161" y="337"/>
                      <a:pt x="161" y="337"/>
                    </a:cubicBezTo>
                    <a:cubicBezTo>
                      <a:pt x="159" y="338"/>
                      <a:pt x="159" y="338"/>
                      <a:pt x="159" y="338"/>
                    </a:cubicBezTo>
                    <a:lnTo>
                      <a:pt x="157" y="336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815" name="Freeform 218"/>
              <p:cNvSpPr>
                <a:spLocks/>
              </p:cNvSpPr>
              <p:nvPr userDrawn="1"/>
            </p:nvSpPr>
            <p:spPr bwMode="auto">
              <a:xfrm>
                <a:off x="2347" y="2613"/>
                <a:ext cx="5" cy="5"/>
              </a:xfrm>
              <a:custGeom>
                <a:avLst/>
                <a:gdLst>
                  <a:gd name="T0" fmla="*/ 5 w 5"/>
                  <a:gd name="T1" fmla="*/ 4 h 5"/>
                  <a:gd name="T2" fmla="*/ 1 w 5"/>
                  <a:gd name="T3" fmla="*/ 5 h 5"/>
                  <a:gd name="T4" fmla="*/ 0 w 5"/>
                  <a:gd name="T5" fmla="*/ 3 h 5"/>
                  <a:gd name="T6" fmla="*/ 0 w 5"/>
                  <a:gd name="T7" fmla="*/ 0 h 5"/>
                  <a:gd name="T8" fmla="*/ 0 w 5"/>
                  <a:gd name="T9" fmla="*/ 0 h 5"/>
                  <a:gd name="T10" fmla="*/ 0 w 5"/>
                  <a:gd name="T11" fmla="*/ 0 h 5"/>
                  <a:gd name="T12" fmla="*/ 5 w 5"/>
                  <a:gd name="T13" fmla="*/ 4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" h="5">
                    <a:moveTo>
                      <a:pt x="5" y="4"/>
                    </a:moveTo>
                    <a:lnTo>
                      <a:pt x="1" y="5"/>
                    </a:lnTo>
                    <a:lnTo>
                      <a:pt x="0" y="3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5" y="4"/>
                    </a:ln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816" name="Freeform 219"/>
              <p:cNvSpPr>
                <a:spLocks/>
              </p:cNvSpPr>
              <p:nvPr userDrawn="1"/>
            </p:nvSpPr>
            <p:spPr bwMode="auto">
              <a:xfrm>
                <a:off x="2347" y="2613"/>
                <a:ext cx="5" cy="5"/>
              </a:xfrm>
              <a:custGeom>
                <a:avLst/>
                <a:gdLst>
                  <a:gd name="T0" fmla="*/ 5 w 5"/>
                  <a:gd name="T1" fmla="*/ 4 h 5"/>
                  <a:gd name="T2" fmla="*/ 1 w 5"/>
                  <a:gd name="T3" fmla="*/ 5 h 5"/>
                  <a:gd name="T4" fmla="*/ 0 w 5"/>
                  <a:gd name="T5" fmla="*/ 3 h 5"/>
                  <a:gd name="T6" fmla="*/ 0 w 5"/>
                  <a:gd name="T7" fmla="*/ 0 h 5"/>
                  <a:gd name="T8" fmla="*/ 0 w 5"/>
                  <a:gd name="T9" fmla="*/ 0 h 5"/>
                  <a:gd name="T10" fmla="*/ 0 w 5"/>
                  <a:gd name="T11" fmla="*/ 0 h 5"/>
                  <a:gd name="T12" fmla="*/ 5 w 5"/>
                  <a:gd name="T13" fmla="*/ 4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" h="5">
                    <a:moveTo>
                      <a:pt x="5" y="4"/>
                    </a:moveTo>
                    <a:lnTo>
                      <a:pt x="1" y="5"/>
                    </a:lnTo>
                    <a:lnTo>
                      <a:pt x="0" y="3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5" y="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817" name="Freeform 220"/>
              <p:cNvSpPr>
                <a:spLocks/>
              </p:cNvSpPr>
              <p:nvPr userDrawn="1"/>
            </p:nvSpPr>
            <p:spPr bwMode="auto">
              <a:xfrm>
                <a:off x="2299" y="2603"/>
                <a:ext cx="2" cy="2"/>
              </a:xfrm>
              <a:custGeom>
                <a:avLst/>
                <a:gdLst>
                  <a:gd name="T0" fmla="*/ 0 w 2"/>
                  <a:gd name="T1" fmla="*/ 0 h 2"/>
                  <a:gd name="T2" fmla="*/ 0 w 2"/>
                  <a:gd name="T3" fmla="*/ 0 h 2"/>
                  <a:gd name="T4" fmla="*/ 2 w 2"/>
                  <a:gd name="T5" fmla="*/ 2 h 2"/>
                  <a:gd name="T6" fmla="*/ 0 w 2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0" y="0"/>
                    </a:ln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818" name="Freeform 221"/>
              <p:cNvSpPr>
                <a:spLocks/>
              </p:cNvSpPr>
              <p:nvPr userDrawn="1"/>
            </p:nvSpPr>
            <p:spPr bwMode="auto">
              <a:xfrm>
                <a:off x="2299" y="2603"/>
                <a:ext cx="2" cy="2"/>
              </a:xfrm>
              <a:custGeom>
                <a:avLst/>
                <a:gdLst>
                  <a:gd name="T0" fmla="*/ 0 w 2"/>
                  <a:gd name="T1" fmla="*/ 0 h 2"/>
                  <a:gd name="T2" fmla="*/ 0 w 2"/>
                  <a:gd name="T3" fmla="*/ 0 h 2"/>
                  <a:gd name="T4" fmla="*/ 2 w 2"/>
                  <a:gd name="T5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0" y="0"/>
                    </a:lnTo>
                    <a:lnTo>
                      <a:pt x="2" y="2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819" name="Freeform 222"/>
              <p:cNvSpPr>
                <a:spLocks/>
              </p:cNvSpPr>
              <p:nvPr userDrawn="1"/>
            </p:nvSpPr>
            <p:spPr bwMode="auto">
              <a:xfrm>
                <a:off x="2282" y="2598"/>
                <a:ext cx="9" cy="3"/>
              </a:xfrm>
              <a:custGeom>
                <a:avLst/>
                <a:gdLst>
                  <a:gd name="T0" fmla="*/ 0 w 9"/>
                  <a:gd name="T1" fmla="*/ 3 h 3"/>
                  <a:gd name="T2" fmla="*/ 3 w 9"/>
                  <a:gd name="T3" fmla="*/ 0 h 3"/>
                  <a:gd name="T4" fmla="*/ 9 w 9"/>
                  <a:gd name="T5" fmla="*/ 2 h 3"/>
                  <a:gd name="T6" fmla="*/ 0 w 9"/>
                  <a:gd name="T7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" h="3">
                    <a:moveTo>
                      <a:pt x="0" y="3"/>
                    </a:moveTo>
                    <a:lnTo>
                      <a:pt x="3" y="0"/>
                    </a:lnTo>
                    <a:lnTo>
                      <a:pt x="9" y="2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820" name="Freeform 223"/>
              <p:cNvSpPr>
                <a:spLocks/>
              </p:cNvSpPr>
              <p:nvPr userDrawn="1"/>
            </p:nvSpPr>
            <p:spPr bwMode="auto">
              <a:xfrm>
                <a:off x="2282" y="2598"/>
                <a:ext cx="9" cy="3"/>
              </a:xfrm>
              <a:custGeom>
                <a:avLst/>
                <a:gdLst>
                  <a:gd name="T0" fmla="*/ 0 w 9"/>
                  <a:gd name="T1" fmla="*/ 3 h 3"/>
                  <a:gd name="T2" fmla="*/ 3 w 9"/>
                  <a:gd name="T3" fmla="*/ 0 h 3"/>
                  <a:gd name="T4" fmla="*/ 9 w 9"/>
                  <a:gd name="T5" fmla="*/ 2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9" h="3">
                    <a:moveTo>
                      <a:pt x="0" y="3"/>
                    </a:moveTo>
                    <a:lnTo>
                      <a:pt x="3" y="0"/>
                    </a:lnTo>
                    <a:lnTo>
                      <a:pt x="9" y="2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821" name="Freeform 224"/>
              <p:cNvSpPr>
                <a:spLocks/>
              </p:cNvSpPr>
              <p:nvPr userDrawn="1"/>
            </p:nvSpPr>
            <p:spPr bwMode="auto">
              <a:xfrm>
                <a:off x="1993" y="2575"/>
                <a:ext cx="4" cy="3"/>
              </a:xfrm>
              <a:custGeom>
                <a:avLst/>
                <a:gdLst>
                  <a:gd name="T0" fmla="*/ 1 w 4"/>
                  <a:gd name="T1" fmla="*/ 0 h 3"/>
                  <a:gd name="T2" fmla="*/ 0 w 4"/>
                  <a:gd name="T3" fmla="*/ 3 h 3"/>
                  <a:gd name="T4" fmla="*/ 4 w 4"/>
                  <a:gd name="T5" fmla="*/ 2 h 3"/>
                  <a:gd name="T6" fmla="*/ 1 w 4"/>
                  <a:gd name="T7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" h="3">
                    <a:moveTo>
                      <a:pt x="1" y="0"/>
                    </a:moveTo>
                    <a:lnTo>
                      <a:pt x="0" y="3"/>
                    </a:lnTo>
                    <a:lnTo>
                      <a:pt x="4" y="2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822" name="Freeform 225"/>
              <p:cNvSpPr>
                <a:spLocks/>
              </p:cNvSpPr>
              <p:nvPr userDrawn="1"/>
            </p:nvSpPr>
            <p:spPr bwMode="auto">
              <a:xfrm>
                <a:off x="1993" y="2575"/>
                <a:ext cx="4" cy="3"/>
              </a:xfrm>
              <a:custGeom>
                <a:avLst/>
                <a:gdLst>
                  <a:gd name="T0" fmla="*/ 1 w 4"/>
                  <a:gd name="T1" fmla="*/ 0 h 3"/>
                  <a:gd name="T2" fmla="*/ 0 w 4"/>
                  <a:gd name="T3" fmla="*/ 3 h 3"/>
                  <a:gd name="T4" fmla="*/ 4 w 4"/>
                  <a:gd name="T5" fmla="*/ 2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3">
                    <a:moveTo>
                      <a:pt x="1" y="0"/>
                    </a:moveTo>
                    <a:lnTo>
                      <a:pt x="0" y="3"/>
                    </a:lnTo>
                    <a:lnTo>
                      <a:pt x="4" y="2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823" name="Freeform 226"/>
              <p:cNvSpPr>
                <a:spLocks/>
              </p:cNvSpPr>
              <p:nvPr userDrawn="1"/>
            </p:nvSpPr>
            <p:spPr bwMode="auto">
              <a:xfrm>
                <a:off x="1970" y="2524"/>
                <a:ext cx="7" cy="5"/>
              </a:xfrm>
              <a:custGeom>
                <a:avLst/>
                <a:gdLst>
                  <a:gd name="T0" fmla="*/ 0 w 7"/>
                  <a:gd name="T1" fmla="*/ 0 h 5"/>
                  <a:gd name="T2" fmla="*/ 3 w 7"/>
                  <a:gd name="T3" fmla="*/ 1 h 5"/>
                  <a:gd name="T4" fmla="*/ 7 w 7"/>
                  <a:gd name="T5" fmla="*/ 5 h 5"/>
                  <a:gd name="T6" fmla="*/ 0 w 7"/>
                  <a:gd name="T7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5">
                    <a:moveTo>
                      <a:pt x="0" y="0"/>
                    </a:moveTo>
                    <a:lnTo>
                      <a:pt x="3" y="1"/>
                    </a:lnTo>
                    <a:lnTo>
                      <a:pt x="7" y="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824" name="Freeform 227"/>
              <p:cNvSpPr>
                <a:spLocks/>
              </p:cNvSpPr>
              <p:nvPr userDrawn="1"/>
            </p:nvSpPr>
            <p:spPr bwMode="auto">
              <a:xfrm>
                <a:off x="1970" y="2524"/>
                <a:ext cx="7" cy="5"/>
              </a:xfrm>
              <a:custGeom>
                <a:avLst/>
                <a:gdLst>
                  <a:gd name="T0" fmla="*/ 0 w 7"/>
                  <a:gd name="T1" fmla="*/ 0 h 5"/>
                  <a:gd name="T2" fmla="*/ 3 w 7"/>
                  <a:gd name="T3" fmla="*/ 1 h 5"/>
                  <a:gd name="T4" fmla="*/ 7 w 7"/>
                  <a:gd name="T5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5">
                    <a:moveTo>
                      <a:pt x="0" y="0"/>
                    </a:moveTo>
                    <a:lnTo>
                      <a:pt x="3" y="1"/>
                    </a:lnTo>
                    <a:lnTo>
                      <a:pt x="7" y="5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825" name="Freeform 228"/>
              <p:cNvSpPr>
                <a:spLocks/>
              </p:cNvSpPr>
              <p:nvPr userDrawn="1"/>
            </p:nvSpPr>
            <p:spPr bwMode="auto">
              <a:xfrm>
                <a:off x="1871" y="2674"/>
                <a:ext cx="2" cy="4"/>
              </a:xfrm>
              <a:custGeom>
                <a:avLst/>
                <a:gdLst>
                  <a:gd name="T0" fmla="*/ 0 w 2"/>
                  <a:gd name="T1" fmla="*/ 0 h 4"/>
                  <a:gd name="T2" fmla="*/ 2 w 2"/>
                  <a:gd name="T3" fmla="*/ 1 h 4"/>
                  <a:gd name="T4" fmla="*/ 2 w 2"/>
                  <a:gd name="T5" fmla="*/ 4 h 4"/>
                  <a:gd name="T6" fmla="*/ 0 w 2"/>
                  <a:gd name="T7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4">
                    <a:moveTo>
                      <a:pt x="0" y="0"/>
                    </a:moveTo>
                    <a:lnTo>
                      <a:pt x="2" y="1"/>
                    </a:lnTo>
                    <a:lnTo>
                      <a:pt x="2" y="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826" name="Freeform 229"/>
              <p:cNvSpPr>
                <a:spLocks/>
              </p:cNvSpPr>
              <p:nvPr userDrawn="1"/>
            </p:nvSpPr>
            <p:spPr bwMode="auto">
              <a:xfrm>
                <a:off x="1871" y="2674"/>
                <a:ext cx="2" cy="4"/>
              </a:xfrm>
              <a:custGeom>
                <a:avLst/>
                <a:gdLst>
                  <a:gd name="T0" fmla="*/ 0 w 2"/>
                  <a:gd name="T1" fmla="*/ 0 h 4"/>
                  <a:gd name="T2" fmla="*/ 2 w 2"/>
                  <a:gd name="T3" fmla="*/ 1 h 4"/>
                  <a:gd name="T4" fmla="*/ 2 w 2"/>
                  <a:gd name="T5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4">
                    <a:moveTo>
                      <a:pt x="0" y="0"/>
                    </a:moveTo>
                    <a:lnTo>
                      <a:pt x="2" y="1"/>
                    </a:lnTo>
                    <a:lnTo>
                      <a:pt x="2" y="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827" name="Freeform 230"/>
              <p:cNvSpPr>
                <a:spLocks/>
              </p:cNvSpPr>
              <p:nvPr userDrawn="1"/>
            </p:nvSpPr>
            <p:spPr bwMode="auto">
              <a:xfrm>
                <a:off x="2341" y="2622"/>
                <a:ext cx="3" cy="4"/>
              </a:xfrm>
              <a:custGeom>
                <a:avLst/>
                <a:gdLst>
                  <a:gd name="T0" fmla="*/ 3 w 3"/>
                  <a:gd name="T1" fmla="*/ 3 h 4"/>
                  <a:gd name="T2" fmla="*/ 1 w 3"/>
                  <a:gd name="T3" fmla="*/ 0 h 4"/>
                  <a:gd name="T4" fmla="*/ 1 w 3"/>
                  <a:gd name="T5" fmla="*/ 0 h 4"/>
                  <a:gd name="T6" fmla="*/ 0 w 3"/>
                  <a:gd name="T7" fmla="*/ 4 h 4"/>
                  <a:gd name="T8" fmla="*/ 3 w 3"/>
                  <a:gd name="T9" fmla="*/ 3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4">
                    <a:moveTo>
                      <a:pt x="3" y="3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0" y="4"/>
                    </a:lnTo>
                    <a:lnTo>
                      <a:pt x="3" y="3"/>
                    </a:ln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828" name="Freeform 231"/>
              <p:cNvSpPr>
                <a:spLocks/>
              </p:cNvSpPr>
              <p:nvPr userDrawn="1"/>
            </p:nvSpPr>
            <p:spPr bwMode="auto">
              <a:xfrm>
                <a:off x="2341" y="2622"/>
                <a:ext cx="3" cy="4"/>
              </a:xfrm>
              <a:custGeom>
                <a:avLst/>
                <a:gdLst>
                  <a:gd name="T0" fmla="*/ 3 w 3"/>
                  <a:gd name="T1" fmla="*/ 3 h 4"/>
                  <a:gd name="T2" fmla="*/ 1 w 3"/>
                  <a:gd name="T3" fmla="*/ 0 h 4"/>
                  <a:gd name="T4" fmla="*/ 1 w 3"/>
                  <a:gd name="T5" fmla="*/ 0 h 4"/>
                  <a:gd name="T6" fmla="*/ 0 w 3"/>
                  <a:gd name="T7" fmla="*/ 4 h 4"/>
                  <a:gd name="T8" fmla="*/ 3 w 3"/>
                  <a:gd name="T9" fmla="*/ 3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4">
                    <a:moveTo>
                      <a:pt x="3" y="3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0" y="4"/>
                    </a:lnTo>
                    <a:lnTo>
                      <a:pt x="3" y="3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829" name="Freeform 232"/>
              <p:cNvSpPr>
                <a:spLocks/>
              </p:cNvSpPr>
              <p:nvPr userDrawn="1"/>
            </p:nvSpPr>
            <p:spPr bwMode="auto">
              <a:xfrm>
                <a:off x="2355" y="2644"/>
                <a:ext cx="5" cy="9"/>
              </a:xfrm>
              <a:custGeom>
                <a:avLst/>
                <a:gdLst>
                  <a:gd name="T0" fmla="*/ 2 w 5"/>
                  <a:gd name="T1" fmla="*/ 1 h 10"/>
                  <a:gd name="T2" fmla="*/ 5 w 5"/>
                  <a:gd name="T3" fmla="*/ 4 h 10"/>
                  <a:gd name="T4" fmla="*/ 5 w 5"/>
                  <a:gd name="T5" fmla="*/ 9 h 10"/>
                  <a:gd name="T6" fmla="*/ 1 w 5"/>
                  <a:gd name="T7" fmla="*/ 10 h 10"/>
                  <a:gd name="T8" fmla="*/ 0 w 5"/>
                  <a:gd name="T9" fmla="*/ 4 h 10"/>
                  <a:gd name="T10" fmla="*/ 2 w 5"/>
                  <a:gd name="T11" fmla="*/ 1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10">
                    <a:moveTo>
                      <a:pt x="2" y="1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1" y="10"/>
                      <a:pt x="1" y="10"/>
                      <a:pt x="1" y="10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4"/>
                      <a:pt x="2" y="0"/>
                      <a:pt x="2" y="1"/>
                    </a:cubicBez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830" name="Freeform 233"/>
              <p:cNvSpPr>
                <a:spLocks noEditPoints="1"/>
              </p:cNvSpPr>
              <p:nvPr userDrawn="1"/>
            </p:nvSpPr>
            <p:spPr bwMode="auto">
              <a:xfrm>
                <a:off x="2347" y="2685"/>
                <a:ext cx="13" cy="28"/>
              </a:xfrm>
              <a:custGeom>
                <a:avLst/>
                <a:gdLst>
                  <a:gd name="T0" fmla="*/ 7 w 13"/>
                  <a:gd name="T1" fmla="*/ 25 h 29"/>
                  <a:gd name="T2" fmla="*/ 5 w 13"/>
                  <a:gd name="T3" fmla="*/ 23 h 29"/>
                  <a:gd name="T4" fmla="*/ 1 w 13"/>
                  <a:gd name="T5" fmla="*/ 24 h 29"/>
                  <a:gd name="T6" fmla="*/ 0 w 13"/>
                  <a:gd name="T7" fmla="*/ 28 h 29"/>
                  <a:gd name="T8" fmla="*/ 5 w 13"/>
                  <a:gd name="T9" fmla="*/ 29 h 29"/>
                  <a:gd name="T10" fmla="*/ 7 w 13"/>
                  <a:gd name="T11" fmla="*/ 25 h 29"/>
                  <a:gd name="T12" fmla="*/ 8 w 13"/>
                  <a:gd name="T13" fmla="*/ 17 h 29"/>
                  <a:gd name="T14" fmla="*/ 10 w 13"/>
                  <a:gd name="T15" fmla="*/ 20 h 29"/>
                  <a:gd name="T16" fmla="*/ 8 w 13"/>
                  <a:gd name="T17" fmla="*/ 20 h 29"/>
                  <a:gd name="T18" fmla="*/ 8 w 13"/>
                  <a:gd name="T19" fmla="*/ 17 h 29"/>
                  <a:gd name="T20" fmla="*/ 12 w 13"/>
                  <a:gd name="T21" fmla="*/ 0 h 29"/>
                  <a:gd name="T22" fmla="*/ 13 w 13"/>
                  <a:gd name="T23" fmla="*/ 5 h 29"/>
                  <a:gd name="T24" fmla="*/ 11 w 13"/>
                  <a:gd name="T25" fmla="*/ 10 h 29"/>
                  <a:gd name="T26" fmla="*/ 12 w 13"/>
                  <a:gd name="T27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29">
                    <a:moveTo>
                      <a:pt x="7" y="25"/>
                    </a:moveTo>
                    <a:cubicBezTo>
                      <a:pt x="5" y="23"/>
                      <a:pt x="5" y="23"/>
                      <a:pt x="5" y="23"/>
                    </a:cubicBezTo>
                    <a:cubicBezTo>
                      <a:pt x="1" y="24"/>
                      <a:pt x="1" y="24"/>
                      <a:pt x="1" y="24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5" y="29"/>
                      <a:pt x="5" y="29"/>
                      <a:pt x="5" y="29"/>
                    </a:cubicBezTo>
                    <a:cubicBezTo>
                      <a:pt x="7" y="25"/>
                      <a:pt x="7" y="25"/>
                      <a:pt x="7" y="25"/>
                    </a:cubicBezTo>
                    <a:close/>
                    <a:moveTo>
                      <a:pt x="8" y="17"/>
                    </a:moveTo>
                    <a:cubicBezTo>
                      <a:pt x="10" y="20"/>
                      <a:pt x="10" y="20"/>
                      <a:pt x="10" y="20"/>
                    </a:cubicBezTo>
                    <a:cubicBezTo>
                      <a:pt x="8" y="20"/>
                      <a:pt x="8" y="20"/>
                      <a:pt x="8" y="20"/>
                    </a:cubicBezTo>
                    <a:cubicBezTo>
                      <a:pt x="8" y="20"/>
                      <a:pt x="9" y="17"/>
                      <a:pt x="8" y="17"/>
                    </a:cubicBezTo>
                    <a:close/>
                    <a:moveTo>
                      <a:pt x="12" y="0"/>
                    </a:moveTo>
                    <a:cubicBezTo>
                      <a:pt x="13" y="5"/>
                      <a:pt x="13" y="5"/>
                      <a:pt x="13" y="5"/>
                    </a:cubicBezTo>
                    <a:cubicBezTo>
                      <a:pt x="11" y="10"/>
                      <a:pt x="11" y="10"/>
                      <a:pt x="11" y="10"/>
                    </a:cubicBezTo>
                    <a:lnTo>
                      <a:pt x="12" y="0"/>
                    </a:ln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831" name="Freeform 234"/>
              <p:cNvSpPr>
                <a:spLocks noEditPoints="1"/>
              </p:cNvSpPr>
              <p:nvPr userDrawn="1"/>
            </p:nvSpPr>
            <p:spPr bwMode="auto">
              <a:xfrm>
                <a:off x="2345" y="2727"/>
                <a:ext cx="23" cy="21"/>
              </a:xfrm>
              <a:custGeom>
                <a:avLst/>
                <a:gdLst>
                  <a:gd name="T0" fmla="*/ 20 w 23"/>
                  <a:gd name="T1" fmla="*/ 2 h 21"/>
                  <a:gd name="T2" fmla="*/ 23 w 23"/>
                  <a:gd name="T3" fmla="*/ 0 h 21"/>
                  <a:gd name="T4" fmla="*/ 23 w 23"/>
                  <a:gd name="T5" fmla="*/ 3 h 21"/>
                  <a:gd name="T6" fmla="*/ 20 w 23"/>
                  <a:gd name="T7" fmla="*/ 2 h 21"/>
                  <a:gd name="T8" fmla="*/ 20 w 23"/>
                  <a:gd name="T9" fmla="*/ 2 h 21"/>
                  <a:gd name="T10" fmla="*/ 20 w 23"/>
                  <a:gd name="T11" fmla="*/ 2 h 21"/>
                  <a:gd name="T12" fmla="*/ 18 w 23"/>
                  <a:gd name="T13" fmla="*/ 5 h 21"/>
                  <a:gd name="T14" fmla="*/ 11 w 23"/>
                  <a:gd name="T15" fmla="*/ 8 h 21"/>
                  <a:gd name="T16" fmla="*/ 8 w 23"/>
                  <a:gd name="T17" fmla="*/ 6 h 21"/>
                  <a:gd name="T18" fmla="*/ 4 w 23"/>
                  <a:gd name="T19" fmla="*/ 7 h 21"/>
                  <a:gd name="T20" fmla="*/ 2 w 23"/>
                  <a:gd name="T21" fmla="*/ 10 h 21"/>
                  <a:gd name="T22" fmla="*/ 6 w 23"/>
                  <a:gd name="T23" fmla="*/ 12 h 21"/>
                  <a:gd name="T24" fmla="*/ 6 w 23"/>
                  <a:gd name="T25" fmla="*/ 15 h 21"/>
                  <a:gd name="T26" fmla="*/ 3 w 23"/>
                  <a:gd name="T27" fmla="*/ 18 h 21"/>
                  <a:gd name="T28" fmla="*/ 0 w 23"/>
                  <a:gd name="T29" fmla="*/ 20 h 21"/>
                  <a:gd name="T30" fmla="*/ 3 w 23"/>
                  <a:gd name="T31" fmla="*/ 21 h 21"/>
                  <a:gd name="T32" fmla="*/ 13 w 23"/>
                  <a:gd name="T33" fmla="*/ 20 h 21"/>
                  <a:gd name="T34" fmla="*/ 17 w 23"/>
                  <a:gd name="T35" fmla="*/ 17 h 21"/>
                  <a:gd name="T36" fmla="*/ 16 w 23"/>
                  <a:gd name="T37" fmla="*/ 13 h 21"/>
                  <a:gd name="T38" fmla="*/ 14 w 23"/>
                  <a:gd name="T39" fmla="*/ 10 h 21"/>
                  <a:gd name="T40" fmla="*/ 19 w 23"/>
                  <a:gd name="T41" fmla="*/ 6 h 21"/>
                  <a:gd name="T42" fmla="*/ 18 w 23"/>
                  <a:gd name="T43" fmla="*/ 5 h 21"/>
                  <a:gd name="T44" fmla="*/ 18 w 23"/>
                  <a:gd name="T45" fmla="*/ 5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3" h="21">
                    <a:moveTo>
                      <a:pt x="20" y="2"/>
                    </a:moveTo>
                    <a:lnTo>
                      <a:pt x="23" y="0"/>
                    </a:lnTo>
                    <a:lnTo>
                      <a:pt x="23" y="3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20" y="2"/>
                    </a:lnTo>
                    <a:close/>
                    <a:moveTo>
                      <a:pt x="18" y="5"/>
                    </a:moveTo>
                    <a:lnTo>
                      <a:pt x="11" y="8"/>
                    </a:lnTo>
                    <a:lnTo>
                      <a:pt x="8" y="6"/>
                    </a:lnTo>
                    <a:lnTo>
                      <a:pt x="4" y="7"/>
                    </a:lnTo>
                    <a:lnTo>
                      <a:pt x="2" y="10"/>
                    </a:lnTo>
                    <a:lnTo>
                      <a:pt x="6" y="12"/>
                    </a:lnTo>
                    <a:lnTo>
                      <a:pt x="6" y="15"/>
                    </a:lnTo>
                    <a:lnTo>
                      <a:pt x="3" y="18"/>
                    </a:lnTo>
                    <a:lnTo>
                      <a:pt x="0" y="20"/>
                    </a:lnTo>
                    <a:lnTo>
                      <a:pt x="3" y="21"/>
                    </a:lnTo>
                    <a:lnTo>
                      <a:pt x="13" y="20"/>
                    </a:lnTo>
                    <a:lnTo>
                      <a:pt x="17" y="17"/>
                    </a:lnTo>
                    <a:lnTo>
                      <a:pt x="16" y="13"/>
                    </a:lnTo>
                    <a:lnTo>
                      <a:pt x="14" y="10"/>
                    </a:lnTo>
                    <a:lnTo>
                      <a:pt x="19" y="6"/>
                    </a:lnTo>
                    <a:lnTo>
                      <a:pt x="18" y="5"/>
                    </a:lnTo>
                    <a:lnTo>
                      <a:pt x="18" y="5"/>
                    </a:ln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832" name="Freeform 235"/>
              <p:cNvSpPr>
                <a:spLocks/>
              </p:cNvSpPr>
              <p:nvPr userDrawn="1"/>
            </p:nvSpPr>
            <p:spPr bwMode="auto">
              <a:xfrm>
                <a:off x="4292" y="3155"/>
                <a:ext cx="4" cy="9"/>
              </a:xfrm>
              <a:custGeom>
                <a:avLst/>
                <a:gdLst>
                  <a:gd name="T0" fmla="*/ 2 w 4"/>
                  <a:gd name="T1" fmla="*/ 0 h 9"/>
                  <a:gd name="T2" fmla="*/ 4 w 4"/>
                  <a:gd name="T3" fmla="*/ 3 h 9"/>
                  <a:gd name="T4" fmla="*/ 0 w 4"/>
                  <a:gd name="T5" fmla="*/ 9 h 9"/>
                  <a:gd name="T6" fmla="*/ 2 w 4"/>
                  <a:gd name="T7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" h="9">
                    <a:moveTo>
                      <a:pt x="2" y="0"/>
                    </a:moveTo>
                    <a:lnTo>
                      <a:pt x="4" y="3"/>
                    </a:lnTo>
                    <a:lnTo>
                      <a:pt x="0" y="9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2F1E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833" name="Freeform 236"/>
              <p:cNvSpPr>
                <a:spLocks/>
              </p:cNvSpPr>
              <p:nvPr userDrawn="1"/>
            </p:nvSpPr>
            <p:spPr bwMode="auto">
              <a:xfrm>
                <a:off x="4292" y="3155"/>
                <a:ext cx="4" cy="9"/>
              </a:xfrm>
              <a:custGeom>
                <a:avLst/>
                <a:gdLst>
                  <a:gd name="T0" fmla="*/ 2 w 4"/>
                  <a:gd name="T1" fmla="*/ 0 h 9"/>
                  <a:gd name="T2" fmla="*/ 4 w 4"/>
                  <a:gd name="T3" fmla="*/ 3 h 9"/>
                  <a:gd name="T4" fmla="*/ 0 w 4"/>
                  <a:gd name="T5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9">
                    <a:moveTo>
                      <a:pt x="2" y="0"/>
                    </a:moveTo>
                    <a:lnTo>
                      <a:pt x="4" y="3"/>
                    </a:lnTo>
                    <a:lnTo>
                      <a:pt x="0" y="9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834" name="Freeform 237"/>
              <p:cNvSpPr>
                <a:spLocks noEditPoints="1"/>
              </p:cNvSpPr>
              <p:nvPr userDrawn="1"/>
            </p:nvSpPr>
            <p:spPr bwMode="auto">
              <a:xfrm>
                <a:off x="4256" y="3130"/>
                <a:ext cx="28" cy="21"/>
              </a:xfrm>
              <a:custGeom>
                <a:avLst/>
                <a:gdLst>
                  <a:gd name="T0" fmla="*/ 5 w 28"/>
                  <a:gd name="T1" fmla="*/ 12 h 21"/>
                  <a:gd name="T2" fmla="*/ 7 w 28"/>
                  <a:gd name="T3" fmla="*/ 10 h 21"/>
                  <a:gd name="T4" fmla="*/ 5 w 28"/>
                  <a:gd name="T5" fmla="*/ 6 h 21"/>
                  <a:gd name="T6" fmla="*/ 7 w 28"/>
                  <a:gd name="T7" fmla="*/ 4 h 21"/>
                  <a:gd name="T8" fmla="*/ 5 w 28"/>
                  <a:gd name="T9" fmla="*/ 0 h 21"/>
                  <a:gd name="T10" fmla="*/ 3 w 28"/>
                  <a:gd name="T11" fmla="*/ 0 h 21"/>
                  <a:gd name="T12" fmla="*/ 0 w 28"/>
                  <a:gd name="T13" fmla="*/ 5 h 21"/>
                  <a:gd name="T14" fmla="*/ 1 w 28"/>
                  <a:gd name="T15" fmla="*/ 7 h 21"/>
                  <a:gd name="T16" fmla="*/ 1 w 28"/>
                  <a:gd name="T17" fmla="*/ 11 h 21"/>
                  <a:gd name="T18" fmla="*/ 3 w 28"/>
                  <a:gd name="T19" fmla="*/ 12 h 21"/>
                  <a:gd name="T20" fmla="*/ 5 w 28"/>
                  <a:gd name="T21" fmla="*/ 12 h 21"/>
                  <a:gd name="T22" fmla="*/ 5 w 28"/>
                  <a:gd name="T23" fmla="*/ 12 h 21"/>
                  <a:gd name="T24" fmla="*/ 5 w 28"/>
                  <a:gd name="T25" fmla="*/ 12 h 21"/>
                  <a:gd name="T26" fmla="*/ 7 w 28"/>
                  <a:gd name="T27" fmla="*/ 19 h 21"/>
                  <a:gd name="T28" fmla="*/ 9 w 28"/>
                  <a:gd name="T29" fmla="*/ 19 h 21"/>
                  <a:gd name="T30" fmla="*/ 10 w 28"/>
                  <a:gd name="T31" fmla="*/ 21 h 21"/>
                  <a:gd name="T32" fmla="*/ 7 w 28"/>
                  <a:gd name="T33" fmla="*/ 20 h 21"/>
                  <a:gd name="T34" fmla="*/ 6 w 28"/>
                  <a:gd name="T35" fmla="*/ 20 h 21"/>
                  <a:gd name="T36" fmla="*/ 7 w 28"/>
                  <a:gd name="T37" fmla="*/ 19 h 21"/>
                  <a:gd name="T38" fmla="*/ 7 w 28"/>
                  <a:gd name="T39" fmla="*/ 19 h 21"/>
                  <a:gd name="T40" fmla="*/ 7 w 28"/>
                  <a:gd name="T41" fmla="*/ 19 h 21"/>
                  <a:gd name="T42" fmla="*/ 26 w 28"/>
                  <a:gd name="T43" fmla="*/ 20 h 21"/>
                  <a:gd name="T44" fmla="*/ 28 w 28"/>
                  <a:gd name="T45" fmla="*/ 20 h 21"/>
                  <a:gd name="T46" fmla="*/ 26 w 28"/>
                  <a:gd name="T47" fmla="*/ 16 h 21"/>
                  <a:gd name="T48" fmla="*/ 24 w 28"/>
                  <a:gd name="T49" fmla="*/ 17 h 21"/>
                  <a:gd name="T50" fmla="*/ 21 w 28"/>
                  <a:gd name="T51" fmla="*/ 18 h 21"/>
                  <a:gd name="T52" fmla="*/ 24 w 28"/>
                  <a:gd name="T53" fmla="*/ 19 h 21"/>
                  <a:gd name="T54" fmla="*/ 26 w 28"/>
                  <a:gd name="T55" fmla="*/ 20 h 21"/>
                  <a:gd name="T56" fmla="*/ 26 w 28"/>
                  <a:gd name="T57" fmla="*/ 2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28" h="21">
                    <a:moveTo>
                      <a:pt x="5" y="12"/>
                    </a:moveTo>
                    <a:lnTo>
                      <a:pt x="7" y="10"/>
                    </a:lnTo>
                    <a:lnTo>
                      <a:pt x="5" y="6"/>
                    </a:lnTo>
                    <a:lnTo>
                      <a:pt x="7" y="4"/>
                    </a:lnTo>
                    <a:lnTo>
                      <a:pt x="5" y="0"/>
                    </a:lnTo>
                    <a:lnTo>
                      <a:pt x="3" y="0"/>
                    </a:lnTo>
                    <a:lnTo>
                      <a:pt x="0" y="5"/>
                    </a:lnTo>
                    <a:lnTo>
                      <a:pt x="1" y="7"/>
                    </a:lnTo>
                    <a:lnTo>
                      <a:pt x="1" y="11"/>
                    </a:lnTo>
                    <a:lnTo>
                      <a:pt x="3" y="12"/>
                    </a:lnTo>
                    <a:lnTo>
                      <a:pt x="5" y="12"/>
                    </a:lnTo>
                    <a:lnTo>
                      <a:pt x="5" y="12"/>
                    </a:lnTo>
                    <a:lnTo>
                      <a:pt x="5" y="12"/>
                    </a:lnTo>
                    <a:close/>
                    <a:moveTo>
                      <a:pt x="7" y="19"/>
                    </a:moveTo>
                    <a:lnTo>
                      <a:pt x="9" y="19"/>
                    </a:lnTo>
                    <a:lnTo>
                      <a:pt x="10" y="21"/>
                    </a:lnTo>
                    <a:lnTo>
                      <a:pt x="7" y="20"/>
                    </a:lnTo>
                    <a:lnTo>
                      <a:pt x="6" y="20"/>
                    </a:lnTo>
                    <a:lnTo>
                      <a:pt x="7" y="19"/>
                    </a:lnTo>
                    <a:lnTo>
                      <a:pt x="7" y="19"/>
                    </a:lnTo>
                    <a:lnTo>
                      <a:pt x="7" y="19"/>
                    </a:lnTo>
                    <a:close/>
                    <a:moveTo>
                      <a:pt x="26" y="20"/>
                    </a:moveTo>
                    <a:lnTo>
                      <a:pt x="28" y="20"/>
                    </a:lnTo>
                    <a:lnTo>
                      <a:pt x="26" y="16"/>
                    </a:lnTo>
                    <a:lnTo>
                      <a:pt x="24" y="17"/>
                    </a:lnTo>
                    <a:lnTo>
                      <a:pt x="21" y="18"/>
                    </a:lnTo>
                    <a:lnTo>
                      <a:pt x="24" y="19"/>
                    </a:lnTo>
                    <a:lnTo>
                      <a:pt x="26" y="20"/>
                    </a:lnTo>
                    <a:lnTo>
                      <a:pt x="26" y="20"/>
                    </a:ln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835" name="Freeform 238"/>
              <p:cNvSpPr>
                <a:spLocks noEditPoints="1"/>
              </p:cNvSpPr>
              <p:nvPr userDrawn="1"/>
            </p:nvSpPr>
            <p:spPr bwMode="auto">
              <a:xfrm>
                <a:off x="4316" y="3012"/>
                <a:ext cx="175" cy="92"/>
              </a:xfrm>
              <a:custGeom>
                <a:avLst/>
                <a:gdLst>
                  <a:gd name="T0" fmla="*/ 171 w 175"/>
                  <a:gd name="T1" fmla="*/ 5 h 92"/>
                  <a:gd name="T2" fmla="*/ 175 w 175"/>
                  <a:gd name="T3" fmla="*/ 4 h 92"/>
                  <a:gd name="T4" fmla="*/ 174 w 175"/>
                  <a:gd name="T5" fmla="*/ 2 h 92"/>
                  <a:gd name="T6" fmla="*/ 171 w 175"/>
                  <a:gd name="T7" fmla="*/ 0 h 92"/>
                  <a:gd name="T8" fmla="*/ 169 w 175"/>
                  <a:gd name="T9" fmla="*/ 3 h 92"/>
                  <a:gd name="T10" fmla="*/ 171 w 175"/>
                  <a:gd name="T11" fmla="*/ 5 h 92"/>
                  <a:gd name="T12" fmla="*/ 171 w 175"/>
                  <a:gd name="T13" fmla="*/ 5 h 92"/>
                  <a:gd name="T14" fmla="*/ 171 w 175"/>
                  <a:gd name="T15" fmla="*/ 5 h 92"/>
                  <a:gd name="T16" fmla="*/ 4 w 175"/>
                  <a:gd name="T17" fmla="*/ 90 h 92"/>
                  <a:gd name="T18" fmla="*/ 6 w 175"/>
                  <a:gd name="T19" fmla="*/ 90 h 92"/>
                  <a:gd name="T20" fmla="*/ 5 w 175"/>
                  <a:gd name="T21" fmla="*/ 92 h 92"/>
                  <a:gd name="T22" fmla="*/ 4 w 175"/>
                  <a:gd name="T23" fmla="*/ 90 h 92"/>
                  <a:gd name="T24" fmla="*/ 4 w 175"/>
                  <a:gd name="T25" fmla="*/ 90 h 92"/>
                  <a:gd name="T26" fmla="*/ 4 w 175"/>
                  <a:gd name="T27" fmla="*/ 90 h 92"/>
                  <a:gd name="T28" fmla="*/ 0 w 175"/>
                  <a:gd name="T29" fmla="*/ 85 h 92"/>
                  <a:gd name="T30" fmla="*/ 2 w 175"/>
                  <a:gd name="T31" fmla="*/ 82 h 92"/>
                  <a:gd name="T32" fmla="*/ 4 w 175"/>
                  <a:gd name="T33" fmla="*/ 83 h 92"/>
                  <a:gd name="T34" fmla="*/ 6 w 175"/>
                  <a:gd name="T35" fmla="*/ 84 h 92"/>
                  <a:gd name="T36" fmla="*/ 5 w 175"/>
                  <a:gd name="T37" fmla="*/ 85 h 92"/>
                  <a:gd name="T38" fmla="*/ 2 w 175"/>
                  <a:gd name="T39" fmla="*/ 86 h 92"/>
                  <a:gd name="T40" fmla="*/ 0 w 175"/>
                  <a:gd name="T41" fmla="*/ 85 h 92"/>
                  <a:gd name="T42" fmla="*/ 0 w 175"/>
                  <a:gd name="T43" fmla="*/ 85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75" h="92">
                    <a:moveTo>
                      <a:pt x="171" y="5"/>
                    </a:moveTo>
                    <a:lnTo>
                      <a:pt x="175" y="4"/>
                    </a:lnTo>
                    <a:lnTo>
                      <a:pt x="174" y="2"/>
                    </a:lnTo>
                    <a:lnTo>
                      <a:pt x="171" y="0"/>
                    </a:lnTo>
                    <a:lnTo>
                      <a:pt x="169" y="3"/>
                    </a:lnTo>
                    <a:lnTo>
                      <a:pt x="171" y="5"/>
                    </a:lnTo>
                    <a:lnTo>
                      <a:pt x="171" y="5"/>
                    </a:lnTo>
                    <a:lnTo>
                      <a:pt x="171" y="5"/>
                    </a:lnTo>
                    <a:close/>
                    <a:moveTo>
                      <a:pt x="4" y="90"/>
                    </a:moveTo>
                    <a:lnTo>
                      <a:pt x="6" y="90"/>
                    </a:lnTo>
                    <a:lnTo>
                      <a:pt x="5" y="92"/>
                    </a:lnTo>
                    <a:lnTo>
                      <a:pt x="4" y="90"/>
                    </a:lnTo>
                    <a:lnTo>
                      <a:pt x="4" y="90"/>
                    </a:lnTo>
                    <a:lnTo>
                      <a:pt x="4" y="90"/>
                    </a:lnTo>
                    <a:close/>
                    <a:moveTo>
                      <a:pt x="0" y="85"/>
                    </a:moveTo>
                    <a:lnTo>
                      <a:pt x="2" y="82"/>
                    </a:lnTo>
                    <a:lnTo>
                      <a:pt x="4" y="83"/>
                    </a:lnTo>
                    <a:lnTo>
                      <a:pt x="6" y="84"/>
                    </a:lnTo>
                    <a:lnTo>
                      <a:pt x="5" y="85"/>
                    </a:lnTo>
                    <a:lnTo>
                      <a:pt x="2" y="86"/>
                    </a:lnTo>
                    <a:lnTo>
                      <a:pt x="0" y="85"/>
                    </a:lnTo>
                    <a:lnTo>
                      <a:pt x="0" y="85"/>
                    </a:ln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836" name="Freeform 239"/>
              <p:cNvSpPr>
                <a:spLocks/>
              </p:cNvSpPr>
              <p:nvPr userDrawn="1"/>
            </p:nvSpPr>
            <p:spPr bwMode="auto">
              <a:xfrm>
                <a:off x="5172" y="2679"/>
                <a:ext cx="6" cy="24"/>
              </a:xfrm>
              <a:custGeom>
                <a:avLst/>
                <a:gdLst>
                  <a:gd name="T0" fmla="*/ 6 w 6"/>
                  <a:gd name="T1" fmla="*/ 22 h 25"/>
                  <a:gd name="T2" fmla="*/ 6 w 6"/>
                  <a:gd name="T3" fmla="*/ 16 h 25"/>
                  <a:gd name="T4" fmla="*/ 3 w 6"/>
                  <a:gd name="T5" fmla="*/ 15 h 25"/>
                  <a:gd name="T6" fmla="*/ 6 w 6"/>
                  <a:gd name="T7" fmla="*/ 11 h 25"/>
                  <a:gd name="T8" fmla="*/ 6 w 6"/>
                  <a:gd name="T9" fmla="*/ 7 h 25"/>
                  <a:gd name="T10" fmla="*/ 5 w 6"/>
                  <a:gd name="T11" fmla="*/ 5 h 25"/>
                  <a:gd name="T12" fmla="*/ 6 w 6"/>
                  <a:gd name="T13" fmla="*/ 2 h 25"/>
                  <a:gd name="T14" fmla="*/ 6 w 6"/>
                  <a:gd name="T15" fmla="*/ 0 h 25"/>
                  <a:gd name="T16" fmla="*/ 2 w 6"/>
                  <a:gd name="T17" fmla="*/ 4 h 25"/>
                  <a:gd name="T18" fmla="*/ 3 w 6"/>
                  <a:gd name="T19" fmla="*/ 11 h 25"/>
                  <a:gd name="T20" fmla="*/ 1 w 6"/>
                  <a:gd name="T21" fmla="*/ 13 h 25"/>
                  <a:gd name="T22" fmla="*/ 2 w 6"/>
                  <a:gd name="T23" fmla="*/ 15 h 25"/>
                  <a:gd name="T24" fmla="*/ 0 w 6"/>
                  <a:gd name="T25" fmla="*/ 23 h 25"/>
                  <a:gd name="T26" fmla="*/ 2 w 6"/>
                  <a:gd name="T27" fmla="*/ 25 h 25"/>
                  <a:gd name="T28" fmla="*/ 2 w 6"/>
                  <a:gd name="T29" fmla="*/ 25 h 25"/>
                  <a:gd name="T30" fmla="*/ 6 w 6"/>
                  <a:gd name="T31" fmla="*/ 2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6" h="25">
                    <a:moveTo>
                      <a:pt x="6" y="22"/>
                    </a:moveTo>
                    <a:cubicBezTo>
                      <a:pt x="6" y="16"/>
                      <a:pt x="6" y="16"/>
                      <a:pt x="6" y="16"/>
                    </a:cubicBezTo>
                    <a:cubicBezTo>
                      <a:pt x="3" y="15"/>
                      <a:pt x="3" y="15"/>
                      <a:pt x="3" y="15"/>
                    </a:cubicBezTo>
                    <a:cubicBezTo>
                      <a:pt x="6" y="11"/>
                      <a:pt x="6" y="11"/>
                      <a:pt x="6" y="11"/>
                    </a:cubicBezTo>
                    <a:cubicBezTo>
                      <a:pt x="6" y="7"/>
                      <a:pt x="6" y="7"/>
                      <a:pt x="6" y="7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6" y="2"/>
                      <a:pt x="6" y="2"/>
                      <a:pt x="6" y="2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2" y="4"/>
                      <a:pt x="2" y="4"/>
                      <a:pt x="2" y="4"/>
                    </a:cubicBezTo>
                    <a:cubicBezTo>
                      <a:pt x="3" y="11"/>
                      <a:pt x="3" y="11"/>
                      <a:pt x="3" y="11"/>
                    </a:cubicBezTo>
                    <a:cubicBezTo>
                      <a:pt x="1" y="13"/>
                      <a:pt x="1" y="13"/>
                      <a:pt x="1" y="13"/>
                    </a:cubicBezTo>
                    <a:cubicBezTo>
                      <a:pt x="2" y="15"/>
                      <a:pt x="2" y="15"/>
                      <a:pt x="2" y="15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2" y="25"/>
                      <a:pt x="2" y="25"/>
                      <a:pt x="2" y="25"/>
                    </a:cubicBezTo>
                    <a:cubicBezTo>
                      <a:pt x="2" y="25"/>
                      <a:pt x="2" y="25"/>
                      <a:pt x="2" y="25"/>
                    </a:cubicBezTo>
                    <a:cubicBezTo>
                      <a:pt x="6" y="22"/>
                      <a:pt x="6" y="22"/>
                      <a:pt x="6" y="22"/>
                    </a:cubicBezTo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837" name="Freeform 240"/>
              <p:cNvSpPr>
                <a:spLocks/>
              </p:cNvSpPr>
              <p:nvPr userDrawn="1"/>
            </p:nvSpPr>
            <p:spPr bwMode="auto">
              <a:xfrm>
                <a:off x="5170" y="2705"/>
                <a:ext cx="6" cy="19"/>
              </a:xfrm>
              <a:custGeom>
                <a:avLst/>
                <a:gdLst>
                  <a:gd name="T0" fmla="*/ 2 w 6"/>
                  <a:gd name="T1" fmla="*/ 20 h 20"/>
                  <a:gd name="T2" fmla="*/ 4 w 6"/>
                  <a:gd name="T3" fmla="*/ 14 h 20"/>
                  <a:gd name="T4" fmla="*/ 4 w 6"/>
                  <a:gd name="T5" fmla="*/ 10 h 20"/>
                  <a:gd name="T6" fmla="*/ 3 w 6"/>
                  <a:gd name="T7" fmla="*/ 8 h 20"/>
                  <a:gd name="T8" fmla="*/ 4 w 6"/>
                  <a:gd name="T9" fmla="*/ 4 h 20"/>
                  <a:gd name="T10" fmla="*/ 6 w 6"/>
                  <a:gd name="T11" fmla="*/ 2 h 20"/>
                  <a:gd name="T12" fmla="*/ 6 w 6"/>
                  <a:gd name="T13" fmla="*/ 0 h 20"/>
                  <a:gd name="T14" fmla="*/ 1 w 6"/>
                  <a:gd name="T15" fmla="*/ 2 h 20"/>
                  <a:gd name="T16" fmla="*/ 1 w 6"/>
                  <a:gd name="T17" fmla="*/ 7 h 20"/>
                  <a:gd name="T18" fmla="*/ 0 w 6"/>
                  <a:gd name="T19" fmla="*/ 10 h 20"/>
                  <a:gd name="T20" fmla="*/ 2 w 6"/>
                  <a:gd name="T21" fmla="*/ 14 h 20"/>
                  <a:gd name="T22" fmla="*/ 1 w 6"/>
                  <a:gd name="T23" fmla="*/ 17 h 20"/>
                  <a:gd name="T24" fmla="*/ 2 w 6"/>
                  <a:gd name="T25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" h="20">
                    <a:moveTo>
                      <a:pt x="2" y="20"/>
                    </a:moveTo>
                    <a:cubicBezTo>
                      <a:pt x="4" y="14"/>
                      <a:pt x="4" y="14"/>
                      <a:pt x="4" y="14"/>
                    </a:cubicBezTo>
                    <a:cubicBezTo>
                      <a:pt x="4" y="10"/>
                      <a:pt x="4" y="10"/>
                      <a:pt x="4" y="10"/>
                    </a:cubicBezTo>
                    <a:cubicBezTo>
                      <a:pt x="3" y="8"/>
                      <a:pt x="3" y="8"/>
                      <a:pt x="3" y="8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6" y="2"/>
                      <a:pt x="6" y="2"/>
                      <a:pt x="6" y="2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1" y="7"/>
                      <a:pt x="1" y="7"/>
                      <a:pt x="1" y="7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1" y="17"/>
                      <a:pt x="1" y="17"/>
                      <a:pt x="1" y="17"/>
                    </a:cubicBezTo>
                    <a:cubicBezTo>
                      <a:pt x="2" y="20"/>
                      <a:pt x="2" y="20"/>
                      <a:pt x="2" y="20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838" name="Freeform 241"/>
              <p:cNvSpPr>
                <a:spLocks/>
              </p:cNvSpPr>
              <p:nvPr userDrawn="1"/>
            </p:nvSpPr>
            <p:spPr bwMode="auto">
              <a:xfrm>
                <a:off x="5162" y="2718"/>
                <a:ext cx="5" cy="3"/>
              </a:xfrm>
              <a:custGeom>
                <a:avLst/>
                <a:gdLst>
                  <a:gd name="T0" fmla="*/ 0 w 5"/>
                  <a:gd name="T1" fmla="*/ 2 h 3"/>
                  <a:gd name="T2" fmla="*/ 5 w 5"/>
                  <a:gd name="T3" fmla="*/ 3 h 3"/>
                  <a:gd name="T4" fmla="*/ 3 w 5"/>
                  <a:gd name="T5" fmla="*/ 0 h 3"/>
                  <a:gd name="T6" fmla="*/ 0 w 5"/>
                  <a:gd name="T7" fmla="*/ 2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" h="3">
                    <a:moveTo>
                      <a:pt x="0" y="2"/>
                    </a:moveTo>
                    <a:cubicBezTo>
                      <a:pt x="5" y="3"/>
                      <a:pt x="5" y="3"/>
                      <a:pt x="5" y="3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0" y="2"/>
                      <a:pt x="0" y="2"/>
                      <a:pt x="0" y="2"/>
                    </a:cubicBez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839" name="Freeform 242"/>
              <p:cNvSpPr>
                <a:spLocks/>
              </p:cNvSpPr>
              <p:nvPr userDrawn="1"/>
            </p:nvSpPr>
            <p:spPr bwMode="auto">
              <a:xfrm>
                <a:off x="5169" y="2731"/>
                <a:ext cx="5" cy="9"/>
              </a:xfrm>
              <a:custGeom>
                <a:avLst/>
                <a:gdLst>
                  <a:gd name="T0" fmla="*/ 0 w 6"/>
                  <a:gd name="T1" fmla="*/ 10 h 10"/>
                  <a:gd name="T2" fmla="*/ 4 w 6"/>
                  <a:gd name="T3" fmla="*/ 9 h 10"/>
                  <a:gd name="T4" fmla="*/ 6 w 6"/>
                  <a:gd name="T5" fmla="*/ 5 h 10"/>
                  <a:gd name="T6" fmla="*/ 5 w 6"/>
                  <a:gd name="T7" fmla="*/ 0 h 10"/>
                  <a:gd name="T8" fmla="*/ 1 w 6"/>
                  <a:gd name="T9" fmla="*/ 2 h 10"/>
                  <a:gd name="T10" fmla="*/ 0 w 6"/>
                  <a:gd name="T11" fmla="*/ 6 h 10"/>
                  <a:gd name="T12" fmla="*/ 0 w 6"/>
                  <a:gd name="T13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10">
                    <a:moveTo>
                      <a:pt x="0" y="10"/>
                    </a:moveTo>
                    <a:cubicBezTo>
                      <a:pt x="4" y="9"/>
                      <a:pt x="4" y="9"/>
                      <a:pt x="4" y="9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6"/>
                      <a:pt x="0" y="9"/>
                      <a:pt x="0" y="10"/>
                    </a:cubicBez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840" name="Freeform 243"/>
              <p:cNvSpPr>
                <a:spLocks/>
              </p:cNvSpPr>
              <p:nvPr userDrawn="1"/>
            </p:nvSpPr>
            <p:spPr bwMode="auto">
              <a:xfrm>
                <a:off x="5176" y="2761"/>
                <a:ext cx="3" cy="2"/>
              </a:xfrm>
              <a:custGeom>
                <a:avLst/>
                <a:gdLst>
                  <a:gd name="T0" fmla="*/ 3 w 3"/>
                  <a:gd name="T1" fmla="*/ 0 h 2"/>
                  <a:gd name="T2" fmla="*/ 0 w 3"/>
                  <a:gd name="T3" fmla="*/ 1 h 2"/>
                  <a:gd name="T4" fmla="*/ 2 w 3"/>
                  <a:gd name="T5" fmla="*/ 2 h 2"/>
                  <a:gd name="T6" fmla="*/ 3 w 3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2">
                    <a:moveTo>
                      <a:pt x="3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3" y="0"/>
                      <a:pt x="3" y="0"/>
                      <a:pt x="3" y="0"/>
                    </a:cubicBez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841" name="Freeform 244"/>
              <p:cNvSpPr>
                <a:spLocks/>
              </p:cNvSpPr>
              <p:nvPr userDrawn="1"/>
            </p:nvSpPr>
            <p:spPr bwMode="auto">
              <a:xfrm>
                <a:off x="5184" y="2776"/>
                <a:ext cx="4" cy="6"/>
              </a:xfrm>
              <a:custGeom>
                <a:avLst/>
                <a:gdLst>
                  <a:gd name="T0" fmla="*/ 0 w 4"/>
                  <a:gd name="T1" fmla="*/ 0 h 6"/>
                  <a:gd name="T2" fmla="*/ 3 w 4"/>
                  <a:gd name="T3" fmla="*/ 1 h 6"/>
                  <a:gd name="T4" fmla="*/ 4 w 4"/>
                  <a:gd name="T5" fmla="*/ 6 h 6"/>
                  <a:gd name="T6" fmla="*/ 1 w 4"/>
                  <a:gd name="T7" fmla="*/ 3 h 6"/>
                  <a:gd name="T8" fmla="*/ 0 w 4"/>
                  <a:gd name="T9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6">
                    <a:moveTo>
                      <a:pt x="0" y="0"/>
                    </a:moveTo>
                    <a:cubicBezTo>
                      <a:pt x="3" y="1"/>
                      <a:pt x="3" y="1"/>
                      <a:pt x="3" y="1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842" name="Freeform 245"/>
              <p:cNvSpPr>
                <a:spLocks/>
              </p:cNvSpPr>
              <p:nvPr userDrawn="1"/>
            </p:nvSpPr>
            <p:spPr bwMode="auto">
              <a:xfrm>
                <a:off x="5192" y="2778"/>
                <a:ext cx="3" cy="5"/>
              </a:xfrm>
              <a:custGeom>
                <a:avLst/>
                <a:gdLst>
                  <a:gd name="T0" fmla="*/ 1 w 3"/>
                  <a:gd name="T1" fmla="*/ 0 h 6"/>
                  <a:gd name="T2" fmla="*/ 0 w 3"/>
                  <a:gd name="T3" fmla="*/ 3 h 6"/>
                  <a:gd name="T4" fmla="*/ 1 w 3"/>
                  <a:gd name="T5" fmla="*/ 6 h 6"/>
                  <a:gd name="T6" fmla="*/ 3 w 3"/>
                  <a:gd name="T7" fmla="*/ 4 h 6"/>
                  <a:gd name="T8" fmla="*/ 3 w 3"/>
                  <a:gd name="T9" fmla="*/ 2 h 6"/>
                  <a:gd name="T10" fmla="*/ 1 w 3"/>
                  <a:gd name="T11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" h="6">
                    <a:moveTo>
                      <a:pt x="1" y="0"/>
                    </a:moveTo>
                    <a:cubicBezTo>
                      <a:pt x="0" y="3"/>
                      <a:pt x="0" y="3"/>
                      <a:pt x="0" y="3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1" y="0"/>
                      <a:pt x="1" y="0"/>
                      <a:pt x="1" y="0"/>
                    </a:cubicBez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843" name="Freeform 246"/>
              <p:cNvSpPr>
                <a:spLocks/>
              </p:cNvSpPr>
              <p:nvPr userDrawn="1"/>
            </p:nvSpPr>
            <p:spPr bwMode="auto">
              <a:xfrm>
                <a:off x="5188" y="2784"/>
                <a:ext cx="5" cy="5"/>
              </a:xfrm>
              <a:custGeom>
                <a:avLst/>
                <a:gdLst>
                  <a:gd name="T0" fmla="*/ 1 w 6"/>
                  <a:gd name="T1" fmla="*/ 3 h 5"/>
                  <a:gd name="T2" fmla="*/ 4 w 6"/>
                  <a:gd name="T3" fmla="*/ 5 h 5"/>
                  <a:gd name="T4" fmla="*/ 6 w 6"/>
                  <a:gd name="T5" fmla="*/ 3 h 5"/>
                  <a:gd name="T6" fmla="*/ 4 w 6"/>
                  <a:gd name="T7" fmla="*/ 0 h 5"/>
                  <a:gd name="T8" fmla="*/ 0 w 6"/>
                  <a:gd name="T9" fmla="*/ 0 h 5"/>
                  <a:gd name="T10" fmla="*/ 1 w 6"/>
                  <a:gd name="T11" fmla="*/ 3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" h="5">
                    <a:moveTo>
                      <a:pt x="1" y="3"/>
                    </a:moveTo>
                    <a:cubicBezTo>
                      <a:pt x="4" y="5"/>
                      <a:pt x="4" y="5"/>
                      <a:pt x="4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3"/>
                      <a:pt x="1" y="3"/>
                      <a:pt x="1" y="3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844" name="Freeform 247"/>
              <p:cNvSpPr>
                <a:spLocks/>
              </p:cNvSpPr>
              <p:nvPr userDrawn="1"/>
            </p:nvSpPr>
            <p:spPr bwMode="auto">
              <a:xfrm>
                <a:off x="5194" y="2793"/>
                <a:ext cx="4" cy="4"/>
              </a:xfrm>
              <a:custGeom>
                <a:avLst/>
                <a:gdLst>
                  <a:gd name="T0" fmla="*/ 1 w 4"/>
                  <a:gd name="T1" fmla="*/ 4 h 4"/>
                  <a:gd name="T2" fmla="*/ 4 w 4"/>
                  <a:gd name="T3" fmla="*/ 0 h 4"/>
                  <a:gd name="T4" fmla="*/ 2 w 4"/>
                  <a:gd name="T5" fmla="*/ 0 h 4"/>
                  <a:gd name="T6" fmla="*/ 0 w 4"/>
                  <a:gd name="T7" fmla="*/ 3 h 4"/>
                  <a:gd name="T8" fmla="*/ 1 w 4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4">
                    <a:moveTo>
                      <a:pt x="1" y="4"/>
                    </a:moveTo>
                    <a:cubicBezTo>
                      <a:pt x="4" y="0"/>
                      <a:pt x="4" y="0"/>
                      <a:pt x="4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1" y="4"/>
                      <a:pt x="1" y="4"/>
                      <a:pt x="1" y="4"/>
                    </a:cubicBez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845" name="Freeform 248"/>
              <p:cNvSpPr>
                <a:spLocks/>
              </p:cNvSpPr>
              <p:nvPr userDrawn="1"/>
            </p:nvSpPr>
            <p:spPr bwMode="auto">
              <a:xfrm>
                <a:off x="5196" y="2798"/>
                <a:ext cx="5" cy="10"/>
              </a:xfrm>
              <a:custGeom>
                <a:avLst/>
                <a:gdLst>
                  <a:gd name="T0" fmla="*/ 2 w 5"/>
                  <a:gd name="T1" fmla="*/ 0 h 11"/>
                  <a:gd name="T2" fmla="*/ 0 w 5"/>
                  <a:gd name="T3" fmla="*/ 2 h 11"/>
                  <a:gd name="T4" fmla="*/ 0 w 5"/>
                  <a:gd name="T5" fmla="*/ 6 h 11"/>
                  <a:gd name="T6" fmla="*/ 2 w 5"/>
                  <a:gd name="T7" fmla="*/ 7 h 11"/>
                  <a:gd name="T8" fmla="*/ 3 w 5"/>
                  <a:gd name="T9" fmla="*/ 11 h 11"/>
                  <a:gd name="T10" fmla="*/ 5 w 5"/>
                  <a:gd name="T11" fmla="*/ 8 h 11"/>
                  <a:gd name="T12" fmla="*/ 4 w 5"/>
                  <a:gd name="T13" fmla="*/ 5 h 11"/>
                  <a:gd name="T14" fmla="*/ 4 w 5"/>
                  <a:gd name="T15" fmla="*/ 1 h 11"/>
                  <a:gd name="T16" fmla="*/ 2 w 5"/>
                  <a:gd name="T17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" h="11">
                    <a:moveTo>
                      <a:pt x="2" y="0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3" y="11"/>
                      <a:pt x="3" y="11"/>
                      <a:pt x="3" y="11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1"/>
                      <a:pt x="4" y="1"/>
                      <a:pt x="4" y="1"/>
                    </a:cubicBez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846" name="Freeform 249"/>
              <p:cNvSpPr>
                <a:spLocks noEditPoints="1"/>
              </p:cNvSpPr>
              <p:nvPr userDrawn="1"/>
            </p:nvSpPr>
            <p:spPr bwMode="auto">
              <a:xfrm>
                <a:off x="6125" y="2641"/>
                <a:ext cx="22" cy="43"/>
              </a:xfrm>
              <a:custGeom>
                <a:avLst/>
                <a:gdLst>
                  <a:gd name="T0" fmla="*/ 21 w 22"/>
                  <a:gd name="T1" fmla="*/ 0 h 43"/>
                  <a:gd name="T2" fmla="*/ 18 w 22"/>
                  <a:gd name="T3" fmla="*/ 3 h 43"/>
                  <a:gd name="T4" fmla="*/ 21 w 22"/>
                  <a:gd name="T5" fmla="*/ 8 h 43"/>
                  <a:gd name="T6" fmla="*/ 20 w 22"/>
                  <a:gd name="T7" fmla="*/ 5 h 43"/>
                  <a:gd name="T8" fmla="*/ 22 w 22"/>
                  <a:gd name="T9" fmla="*/ 2 h 43"/>
                  <a:gd name="T10" fmla="*/ 21 w 22"/>
                  <a:gd name="T11" fmla="*/ 0 h 43"/>
                  <a:gd name="T12" fmla="*/ 21 w 22"/>
                  <a:gd name="T13" fmla="*/ 0 h 43"/>
                  <a:gd name="T14" fmla="*/ 21 w 22"/>
                  <a:gd name="T15" fmla="*/ 0 h 43"/>
                  <a:gd name="T16" fmla="*/ 12 w 22"/>
                  <a:gd name="T17" fmla="*/ 25 h 43"/>
                  <a:gd name="T18" fmla="*/ 14 w 22"/>
                  <a:gd name="T19" fmla="*/ 23 h 43"/>
                  <a:gd name="T20" fmla="*/ 15 w 22"/>
                  <a:gd name="T21" fmla="*/ 26 h 43"/>
                  <a:gd name="T22" fmla="*/ 14 w 22"/>
                  <a:gd name="T23" fmla="*/ 26 h 43"/>
                  <a:gd name="T24" fmla="*/ 12 w 22"/>
                  <a:gd name="T25" fmla="*/ 25 h 43"/>
                  <a:gd name="T26" fmla="*/ 12 w 22"/>
                  <a:gd name="T27" fmla="*/ 25 h 43"/>
                  <a:gd name="T28" fmla="*/ 12 w 22"/>
                  <a:gd name="T29" fmla="*/ 25 h 43"/>
                  <a:gd name="T30" fmla="*/ 1 w 22"/>
                  <a:gd name="T31" fmla="*/ 39 h 43"/>
                  <a:gd name="T32" fmla="*/ 3 w 22"/>
                  <a:gd name="T33" fmla="*/ 36 h 43"/>
                  <a:gd name="T34" fmla="*/ 7 w 22"/>
                  <a:gd name="T35" fmla="*/ 35 h 43"/>
                  <a:gd name="T36" fmla="*/ 8 w 22"/>
                  <a:gd name="T37" fmla="*/ 36 h 43"/>
                  <a:gd name="T38" fmla="*/ 5 w 22"/>
                  <a:gd name="T39" fmla="*/ 42 h 43"/>
                  <a:gd name="T40" fmla="*/ 2 w 22"/>
                  <a:gd name="T41" fmla="*/ 43 h 43"/>
                  <a:gd name="T42" fmla="*/ 0 w 22"/>
                  <a:gd name="T43" fmla="*/ 41 h 43"/>
                  <a:gd name="T44" fmla="*/ 1 w 22"/>
                  <a:gd name="T45" fmla="*/ 39 h 43"/>
                  <a:gd name="T46" fmla="*/ 1 w 22"/>
                  <a:gd name="T47" fmla="*/ 39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22" h="43">
                    <a:moveTo>
                      <a:pt x="21" y="0"/>
                    </a:moveTo>
                    <a:lnTo>
                      <a:pt x="18" y="3"/>
                    </a:lnTo>
                    <a:lnTo>
                      <a:pt x="21" y="8"/>
                    </a:lnTo>
                    <a:lnTo>
                      <a:pt x="20" y="5"/>
                    </a:lnTo>
                    <a:lnTo>
                      <a:pt x="22" y="2"/>
                    </a:lnTo>
                    <a:lnTo>
                      <a:pt x="21" y="0"/>
                    </a:lnTo>
                    <a:lnTo>
                      <a:pt x="21" y="0"/>
                    </a:lnTo>
                    <a:lnTo>
                      <a:pt x="21" y="0"/>
                    </a:lnTo>
                    <a:close/>
                    <a:moveTo>
                      <a:pt x="12" y="25"/>
                    </a:moveTo>
                    <a:lnTo>
                      <a:pt x="14" y="23"/>
                    </a:lnTo>
                    <a:lnTo>
                      <a:pt x="15" y="26"/>
                    </a:lnTo>
                    <a:lnTo>
                      <a:pt x="14" y="26"/>
                    </a:lnTo>
                    <a:lnTo>
                      <a:pt x="12" y="25"/>
                    </a:lnTo>
                    <a:lnTo>
                      <a:pt x="12" y="25"/>
                    </a:lnTo>
                    <a:lnTo>
                      <a:pt x="12" y="25"/>
                    </a:lnTo>
                    <a:close/>
                    <a:moveTo>
                      <a:pt x="1" y="39"/>
                    </a:moveTo>
                    <a:lnTo>
                      <a:pt x="3" y="36"/>
                    </a:lnTo>
                    <a:lnTo>
                      <a:pt x="7" y="35"/>
                    </a:lnTo>
                    <a:lnTo>
                      <a:pt x="8" y="36"/>
                    </a:lnTo>
                    <a:lnTo>
                      <a:pt x="5" y="42"/>
                    </a:lnTo>
                    <a:lnTo>
                      <a:pt x="2" y="43"/>
                    </a:lnTo>
                    <a:lnTo>
                      <a:pt x="0" y="41"/>
                    </a:lnTo>
                    <a:lnTo>
                      <a:pt x="1" y="39"/>
                    </a:lnTo>
                    <a:lnTo>
                      <a:pt x="1" y="39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847" name="Freeform 250"/>
              <p:cNvSpPr>
                <a:spLocks noEditPoints="1"/>
              </p:cNvSpPr>
              <p:nvPr userDrawn="1"/>
            </p:nvSpPr>
            <p:spPr bwMode="auto">
              <a:xfrm>
                <a:off x="5775" y="2017"/>
                <a:ext cx="149" cy="372"/>
              </a:xfrm>
              <a:custGeom>
                <a:avLst/>
                <a:gdLst>
                  <a:gd name="T0" fmla="*/ 62 w 149"/>
                  <a:gd name="T1" fmla="*/ 172 h 372"/>
                  <a:gd name="T2" fmla="*/ 62 w 149"/>
                  <a:gd name="T3" fmla="*/ 170 h 372"/>
                  <a:gd name="T4" fmla="*/ 64 w 149"/>
                  <a:gd name="T5" fmla="*/ 168 h 372"/>
                  <a:gd name="T6" fmla="*/ 68 w 149"/>
                  <a:gd name="T7" fmla="*/ 169 h 372"/>
                  <a:gd name="T8" fmla="*/ 65 w 149"/>
                  <a:gd name="T9" fmla="*/ 170 h 372"/>
                  <a:gd name="T10" fmla="*/ 29 w 149"/>
                  <a:gd name="T11" fmla="*/ 368 h 372"/>
                  <a:gd name="T12" fmla="*/ 25 w 149"/>
                  <a:gd name="T13" fmla="*/ 370 h 372"/>
                  <a:gd name="T14" fmla="*/ 26 w 149"/>
                  <a:gd name="T15" fmla="*/ 366 h 372"/>
                  <a:gd name="T16" fmla="*/ 127 w 149"/>
                  <a:gd name="T17" fmla="*/ 6 h 372"/>
                  <a:gd name="T18" fmla="*/ 132 w 149"/>
                  <a:gd name="T19" fmla="*/ 0 h 372"/>
                  <a:gd name="T20" fmla="*/ 129 w 149"/>
                  <a:gd name="T21" fmla="*/ 8 h 372"/>
                  <a:gd name="T22" fmla="*/ 146 w 149"/>
                  <a:gd name="T23" fmla="*/ 123 h 372"/>
                  <a:gd name="T24" fmla="*/ 146 w 149"/>
                  <a:gd name="T25" fmla="*/ 117 h 372"/>
                  <a:gd name="T26" fmla="*/ 145 w 149"/>
                  <a:gd name="T27" fmla="*/ 111 h 372"/>
                  <a:gd name="T28" fmla="*/ 147 w 149"/>
                  <a:gd name="T29" fmla="*/ 115 h 372"/>
                  <a:gd name="T30" fmla="*/ 149 w 149"/>
                  <a:gd name="T31" fmla="*/ 121 h 372"/>
                  <a:gd name="T32" fmla="*/ 146 w 149"/>
                  <a:gd name="T33" fmla="*/ 123 h 372"/>
                  <a:gd name="T34" fmla="*/ 12 w 149"/>
                  <a:gd name="T35" fmla="*/ 245 h 372"/>
                  <a:gd name="T36" fmla="*/ 10 w 149"/>
                  <a:gd name="T37" fmla="*/ 243 h 372"/>
                  <a:gd name="T38" fmla="*/ 10 w 149"/>
                  <a:gd name="T39" fmla="*/ 244 h 372"/>
                  <a:gd name="T40" fmla="*/ 10 w 149"/>
                  <a:gd name="T41" fmla="*/ 246 h 372"/>
                  <a:gd name="T42" fmla="*/ 9 w 149"/>
                  <a:gd name="T43" fmla="*/ 246 h 372"/>
                  <a:gd name="T44" fmla="*/ 9 w 149"/>
                  <a:gd name="T45" fmla="*/ 247 h 372"/>
                  <a:gd name="T46" fmla="*/ 7 w 149"/>
                  <a:gd name="T47" fmla="*/ 247 h 372"/>
                  <a:gd name="T48" fmla="*/ 7 w 149"/>
                  <a:gd name="T49" fmla="*/ 250 h 372"/>
                  <a:gd name="T50" fmla="*/ 4 w 149"/>
                  <a:gd name="T51" fmla="*/ 249 h 372"/>
                  <a:gd name="T52" fmla="*/ 0 w 149"/>
                  <a:gd name="T53" fmla="*/ 252 h 372"/>
                  <a:gd name="T54" fmla="*/ 5 w 149"/>
                  <a:gd name="T55" fmla="*/ 254 h 372"/>
                  <a:gd name="T56" fmla="*/ 2 w 149"/>
                  <a:gd name="T57" fmla="*/ 258 h 372"/>
                  <a:gd name="T58" fmla="*/ 30 w 149"/>
                  <a:gd name="T59" fmla="*/ 261 h 372"/>
                  <a:gd name="T60" fmla="*/ 32 w 149"/>
                  <a:gd name="T61" fmla="*/ 258 h 372"/>
                  <a:gd name="T62" fmla="*/ 30 w 149"/>
                  <a:gd name="T63" fmla="*/ 261 h 372"/>
                  <a:gd name="T64" fmla="*/ 28 w 149"/>
                  <a:gd name="T65" fmla="*/ 265 h 372"/>
                  <a:gd name="T66" fmla="*/ 26 w 149"/>
                  <a:gd name="T67" fmla="*/ 267 h 372"/>
                  <a:gd name="T68" fmla="*/ 25 w 149"/>
                  <a:gd name="T69" fmla="*/ 257 h 372"/>
                  <a:gd name="T70" fmla="*/ 26 w 149"/>
                  <a:gd name="T71" fmla="*/ 265 h 372"/>
                  <a:gd name="T72" fmla="*/ 26 w 149"/>
                  <a:gd name="T73" fmla="*/ 258 h 372"/>
                  <a:gd name="T74" fmla="*/ 25 w 149"/>
                  <a:gd name="T75" fmla="*/ 257 h 372"/>
                  <a:gd name="T76" fmla="*/ 103 w 149"/>
                  <a:gd name="T77" fmla="*/ 210 h 372"/>
                  <a:gd name="T78" fmla="*/ 106 w 149"/>
                  <a:gd name="T79" fmla="*/ 205 h 372"/>
                  <a:gd name="T80" fmla="*/ 106 w 149"/>
                  <a:gd name="T81" fmla="*/ 212 h 372"/>
                  <a:gd name="T82" fmla="*/ 105 w 149"/>
                  <a:gd name="T83" fmla="*/ 214 h 372"/>
                  <a:gd name="T84" fmla="*/ 94 w 149"/>
                  <a:gd name="T85" fmla="*/ 208 h 372"/>
                  <a:gd name="T86" fmla="*/ 94 w 149"/>
                  <a:gd name="T87" fmla="*/ 212 h 372"/>
                  <a:gd name="T88" fmla="*/ 91 w 149"/>
                  <a:gd name="T89" fmla="*/ 211 h 372"/>
                  <a:gd name="T90" fmla="*/ 46 w 149"/>
                  <a:gd name="T91" fmla="*/ 306 h 372"/>
                  <a:gd name="T92" fmla="*/ 50 w 149"/>
                  <a:gd name="T93" fmla="*/ 312 h 372"/>
                  <a:gd name="T94" fmla="*/ 51 w 149"/>
                  <a:gd name="T95" fmla="*/ 309 h 372"/>
                  <a:gd name="T96" fmla="*/ 53 w 149"/>
                  <a:gd name="T97" fmla="*/ 299 h 372"/>
                  <a:gd name="T98" fmla="*/ 56 w 149"/>
                  <a:gd name="T99" fmla="*/ 301 h 372"/>
                  <a:gd name="T100" fmla="*/ 54 w 149"/>
                  <a:gd name="T101" fmla="*/ 305 h 3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49" h="372">
                    <a:moveTo>
                      <a:pt x="62" y="170"/>
                    </a:moveTo>
                    <a:lnTo>
                      <a:pt x="63" y="171"/>
                    </a:lnTo>
                    <a:lnTo>
                      <a:pt x="62" y="172"/>
                    </a:lnTo>
                    <a:lnTo>
                      <a:pt x="62" y="172"/>
                    </a:lnTo>
                    <a:lnTo>
                      <a:pt x="62" y="170"/>
                    </a:lnTo>
                    <a:lnTo>
                      <a:pt x="62" y="170"/>
                    </a:lnTo>
                    <a:lnTo>
                      <a:pt x="62" y="170"/>
                    </a:lnTo>
                    <a:close/>
                    <a:moveTo>
                      <a:pt x="65" y="170"/>
                    </a:moveTo>
                    <a:lnTo>
                      <a:pt x="64" y="168"/>
                    </a:lnTo>
                    <a:lnTo>
                      <a:pt x="65" y="166"/>
                    </a:lnTo>
                    <a:lnTo>
                      <a:pt x="68" y="166"/>
                    </a:lnTo>
                    <a:lnTo>
                      <a:pt x="68" y="169"/>
                    </a:lnTo>
                    <a:lnTo>
                      <a:pt x="67" y="170"/>
                    </a:lnTo>
                    <a:lnTo>
                      <a:pt x="65" y="170"/>
                    </a:lnTo>
                    <a:lnTo>
                      <a:pt x="65" y="170"/>
                    </a:lnTo>
                    <a:lnTo>
                      <a:pt x="65" y="170"/>
                    </a:lnTo>
                    <a:close/>
                    <a:moveTo>
                      <a:pt x="26" y="366"/>
                    </a:moveTo>
                    <a:lnTo>
                      <a:pt x="29" y="368"/>
                    </a:lnTo>
                    <a:lnTo>
                      <a:pt x="29" y="371"/>
                    </a:lnTo>
                    <a:lnTo>
                      <a:pt x="28" y="372"/>
                    </a:lnTo>
                    <a:lnTo>
                      <a:pt x="25" y="370"/>
                    </a:lnTo>
                    <a:lnTo>
                      <a:pt x="25" y="368"/>
                    </a:lnTo>
                    <a:lnTo>
                      <a:pt x="26" y="366"/>
                    </a:lnTo>
                    <a:lnTo>
                      <a:pt x="26" y="366"/>
                    </a:lnTo>
                    <a:lnTo>
                      <a:pt x="26" y="366"/>
                    </a:lnTo>
                    <a:close/>
                    <a:moveTo>
                      <a:pt x="129" y="8"/>
                    </a:moveTo>
                    <a:lnTo>
                      <a:pt x="127" y="6"/>
                    </a:lnTo>
                    <a:lnTo>
                      <a:pt x="127" y="4"/>
                    </a:lnTo>
                    <a:lnTo>
                      <a:pt x="130" y="1"/>
                    </a:lnTo>
                    <a:lnTo>
                      <a:pt x="132" y="0"/>
                    </a:lnTo>
                    <a:lnTo>
                      <a:pt x="131" y="4"/>
                    </a:lnTo>
                    <a:lnTo>
                      <a:pt x="131" y="7"/>
                    </a:lnTo>
                    <a:lnTo>
                      <a:pt x="129" y="8"/>
                    </a:lnTo>
                    <a:lnTo>
                      <a:pt x="129" y="8"/>
                    </a:lnTo>
                    <a:lnTo>
                      <a:pt x="129" y="8"/>
                    </a:lnTo>
                    <a:close/>
                    <a:moveTo>
                      <a:pt x="146" y="123"/>
                    </a:moveTo>
                    <a:lnTo>
                      <a:pt x="146" y="120"/>
                    </a:lnTo>
                    <a:lnTo>
                      <a:pt x="147" y="117"/>
                    </a:lnTo>
                    <a:lnTo>
                      <a:pt x="146" y="117"/>
                    </a:lnTo>
                    <a:lnTo>
                      <a:pt x="144" y="118"/>
                    </a:lnTo>
                    <a:lnTo>
                      <a:pt x="143" y="116"/>
                    </a:lnTo>
                    <a:lnTo>
                      <a:pt x="145" y="111"/>
                    </a:lnTo>
                    <a:lnTo>
                      <a:pt x="146" y="109"/>
                    </a:lnTo>
                    <a:lnTo>
                      <a:pt x="147" y="112"/>
                    </a:lnTo>
                    <a:lnTo>
                      <a:pt x="147" y="115"/>
                    </a:lnTo>
                    <a:lnTo>
                      <a:pt x="149" y="116"/>
                    </a:lnTo>
                    <a:lnTo>
                      <a:pt x="149" y="117"/>
                    </a:lnTo>
                    <a:lnTo>
                      <a:pt x="149" y="121"/>
                    </a:lnTo>
                    <a:lnTo>
                      <a:pt x="147" y="123"/>
                    </a:lnTo>
                    <a:lnTo>
                      <a:pt x="146" y="123"/>
                    </a:lnTo>
                    <a:lnTo>
                      <a:pt x="146" y="123"/>
                    </a:lnTo>
                    <a:lnTo>
                      <a:pt x="146" y="123"/>
                    </a:lnTo>
                    <a:close/>
                    <a:moveTo>
                      <a:pt x="10" y="244"/>
                    </a:moveTo>
                    <a:lnTo>
                      <a:pt x="12" y="245"/>
                    </a:lnTo>
                    <a:lnTo>
                      <a:pt x="13" y="244"/>
                    </a:lnTo>
                    <a:lnTo>
                      <a:pt x="11" y="243"/>
                    </a:lnTo>
                    <a:lnTo>
                      <a:pt x="10" y="243"/>
                    </a:lnTo>
                    <a:lnTo>
                      <a:pt x="10" y="244"/>
                    </a:lnTo>
                    <a:lnTo>
                      <a:pt x="10" y="244"/>
                    </a:lnTo>
                    <a:lnTo>
                      <a:pt x="10" y="244"/>
                    </a:lnTo>
                    <a:close/>
                    <a:moveTo>
                      <a:pt x="9" y="246"/>
                    </a:moveTo>
                    <a:lnTo>
                      <a:pt x="10" y="246"/>
                    </a:lnTo>
                    <a:lnTo>
                      <a:pt x="10" y="246"/>
                    </a:lnTo>
                    <a:lnTo>
                      <a:pt x="9" y="246"/>
                    </a:lnTo>
                    <a:lnTo>
                      <a:pt x="9" y="246"/>
                    </a:lnTo>
                    <a:lnTo>
                      <a:pt x="9" y="246"/>
                    </a:lnTo>
                    <a:close/>
                    <a:moveTo>
                      <a:pt x="7" y="247"/>
                    </a:moveTo>
                    <a:lnTo>
                      <a:pt x="8" y="248"/>
                    </a:lnTo>
                    <a:lnTo>
                      <a:pt x="9" y="247"/>
                    </a:lnTo>
                    <a:lnTo>
                      <a:pt x="7" y="247"/>
                    </a:lnTo>
                    <a:lnTo>
                      <a:pt x="7" y="247"/>
                    </a:lnTo>
                    <a:lnTo>
                      <a:pt x="7" y="247"/>
                    </a:lnTo>
                    <a:close/>
                    <a:moveTo>
                      <a:pt x="4" y="249"/>
                    </a:moveTo>
                    <a:lnTo>
                      <a:pt x="5" y="251"/>
                    </a:lnTo>
                    <a:lnTo>
                      <a:pt x="7" y="250"/>
                    </a:lnTo>
                    <a:lnTo>
                      <a:pt x="4" y="249"/>
                    </a:lnTo>
                    <a:lnTo>
                      <a:pt x="4" y="249"/>
                    </a:lnTo>
                    <a:lnTo>
                      <a:pt x="4" y="249"/>
                    </a:lnTo>
                    <a:close/>
                    <a:moveTo>
                      <a:pt x="2" y="258"/>
                    </a:moveTo>
                    <a:lnTo>
                      <a:pt x="0" y="254"/>
                    </a:lnTo>
                    <a:lnTo>
                      <a:pt x="0" y="252"/>
                    </a:lnTo>
                    <a:lnTo>
                      <a:pt x="2" y="251"/>
                    </a:lnTo>
                    <a:lnTo>
                      <a:pt x="3" y="253"/>
                    </a:lnTo>
                    <a:lnTo>
                      <a:pt x="5" y="254"/>
                    </a:lnTo>
                    <a:lnTo>
                      <a:pt x="6" y="257"/>
                    </a:lnTo>
                    <a:lnTo>
                      <a:pt x="4" y="259"/>
                    </a:lnTo>
                    <a:lnTo>
                      <a:pt x="2" y="258"/>
                    </a:lnTo>
                    <a:lnTo>
                      <a:pt x="2" y="258"/>
                    </a:lnTo>
                    <a:lnTo>
                      <a:pt x="2" y="258"/>
                    </a:lnTo>
                    <a:close/>
                    <a:moveTo>
                      <a:pt x="30" y="261"/>
                    </a:moveTo>
                    <a:lnTo>
                      <a:pt x="29" y="259"/>
                    </a:lnTo>
                    <a:lnTo>
                      <a:pt x="31" y="257"/>
                    </a:lnTo>
                    <a:lnTo>
                      <a:pt x="32" y="258"/>
                    </a:lnTo>
                    <a:lnTo>
                      <a:pt x="32" y="261"/>
                    </a:lnTo>
                    <a:lnTo>
                      <a:pt x="30" y="261"/>
                    </a:lnTo>
                    <a:lnTo>
                      <a:pt x="30" y="261"/>
                    </a:lnTo>
                    <a:lnTo>
                      <a:pt x="30" y="261"/>
                    </a:lnTo>
                    <a:close/>
                    <a:moveTo>
                      <a:pt x="26" y="267"/>
                    </a:moveTo>
                    <a:lnTo>
                      <a:pt x="28" y="265"/>
                    </a:lnTo>
                    <a:lnTo>
                      <a:pt x="29" y="265"/>
                    </a:lnTo>
                    <a:lnTo>
                      <a:pt x="28" y="268"/>
                    </a:lnTo>
                    <a:lnTo>
                      <a:pt x="26" y="267"/>
                    </a:lnTo>
                    <a:lnTo>
                      <a:pt x="26" y="267"/>
                    </a:lnTo>
                    <a:lnTo>
                      <a:pt x="26" y="267"/>
                    </a:lnTo>
                    <a:close/>
                    <a:moveTo>
                      <a:pt x="25" y="257"/>
                    </a:moveTo>
                    <a:lnTo>
                      <a:pt x="24" y="259"/>
                    </a:lnTo>
                    <a:lnTo>
                      <a:pt x="24" y="262"/>
                    </a:lnTo>
                    <a:lnTo>
                      <a:pt x="26" y="265"/>
                    </a:lnTo>
                    <a:lnTo>
                      <a:pt x="27" y="265"/>
                    </a:lnTo>
                    <a:lnTo>
                      <a:pt x="28" y="262"/>
                    </a:lnTo>
                    <a:lnTo>
                      <a:pt x="26" y="258"/>
                    </a:lnTo>
                    <a:lnTo>
                      <a:pt x="26" y="257"/>
                    </a:lnTo>
                    <a:lnTo>
                      <a:pt x="25" y="257"/>
                    </a:lnTo>
                    <a:lnTo>
                      <a:pt x="25" y="257"/>
                    </a:lnTo>
                    <a:lnTo>
                      <a:pt x="25" y="257"/>
                    </a:lnTo>
                    <a:close/>
                    <a:moveTo>
                      <a:pt x="105" y="214"/>
                    </a:moveTo>
                    <a:lnTo>
                      <a:pt x="103" y="210"/>
                    </a:lnTo>
                    <a:lnTo>
                      <a:pt x="103" y="207"/>
                    </a:lnTo>
                    <a:lnTo>
                      <a:pt x="104" y="205"/>
                    </a:lnTo>
                    <a:lnTo>
                      <a:pt x="106" y="205"/>
                    </a:lnTo>
                    <a:lnTo>
                      <a:pt x="106" y="207"/>
                    </a:lnTo>
                    <a:lnTo>
                      <a:pt x="106" y="210"/>
                    </a:lnTo>
                    <a:lnTo>
                      <a:pt x="106" y="212"/>
                    </a:lnTo>
                    <a:lnTo>
                      <a:pt x="106" y="214"/>
                    </a:lnTo>
                    <a:lnTo>
                      <a:pt x="105" y="214"/>
                    </a:lnTo>
                    <a:lnTo>
                      <a:pt x="105" y="214"/>
                    </a:lnTo>
                    <a:lnTo>
                      <a:pt x="105" y="214"/>
                    </a:lnTo>
                    <a:close/>
                    <a:moveTo>
                      <a:pt x="91" y="211"/>
                    </a:moveTo>
                    <a:lnTo>
                      <a:pt x="94" y="208"/>
                    </a:lnTo>
                    <a:lnTo>
                      <a:pt x="97" y="209"/>
                    </a:lnTo>
                    <a:lnTo>
                      <a:pt x="96" y="210"/>
                    </a:lnTo>
                    <a:lnTo>
                      <a:pt x="94" y="212"/>
                    </a:lnTo>
                    <a:lnTo>
                      <a:pt x="91" y="211"/>
                    </a:lnTo>
                    <a:lnTo>
                      <a:pt x="91" y="211"/>
                    </a:lnTo>
                    <a:lnTo>
                      <a:pt x="91" y="211"/>
                    </a:lnTo>
                    <a:close/>
                    <a:moveTo>
                      <a:pt x="51" y="309"/>
                    </a:moveTo>
                    <a:lnTo>
                      <a:pt x="48" y="306"/>
                    </a:lnTo>
                    <a:lnTo>
                      <a:pt x="46" y="306"/>
                    </a:lnTo>
                    <a:lnTo>
                      <a:pt x="45" y="309"/>
                    </a:lnTo>
                    <a:lnTo>
                      <a:pt x="47" y="311"/>
                    </a:lnTo>
                    <a:lnTo>
                      <a:pt x="50" y="312"/>
                    </a:lnTo>
                    <a:lnTo>
                      <a:pt x="51" y="311"/>
                    </a:lnTo>
                    <a:lnTo>
                      <a:pt x="51" y="309"/>
                    </a:lnTo>
                    <a:lnTo>
                      <a:pt x="51" y="309"/>
                    </a:lnTo>
                    <a:lnTo>
                      <a:pt x="51" y="309"/>
                    </a:lnTo>
                    <a:close/>
                    <a:moveTo>
                      <a:pt x="54" y="305"/>
                    </a:moveTo>
                    <a:lnTo>
                      <a:pt x="53" y="299"/>
                    </a:lnTo>
                    <a:lnTo>
                      <a:pt x="53" y="296"/>
                    </a:lnTo>
                    <a:lnTo>
                      <a:pt x="55" y="298"/>
                    </a:lnTo>
                    <a:lnTo>
                      <a:pt x="56" y="301"/>
                    </a:lnTo>
                    <a:lnTo>
                      <a:pt x="55" y="304"/>
                    </a:lnTo>
                    <a:lnTo>
                      <a:pt x="54" y="305"/>
                    </a:lnTo>
                    <a:lnTo>
                      <a:pt x="54" y="305"/>
                    </a:lnTo>
                    <a:lnTo>
                      <a:pt x="54" y="305"/>
                    </a:ln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848" name="Freeform 251"/>
              <p:cNvSpPr>
                <a:spLocks noEditPoints="1"/>
              </p:cNvSpPr>
              <p:nvPr userDrawn="1"/>
            </p:nvSpPr>
            <p:spPr bwMode="auto">
              <a:xfrm>
                <a:off x="5722" y="2219"/>
                <a:ext cx="60" cy="42"/>
              </a:xfrm>
              <a:custGeom>
                <a:avLst/>
                <a:gdLst>
                  <a:gd name="T0" fmla="*/ 28 w 60"/>
                  <a:gd name="T1" fmla="*/ 5 h 42"/>
                  <a:gd name="T2" fmla="*/ 29 w 60"/>
                  <a:gd name="T3" fmla="*/ 4 h 42"/>
                  <a:gd name="T4" fmla="*/ 31 w 60"/>
                  <a:gd name="T5" fmla="*/ 5 h 42"/>
                  <a:gd name="T6" fmla="*/ 29 w 60"/>
                  <a:gd name="T7" fmla="*/ 6 h 42"/>
                  <a:gd name="T8" fmla="*/ 28 w 60"/>
                  <a:gd name="T9" fmla="*/ 5 h 42"/>
                  <a:gd name="T10" fmla="*/ 28 w 60"/>
                  <a:gd name="T11" fmla="*/ 5 h 42"/>
                  <a:gd name="T12" fmla="*/ 28 w 60"/>
                  <a:gd name="T13" fmla="*/ 5 h 42"/>
                  <a:gd name="T14" fmla="*/ 2 w 60"/>
                  <a:gd name="T15" fmla="*/ 18 h 42"/>
                  <a:gd name="T16" fmla="*/ 0 w 60"/>
                  <a:gd name="T17" fmla="*/ 16 h 42"/>
                  <a:gd name="T18" fmla="*/ 1 w 60"/>
                  <a:gd name="T19" fmla="*/ 14 h 42"/>
                  <a:gd name="T20" fmla="*/ 2 w 60"/>
                  <a:gd name="T21" fmla="*/ 14 h 42"/>
                  <a:gd name="T22" fmla="*/ 3 w 60"/>
                  <a:gd name="T23" fmla="*/ 12 h 42"/>
                  <a:gd name="T24" fmla="*/ 4 w 60"/>
                  <a:gd name="T25" fmla="*/ 14 h 42"/>
                  <a:gd name="T26" fmla="*/ 4 w 60"/>
                  <a:gd name="T27" fmla="*/ 17 h 42"/>
                  <a:gd name="T28" fmla="*/ 3 w 60"/>
                  <a:gd name="T29" fmla="*/ 17 h 42"/>
                  <a:gd name="T30" fmla="*/ 2 w 60"/>
                  <a:gd name="T31" fmla="*/ 18 h 42"/>
                  <a:gd name="T32" fmla="*/ 2 w 60"/>
                  <a:gd name="T33" fmla="*/ 18 h 42"/>
                  <a:gd name="T34" fmla="*/ 2 w 60"/>
                  <a:gd name="T35" fmla="*/ 18 h 42"/>
                  <a:gd name="T36" fmla="*/ 43 w 60"/>
                  <a:gd name="T37" fmla="*/ 0 h 42"/>
                  <a:gd name="T38" fmla="*/ 41 w 60"/>
                  <a:gd name="T39" fmla="*/ 1 h 42"/>
                  <a:gd name="T40" fmla="*/ 41 w 60"/>
                  <a:gd name="T41" fmla="*/ 3 h 42"/>
                  <a:gd name="T42" fmla="*/ 42 w 60"/>
                  <a:gd name="T43" fmla="*/ 5 h 42"/>
                  <a:gd name="T44" fmla="*/ 44 w 60"/>
                  <a:gd name="T45" fmla="*/ 5 h 42"/>
                  <a:gd name="T46" fmla="*/ 45 w 60"/>
                  <a:gd name="T47" fmla="*/ 3 h 42"/>
                  <a:gd name="T48" fmla="*/ 45 w 60"/>
                  <a:gd name="T49" fmla="*/ 1 h 42"/>
                  <a:gd name="T50" fmla="*/ 43 w 60"/>
                  <a:gd name="T51" fmla="*/ 0 h 42"/>
                  <a:gd name="T52" fmla="*/ 43 w 60"/>
                  <a:gd name="T53" fmla="*/ 0 h 42"/>
                  <a:gd name="T54" fmla="*/ 43 w 60"/>
                  <a:gd name="T55" fmla="*/ 0 h 42"/>
                  <a:gd name="T56" fmla="*/ 55 w 60"/>
                  <a:gd name="T57" fmla="*/ 23 h 42"/>
                  <a:gd name="T58" fmla="*/ 55 w 60"/>
                  <a:gd name="T59" fmla="*/ 21 h 42"/>
                  <a:gd name="T60" fmla="*/ 56 w 60"/>
                  <a:gd name="T61" fmla="*/ 18 h 42"/>
                  <a:gd name="T62" fmla="*/ 59 w 60"/>
                  <a:gd name="T63" fmla="*/ 18 h 42"/>
                  <a:gd name="T64" fmla="*/ 58 w 60"/>
                  <a:gd name="T65" fmla="*/ 21 h 42"/>
                  <a:gd name="T66" fmla="*/ 57 w 60"/>
                  <a:gd name="T67" fmla="*/ 22 h 42"/>
                  <a:gd name="T68" fmla="*/ 55 w 60"/>
                  <a:gd name="T69" fmla="*/ 23 h 42"/>
                  <a:gd name="T70" fmla="*/ 55 w 60"/>
                  <a:gd name="T71" fmla="*/ 23 h 42"/>
                  <a:gd name="T72" fmla="*/ 55 w 60"/>
                  <a:gd name="T73" fmla="*/ 23 h 42"/>
                  <a:gd name="T74" fmla="*/ 58 w 60"/>
                  <a:gd name="T75" fmla="*/ 15 h 42"/>
                  <a:gd name="T76" fmla="*/ 57 w 60"/>
                  <a:gd name="T77" fmla="*/ 16 h 42"/>
                  <a:gd name="T78" fmla="*/ 56 w 60"/>
                  <a:gd name="T79" fmla="*/ 14 h 42"/>
                  <a:gd name="T80" fmla="*/ 56 w 60"/>
                  <a:gd name="T81" fmla="*/ 11 h 42"/>
                  <a:gd name="T82" fmla="*/ 57 w 60"/>
                  <a:gd name="T83" fmla="*/ 8 h 42"/>
                  <a:gd name="T84" fmla="*/ 59 w 60"/>
                  <a:gd name="T85" fmla="*/ 7 h 42"/>
                  <a:gd name="T86" fmla="*/ 60 w 60"/>
                  <a:gd name="T87" fmla="*/ 9 h 42"/>
                  <a:gd name="T88" fmla="*/ 60 w 60"/>
                  <a:gd name="T89" fmla="*/ 11 h 42"/>
                  <a:gd name="T90" fmla="*/ 58 w 60"/>
                  <a:gd name="T91" fmla="*/ 15 h 42"/>
                  <a:gd name="T92" fmla="*/ 58 w 60"/>
                  <a:gd name="T93" fmla="*/ 15 h 42"/>
                  <a:gd name="T94" fmla="*/ 58 w 60"/>
                  <a:gd name="T95" fmla="*/ 15 h 42"/>
                  <a:gd name="T96" fmla="*/ 7 w 60"/>
                  <a:gd name="T97" fmla="*/ 42 h 42"/>
                  <a:gd name="T98" fmla="*/ 5 w 60"/>
                  <a:gd name="T99" fmla="*/ 39 h 42"/>
                  <a:gd name="T100" fmla="*/ 7 w 60"/>
                  <a:gd name="T101" fmla="*/ 36 h 42"/>
                  <a:gd name="T102" fmla="*/ 15 w 60"/>
                  <a:gd name="T103" fmla="*/ 34 h 42"/>
                  <a:gd name="T104" fmla="*/ 18 w 60"/>
                  <a:gd name="T105" fmla="*/ 34 h 42"/>
                  <a:gd name="T106" fmla="*/ 19 w 60"/>
                  <a:gd name="T107" fmla="*/ 37 h 42"/>
                  <a:gd name="T108" fmla="*/ 16 w 60"/>
                  <a:gd name="T109" fmla="*/ 41 h 42"/>
                  <a:gd name="T110" fmla="*/ 9 w 60"/>
                  <a:gd name="T111" fmla="*/ 42 h 42"/>
                  <a:gd name="T112" fmla="*/ 7 w 60"/>
                  <a:gd name="T113" fmla="*/ 42 h 42"/>
                  <a:gd name="T114" fmla="*/ 7 w 60"/>
                  <a:gd name="T115" fmla="*/ 42 h 42"/>
                  <a:gd name="T116" fmla="*/ 7 w 60"/>
                  <a:gd name="T117" fmla="*/ 4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60" h="42">
                    <a:moveTo>
                      <a:pt x="28" y="5"/>
                    </a:moveTo>
                    <a:lnTo>
                      <a:pt x="29" y="4"/>
                    </a:lnTo>
                    <a:lnTo>
                      <a:pt x="31" y="5"/>
                    </a:lnTo>
                    <a:lnTo>
                      <a:pt x="29" y="6"/>
                    </a:lnTo>
                    <a:lnTo>
                      <a:pt x="28" y="5"/>
                    </a:lnTo>
                    <a:lnTo>
                      <a:pt x="28" y="5"/>
                    </a:lnTo>
                    <a:lnTo>
                      <a:pt x="28" y="5"/>
                    </a:lnTo>
                    <a:close/>
                    <a:moveTo>
                      <a:pt x="2" y="18"/>
                    </a:moveTo>
                    <a:lnTo>
                      <a:pt x="0" y="16"/>
                    </a:lnTo>
                    <a:lnTo>
                      <a:pt x="1" y="14"/>
                    </a:lnTo>
                    <a:lnTo>
                      <a:pt x="2" y="14"/>
                    </a:lnTo>
                    <a:lnTo>
                      <a:pt x="3" y="12"/>
                    </a:lnTo>
                    <a:lnTo>
                      <a:pt x="4" y="14"/>
                    </a:lnTo>
                    <a:lnTo>
                      <a:pt x="4" y="17"/>
                    </a:lnTo>
                    <a:lnTo>
                      <a:pt x="3" y="17"/>
                    </a:lnTo>
                    <a:lnTo>
                      <a:pt x="2" y="18"/>
                    </a:lnTo>
                    <a:lnTo>
                      <a:pt x="2" y="18"/>
                    </a:lnTo>
                    <a:lnTo>
                      <a:pt x="2" y="18"/>
                    </a:lnTo>
                    <a:close/>
                    <a:moveTo>
                      <a:pt x="43" y="0"/>
                    </a:moveTo>
                    <a:lnTo>
                      <a:pt x="41" y="1"/>
                    </a:lnTo>
                    <a:lnTo>
                      <a:pt x="41" y="3"/>
                    </a:lnTo>
                    <a:lnTo>
                      <a:pt x="42" y="5"/>
                    </a:lnTo>
                    <a:lnTo>
                      <a:pt x="44" y="5"/>
                    </a:lnTo>
                    <a:lnTo>
                      <a:pt x="45" y="3"/>
                    </a:lnTo>
                    <a:lnTo>
                      <a:pt x="45" y="1"/>
                    </a:lnTo>
                    <a:lnTo>
                      <a:pt x="43" y="0"/>
                    </a:lnTo>
                    <a:lnTo>
                      <a:pt x="43" y="0"/>
                    </a:lnTo>
                    <a:lnTo>
                      <a:pt x="43" y="0"/>
                    </a:lnTo>
                    <a:close/>
                    <a:moveTo>
                      <a:pt x="55" y="23"/>
                    </a:moveTo>
                    <a:lnTo>
                      <a:pt x="55" y="21"/>
                    </a:lnTo>
                    <a:lnTo>
                      <a:pt x="56" y="18"/>
                    </a:lnTo>
                    <a:lnTo>
                      <a:pt x="59" y="18"/>
                    </a:lnTo>
                    <a:lnTo>
                      <a:pt x="58" y="21"/>
                    </a:lnTo>
                    <a:lnTo>
                      <a:pt x="57" y="22"/>
                    </a:lnTo>
                    <a:lnTo>
                      <a:pt x="55" y="23"/>
                    </a:lnTo>
                    <a:lnTo>
                      <a:pt x="55" y="23"/>
                    </a:lnTo>
                    <a:lnTo>
                      <a:pt x="55" y="23"/>
                    </a:lnTo>
                    <a:close/>
                    <a:moveTo>
                      <a:pt x="58" y="15"/>
                    </a:moveTo>
                    <a:lnTo>
                      <a:pt x="57" y="16"/>
                    </a:lnTo>
                    <a:lnTo>
                      <a:pt x="56" y="14"/>
                    </a:lnTo>
                    <a:lnTo>
                      <a:pt x="56" y="11"/>
                    </a:lnTo>
                    <a:lnTo>
                      <a:pt x="57" y="8"/>
                    </a:lnTo>
                    <a:lnTo>
                      <a:pt x="59" y="7"/>
                    </a:lnTo>
                    <a:lnTo>
                      <a:pt x="60" y="9"/>
                    </a:lnTo>
                    <a:lnTo>
                      <a:pt x="60" y="11"/>
                    </a:lnTo>
                    <a:lnTo>
                      <a:pt x="58" y="15"/>
                    </a:lnTo>
                    <a:lnTo>
                      <a:pt x="58" y="15"/>
                    </a:lnTo>
                    <a:lnTo>
                      <a:pt x="58" y="15"/>
                    </a:lnTo>
                    <a:close/>
                    <a:moveTo>
                      <a:pt x="7" y="42"/>
                    </a:moveTo>
                    <a:lnTo>
                      <a:pt x="5" y="39"/>
                    </a:lnTo>
                    <a:lnTo>
                      <a:pt x="7" y="36"/>
                    </a:lnTo>
                    <a:lnTo>
                      <a:pt x="15" y="34"/>
                    </a:lnTo>
                    <a:lnTo>
                      <a:pt x="18" y="34"/>
                    </a:lnTo>
                    <a:lnTo>
                      <a:pt x="19" y="37"/>
                    </a:lnTo>
                    <a:lnTo>
                      <a:pt x="16" y="41"/>
                    </a:lnTo>
                    <a:lnTo>
                      <a:pt x="9" y="42"/>
                    </a:lnTo>
                    <a:lnTo>
                      <a:pt x="7" y="42"/>
                    </a:lnTo>
                    <a:lnTo>
                      <a:pt x="7" y="42"/>
                    </a:lnTo>
                    <a:lnTo>
                      <a:pt x="7" y="42"/>
                    </a:ln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849" name="Freeform 252"/>
              <p:cNvSpPr>
                <a:spLocks/>
              </p:cNvSpPr>
              <p:nvPr userDrawn="1"/>
            </p:nvSpPr>
            <p:spPr bwMode="auto">
              <a:xfrm>
                <a:off x="5724" y="2076"/>
                <a:ext cx="15" cy="16"/>
              </a:xfrm>
              <a:custGeom>
                <a:avLst/>
                <a:gdLst>
                  <a:gd name="T0" fmla="*/ 15 w 15"/>
                  <a:gd name="T1" fmla="*/ 0 h 16"/>
                  <a:gd name="T2" fmla="*/ 6 w 15"/>
                  <a:gd name="T3" fmla="*/ 10 h 16"/>
                  <a:gd name="T4" fmla="*/ 6 w 15"/>
                  <a:gd name="T5" fmla="*/ 13 h 16"/>
                  <a:gd name="T6" fmla="*/ 5 w 15"/>
                  <a:gd name="T7" fmla="*/ 14 h 16"/>
                  <a:gd name="T8" fmla="*/ 4 w 15"/>
                  <a:gd name="T9" fmla="*/ 16 h 16"/>
                  <a:gd name="T10" fmla="*/ 0 w 15"/>
                  <a:gd name="T11" fmla="*/ 16 h 16"/>
                  <a:gd name="T12" fmla="*/ 15 w 15"/>
                  <a:gd name="T13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" h="16">
                    <a:moveTo>
                      <a:pt x="15" y="0"/>
                    </a:moveTo>
                    <a:lnTo>
                      <a:pt x="6" y="10"/>
                    </a:lnTo>
                    <a:lnTo>
                      <a:pt x="6" y="13"/>
                    </a:lnTo>
                    <a:lnTo>
                      <a:pt x="5" y="14"/>
                    </a:lnTo>
                    <a:lnTo>
                      <a:pt x="4" y="16"/>
                    </a:lnTo>
                    <a:lnTo>
                      <a:pt x="0" y="16"/>
                    </a:lnTo>
                    <a:lnTo>
                      <a:pt x="15" y="0"/>
                    </a:ln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850" name="Freeform 253"/>
              <p:cNvSpPr>
                <a:spLocks/>
              </p:cNvSpPr>
              <p:nvPr userDrawn="1"/>
            </p:nvSpPr>
            <p:spPr bwMode="auto">
              <a:xfrm>
                <a:off x="5724" y="2076"/>
                <a:ext cx="15" cy="16"/>
              </a:xfrm>
              <a:custGeom>
                <a:avLst/>
                <a:gdLst>
                  <a:gd name="T0" fmla="*/ 15 w 15"/>
                  <a:gd name="T1" fmla="*/ 0 h 16"/>
                  <a:gd name="T2" fmla="*/ 6 w 15"/>
                  <a:gd name="T3" fmla="*/ 10 h 16"/>
                  <a:gd name="T4" fmla="*/ 6 w 15"/>
                  <a:gd name="T5" fmla="*/ 13 h 16"/>
                  <a:gd name="T6" fmla="*/ 5 w 15"/>
                  <a:gd name="T7" fmla="*/ 14 h 16"/>
                  <a:gd name="T8" fmla="*/ 4 w 15"/>
                  <a:gd name="T9" fmla="*/ 16 h 16"/>
                  <a:gd name="T10" fmla="*/ 0 w 15"/>
                  <a:gd name="T11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5" h="16">
                    <a:moveTo>
                      <a:pt x="15" y="0"/>
                    </a:moveTo>
                    <a:lnTo>
                      <a:pt x="6" y="10"/>
                    </a:lnTo>
                    <a:lnTo>
                      <a:pt x="6" y="13"/>
                    </a:lnTo>
                    <a:lnTo>
                      <a:pt x="5" y="14"/>
                    </a:lnTo>
                    <a:lnTo>
                      <a:pt x="4" y="16"/>
                    </a:lnTo>
                    <a:lnTo>
                      <a:pt x="0" y="16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851" name="Freeform 254"/>
              <p:cNvSpPr>
                <a:spLocks/>
              </p:cNvSpPr>
              <p:nvPr userDrawn="1"/>
            </p:nvSpPr>
            <p:spPr bwMode="auto">
              <a:xfrm>
                <a:off x="6744" y="3243"/>
                <a:ext cx="30" cy="19"/>
              </a:xfrm>
              <a:custGeom>
                <a:avLst/>
                <a:gdLst>
                  <a:gd name="T0" fmla="*/ 0 w 30"/>
                  <a:gd name="T1" fmla="*/ 16 h 19"/>
                  <a:gd name="T2" fmla="*/ 3 w 30"/>
                  <a:gd name="T3" fmla="*/ 10 h 19"/>
                  <a:gd name="T4" fmla="*/ 8 w 30"/>
                  <a:gd name="T5" fmla="*/ 10 h 19"/>
                  <a:gd name="T6" fmla="*/ 12 w 30"/>
                  <a:gd name="T7" fmla="*/ 8 h 19"/>
                  <a:gd name="T8" fmla="*/ 17 w 30"/>
                  <a:gd name="T9" fmla="*/ 10 h 19"/>
                  <a:gd name="T10" fmla="*/ 20 w 30"/>
                  <a:gd name="T11" fmla="*/ 5 h 19"/>
                  <a:gd name="T12" fmla="*/ 24 w 30"/>
                  <a:gd name="T13" fmla="*/ 5 h 19"/>
                  <a:gd name="T14" fmla="*/ 30 w 30"/>
                  <a:gd name="T15" fmla="*/ 0 h 19"/>
                  <a:gd name="T16" fmla="*/ 30 w 30"/>
                  <a:gd name="T17" fmla="*/ 2 h 19"/>
                  <a:gd name="T18" fmla="*/ 27 w 30"/>
                  <a:gd name="T19" fmla="*/ 6 h 19"/>
                  <a:gd name="T20" fmla="*/ 27 w 30"/>
                  <a:gd name="T21" fmla="*/ 9 h 19"/>
                  <a:gd name="T22" fmla="*/ 21 w 30"/>
                  <a:gd name="T23" fmla="*/ 14 h 19"/>
                  <a:gd name="T24" fmla="*/ 24 w 30"/>
                  <a:gd name="T25" fmla="*/ 15 h 19"/>
                  <a:gd name="T26" fmla="*/ 27 w 30"/>
                  <a:gd name="T27" fmla="*/ 11 h 19"/>
                  <a:gd name="T28" fmla="*/ 29 w 30"/>
                  <a:gd name="T29" fmla="*/ 13 h 19"/>
                  <a:gd name="T30" fmla="*/ 26 w 30"/>
                  <a:gd name="T31" fmla="*/ 16 h 19"/>
                  <a:gd name="T32" fmla="*/ 17 w 30"/>
                  <a:gd name="T33" fmla="*/ 18 h 19"/>
                  <a:gd name="T34" fmla="*/ 17 w 30"/>
                  <a:gd name="T35" fmla="*/ 16 h 19"/>
                  <a:gd name="T36" fmla="*/ 13 w 30"/>
                  <a:gd name="T37" fmla="*/ 16 h 19"/>
                  <a:gd name="T38" fmla="*/ 12 w 30"/>
                  <a:gd name="T39" fmla="*/ 17 h 19"/>
                  <a:gd name="T40" fmla="*/ 7 w 30"/>
                  <a:gd name="T41" fmla="*/ 16 h 19"/>
                  <a:gd name="T42" fmla="*/ 5 w 30"/>
                  <a:gd name="T43" fmla="*/ 19 h 19"/>
                  <a:gd name="T44" fmla="*/ 0 w 30"/>
                  <a:gd name="T45" fmla="*/ 16 h 19"/>
                  <a:gd name="T46" fmla="*/ 0 w 30"/>
                  <a:gd name="T47" fmla="*/ 16 h 19"/>
                  <a:gd name="T48" fmla="*/ 0 w 30"/>
                  <a:gd name="T49" fmla="*/ 16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30" h="19">
                    <a:moveTo>
                      <a:pt x="0" y="16"/>
                    </a:moveTo>
                    <a:lnTo>
                      <a:pt x="3" y="10"/>
                    </a:lnTo>
                    <a:lnTo>
                      <a:pt x="8" y="10"/>
                    </a:lnTo>
                    <a:lnTo>
                      <a:pt x="12" y="8"/>
                    </a:lnTo>
                    <a:lnTo>
                      <a:pt x="17" y="10"/>
                    </a:lnTo>
                    <a:lnTo>
                      <a:pt x="20" y="5"/>
                    </a:lnTo>
                    <a:lnTo>
                      <a:pt x="24" y="5"/>
                    </a:lnTo>
                    <a:lnTo>
                      <a:pt x="30" y="0"/>
                    </a:lnTo>
                    <a:lnTo>
                      <a:pt x="30" y="2"/>
                    </a:lnTo>
                    <a:lnTo>
                      <a:pt x="27" y="6"/>
                    </a:lnTo>
                    <a:lnTo>
                      <a:pt x="27" y="9"/>
                    </a:lnTo>
                    <a:lnTo>
                      <a:pt x="21" y="14"/>
                    </a:lnTo>
                    <a:lnTo>
                      <a:pt x="24" y="15"/>
                    </a:lnTo>
                    <a:lnTo>
                      <a:pt x="27" y="11"/>
                    </a:lnTo>
                    <a:lnTo>
                      <a:pt x="29" y="13"/>
                    </a:lnTo>
                    <a:lnTo>
                      <a:pt x="26" y="16"/>
                    </a:lnTo>
                    <a:lnTo>
                      <a:pt x="17" y="18"/>
                    </a:lnTo>
                    <a:lnTo>
                      <a:pt x="17" y="16"/>
                    </a:lnTo>
                    <a:lnTo>
                      <a:pt x="13" y="16"/>
                    </a:lnTo>
                    <a:lnTo>
                      <a:pt x="12" y="17"/>
                    </a:lnTo>
                    <a:lnTo>
                      <a:pt x="7" y="16"/>
                    </a:lnTo>
                    <a:lnTo>
                      <a:pt x="5" y="19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852" name="Freeform 255"/>
              <p:cNvSpPr>
                <a:spLocks noEditPoints="1"/>
              </p:cNvSpPr>
              <p:nvPr userDrawn="1"/>
            </p:nvSpPr>
            <p:spPr bwMode="auto">
              <a:xfrm>
                <a:off x="6549" y="3215"/>
                <a:ext cx="21" cy="100"/>
              </a:xfrm>
              <a:custGeom>
                <a:avLst/>
                <a:gdLst>
                  <a:gd name="T0" fmla="*/ 20 w 22"/>
                  <a:gd name="T1" fmla="*/ 100 h 105"/>
                  <a:gd name="T2" fmla="*/ 22 w 22"/>
                  <a:gd name="T3" fmla="*/ 102 h 105"/>
                  <a:gd name="T4" fmla="*/ 22 w 22"/>
                  <a:gd name="T5" fmla="*/ 105 h 105"/>
                  <a:gd name="T6" fmla="*/ 20 w 22"/>
                  <a:gd name="T7" fmla="*/ 102 h 105"/>
                  <a:gd name="T8" fmla="*/ 20 w 22"/>
                  <a:gd name="T9" fmla="*/ 100 h 105"/>
                  <a:gd name="T10" fmla="*/ 18 w 22"/>
                  <a:gd name="T11" fmla="*/ 82 h 105"/>
                  <a:gd name="T12" fmla="*/ 20 w 22"/>
                  <a:gd name="T13" fmla="*/ 85 h 105"/>
                  <a:gd name="T14" fmla="*/ 20 w 22"/>
                  <a:gd name="T15" fmla="*/ 91 h 105"/>
                  <a:gd name="T16" fmla="*/ 17 w 22"/>
                  <a:gd name="T17" fmla="*/ 87 h 105"/>
                  <a:gd name="T18" fmla="*/ 16 w 22"/>
                  <a:gd name="T19" fmla="*/ 84 h 105"/>
                  <a:gd name="T20" fmla="*/ 18 w 22"/>
                  <a:gd name="T21" fmla="*/ 82 h 105"/>
                  <a:gd name="T22" fmla="*/ 4 w 22"/>
                  <a:gd name="T23" fmla="*/ 59 h 105"/>
                  <a:gd name="T24" fmla="*/ 9 w 22"/>
                  <a:gd name="T25" fmla="*/ 58 h 105"/>
                  <a:gd name="T26" fmla="*/ 11 w 22"/>
                  <a:gd name="T27" fmla="*/ 60 h 105"/>
                  <a:gd name="T28" fmla="*/ 11 w 22"/>
                  <a:gd name="T29" fmla="*/ 64 h 105"/>
                  <a:gd name="T30" fmla="*/ 8 w 22"/>
                  <a:gd name="T31" fmla="*/ 65 h 105"/>
                  <a:gd name="T32" fmla="*/ 5 w 22"/>
                  <a:gd name="T33" fmla="*/ 63 h 105"/>
                  <a:gd name="T34" fmla="*/ 4 w 22"/>
                  <a:gd name="T35" fmla="*/ 59 h 105"/>
                  <a:gd name="T36" fmla="*/ 9 w 22"/>
                  <a:gd name="T37" fmla="*/ 0 h 105"/>
                  <a:gd name="T38" fmla="*/ 11 w 22"/>
                  <a:gd name="T39" fmla="*/ 7 h 105"/>
                  <a:gd name="T40" fmla="*/ 9 w 22"/>
                  <a:gd name="T41" fmla="*/ 10 h 105"/>
                  <a:gd name="T42" fmla="*/ 10 w 22"/>
                  <a:gd name="T43" fmla="*/ 7 h 105"/>
                  <a:gd name="T44" fmla="*/ 9 w 22"/>
                  <a:gd name="T45" fmla="*/ 0 h 105"/>
                  <a:gd name="T46" fmla="*/ 0 w 22"/>
                  <a:gd name="T47" fmla="*/ 12 h 105"/>
                  <a:gd name="T48" fmla="*/ 3 w 22"/>
                  <a:gd name="T49" fmla="*/ 13 h 105"/>
                  <a:gd name="T50" fmla="*/ 6 w 22"/>
                  <a:gd name="T51" fmla="*/ 10 h 105"/>
                  <a:gd name="T52" fmla="*/ 6 w 22"/>
                  <a:gd name="T53" fmla="*/ 9 h 105"/>
                  <a:gd name="T54" fmla="*/ 2 w 22"/>
                  <a:gd name="T55" fmla="*/ 10 h 105"/>
                  <a:gd name="T56" fmla="*/ 0 w 22"/>
                  <a:gd name="T57" fmla="*/ 12 h 105"/>
                  <a:gd name="T58" fmla="*/ 9 w 22"/>
                  <a:gd name="T59" fmla="*/ 15 h 105"/>
                  <a:gd name="T60" fmla="*/ 10 w 22"/>
                  <a:gd name="T61" fmla="*/ 17 h 105"/>
                  <a:gd name="T62" fmla="*/ 11 w 22"/>
                  <a:gd name="T63" fmla="*/ 21 h 105"/>
                  <a:gd name="T64" fmla="*/ 11 w 22"/>
                  <a:gd name="T65" fmla="*/ 24 h 105"/>
                  <a:gd name="T66" fmla="*/ 9 w 22"/>
                  <a:gd name="T67" fmla="*/ 23 h 105"/>
                  <a:gd name="T68" fmla="*/ 8 w 22"/>
                  <a:gd name="T69" fmla="*/ 19 h 105"/>
                  <a:gd name="T70" fmla="*/ 9 w 22"/>
                  <a:gd name="T71" fmla="*/ 15 h 105"/>
                  <a:gd name="T72" fmla="*/ 5 w 22"/>
                  <a:gd name="T73" fmla="*/ 43 h 105"/>
                  <a:gd name="T74" fmla="*/ 7 w 22"/>
                  <a:gd name="T75" fmla="*/ 40 h 105"/>
                  <a:gd name="T76" fmla="*/ 11 w 22"/>
                  <a:gd name="T77" fmla="*/ 42 h 105"/>
                  <a:gd name="T78" fmla="*/ 11 w 22"/>
                  <a:gd name="T79" fmla="*/ 44 h 105"/>
                  <a:gd name="T80" fmla="*/ 7 w 22"/>
                  <a:gd name="T81" fmla="*/ 44 h 105"/>
                  <a:gd name="T82" fmla="*/ 5 w 22"/>
                  <a:gd name="T83" fmla="*/ 43 h 1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2" h="105">
                    <a:moveTo>
                      <a:pt x="20" y="100"/>
                    </a:moveTo>
                    <a:cubicBezTo>
                      <a:pt x="22" y="102"/>
                      <a:pt x="22" y="102"/>
                      <a:pt x="22" y="102"/>
                    </a:cubicBezTo>
                    <a:cubicBezTo>
                      <a:pt x="22" y="105"/>
                      <a:pt x="22" y="105"/>
                      <a:pt x="22" y="105"/>
                    </a:cubicBezTo>
                    <a:cubicBezTo>
                      <a:pt x="20" y="102"/>
                      <a:pt x="20" y="102"/>
                      <a:pt x="20" y="102"/>
                    </a:cubicBezTo>
                    <a:cubicBezTo>
                      <a:pt x="20" y="100"/>
                      <a:pt x="20" y="100"/>
                      <a:pt x="20" y="100"/>
                    </a:cubicBezTo>
                    <a:close/>
                    <a:moveTo>
                      <a:pt x="18" y="82"/>
                    </a:moveTo>
                    <a:cubicBezTo>
                      <a:pt x="20" y="85"/>
                      <a:pt x="20" y="85"/>
                      <a:pt x="20" y="85"/>
                    </a:cubicBezTo>
                    <a:cubicBezTo>
                      <a:pt x="20" y="91"/>
                      <a:pt x="20" y="91"/>
                      <a:pt x="20" y="91"/>
                    </a:cubicBezTo>
                    <a:cubicBezTo>
                      <a:pt x="17" y="87"/>
                      <a:pt x="17" y="87"/>
                      <a:pt x="17" y="87"/>
                    </a:cubicBezTo>
                    <a:cubicBezTo>
                      <a:pt x="16" y="84"/>
                      <a:pt x="16" y="84"/>
                      <a:pt x="16" y="84"/>
                    </a:cubicBezTo>
                    <a:cubicBezTo>
                      <a:pt x="18" y="82"/>
                      <a:pt x="18" y="82"/>
                      <a:pt x="18" y="82"/>
                    </a:cubicBezTo>
                    <a:close/>
                    <a:moveTo>
                      <a:pt x="4" y="59"/>
                    </a:moveTo>
                    <a:cubicBezTo>
                      <a:pt x="9" y="58"/>
                      <a:pt x="9" y="58"/>
                      <a:pt x="9" y="58"/>
                    </a:cubicBezTo>
                    <a:cubicBezTo>
                      <a:pt x="11" y="60"/>
                      <a:pt x="11" y="60"/>
                      <a:pt x="11" y="60"/>
                    </a:cubicBezTo>
                    <a:cubicBezTo>
                      <a:pt x="11" y="64"/>
                      <a:pt x="11" y="64"/>
                      <a:pt x="11" y="64"/>
                    </a:cubicBezTo>
                    <a:cubicBezTo>
                      <a:pt x="8" y="65"/>
                      <a:pt x="8" y="65"/>
                      <a:pt x="8" y="65"/>
                    </a:cubicBezTo>
                    <a:cubicBezTo>
                      <a:pt x="5" y="63"/>
                      <a:pt x="5" y="63"/>
                      <a:pt x="5" y="63"/>
                    </a:cubicBezTo>
                    <a:cubicBezTo>
                      <a:pt x="4" y="59"/>
                      <a:pt x="4" y="59"/>
                      <a:pt x="4" y="59"/>
                    </a:cubicBezTo>
                    <a:close/>
                    <a:moveTo>
                      <a:pt x="9" y="0"/>
                    </a:moveTo>
                    <a:cubicBezTo>
                      <a:pt x="11" y="7"/>
                      <a:pt x="11" y="7"/>
                      <a:pt x="11" y="7"/>
                    </a:cubicBezTo>
                    <a:cubicBezTo>
                      <a:pt x="9" y="10"/>
                      <a:pt x="9" y="10"/>
                      <a:pt x="9" y="10"/>
                    </a:cubicBezTo>
                    <a:cubicBezTo>
                      <a:pt x="10" y="7"/>
                      <a:pt x="10" y="7"/>
                      <a:pt x="10" y="7"/>
                    </a:cubicBezTo>
                    <a:cubicBezTo>
                      <a:pt x="9" y="0"/>
                      <a:pt x="9" y="0"/>
                      <a:pt x="9" y="0"/>
                    </a:cubicBezTo>
                    <a:close/>
                    <a:moveTo>
                      <a:pt x="0" y="12"/>
                    </a:moveTo>
                    <a:cubicBezTo>
                      <a:pt x="3" y="13"/>
                      <a:pt x="3" y="13"/>
                      <a:pt x="3" y="13"/>
                    </a:cubicBezTo>
                    <a:cubicBezTo>
                      <a:pt x="6" y="10"/>
                      <a:pt x="6" y="10"/>
                      <a:pt x="6" y="10"/>
                    </a:cubicBezTo>
                    <a:cubicBezTo>
                      <a:pt x="6" y="9"/>
                      <a:pt x="6" y="9"/>
                      <a:pt x="6" y="9"/>
                    </a:cubicBezTo>
                    <a:cubicBezTo>
                      <a:pt x="2" y="10"/>
                      <a:pt x="2" y="10"/>
                      <a:pt x="2" y="10"/>
                    </a:cubicBezTo>
                    <a:cubicBezTo>
                      <a:pt x="0" y="12"/>
                      <a:pt x="0" y="12"/>
                      <a:pt x="0" y="12"/>
                    </a:cubicBezTo>
                    <a:close/>
                    <a:moveTo>
                      <a:pt x="9" y="15"/>
                    </a:moveTo>
                    <a:cubicBezTo>
                      <a:pt x="10" y="17"/>
                      <a:pt x="10" y="17"/>
                      <a:pt x="10" y="17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1" y="24"/>
                      <a:pt x="11" y="24"/>
                      <a:pt x="11" y="24"/>
                    </a:cubicBezTo>
                    <a:cubicBezTo>
                      <a:pt x="9" y="23"/>
                      <a:pt x="9" y="23"/>
                      <a:pt x="9" y="23"/>
                    </a:cubicBezTo>
                    <a:cubicBezTo>
                      <a:pt x="8" y="19"/>
                      <a:pt x="8" y="19"/>
                      <a:pt x="8" y="19"/>
                    </a:cubicBezTo>
                    <a:cubicBezTo>
                      <a:pt x="9" y="15"/>
                      <a:pt x="9" y="15"/>
                      <a:pt x="9" y="15"/>
                    </a:cubicBezTo>
                    <a:close/>
                    <a:moveTo>
                      <a:pt x="5" y="43"/>
                    </a:moveTo>
                    <a:cubicBezTo>
                      <a:pt x="7" y="40"/>
                      <a:pt x="7" y="40"/>
                      <a:pt x="7" y="40"/>
                    </a:cubicBezTo>
                    <a:cubicBezTo>
                      <a:pt x="11" y="42"/>
                      <a:pt x="11" y="42"/>
                      <a:pt x="11" y="42"/>
                    </a:cubicBezTo>
                    <a:cubicBezTo>
                      <a:pt x="11" y="44"/>
                      <a:pt x="11" y="44"/>
                      <a:pt x="11" y="44"/>
                    </a:cubicBezTo>
                    <a:cubicBezTo>
                      <a:pt x="7" y="44"/>
                      <a:pt x="7" y="44"/>
                      <a:pt x="7" y="44"/>
                    </a:cubicBezTo>
                    <a:cubicBezTo>
                      <a:pt x="5" y="43"/>
                      <a:pt x="5" y="43"/>
                      <a:pt x="5" y="43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853" name="Freeform 256"/>
              <p:cNvSpPr>
                <a:spLocks noEditPoints="1"/>
              </p:cNvSpPr>
              <p:nvPr userDrawn="1"/>
            </p:nvSpPr>
            <p:spPr bwMode="auto">
              <a:xfrm>
                <a:off x="6365" y="3076"/>
                <a:ext cx="62" cy="25"/>
              </a:xfrm>
              <a:custGeom>
                <a:avLst/>
                <a:gdLst>
                  <a:gd name="T0" fmla="*/ 65 w 65"/>
                  <a:gd name="T1" fmla="*/ 23 h 26"/>
                  <a:gd name="T2" fmla="*/ 61 w 65"/>
                  <a:gd name="T3" fmla="*/ 23 h 26"/>
                  <a:gd name="T4" fmla="*/ 62 w 65"/>
                  <a:gd name="T5" fmla="*/ 25 h 26"/>
                  <a:gd name="T6" fmla="*/ 65 w 65"/>
                  <a:gd name="T7" fmla="*/ 26 h 26"/>
                  <a:gd name="T8" fmla="*/ 65 w 65"/>
                  <a:gd name="T9" fmla="*/ 23 h 26"/>
                  <a:gd name="T10" fmla="*/ 5 w 65"/>
                  <a:gd name="T11" fmla="*/ 13 h 26"/>
                  <a:gd name="T12" fmla="*/ 6 w 65"/>
                  <a:gd name="T13" fmla="*/ 12 h 26"/>
                  <a:gd name="T14" fmla="*/ 8 w 65"/>
                  <a:gd name="T15" fmla="*/ 13 h 26"/>
                  <a:gd name="T16" fmla="*/ 7 w 65"/>
                  <a:gd name="T17" fmla="*/ 14 h 26"/>
                  <a:gd name="T18" fmla="*/ 5 w 65"/>
                  <a:gd name="T19" fmla="*/ 13 h 26"/>
                  <a:gd name="T20" fmla="*/ 0 w 65"/>
                  <a:gd name="T21" fmla="*/ 1 h 26"/>
                  <a:gd name="T22" fmla="*/ 2 w 65"/>
                  <a:gd name="T23" fmla="*/ 0 h 26"/>
                  <a:gd name="T24" fmla="*/ 5 w 65"/>
                  <a:gd name="T25" fmla="*/ 2 h 26"/>
                  <a:gd name="T26" fmla="*/ 5 w 65"/>
                  <a:gd name="T27" fmla="*/ 4 h 26"/>
                  <a:gd name="T28" fmla="*/ 1 w 65"/>
                  <a:gd name="T29" fmla="*/ 4 h 26"/>
                  <a:gd name="T30" fmla="*/ 0 w 65"/>
                  <a:gd name="T31" fmla="*/ 3 h 26"/>
                  <a:gd name="T32" fmla="*/ 0 w 65"/>
                  <a:gd name="T33" fmla="*/ 1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5" h="26">
                    <a:moveTo>
                      <a:pt x="65" y="23"/>
                    </a:moveTo>
                    <a:cubicBezTo>
                      <a:pt x="61" y="23"/>
                      <a:pt x="61" y="23"/>
                      <a:pt x="61" y="23"/>
                    </a:cubicBezTo>
                    <a:cubicBezTo>
                      <a:pt x="62" y="25"/>
                      <a:pt x="62" y="25"/>
                      <a:pt x="62" y="25"/>
                    </a:cubicBezTo>
                    <a:cubicBezTo>
                      <a:pt x="65" y="26"/>
                      <a:pt x="65" y="26"/>
                      <a:pt x="65" y="26"/>
                    </a:cubicBezTo>
                    <a:cubicBezTo>
                      <a:pt x="65" y="23"/>
                      <a:pt x="65" y="23"/>
                      <a:pt x="65" y="23"/>
                    </a:cubicBezTo>
                    <a:close/>
                    <a:moveTo>
                      <a:pt x="5" y="13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8" y="13"/>
                      <a:pt x="8" y="13"/>
                      <a:pt x="8" y="13"/>
                    </a:cubicBezTo>
                    <a:cubicBezTo>
                      <a:pt x="7" y="14"/>
                      <a:pt x="7" y="14"/>
                      <a:pt x="7" y="14"/>
                    </a:cubicBezTo>
                    <a:cubicBezTo>
                      <a:pt x="5" y="13"/>
                      <a:pt x="5" y="13"/>
                      <a:pt x="5" y="13"/>
                    </a:cubicBezTo>
                    <a:close/>
                    <a:moveTo>
                      <a:pt x="0" y="1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1"/>
                      <a:pt x="0" y="1"/>
                      <a:pt x="0" y="1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854" name="Freeform 257"/>
              <p:cNvSpPr>
                <a:spLocks/>
              </p:cNvSpPr>
              <p:nvPr userDrawn="1"/>
            </p:nvSpPr>
            <p:spPr bwMode="auto">
              <a:xfrm>
                <a:off x="5752" y="3101"/>
                <a:ext cx="11" cy="6"/>
              </a:xfrm>
              <a:custGeom>
                <a:avLst/>
                <a:gdLst>
                  <a:gd name="T0" fmla="*/ 0 w 11"/>
                  <a:gd name="T1" fmla="*/ 4 h 6"/>
                  <a:gd name="T2" fmla="*/ 3 w 11"/>
                  <a:gd name="T3" fmla="*/ 6 h 6"/>
                  <a:gd name="T4" fmla="*/ 7 w 11"/>
                  <a:gd name="T5" fmla="*/ 5 h 6"/>
                  <a:gd name="T6" fmla="*/ 11 w 11"/>
                  <a:gd name="T7" fmla="*/ 5 h 6"/>
                  <a:gd name="T8" fmla="*/ 11 w 11"/>
                  <a:gd name="T9" fmla="*/ 0 h 6"/>
                  <a:gd name="T10" fmla="*/ 8 w 11"/>
                  <a:gd name="T11" fmla="*/ 1 h 6"/>
                  <a:gd name="T12" fmla="*/ 3 w 11"/>
                  <a:gd name="T13" fmla="*/ 1 h 6"/>
                  <a:gd name="T14" fmla="*/ 0 w 11"/>
                  <a:gd name="T15" fmla="*/ 4 h 6"/>
                  <a:gd name="T16" fmla="*/ 0 w 11"/>
                  <a:gd name="T17" fmla="*/ 4 h 6"/>
                  <a:gd name="T18" fmla="*/ 0 w 11"/>
                  <a:gd name="T19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1" h="6">
                    <a:moveTo>
                      <a:pt x="0" y="4"/>
                    </a:moveTo>
                    <a:lnTo>
                      <a:pt x="3" y="6"/>
                    </a:lnTo>
                    <a:lnTo>
                      <a:pt x="7" y="5"/>
                    </a:lnTo>
                    <a:lnTo>
                      <a:pt x="11" y="5"/>
                    </a:lnTo>
                    <a:lnTo>
                      <a:pt x="11" y="0"/>
                    </a:lnTo>
                    <a:lnTo>
                      <a:pt x="8" y="1"/>
                    </a:lnTo>
                    <a:lnTo>
                      <a:pt x="3" y="1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855" name="Freeform 258"/>
              <p:cNvSpPr>
                <a:spLocks/>
              </p:cNvSpPr>
              <p:nvPr userDrawn="1"/>
            </p:nvSpPr>
            <p:spPr bwMode="auto">
              <a:xfrm>
                <a:off x="5121" y="2456"/>
                <a:ext cx="11" cy="0"/>
              </a:xfrm>
              <a:custGeom>
                <a:avLst/>
                <a:gdLst>
                  <a:gd name="T0" fmla="*/ 0 w 12"/>
                  <a:gd name="T1" fmla="*/ 5 w 12"/>
                  <a:gd name="T2" fmla="*/ 12 w 1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12">
                    <a:moveTo>
                      <a:pt x="0" y="0"/>
                    </a:moveTo>
                    <a:cubicBezTo>
                      <a:pt x="5" y="0"/>
                      <a:pt x="5" y="0"/>
                      <a:pt x="5" y="0"/>
                    </a:cubicBezTo>
                    <a:cubicBezTo>
                      <a:pt x="12" y="0"/>
                      <a:pt x="12" y="0"/>
                      <a:pt x="12" y="0"/>
                    </a:cubicBezTo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856" name="Freeform 259"/>
              <p:cNvSpPr>
                <a:spLocks/>
              </p:cNvSpPr>
              <p:nvPr userDrawn="1"/>
            </p:nvSpPr>
            <p:spPr bwMode="auto">
              <a:xfrm>
                <a:off x="3623" y="2015"/>
                <a:ext cx="2" cy="5"/>
              </a:xfrm>
              <a:custGeom>
                <a:avLst/>
                <a:gdLst>
                  <a:gd name="T0" fmla="*/ 0 w 2"/>
                  <a:gd name="T1" fmla="*/ 0 h 5"/>
                  <a:gd name="T2" fmla="*/ 2 w 2"/>
                  <a:gd name="T3" fmla="*/ 2 h 5"/>
                  <a:gd name="T4" fmla="*/ 2 w 2"/>
                  <a:gd name="T5" fmla="*/ 5 h 5"/>
                  <a:gd name="T6" fmla="*/ 0 w 2"/>
                  <a:gd name="T7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5">
                    <a:moveTo>
                      <a:pt x="0" y="0"/>
                    </a:moveTo>
                    <a:lnTo>
                      <a:pt x="2" y="2"/>
                    </a:lnTo>
                    <a:lnTo>
                      <a:pt x="2" y="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2F1E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857" name="Freeform 260"/>
              <p:cNvSpPr>
                <a:spLocks/>
              </p:cNvSpPr>
              <p:nvPr userDrawn="1"/>
            </p:nvSpPr>
            <p:spPr bwMode="auto">
              <a:xfrm>
                <a:off x="3623" y="2015"/>
                <a:ext cx="2" cy="5"/>
              </a:xfrm>
              <a:custGeom>
                <a:avLst/>
                <a:gdLst>
                  <a:gd name="T0" fmla="*/ 0 w 2"/>
                  <a:gd name="T1" fmla="*/ 0 h 5"/>
                  <a:gd name="T2" fmla="*/ 2 w 2"/>
                  <a:gd name="T3" fmla="*/ 2 h 5"/>
                  <a:gd name="T4" fmla="*/ 2 w 2"/>
                  <a:gd name="T5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5">
                    <a:moveTo>
                      <a:pt x="0" y="0"/>
                    </a:moveTo>
                    <a:lnTo>
                      <a:pt x="2" y="2"/>
                    </a:lnTo>
                    <a:lnTo>
                      <a:pt x="2" y="5"/>
                    </a:lnTo>
                  </a:path>
                </a:pathLst>
              </a:custGeom>
              <a:noFill/>
              <a:ln w="4763" cap="flat">
                <a:solidFill>
                  <a:srgbClr val="DCD5C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858" name="Freeform 261"/>
              <p:cNvSpPr>
                <a:spLocks/>
              </p:cNvSpPr>
              <p:nvPr userDrawn="1"/>
            </p:nvSpPr>
            <p:spPr bwMode="auto">
              <a:xfrm>
                <a:off x="3292" y="1824"/>
                <a:ext cx="74" cy="94"/>
              </a:xfrm>
              <a:custGeom>
                <a:avLst/>
                <a:gdLst>
                  <a:gd name="T0" fmla="*/ 30 w 74"/>
                  <a:gd name="T1" fmla="*/ 92 h 94"/>
                  <a:gd name="T2" fmla="*/ 37 w 74"/>
                  <a:gd name="T3" fmla="*/ 86 h 94"/>
                  <a:gd name="T4" fmla="*/ 43 w 74"/>
                  <a:gd name="T5" fmla="*/ 84 h 94"/>
                  <a:gd name="T6" fmla="*/ 57 w 74"/>
                  <a:gd name="T7" fmla="*/ 80 h 94"/>
                  <a:gd name="T8" fmla="*/ 62 w 74"/>
                  <a:gd name="T9" fmla="*/ 78 h 94"/>
                  <a:gd name="T10" fmla="*/ 65 w 74"/>
                  <a:gd name="T11" fmla="*/ 74 h 94"/>
                  <a:gd name="T12" fmla="*/ 70 w 74"/>
                  <a:gd name="T13" fmla="*/ 68 h 94"/>
                  <a:gd name="T14" fmla="*/ 72 w 74"/>
                  <a:gd name="T15" fmla="*/ 52 h 94"/>
                  <a:gd name="T16" fmla="*/ 73 w 74"/>
                  <a:gd name="T17" fmla="*/ 46 h 94"/>
                  <a:gd name="T18" fmla="*/ 68 w 74"/>
                  <a:gd name="T19" fmla="*/ 37 h 94"/>
                  <a:gd name="T20" fmla="*/ 68 w 74"/>
                  <a:gd name="T21" fmla="*/ 33 h 94"/>
                  <a:gd name="T22" fmla="*/ 57 w 74"/>
                  <a:gd name="T23" fmla="*/ 23 h 94"/>
                  <a:gd name="T24" fmla="*/ 51 w 74"/>
                  <a:gd name="T25" fmla="*/ 30 h 94"/>
                  <a:gd name="T26" fmla="*/ 51 w 74"/>
                  <a:gd name="T27" fmla="*/ 15 h 94"/>
                  <a:gd name="T28" fmla="*/ 56 w 74"/>
                  <a:gd name="T29" fmla="*/ 8 h 94"/>
                  <a:gd name="T30" fmla="*/ 62 w 74"/>
                  <a:gd name="T31" fmla="*/ 5 h 94"/>
                  <a:gd name="T32" fmla="*/ 56 w 74"/>
                  <a:gd name="T33" fmla="*/ 3 h 94"/>
                  <a:gd name="T34" fmla="*/ 50 w 74"/>
                  <a:gd name="T35" fmla="*/ 10 h 94"/>
                  <a:gd name="T36" fmla="*/ 50 w 74"/>
                  <a:gd name="T37" fmla="*/ 3 h 94"/>
                  <a:gd name="T38" fmla="*/ 46 w 74"/>
                  <a:gd name="T39" fmla="*/ 6 h 94"/>
                  <a:gd name="T40" fmla="*/ 40 w 74"/>
                  <a:gd name="T41" fmla="*/ 7 h 94"/>
                  <a:gd name="T42" fmla="*/ 40 w 74"/>
                  <a:gd name="T43" fmla="*/ 11 h 94"/>
                  <a:gd name="T44" fmla="*/ 37 w 74"/>
                  <a:gd name="T45" fmla="*/ 14 h 94"/>
                  <a:gd name="T46" fmla="*/ 38 w 74"/>
                  <a:gd name="T47" fmla="*/ 18 h 94"/>
                  <a:gd name="T48" fmla="*/ 43 w 74"/>
                  <a:gd name="T49" fmla="*/ 18 h 94"/>
                  <a:gd name="T50" fmla="*/ 35 w 74"/>
                  <a:gd name="T51" fmla="*/ 26 h 94"/>
                  <a:gd name="T52" fmla="*/ 24 w 74"/>
                  <a:gd name="T53" fmla="*/ 28 h 94"/>
                  <a:gd name="T54" fmla="*/ 15 w 74"/>
                  <a:gd name="T55" fmla="*/ 25 h 94"/>
                  <a:gd name="T56" fmla="*/ 12 w 74"/>
                  <a:gd name="T57" fmla="*/ 27 h 94"/>
                  <a:gd name="T58" fmla="*/ 15 w 74"/>
                  <a:gd name="T59" fmla="*/ 33 h 94"/>
                  <a:gd name="T60" fmla="*/ 8 w 74"/>
                  <a:gd name="T61" fmla="*/ 31 h 94"/>
                  <a:gd name="T62" fmla="*/ 18 w 74"/>
                  <a:gd name="T63" fmla="*/ 37 h 94"/>
                  <a:gd name="T64" fmla="*/ 14 w 74"/>
                  <a:gd name="T65" fmla="*/ 42 h 94"/>
                  <a:gd name="T66" fmla="*/ 8 w 74"/>
                  <a:gd name="T67" fmla="*/ 46 h 94"/>
                  <a:gd name="T68" fmla="*/ 12 w 74"/>
                  <a:gd name="T69" fmla="*/ 48 h 94"/>
                  <a:gd name="T70" fmla="*/ 27 w 74"/>
                  <a:gd name="T71" fmla="*/ 51 h 94"/>
                  <a:gd name="T72" fmla="*/ 18 w 74"/>
                  <a:gd name="T73" fmla="*/ 59 h 94"/>
                  <a:gd name="T74" fmla="*/ 10 w 74"/>
                  <a:gd name="T75" fmla="*/ 68 h 94"/>
                  <a:gd name="T76" fmla="*/ 18 w 74"/>
                  <a:gd name="T77" fmla="*/ 67 h 94"/>
                  <a:gd name="T78" fmla="*/ 25 w 74"/>
                  <a:gd name="T79" fmla="*/ 65 h 94"/>
                  <a:gd name="T80" fmla="*/ 15 w 74"/>
                  <a:gd name="T81" fmla="*/ 68 h 94"/>
                  <a:gd name="T82" fmla="*/ 11 w 74"/>
                  <a:gd name="T83" fmla="*/ 72 h 94"/>
                  <a:gd name="T84" fmla="*/ 9 w 74"/>
                  <a:gd name="T85" fmla="*/ 75 h 94"/>
                  <a:gd name="T86" fmla="*/ 4 w 74"/>
                  <a:gd name="T87" fmla="*/ 74 h 94"/>
                  <a:gd name="T88" fmla="*/ 12 w 74"/>
                  <a:gd name="T89" fmla="*/ 77 h 94"/>
                  <a:gd name="T90" fmla="*/ 2 w 74"/>
                  <a:gd name="T91" fmla="*/ 85 h 94"/>
                  <a:gd name="T92" fmla="*/ 14 w 74"/>
                  <a:gd name="T93" fmla="*/ 85 h 94"/>
                  <a:gd name="T94" fmla="*/ 9 w 74"/>
                  <a:gd name="T95" fmla="*/ 91 h 94"/>
                  <a:gd name="T96" fmla="*/ 10 w 74"/>
                  <a:gd name="T97" fmla="*/ 92 h 94"/>
                  <a:gd name="T98" fmla="*/ 16 w 74"/>
                  <a:gd name="T99" fmla="*/ 93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74" h="94">
                    <a:moveTo>
                      <a:pt x="19" y="94"/>
                    </a:moveTo>
                    <a:lnTo>
                      <a:pt x="24" y="93"/>
                    </a:lnTo>
                    <a:lnTo>
                      <a:pt x="30" y="92"/>
                    </a:lnTo>
                    <a:lnTo>
                      <a:pt x="35" y="89"/>
                    </a:lnTo>
                    <a:lnTo>
                      <a:pt x="34" y="86"/>
                    </a:lnTo>
                    <a:lnTo>
                      <a:pt x="37" y="86"/>
                    </a:lnTo>
                    <a:lnTo>
                      <a:pt x="36" y="88"/>
                    </a:lnTo>
                    <a:lnTo>
                      <a:pt x="40" y="88"/>
                    </a:lnTo>
                    <a:lnTo>
                      <a:pt x="43" y="84"/>
                    </a:lnTo>
                    <a:lnTo>
                      <a:pt x="46" y="84"/>
                    </a:lnTo>
                    <a:lnTo>
                      <a:pt x="46" y="81"/>
                    </a:lnTo>
                    <a:lnTo>
                      <a:pt x="57" y="80"/>
                    </a:lnTo>
                    <a:lnTo>
                      <a:pt x="58" y="78"/>
                    </a:lnTo>
                    <a:lnTo>
                      <a:pt x="59" y="80"/>
                    </a:lnTo>
                    <a:lnTo>
                      <a:pt x="62" y="78"/>
                    </a:lnTo>
                    <a:lnTo>
                      <a:pt x="64" y="79"/>
                    </a:lnTo>
                    <a:lnTo>
                      <a:pt x="68" y="79"/>
                    </a:lnTo>
                    <a:lnTo>
                      <a:pt x="65" y="74"/>
                    </a:lnTo>
                    <a:lnTo>
                      <a:pt x="68" y="73"/>
                    </a:lnTo>
                    <a:lnTo>
                      <a:pt x="70" y="71"/>
                    </a:lnTo>
                    <a:lnTo>
                      <a:pt x="70" y="68"/>
                    </a:lnTo>
                    <a:lnTo>
                      <a:pt x="73" y="64"/>
                    </a:lnTo>
                    <a:lnTo>
                      <a:pt x="74" y="61"/>
                    </a:lnTo>
                    <a:lnTo>
                      <a:pt x="72" y="52"/>
                    </a:lnTo>
                    <a:lnTo>
                      <a:pt x="70" y="51"/>
                    </a:lnTo>
                    <a:lnTo>
                      <a:pt x="73" y="50"/>
                    </a:lnTo>
                    <a:lnTo>
                      <a:pt x="73" y="46"/>
                    </a:lnTo>
                    <a:lnTo>
                      <a:pt x="70" y="43"/>
                    </a:lnTo>
                    <a:lnTo>
                      <a:pt x="71" y="39"/>
                    </a:lnTo>
                    <a:lnTo>
                      <a:pt x="68" y="37"/>
                    </a:lnTo>
                    <a:lnTo>
                      <a:pt x="69" y="35"/>
                    </a:lnTo>
                    <a:lnTo>
                      <a:pt x="72" y="35"/>
                    </a:lnTo>
                    <a:lnTo>
                      <a:pt x="68" y="33"/>
                    </a:lnTo>
                    <a:lnTo>
                      <a:pt x="66" y="32"/>
                    </a:lnTo>
                    <a:lnTo>
                      <a:pt x="62" y="26"/>
                    </a:lnTo>
                    <a:lnTo>
                      <a:pt x="57" y="23"/>
                    </a:lnTo>
                    <a:lnTo>
                      <a:pt x="54" y="25"/>
                    </a:lnTo>
                    <a:lnTo>
                      <a:pt x="53" y="29"/>
                    </a:lnTo>
                    <a:lnTo>
                      <a:pt x="51" y="30"/>
                    </a:lnTo>
                    <a:lnTo>
                      <a:pt x="44" y="23"/>
                    </a:lnTo>
                    <a:lnTo>
                      <a:pt x="47" y="15"/>
                    </a:lnTo>
                    <a:lnTo>
                      <a:pt x="51" y="15"/>
                    </a:lnTo>
                    <a:lnTo>
                      <a:pt x="52" y="11"/>
                    </a:lnTo>
                    <a:lnTo>
                      <a:pt x="54" y="10"/>
                    </a:lnTo>
                    <a:lnTo>
                      <a:pt x="56" y="8"/>
                    </a:lnTo>
                    <a:lnTo>
                      <a:pt x="54" y="8"/>
                    </a:lnTo>
                    <a:lnTo>
                      <a:pt x="58" y="6"/>
                    </a:lnTo>
                    <a:lnTo>
                      <a:pt x="62" y="5"/>
                    </a:lnTo>
                    <a:lnTo>
                      <a:pt x="58" y="3"/>
                    </a:lnTo>
                    <a:lnTo>
                      <a:pt x="55" y="0"/>
                    </a:lnTo>
                    <a:lnTo>
                      <a:pt x="56" y="3"/>
                    </a:lnTo>
                    <a:lnTo>
                      <a:pt x="52" y="3"/>
                    </a:lnTo>
                    <a:lnTo>
                      <a:pt x="53" y="6"/>
                    </a:lnTo>
                    <a:lnTo>
                      <a:pt x="50" y="10"/>
                    </a:lnTo>
                    <a:lnTo>
                      <a:pt x="50" y="7"/>
                    </a:lnTo>
                    <a:lnTo>
                      <a:pt x="52" y="6"/>
                    </a:lnTo>
                    <a:lnTo>
                      <a:pt x="50" y="3"/>
                    </a:lnTo>
                    <a:lnTo>
                      <a:pt x="47" y="4"/>
                    </a:lnTo>
                    <a:lnTo>
                      <a:pt x="49" y="6"/>
                    </a:lnTo>
                    <a:lnTo>
                      <a:pt x="46" y="6"/>
                    </a:lnTo>
                    <a:lnTo>
                      <a:pt x="45" y="4"/>
                    </a:lnTo>
                    <a:lnTo>
                      <a:pt x="40" y="6"/>
                    </a:lnTo>
                    <a:lnTo>
                      <a:pt x="40" y="7"/>
                    </a:lnTo>
                    <a:lnTo>
                      <a:pt x="38" y="7"/>
                    </a:lnTo>
                    <a:lnTo>
                      <a:pt x="37" y="10"/>
                    </a:lnTo>
                    <a:lnTo>
                      <a:pt x="40" y="11"/>
                    </a:lnTo>
                    <a:lnTo>
                      <a:pt x="39" y="13"/>
                    </a:lnTo>
                    <a:lnTo>
                      <a:pt x="36" y="13"/>
                    </a:lnTo>
                    <a:lnTo>
                      <a:pt x="37" y="14"/>
                    </a:lnTo>
                    <a:lnTo>
                      <a:pt x="33" y="15"/>
                    </a:lnTo>
                    <a:lnTo>
                      <a:pt x="34" y="18"/>
                    </a:lnTo>
                    <a:lnTo>
                      <a:pt x="38" y="18"/>
                    </a:lnTo>
                    <a:lnTo>
                      <a:pt x="37" y="19"/>
                    </a:lnTo>
                    <a:lnTo>
                      <a:pt x="41" y="18"/>
                    </a:lnTo>
                    <a:lnTo>
                      <a:pt x="43" y="18"/>
                    </a:lnTo>
                    <a:lnTo>
                      <a:pt x="39" y="23"/>
                    </a:lnTo>
                    <a:lnTo>
                      <a:pt x="33" y="25"/>
                    </a:lnTo>
                    <a:lnTo>
                      <a:pt x="35" y="26"/>
                    </a:lnTo>
                    <a:lnTo>
                      <a:pt x="30" y="27"/>
                    </a:lnTo>
                    <a:lnTo>
                      <a:pt x="27" y="26"/>
                    </a:lnTo>
                    <a:lnTo>
                      <a:pt x="24" y="28"/>
                    </a:lnTo>
                    <a:lnTo>
                      <a:pt x="24" y="25"/>
                    </a:lnTo>
                    <a:lnTo>
                      <a:pt x="15" y="24"/>
                    </a:lnTo>
                    <a:lnTo>
                      <a:pt x="15" y="25"/>
                    </a:lnTo>
                    <a:lnTo>
                      <a:pt x="11" y="24"/>
                    </a:lnTo>
                    <a:lnTo>
                      <a:pt x="10" y="28"/>
                    </a:lnTo>
                    <a:lnTo>
                      <a:pt x="12" y="27"/>
                    </a:lnTo>
                    <a:lnTo>
                      <a:pt x="13" y="29"/>
                    </a:lnTo>
                    <a:lnTo>
                      <a:pt x="14" y="30"/>
                    </a:lnTo>
                    <a:lnTo>
                      <a:pt x="15" y="33"/>
                    </a:lnTo>
                    <a:lnTo>
                      <a:pt x="13" y="33"/>
                    </a:lnTo>
                    <a:lnTo>
                      <a:pt x="12" y="31"/>
                    </a:lnTo>
                    <a:lnTo>
                      <a:pt x="8" y="31"/>
                    </a:lnTo>
                    <a:lnTo>
                      <a:pt x="13" y="35"/>
                    </a:lnTo>
                    <a:lnTo>
                      <a:pt x="17" y="34"/>
                    </a:lnTo>
                    <a:lnTo>
                      <a:pt x="18" y="37"/>
                    </a:lnTo>
                    <a:lnTo>
                      <a:pt x="13" y="38"/>
                    </a:lnTo>
                    <a:lnTo>
                      <a:pt x="13" y="40"/>
                    </a:lnTo>
                    <a:lnTo>
                      <a:pt x="14" y="42"/>
                    </a:lnTo>
                    <a:lnTo>
                      <a:pt x="9" y="42"/>
                    </a:lnTo>
                    <a:lnTo>
                      <a:pt x="10" y="45"/>
                    </a:lnTo>
                    <a:lnTo>
                      <a:pt x="8" y="46"/>
                    </a:lnTo>
                    <a:lnTo>
                      <a:pt x="11" y="47"/>
                    </a:lnTo>
                    <a:lnTo>
                      <a:pt x="13" y="47"/>
                    </a:lnTo>
                    <a:lnTo>
                      <a:pt x="12" y="48"/>
                    </a:lnTo>
                    <a:lnTo>
                      <a:pt x="16" y="47"/>
                    </a:lnTo>
                    <a:lnTo>
                      <a:pt x="17" y="51"/>
                    </a:lnTo>
                    <a:lnTo>
                      <a:pt x="27" y="51"/>
                    </a:lnTo>
                    <a:lnTo>
                      <a:pt x="24" y="54"/>
                    </a:lnTo>
                    <a:lnTo>
                      <a:pt x="22" y="53"/>
                    </a:lnTo>
                    <a:lnTo>
                      <a:pt x="18" y="59"/>
                    </a:lnTo>
                    <a:lnTo>
                      <a:pt x="20" y="59"/>
                    </a:lnTo>
                    <a:lnTo>
                      <a:pt x="17" y="63"/>
                    </a:lnTo>
                    <a:lnTo>
                      <a:pt x="10" y="68"/>
                    </a:lnTo>
                    <a:lnTo>
                      <a:pt x="13" y="68"/>
                    </a:lnTo>
                    <a:lnTo>
                      <a:pt x="16" y="65"/>
                    </a:lnTo>
                    <a:lnTo>
                      <a:pt x="18" y="67"/>
                    </a:lnTo>
                    <a:lnTo>
                      <a:pt x="23" y="67"/>
                    </a:lnTo>
                    <a:lnTo>
                      <a:pt x="25" y="64"/>
                    </a:lnTo>
                    <a:lnTo>
                      <a:pt x="25" y="65"/>
                    </a:lnTo>
                    <a:lnTo>
                      <a:pt x="29" y="65"/>
                    </a:lnTo>
                    <a:lnTo>
                      <a:pt x="22" y="68"/>
                    </a:lnTo>
                    <a:lnTo>
                      <a:pt x="15" y="68"/>
                    </a:lnTo>
                    <a:lnTo>
                      <a:pt x="14" y="70"/>
                    </a:lnTo>
                    <a:lnTo>
                      <a:pt x="10" y="71"/>
                    </a:lnTo>
                    <a:lnTo>
                      <a:pt x="11" y="72"/>
                    </a:lnTo>
                    <a:lnTo>
                      <a:pt x="10" y="74"/>
                    </a:lnTo>
                    <a:lnTo>
                      <a:pt x="12" y="75"/>
                    </a:lnTo>
                    <a:lnTo>
                      <a:pt x="9" y="75"/>
                    </a:lnTo>
                    <a:lnTo>
                      <a:pt x="6" y="73"/>
                    </a:lnTo>
                    <a:lnTo>
                      <a:pt x="5" y="75"/>
                    </a:lnTo>
                    <a:lnTo>
                      <a:pt x="4" y="74"/>
                    </a:lnTo>
                    <a:lnTo>
                      <a:pt x="0" y="76"/>
                    </a:lnTo>
                    <a:lnTo>
                      <a:pt x="1" y="78"/>
                    </a:lnTo>
                    <a:lnTo>
                      <a:pt x="12" y="77"/>
                    </a:lnTo>
                    <a:lnTo>
                      <a:pt x="8" y="80"/>
                    </a:lnTo>
                    <a:lnTo>
                      <a:pt x="3" y="81"/>
                    </a:lnTo>
                    <a:lnTo>
                      <a:pt x="2" y="85"/>
                    </a:lnTo>
                    <a:lnTo>
                      <a:pt x="4" y="85"/>
                    </a:lnTo>
                    <a:lnTo>
                      <a:pt x="5" y="87"/>
                    </a:lnTo>
                    <a:lnTo>
                      <a:pt x="14" y="85"/>
                    </a:lnTo>
                    <a:lnTo>
                      <a:pt x="7" y="89"/>
                    </a:lnTo>
                    <a:lnTo>
                      <a:pt x="4" y="91"/>
                    </a:lnTo>
                    <a:lnTo>
                      <a:pt x="9" y="91"/>
                    </a:lnTo>
                    <a:lnTo>
                      <a:pt x="15" y="88"/>
                    </a:lnTo>
                    <a:lnTo>
                      <a:pt x="15" y="90"/>
                    </a:lnTo>
                    <a:lnTo>
                      <a:pt x="10" y="92"/>
                    </a:lnTo>
                    <a:lnTo>
                      <a:pt x="12" y="92"/>
                    </a:lnTo>
                    <a:lnTo>
                      <a:pt x="12" y="93"/>
                    </a:lnTo>
                    <a:lnTo>
                      <a:pt x="16" y="93"/>
                    </a:lnTo>
                    <a:lnTo>
                      <a:pt x="19" y="94"/>
                    </a:lnTo>
                    <a:lnTo>
                      <a:pt x="19" y="94"/>
                    </a:lnTo>
                    <a:close/>
                  </a:path>
                </a:pathLst>
              </a:custGeom>
              <a:solidFill>
                <a:schemeClr val="accent2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859" name="Freeform 262"/>
              <p:cNvSpPr>
                <a:spLocks/>
              </p:cNvSpPr>
              <p:nvPr userDrawn="1"/>
            </p:nvSpPr>
            <p:spPr bwMode="auto">
              <a:xfrm>
                <a:off x="3604" y="2149"/>
                <a:ext cx="2" cy="3"/>
              </a:xfrm>
              <a:custGeom>
                <a:avLst/>
                <a:gdLst>
                  <a:gd name="T0" fmla="*/ 0 w 2"/>
                  <a:gd name="T1" fmla="*/ 3 h 3"/>
                  <a:gd name="T2" fmla="*/ 1 w 2"/>
                  <a:gd name="T3" fmla="*/ 2 h 3"/>
                  <a:gd name="T4" fmla="*/ 2 w 2"/>
                  <a:gd name="T5" fmla="*/ 0 h 3"/>
                  <a:gd name="T6" fmla="*/ 0 w 2"/>
                  <a:gd name="T7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1" y="2"/>
                    </a:lnTo>
                    <a:lnTo>
                      <a:pt x="2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860" name="Freeform 263"/>
              <p:cNvSpPr>
                <a:spLocks/>
              </p:cNvSpPr>
              <p:nvPr userDrawn="1"/>
            </p:nvSpPr>
            <p:spPr bwMode="auto">
              <a:xfrm>
                <a:off x="3604" y="2149"/>
                <a:ext cx="2" cy="3"/>
              </a:xfrm>
              <a:custGeom>
                <a:avLst/>
                <a:gdLst>
                  <a:gd name="T0" fmla="*/ 0 w 2"/>
                  <a:gd name="T1" fmla="*/ 3 h 3"/>
                  <a:gd name="T2" fmla="*/ 1 w 2"/>
                  <a:gd name="T3" fmla="*/ 2 h 3"/>
                  <a:gd name="T4" fmla="*/ 2 w 2"/>
                  <a:gd name="T5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1" y="2"/>
                    </a:lnTo>
                    <a:lnTo>
                      <a:pt x="2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861" name="Freeform 264"/>
              <p:cNvSpPr>
                <a:spLocks/>
              </p:cNvSpPr>
              <p:nvPr userDrawn="1"/>
            </p:nvSpPr>
            <p:spPr bwMode="auto">
              <a:xfrm>
                <a:off x="3650" y="2123"/>
                <a:ext cx="2" cy="1"/>
              </a:xfrm>
              <a:custGeom>
                <a:avLst/>
                <a:gdLst>
                  <a:gd name="T0" fmla="*/ 0 w 2"/>
                  <a:gd name="T1" fmla="*/ 0 h 1"/>
                  <a:gd name="T2" fmla="*/ 2 w 2"/>
                  <a:gd name="T3" fmla="*/ 1 h 1"/>
                  <a:gd name="T4" fmla="*/ 2 w 2"/>
                  <a:gd name="T5" fmla="*/ 0 h 1"/>
                  <a:gd name="T6" fmla="*/ 0 w 2"/>
                  <a:gd name="T7" fmla="*/ 0 h 1"/>
                  <a:gd name="T8" fmla="*/ 0 w 2"/>
                  <a:gd name="T9" fmla="*/ 0 h 1"/>
                  <a:gd name="T10" fmla="*/ 0 w 2"/>
                  <a:gd name="T11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lnTo>
                      <a:pt x="2" y="1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862" name="Freeform 265"/>
              <p:cNvSpPr>
                <a:spLocks/>
              </p:cNvSpPr>
              <p:nvPr userDrawn="1"/>
            </p:nvSpPr>
            <p:spPr bwMode="auto">
              <a:xfrm>
                <a:off x="3634" y="2111"/>
                <a:ext cx="8" cy="4"/>
              </a:xfrm>
              <a:custGeom>
                <a:avLst/>
                <a:gdLst>
                  <a:gd name="T0" fmla="*/ 2 w 8"/>
                  <a:gd name="T1" fmla="*/ 2 h 4"/>
                  <a:gd name="T2" fmla="*/ 0 w 8"/>
                  <a:gd name="T3" fmla="*/ 3 h 4"/>
                  <a:gd name="T4" fmla="*/ 2 w 8"/>
                  <a:gd name="T5" fmla="*/ 4 h 4"/>
                  <a:gd name="T6" fmla="*/ 6 w 8"/>
                  <a:gd name="T7" fmla="*/ 3 h 4"/>
                  <a:gd name="T8" fmla="*/ 8 w 8"/>
                  <a:gd name="T9" fmla="*/ 3 h 4"/>
                  <a:gd name="T10" fmla="*/ 8 w 8"/>
                  <a:gd name="T11" fmla="*/ 1 h 4"/>
                  <a:gd name="T12" fmla="*/ 6 w 8"/>
                  <a:gd name="T13" fmla="*/ 0 h 4"/>
                  <a:gd name="T14" fmla="*/ 6 w 8"/>
                  <a:gd name="T15" fmla="*/ 1 h 4"/>
                  <a:gd name="T16" fmla="*/ 2 w 8"/>
                  <a:gd name="T17" fmla="*/ 2 h 4"/>
                  <a:gd name="T18" fmla="*/ 2 w 8"/>
                  <a:gd name="T19" fmla="*/ 2 h 4"/>
                  <a:gd name="T20" fmla="*/ 2 w 8"/>
                  <a:gd name="T21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" h="4">
                    <a:moveTo>
                      <a:pt x="2" y="2"/>
                    </a:moveTo>
                    <a:lnTo>
                      <a:pt x="0" y="3"/>
                    </a:lnTo>
                    <a:lnTo>
                      <a:pt x="2" y="4"/>
                    </a:lnTo>
                    <a:lnTo>
                      <a:pt x="6" y="3"/>
                    </a:lnTo>
                    <a:lnTo>
                      <a:pt x="8" y="3"/>
                    </a:lnTo>
                    <a:lnTo>
                      <a:pt x="8" y="1"/>
                    </a:lnTo>
                    <a:lnTo>
                      <a:pt x="6" y="0"/>
                    </a:lnTo>
                    <a:lnTo>
                      <a:pt x="6" y="1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863" name="Freeform 266"/>
              <p:cNvSpPr>
                <a:spLocks/>
              </p:cNvSpPr>
              <p:nvPr userDrawn="1"/>
            </p:nvSpPr>
            <p:spPr bwMode="auto">
              <a:xfrm>
                <a:off x="3326" y="2133"/>
                <a:ext cx="8" cy="2"/>
              </a:xfrm>
              <a:custGeom>
                <a:avLst/>
                <a:gdLst>
                  <a:gd name="T0" fmla="*/ 8 w 8"/>
                  <a:gd name="T1" fmla="*/ 0 h 2"/>
                  <a:gd name="T2" fmla="*/ 1 w 8"/>
                  <a:gd name="T3" fmla="*/ 2 h 2"/>
                  <a:gd name="T4" fmla="*/ 0 w 8"/>
                  <a:gd name="T5" fmla="*/ 0 h 2"/>
                  <a:gd name="T6" fmla="*/ 8 w 8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" h="2">
                    <a:moveTo>
                      <a:pt x="8" y="0"/>
                    </a:moveTo>
                    <a:lnTo>
                      <a:pt x="1" y="2"/>
                    </a:lnTo>
                    <a:lnTo>
                      <a:pt x="0" y="0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864" name="Freeform 267"/>
              <p:cNvSpPr>
                <a:spLocks/>
              </p:cNvSpPr>
              <p:nvPr userDrawn="1"/>
            </p:nvSpPr>
            <p:spPr bwMode="auto">
              <a:xfrm>
                <a:off x="3326" y="2133"/>
                <a:ext cx="8" cy="2"/>
              </a:xfrm>
              <a:custGeom>
                <a:avLst/>
                <a:gdLst>
                  <a:gd name="T0" fmla="*/ 8 w 8"/>
                  <a:gd name="T1" fmla="*/ 0 h 2"/>
                  <a:gd name="T2" fmla="*/ 1 w 8"/>
                  <a:gd name="T3" fmla="*/ 2 h 2"/>
                  <a:gd name="T4" fmla="*/ 0 w 8"/>
                  <a:gd name="T5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8" h="2">
                    <a:moveTo>
                      <a:pt x="8" y="0"/>
                    </a:moveTo>
                    <a:lnTo>
                      <a:pt x="1" y="2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865" name="Freeform 268"/>
              <p:cNvSpPr>
                <a:spLocks/>
              </p:cNvSpPr>
              <p:nvPr userDrawn="1"/>
            </p:nvSpPr>
            <p:spPr bwMode="auto">
              <a:xfrm>
                <a:off x="4279" y="2186"/>
                <a:ext cx="1" cy="6"/>
              </a:xfrm>
              <a:custGeom>
                <a:avLst/>
                <a:gdLst>
                  <a:gd name="T0" fmla="*/ 1 w 1"/>
                  <a:gd name="T1" fmla="*/ 0 h 6"/>
                  <a:gd name="T2" fmla="*/ 0 w 1"/>
                  <a:gd name="T3" fmla="*/ 2 h 6"/>
                  <a:gd name="T4" fmla="*/ 0 w 1"/>
                  <a:gd name="T5" fmla="*/ 6 h 6"/>
                  <a:gd name="T6" fmla="*/ 1 w 1"/>
                  <a:gd name="T7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6">
                    <a:moveTo>
                      <a:pt x="1" y="0"/>
                    </a:moveTo>
                    <a:lnTo>
                      <a:pt x="0" y="2"/>
                    </a:lnTo>
                    <a:lnTo>
                      <a:pt x="0" y="6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866" name="Freeform 269"/>
              <p:cNvSpPr>
                <a:spLocks/>
              </p:cNvSpPr>
              <p:nvPr userDrawn="1"/>
            </p:nvSpPr>
            <p:spPr bwMode="auto">
              <a:xfrm>
                <a:off x="4279" y="2186"/>
                <a:ext cx="1" cy="6"/>
              </a:xfrm>
              <a:custGeom>
                <a:avLst/>
                <a:gdLst>
                  <a:gd name="T0" fmla="*/ 1 w 1"/>
                  <a:gd name="T1" fmla="*/ 0 h 6"/>
                  <a:gd name="T2" fmla="*/ 0 w 1"/>
                  <a:gd name="T3" fmla="*/ 2 h 6"/>
                  <a:gd name="T4" fmla="*/ 0 w 1"/>
                  <a:gd name="T5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6">
                    <a:moveTo>
                      <a:pt x="1" y="0"/>
                    </a:moveTo>
                    <a:lnTo>
                      <a:pt x="0" y="2"/>
                    </a:lnTo>
                    <a:lnTo>
                      <a:pt x="0" y="6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867" name="Freeform 270"/>
              <p:cNvSpPr>
                <a:spLocks/>
              </p:cNvSpPr>
              <p:nvPr userDrawn="1"/>
            </p:nvSpPr>
            <p:spPr bwMode="auto">
              <a:xfrm>
                <a:off x="4323" y="2382"/>
                <a:ext cx="10" cy="7"/>
              </a:xfrm>
              <a:custGeom>
                <a:avLst/>
                <a:gdLst>
                  <a:gd name="T0" fmla="*/ 10 w 10"/>
                  <a:gd name="T1" fmla="*/ 0 h 7"/>
                  <a:gd name="T2" fmla="*/ 0 w 10"/>
                  <a:gd name="T3" fmla="*/ 2 h 7"/>
                  <a:gd name="T4" fmla="*/ 6 w 10"/>
                  <a:gd name="T5" fmla="*/ 7 h 7"/>
                  <a:gd name="T6" fmla="*/ 10 w 10"/>
                  <a:gd name="T7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" h="7">
                    <a:moveTo>
                      <a:pt x="10" y="0"/>
                    </a:moveTo>
                    <a:lnTo>
                      <a:pt x="0" y="2"/>
                    </a:lnTo>
                    <a:lnTo>
                      <a:pt x="6" y="7"/>
                    </a:lnTo>
                    <a:lnTo>
                      <a:pt x="10" y="0"/>
                    </a:ln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868" name="Freeform 271"/>
              <p:cNvSpPr>
                <a:spLocks/>
              </p:cNvSpPr>
              <p:nvPr userDrawn="1"/>
            </p:nvSpPr>
            <p:spPr bwMode="auto">
              <a:xfrm>
                <a:off x="4323" y="2382"/>
                <a:ext cx="10" cy="7"/>
              </a:xfrm>
              <a:custGeom>
                <a:avLst/>
                <a:gdLst>
                  <a:gd name="T0" fmla="*/ 10 w 10"/>
                  <a:gd name="T1" fmla="*/ 0 h 7"/>
                  <a:gd name="T2" fmla="*/ 0 w 10"/>
                  <a:gd name="T3" fmla="*/ 2 h 7"/>
                  <a:gd name="T4" fmla="*/ 6 w 10"/>
                  <a:gd name="T5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7">
                    <a:moveTo>
                      <a:pt x="10" y="0"/>
                    </a:moveTo>
                    <a:lnTo>
                      <a:pt x="0" y="2"/>
                    </a:lnTo>
                    <a:lnTo>
                      <a:pt x="6" y="7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869" name="Freeform 272"/>
              <p:cNvSpPr>
                <a:spLocks/>
              </p:cNvSpPr>
              <p:nvPr userDrawn="1"/>
            </p:nvSpPr>
            <p:spPr bwMode="auto">
              <a:xfrm>
                <a:off x="4105" y="2320"/>
                <a:ext cx="1" cy="3"/>
              </a:xfrm>
              <a:custGeom>
                <a:avLst/>
                <a:gdLst>
                  <a:gd name="T0" fmla="*/ 1 w 1"/>
                  <a:gd name="T1" fmla="*/ 0 h 3"/>
                  <a:gd name="T2" fmla="*/ 0 w 1"/>
                  <a:gd name="T3" fmla="*/ 3 h 3"/>
                  <a:gd name="T4" fmla="*/ 0 w 1"/>
                  <a:gd name="T5" fmla="*/ 3 h 3"/>
                  <a:gd name="T6" fmla="*/ 1 w 1"/>
                  <a:gd name="T7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3">
                    <a:moveTo>
                      <a:pt x="1" y="0"/>
                    </a:moveTo>
                    <a:lnTo>
                      <a:pt x="0" y="3"/>
                    </a:lnTo>
                    <a:lnTo>
                      <a:pt x="0" y="3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870" name="Freeform 273"/>
              <p:cNvSpPr>
                <a:spLocks/>
              </p:cNvSpPr>
              <p:nvPr userDrawn="1"/>
            </p:nvSpPr>
            <p:spPr bwMode="auto">
              <a:xfrm>
                <a:off x="4105" y="2320"/>
                <a:ext cx="1" cy="3"/>
              </a:xfrm>
              <a:custGeom>
                <a:avLst/>
                <a:gdLst>
                  <a:gd name="T0" fmla="*/ 1 w 1"/>
                  <a:gd name="T1" fmla="*/ 0 h 3"/>
                  <a:gd name="T2" fmla="*/ 0 w 1"/>
                  <a:gd name="T3" fmla="*/ 3 h 3"/>
                  <a:gd name="T4" fmla="*/ 0 w 1"/>
                  <a:gd name="T5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3">
                    <a:moveTo>
                      <a:pt x="1" y="0"/>
                    </a:moveTo>
                    <a:lnTo>
                      <a:pt x="0" y="3"/>
                    </a:lnTo>
                    <a:lnTo>
                      <a:pt x="0" y="3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871" name="Freeform 274"/>
              <p:cNvSpPr>
                <a:spLocks/>
              </p:cNvSpPr>
              <p:nvPr userDrawn="1"/>
            </p:nvSpPr>
            <p:spPr bwMode="auto">
              <a:xfrm>
                <a:off x="4385" y="2465"/>
                <a:ext cx="2" cy="5"/>
              </a:xfrm>
              <a:custGeom>
                <a:avLst/>
                <a:gdLst>
                  <a:gd name="T0" fmla="*/ 2 w 2"/>
                  <a:gd name="T1" fmla="*/ 5 h 5"/>
                  <a:gd name="T2" fmla="*/ 2 w 2"/>
                  <a:gd name="T3" fmla="*/ 2 h 5"/>
                  <a:gd name="T4" fmla="*/ 0 w 2"/>
                  <a:gd name="T5" fmla="*/ 0 h 5"/>
                  <a:gd name="T6" fmla="*/ 2 w 2"/>
                  <a:gd name="T7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5">
                    <a:moveTo>
                      <a:pt x="2" y="5"/>
                    </a:moveTo>
                    <a:lnTo>
                      <a:pt x="2" y="2"/>
                    </a:lnTo>
                    <a:lnTo>
                      <a:pt x="0" y="0"/>
                    </a:lnTo>
                    <a:lnTo>
                      <a:pt x="2" y="5"/>
                    </a:ln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872" name="Freeform 275"/>
              <p:cNvSpPr>
                <a:spLocks/>
              </p:cNvSpPr>
              <p:nvPr userDrawn="1"/>
            </p:nvSpPr>
            <p:spPr bwMode="auto">
              <a:xfrm>
                <a:off x="4385" y="2465"/>
                <a:ext cx="2" cy="5"/>
              </a:xfrm>
              <a:custGeom>
                <a:avLst/>
                <a:gdLst>
                  <a:gd name="T0" fmla="*/ 2 w 2"/>
                  <a:gd name="T1" fmla="*/ 5 h 5"/>
                  <a:gd name="T2" fmla="*/ 2 w 2"/>
                  <a:gd name="T3" fmla="*/ 2 h 5"/>
                  <a:gd name="T4" fmla="*/ 0 w 2"/>
                  <a:gd name="T5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5">
                    <a:moveTo>
                      <a:pt x="2" y="5"/>
                    </a:moveTo>
                    <a:lnTo>
                      <a:pt x="2" y="2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873" name="Freeform 276"/>
              <p:cNvSpPr>
                <a:spLocks noEditPoints="1"/>
              </p:cNvSpPr>
              <p:nvPr userDrawn="1"/>
            </p:nvSpPr>
            <p:spPr bwMode="auto">
              <a:xfrm>
                <a:off x="2968" y="2198"/>
                <a:ext cx="53" cy="22"/>
              </a:xfrm>
              <a:custGeom>
                <a:avLst/>
                <a:gdLst>
                  <a:gd name="T0" fmla="*/ 22 w 53"/>
                  <a:gd name="T1" fmla="*/ 0 h 22"/>
                  <a:gd name="T2" fmla="*/ 25 w 53"/>
                  <a:gd name="T3" fmla="*/ 2 h 22"/>
                  <a:gd name="T4" fmla="*/ 25 w 53"/>
                  <a:gd name="T5" fmla="*/ 0 h 22"/>
                  <a:gd name="T6" fmla="*/ 23 w 53"/>
                  <a:gd name="T7" fmla="*/ 0 h 22"/>
                  <a:gd name="T8" fmla="*/ 22 w 53"/>
                  <a:gd name="T9" fmla="*/ 0 h 22"/>
                  <a:gd name="T10" fmla="*/ 22 w 53"/>
                  <a:gd name="T11" fmla="*/ 0 h 22"/>
                  <a:gd name="T12" fmla="*/ 22 w 53"/>
                  <a:gd name="T13" fmla="*/ 0 h 22"/>
                  <a:gd name="T14" fmla="*/ 6 w 53"/>
                  <a:gd name="T15" fmla="*/ 0 h 22"/>
                  <a:gd name="T16" fmla="*/ 9 w 53"/>
                  <a:gd name="T17" fmla="*/ 2 h 22"/>
                  <a:gd name="T18" fmla="*/ 8 w 53"/>
                  <a:gd name="T19" fmla="*/ 0 h 22"/>
                  <a:gd name="T20" fmla="*/ 6 w 53"/>
                  <a:gd name="T21" fmla="*/ 0 h 22"/>
                  <a:gd name="T22" fmla="*/ 6 w 53"/>
                  <a:gd name="T23" fmla="*/ 0 h 22"/>
                  <a:gd name="T24" fmla="*/ 6 w 53"/>
                  <a:gd name="T25" fmla="*/ 0 h 22"/>
                  <a:gd name="T26" fmla="*/ 0 w 53"/>
                  <a:gd name="T27" fmla="*/ 3 h 22"/>
                  <a:gd name="T28" fmla="*/ 0 w 53"/>
                  <a:gd name="T29" fmla="*/ 7 h 22"/>
                  <a:gd name="T30" fmla="*/ 4 w 53"/>
                  <a:gd name="T31" fmla="*/ 7 h 22"/>
                  <a:gd name="T32" fmla="*/ 5 w 53"/>
                  <a:gd name="T33" fmla="*/ 6 h 22"/>
                  <a:gd name="T34" fmla="*/ 3 w 53"/>
                  <a:gd name="T35" fmla="*/ 3 h 22"/>
                  <a:gd name="T36" fmla="*/ 0 w 53"/>
                  <a:gd name="T37" fmla="*/ 3 h 22"/>
                  <a:gd name="T38" fmla="*/ 0 w 53"/>
                  <a:gd name="T39" fmla="*/ 3 h 22"/>
                  <a:gd name="T40" fmla="*/ 0 w 53"/>
                  <a:gd name="T41" fmla="*/ 3 h 22"/>
                  <a:gd name="T42" fmla="*/ 50 w 53"/>
                  <a:gd name="T43" fmla="*/ 20 h 22"/>
                  <a:gd name="T44" fmla="*/ 47 w 53"/>
                  <a:gd name="T45" fmla="*/ 21 h 22"/>
                  <a:gd name="T46" fmla="*/ 47 w 53"/>
                  <a:gd name="T47" fmla="*/ 22 h 22"/>
                  <a:gd name="T48" fmla="*/ 52 w 53"/>
                  <a:gd name="T49" fmla="*/ 22 h 22"/>
                  <a:gd name="T50" fmla="*/ 53 w 53"/>
                  <a:gd name="T51" fmla="*/ 22 h 22"/>
                  <a:gd name="T52" fmla="*/ 52 w 53"/>
                  <a:gd name="T53" fmla="*/ 20 h 22"/>
                  <a:gd name="T54" fmla="*/ 50 w 53"/>
                  <a:gd name="T55" fmla="*/ 20 h 22"/>
                  <a:gd name="T56" fmla="*/ 50 w 53"/>
                  <a:gd name="T57" fmla="*/ 2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53" h="22">
                    <a:moveTo>
                      <a:pt x="22" y="0"/>
                    </a:moveTo>
                    <a:lnTo>
                      <a:pt x="25" y="2"/>
                    </a:lnTo>
                    <a:lnTo>
                      <a:pt x="25" y="0"/>
                    </a:lnTo>
                    <a:lnTo>
                      <a:pt x="23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close/>
                    <a:moveTo>
                      <a:pt x="6" y="0"/>
                    </a:moveTo>
                    <a:lnTo>
                      <a:pt x="9" y="2"/>
                    </a:lnTo>
                    <a:lnTo>
                      <a:pt x="8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close/>
                    <a:moveTo>
                      <a:pt x="0" y="3"/>
                    </a:moveTo>
                    <a:lnTo>
                      <a:pt x="0" y="7"/>
                    </a:lnTo>
                    <a:lnTo>
                      <a:pt x="4" y="7"/>
                    </a:lnTo>
                    <a:lnTo>
                      <a:pt x="5" y="6"/>
                    </a:lnTo>
                    <a:lnTo>
                      <a:pt x="3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close/>
                    <a:moveTo>
                      <a:pt x="50" y="20"/>
                    </a:moveTo>
                    <a:lnTo>
                      <a:pt x="47" y="21"/>
                    </a:lnTo>
                    <a:lnTo>
                      <a:pt x="47" y="22"/>
                    </a:lnTo>
                    <a:lnTo>
                      <a:pt x="52" y="22"/>
                    </a:lnTo>
                    <a:lnTo>
                      <a:pt x="53" y="22"/>
                    </a:lnTo>
                    <a:lnTo>
                      <a:pt x="52" y="20"/>
                    </a:lnTo>
                    <a:lnTo>
                      <a:pt x="50" y="20"/>
                    </a:lnTo>
                    <a:lnTo>
                      <a:pt x="50" y="20"/>
                    </a:ln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874" name="Freeform 277"/>
              <p:cNvSpPr>
                <a:spLocks/>
              </p:cNvSpPr>
              <p:nvPr userDrawn="1"/>
            </p:nvSpPr>
            <p:spPr bwMode="auto">
              <a:xfrm>
                <a:off x="3165" y="2322"/>
                <a:ext cx="6" cy="4"/>
              </a:xfrm>
              <a:custGeom>
                <a:avLst/>
                <a:gdLst>
                  <a:gd name="T0" fmla="*/ 4 w 7"/>
                  <a:gd name="T1" fmla="*/ 4 h 4"/>
                  <a:gd name="T2" fmla="*/ 1 w 7"/>
                  <a:gd name="T3" fmla="*/ 2 h 4"/>
                  <a:gd name="T4" fmla="*/ 0 w 7"/>
                  <a:gd name="T5" fmla="*/ 0 h 4"/>
                  <a:gd name="T6" fmla="*/ 5 w 7"/>
                  <a:gd name="T7" fmla="*/ 0 h 4"/>
                  <a:gd name="T8" fmla="*/ 7 w 7"/>
                  <a:gd name="T9" fmla="*/ 3 h 4"/>
                  <a:gd name="T10" fmla="*/ 4 w 7"/>
                  <a:gd name="T11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" h="4">
                    <a:moveTo>
                      <a:pt x="4" y="4"/>
                    </a:moveTo>
                    <a:cubicBezTo>
                      <a:pt x="1" y="2"/>
                      <a:pt x="1" y="2"/>
                      <a:pt x="1" y="2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7" y="3"/>
                      <a:pt x="7" y="3"/>
                      <a:pt x="7" y="3"/>
                    </a:cubicBezTo>
                    <a:cubicBezTo>
                      <a:pt x="4" y="4"/>
                      <a:pt x="4" y="4"/>
                      <a:pt x="4" y="4"/>
                    </a:cubicBez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875" name="Freeform 278"/>
              <p:cNvSpPr>
                <a:spLocks noEditPoints="1"/>
              </p:cNvSpPr>
              <p:nvPr userDrawn="1"/>
            </p:nvSpPr>
            <p:spPr bwMode="auto">
              <a:xfrm>
                <a:off x="3146" y="2395"/>
                <a:ext cx="84" cy="29"/>
              </a:xfrm>
              <a:custGeom>
                <a:avLst/>
                <a:gdLst>
                  <a:gd name="T0" fmla="*/ 15 w 87"/>
                  <a:gd name="T1" fmla="*/ 22 h 30"/>
                  <a:gd name="T2" fmla="*/ 14 w 87"/>
                  <a:gd name="T3" fmla="*/ 21 h 30"/>
                  <a:gd name="T4" fmla="*/ 14 w 87"/>
                  <a:gd name="T5" fmla="*/ 19 h 30"/>
                  <a:gd name="T6" fmla="*/ 15 w 87"/>
                  <a:gd name="T7" fmla="*/ 19 h 30"/>
                  <a:gd name="T8" fmla="*/ 16 w 87"/>
                  <a:gd name="T9" fmla="*/ 21 h 30"/>
                  <a:gd name="T10" fmla="*/ 15 w 87"/>
                  <a:gd name="T11" fmla="*/ 22 h 30"/>
                  <a:gd name="T12" fmla="*/ 1 w 87"/>
                  <a:gd name="T13" fmla="*/ 29 h 30"/>
                  <a:gd name="T14" fmla="*/ 0 w 87"/>
                  <a:gd name="T15" fmla="*/ 28 h 30"/>
                  <a:gd name="T16" fmla="*/ 2 w 87"/>
                  <a:gd name="T17" fmla="*/ 26 h 30"/>
                  <a:gd name="T18" fmla="*/ 3 w 87"/>
                  <a:gd name="T19" fmla="*/ 27 h 30"/>
                  <a:gd name="T20" fmla="*/ 3 w 87"/>
                  <a:gd name="T21" fmla="*/ 29 h 30"/>
                  <a:gd name="T22" fmla="*/ 2 w 87"/>
                  <a:gd name="T23" fmla="*/ 30 h 30"/>
                  <a:gd name="T24" fmla="*/ 1 w 87"/>
                  <a:gd name="T25" fmla="*/ 29 h 30"/>
                  <a:gd name="T26" fmla="*/ 5 w 87"/>
                  <a:gd name="T27" fmla="*/ 13 h 30"/>
                  <a:gd name="T28" fmla="*/ 5 w 87"/>
                  <a:gd name="T29" fmla="*/ 9 h 30"/>
                  <a:gd name="T30" fmla="*/ 3 w 87"/>
                  <a:gd name="T31" fmla="*/ 7 h 30"/>
                  <a:gd name="T32" fmla="*/ 5 w 87"/>
                  <a:gd name="T33" fmla="*/ 5 h 30"/>
                  <a:gd name="T34" fmla="*/ 7 w 87"/>
                  <a:gd name="T35" fmla="*/ 6 h 30"/>
                  <a:gd name="T36" fmla="*/ 7 w 87"/>
                  <a:gd name="T37" fmla="*/ 12 h 30"/>
                  <a:gd name="T38" fmla="*/ 5 w 87"/>
                  <a:gd name="T39" fmla="*/ 13 h 30"/>
                  <a:gd name="T40" fmla="*/ 35 w 87"/>
                  <a:gd name="T41" fmla="*/ 19 h 30"/>
                  <a:gd name="T42" fmla="*/ 31 w 87"/>
                  <a:gd name="T43" fmla="*/ 19 h 30"/>
                  <a:gd name="T44" fmla="*/ 24 w 87"/>
                  <a:gd name="T45" fmla="*/ 23 h 30"/>
                  <a:gd name="T46" fmla="*/ 21 w 87"/>
                  <a:gd name="T47" fmla="*/ 21 h 30"/>
                  <a:gd name="T48" fmla="*/ 19 w 87"/>
                  <a:gd name="T49" fmla="*/ 18 h 30"/>
                  <a:gd name="T50" fmla="*/ 22 w 87"/>
                  <a:gd name="T51" fmla="*/ 16 h 30"/>
                  <a:gd name="T52" fmla="*/ 26 w 87"/>
                  <a:gd name="T53" fmla="*/ 16 h 30"/>
                  <a:gd name="T54" fmla="*/ 30 w 87"/>
                  <a:gd name="T55" fmla="*/ 14 h 30"/>
                  <a:gd name="T56" fmla="*/ 32 w 87"/>
                  <a:gd name="T57" fmla="*/ 13 h 30"/>
                  <a:gd name="T58" fmla="*/ 36 w 87"/>
                  <a:gd name="T59" fmla="*/ 14 h 30"/>
                  <a:gd name="T60" fmla="*/ 35 w 87"/>
                  <a:gd name="T61" fmla="*/ 19 h 30"/>
                  <a:gd name="T62" fmla="*/ 42 w 87"/>
                  <a:gd name="T63" fmla="*/ 19 h 30"/>
                  <a:gd name="T64" fmla="*/ 41 w 87"/>
                  <a:gd name="T65" fmla="*/ 25 h 30"/>
                  <a:gd name="T66" fmla="*/ 44 w 87"/>
                  <a:gd name="T67" fmla="*/ 27 h 30"/>
                  <a:gd name="T68" fmla="*/ 48 w 87"/>
                  <a:gd name="T69" fmla="*/ 25 h 30"/>
                  <a:gd name="T70" fmla="*/ 50 w 87"/>
                  <a:gd name="T71" fmla="*/ 25 h 30"/>
                  <a:gd name="T72" fmla="*/ 49 w 87"/>
                  <a:gd name="T73" fmla="*/ 20 h 30"/>
                  <a:gd name="T74" fmla="*/ 46 w 87"/>
                  <a:gd name="T75" fmla="*/ 19 h 30"/>
                  <a:gd name="T76" fmla="*/ 42 w 87"/>
                  <a:gd name="T77" fmla="*/ 19 h 30"/>
                  <a:gd name="T78" fmla="*/ 78 w 87"/>
                  <a:gd name="T79" fmla="*/ 5 h 30"/>
                  <a:gd name="T80" fmla="*/ 80 w 87"/>
                  <a:gd name="T81" fmla="*/ 1 h 30"/>
                  <a:gd name="T82" fmla="*/ 83 w 87"/>
                  <a:gd name="T83" fmla="*/ 0 h 30"/>
                  <a:gd name="T84" fmla="*/ 87 w 87"/>
                  <a:gd name="T85" fmla="*/ 3 h 30"/>
                  <a:gd name="T86" fmla="*/ 83 w 87"/>
                  <a:gd name="T87" fmla="*/ 3 h 30"/>
                  <a:gd name="T88" fmla="*/ 78 w 87"/>
                  <a:gd name="T89" fmla="*/ 5 h 30"/>
                  <a:gd name="T90" fmla="*/ 67 w 87"/>
                  <a:gd name="T91" fmla="*/ 21 h 30"/>
                  <a:gd name="T92" fmla="*/ 71 w 87"/>
                  <a:gd name="T93" fmla="*/ 16 h 30"/>
                  <a:gd name="T94" fmla="*/ 71 w 87"/>
                  <a:gd name="T95" fmla="*/ 13 h 30"/>
                  <a:gd name="T96" fmla="*/ 77 w 87"/>
                  <a:gd name="T97" fmla="*/ 10 h 30"/>
                  <a:gd name="T98" fmla="*/ 78 w 87"/>
                  <a:gd name="T99" fmla="*/ 15 h 30"/>
                  <a:gd name="T100" fmla="*/ 73 w 87"/>
                  <a:gd name="T101" fmla="*/ 20 h 30"/>
                  <a:gd name="T102" fmla="*/ 69 w 87"/>
                  <a:gd name="T103" fmla="*/ 21 h 30"/>
                  <a:gd name="T104" fmla="*/ 67 w 87"/>
                  <a:gd name="T105" fmla="*/ 21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87" h="30">
                    <a:moveTo>
                      <a:pt x="15" y="22"/>
                    </a:moveTo>
                    <a:cubicBezTo>
                      <a:pt x="14" y="21"/>
                      <a:pt x="14" y="21"/>
                      <a:pt x="14" y="21"/>
                    </a:cubicBezTo>
                    <a:cubicBezTo>
                      <a:pt x="14" y="19"/>
                      <a:pt x="14" y="19"/>
                      <a:pt x="14" y="19"/>
                    </a:cubicBezTo>
                    <a:cubicBezTo>
                      <a:pt x="15" y="19"/>
                      <a:pt x="15" y="19"/>
                      <a:pt x="15" y="19"/>
                    </a:cubicBezTo>
                    <a:cubicBezTo>
                      <a:pt x="16" y="21"/>
                      <a:pt x="16" y="21"/>
                      <a:pt x="16" y="21"/>
                    </a:cubicBezTo>
                    <a:cubicBezTo>
                      <a:pt x="15" y="22"/>
                      <a:pt x="15" y="22"/>
                      <a:pt x="15" y="22"/>
                    </a:cubicBezTo>
                    <a:close/>
                    <a:moveTo>
                      <a:pt x="1" y="29"/>
                    </a:moveTo>
                    <a:cubicBezTo>
                      <a:pt x="0" y="28"/>
                      <a:pt x="0" y="28"/>
                      <a:pt x="0" y="28"/>
                    </a:cubicBezTo>
                    <a:cubicBezTo>
                      <a:pt x="2" y="26"/>
                      <a:pt x="2" y="26"/>
                      <a:pt x="2" y="26"/>
                    </a:cubicBezTo>
                    <a:cubicBezTo>
                      <a:pt x="3" y="27"/>
                      <a:pt x="3" y="27"/>
                      <a:pt x="3" y="27"/>
                    </a:cubicBezTo>
                    <a:cubicBezTo>
                      <a:pt x="3" y="29"/>
                      <a:pt x="3" y="29"/>
                      <a:pt x="3" y="29"/>
                    </a:cubicBezTo>
                    <a:cubicBezTo>
                      <a:pt x="2" y="30"/>
                      <a:pt x="2" y="30"/>
                      <a:pt x="2" y="30"/>
                    </a:cubicBezTo>
                    <a:cubicBezTo>
                      <a:pt x="1" y="29"/>
                      <a:pt x="1" y="29"/>
                      <a:pt x="1" y="29"/>
                    </a:cubicBezTo>
                    <a:close/>
                    <a:moveTo>
                      <a:pt x="5" y="13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3" y="7"/>
                      <a:pt x="4" y="5"/>
                      <a:pt x="5" y="5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7" y="12"/>
                      <a:pt x="7" y="12"/>
                      <a:pt x="7" y="12"/>
                    </a:cubicBezTo>
                    <a:cubicBezTo>
                      <a:pt x="5" y="13"/>
                      <a:pt x="5" y="13"/>
                      <a:pt x="5" y="13"/>
                    </a:cubicBezTo>
                    <a:close/>
                    <a:moveTo>
                      <a:pt x="35" y="19"/>
                    </a:moveTo>
                    <a:cubicBezTo>
                      <a:pt x="31" y="19"/>
                      <a:pt x="31" y="19"/>
                      <a:pt x="31" y="19"/>
                    </a:cubicBezTo>
                    <a:cubicBezTo>
                      <a:pt x="24" y="23"/>
                      <a:pt x="24" y="23"/>
                      <a:pt x="24" y="23"/>
                    </a:cubicBezTo>
                    <a:cubicBezTo>
                      <a:pt x="21" y="21"/>
                      <a:pt x="21" y="21"/>
                      <a:pt x="21" y="21"/>
                    </a:cubicBezTo>
                    <a:cubicBezTo>
                      <a:pt x="19" y="18"/>
                      <a:pt x="19" y="18"/>
                      <a:pt x="19" y="18"/>
                    </a:cubicBezTo>
                    <a:cubicBezTo>
                      <a:pt x="22" y="16"/>
                      <a:pt x="22" y="16"/>
                      <a:pt x="22" y="16"/>
                    </a:cubicBezTo>
                    <a:cubicBezTo>
                      <a:pt x="26" y="16"/>
                      <a:pt x="26" y="16"/>
                      <a:pt x="26" y="16"/>
                    </a:cubicBezTo>
                    <a:cubicBezTo>
                      <a:pt x="30" y="14"/>
                      <a:pt x="30" y="14"/>
                      <a:pt x="30" y="14"/>
                    </a:cubicBezTo>
                    <a:cubicBezTo>
                      <a:pt x="32" y="13"/>
                      <a:pt x="32" y="13"/>
                      <a:pt x="32" y="13"/>
                    </a:cubicBezTo>
                    <a:cubicBezTo>
                      <a:pt x="36" y="14"/>
                      <a:pt x="36" y="14"/>
                      <a:pt x="36" y="14"/>
                    </a:cubicBezTo>
                    <a:cubicBezTo>
                      <a:pt x="35" y="19"/>
                      <a:pt x="35" y="19"/>
                      <a:pt x="35" y="19"/>
                    </a:cubicBezTo>
                    <a:close/>
                    <a:moveTo>
                      <a:pt x="42" y="19"/>
                    </a:moveTo>
                    <a:cubicBezTo>
                      <a:pt x="41" y="25"/>
                      <a:pt x="41" y="25"/>
                      <a:pt x="41" y="25"/>
                    </a:cubicBezTo>
                    <a:cubicBezTo>
                      <a:pt x="44" y="27"/>
                      <a:pt x="44" y="27"/>
                      <a:pt x="44" y="27"/>
                    </a:cubicBezTo>
                    <a:cubicBezTo>
                      <a:pt x="48" y="25"/>
                      <a:pt x="48" y="25"/>
                      <a:pt x="48" y="25"/>
                    </a:cubicBezTo>
                    <a:cubicBezTo>
                      <a:pt x="50" y="25"/>
                      <a:pt x="50" y="25"/>
                      <a:pt x="50" y="25"/>
                    </a:cubicBezTo>
                    <a:cubicBezTo>
                      <a:pt x="49" y="20"/>
                      <a:pt x="49" y="20"/>
                      <a:pt x="49" y="20"/>
                    </a:cubicBezTo>
                    <a:cubicBezTo>
                      <a:pt x="46" y="19"/>
                      <a:pt x="46" y="19"/>
                      <a:pt x="46" y="19"/>
                    </a:cubicBezTo>
                    <a:cubicBezTo>
                      <a:pt x="42" y="19"/>
                      <a:pt x="42" y="19"/>
                      <a:pt x="42" y="19"/>
                    </a:cubicBezTo>
                    <a:close/>
                    <a:moveTo>
                      <a:pt x="78" y="5"/>
                    </a:moveTo>
                    <a:cubicBezTo>
                      <a:pt x="80" y="1"/>
                      <a:pt x="80" y="1"/>
                      <a:pt x="80" y="1"/>
                    </a:cubicBezTo>
                    <a:cubicBezTo>
                      <a:pt x="83" y="0"/>
                      <a:pt x="83" y="0"/>
                      <a:pt x="83" y="0"/>
                    </a:cubicBezTo>
                    <a:cubicBezTo>
                      <a:pt x="87" y="3"/>
                      <a:pt x="87" y="3"/>
                      <a:pt x="87" y="3"/>
                    </a:cubicBezTo>
                    <a:cubicBezTo>
                      <a:pt x="83" y="3"/>
                      <a:pt x="83" y="3"/>
                      <a:pt x="83" y="3"/>
                    </a:cubicBezTo>
                    <a:cubicBezTo>
                      <a:pt x="78" y="5"/>
                      <a:pt x="78" y="5"/>
                      <a:pt x="78" y="5"/>
                    </a:cubicBezTo>
                    <a:close/>
                    <a:moveTo>
                      <a:pt x="67" y="21"/>
                    </a:moveTo>
                    <a:cubicBezTo>
                      <a:pt x="71" y="16"/>
                      <a:pt x="71" y="16"/>
                      <a:pt x="71" y="16"/>
                    </a:cubicBezTo>
                    <a:cubicBezTo>
                      <a:pt x="71" y="13"/>
                      <a:pt x="71" y="13"/>
                      <a:pt x="71" y="13"/>
                    </a:cubicBezTo>
                    <a:cubicBezTo>
                      <a:pt x="77" y="10"/>
                      <a:pt x="77" y="10"/>
                      <a:pt x="77" y="10"/>
                    </a:cubicBezTo>
                    <a:cubicBezTo>
                      <a:pt x="78" y="15"/>
                      <a:pt x="78" y="15"/>
                      <a:pt x="78" y="15"/>
                    </a:cubicBezTo>
                    <a:cubicBezTo>
                      <a:pt x="73" y="20"/>
                      <a:pt x="73" y="20"/>
                      <a:pt x="73" y="20"/>
                    </a:cubicBezTo>
                    <a:cubicBezTo>
                      <a:pt x="69" y="21"/>
                      <a:pt x="69" y="21"/>
                      <a:pt x="69" y="21"/>
                    </a:cubicBezTo>
                    <a:lnTo>
                      <a:pt x="67" y="21"/>
                    </a:ln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876" name="Freeform 279"/>
              <p:cNvSpPr>
                <a:spLocks/>
              </p:cNvSpPr>
              <p:nvPr userDrawn="1"/>
            </p:nvSpPr>
            <p:spPr bwMode="auto">
              <a:xfrm>
                <a:off x="3238" y="2792"/>
                <a:ext cx="5" cy="5"/>
              </a:xfrm>
              <a:custGeom>
                <a:avLst/>
                <a:gdLst>
                  <a:gd name="T0" fmla="*/ 5 w 5"/>
                  <a:gd name="T1" fmla="*/ 5 h 5"/>
                  <a:gd name="T2" fmla="*/ 5 w 5"/>
                  <a:gd name="T3" fmla="*/ 3 h 5"/>
                  <a:gd name="T4" fmla="*/ 3 w 5"/>
                  <a:gd name="T5" fmla="*/ 1 h 5"/>
                  <a:gd name="T6" fmla="*/ 1 w 5"/>
                  <a:gd name="T7" fmla="*/ 0 h 5"/>
                  <a:gd name="T8" fmla="*/ 0 w 5"/>
                  <a:gd name="T9" fmla="*/ 2 h 5"/>
                  <a:gd name="T10" fmla="*/ 1 w 5"/>
                  <a:gd name="T11" fmla="*/ 3 h 5"/>
                  <a:gd name="T12" fmla="*/ 4 w 5"/>
                  <a:gd name="T13" fmla="*/ 5 h 5"/>
                  <a:gd name="T14" fmla="*/ 5 w 5"/>
                  <a:gd name="T15" fmla="*/ 5 h 5"/>
                  <a:gd name="T16" fmla="*/ 5 w 5"/>
                  <a:gd name="T17" fmla="*/ 5 h 5"/>
                  <a:gd name="T18" fmla="*/ 5 w 5"/>
                  <a:gd name="T19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" h="5">
                    <a:moveTo>
                      <a:pt x="5" y="5"/>
                    </a:moveTo>
                    <a:lnTo>
                      <a:pt x="5" y="3"/>
                    </a:lnTo>
                    <a:lnTo>
                      <a:pt x="3" y="1"/>
                    </a:lnTo>
                    <a:lnTo>
                      <a:pt x="1" y="0"/>
                    </a:lnTo>
                    <a:lnTo>
                      <a:pt x="0" y="2"/>
                    </a:lnTo>
                    <a:lnTo>
                      <a:pt x="1" y="3"/>
                    </a:lnTo>
                    <a:lnTo>
                      <a:pt x="4" y="5"/>
                    </a:lnTo>
                    <a:lnTo>
                      <a:pt x="5" y="5"/>
                    </a:lnTo>
                    <a:lnTo>
                      <a:pt x="5" y="5"/>
                    </a:lnTo>
                    <a:lnTo>
                      <a:pt x="5" y="5"/>
                    </a:ln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877" name="Freeform 280"/>
              <p:cNvSpPr>
                <a:spLocks/>
              </p:cNvSpPr>
              <p:nvPr userDrawn="1"/>
            </p:nvSpPr>
            <p:spPr bwMode="auto">
              <a:xfrm>
                <a:off x="3619" y="2865"/>
                <a:ext cx="10" cy="7"/>
              </a:xfrm>
              <a:custGeom>
                <a:avLst/>
                <a:gdLst>
                  <a:gd name="T0" fmla="*/ 10 w 10"/>
                  <a:gd name="T1" fmla="*/ 0 h 7"/>
                  <a:gd name="T2" fmla="*/ 7 w 10"/>
                  <a:gd name="T3" fmla="*/ 7 h 7"/>
                  <a:gd name="T4" fmla="*/ 3 w 10"/>
                  <a:gd name="T5" fmla="*/ 6 h 7"/>
                  <a:gd name="T6" fmla="*/ 0 w 10"/>
                  <a:gd name="T7" fmla="*/ 4 h 7"/>
                  <a:gd name="T8" fmla="*/ 10 w 10"/>
                  <a:gd name="T9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7">
                    <a:moveTo>
                      <a:pt x="10" y="0"/>
                    </a:moveTo>
                    <a:lnTo>
                      <a:pt x="7" y="7"/>
                    </a:lnTo>
                    <a:lnTo>
                      <a:pt x="3" y="6"/>
                    </a:lnTo>
                    <a:lnTo>
                      <a:pt x="0" y="4"/>
                    </a:lnTo>
                    <a:lnTo>
                      <a:pt x="10" y="0"/>
                    </a:ln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878" name="Freeform 281"/>
              <p:cNvSpPr>
                <a:spLocks/>
              </p:cNvSpPr>
              <p:nvPr userDrawn="1"/>
            </p:nvSpPr>
            <p:spPr bwMode="auto">
              <a:xfrm>
                <a:off x="3619" y="2865"/>
                <a:ext cx="10" cy="7"/>
              </a:xfrm>
              <a:custGeom>
                <a:avLst/>
                <a:gdLst>
                  <a:gd name="T0" fmla="*/ 10 w 10"/>
                  <a:gd name="T1" fmla="*/ 0 h 7"/>
                  <a:gd name="T2" fmla="*/ 7 w 10"/>
                  <a:gd name="T3" fmla="*/ 7 h 7"/>
                  <a:gd name="T4" fmla="*/ 3 w 10"/>
                  <a:gd name="T5" fmla="*/ 6 h 7"/>
                  <a:gd name="T6" fmla="*/ 0 w 10"/>
                  <a:gd name="T7" fmla="*/ 4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" h="7">
                    <a:moveTo>
                      <a:pt x="10" y="0"/>
                    </a:moveTo>
                    <a:lnTo>
                      <a:pt x="7" y="7"/>
                    </a:lnTo>
                    <a:lnTo>
                      <a:pt x="3" y="6"/>
                    </a:lnTo>
                    <a:lnTo>
                      <a:pt x="0" y="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879" name="Freeform 282"/>
              <p:cNvSpPr>
                <a:spLocks/>
              </p:cNvSpPr>
              <p:nvPr userDrawn="1"/>
            </p:nvSpPr>
            <p:spPr bwMode="auto">
              <a:xfrm>
                <a:off x="3695" y="3017"/>
                <a:ext cx="6" cy="4"/>
              </a:xfrm>
              <a:custGeom>
                <a:avLst/>
                <a:gdLst>
                  <a:gd name="T0" fmla="*/ 0 w 6"/>
                  <a:gd name="T1" fmla="*/ 4 h 4"/>
                  <a:gd name="T2" fmla="*/ 2 w 6"/>
                  <a:gd name="T3" fmla="*/ 3 h 4"/>
                  <a:gd name="T4" fmla="*/ 6 w 6"/>
                  <a:gd name="T5" fmla="*/ 0 h 4"/>
                  <a:gd name="T6" fmla="*/ 0 w 6"/>
                  <a:gd name="T7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" h="4">
                    <a:moveTo>
                      <a:pt x="0" y="4"/>
                    </a:moveTo>
                    <a:lnTo>
                      <a:pt x="2" y="3"/>
                    </a:lnTo>
                    <a:lnTo>
                      <a:pt x="6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880" name="Freeform 283"/>
              <p:cNvSpPr>
                <a:spLocks/>
              </p:cNvSpPr>
              <p:nvPr userDrawn="1"/>
            </p:nvSpPr>
            <p:spPr bwMode="auto">
              <a:xfrm>
                <a:off x="3695" y="3017"/>
                <a:ext cx="6" cy="4"/>
              </a:xfrm>
              <a:custGeom>
                <a:avLst/>
                <a:gdLst>
                  <a:gd name="T0" fmla="*/ 0 w 6"/>
                  <a:gd name="T1" fmla="*/ 4 h 4"/>
                  <a:gd name="T2" fmla="*/ 2 w 6"/>
                  <a:gd name="T3" fmla="*/ 3 h 4"/>
                  <a:gd name="T4" fmla="*/ 6 w 6"/>
                  <a:gd name="T5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4">
                    <a:moveTo>
                      <a:pt x="0" y="4"/>
                    </a:moveTo>
                    <a:lnTo>
                      <a:pt x="2" y="3"/>
                    </a:lnTo>
                    <a:lnTo>
                      <a:pt x="6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881" name="Freeform 284"/>
              <p:cNvSpPr>
                <a:spLocks/>
              </p:cNvSpPr>
              <p:nvPr userDrawn="1"/>
            </p:nvSpPr>
            <p:spPr bwMode="auto">
              <a:xfrm>
                <a:off x="4098" y="3228"/>
                <a:ext cx="5" cy="3"/>
              </a:xfrm>
              <a:custGeom>
                <a:avLst/>
                <a:gdLst>
                  <a:gd name="T0" fmla="*/ 5 w 5"/>
                  <a:gd name="T1" fmla="*/ 3 h 3"/>
                  <a:gd name="T2" fmla="*/ 3 w 5"/>
                  <a:gd name="T3" fmla="*/ 1 h 3"/>
                  <a:gd name="T4" fmla="*/ 0 w 5"/>
                  <a:gd name="T5" fmla="*/ 0 h 3"/>
                  <a:gd name="T6" fmla="*/ 5 w 5"/>
                  <a:gd name="T7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" h="3">
                    <a:moveTo>
                      <a:pt x="5" y="3"/>
                    </a:moveTo>
                    <a:lnTo>
                      <a:pt x="3" y="1"/>
                    </a:lnTo>
                    <a:lnTo>
                      <a:pt x="0" y="0"/>
                    </a:lnTo>
                    <a:lnTo>
                      <a:pt x="5" y="3"/>
                    </a:ln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882" name="Freeform 285"/>
              <p:cNvSpPr>
                <a:spLocks/>
              </p:cNvSpPr>
              <p:nvPr userDrawn="1"/>
            </p:nvSpPr>
            <p:spPr bwMode="auto">
              <a:xfrm>
                <a:off x="4098" y="3228"/>
                <a:ext cx="5" cy="3"/>
              </a:xfrm>
              <a:custGeom>
                <a:avLst/>
                <a:gdLst>
                  <a:gd name="T0" fmla="*/ 5 w 5"/>
                  <a:gd name="T1" fmla="*/ 3 h 3"/>
                  <a:gd name="T2" fmla="*/ 3 w 5"/>
                  <a:gd name="T3" fmla="*/ 1 h 3"/>
                  <a:gd name="T4" fmla="*/ 0 w 5"/>
                  <a:gd name="T5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" h="3">
                    <a:moveTo>
                      <a:pt x="5" y="3"/>
                    </a:moveTo>
                    <a:lnTo>
                      <a:pt x="3" y="1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883" name="Freeform 286"/>
              <p:cNvSpPr>
                <a:spLocks/>
              </p:cNvSpPr>
              <p:nvPr userDrawn="1"/>
            </p:nvSpPr>
            <p:spPr bwMode="auto">
              <a:xfrm>
                <a:off x="4672" y="4016"/>
                <a:ext cx="6" cy="7"/>
              </a:xfrm>
              <a:custGeom>
                <a:avLst/>
                <a:gdLst>
                  <a:gd name="T0" fmla="*/ 0 w 6"/>
                  <a:gd name="T1" fmla="*/ 1 h 7"/>
                  <a:gd name="T2" fmla="*/ 1 w 6"/>
                  <a:gd name="T3" fmla="*/ 4 h 7"/>
                  <a:gd name="T4" fmla="*/ 1 w 6"/>
                  <a:gd name="T5" fmla="*/ 6 h 7"/>
                  <a:gd name="T6" fmla="*/ 3 w 6"/>
                  <a:gd name="T7" fmla="*/ 6 h 7"/>
                  <a:gd name="T8" fmla="*/ 5 w 6"/>
                  <a:gd name="T9" fmla="*/ 7 h 7"/>
                  <a:gd name="T10" fmla="*/ 6 w 6"/>
                  <a:gd name="T11" fmla="*/ 7 h 7"/>
                  <a:gd name="T12" fmla="*/ 2 w 6"/>
                  <a:gd name="T13" fmla="*/ 2 h 7"/>
                  <a:gd name="T14" fmla="*/ 1 w 6"/>
                  <a:gd name="T15" fmla="*/ 0 h 7"/>
                  <a:gd name="T16" fmla="*/ 0 w 6"/>
                  <a:gd name="T17" fmla="*/ 1 h 7"/>
                  <a:gd name="T18" fmla="*/ 0 w 6"/>
                  <a:gd name="T19" fmla="*/ 1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" h="7">
                    <a:moveTo>
                      <a:pt x="0" y="1"/>
                    </a:moveTo>
                    <a:lnTo>
                      <a:pt x="1" y="4"/>
                    </a:lnTo>
                    <a:lnTo>
                      <a:pt x="1" y="6"/>
                    </a:lnTo>
                    <a:lnTo>
                      <a:pt x="3" y="6"/>
                    </a:lnTo>
                    <a:lnTo>
                      <a:pt x="5" y="7"/>
                    </a:lnTo>
                    <a:lnTo>
                      <a:pt x="6" y="7"/>
                    </a:lnTo>
                    <a:lnTo>
                      <a:pt x="2" y="2"/>
                    </a:lnTo>
                    <a:lnTo>
                      <a:pt x="1" y="0"/>
                    </a:lnTo>
                    <a:lnTo>
                      <a:pt x="0" y="1"/>
                    </a:lnTo>
                    <a:lnTo>
                      <a:pt x="0" y="1"/>
                    </a:lnTo>
                    <a:close/>
                  </a:path>
                </a:pathLst>
              </a:custGeom>
              <a:solidFill>
                <a:srgbClr val="F2F1E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884" name="Freeform 287"/>
              <p:cNvSpPr>
                <a:spLocks noEditPoints="1"/>
              </p:cNvSpPr>
              <p:nvPr userDrawn="1"/>
            </p:nvSpPr>
            <p:spPr bwMode="auto">
              <a:xfrm>
                <a:off x="4618" y="3906"/>
                <a:ext cx="30" cy="23"/>
              </a:xfrm>
              <a:custGeom>
                <a:avLst/>
                <a:gdLst>
                  <a:gd name="T0" fmla="*/ 10 w 30"/>
                  <a:gd name="T1" fmla="*/ 6 h 23"/>
                  <a:gd name="T2" fmla="*/ 12 w 30"/>
                  <a:gd name="T3" fmla="*/ 4 h 23"/>
                  <a:gd name="T4" fmla="*/ 14 w 30"/>
                  <a:gd name="T5" fmla="*/ 3 h 23"/>
                  <a:gd name="T6" fmla="*/ 14 w 30"/>
                  <a:gd name="T7" fmla="*/ 4 h 23"/>
                  <a:gd name="T8" fmla="*/ 13 w 30"/>
                  <a:gd name="T9" fmla="*/ 7 h 23"/>
                  <a:gd name="T10" fmla="*/ 11 w 30"/>
                  <a:gd name="T11" fmla="*/ 7 h 23"/>
                  <a:gd name="T12" fmla="*/ 10 w 30"/>
                  <a:gd name="T13" fmla="*/ 6 h 23"/>
                  <a:gd name="T14" fmla="*/ 10 w 30"/>
                  <a:gd name="T15" fmla="*/ 6 h 23"/>
                  <a:gd name="T16" fmla="*/ 10 w 30"/>
                  <a:gd name="T17" fmla="*/ 6 h 23"/>
                  <a:gd name="T18" fmla="*/ 1 w 30"/>
                  <a:gd name="T19" fmla="*/ 21 h 23"/>
                  <a:gd name="T20" fmla="*/ 3 w 30"/>
                  <a:gd name="T21" fmla="*/ 21 h 23"/>
                  <a:gd name="T22" fmla="*/ 7 w 30"/>
                  <a:gd name="T23" fmla="*/ 18 h 23"/>
                  <a:gd name="T24" fmla="*/ 10 w 30"/>
                  <a:gd name="T25" fmla="*/ 17 h 23"/>
                  <a:gd name="T26" fmla="*/ 10 w 30"/>
                  <a:gd name="T27" fmla="*/ 19 h 23"/>
                  <a:gd name="T28" fmla="*/ 13 w 30"/>
                  <a:gd name="T29" fmla="*/ 21 h 23"/>
                  <a:gd name="T30" fmla="*/ 15 w 30"/>
                  <a:gd name="T31" fmla="*/ 21 h 23"/>
                  <a:gd name="T32" fmla="*/ 16 w 30"/>
                  <a:gd name="T33" fmla="*/ 17 h 23"/>
                  <a:gd name="T34" fmla="*/ 17 w 30"/>
                  <a:gd name="T35" fmla="*/ 19 h 23"/>
                  <a:gd name="T36" fmla="*/ 18 w 30"/>
                  <a:gd name="T37" fmla="*/ 21 h 23"/>
                  <a:gd name="T38" fmla="*/ 20 w 30"/>
                  <a:gd name="T39" fmla="*/ 23 h 23"/>
                  <a:gd name="T40" fmla="*/ 24 w 30"/>
                  <a:gd name="T41" fmla="*/ 23 h 23"/>
                  <a:gd name="T42" fmla="*/ 27 w 30"/>
                  <a:gd name="T43" fmla="*/ 21 h 23"/>
                  <a:gd name="T44" fmla="*/ 27 w 30"/>
                  <a:gd name="T45" fmla="*/ 19 h 23"/>
                  <a:gd name="T46" fmla="*/ 22 w 30"/>
                  <a:gd name="T47" fmla="*/ 20 h 23"/>
                  <a:gd name="T48" fmla="*/ 20 w 30"/>
                  <a:gd name="T49" fmla="*/ 17 h 23"/>
                  <a:gd name="T50" fmla="*/ 22 w 30"/>
                  <a:gd name="T51" fmla="*/ 15 h 23"/>
                  <a:gd name="T52" fmla="*/ 24 w 30"/>
                  <a:gd name="T53" fmla="*/ 14 h 23"/>
                  <a:gd name="T54" fmla="*/ 28 w 30"/>
                  <a:gd name="T55" fmla="*/ 15 h 23"/>
                  <a:gd name="T56" fmla="*/ 30 w 30"/>
                  <a:gd name="T57" fmla="*/ 13 h 23"/>
                  <a:gd name="T58" fmla="*/ 29 w 30"/>
                  <a:gd name="T59" fmla="*/ 10 h 23"/>
                  <a:gd name="T60" fmla="*/ 26 w 30"/>
                  <a:gd name="T61" fmla="*/ 11 h 23"/>
                  <a:gd name="T62" fmla="*/ 24 w 30"/>
                  <a:gd name="T63" fmla="*/ 10 h 23"/>
                  <a:gd name="T64" fmla="*/ 20 w 30"/>
                  <a:gd name="T65" fmla="*/ 13 h 23"/>
                  <a:gd name="T66" fmla="*/ 18 w 30"/>
                  <a:gd name="T67" fmla="*/ 13 h 23"/>
                  <a:gd name="T68" fmla="*/ 16 w 30"/>
                  <a:gd name="T69" fmla="*/ 9 h 23"/>
                  <a:gd name="T70" fmla="*/ 18 w 30"/>
                  <a:gd name="T71" fmla="*/ 8 h 23"/>
                  <a:gd name="T72" fmla="*/ 18 w 30"/>
                  <a:gd name="T73" fmla="*/ 4 h 23"/>
                  <a:gd name="T74" fmla="*/ 16 w 30"/>
                  <a:gd name="T75" fmla="*/ 6 h 23"/>
                  <a:gd name="T76" fmla="*/ 15 w 30"/>
                  <a:gd name="T77" fmla="*/ 9 h 23"/>
                  <a:gd name="T78" fmla="*/ 13 w 30"/>
                  <a:gd name="T79" fmla="*/ 10 h 23"/>
                  <a:gd name="T80" fmla="*/ 11 w 30"/>
                  <a:gd name="T81" fmla="*/ 9 h 23"/>
                  <a:gd name="T82" fmla="*/ 8 w 30"/>
                  <a:gd name="T83" fmla="*/ 8 h 23"/>
                  <a:gd name="T84" fmla="*/ 6 w 30"/>
                  <a:gd name="T85" fmla="*/ 7 h 23"/>
                  <a:gd name="T86" fmla="*/ 7 w 30"/>
                  <a:gd name="T87" fmla="*/ 3 h 23"/>
                  <a:gd name="T88" fmla="*/ 6 w 30"/>
                  <a:gd name="T89" fmla="*/ 2 h 23"/>
                  <a:gd name="T90" fmla="*/ 7 w 30"/>
                  <a:gd name="T91" fmla="*/ 1 h 23"/>
                  <a:gd name="T92" fmla="*/ 7 w 30"/>
                  <a:gd name="T93" fmla="*/ 0 h 23"/>
                  <a:gd name="T94" fmla="*/ 5 w 30"/>
                  <a:gd name="T95" fmla="*/ 2 h 23"/>
                  <a:gd name="T96" fmla="*/ 4 w 30"/>
                  <a:gd name="T97" fmla="*/ 3 h 23"/>
                  <a:gd name="T98" fmla="*/ 4 w 30"/>
                  <a:gd name="T99" fmla="*/ 5 h 23"/>
                  <a:gd name="T100" fmla="*/ 4 w 30"/>
                  <a:gd name="T101" fmla="*/ 9 h 23"/>
                  <a:gd name="T102" fmla="*/ 5 w 30"/>
                  <a:gd name="T103" fmla="*/ 9 h 23"/>
                  <a:gd name="T104" fmla="*/ 6 w 30"/>
                  <a:gd name="T105" fmla="*/ 11 h 23"/>
                  <a:gd name="T106" fmla="*/ 2 w 30"/>
                  <a:gd name="T107" fmla="*/ 14 h 23"/>
                  <a:gd name="T108" fmla="*/ 0 w 30"/>
                  <a:gd name="T109" fmla="*/ 18 h 23"/>
                  <a:gd name="T110" fmla="*/ 1 w 30"/>
                  <a:gd name="T111" fmla="*/ 21 h 23"/>
                  <a:gd name="T112" fmla="*/ 1 w 30"/>
                  <a:gd name="T113" fmla="*/ 2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30" h="23">
                    <a:moveTo>
                      <a:pt x="10" y="6"/>
                    </a:moveTo>
                    <a:lnTo>
                      <a:pt x="12" y="4"/>
                    </a:lnTo>
                    <a:lnTo>
                      <a:pt x="14" y="3"/>
                    </a:lnTo>
                    <a:lnTo>
                      <a:pt x="14" y="4"/>
                    </a:lnTo>
                    <a:lnTo>
                      <a:pt x="13" y="7"/>
                    </a:lnTo>
                    <a:lnTo>
                      <a:pt x="11" y="7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close/>
                    <a:moveTo>
                      <a:pt x="1" y="21"/>
                    </a:moveTo>
                    <a:lnTo>
                      <a:pt x="3" y="21"/>
                    </a:lnTo>
                    <a:lnTo>
                      <a:pt x="7" y="18"/>
                    </a:lnTo>
                    <a:lnTo>
                      <a:pt x="10" y="17"/>
                    </a:lnTo>
                    <a:lnTo>
                      <a:pt x="10" y="19"/>
                    </a:lnTo>
                    <a:lnTo>
                      <a:pt x="13" y="21"/>
                    </a:lnTo>
                    <a:lnTo>
                      <a:pt x="15" y="21"/>
                    </a:lnTo>
                    <a:lnTo>
                      <a:pt x="16" y="17"/>
                    </a:lnTo>
                    <a:lnTo>
                      <a:pt x="17" y="19"/>
                    </a:lnTo>
                    <a:lnTo>
                      <a:pt x="18" y="21"/>
                    </a:lnTo>
                    <a:lnTo>
                      <a:pt x="20" y="23"/>
                    </a:lnTo>
                    <a:lnTo>
                      <a:pt x="24" y="23"/>
                    </a:lnTo>
                    <a:lnTo>
                      <a:pt x="27" y="21"/>
                    </a:lnTo>
                    <a:lnTo>
                      <a:pt x="27" y="19"/>
                    </a:lnTo>
                    <a:lnTo>
                      <a:pt x="22" y="20"/>
                    </a:lnTo>
                    <a:lnTo>
                      <a:pt x="20" y="17"/>
                    </a:lnTo>
                    <a:lnTo>
                      <a:pt x="22" y="15"/>
                    </a:lnTo>
                    <a:lnTo>
                      <a:pt x="24" y="14"/>
                    </a:lnTo>
                    <a:lnTo>
                      <a:pt x="28" y="15"/>
                    </a:lnTo>
                    <a:lnTo>
                      <a:pt x="30" y="13"/>
                    </a:lnTo>
                    <a:lnTo>
                      <a:pt x="29" y="10"/>
                    </a:lnTo>
                    <a:lnTo>
                      <a:pt x="26" y="11"/>
                    </a:lnTo>
                    <a:lnTo>
                      <a:pt x="24" y="10"/>
                    </a:lnTo>
                    <a:lnTo>
                      <a:pt x="20" y="13"/>
                    </a:lnTo>
                    <a:lnTo>
                      <a:pt x="18" y="13"/>
                    </a:lnTo>
                    <a:lnTo>
                      <a:pt x="16" y="9"/>
                    </a:lnTo>
                    <a:lnTo>
                      <a:pt x="18" y="8"/>
                    </a:lnTo>
                    <a:lnTo>
                      <a:pt x="18" y="4"/>
                    </a:lnTo>
                    <a:lnTo>
                      <a:pt x="16" y="6"/>
                    </a:lnTo>
                    <a:lnTo>
                      <a:pt x="15" y="9"/>
                    </a:lnTo>
                    <a:lnTo>
                      <a:pt x="13" y="10"/>
                    </a:lnTo>
                    <a:lnTo>
                      <a:pt x="11" y="9"/>
                    </a:lnTo>
                    <a:lnTo>
                      <a:pt x="8" y="8"/>
                    </a:lnTo>
                    <a:lnTo>
                      <a:pt x="6" y="7"/>
                    </a:lnTo>
                    <a:lnTo>
                      <a:pt x="7" y="3"/>
                    </a:lnTo>
                    <a:lnTo>
                      <a:pt x="6" y="2"/>
                    </a:lnTo>
                    <a:lnTo>
                      <a:pt x="7" y="1"/>
                    </a:lnTo>
                    <a:lnTo>
                      <a:pt x="7" y="0"/>
                    </a:lnTo>
                    <a:lnTo>
                      <a:pt x="5" y="2"/>
                    </a:lnTo>
                    <a:lnTo>
                      <a:pt x="4" y="3"/>
                    </a:lnTo>
                    <a:lnTo>
                      <a:pt x="4" y="5"/>
                    </a:lnTo>
                    <a:lnTo>
                      <a:pt x="4" y="9"/>
                    </a:lnTo>
                    <a:lnTo>
                      <a:pt x="5" y="9"/>
                    </a:lnTo>
                    <a:lnTo>
                      <a:pt x="6" y="11"/>
                    </a:lnTo>
                    <a:lnTo>
                      <a:pt x="2" y="14"/>
                    </a:lnTo>
                    <a:lnTo>
                      <a:pt x="0" y="18"/>
                    </a:lnTo>
                    <a:lnTo>
                      <a:pt x="1" y="21"/>
                    </a:lnTo>
                    <a:lnTo>
                      <a:pt x="1" y="21"/>
                    </a:lnTo>
                    <a:close/>
                  </a:path>
                </a:pathLst>
              </a:custGeom>
              <a:solidFill>
                <a:srgbClr val="F2F1E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885" name="Freeform 288"/>
              <p:cNvSpPr>
                <a:spLocks/>
              </p:cNvSpPr>
              <p:nvPr userDrawn="1"/>
            </p:nvSpPr>
            <p:spPr bwMode="auto">
              <a:xfrm>
                <a:off x="4510" y="3291"/>
                <a:ext cx="11" cy="12"/>
              </a:xfrm>
              <a:custGeom>
                <a:avLst/>
                <a:gdLst>
                  <a:gd name="T0" fmla="*/ 3 w 11"/>
                  <a:gd name="T1" fmla="*/ 1 h 12"/>
                  <a:gd name="T2" fmla="*/ 2 w 11"/>
                  <a:gd name="T3" fmla="*/ 6 h 12"/>
                  <a:gd name="T4" fmla="*/ 0 w 11"/>
                  <a:gd name="T5" fmla="*/ 8 h 12"/>
                  <a:gd name="T6" fmla="*/ 5 w 11"/>
                  <a:gd name="T7" fmla="*/ 12 h 12"/>
                  <a:gd name="T8" fmla="*/ 9 w 11"/>
                  <a:gd name="T9" fmla="*/ 10 h 12"/>
                  <a:gd name="T10" fmla="*/ 9 w 11"/>
                  <a:gd name="T11" fmla="*/ 6 h 12"/>
                  <a:gd name="T12" fmla="*/ 11 w 11"/>
                  <a:gd name="T13" fmla="*/ 4 h 12"/>
                  <a:gd name="T14" fmla="*/ 10 w 11"/>
                  <a:gd name="T15" fmla="*/ 2 h 12"/>
                  <a:gd name="T16" fmla="*/ 8 w 11"/>
                  <a:gd name="T17" fmla="*/ 0 h 12"/>
                  <a:gd name="T18" fmla="*/ 5 w 11"/>
                  <a:gd name="T19" fmla="*/ 2 h 12"/>
                  <a:gd name="T20" fmla="*/ 3 w 11"/>
                  <a:gd name="T21" fmla="*/ 1 h 12"/>
                  <a:gd name="T22" fmla="*/ 3 w 11"/>
                  <a:gd name="T23" fmla="*/ 1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1" h="12">
                    <a:moveTo>
                      <a:pt x="3" y="1"/>
                    </a:moveTo>
                    <a:lnTo>
                      <a:pt x="2" y="6"/>
                    </a:lnTo>
                    <a:lnTo>
                      <a:pt x="0" y="8"/>
                    </a:lnTo>
                    <a:lnTo>
                      <a:pt x="5" y="12"/>
                    </a:lnTo>
                    <a:lnTo>
                      <a:pt x="9" y="10"/>
                    </a:lnTo>
                    <a:lnTo>
                      <a:pt x="9" y="6"/>
                    </a:lnTo>
                    <a:lnTo>
                      <a:pt x="11" y="4"/>
                    </a:lnTo>
                    <a:lnTo>
                      <a:pt x="10" y="2"/>
                    </a:lnTo>
                    <a:lnTo>
                      <a:pt x="8" y="0"/>
                    </a:lnTo>
                    <a:lnTo>
                      <a:pt x="5" y="2"/>
                    </a:lnTo>
                    <a:lnTo>
                      <a:pt x="3" y="1"/>
                    </a:lnTo>
                    <a:lnTo>
                      <a:pt x="3" y="1"/>
                    </a:ln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886" name="Freeform 289"/>
              <p:cNvSpPr>
                <a:spLocks/>
              </p:cNvSpPr>
              <p:nvPr userDrawn="1"/>
            </p:nvSpPr>
            <p:spPr bwMode="auto">
              <a:xfrm>
                <a:off x="4476" y="3305"/>
                <a:ext cx="7" cy="12"/>
              </a:xfrm>
              <a:custGeom>
                <a:avLst/>
                <a:gdLst>
                  <a:gd name="T0" fmla="*/ 3 w 7"/>
                  <a:gd name="T1" fmla="*/ 12 h 12"/>
                  <a:gd name="T2" fmla="*/ 7 w 7"/>
                  <a:gd name="T3" fmla="*/ 8 h 12"/>
                  <a:gd name="T4" fmla="*/ 5 w 7"/>
                  <a:gd name="T5" fmla="*/ 7 h 12"/>
                  <a:gd name="T6" fmla="*/ 4 w 7"/>
                  <a:gd name="T7" fmla="*/ 2 h 12"/>
                  <a:gd name="T8" fmla="*/ 0 w 7"/>
                  <a:gd name="T9" fmla="*/ 0 h 12"/>
                  <a:gd name="T10" fmla="*/ 3 w 7"/>
                  <a:gd name="T11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" h="12">
                    <a:moveTo>
                      <a:pt x="3" y="12"/>
                    </a:moveTo>
                    <a:lnTo>
                      <a:pt x="7" y="8"/>
                    </a:lnTo>
                    <a:lnTo>
                      <a:pt x="5" y="7"/>
                    </a:lnTo>
                    <a:lnTo>
                      <a:pt x="4" y="2"/>
                    </a:lnTo>
                    <a:lnTo>
                      <a:pt x="0" y="0"/>
                    </a:lnTo>
                    <a:lnTo>
                      <a:pt x="3" y="12"/>
                    </a:ln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887" name="Freeform 290"/>
              <p:cNvSpPr>
                <a:spLocks/>
              </p:cNvSpPr>
              <p:nvPr userDrawn="1"/>
            </p:nvSpPr>
            <p:spPr bwMode="auto">
              <a:xfrm>
                <a:off x="4476" y="3305"/>
                <a:ext cx="7" cy="12"/>
              </a:xfrm>
              <a:custGeom>
                <a:avLst/>
                <a:gdLst>
                  <a:gd name="T0" fmla="*/ 3 w 7"/>
                  <a:gd name="T1" fmla="*/ 12 h 12"/>
                  <a:gd name="T2" fmla="*/ 7 w 7"/>
                  <a:gd name="T3" fmla="*/ 8 h 12"/>
                  <a:gd name="T4" fmla="*/ 5 w 7"/>
                  <a:gd name="T5" fmla="*/ 7 h 12"/>
                  <a:gd name="T6" fmla="*/ 4 w 7"/>
                  <a:gd name="T7" fmla="*/ 2 h 12"/>
                  <a:gd name="T8" fmla="*/ 0 w 7"/>
                  <a:gd name="T9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12">
                    <a:moveTo>
                      <a:pt x="3" y="12"/>
                    </a:moveTo>
                    <a:lnTo>
                      <a:pt x="7" y="8"/>
                    </a:lnTo>
                    <a:lnTo>
                      <a:pt x="5" y="7"/>
                    </a:lnTo>
                    <a:lnTo>
                      <a:pt x="4" y="2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888" name="Freeform 291"/>
              <p:cNvSpPr>
                <a:spLocks/>
              </p:cNvSpPr>
              <p:nvPr userDrawn="1"/>
            </p:nvSpPr>
            <p:spPr bwMode="auto">
              <a:xfrm>
                <a:off x="4023" y="3393"/>
                <a:ext cx="8" cy="3"/>
              </a:xfrm>
              <a:custGeom>
                <a:avLst/>
                <a:gdLst>
                  <a:gd name="T0" fmla="*/ 0 w 8"/>
                  <a:gd name="T1" fmla="*/ 2 h 3"/>
                  <a:gd name="T2" fmla="*/ 4 w 8"/>
                  <a:gd name="T3" fmla="*/ 0 h 3"/>
                  <a:gd name="T4" fmla="*/ 8 w 8"/>
                  <a:gd name="T5" fmla="*/ 3 h 3"/>
                  <a:gd name="T6" fmla="*/ 0 w 8"/>
                  <a:gd name="T7" fmla="*/ 2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" h="3">
                    <a:moveTo>
                      <a:pt x="0" y="2"/>
                    </a:moveTo>
                    <a:lnTo>
                      <a:pt x="4" y="0"/>
                    </a:lnTo>
                    <a:lnTo>
                      <a:pt x="8" y="3"/>
                    </a:lnTo>
                    <a:lnTo>
                      <a:pt x="0" y="2"/>
                    </a:ln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889" name="Freeform 292"/>
              <p:cNvSpPr>
                <a:spLocks/>
              </p:cNvSpPr>
              <p:nvPr userDrawn="1"/>
            </p:nvSpPr>
            <p:spPr bwMode="auto">
              <a:xfrm>
                <a:off x="4023" y="3393"/>
                <a:ext cx="8" cy="3"/>
              </a:xfrm>
              <a:custGeom>
                <a:avLst/>
                <a:gdLst>
                  <a:gd name="T0" fmla="*/ 0 w 8"/>
                  <a:gd name="T1" fmla="*/ 2 h 3"/>
                  <a:gd name="T2" fmla="*/ 4 w 8"/>
                  <a:gd name="T3" fmla="*/ 0 h 3"/>
                  <a:gd name="T4" fmla="*/ 8 w 8"/>
                  <a:gd name="T5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8" h="3">
                    <a:moveTo>
                      <a:pt x="0" y="2"/>
                    </a:moveTo>
                    <a:lnTo>
                      <a:pt x="4" y="0"/>
                    </a:lnTo>
                    <a:lnTo>
                      <a:pt x="8" y="3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890" name="Freeform 293"/>
              <p:cNvSpPr>
                <a:spLocks/>
              </p:cNvSpPr>
              <p:nvPr userDrawn="1"/>
            </p:nvSpPr>
            <p:spPr bwMode="auto">
              <a:xfrm>
                <a:off x="3946" y="3473"/>
                <a:ext cx="3" cy="3"/>
              </a:xfrm>
              <a:custGeom>
                <a:avLst/>
                <a:gdLst>
                  <a:gd name="T0" fmla="*/ 3 w 3"/>
                  <a:gd name="T1" fmla="*/ 3 h 3"/>
                  <a:gd name="T2" fmla="*/ 2 w 3"/>
                  <a:gd name="T3" fmla="*/ 2 h 3"/>
                  <a:gd name="T4" fmla="*/ 0 w 3"/>
                  <a:gd name="T5" fmla="*/ 0 h 3"/>
                  <a:gd name="T6" fmla="*/ 3 w 3"/>
                  <a:gd name="T7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3">
                    <a:moveTo>
                      <a:pt x="3" y="3"/>
                    </a:moveTo>
                    <a:lnTo>
                      <a:pt x="2" y="2"/>
                    </a:lnTo>
                    <a:lnTo>
                      <a:pt x="0" y="0"/>
                    </a:lnTo>
                    <a:lnTo>
                      <a:pt x="3" y="3"/>
                    </a:ln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891" name="Freeform 294"/>
              <p:cNvSpPr>
                <a:spLocks/>
              </p:cNvSpPr>
              <p:nvPr userDrawn="1"/>
            </p:nvSpPr>
            <p:spPr bwMode="auto">
              <a:xfrm>
                <a:off x="3946" y="3473"/>
                <a:ext cx="3" cy="3"/>
              </a:xfrm>
              <a:custGeom>
                <a:avLst/>
                <a:gdLst>
                  <a:gd name="T0" fmla="*/ 3 w 3"/>
                  <a:gd name="T1" fmla="*/ 3 h 3"/>
                  <a:gd name="T2" fmla="*/ 2 w 3"/>
                  <a:gd name="T3" fmla="*/ 2 h 3"/>
                  <a:gd name="T4" fmla="*/ 0 w 3"/>
                  <a:gd name="T5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" h="3">
                    <a:moveTo>
                      <a:pt x="3" y="3"/>
                    </a:moveTo>
                    <a:lnTo>
                      <a:pt x="2" y="2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892" name="Freeform 295"/>
              <p:cNvSpPr>
                <a:spLocks/>
              </p:cNvSpPr>
              <p:nvPr userDrawn="1"/>
            </p:nvSpPr>
            <p:spPr bwMode="auto">
              <a:xfrm>
                <a:off x="6354" y="3991"/>
                <a:ext cx="3" cy="3"/>
              </a:xfrm>
              <a:custGeom>
                <a:avLst/>
                <a:gdLst>
                  <a:gd name="T0" fmla="*/ 1 w 3"/>
                  <a:gd name="T1" fmla="*/ 2 h 3"/>
                  <a:gd name="T2" fmla="*/ 1 w 3"/>
                  <a:gd name="T3" fmla="*/ 3 h 3"/>
                  <a:gd name="T4" fmla="*/ 3 w 3"/>
                  <a:gd name="T5" fmla="*/ 2 h 3"/>
                  <a:gd name="T6" fmla="*/ 3 w 3"/>
                  <a:gd name="T7" fmla="*/ 0 h 3"/>
                  <a:gd name="T8" fmla="*/ 1 w 3"/>
                  <a:gd name="T9" fmla="*/ 0 h 3"/>
                  <a:gd name="T10" fmla="*/ 0 w 3"/>
                  <a:gd name="T11" fmla="*/ 1 h 3"/>
                  <a:gd name="T12" fmla="*/ 1 w 3"/>
                  <a:gd name="T13" fmla="*/ 2 h 3"/>
                  <a:gd name="T14" fmla="*/ 1 w 3"/>
                  <a:gd name="T15" fmla="*/ 2 h 3"/>
                  <a:gd name="T16" fmla="*/ 1 w 3"/>
                  <a:gd name="T17" fmla="*/ 2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" h="3">
                    <a:moveTo>
                      <a:pt x="1" y="2"/>
                    </a:moveTo>
                    <a:lnTo>
                      <a:pt x="1" y="3"/>
                    </a:lnTo>
                    <a:lnTo>
                      <a:pt x="3" y="2"/>
                    </a:lnTo>
                    <a:lnTo>
                      <a:pt x="3" y="0"/>
                    </a:lnTo>
                    <a:lnTo>
                      <a:pt x="1" y="0"/>
                    </a:lnTo>
                    <a:lnTo>
                      <a:pt x="0" y="1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2"/>
                    </a:ln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893" name="Freeform 296"/>
              <p:cNvSpPr>
                <a:spLocks/>
              </p:cNvSpPr>
              <p:nvPr userDrawn="1"/>
            </p:nvSpPr>
            <p:spPr bwMode="auto">
              <a:xfrm>
                <a:off x="6300" y="4215"/>
                <a:ext cx="10" cy="7"/>
              </a:xfrm>
              <a:custGeom>
                <a:avLst/>
                <a:gdLst>
                  <a:gd name="T0" fmla="*/ 0 w 10"/>
                  <a:gd name="T1" fmla="*/ 4 h 7"/>
                  <a:gd name="T2" fmla="*/ 3 w 10"/>
                  <a:gd name="T3" fmla="*/ 7 h 7"/>
                  <a:gd name="T4" fmla="*/ 7 w 10"/>
                  <a:gd name="T5" fmla="*/ 7 h 7"/>
                  <a:gd name="T6" fmla="*/ 10 w 10"/>
                  <a:gd name="T7" fmla="*/ 2 h 7"/>
                  <a:gd name="T8" fmla="*/ 8 w 10"/>
                  <a:gd name="T9" fmla="*/ 0 h 7"/>
                  <a:gd name="T10" fmla="*/ 5 w 10"/>
                  <a:gd name="T11" fmla="*/ 3 h 7"/>
                  <a:gd name="T12" fmla="*/ 2 w 10"/>
                  <a:gd name="T13" fmla="*/ 3 h 7"/>
                  <a:gd name="T14" fmla="*/ 0 w 10"/>
                  <a:gd name="T15" fmla="*/ 4 h 7"/>
                  <a:gd name="T16" fmla="*/ 0 w 10"/>
                  <a:gd name="T17" fmla="*/ 4 h 7"/>
                  <a:gd name="T18" fmla="*/ 0 w 10"/>
                  <a:gd name="T19" fmla="*/ 4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" h="7">
                    <a:moveTo>
                      <a:pt x="0" y="4"/>
                    </a:moveTo>
                    <a:lnTo>
                      <a:pt x="3" y="7"/>
                    </a:lnTo>
                    <a:lnTo>
                      <a:pt x="7" y="7"/>
                    </a:lnTo>
                    <a:lnTo>
                      <a:pt x="10" y="2"/>
                    </a:lnTo>
                    <a:lnTo>
                      <a:pt x="8" y="0"/>
                    </a:lnTo>
                    <a:lnTo>
                      <a:pt x="5" y="3"/>
                    </a:lnTo>
                    <a:lnTo>
                      <a:pt x="2" y="3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894" name="Freeform 297"/>
              <p:cNvSpPr>
                <a:spLocks/>
              </p:cNvSpPr>
              <p:nvPr userDrawn="1"/>
            </p:nvSpPr>
            <p:spPr bwMode="auto">
              <a:xfrm>
                <a:off x="6275" y="4143"/>
                <a:ext cx="11" cy="11"/>
              </a:xfrm>
              <a:custGeom>
                <a:avLst/>
                <a:gdLst>
                  <a:gd name="T0" fmla="*/ 0 w 11"/>
                  <a:gd name="T1" fmla="*/ 8 h 11"/>
                  <a:gd name="T2" fmla="*/ 9 w 11"/>
                  <a:gd name="T3" fmla="*/ 0 h 11"/>
                  <a:gd name="T4" fmla="*/ 11 w 11"/>
                  <a:gd name="T5" fmla="*/ 0 h 11"/>
                  <a:gd name="T6" fmla="*/ 11 w 11"/>
                  <a:gd name="T7" fmla="*/ 3 h 11"/>
                  <a:gd name="T8" fmla="*/ 9 w 11"/>
                  <a:gd name="T9" fmla="*/ 6 h 11"/>
                  <a:gd name="T10" fmla="*/ 10 w 11"/>
                  <a:gd name="T11" fmla="*/ 9 h 11"/>
                  <a:gd name="T12" fmla="*/ 9 w 11"/>
                  <a:gd name="T13" fmla="*/ 11 h 11"/>
                  <a:gd name="T14" fmla="*/ 5 w 11"/>
                  <a:gd name="T15" fmla="*/ 10 h 11"/>
                  <a:gd name="T16" fmla="*/ 2 w 11"/>
                  <a:gd name="T17" fmla="*/ 11 h 11"/>
                  <a:gd name="T18" fmla="*/ 0 w 11"/>
                  <a:gd name="T19" fmla="*/ 8 h 11"/>
                  <a:gd name="T20" fmla="*/ 0 w 11"/>
                  <a:gd name="T21" fmla="*/ 8 h 11"/>
                  <a:gd name="T22" fmla="*/ 0 w 11"/>
                  <a:gd name="T23" fmla="*/ 8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1" h="11">
                    <a:moveTo>
                      <a:pt x="0" y="8"/>
                    </a:moveTo>
                    <a:lnTo>
                      <a:pt x="9" y="0"/>
                    </a:lnTo>
                    <a:lnTo>
                      <a:pt x="11" y="0"/>
                    </a:lnTo>
                    <a:lnTo>
                      <a:pt x="11" y="3"/>
                    </a:lnTo>
                    <a:lnTo>
                      <a:pt x="9" y="6"/>
                    </a:lnTo>
                    <a:lnTo>
                      <a:pt x="10" y="9"/>
                    </a:lnTo>
                    <a:lnTo>
                      <a:pt x="9" y="11"/>
                    </a:lnTo>
                    <a:lnTo>
                      <a:pt x="5" y="10"/>
                    </a:lnTo>
                    <a:lnTo>
                      <a:pt x="2" y="11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895" name="Freeform 298"/>
              <p:cNvSpPr>
                <a:spLocks/>
              </p:cNvSpPr>
              <p:nvPr userDrawn="1"/>
            </p:nvSpPr>
            <p:spPr bwMode="auto">
              <a:xfrm>
                <a:off x="6376" y="4031"/>
                <a:ext cx="1" cy="2"/>
              </a:xfrm>
              <a:custGeom>
                <a:avLst/>
                <a:gdLst>
                  <a:gd name="T0" fmla="*/ 0 w 1"/>
                  <a:gd name="T1" fmla="*/ 1 h 2"/>
                  <a:gd name="T2" fmla="*/ 1 w 1"/>
                  <a:gd name="T3" fmla="*/ 0 h 2"/>
                  <a:gd name="T4" fmla="*/ 1 w 1"/>
                  <a:gd name="T5" fmla="*/ 2 h 2"/>
                  <a:gd name="T6" fmla="*/ 0 w 1"/>
                  <a:gd name="T7" fmla="*/ 1 h 2"/>
                  <a:gd name="T8" fmla="*/ 0 w 1"/>
                  <a:gd name="T9" fmla="*/ 1 h 2"/>
                  <a:gd name="T10" fmla="*/ 0 w 1"/>
                  <a:gd name="T11" fmla="*/ 1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" h="2">
                    <a:moveTo>
                      <a:pt x="0" y="1"/>
                    </a:moveTo>
                    <a:lnTo>
                      <a:pt x="1" y="0"/>
                    </a:lnTo>
                    <a:lnTo>
                      <a:pt x="1" y="2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896" name="Freeform 299"/>
              <p:cNvSpPr>
                <a:spLocks/>
              </p:cNvSpPr>
              <p:nvPr userDrawn="1"/>
            </p:nvSpPr>
            <p:spPr bwMode="auto">
              <a:xfrm>
                <a:off x="6354" y="4023"/>
                <a:ext cx="17" cy="19"/>
              </a:xfrm>
              <a:custGeom>
                <a:avLst/>
                <a:gdLst>
                  <a:gd name="T0" fmla="*/ 4 w 17"/>
                  <a:gd name="T1" fmla="*/ 16 h 19"/>
                  <a:gd name="T2" fmla="*/ 1 w 17"/>
                  <a:gd name="T3" fmla="*/ 19 h 19"/>
                  <a:gd name="T4" fmla="*/ 0 w 17"/>
                  <a:gd name="T5" fmla="*/ 19 h 19"/>
                  <a:gd name="T6" fmla="*/ 0 w 17"/>
                  <a:gd name="T7" fmla="*/ 17 h 19"/>
                  <a:gd name="T8" fmla="*/ 2 w 17"/>
                  <a:gd name="T9" fmla="*/ 14 h 19"/>
                  <a:gd name="T10" fmla="*/ 4 w 17"/>
                  <a:gd name="T11" fmla="*/ 13 h 19"/>
                  <a:gd name="T12" fmla="*/ 4 w 17"/>
                  <a:gd name="T13" fmla="*/ 11 h 19"/>
                  <a:gd name="T14" fmla="*/ 7 w 17"/>
                  <a:gd name="T15" fmla="*/ 11 h 19"/>
                  <a:gd name="T16" fmla="*/ 8 w 17"/>
                  <a:gd name="T17" fmla="*/ 7 h 19"/>
                  <a:gd name="T18" fmla="*/ 7 w 17"/>
                  <a:gd name="T19" fmla="*/ 4 h 19"/>
                  <a:gd name="T20" fmla="*/ 8 w 17"/>
                  <a:gd name="T21" fmla="*/ 1 h 19"/>
                  <a:gd name="T22" fmla="*/ 11 w 17"/>
                  <a:gd name="T23" fmla="*/ 0 h 19"/>
                  <a:gd name="T24" fmla="*/ 15 w 17"/>
                  <a:gd name="T25" fmla="*/ 3 h 19"/>
                  <a:gd name="T26" fmla="*/ 16 w 17"/>
                  <a:gd name="T27" fmla="*/ 7 h 19"/>
                  <a:gd name="T28" fmla="*/ 17 w 17"/>
                  <a:gd name="T29" fmla="*/ 9 h 19"/>
                  <a:gd name="T30" fmla="*/ 17 w 17"/>
                  <a:gd name="T31" fmla="*/ 9 h 19"/>
                  <a:gd name="T32" fmla="*/ 15 w 17"/>
                  <a:gd name="T33" fmla="*/ 10 h 19"/>
                  <a:gd name="T34" fmla="*/ 14 w 17"/>
                  <a:gd name="T35" fmla="*/ 9 h 19"/>
                  <a:gd name="T36" fmla="*/ 12 w 17"/>
                  <a:gd name="T37" fmla="*/ 10 h 19"/>
                  <a:gd name="T38" fmla="*/ 13 w 17"/>
                  <a:gd name="T39" fmla="*/ 10 h 19"/>
                  <a:gd name="T40" fmla="*/ 15 w 17"/>
                  <a:gd name="T41" fmla="*/ 11 h 19"/>
                  <a:gd name="T42" fmla="*/ 17 w 17"/>
                  <a:gd name="T43" fmla="*/ 12 h 19"/>
                  <a:gd name="T44" fmla="*/ 17 w 17"/>
                  <a:gd name="T45" fmla="*/ 14 h 19"/>
                  <a:gd name="T46" fmla="*/ 16 w 17"/>
                  <a:gd name="T47" fmla="*/ 15 h 19"/>
                  <a:gd name="T48" fmla="*/ 14 w 17"/>
                  <a:gd name="T49" fmla="*/ 14 h 19"/>
                  <a:gd name="T50" fmla="*/ 10 w 17"/>
                  <a:gd name="T51" fmla="*/ 15 h 19"/>
                  <a:gd name="T52" fmla="*/ 8 w 17"/>
                  <a:gd name="T53" fmla="*/ 16 h 19"/>
                  <a:gd name="T54" fmla="*/ 6 w 17"/>
                  <a:gd name="T55" fmla="*/ 16 h 19"/>
                  <a:gd name="T56" fmla="*/ 5 w 17"/>
                  <a:gd name="T57" fmla="*/ 15 h 19"/>
                  <a:gd name="T58" fmla="*/ 4 w 17"/>
                  <a:gd name="T59" fmla="*/ 16 h 19"/>
                  <a:gd name="T60" fmla="*/ 4 w 17"/>
                  <a:gd name="T61" fmla="*/ 16 h 19"/>
                  <a:gd name="T62" fmla="*/ 4 w 17"/>
                  <a:gd name="T63" fmla="*/ 16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7" h="19">
                    <a:moveTo>
                      <a:pt x="4" y="16"/>
                    </a:moveTo>
                    <a:lnTo>
                      <a:pt x="1" y="19"/>
                    </a:lnTo>
                    <a:lnTo>
                      <a:pt x="0" y="19"/>
                    </a:lnTo>
                    <a:lnTo>
                      <a:pt x="0" y="17"/>
                    </a:lnTo>
                    <a:lnTo>
                      <a:pt x="2" y="14"/>
                    </a:lnTo>
                    <a:lnTo>
                      <a:pt x="4" y="13"/>
                    </a:lnTo>
                    <a:lnTo>
                      <a:pt x="4" y="11"/>
                    </a:lnTo>
                    <a:lnTo>
                      <a:pt x="7" y="11"/>
                    </a:lnTo>
                    <a:lnTo>
                      <a:pt x="8" y="7"/>
                    </a:lnTo>
                    <a:lnTo>
                      <a:pt x="7" y="4"/>
                    </a:lnTo>
                    <a:lnTo>
                      <a:pt x="8" y="1"/>
                    </a:lnTo>
                    <a:lnTo>
                      <a:pt x="11" y="0"/>
                    </a:lnTo>
                    <a:lnTo>
                      <a:pt x="15" y="3"/>
                    </a:lnTo>
                    <a:lnTo>
                      <a:pt x="16" y="7"/>
                    </a:lnTo>
                    <a:lnTo>
                      <a:pt x="17" y="9"/>
                    </a:lnTo>
                    <a:lnTo>
                      <a:pt x="17" y="9"/>
                    </a:lnTo>
                    <a:lnTo>
                      <a:pt x="15" y="10"/>
                    </a:lnTo>
                    <a:lnTo>
                      <a:pt x="14" y="9"/>
                    </a:lnTo>
                    <a:lnTo>
                      <a:pt x="12" y="10"/>
                    </a:lnTo>
                    <a:lnTo>
                      <a:pt x="13" y="10"/>
                    </a:lnTo>
                    <a:lnTo>
                      <a:pt x="15" y="11"/>
                    </a:lnTo>
                    <a:lnTo>
                      <a:pt x="17" y="12"/>
                    </a:lnTo>
                    <a:lnTo>
                      <a:pt x="17" y="14"/>
                    </a:lnTo>
                    <a:lnTo>
                      <a:pt x="16" y="15"/>
                    </a:lnTo>
                    <a:lnTo>
                      <a:pt x="14" y="14"/>
                    </a:lnTo>
                    <a:lnTo>
                      <a:pt x="10" y="15"/>
                    </a:lnTo>
                    <a:lnTo>
                      <a:pt x="8" y="16"/>
                    </a:lnTo>
                    <a:lnTo>
                      <a:pt x="6" y="16"/>
                    </a:lnTo>
                    <a:lnTo>
                      <a:pt x="5" y="15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897" name="Freeform 300"/>
              <p:cNvSpPr>
                <a:spLocks noEditPoints="1"/>
              </p:cNvSpPr>
              <p:nvPr userDrawn="1"/>
            </p:nvSpPr>
            <p:spPr bwMode="auto">
              <a:xfrm>
                <a:off x="2295" y="2603"/>
                <a:ext cx="57" cy="15"/>
              </a:xfrm>
              <a:custGeom>
                <a:avLst/>
                <a:gdLst>
                  <a:gd name="T0" fmla="*/ 52 w 57"/>
                  <a:gd name="T1" fmla="*/ 10 h 15"/>
                  <a:gd name="T2" fmla="*/ 57 w 57"/>
                  <a:gd name="T3" fmla="*/ 14 h 15"/>
                  <a:gd name="T4" fmla="*/ 53 w 57"/>
                  <a:gd name="T5" fmla="*/ 15 h 15"/>
                  <a:gd name="T6" fmla="*/ 52 w 57"/>
                  <a:gd name="T7" fmla="*/ 13 h 15"/>
                  <a:gd name="T8" fmla="*/ 52 w 57"/>
                  <a:gd name="T9" fmla="*/ 10 h 15"/>
                  <a:gd name="T10" fmla="*/ 52 w 57"/>
                  <a:gd name="T11" fmla="*/ 10 h 15"/>
                  <a:gd name="T12" fmla="*/ 52 w 57"/>
                  <a:gd name="T13" fmla="*/ 10 h 15"/>
                  <a:gd name="T14" fmla="*/ 4 w 57"/>
                  <a:gd name="T15" fmla="*/ 0 h 15"/>
                  <a:gd name="T16" fmla="*/ 6 w 57"/>
                  <a:gd name="T17" fmla="*/ 2 h 15"/>
                  <a:gd name="T18" fmla="*/ 0 w 57"/>
                  <a:gd name="T19" fmla="*/ 3 h 15"/>
                  <a:gd name="T20" fmla="*/ 4 w 57"/>
                  <a:gd name="T21" fmla="*/ 0 h 15"/>
                  <a:gd name="T22" fmla="*/ 4 w 57"/>
                  <a:gd name="T23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7" h="15">
                    <a:moveTo>
                      <a:pt x="52" y="10"/>
                    </a:moveTo>
                    <a:lnTo>
                      <a:pt x="57" y="14"/>
                    </a:lnTo>
                    <a:lnTo>
                      <a:pt x="53" y="15"/>
                    </a:lnTo>
                    <a:lnTo>
                      <a:pt x="52" y="13"/>
                    </a:lnTo>
                    <a:lnTo>
                      <a:pt x="52" y="10"/>
                    </a:lnTo>
                    <a:lnTo>
                      <a:pt x="52" y="10"/>
                    </a:lnTo>
                    <a:lnTo>
                      <a:pt x="52" y="10"/>
                    </a:lnTo>
                    <a:close/>
                    <a:moveTo>
                      <a:pt x="4" y="0"/>
                    </a:moveTo>
                    <a:lnTo>
                      <a:pt x="6" y="2"/>
                    </a:lnTo>
                    <a:lnTo>
                      <a:pt x="0" y="3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898" name="Freeform 301"/>
              <p:cNvSpPr>
                <a:spLocks/>
              </p:cNvSpPr>
              <p:nvPr userDrawn="1"/>
            </p:nvSpPr>
            <p:spPr bwMode="auto">
              <a:xfrm>
                <a:off x="2282" y="2598"/>
                <a:ext cx="9" cy="3"/>
              </a:xfrm>
              <a:custGeom>
                <a:avLst/>
                <a:gdLst>
                  <a:gd name="T0" fmla="*/ 0 w 9"/>
                  <a:gd name="T1" fmla="*/ 3 h 3"/>
                  <a:gd name="T2" fmla="*/ 3 w 9"/>
                  <a:gd name="T3" fmla="*/ 0 h 3"/>
                  <a:gd name="T4" fmla="*/ 9 w 9"/>
                  <a:gd name="T5" fmla="*/ 2 h 3"/>
                  <a:gd name="T6" fmla="*/ 7 w 9"/>
                  <a:gd name="T7" fmla="*/ 3 h 3"/>
                  <a:gd name="T8" fmla="*/ 0 w 9"/>
                  <a:gd name="T9" fmla="*/ 3 h 3"/>
                  <a:gd name="T10" fmla="*/ 0 w 9"/>
                  <a:gd name="T11" fmla="*/ 3 h 3"/>
                  <a:gd name="T12" fmla="*/ 0 w 9"/>
                  <a:gd name="T13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" h="3">
                    <a:moveTo>
                      <a:pt x="0" y="3"/>
                    </a:moveTo>
                    <a:lnTo>
                      <a:pt x="3" y="0"/>
                    </a:lnTo>
                    <a:lnTo>
                      <a:pt x="9" y="2"/>
                    </a:lnTo>
                    <a:lnTo>
                      <a:pt x="7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899" name="Freeform 302"/>
              <p:cNvSpPr>
                <a:spLocks/>
              </p:cNvSpPr>
              <p:nvPr userDrawn="1"/>
            </p:nvSpPr>
            <p:spPr bwMode="auto">
              <a:xfrm>
                <a:off x="1993" y="2575"/>
                <a:ext cx="5" cy="3"/>
              </a:xfrm>
              <a:custGeom>
                <a:avLst/>
                <a:gdLst>
                  <a:gd name="T0" fmla="*/ 5 w 5"/>
                  <a:gd name="T1" fmla="*/ 0 h 3"/>
                  <a:gd name="T2" fmla="*/ 1 w 5"/>
                  <a:gd name="T3" fmla="*/ 0 h 3"/>
                  <a:gd name="T4" fmla="*/ 0 w 5"/>
                  <a:gd name="T5" fmla="*/ 3 h 3"/>
                  <a:gd name="T6" fmla="*/ 4 w 5"/>
                  <a:gd name="T7" fmla="*/ 2 h 3"/>
                  <a:gd name="T8" fmla="*/ 5 w 5"/>
                  <a:gd name="T9" fmla="*/ 0 h 3"/>
                  <a:gd name="T10" fmla="*/ 5 w 5"/>
                  <a:gd name="T11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3">
                    <a:moveTo>
                      <a:pt x="5" y="0"/>
                    </a:moveTo>
                    <a:lnTo>
                      <a:pt x="1" y="0"/>
                    </a:lnTo>
                    <a:lnTo>
                      <a:pt x="0" y="3"/>
                    </a:lnTo>
                    <a:lnTo>
                      <a:pt x="4" y="2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900" name="Freeform 303"/>
              <p:cNvSpPr>
                <a:spLocks/>
              </p:cNvSpPr>
              <p:nvPr userDrawn="1"/>
            </p:nvSpPr>
            <p:spPr bwMode="auto">
              <a:xfrm>
                <a:off x="1966" y="2524"/>
                <a:ext cx="11" cy="10"/>
              </a:xfrm>
              <a:custGeom>
                <a:avLst/>
                <a:gdLst>
                  <a:gd name="T0" fmla="*/ 3 w 11"/>
                  <a:gd name="T1" fmla="*/ 3 h 10"/>
                  <a:gd name="T2" fmla="*/ 4 w 11"/>
                  <a:gd name="T3" fmla="*/ 0 h 10"/>
                  <a:gd name="T4" fmla="*/ 7 w 11"/>
                  <a:gd name="T5" fmla="*/ 1 h 10"/>
                  <a:gd name="T6" fmla="*/ 11 w 11"/>
                  <a:gd name="T7" fmla="*/ 5 h 10"/>
                  <a:gd name="T8" fmla="*/ 10 w 11"/>
                  <a:gd name="T9" fmla="*/ 8 h 10"/>
                  <a:gd name="T10" fmla="*/ 5 w 11"/>
                  <a:gd name="T11" fmla="*/ 10 h 10"/>
                  <a:gd name="T12" fmla="*/ 1 w 11"/>
                  <a:gd name="T13" fmla="*/ 8 h 10"/>
                  <a:gd name="T14" fmla="*/ 0 w 11"/>
                  <a:gd name="T15" fmla="*/ 6 h 10"/>
                  <a:gd name="T16" fmla="*/ 2 w 11"/>
                  <a:gd name="T17" fmla="*/ 7 h 10"/>
                  <a:gd name="T18" fmla="*/ 4 w 11"/>
                  <a:gd name="T19" fmla="*/ 8 h 10"/>
                  <a:gd name="T20" fmla="*/ 5 w 11"/>
                  <a:gd name="T21" fmla="*/ 6 h 10"/>
                  <a:gd name="T22" fmla="*/ 4 w 11"/>
                  <a:gd name="T23" fmla="*/ 5 h 10"/>
                  <a:gd name="T24" fmla="*/ 3 w 11"/>
                  <a:gd name="T25" fmla="*/ 3 h 10"/>
                  <a:gd name="T26" fmla="*/ 3 w 11"/>
                  <a:gd name="T27" fmla="*/ 3 h 10"/>
                  <a:gd name="T28" fmla="*/ 3 w 11"/>
                  <a:gd name="T29" fmla="*/ 3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1" h="10">
                    <a:moveTo>
                      <a:pt x="3" y="3"/>
                    </a:moveTo>
                    <a:lnTo>
                      <a:pt x="4" y="0"/>
                    </a:lnTo>
                    <a:lnTo>
                      <a:pt x="7" y="1"/>
                    </a:lnTo>
                    <a:lnTo>
                      <a:pt x="11" y="5"/>
                    </a:lnTo>
                    <a:lnTo>
                      <a:pt x="10" y="8"/>
                    </a:lnTo>
                    <a:lnTo>
                      <a:pt x="5" y="10"/>
                    </a:lnTo>
                    <a:lnTo>
                      <a:pt x="1" y="8"/>
                    </a:lnTo>
                    <a:lnTo>
                      <a:pt x="0" y="6"/>
                    </a:lnTo>
                    <a:lnTo>
                      <a:pt x="2" y="7"/>
                    </a:lnTo>
                    <a:lnTo>
                      <a:pt x="4" y="8"/>
                    </a:lnTo>
                    <a:lnTo>
                      <a:pt x="5" y="6"/>
                    </a:lnTo>
                    <a:lnTo>
                      <a:pt x="4" y="5"/>
                    </a:lnTo>
                    <a:lnTo>
                      <a:pt x="3" y="3"/>
                    </a:lnTo>
                    <a:lnTo>
                      <a:pt x="3" y="3"/>
                    </a:lnTo>
                    <a:lnTo>
                      <a:pt x="3" y="3"/>
                    </a:ln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901" name="Freeform 304"/>
              <p:cNvSpPr>
                <a:spLocks/>
              </p:cNvSpPr>
              <p:nvPr userDrawn="1"/>
            </p:nvSpPr>
            <p:spPr bwMode="auto">
              <a:xfrm>
                <a:off x="1855" y="2671"/>
                <a:ext cx="6" cy="3"/>
              </a:xfrm>
              <a:custGeom>
                <a:avLst/>
                <a:gdLst>
                  <a:gd name="T0" fmla="*/ 0 w 6"/>
                  <a:gd name="T1" fmla="*/ 0 h 3"/>
                  <a:gd name="T2" fmla="*/ 4 w 6"/>
                  <a:gd name="T3" fmla="*/ 1 h 3"/>
                  <a:gd name="T4" fmla="*/ 6 w 6"/>
                  <a:gd name="T5" fmla="*/ 3 h 3"/>
                  <a:gd name="T6" fmla="*/ 0 w 6"/>
                  <a:gd name="T7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" h="3">
                    <a:moveTo>
                      <a:pt x="0" y="0"/>
                    </a:moveTo>
                    <a:lnTo>
                      <a:pt x="4" y="1"/>
                    </a:lnTo>
                    <a:lnTo>
                      <a:pt x="6" y="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902" name="Freeform 305"/>
              <p:cNvSpPr>
                <a:spLocks/>
              </p:cNvSpPr>
              <p:nvPr userDrawn="1"/>
            </p:nvSpPr>
            <p:spPr bwMode="auto">
              <a:xfrm>
                <a:off x="1855" y="2671"/>
                <a:ext cx="6" cy="3"/>
              </a:xfrm>
              <a:custGeom>
                <a:avLst/>
                <a:gdLst>
                  <a:gd name="T0" fmla="*/ 0 w 6"/>
                  <a:gd name="T1" fmla="*/ 0 h 3"/>
                  <a:gd name="T2" fmla="*/ 4 w 6"/>
                  <a:gd name="T3" fmla="*/ 1 h 3"/>
                  <a:gd name="T4" fmla="*/ 6 w 6"/>
                  <a:gd name="T5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3">
                    <a:moveTo>
                      <a:pt x="0" y="0"/>
                    </a:moveTo>
                    <a:lnTo>
                      <a:pt x="4" y="1"/>
                    </a:lnTo>
                    <a:lnTo>
                      <a:pt x="6" y="3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903" name="Freeform 306"/>
              <p:cNvSpPr>
                <a:spLocks/>
              </p:cNvSpPr>
              <p:nvPr userDrawn="1"/>
            </p:nvSpPr>
            <p:spPr bwMode="auto">
              <a:xfrm>
                <a:off x="2341" y="2622"/>
                <a:ext cx="3" cy="4"/>
              </a:xfrm>
              <a:custGeom>
                <a:avLst/>
                <a:gdLst>
                  <a:gd name="T0" fmla="*/ 1 w 3"/>
                  <a:gd name="T1" fmla="*/ 0 h 4"/>
                  <a:gd name="T2" fmla="*/ 0 w 3"/>
                  <a:gd name="T3" fmla="*/ 4 h 4"/>
                  <a:gd name="T4" fmla="*/ 3 w 3"/>
                  <a:gd name="T5" fmla="*/ 3 h 4"/>
                  <a:gd name="T6" fmla="*/ 1 w 3"/>
                  <a:gd name="T7" fmla="*/ 0 h 4"/>
                  <a:gd name="T8" fmla="*/ 1 w 3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4">
                    <a:moveTo>
                      <a:pt x="1" y="0"/>
                    </a:moveTo>
                    <a:lnTo>
                      <a:pt x="0" y="4"/>
                    </a:lnTo>
                    <a:lnTo>
                      <a:pt x="3" y="3"/>
                    </a:lnTo>
                    <a:lnTo>
                      <a:pt x="1" y="0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904" name="Freeform 307"/>
              <p:cNvSpPr>
                <a:spLocks/>
              </p:cNvSpPr>
              <p:nvPr userDrawn="1"/>
            </p:nvSpPr>
            <p:spPr bwMode="auto">
              <a:xfrm>
                <a:off x="2355" y="2644"/>
                <a:ext cx="5" cy="9"/>
              </a:xfrm>
              <a:custGeom>
                <a:avLst/>
                <a:gdLst>
                  <a:gd name="T0" fmla="*/ 2 w 5"/>
                  <a:gd name="T1" fmla="*/ 1 h 10"/>
                  <a:gd name="T2" fmla="*/ 5 w 5"/>
                  <a:gd name="T3" fmla="*/ 4 h 10"/>
                  <a:gd name="T4" fmla="*/ 5 w 5"/>
                  <a:gd name="T5" fmla="*/ 9 h 10"/>
                  <a:gd name="T6" fmla="*/ 1 w 5"/>
                  <a:gd name="T7" fmla="*/ 10 h 10"/>
                  <a:gd name="T8" fmla="*/ 0 w 5"/>
                  <a:gd name="T9" fmla="*/ 4 h 10"/>
                  <a:gd name="T10" fmla="*/ 2 w 5"/>
                  <a:gd name="T11" fmla="*/ 1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10">
                    <a:moveTo>
                      <a:pt x="2" y="1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1" y="10"/>
                      <a:pt x="1" y="10"/>
                      <a:pt x="1" y="10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4"/>
                      <a:pt x="2" y="0"/>
                      <a:pt x="2" y="1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905" name="Freeform 308"/>
              <p:cNvSpPr>
                <a:spLocks noEditPoints="1"/>
              </p:cNvSpPr>
              <p:nvPr userDrawn="1"/>
            </p:nvSpPr>
            <p:spPr bwMode="auto">
              <a:xfrm>
                <a:off x="2347" y="2685"/>
                <a:ext cx="13" cy="28"/>
              </a:xfrm>
              <a:custGeom>
                <a:avLst/>
                <a:gdLst>
                  <a:gd name="T0" fmla="*/ 7 w 13"/>
                  <a:gd name="T1" fmla="*/ 25 h 29"/>
                  <a:gd name="T2" fmla="*/ 5 w 13"/>
                  <a:gd name="T3" fmla="*/ 23 h 29"/>
                  <a:gd name="T4" fmla="*/ 1 w 13"/>
                  <a:gd name="T5" fmla="*/ 24 h 29"/>
                  <a:gd name="T6" fmla="*/ 0 w 13"/>
                  <a:gd name="T7" fmla="*/ 28 h 29"/>
                  <a:gd name="T8" fmla="*/ 5 w 13"/>
                  <a:gd name="T9" fmla="*/ 29 h 29"/>
                  <a:gd name="T10" fmla="*/ 7 w 13"/>
                  <a:gd name="T11" fmla="*/ 25 h 29"/>
                  <a:gd name="T12" fmla="*/ 8 w 13"/>
                  <a:gd name="T13" fmla="*/ 17 h 29"/>
                  <a:gd name="T14" fmla="*/ 10 w 13"/>
                  <a:gd name="T15" fmla="*/ 20 h 29"/>
                  <a:gd name="T16" fmla="*/ 8 w 13"/>
                  <a:gd name="T17" fmla="*/ 20 h 29"/>
                  <a:gd name="T18" fmla="*/ 8 w 13"/>
                  <a:gd name="T19" fmla="*/ 17 h 29"/>
                  <a:gd name="T20" fmla="*/ 12 w 13"/>
                  <a:gd name="T21" fmla="*/ 0 h 29"/>
                  <a:gd name="T22" fmla="*/ 13 w 13"/>
                  <a:gd name="T23" fmla="*/ 5 h 29"/>
                  <a:gd name="T24" fmla="*/ 11 w 13"/>
                  <a:gd name="T25" fmla="*/ 10 h 29"/>
                  <a:gd name="T26" fmla="*/ 12 w 13"/>
                  <a:gd name="T27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29">
                    <a:moveTo>
                      <a:pt x="7" y="25"/>
                    </a:moveTo>
                    <a:cubicBezTo>
                      <a:pt x="5" y="23"/>
                      <a:pt x="5" y="23"/>
                      <a:pt x="5" y="23"/>
                    </a:cubicBezTo>
                    <a:cubicBezTo>
                      <a:pt x="1" y="24"/>
                      <a:pt x="1" y="24"/>
                      <a:pt x="1" y="24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5" y="29"/>
                      <a:pt x="5" y="29"/>
                      <a:pt x="5" y="29"/>
                    </a:cubicBezTo>
                    <a:cubicBezTo>
                      <a:pt x="7" y="25"/>
                      <a:pt x="7" y="25"/>
                      <a:pt x="7" y="25"/>
                    </a:cubicBezTo>
                    <a:close/>
                    <a:moveTo>
                      <a:pt x="8" y="17"/>
                    </a:moveTo>
                    <a:cubicBezTo>
                      <a:pt x="10" y="20"/>
                      <a:pt x="10" y="20"/>
                      <a:pt x="10" y="20"/>
                    </a:cubicBezTo>
                    <a:cubicBezTo>
                      <a:pt x="8" y="20"/>
                      <a:pt x="8" y="20"/>
                      <a:pt x="8" y="20"/>
                    </a:cubicBezTo>
                    <a:cubicBezTo>
                      <a:pt x="8" y="20"/>
                      <a:pt x="9" y="17"/>
                      <a:pt x="8" y="17"/>
                    </a:cubicBezTo>
                    <a:close/>
                    <a:moveTo>
                      <a:pt x="12" y="0"/>
                    </a:moveTo>
                    <a:cubicBezTo>
                      <a:pt x="13" y="5"/>
                      <a:pt x="13" y="5"/>
                      <a:pt x="13" y="5"/>
                    </a:cubicBezTo>
                    <a:cubicBezTo>
                      <a:pt x="11" y="10"/>
                      <a:pt x="11" y="10"/>
                      <a:pt x="11" y="10"/>
                    </a:cubicBezTo>
                    <a:lnTo>
                      <a:pt x="12" y="0"/>
                    </a:lnTo>
                    <a:close/>
                  </a:path>
                </a:pathLst>
              </a:custGeom>
              <a:solidFill>
                <a:srgbClr val="DCD5CF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906" name="Freeform 309"/>
              <p:cNvSpPr>
                <a:spLocks noEditPoints="1"/>
              </p:cNvSpPr>
              <p:nvPr userDrawn="1"/>
            </p:nvSpPr>
            <p:spPr bwMode="auto">
              <a:xfrm>
                <a:off x="2345" y="2727"/>
                <a:ext cx="23" cy="21"/>
              </a:xfrm>
              <a:custGeom>
                <a:avLst/>
                <a:gdLst>
                  <a:gd name="T0" fmla="*/ 20 w 23"/>
                  <a:gd name="T1" fmla="*/ 2 h 21"/>
                  <a:gd name="T2" fmla="*/ 23 w 23"/>
                  <a:gd name="T3" fmla="*/ 0 h 21"/>
                  <a:gd name="T4" fmla="*/ 23 w 23"/>
                  <a:gd name="T5" fmla="*/ 3 h 21"/>
                  <a:gd name="T6" fmla="*/ 20 w 23"/>
                  <a:gd name="T7" fmla="*/ 2 h 21"/>
                  <a:gd name="T8" fmla="*/ 20 w 23"/>
                  <a:gd name="T9" fmla="*/ 2 h 21"/>
                  <a:gd name="T10" fmla="*/ 20 w 23"/>
                  <a:gd name="T11" fmla="*/ 2 h 21"/>
                  <a:gd name="T12" fmla="*/ 18 w 23"/>
                  <a:gd name="T13" fmla="*/ 5 h 21"/>
                  <a:gd name="T14" fmla="*/ 11 w 23"/>
                  <a:gd name="T15" fmla="*/ 8 h 21"/>
                  <a:gd name="T16" fmla="*/ 8 w 23"/>
                  <a:gd name="T17" fmla="*/ 6 h 21"/>
                  <a:gd name="T18" fmla="*/ 4 w 23"/>
                  <a:gd name="T19" fmla="*/ 7 h 21"/>
                  <a:gd name="T20" fmla="*/ 2 w 23"/>
                  <a:gd name="T21" fmla="*/ 10 h 21"/>
                  <a:gd name="T22" fmla="*/ 6 w 23"/>
                  <a:gd name="T23" fmla="*/ 12 h 21"/>
                  <a:gd name="T24" fmla="*/ 6 w 23"/>
                  <a:gd name="T25" fmla="*/ 15 h 21"/>
                  <a:gd name="T26" fmla="*/ 3 w 23"/>
                  <a:gd name="T27" fmla="*/ 18 h 21"/>
                  <a:gd name="T28" fmla="*/ 0 w 23"/>
                  <a:gd name="T29" fmla="*/ 20 h 21"/>
                  <a:gd name="T30" fmla="*/ 3 w 23"/>
                  <a:gd name="T31" fmla="*/ 21 h 21"/>
                  <a:gd name="T32" fmla="*/ 13 w 23"/>
                  <a:gd name="T33" fmla="*/ 20 h 21"/>
                  <a:gd name="T34" fmla="*/ 17 w 23"/>
                  <a:gd name="T35" fmla="*/ 17 h 21"/>
                  <a:gd name="T36" fmla="*/ 16 w 23"/>
                  <a:gd name="T37" fmla="*/ 13 h 21"/>
                  <a:gd name="T38" fmla="*/ 14 w 23"/>
                  <a:gd name="T39" fmla="*/ 10 h 21"/>
                  <a:gd name="T40" fmla="*/ 19 w 23"/>
                  <a:gd name="T41" fmla="*/ 6 h 21"/>
                  <a:gd name="T42" fmla="*/ 18 w 23"/>
                  <a:gd name="T43" fmla="*/ 5 h 21"/>
                  <a:gd name="T44" fmla="*/ 18 w 23"/>
                  <a:gd name="T45" fmla="*/ 5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3" h="21">
                    <a:moveTo>
                      <a:pt x="20" y="2"/>
                    </a:moveTo>
                    <a:lnTo>
                      <a:pt x="23" y="0"/>
                    </a:lnTo>
                    <a:lnTo>
                      <a:pt x="23" y="3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20" y="2"/>
                    </a:lnTo>
                    <a:close/>
                    <a:moveTo>
                      <a:pt x="18" y="5"/>
                    </a:moveTo>
                    <a:lnTo>
                      <a:pt x="11" y="8"/>
                    </a:lnTo>
                    <a:lnTo>
                      <a:pt x="8" y="6"/>
                    </a:lnTo>
                    <a:lnTo>
                      <a:pt x="4" y="7"/>
                    </a:lnTo>
                    <a:lnTo>
                      <a:pt x="2" y="10"/>
                    </a:lnTo>
                    <a:lnTo>
                      <a:pt x="6" y="12"/>
                    </a:lnTo>
                    <a:lnTo>
                      <a:pt x="6" y="15"/>
                    </a:lnTo>
                    <a:lnTo>
                      <a:pt x="3" y="18"/>
                    </a:lnTo>
                    <a:lnTo>
                      <a:pt x="0" y="20"/>
                    </a:lnTo>
                    <a:lnTo>
                      <a:pt x="3" y="21"/>
                    </a:lnTo>
                    <a:lnTo>
                      <a:pt x="13" y="20"/>
                    </a:lnTo>
                    <a:lnTo>
                      <a:pt x="17" y="17"/>
                    </a:lnTo>
                    <a:lnTo>
                      <a:pt x="16" y="13"/>
                    </a:lnTo>
                    <a:lnTo>
                      <a:pt x="14" y="10"/>
                    </a:lnTo>
                    <a:lnTo>
                      <a:pt x="19" y="6"/>
                    </a:lnTo>
                    <a:lnTo>
                      <a:pt x="18" y="5"/>
                    </a:lnTo>
                    <a:lnTo>
                      <a:pt x="18" y="5"/>
                    </a:lnTo>
                    <a:close/>
                  </a:path>
                </a:pathLst>
              </a:custGeom>
              <a:solidFill>
                <a:srgbClr val="DCD5CF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907" name="Freeform 310"/>
              <p:cNvSpPr>
                <a:spLocks noEditPoints="1"/>
              </p:cNvSpPr>
              <p:nvPr userDrawn="1"/>
            </p:nvSpPr>
            <p:spPr bwMode="auto">
              <a:xfrm>
                <a:off x="3146" y="2395"/>
                <a:ext cx="84" cy="29"/>
              </a:xfrm>
              <a:custGeom>
                <a:avLst/>
                <a:gdLst>
                  <a:gd name="T0" fmla="*/ 15 w 87"/>
                  <a:gd name="T1" fmla="*/ 22 h 30"/>
                  <a:gd name="T2" fmla="*/ 14 w 87"/>
                  <a:gd name="T3" fmla="*/ 21 h 30"/>
                  <a:gd name="T4" fmla="*/ 14 w 87"/>
                  <a:gd name="T5" fmla="*/ 19 h 30"/>
                  <a:gd name="T6" fmla="*/ 15 w 87"/>
                  <a:gd name="T7" fmla="*/ 19 h 30"/>
                  <a:gd name="T8" fmla="*/ 16 w 87"/>
                  <a:gd name="T9" fmla="*/ 21 h 30"/>
                  <a:gd name="T10" fmla="*/ 15 w 87"/>
                  <a:gd name="T11" fmla="*/ 22 h 30"/>
                  <a:gd name="T12" fmla="*/ 1 w 87"/>
                  <a:gd name="T13" fmla="*/ 29 h 30"/>
                  <a:gd name="T14" fmla="*/ 0 w 87"/>
                  <a:gd name="T15" fmla="*/ 28 h 30"/>
                  <a:gd name="T16" fmla="*/ 2 w 87"/>
                  <a:gd name="T17" fmla="*/ 26 h 30"/>
                  <a:gd name="T18" fmla="*/ 3 w 87"/>
                  <a:gd name="T19" fmla="*/ 27 h 30"/>
                  <a:gd name="T20" fmla="*/ 3 w 87"/>
                  <a:gd name="T21" fmla="*/ 29 h 30"/>
                  <a:gd name="T22" fmla="*/ 2 w 87"/>
                  <a:gd name="T23" fmla="*/ 30 h 30"/>
                  <a:gd name="T24" fmla="*/ 1 w 87"/>
                  <a:gd name="T25" fmla="*/ 29 h 30"/>
                  <a:gd name="T26" fmla="*/ 5 w 87"/>
                  <a:gd name="T27" fmla="*/ 13 h 30"/>
                  <a:gd name="T28" fmla="*/ 5 w 87"/>
                  <a:gd name="T29" fmla="*/ 9 h 30"/>
                  <a:gd name="T30" fmla="*/ 3 w 87"/>
                  <a:gd name="T31" fmla="*/ 7 h 30"/>
                  <a:gd name="T32" fmla="*/ 5 w 87"/>
                  <a:gd name="T33" fmla="*/ 5 h 30"/>
                  <a:gd name="T34" fmla="*/ 7 w 87"/>
                  <a:gd name="T35" fmla="*/ 6 h 30"/>
                  <a:gd name="T36" fmla="*/ 7 w 87"/>
                  <a:gd name="T37" fmla="*/ 12 h 30"/>
                  <a:gd name="T38" fmla="*/ 5 w 87"/>
                  <a:gd name="T39" fmla="*/ 13 h 30"/>
                  <a:gd name="T40" fmla="*/ 35 w 87"/>
                  <a:gd name="T41" fmla="*/ 19 h 30"/>
                  <a:gd name="T42" fmla="*/ 31 w 87"/>
                  <a:gd name="T43" fmla="*/ 19 h 30"/>
                  <a:gd name="T44" fmla="*/ 24 w 87"/>
                  <a:gd name="T45" fmla="*/ 23 h 30"/>
                  <a:gd name="T46" fmla="*/ 21 w 87"/>
                  <a:gd name="T47" fmla="*/ 21 h 30"/>
                  <a:gd name="T48" fmla="*/ 19 w 87"/>
                  <a:gd name="T49" fmla="*/ 18 h 30"/>
                  <a:gd name="T50" fmla="*/ 22 w 87"/>
                  <a:gd name="T51" fmla="*/ 16 h 30"/>
                  <a:gd name="T52" fmla="*/ 26 w 87"/>
                  <a:gd name="T53" fmla="*/ 16 h 30"/>
                  <a:gd name="T54" fmla="*/ 30 w 87"/>
                  <a:gd name="T55" fmla="*/ 14 h 30"/>
                  <a:gd name="T56" fmla="*/ 32 w 87"/>
                  <a:gd name="T57" fmla="*/ 13 h 30"/>
                  <a:gd name="T58" fmla="*/ 36 w 87"/>
                  <a:gd name="T59" fmla="*/ 14 h 30"/>
                  <a:gd name="T60" fmla="*/ 35 w 87"/>
                  <a:gd name="T61" fmla="*/ 19 h 30"/>
                  <a:gd name="T62" fmla="*/ 42 w 87"/>
                  <a:gd name="T63" fmla="*/ 19 h 30"/>
                  <a:gd name="T64" fmla="*/ 41 w 87"/>
                  <a:gd name="T65" fmla="*/ 25 h 30"/>
                  <a:gd name="T66" fmla="*/ 44 w 87"/>
                  <a:gd name="T67" fmla="*/ 27 h 30"/>
                  <a:gd name="T68" fmla="*/ 48 w 87"/>
                  <a:gd name="T69" fmla="*/ 25 h 30"/>
                  <a:gd name="T70" fmla="*/ 50 w 87"/>
                  <a:gd name="T71" fmla="*/ 25 h 30"/>
                  <a:gd name="T72" fmla="*/ 49 w 87"/>
                  <a:gd name="T73" fmla="*/ 20 h 30"/>
                  <a:gd name="T74" fmla="*/ 46 w 87"/>
                  <a:gd name="T75" fmla="*/ 19 h 30"/>
                  <a:gd name="T76" fmla="*/ 42 w 87"/>
                  <a:gd name="T77" fmla="*/ 19 h 30"/>
                  <a:gd name="T78" fmla="*/ 78 w 87"/>
                  <a:gd name="T79" fmla="*/ 5 h 30"/>
                  <a:gd name="T80" fmla="*/ 80 w 87"/>
                  <a:gd name="T81" fmla="*/ 1 h 30"/>
                  <a:gd name="T82" fmla="*/ 83 w 87"/>
                  <a:gd name="T83" fmla="*/ 0 h 30"/>
                  <a:gd name="T84" fmla="*/ 87 w 87"/>
                  <a:gd name="T85" fmla="*/ 3 h 30"/>
                  <a:gd name="T86" fmla="*/ 83 w 87"/>
                  <a:gd name="T87" fmla="*/ 3 h 30"/>
                  <a:gd name="T88" fmla="*/ 78 w 87"/>
                  <a:gd name="T89" fmla="*/ 5 h 30"/>
                  <a:gd name="T90" fmla="*/ 78 w 87"/>
                  <a:gd name="T91" fmla="*/ 15 h 30"/>
                  <a:gd name="T92" fmla="*/ 73 w 87"/>
                  <a:gd name="T93" fmla="*/ 20 h 30"/>
                  <a:gd name="T94" fmla="*/ 69 w 87"/>
                  <a:gd name="T95" fmla="*/ 21 h 30"/>
                  <a:gd name="T96" fmla="*/ 67 w 87"/>
                  <a:gd name="T97" fmla="*/ 21 h 30"/>
                  <a:gd name="T98" fmla="*/ 71 w 87"/>
                  <a:gd name="T99" fmla="*/ 16 h 30"/>
                  <a:gd name="T100" fmla="*/ 71 w 87"/>
                  <a:gd name="T101" fmla="*/ 13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87" h="30">
                    <a:moveTo>
                      <a:pt x="15" y="22"/>
                    </a:moveTo>
                    <a:cubicBezTo>
                      <a:pt x="14" y="21"/>
                      <a:pt x="14" y="21"/>
                      <a:pt x="14" y="21"/>
                    </a:cubicBezTo>
                    <a:cubicBezTo>
                      <a:pt x="14" y="19"/>
                      <a:pt x="14" y="19"/>
                      <a:pt x="14" y="19"/>
                    </a:cubicBezTo>
                    <a:cubicBezTo>
                      <a:pt x="15" y="19"/>
                      <a:pt x="15" y="19"/>
                      <a:pt x="15" y="19"/>
                    </a:cubicBezTo>
                    <a:cubicBezTo>
                      <a:pt x="16" y="21"/>
                      <a:pt x="16" y="21"/>
                      <a:pt x="16" y="21"/>
                    </a:cubicBezTo>
                    <a:cubicBezTo>
                      <a:pt x="15" y="22"/>
                      <a:pt x="15" y="22"/>
                      <a:pt x="15" y="22"/>
                    </a:cubicBezTo>
                    <a:close/>
                    <a:moveTo>
                      <a:pt x="1" y="29"/>
                    </a:moveTo>
                    <a:cubicBezTo>
                      <a:pt x="0" y="28"/>
                      <a:pt x="0" y="28"/>
                      <a:pt x="0" y="28"/>
                    </a:cubicBezTo>
                    <a:cubicBezTo>
                      <a:pt x="2" y="26"/>
                      <a:pt x="2" y="26"/>
                      <a:pt x="2" y="26"/>
                    </a:cubicBezTo>
                    <a:cubicBezTo>
                      <a:pt x="3" y="27"/>
                      <a:pt x="3" y="27"/>
                      <a:pt x="3" y="27"/>
                    </a:cubicBezTo>
                    <a:cubicBezTo>
                      <a:pt x="3" y="29"/>
                      <a:pt x="3" y="29"/>
                      <a:pt x="3" y="29"/>
                    </a:cubicBezTo>
                    <a:cubicBezTo>
                      <a:pt x="2" y="30"/>
                      <a:pt x="2" y="30"/>
                      <a:pt x="2" y="30"/>
                    </a:cubicBezTo>
                    <a:cubicBezTo>
                      <a:pt x="1" y="29"/>
                      <a:pt x="1" y="29"/>
                      <a:pt x="1" y="29"/>
                    </a:cubicBezTo>
                    <a:close/>
                    <a:moveTo>
                      <a:pt x="5" y="13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3" y="7"/>
                      <a:pt x="4" y="5"/>
                      <a:pt x="5" y="5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7" y="12"/>
                      <a:pt x="7" y="12"/>
                      <a:pt x="7" y="12"/>
                    </a:cubicBezTo>
                    <a:cubicBezTo>
                      <a:pt x="5" y="13"/>
                      <a:pt x="5" y="13"/>
                      <a:pt x="5" y="13"/>
                    </a:cubicBezTo>
                    <a:close/>
                    <a:moveTo>
                      <a:pt x="35" y="19"/>
                    </a:moveTo>
                    <a:cubicBezTo>
                      <a:pt x="31" y="19"/>
                      <a:pt x="31" y="19"/>
                      <a:pt x="31" y="19"/>
                    </a:cubicBezTo>
                    <a:cubicBezTo>
                      <a:pt x="24" y="23"/>
                      <a:pt x="24" y="23"/>
                      <a:pt x="24" y="23"/>
                    </a:cubicBezTo>
                    <a:cubicBezTo>
                      <a:pt x="21" y="21"/>
                      <a:pt x="21" y="21"/>
                      <a:pt x="21" y="21"/>
                    </a:cubicBezTo>
                    <a:cubicBezTo>
                      <a:pt x="19" y="18"/>
                      <a:pt x="19" y="18"/>
                      <a:pt x="19" y="18"/>
                    </a:cubicBezTo>
                    <a:cubicBezTo>
                      <a:pt x="22" y="16"/>
                      <a:pt x="22" y="16"/>
                      <a:pt x="22" y="16"/>
                    </a:cubicBezTo>
                    <a:cubicBezTo>
                      <a:pt x="26" y="16"/>
                      <a:pt x="26" y="16"/>
                      <a:pt x="26" y="16"/>
                    </a:cubicBezTo>
                    <a:cubicBezTo>
                      <a:pt x="30" y="14"/>
                      <a:pt x="30" y="14"/>
                      <a:pt x="30" y="14"/>
                    </a:cubicBezTo>
                    <a:cubicBezTo>
                      <a:pt x="32" y="13"/>
                      <a:pt x="32" y="13"/>
                      <a:pt x="32" y="13"/>
                    </a:cubicBezTo>
                    <a:cubicBezTo>
                      <a:pt x="36" y="14"/>
                      <a:pt x="36" y="14"/>
                      <a:pt x="36" y="14"/>
                    </a:cubicBezTo>
                    <a:cubicBezTo>
                      <a:pt x="35" y="19"/>
                      <a:pt x="35" y="19"/>
                      <a:pt x="35" y="19"/>
                    </a:cubicBezTo>
                    <a:close/>
                    <a:moveTo>
                      <a:pt x="42" y="19"/>
                    </a:moveTo>
                    <a:cubicBezTo>
                      <a:pt x="41" y="25"/>
                      <a:pt x="41" y="25"/>
                      <a:pt x="41" y="25"/>
                    </a:cubicBezTo>
                    <a:cubicBezTo>
                      <a:pt x="44" y="27"/>
                      <a:pt x="44" y="27"/>
                      <a:pt x="44" y="27"/>
                    </a:cubicBezTo>
                    <a:cubicBezTo>
                      <a:pt x="48" y="25"/>
                      <a:pt x="48" y="25"/>
                      <a:pt x="48" y="25"/>
                    </a:cubicBezTo>
                    <a:cubicBezTo>
                      <a:pt x="50" y="25"/>
                      <a:pt x="50" y="25"/>
                      <a:pt x="50" y="25"/>
                    </a:cubicBezTo>
                    <a:cubicBezTo>
                      <a:pt x="49" y="20"/>
                      <a:pt x="49" y="20"/>
                      <a:pt x="49" y="20"/>
                    </a:cubicBezTo>
                    <a:cubicBezTo>
                      <a:pt x="46" y="19"/>
                      <a:pt x="46" y="19"/>
                      <a:pt x="46" y="19"/>
                    </a:cubicBezTo>
                    <a:cubicBezTo>
                      <a:pt x="42" y="19"/>
                      <a:pt x="42" y="19"/>
                      <a:pt x="42" y="19"/>
                    </a:cubicBezTo>
                    <a:close/>
                    <a:moveTo>
                      <a:pt x="78" y="5"/>
                    </a:moveTo>
                    <a:cubicBezTo>
                      <a:pt x="80" y="1"/>
                      <a:pt x="80" y="1"/>
                      <a:pt x="80" y="1"/>
                    </a:cubicBezTo>
                    <a:cubicBezTo>
                      <a:pt x="83" y="0"/>
                      <a:pt x="83" y="0"/>
                      <a:pt x="83" y="0"/>
                    </a:cubicBezTo>
                    <a:cubicBezTo>
                      <a:pt x="87" y="3"/>
                      <a:pt x="87" y="3"/>
                      <a:pt x="87" y="3"/>
                    </a:cubicBezTo>
                    <a:cubicBezTo>
                      <a:pt x="83" y="3"/>
                      <a:pt x="83" y="3"/>
                      <a:pt x="83" y="3"/>
                    </a:cubicBezTo>
                    <a:cubicBezTo>
                      <a:pt x="78" y="5"/>
                      <a:pt x="78" y="5"/>
                      <a:pt x="78" y="5"/>
                    </a:cubicBezTo>
                    <a:close/>
                    <a:moveTo>
                      <a:pt x="78" y="15"/>
                    </a:moveTo>
                    <a:cubicBezTo>
                      <a:pt x="73" y="20"/>
                      <a:pt x="73" y="20"/>
                      <a:pt x="73" y="20"/>
                    </a:cubicBezTo>
                    <a:cubicBezTo>
                      <a:pt x="69" y="21"/>
                      <a:pt x="69" y="21"/>
                      <a:pt x="69" y="21"/>
                    </a:cubicBezTo>
                    <a:cubicBezTo>
                      <a:pt x="67" y="21"/>
                      <a:pt x="67" y="21"/>
                      <a:pt x="67" y="21"/>
                    </a:cubicBezTo>
                    <a:cubicBezTo>
                      <a:pt x="71" y="16"/>
                      <a:pt x="71" y="16"/>
                      <a:pt x="71" y="16"/>
                    </a:cubicBezTo>
                    <a:cubicBezTo>
                      <a:pt x="71" y="13"/>
                      <a:pt x="71" y="13"/>
                      <a:pt x="71" y="13"/>
                    </a:cubicBez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908" name="Freeform 311"/>
              <p:cNvSpPr>
                <a:spLocks/>
              </p:cNvSpPr>
              <p:nvPr userDrawn="1"/>
            </p:nvSpPr>
            <p:spPr bwMode="auto">
              <a:xfrm>
                <a:off x="3622" y="2018"/>
                <a:ext cx="3" cy="2"/>
              </a:xfrm>
              <a:custGeom>
                <a:avLst/>
                <a:gdLst>
                  <a:gd name="T0" fmla="*/ 3 w 3"/>
                  <a:gd name="T1" fmla="*/ 2 h 2"/>
                  <a:gd name="T2" fmla="*/ 1 w 3"/>
                  <a:gd name="T3" fmla="*/ 2 h 2"/>
                  <a:gd name="T4" fmla="*/ 0 w 3"/>
                  <a:gd name="T5" fmla="*/ 0 h 2"/>
                  <a:gd name="T6" fmla="*/ 3 w 3"/>
                  <a:gd name="T7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2">
                    <a:moveTo>
                      <a:pt x="3" y="2"/>
                    </a:moveTo>
                    <a:lnTo>
                      <a:pt x="1" y="2"/>
                    </a:lnTo>
                    <a:lnTo>
                      <a:pt x="0" y="0"/>
                    </a:lnTo>
                    <a:lnTo>
                      <a:pt x="3" y="2"/>
                    </a:lnTo>
                    <a:close/>
                  </a:path>
                </a:pathLst>
              </a:custGeom>
              <a:solidFill>
                <a:srgbClr val="F2F1E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909" name="Freeform 312"/>
              <p:cNvSpPr>
                <a:spLocks/>
              </p:cNvSpPr>
              <p:nvPr userDrawn="1"/>
            </p:nvSpPr>
            <p:spPr bwMode="auto">
              <a:xfrm>
                <a:off x="3622" y="2018"/>
                <a:ext cx="3" cy="2"/>
              </a:xfrm>
              <a:custGeom>
                <a:avLst/>
                <a:gdLst>
                  <a:gd name="T0" fmla="*/ 3 w 3"/>
                  <a:gd name="T1" fmla="*/ 2 h 2"/>
                  <a:gd name="T2" fmla="*/ 1 w 3"/>
                  <a:gd name="T3" fmla="*/ 2 h 2"/>
                  <a:gd name="T4" fmla="*/ 0 w 3"/>
                  <a:gd name="T5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" h="2">
                    <a:moveTo>
                      <a:pt x="3" y="2"/>
                    </a:moveTo>
                    <a:lnTo>
                      <a:pt x="1" y="2"/>
                    </a:lnTo>
                    <a:lnTo>
                      <a:pt x="0" y="0"/>
                    </a:lnTo>
                  </a:path>
                </a:pathLst>
              </a:custGeom>
              <a:noFill/>
              <a:ln w="4763" cap="flat">
                <a:solidFill>
                  <a:srgbClr val="DCD5C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910" name="Freeform 313"/>
              <p:cNvSpPr>
                <a:spLocks/>
              </p:cNvSpPr>
              <p:nvPr userDrawn="1"/>
            </p:nvSpPr>
            <p:spPr bwMode="auto">
              <a:xfrm>
                <a:off x="3622" y="2015"/>
                <a:ext cx="3" cy="5"/>
              </a:xfrm>
              <a:custGeom>
                <a:avLst/>
                <a:gdLst>
                  <a:gd name="T0" fmla="*/ 1 w 3"/>
                  <a:gd name="T1" fmla="*/ 0 h 5"/>
                  <a:gd name="T2" fmla="*/ 3 w 3"/>
                  <a:gd name="T3" fmla="*/ 2 h 5"/>
                  <a:gd name="T4" fmla="*/ 3 w 3"/>
                  <a:gd name="T5" fmla="*/ 5 h 5"/>
                  <a:gd name="T6" fmla="*/ 1 w 3"/>
                  <a:gd name="T7" fmla="*/ 5 h 5"/>
                  <a:gd name="T8" fmla="*/ 0 w 3"/>
                  <a:gd name="T9" fmla="*/ 3 h 5"/>
                  <a:gd name="T10" fmla="*/ 1 w 3"/>
                  <a:gd name="T11" fmla="*/ 0 h 5"/>
                  <a:gd name="T12" fmla="*/ 1 w 3"/>
                  <a:gd name="T13" fmla="*/ 0 h 5"/>
                  <a:gd name="T14" fmla="*/ 1 w 3"/>
                  <a:gd name="T15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" h="5">
                    <a:moveTo>
                      <a:pt x="1" y="0"/>
                    </a:moveTo>
                    <a:lnTo>
                      <a:pt x="3" y="2"/>
                    </a:lnTo>
                    <a:lnTo>
                      <a:pt x="3" y="5"/>
                    </a:lnTo>
                    <a:lnTo>
                      <a:pt x="1" y="5"/>
                    </a:lnTo>
                    <a:lnTo>
                      <a:pt x="0" y="3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F2F1EC"/>
              </a:solidFill>
              <a:ln w="4763" cap="flat">
                <a:solidFill>
                  <a:srgbClr val="DCD5C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911" name="Freeform 314"/>
              <p:cNvSpPr>
                <a:spLocks/>
              </p:cNvSpPr>
              <p:nvPr userDrawn="1"/>
            </p:nvSpPr>
            <p:spPr bwMode="auto">
              <a:xfrm>
                <a:off x="3977" y="3453"/>
                <a:ext cx="3" cy="0"/>
              </a:xfrm>
              <a:custGeom>
                <a:avLst/>
                <a:gdLst>
                  <a:gd name="T0" fmla="*/ 0 w 3"/>
                  <a:gd name="T1" fmla="*/ 3 w 3"/>
                  <a:gd name="T2" fmla="*/ 0 w 3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3">
                    <a:moveTo>
                      <a:pt x="0" y="0"/>
                    </a:moveTo>
                    <a:lnTo>
                      <a:pt x="3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912" name="Line 315"/>
              <p:cNvSpPr>
                <a:spLocks noChangeShapeType="1"/>
              </p:cNvSpPr>
              <p:nvPr userDrawn="1"/>
            </p:nvSpPr>
            <p:spPr bwMode="auto">
              <a:xfrm>
                <a:off x="3977" y="3453"/>
                <a:ext cx="3" cy="0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913" name="Freeform 316"/>
              <p:cNvSpPr>
                <a:spLocks/>
              </p:cNvSpPr>
              <p:nvPr userDrawn="1"/>
            </p:nvSpPr>
            <p:spPr bwMode="auto">
              <a:xfrm>
                <a:off x="3944" y="3451"/>
                <a:ext cx="43" cy="38"/>
              </a:xfrm>
              <a:custGeom>
                <a:avLst/>
                <a:gdLst>
                  <a:gd name="T0" fmla="*/ 14 w 43"/>
                  <a:gd name="T1" fmla="*/ 5 h 38"/>
                  <a:gd name="T2" fmla="*/ 20 w 43"/>
                  <a:gd name="T3" fmla="*/ 4 h 38"/>
                  <a:gd name="T4" fmla="*/ 22 w 43"/>
                  <a:gd name="T5" fmla="*/ 2 h 38"/>
                  <a:gd name="T6" fmla="*/ 24 w 43"/>
                  <a:gd name="T7" fmla="*/ 1 h 38"/>
                  <a:gd name="T8" fmla="*/ 25 w 43"/>
                  <a:gd name="T9" fmla="*/ 0 h 38"/>
                  <a:gd name="T10" fmla="*/ 28 w 43"/>
                  <a:gd name="T11" fmla="*/ 0 h 38"/>
                  <a:gd name="T12" fmla="*/ 30 w 43"/>
                  <a:gd name="T13" fmla="*/ 1 h 38"/>
                  <a:gd name="T14" fmla="*/ 31 w 43"/>
                  <a:gd name="T15" fmla="*/ 1 h 38"/>
                  <a:gd name="T16" fmla="*/ 33 w 43"/>
                  <a:gd name="T17" fmla="*/ 2 h 38"/>
                  <a:gd name="T18" fmla="*/ 36 w 43"/>
                  <a:gd name="T19" fmla="*/ 2 h 38"/>
                  <a:gd name="T20" fmla="*/ 40 w 43"/>
                  <a:gd name="T21" fmla="*/ 4 h 38"/>
                  <a:gd name="T22" fmla="*/ 43 w 43"/>
                  <a:gd name="T23" fmla="*/ 11 h 38"/>
                  <a:gd name="T24" fmla="*/ 43 w 43"/>
                  <a:gd name="T25" fmla="*/ 15 h 38"/>
                  <a:gd name="T26" fmla="*/ 40 w 43"/>
                  <a:gd name="T27" fmla="*/ 18 h 38"/>
                  <a:gd name="T28" fmla="*/ 37 w 43"/>
                  <a:gd name="T29" fmla="*/ 20 h 38"/>
                  <a:gd name="T30" fmla="*/ 37 w 43"/>
                  <a:gd name="T31" fmla="*/ 22 h 38"/>
                  <a:gd name="T32" fmla="*/ 39 w 43"/>
                  <a:gd name="T33" fmla="*/ 24 h 38"/>
                  <a:gd name="T34" fmla="*/ 38 w 43"/>
                  <a:gd name="T35" fmla="*/ 26 h 38"/>
                  <a:gd name="T36" fmla="*/ 34 w 43"/>
                  <a:gd name="T37" fmla="*/ 28 h 38"/>
                  <a:gd name="T38" fmla="*/ 32 w 43"/>
                  <a:gd name="T39" fmla="*/ 27 h 38"/>
                  <a:gd name="T40" fmla="*/ 29 w 43"/>
                  <a:gd name="T41" fmla="*/ 28 h 38"/>
                  <a:gd name="T42" fmla="*/ 26 w 43"/>
                  <a:gd name="T43" fmla="*/ 29 h 38"/>
                  <a:gd name="T44" fmla="*/ 23 w 43"/>
                  <a:gd name="T45" fmla="*/ 30 h 38"/>
                  <a:gd name="T46" fmla="*/ 21 w 43"/>
                  <a:gd name="T47" fmla="*/ 35 h 38"/>
                  <a:gd name="T48" fmla="*/ 20 w 43"/>
                  <a:gd name="T49" fmla="*/ 36 h 38"/>
                  <a:gd name="T50" fmla="*/ 19 w 43"/>
                  <a:gd name="T51" fmla="*/ 38 h 38"/>
                  <a:gd name="T52" fmla="*/ 16 w 43"/>
                  <a:gd name="T53" fmla="*/ 38 h 38"/>
                  <a:gd name="T54" fmla="*/ 12 w 43"/>
                  <a:gd name="T55" fmla="*/ 37 h 38"/>
                  <a:gd name="T56" fmla="*/ 10 w 43"/>
                  <a:gd name="T57" fmla="*/ 34 h 38"/>
                  <a:gd name="T58" fmla="*/ 7 w 43"/>
                  <a:gd name="T59" fmla="*/ 32 h 38"/>
                  <a:gd name="T60" fmla="*/ 7 w 43"/>
                  <a:gd name="T61" fmla="*/ 32 h 38"/>
                  <a:gd name="T62" fmla="*/ 7 w 43"/>
                  <a:gd name="T63" fmla="*/ 28 h 38"/>
                  <a:gd name="T64" fmla="*/ 5 w 43"/>
                  <a:gd name="T65" fmla="*/ 25 h 38"/>
                  <a:gd name="T66" fmla="*/ 4 w 43"/>
                  <a:gd name="T67" fmla="*/ 24 h 38"/>
                  <a:gd name="T68" fmla="*/ 2 w 43"/>
                  <a:gd name="T69" fmla="*/ 22 h 38"/>
                  <a:gd name="T70" fmla="*/ 0 w 43"/>
                  <a:gd name="T71" fmla="*/ 19 h 38"/>
                  <a:gd name="T72" fmla="*/ 3 w 43"/>
                  <a:gd name="T73" fmla="*/ 17 h 38"/>
                  <a:gd name="T74" fmla="*/ 8 w 43"/>
                  <a:gd name="T75" fmla="*/ 13 h 38"/>
                  <a:gd name="T76" fmla="*/ 14 w 43"/>
                  <a:gd name="T77" fmla="*/ 5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43" h="38">
                    <a:moveTo>
                      <a:pt x="14" y="5"/>
                    </a:moveTo>
                    <a:lnTo>
                      <a:pt x="20" y="4"/>
                    </a:lnTo>
                    <a:lnTo>
                      <a:pt x="22" y="2"/>
                    </a:lnTo>
                    <a:lnTo>
                      <a:pt x="24" y="1"/>
                    </a:lnTo>
                    <a:lnTo>
                      <a:pt x="25" y="0"/>
                    </a:lnTo>
                    <a:lnTo>
                      <a:pt x="28" y="0"/>
                    </a:lnTo>
                    <a:lnTo>
                      <a:pt x="30" y="1"/>
                    </a:lnTo>
                    <a:lnTo>
                      <a:pt x="31" y="1"/>
                    </a:lnTo>
                    <a:lnTo>
                      <a:pt x="33" y="2"/>
                    </a:lnTo>
                    <a:lnTo>
                      <a:pt x="36" y="2"/>
                    </a:lnTo>
                    <a:lnTo>
                      <a:pt x="40" y="4"/>
                    </a:lnTo>
                    <a:lnTo>
                      <a:pt x="43" y="11"/>
                    </a:lnTo>
                    <a:lnTo>
                      <a:pt x="43" y="15"/>
                    </a:lnTo>
                    <a:lnTo>
                      <a:pt x="40" y="18"/>
                    </a:lnTo>
                    <a:lnTo>
                      <a:pt x="37" y="20"/>
                    </a:lnTo>
                    <a:lnTo>
                      <a:pt x="37" y="22"/>
                    </a:lnTo>
                    <a:lnTo>
                      <a:pt x="39" y="24"/>
                    </a:lnTo>
                    <a:lnTo>
                      <a:pt x="38" y="26"/>
                    </a:lnTo>
                    <a:lnTo>
                      <a:pt x="34" y="28"/>
                    </a:lnTo>
                    <a:lnTo>
                      <a:pt x="32" y="27"/>
                    </a:lnTo>
                    <a:lnTo>
                      <a:pt x="29" y="28"/>
                    </a:lnTo>
                    <a:lnTo>
                      <a:pt x="26" y="29"/>
                    </a:lnTo>
                    <a:lnTo>
                      <a:pt x="23" y="30"/>
                    </a:lnTo>
                    <a:lnTo>
                      <a:pt x="21" y="35"/>
                    </a:lnTo>
                    <a:lnTo>
                      <a:pt x="20" y="36"/>
                    </a:lnTo>
                    <a:lnTo>
                      <a:pt x="19" y="38"/>
                    </a:lnTo>
                    <a:lnTo>
                      <a:pt x="16" y="38"/>
                    </a:lnTo>
                    <a:lnTo>
                      <a:pt x="12" y="37"/>
                    </a:lnTo>
                    <a:lnTo>
                      <a:pt x="10" y="34"/>
                    </a:lnTo>
                    <a:lnTo>
                      <a:pt x="7" y="32"/>
                    </a:lnTo>
                    <a:lnTo>
                      <a:pt x="7" y="32"/>
                    </a:lnTo>
                    <a:lnTo>
                      <a:pt x="7" y="28"/>
                    </a:lnTo>
                    <a:lnTo>
                      <a:pt x="5" y="25"/>
                    </a:lnTo>
                    <a:lnTo>
                      <a:pt x="4" y="24"/>
                    </a:lnTo>
                    <a:lnTo>
                      <a:pt x="2" y="22"/>
                    </a:lnTo>
                    <a:lnTo>
                      <a:pt x="0" y="19"/>
                    </a:lnTo>
                    <a:lnTo>
                      <a:pt x="3" y="17"/>
                    </a:lnTo>
                    <a:lnTo>
                      <a:pt x="8" y="13"/>
                    </a:lnTo>
                    <a:lnTo>
                      <a:pt x="14" y="5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914" name="Freeform 317"/>
              <p:cNvSpPr>
                <a:spLocks/>
              </p:cNvSpPr>
              <p:nvPr userDrawn="1"/>
            </p:nvSpPr>
            <p:spPr bwMode="auto">
              <a:xfrm>
                <a:off x="3944" y="3451"/>
                <a:ext cx="43" cy="38"/>
              </a:xfrm>
              <a:custGeom>
                <a:avLst/>
                <a:gdLst>
                  <a:gd name="T0" fmla="*/ 14 w 43"/>
                  <a:gd name="T1" fmla="*/ 5 h 38"/>
                  <a:gd name="T2" fmla="*/ 20 w 43"/>
                  <a:gd name="T3" fmla="*/ 4 h 38"/>
                  <a:gd name="T4" fmla="*/ 22 w 43"/>
                  <a:gd name="T5" fmla="*/ 2 h 38"/>
                  <a:gd name="T6" fmla="*/ 24 w 43"/>
                  <a:gd name="T7" fmla="*/ 1 h 38"/>
                  <a:gd name="T8" fmla="*/ 25 w 43"/>
                  <a:gd name="T9" fmla="*/ 0 h 38"/>
                  <a:gd name="T10" fmla="*/ 28 w 43"/>
                  <a:gd name="T11" fmla="*/ 0 h 38"/>
                  <a:gd name="T12" fmla="*/ 30 w 43"/>
                  <a:gd name="T13" fmla="*/ 1 h 38"/>
                  <a:gd name="T14" fmla="*/ 31 w 43"/>
                  <a:gd name="T15" fmla="*/ 1 h 38"/>
                  <a:gd name="T16" fmla="*/ 33 w 43"/>
                  <a:gd name="T17" fmla="*/ 2 h 38"/>
                  <a:gd name="T18" fmla="*/ 36 w 43"/>
                  <a:gd name="T19" fmla="*/ 2 h 38"/>
                  <a:gd name="T20" fmla="*/ 40 w 43"/>
                  <a:gd name="T21" fmla="*/ 4 h 38"/>
                  <a:gd name="T22" fmla="*/ 43 w 43"/>
                  <a:gd name="T23" fmla="*/ 11 h 38"/>
                  <a:gd name="T24" fmla="*/ 43 w 43"/>
                  <a:gd name="T25" fmla="*/ 15 h 38"/>
                  <a:gd name="T26" fmla="*/ 40 w 43"/>
                  <a:gd name="T27" fmla="*/ 18 h 38"/>
                  <a:gd name="T28" fmla="*/ 37 w 43"/>
                  <a:gd name="T29" fmla="*/ 20 h 38"/>
                  <a:gd name="T30" fmla="*/ 37 w 43"/>
                  <a:gd name="T31" fmla="*/ 22 h 38"/>
                  <a:gd name="T32" fmla="*/ 39 w 43"/>
                  <a:gd name="T33" fmla="*/ 24 h 38"/>
                  <a:gd name="T34" fmla="*/ 38 w 43"/>
                  <a:gd name="T35" fmla="*/ 26 h 38"/>
                  <a:gd name="T36" fmla="*/ 34 w 43"/>
                  <a:gd name="T37" fmla="*/ 28 h 38"/>
                  <a:gd name="T38" fmla="*/ 32 w 43"/>
                  <a:gd name="T39" fmla="*/ 27 h 38"/>
                  <a:gd name="T40" fmla="*/ 29 w 43"/>
                  <a:gd name="T41" fmla="*/ 28 h 38"/>
                  <a:gd name="T42" fmla="*/ 26 w 43"/>
                  <a:gd name="T43" fmla="*/ 29 h 38"/>
                  <a:gd name="T44" fmla="*/ 23 w 43"/>
                  <a:gd name="T45" fmla="*/ 30 h 38"/>
                  <a:gd name="T46" fmla="*/ 21 w 43"/>
                  <a:gd name="T47" fmla="*/ 35 h 38"/>
                  <a:gd name="T48" fmla="*/ 20 w 43"/>
                  <a:gd name="T49" fmla="*/ 36 h 38"/>
                  <a:gd name="T50" fmla="*/ 19 w 43"/>
                  <a:gd name="T51" fmla="*/ 38 h 38"/>
                  <a:gd name="T52" fmla="*/ 16 w 43"/>
                  <a:gd name="T53" fmla="*/ 38 h 38"/>
                  <a:gd name="T54" fmla="*/ 12 w 43"/>
                  <a:gd name="T55" fmla="*/ 37 h 38"/>
                  <a:gd name="T56" fmla="*/ 10 w 43"/>
                  <a:gd name="T57" fmla="*/ 34 h 38"/>
                  <a:gd name="T58" fmla="*/ 7 w 43"/>
                  <a:gd name="T59" fmla="*/ 32 h 38"/>
                  <a:gd name="T60" fmla="*/ 7 w 43"/>
                  <a:gd name="T61" fmla="*/ 32 h 38"/>
                  <a:gd name="T62" fmla="*/ 7 w 43"/>
                  <a:gd name="T63" fmla="*/ 28 h 38"/>
                  <a:gd name="T64" fmla="*/ 5 w 43"/>
                  <a:gd name="T65" fmla="*/ 25 h 38"/>
                  <a:gd name="T66" fmla="*/ 4 w 43"/>
                  <a:gd name="T67" fmla="*/ 24 h 38"/>
                  <a:gd name="T68" fmla="*/ 2 w 43"/>
                  <a:gd name="T69" fmla="*/ 22 h 38"/>
                  <a:gd name="T70" fmla="*/ 0 w 43"/>
                  <a:gd name="T71" fmla="*/ 19 h 38"/>
                  <a:gd name="T72" fmla="*/ 3 w 43"/>
                  <a:gd name="T73" fmla="*/ 17 h 38"/>
                  <a:gd name="T74" fmla="*/ 8 w 43"/>
                  <a:gd name="T75" fmla="*/ 13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43" h="38">
                    <a:moveTo>
                      <a:pt x="14" y="5"/>
                    </a:moveTo>
                    <a:lnTo>
                      <a:pt x="20" y="4"/>
                    </a:lnTo>
                    <a:lnTo>
                      <a:pt x="22" y="2"/>
                    </a:lnTo>
                    <a:lnTo>
                      <a:pt x="24" y="1"/>
                    </a:lnTo>
                    <a:lnTo>
                      <a:pt x="25" y="0"/>
                    </a:lnTo>
                    <a:lnTo>
                      <a:pt x="28" y="0"/>
                    </a:lnTo>
                    <a:lnTo>
                      <a:pt x="30" y="1"/>
                    </a:lnTo>
                    <a:lnTo>
                      <a:pt x="31" y="1"/>
                    </a:lnTo>
                    <a:lnTo>
                      <a:pt x="33" y="2"/>
                    </a:lnTo>
                    <a:lnTo>
                      <a:pt x="36" y="2"/>
                    </a:lnTo>
                    <a:lnTo>
                      <a:pt x="40" y="4"/>
                    </a:lnTo>
                    <a:lnTo>
                      <a:pt x="43" y="11"/>
                    </a:lnTo>
                    <a:lnTo>
                      <a:pt x="43" y="15"/>
                    </a:lnTo>
                    <a:lnTo>
                      <a:pt x="40" y="18"/>
                    </a:lnTo>
                    <a:lnTo>
                      <a:pt x="37" y="20"/>
                    </a:lnTo>
                    <a:lnTo>
                      <a:pt x="37" y="22"/>
                    </a:lnTo>
                    <a:lnTo>
                      <a:pt x="39" y="24"/>
                    </a:lnTo>
                    <a:lnTo>
                      <a:pt x="38" y="26"/>
                    </a:lnTo>
                    <a:lnTo>
                      <a:pt x="34" y="28"/>
                    </a:lnTo>
                    <a:lnTo>
                      <a:pt x="32" y="27"/>
                    </a:lnTo>
                    <a:lnTo>
                      <a:pt x="29" y="28"/>
                    </a:lnTo>
                    <a:lnTo>
                      <a:pt x="26" y="29"/>
                    </a:lnTo>
                    <a:lnTo>
                      <a:pt x="23" y="30"/>
                    </a:lnTo>
                    <a:lnTo>
                      <a:pt x="21" y="35"/>
                    </a:lnTo>
                    <a:lnTo>
                      <a:pt x="20" y="36"/>
                    </a:lnTo>
                    <a:lnTo>
                      <a:pt x="19" y="38"/>
                    </a:lnTo>
                    <a:lnTo>
                      <a:pt x="16" y="38"/>
                    </a:lnTo>
                    <a:lnTo>
                      <a:pt x="12" y="37"/>
                    </a:lnTo>
                    <a:lnTo>
                      <a:pt x="10" y="34"/>
                    </a:lnTo>
                    <a:lnTo>
                      <a:pt x="7" y="32"/>
                    </a:lnTo>
                    <a:lnTo>
                      <a:pt x="7" y="32"/>
                    </a:lnTo>
                    <a:lnTo>
                      <a:pt x="7" y="28"/>
                    </a:lnTo>
                    <a:lnTo>
                      <a:pt x="5" y="25"/>
                    </a:lnTo>
                    <a:lnTo>
                      <a:pt x="4" y="24"/>
                    </a:lnTo>
                    <a:lnTo>
                      <a:pt x="2" y="22"/>
                    </a:lnTo>
                    <a:lnTo>
                      <a:pt x="0" y="19"/>
                    </a:lnTo>
                    <a:lnTo>
                      <a:pt x="3" y="17"/>
                    </a:lnTo>
                    <a:lnTo>
                      <a:pt x="8" y="13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915" name="Freeform 318"/>
              <p:cNvSpPr>
                <a:spLocks noEditPoints="1"/>
              </p:cNvSpPr>
              <p:nvPr userDrawn="1"/>
            </p:nvSpPr>
            <p:spPr bwMode="auto">
              <a:xfrm>
                <a:off x="3009" y="2615"/>
                <a:ext cx="47" cy="43"/>
              </a:xfrm>
              <a:custGeom>
                <a:avLst/>
                <a:gdLst>
                  <a:gd name="T0" fmla="*/ 4 w 49"/>
                  <a:gd name="T1" fmla="*/ 5 h 45"/>
                  <a:gd name="T2" fmla="*/ 8 w 49"/>
                  <a:gd name="T3" fmla="*/ 2 h 45"/>
                  <a:gd name="T4" fmla="*/ 7 w 49"/>
                  <a:gd name="T5" fmla="*/ 1 h 45"/>
                  <a:gd name="T6" fmla="*/ 4 w 49"/>
                  <a:gd name="T7" fmla="*/ 0 h 45"/>
                  <a:gd name="T8" fmla="*/ 2 w 49"/>
                  <a:gd name="T9" fmla="*/ 1 h 45"/>
                  <a:gd name="T10" fmla="*/ 0 w 49"/>
                  <a:gd name="T11" fmla="*/ 2 h 45"/>
                  <a:gd name="T12" fmla="*/ 1 w 49"/>
                  <a:gd name="T13" fmla="*/ 5 h 45"/>
                  <a:gd name="T14" fmla="*/ 4 w 49"/>
                  <a:gd name="T15" fmla="*/ 5 h 45"/>
                  <a:gd name="T16" fmla="*/ 9 w 49"/>
                  <a:gd name="T17" fmla="*/ 8 h 45"/>
                  <a:gd name="T18" fmla="*/ 8 w 49"/>
                  <a:gd name="T19" fmla="*/ 6 h 45"/>
                  <a:gd name="T20" fmla="*/ 9 w 49"/>
                  <a:gd name="T21" fmla="*/ 4 h 45"/>
                  <a:gd name="T22" fmla="*/ 11 w 49"/>
                  <a:gd name="T23" fmla="*/ 5 h 45"/>
                  <a:gd name="T24" fmla="*/ 11 w 49"/>
                  <a:gd name="T25" fmla="*/ 7 h 45"/>
                  <a:gd name="T26" fmla="*/ 9 w 49"/>
                  <a:gd name="T27" fmla="*/ 8 h 45"/>
                  <a:gd name="T28" fmla="*/ 22 w 49"/>
                  <a:gd name="T29" fmla="*/ 12 h 45"/>
                  <a:gd name="T30" fmla="*/ 21 w 49"/>
                  <a:gd name="T31" fmla="*/ 13 h 45"/>
                  <a:gd name="T32" fmla="*/ 19 w 49"/>
                  <a:gd name="T33" fmla="*/ 11 h 45"/>
                  <a:gd name="T34" fmla="*/ 20 w 49"/>
                  <a:gd name="T35" fmla="*/ 10 h 45"/>
                  <a:gd name="T36" fmla="*/ 22 w 49"/>
                  <a:gd name="T37" fmla="*/ 10 h 45"/>
                  <a:gd name="T38" fmla="*/ 24 w 49"/>
                  <a:gd name="T39" fmla="*/ 11 h 45"/>
                  <a:gd name="T40" fmla="*/ 24 w 49"/>
                  <a:gd name="T41" fmla="*/ 12 h 45"/>
                  <a:gd name="T42" fmla="*/ 23 w 49"/>
                  <a:gd name="T43" fmla="*/ 12 h 45"/>
                  <a:gd name="T44" fmla="*/ 30 w 49"/>
                  <a:gd name="T45" fmla="*/ 12 h 45"/>
                  <a:gd name="T46" fmla="*/ 27 w 49"/>
                  <a:gd name="T47" fmla="*/ 13 h 45"/>
                  <a:gd name="T48" fmla="*/ 26 w 49"/>
                  <a:gd name="T49" fmla="*/ 11 h 45"/>
                  <a:gd name="T50" fmla="*/ 28 w 49"/>
                  <a:gd name="T51" fmla="*/ 10 h 45"/>
                  <a:gd name="T52" fmla="*/ 30 w 49"/>
                  <a:gd name="T53" fmla="*/ 12 h 45"/>
                  <a:gd name="T54" fmla="*/ 47 w 49"/>
                  <a:gd name="T55" fmla="*/ 10 h 45"/>
                  <a:gd name="T56" fmla="*/ 46 w 49"/>
                  <a:gd name="T57" fmla="*/ 7 h 45"/>
                  <a:gd name="T58" fmla="*/ 48 w 49"/>
                  <a:gd name="T59" fmla="*/ 6 h 45"/>
                  <a:gd name="T60" fmla="*/ 48 w 49"/>
                  <a:gd name="T61" fmla="*/ 9 h 45"/>
                  <a:gd name="T62" fmla="*/ 47 w 49"/>
                  <a:gd name="T63" fmla="*/ 10 h 45"/>
                  <a:gd name="T64" fmla="*/ 45 w 49"/>
                  <a:gd name="T65" fmla="*/ 23 h 45"/>
                  <a:gd name="T66" fmla="*/ 44 w 49"/>
                  <a:gd name="T67" fmla="*/ 20 h 45"/>
                  <a:gd name="T68" fmla="*/ 46 w 49"/>
                  <a:gd name="T69" fmla="*/ 18 h 45"/>
                  <a:gd name="T70" fmla="*/ 48 w 49"/>
                  <a:gd name="T71" fmla="*/ 19 h 45"/>
                  <a:gd name="T72" fmla="*/ 49 w 49"/>
                  <a:gd name="T73" fmla="*/ 22 h 45"/>
                  <a:gd name="T74" fmla="*/ 47 w 49"/>
                  <a:gd name="T75" fmla="*/ 23 h 45"/>
                  <a:gd name="T76" fmla="*/ 45 w 49"/>
                  <a:gd name="T77" fmla="*/ 23 h 45"/>
                  <a:gd name="T78" fmla="*/ 41 w 49"/>
                  <a:gd name="T79" fmla="*/ 40 h 45"/>
                  <a:gd name="T80" fmla="*/ 40 w 49"/>
                  <a:gd name="T81" fmla="*/ 38 h 45"/>
                  <a:gd name="T82" fmla="*/ 41 w 49"/>
                  <a:gd name="T83" fmla="*/ 37 h 45"/>
                  <a:gd name="T84" fmla="*/ 43 w 49"/>
                  <a:gd name="T85" fmla="*/ 39 h 45"/>
                  <a:gd name="T86" fmla="*/ 41 w 49"/>
                  <a:gd name="T87" fmla="*/ 40 h 45"/>
                  <a:gd name="T88" fmla="*/ 31 w 49"/>
                  <a:gd name="T89" fmla="*/ 44 h 45"/>
                  <a:gd name="T90" fmla="*/ 31 w 49"/>
                  <a:gd name="T91" fmla="*/ 40 h 45"/>
                  <a:gd name="T92" fmla="*/ 29 w 49"/>
                  <a:gd name="T93" fmla="*/ 37 h 45"/>
                  <a:gd name="T94" fmla="*/ 33 w 49"/>
                  <a:gd name="T95" fmla="*/ 38 h 45"/>
                  <a:gd name="T96" fmla="*/ 36 w 49"/>
                  <a:gd name="T97" fmla="*/ 42 h 45"/>
                  <a:gd name="T98" fmla="*/ 35 w 49"/>
                  <a:gd name="T99" fmla="*/ 45 h 45"/>
                  <a:gd name="T100" fmla="*/ 31 w 49"/>
                  <a:gd name="T101" fmla="*/ 44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49" h="45">
                    <a:moveTo>
                      <a:pt x="4" y="5"/>
                    </a:moveTo>
                    <a:cubicBezTo>
                      <a:pt x="8" y="2"/>
                      <a:pt x="8" y="2"/>
                      <a:pt x="8" y="2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4" y="5"/>
                      <a:pt x="4" y="5"/>
                      <a:pt x="4" y="5"/>
                    </a:cubicBezTo>
                    <a:close/>
                    <a:moveTo>
                      <a:pt x="9" y="8"/>
                    </a:moveTo>
                    <a:cubicBezTo>
                      <a:pt x="8" y="6"/>
                      <a:pt x="8" y="6"/>
                      <a:pt x="8" y="6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1" y="5"/>
                      <a:pt x="11" y="5"/>
                      <a:pt x="11" y="5"/>
                    </a:cubicBezTo>
                    <a:cubicBezTo>
                      <a:pt x="11" y="7"/>
                      <a:pt x="11" y="7"/>
                      <a:pt x="11" y="7"/>
                    </a:cubicBezTo>
                    <a:cubicBezTo>
                      <a:pt x="9" y="8"/>
                      <a:pt x="9" y="8"/>
                      <a:pt x="9" y="8"/>
                    </a:cubicBezTo>
                    <a:close/>
                    <a:moveTo>
                      <a:pt x="22" y="12"/>
                    </a:moveTo>
                    <a:cubicBezTo>
                      <a:pt x="21" y="13"/>
                      <a:pt x="21" y="13"/>
                      <a:pt x="21" y="13"/>
                    </a:cubicBezTo>
                    <a:cubicBezTo>
                      <a:pt x="19" y="11"/>
                      <a:pt x="19" y="11"/>
                      <a:pt x="19" y="11"/>
                    </a:cubicBezTo>
                    <a:cubicBezTo>
                      <a:pt x="20" y="10"/>
                      <a:pt x="20" y="10"/>
                      <a:pt x="20" y="10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4" y="11"/>
                      <a:pt x="24" y="11"/>
                      <a:pt x="24" y="11"/>
                    </a:cubicBezTo>
                    <a:cubicBezTo>
                      <a:pt x="24" y="12"/>
                      <a:pt x="24" y="12"/>
                      <a:pt x="24" y="12"/>
                    </a:cubicBezTo>
                    <a:cubicBezTo>
                      <a:pt x="23" y="12"/>
                      <a:pt x="23" y="12"/>
                      <a:pt x="23" y="12"/>
                    </a:cubicBezTo>
                    <a:moveTo>
                      <a:pt x="30" y="12"/>
                    </a:moveTo>
                    <a:cubicBezTo>
                      <a:pt x="27" y="13"/>
                      <a:pt x="27" y="13"/>
                      <a:pt x="27" y="13"/>
                    </a:cubicBezTo>
                    <a:cubicBezTo>
                      <a:pt x="26" y="11"/>
                      <a:pt x="26" y="11"/>
                      <a:pt x="26" y="11"/>
                    </a:cubicBezTo>
                    <a:cubicBezTo>
                      <a:pt x="28" y="10"/>
                      <a:pt x="28" y="10"/>
                      <a:pt x="28" y="10"/>
                    </a:cubicBezTo>
                    <a:cubicBezTo>
                      <a:pt x="30" y="12"/>
                      <a:pt x="30" y="12"/>
                      <a:pt x="30" y="12"/>
                    </a:cubicBezTo>
                    <a:close/>
                    <a:moveTo>
                      <a:pt x="47" y="10"/>
                    </a:moveTo>
                    <a:cubicBezTo>
                      <a:pt x="46" y="7"/>
                      <a:pt x="46" y="7"/>
                      <a:pt x="46" y="7"/>
                    </a:cubicBezTo>
                    <a:cubicBezTo>
                      <a:pt x="48" y="6"/>
                      <a:pt x="48" y="6"/>
                      <a:pt x="48" y="6"/>
                    </a:cubicBezTo>
                    <a:cubicBezTo>
                      <a:pt x="48" y="9"/>
                      <a:pt x="48" y="9"/>
                      <a:pt x="48" y="9"/>
                    </a:cubicBezTo>
                    <a:cubicBezTo>
                      <a:pt x="47" y="10"/>
                      <a:pt x="47" y="10"/>
                      <a:pt x="47" y="10"/>
                    </a:cubicBezTo>
                    <a:close/>
                    <a:moveTo>
                      <a:pt x="45" y="23"/>
                    </a:moveTo>
                    <a:cubicBezTo>
                      <a:pt x="44" y="20"/>
                      <a:pt x="44" y="20"/>
                      <a:pt x="44" y="20"/>
                    </a:cubicBezTo>
                    <a:cubicBezTo>
                      <a:pt x="46" y="18"/>
                      <a:pt x="46" y="18"/>
                      <a:pt x="46" y="18"/>
                    </a:cubicBezTo>
                    <a:cubicBezTo>
                      <a:pt x="48" y="19"/>
                      <a:pt x="48" y="19"/>
                      <a:pt x="48" y="19"/>
                    </a:cubicBezTo>
                    <a:cubicBezTo>
                      <a:pt x="49" y="22"/>
                      <a:pt x="49" y="22"/>
                      <a:pt x="49" y="22"/>
                    </a:cubicBezTo>
                    <a:cubicBezTo>
                      <a:pt x="47" y="23"/>
                      <a:pt x="47" y="23"/>
                      <a:pt x="47" y="23"/>
                    </a:cubicBezTo>
                    <a:cubicBezTo>
                      <a:pt x="45" y="23"/>
                      <a:pt x="45" y="23"/>
                      <a:pt x="45" y="23"/>
                    </a:cubicBezTo>
                    <a:close/>
                    <a:moveTo>
                      <a:pt x="41" y="40"/>
                    </a:moveTo>
                    <a:cubicBezTo>
                      <a:pt x="40" y="38"/>
                      <a:pt x="40" y="38"/>
                      <a:pt x="40" y="38"/>
                    </a:cubicBezTo>
                    <a:cubicBezTo>
                      <a:pt x="41" y="37"/>
                      <a:pt x="41" y="37"/>
                      <a:pt x="41" y="37"/>
                    </a:cubicBezTo>
                    <a:cubicBezTo>
                      <a:pt x="43" y="39"/>
                      <a:pt x="43" y="39"/>
                      <a:pt x="43" y="39"/>
                    </a:cubicBezTo>
                    <a:cubicBezTo>
                      <a:pt x="41" y="40"/>
                      <a:pt x="41" y="40"/>
                      <a:pt x="41" y="40"/>
                    </a:cubicBezTo>
                    <a:close/>
                    <a:moveTo>
                      <a:pt x="31" y="44"/>
                    </a:moveTo>
                    <a:cubicBezTo>
                      <a:pt x="31" y="40"/>
                      <a:pt x="31" y="40"/>
                      <a:pt x="31" y="40"/>
                    </a:cubicBezTo>
                    <a:cubicBezTo>
                      <a:pt x="29" y="37"/>
                      <a:pt x="29" y="37"/>
                      <a:pt x="29" y="37"/>
                    </a:cubicBezTo>
                    <a:cubicBezTo>
                      <a:pt x="33" y="38"/>
                      <a:pt x="33" y="38"/>
                      <a:pt x="33" y="38"/>
                    </a:cubicBezTo>
                    <a:cubicBezTo>
                      <a:pt x="36" y="42"/>
                      <a:pt x="36" y="42"/>
                      <a:pt x="36" y="42"/>
                    </a:cubicBezTo>
                    <a:cubicBezTo>
                      <a:pt x="35" y="45"/>
                      <a:pt x="35" y="45"/>
                      <a:pt x="35" y="45"/>
                    </a:cubicBezTo>
                    <a:lnTo>
                      <a:pt x="31" y="44"/>
                    </a:lnTo>
                    <a:close/>
                  </a:path>
                </a:pathLst>
              </a:custGeom>
              <a:solidFill>
                <a:srgbClr val="F2F1E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916" name="Freeform 319"/>
              <p:cNvSpPr>
                <a:spLocks/>
              </p:cNvSpPr>
              <p:nvPr userDrawn="1"/>
            </p:nvSpPr>
            <p:spPr bwMode="auto">
              <a:xfrm>
                <a:off x="4510" y="3297"/>
                <a:ext cx="5" cy="6"/>
              </a:xfrm>
              <a:custGeom>
                <a:avLst/>
                <a:gdLst>
                  <a:gd name="T0" fmla="*/ 2 w 5"/>
                  <a:gd name="T1" fmla="*/ 0 h 6"/>
                  <a:gd name="T2" fmla="*/ 0 w 5"/>
                  <a:gd name="T3" fmla="*/ 2 h 6"/>
                  <a:gd name="T4" fmla="*/ 5 w 5"/>
                  <a:gd name="T5" fmla="*/ 6 h 6"/>
                  <a:gd name="T6" fmla="*/ 2 w 5"/>
                  <a:gd name="T7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" h="6">
                    <a:moveTo>
                      <a:pt x="2" y="0"/>
                    </a:moveTo>
                    <a:lnTo>
                      <a:pt x="0" y="2"/>
                    </a:lnTo>
                    <a:lnTo>
                      <a:pt x="5" y="6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917" name="Freeform 320"/>
              <p:cNvSpPr>
                <a:spLocks/>
              </p:cNvSpPr>
              <p:nvPr userDrawn="1"/>
            </p:nvSpPr>
            <p:spPr bwMode="auto">
              <a:xfrm>
                <a:off x="4510" y="3297"/>
                <a:ext cx="5" cy="6"/>
              </a:xfrm>
              <a:custGeom>
                <a:avLst/>
                <a:gdLst>
                  <a:gd name="T0" fmla="*/ 2 w 5"/>
                  <a:gd name="T1" fmla="*/ 0 h 6"/>
                  <a:gd name="T2" fmla="*/ 0 w 5"/>
                  <a:gd name="T3" fmla="*/ 2 h 6"/>
                  <a:gd name="T4" fmla="*/ 5 w 5"/>
                  <a:gd name="T5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" h="6">
                    <a:moveTo>
                      <a:pt x="2" y="0"/>
                    </a:moveTo>
                    <a:lnTo>
                      <a:pt x="0" y="2"/>
                    </a:lnTo>
                    <a:lnTo>
                      <a:pt x="5" y="6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918" name="Freeform 321"/>
              <p:cNvSpPr>
                <a:spLocks/>
              </p:cNvSpPr>
              <p:nvPr userDrawn="1"/>
            </p:nvSpPr>
            <p:spPr bwMode="auto">
              <a:xfrm>
                <a:off x="4480" y="3307"/>
                <a:ext cx="3" cy="6"/>
              </a:xfrm>
              <a:custGeom>
                <a:avLst/>
                <a:gdLst>
                  <a:gd name="T0" fmla="*/ 3 w 3"/>
                  <a:gd name="T1" fmla="*/ 6 h 6"/>
                  <a:gd name="T2" fmla="*/ 1 w 3"/>
                  <a:gd name="T3" fmla="*/ 5 h 6"/>
                  <a:gd name="T4" fmla="*/ 0 w 3"/>
                  <a:gd name="T5" fmla="*/ 0 h 6"/>
                  <a:gd name="T6" fmla="*/ 3 w 3"/>
                  <a:gd name="T7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6">
                    <a:moveTo>
                      <a:pt x="3" y="6"/>
                    </a:moveTo>
                    <a:lnTo>
                      <a:pt x="1" y="5"/>
                    </a:lnTo>
                    <a:lnTo>
                      <a:pt x="0" y="0"/>
                    </a:ln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919" name="Freeform 322"/>
              <p:cNvSpPr>
                <a:spLocks/>
              </p:cNvSpPr>
              <p:nvPr userDrawn="1"/>
            </p:nvSpPr>
            <p:spPr bwMode="auto">
              <a:xfrm>
                <a:off x="4480" y="3307"/>
                <a:ext cx="3" cy="6"/>
              </a:xfrm>
              <a:custGeom>
                <a:avLst/>
                <a:gdLst>
                  <a:gd name="T0" fmla="*/ 3 w 3"/>
                  <a:gd name="T1" fmla="*/ 6 h 6"/>
                  <a:gd name="T2" fmla="*/ 1 w 3"/>
                  <a:gd name="T3" fmla="*/ 5 h 6"/>
                  <a:gd name="T4" fmla="*/ 0 w 3"/>
                  <a:gd name="T5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" h="6">
                    <a:moveTo>
                      <a:pt x="3" y="6"/>
                    </a:moveTo>
                    <a:lnTo>
                      <a:pt x="1" y="5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920" name="Freeform 323"/>
              <p:cNvSpPr>
                <a:spLocks/>
              </p:cNvSpPr>
              <p:nvPr userDrawn="1"/>
            </p:nvSpPr>
            <p:spPr bwMode="auto">
              <a:xfrm>
                <a:off x="4519" y="3297"/>
                <a:ext cx="0" cy="4"/>
              </a:xfrm>
              <a:custGeom>
                <a:avLst/>
                <a:gdLst>
                  <a:gd name="T0" fmla="*/ 4 h 4"/>
                  <a:gd name="T1" fmla="*/ 0 h 4"/>
                  <a:gd name="T2" fmla="*/ 4 h 4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4">
                    <a:moveTo>
                      <a:pt x="0" y="4"/>
                    </a:move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921" name="Line 324"/>
              <p:cNvSpPr>
                <a:spLocks noChangeShapeType="1"/>
              </p:cNvSpPr>
              <p:nvPr userDrawn="1"/>
            </p:nvSpPr>
            <p:spPr bwMode="auto">
              <a:xfrm flipV="1">
                <a:off x="4519" y="3297"/>
                <a:ext cx="0" cy="4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922" name="Freeform 325"/>
              <p:cNvSpPr>
                <a:spLocks/>
              </p:cNvSpPr>
              <p:nvPr userDrawn="1"/>
            </p:nvSpPr>
            <p:spPr bwMode="auto">
              <a:xfrm>
                <a:off x="4510" y="3297"/>
                <a:ext cx="9" cy="6"/>
              </a:xfrm>
              <a:custGeom>
                <a:avLst/>
                <a:gdLst>
                  <a:gd name="T0" fmla="*/ 2 w 9"/>
                  <a:gd name="T1" fmla="*/ 0 h 6"/>
                  <a:gd name="T2" fmla="*/ 0 w 9"/>
                  <a:gd name="T3" fmla="*/ 2 h 6"/>
                  <a:gd name="T4" fmla="*/ 5 w 9"/>
                  <a:gd name="T5" fmla="*/ 6 h 6"/>
                  <a:gd name="T6" fmla="*/ 9 w 9"/>
                  <a:gd name="T7" fmla="*/ 4 h 6"/>
                  <a:gd name="T8" fmla="*/ 9 w 9"/>
                  <a:gd name="T9" fmla="*/ 0 h 6"/>
                  <a:gd name="T10" fmla="*/ 2 w 9"/>
                  <a:gd name="T11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" h="6">
                    <a:moveTo>
                      <a:pt x="2" y="0"/>
                    </a:moveTo>
                    <a:lnTo>
                      <a:pt x="0" y="2"/>
                    </a:lnTo>
                    <a:lnTo>
                      <a:pt x="5" y="6"/>
                    </a:lnTo>
                    <a:lnTo>
                      <a:pt x="9" y="4"/>
                    </a:lnTo>
                    <a:lnTo>
                      <a:pt x="9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923" name="Freeform 326"/>
              <p:cNvSpPr>
                <a:spLocks/>
              </p:cNvSpPr>
              <p:nvPr userDrawn="1"/>
            </p:nvSpPr>
            <p:spPr bwMode="auto">
              <a:xfrm>
                <a:off x="4510" y="3297"/>
                <a:ext cx="9" cy="6"/>
              </a:xfrm>
              <a:custGeom>
                <a:avLst/>
                <a:gdLst>
                  <a:gd name="T0" fmla="*/ 2 w 9"/>
                  <a:gd name="T1" fmla="*/ 0 h 6"/>
                  <a:gd name="T2" fmla="*/ 0 w 9"/>
                  <a:gd name="T3" fmla="*/ 2 h 6"/>
                  <a:gd name="T4" fmla="*/ 5 w 9"/>
                  <a:gd name="T5" fmla="*/ 6 h 6"/>
                  <a:gd name="T6" fmla="*/ 9 w 9"/>
                  <a:gd name="T7" fmla="*/ 4 h 6"/>
                  <a:gd name="T8" fmla="*/ 9 w 9"/>
                  <a:gd name="T9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6">
                    <a:moveTo>
                      <a:pt x="2" y="0"/>
                    </a:moveTo>
                    <a:lnTo>
                      <a:pt x="0" y="2"/>
                    </a:lnTo>
                    <a:lnTo>
                      <a:pt x="5" y="6"/>
                    </a:lnTo>
                    <a:lnTo>
                      <a:pt x="9" y="4"/>
                    </a:lnTo>
                    <a:lnTo>
                      <a:pt x="9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924" name="Freeform 327"/>
              <p:cNvSpPr>
                <a:spLocks/>
              </p:cNvSpPr>
              <p:nvPr userDrawn="1"/>
            </p:nvSpPr>
            <p:spPr bwMode="auto">
              <a:xfrm>
                <a:off x="4479" y="3307"/>
                <a:ext cx="4" cy="10"/>
              </a:xfrm>
              <a:custGeom>
                <a:avLst/>
                <a:gdLst>
                  <a:gd name="T0" fmla="*/ 0 w 4"/>
                  <a:gd name="T1" fmla="*/ 10 h 10"/>
                  <a:gd name="T2" fmla="*/ 4 w 4"/>
                  <a:gd name="T3" fmla="*/ 6 h 10"/>
                  <a:gd name="T4" fmla="*/ 2 w 4"/>
                  <a:gd name="T5" fmla="*/ 5 h 10"/>
                  <a:gd name="T6" fmla="*/ 1 w 4"/>
                  <a:gd name="T7" fmla="*/ 0 h 10"/>
                  <a:gd name="T8" fmla="*/ 0 w 4"/>
                  <a:gd name="T9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10">
                    <a:moveTo>
                      <a:pt x="0" y="10"/>
                    </a:moveTo>
                    <a:lnTo>
                      <a:pt x="4" y="6"/>
                    </a:lnTo>
                    <a:lnTo>
                      <a:pt x="2" y="5"/>
                    </a:lnTo>
                    <a:lnTo>
                      <a:pt x="1" y="0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925" name="Freeform 328"/>
              <p:cNvSpPr>
                <a:spLocks/>
              </p:cNvSpPr>
              <p:nvPr userDrawn="1"/>
            </p:nvSpPr>
            <p:spPr bwMode="auto">
              <a:xfrm>
                <a:off x="4479" y="3307"/>
                <a:ext cx="4" cy="10"/>
              </a:xfrm>
              <a:custGeom>
                <a:avLst/>
                <a:gdLst>
                  <a:gd name="T0" fmla="*/ 0 w 4"/>
                  <a:gd name="T1" fmla="*/ 10 h 10"/>
                  <a:gd name="T2" fmla="*/ 4 w 4"/>
                  <a:gd name="T3" fmla="*/ 6 h 10"/>
                  <a:gd name="T4" fmla="*/ 2 w 4"/>
                  <a:gd name="T5" fmla="*/ 5 h 10"/>
                  <a:gd name="T6" fmla="*/ 1 w 4"/>
                  <a:gd name="T7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" h="10">
                    <a:moveTo>
                      <a:pt x="0" y="10"/>
                    </a:moveTo>
                    <a:lnTo>
                      <a:pt x="4" y="6"/>
                    </a:lnTo>
                    <a:lnTo>
                      <a:pt x="2" y="5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926" name="Freeform 329"/>
              <p:cNvSpPr>
                <a:spLocks/>
              </p:cNvSpPr>
              <p:nvPr userDrawn="1"/>
            </p:nvSpPr>
            <p:spPr bwMode="auto">
              <a:xfrm>
                <a:off x="4510" y="3297"/>
                <a:ext cx="5" cy="6"/>
              </a:xfrm>
              <a:custGeom>
                <a:avLst/>
                <a:gdLst>
                  <a:gd name="T0" fmla="*/ 2 w 5"/>
                  <a:gd name="T1" fmla="*/ 0 h 6"/>
                  <a:gd name="T2" fmla="*/ 0 w 5"/>
                  <a:gd name="T3" fmla="*/ 2 h 6"/>
                  <a:gd name="T4" fmla="*/ 5 w 5"/>
                  <a:gd name="T5" fmla="*/ 6 h 6"/>
                  <a:gd name="T6" fmla="*/ 2 w 5"/>
                  <a:gd name="T7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" h="6">
                    <a:moveTo>
                      <a:pt x="2" y="0"/>
                    </a:moveTo>
                    <a:lnTo>
                      <a:pt x="0" y="2"/>
                    </a:lnTo>
                    <a:lnTo>
                      <a:pt x="5" y="6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927" name="Freeform 330"/>
              <p:cNvSpPr>
                <a:spLocks/>
              </p:cNvSpPr>
              <p:nvPr userDrawn="1"/>
            </p:nvSpPr>
            <p:spPr bwMode="auto">
              <a:xfrm>
                <a:off x="4510" y="3297"/>
                <a:ext cx="5" cy="6"/>
              </a:xfrm>
              <a:custGeom>
                <a:avLst/>
                <a:gdLst>
                  <a:gd name="T0" fmla="*/ 2 w 5"/>
                  <a:gd name="T1" fmla="*/ 0 h 6"/>
                  <a:gd name="T2" fmla="*/ 0 w 5"/>
                  <a:gd name="T3" fmla="*/ 2 h 6"/>
                  <a:gd name="T4" fmla="*/ 5 w 5"/>
                  <a:gd name="T5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" h="6">
                    <a:moveTo>
                      <a:pt x="2" y="0"/>
                    </a:moveTo>
                    <a:lnTo>
                      <a:pt x="0" y="2"/>
                    </a:lnTo>
                    <a:lnTo>
                      <a:pt x="5" y="6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928" name="Freeform 331"/>
              <p:cNvSpPr>
                <a:spLocks/>
              </p:cNvSpPr>
              <p:nvPr userDrawn="1"/>
            </p:nvSpPr>
            <p:spPr bwMode="auto">
              <a:xfrm>
                <a:off x="4480" y="3307"/>
                <a:ext cx="3" cy="6"/>
              </a:xfrm>
              <a:custGeom>
                <a:avLst/>
                <a:gdLst>
                  <a:gd name="T0" fmla="*/ 3 w 3"/>
                  <a:gd name="T1" fmla="*/ 6 h 6"/>
                  <a:gd name="T2" fmla="*/ 1 w 3"/>
                  <a:gd name="T3" fmla="*/ 5 h 6"/>
                  <a:gd name="T4" fmla="*/ 0 w 3"/>
                  <a:gd name="T5" fmla="*/ 0 h 6"/>
                  <a:gd name="T6" fmla="*/ 3 w 3"/>
                  <a:gd name="T7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6">
                    <a:moveTo>
                      <a:pt x="3" y="6"/>
                    </a:moveTo>
                    <a:lnTo>
                      <a:pt x="1" y="5"/>
                    </a:lnTo>
                    <a:lnTo>
                      <a:pt x="0" y="0"/>
                    </a:ln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929" name="Freeform 332"/>
              <p:cNvSpPr>
                <a:spLocks/>
              </p:cNvSpPr>
              <p:nvPr userDrawn="1"/>
            </p:nvSpPr>
            <p:spPr bwMode="auto">
              <a:xfrm>
                <a:off x="4480" y="3307"/>
                <a:ext cx="3" cy="6"/>
              </a:xfrm>
              <a:custGeom>
                <a:avLst/>
                <a:gdLst>
                  <a:gd name="T0" fmla="*/ 3 w 3"/>
                  <a:gd name="T1" fmla="*/ 6 h 6"/>
                  <a:gd name="T2" fmla="*/ 1 w 3"/>
                  <a:gd name="T3" fmla="*/ 5 h 6"/>
                  <a:gd name="T4" fmla="*/ 0 w 3"/>
                  <a:gd name="T5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" h="6">
                    <a:moveTo>
                      <a:pt x="3" y="6"/>
                    </a:moveTo>
                    <a:lnTo>
                      <a:pt x="1" y="5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930" name="Freeform 333"/>
              <p:cNvSpPr>
                <a:spLocks/>
              </p:cNvSpPr>
              <p:nvPr userDrawn="1"/>
            </p:nvSpPr>
            <p:spPr bwMode="auto">
              <a:xfrm>
                <a:off x="4510" y="3297"/>
                <a:ext cx="9" cy="6"/>
              </a:xfrm>
              <a:custGeom>
                <a:avLst/>
                <a:gdLst>
                  <a:gd name="T0" fmla="*/ 2 w 9"/>
                  <a:gd name="T1" fmla="*/ 0 h 6"/>
                  <a:gd name="T2" fmla="*/ 0 w 9"/>
                  <a:gd name="T3" fmla="*/ 2 h 6"/>
                  <a:gd name="T4" fmla="*/ 5 w 9"/>
                  <a:gd name="T5" fmla="*/ 6 h 6"/>
                  <a:gd name="T6" fmla="*/ 9 w 9"/>
                  <a:gd name="T7" fmla="*/ 4 h 6"/>
                  <a:gd name="T8" fmla="*/ 9 w 9"/>
                  <a:gd name="T9" fmla="*/ 0 h 6"/>
                  <a:gd name="T10" fmla="*/ 2 w 9"/>
                  <a:gd name="T11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" h="6">
                    <a:moveTo>
                      <a:pt x="2" y="0"/>
                    </a:moveTo>
                    <a:lnTo>
                      <a:pt x="0" y="2"/>
                    </a:lnTo>
                    <a:lnTo>
                      <a:pt x="5" y="6"/>
                    </a:lnTo>
                    <a:lnTo>
                      <a:pt x="9" y="4"/>
                    </a:lnTo>
                    <a:lnTo>
                      <a:pt x="9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931" name="Freeform 334"/>
              <p:cNvSpPr>
                <a:spLocks/>
              </p:cNvSpPr>
              <p:nvPr userDrawn="1"/>
            </p:nvSpPr>
            <p:spPr bwMode="auto">
              <a:xfrm>
                <a:off x="4510" y="3297"/>
                <a:ext cx="9" cy="6"/>
              </a:xfrm>
              <a:custGeom>
                <a:avLst/>
                <a:gdLst>
                  <a:gd name="T0" fmla="*/ 2 w 9"/>
                  <a:gd name="T1" fmla="*/ 0 h 6"/>
                  <a:gd name="T2" fmla="*/ 0 w 9"/>
                  <a:gd name="T3" fmla="*/ 2 h 6"/>
                  <a:gd name="T4" fmla="*/ 5 w 9"/>
                  <a:gd name="T5" fmla="*/ 6 h 6"/>
                  <a:gd name="T6" fmla="*/ 9 w 9"/>
                  <a:gd name="T7" fmla="*/ 4 h 6"/>
                  <a:gd name="T8" fmla="*/ 9 w 9"/>
                  <a:gd name="T9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6">
                    <a:moveTo>
                      <a:pt x="2" y="0"/>
                    </a:moveTo>
                    <a:lnTo>
                      <a:pt x="0" y="2"/>
                    </a:lnTo>
                    <a:lnTo>
                      <a:pt x="5" y="6"/>
                    </a:lnTo>
                    <a:lnTo>
                      <a:pt x="9" y="4"/>
                    </a:lnTo>
                    <a:lnTo>
                      <a:pt x="9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932" name="Freeform 335"/>
              <p:cNvSpPr>
                <a:spLocks/>
              </p:cNvSpPr>
              <p:nvPr userDrawn="1"/>
            </p:nvSpPr>
            <p:spPr bwMode="auto">
              <a:xfrm>
                <a:off x="4480" y="3307"/>
                <a:ext cx="1" cy="5"/>
              </a:xfrm>
              <a:custGeom>
                <a:avLst/>
                <a:gdLst>
                  <a:gd name="T0" fmla="*/ 1 w 1"/>
                  <a:gd name="T1" fmla="*/ 5 h 5"/>
                  <a:gd name="T2" fmla="*/ 0 w 1"/>
                  <a:gd name="T3" fmla="*/ 0 h 5"/>
                  <a:gd name="T4" fmla="*/ 1 w 1"/>
                  <a:gd name="T5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5">
                    <a:moveTo>
                      <a:pt x="1" y="5"/>
                    </a:moveTo>
                    <a:lnTo>
                      <a:pt x="0" y="0"/>
                    </a:lnTo>
                    <a:lnTo>
                      <a:pt x="1" y="5"/>
                    </a:ln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933" name="Line 336"/>
              <p:cNvSpPr>
                <a:spLocks noChangeShapeType="1"/>
              </p:cNvSpPr>
              <p:nvPr userDrawn="1"/>
            </p:nvSpPr>
            <p:spPr bwMode="auto">
              <a:xfrm flipH="1" flipV="1">
                <a:off x="4480" y="3307"/>
                <a:ext cx="1" cy="5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934" name="Freeform 337"/>
              <p:cNvSpPr>
                <a:spLocks/>
              </p:cNvSpPr>
              <p:nvPr userDrawn="1"/>
            </p:nvSpPr>
            <p:spPr bwMode="auto">
              <a:xfrm>
                <a:off x="4473" y="3306"/>
                <a:ext cx="0" cy="5"/>
              </a:xfrm>
              <a:custGeom>
                <a:avLst/>
                <a:gdLst>
                  <a:gd name="T0" fmla="*/ 0 h 5"/>
                  <a:gd name="T1" fmla="*/ 5 h 5"/>
                  <a:gd name="T2" fmla="*/ 0 h 5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5">
                    <a:moveTo>
                      <a:pt x="0" y="0"/>
                    </a:moveTo>
                    <a:lnTo>
                      <a:pt x="0" y="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935" name="Line 338"/>
              <p:cNvSpPr>
                <a:spLocks noChangeShapeType="1"/>
              </p:cNvSpPr>
              <p:nvPr userDrawn="1"/>
            </p:nvSpPr>
            <p:spPr bwMode="auto">
              <a:xfrm>
                <a:off x="4473" y="3306"/>
                <a:ext cx="0" cy="5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936" name="Freeform 339"/>
              <p:cNvSpPr>
                <a:spLocks/>
              </p:cNvSpPr>
              <p:nvPr userDrawn="1"/>
            </p:nvSpPr>
            <p:spPr bwMode="auto">
              <a:xfrm>
                <a:off x="4476" y="3305"/>
                <a:ext cx="7" cy="12"/>
              </a:xfrm>
              <a:custGeom>
                <a:avLst/>
                <a:gdLst>
                  <a:gd name="T0" fmla="*/ 3 w 7"/>
                  <a:gd name="T1" fmla="*/ 12 h 12"/>
                  <a:gd name="T2" fmla="*/ 7 w 7"/>
                  <a:gd name="T3" fmla="*/ 8 h 12"/>
                  <a:gd name="T4" fmla="*/ 5 w 7"/>
                  <a:gd name="T5" fmla="*/ 7 h 12"/>
                  <a:gd name="T6" fmla="*/ 4 w 7"/>
                  <a:gd name="T7" fmla="*/ 2 h 12"/>
                  <a:gd name="T8" fmla="*/ 0 w 7"/>
                  <a:gd name="T9" fmla="*/ 0 h 12"/>
                  <a:gd name="T10" fmla="*/ 3 w 7"/>
                  <a:gd name="T11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" h="12">
                    <a:moveTo>
                      <a:pt x="3" y="12"/>
                    </a:moveTo>
                    <a:lnTo>
                      <a:pt x="7" y="8"/>
                    </a:lnTo>
                    <a:lnTo>
                      <a:pt x="5" y="7"/>
                    </a:lnTo>
                    <a:lnTo>
                      <a:pt x="4" y="2"/>
                    </a:lnTo>
                    <a:lnTo>
                      <a:pt x="0" y="0"/>
                    </a:lnTo>
                    <a:lnTo>
                      <a:pt x="3" y="12"/>
                    </a:ln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937" name="Freeform 340"/>
              <p:cNvSpPr>
                <a:spLocks/>
              </p:cNvSpPr>
              <p:nvPr userDrawn="1"/>
            </p:nvSpPr>
            <p:spPr bwMode="auto">
              <a:xfrm>
                <a:off x="4476" y="3305"/>
                <a:ext cx="7" cy="12"/>
              </a:xfrm>
              <a:custGeom>
                <a:avLst/>
                <a:gdLst>
                  <a:gd name="T0" fmla="*/ 3 w 7"/>
                  <a:gd name="T1" fmla="*/ 12 h 12"/>
                  <a:gd name="T2" fmla="*/ 7 w 7"/>
                  <a:gd name="T3" fmla="*/ 8 h 12"/>
                  <a:gd name="T4" fmla="*/ 5 w 7"/>
                  <a:gd name="T5" fmla="*/ 7 h 12"/>
                  <a:gd name="T6" fmla="*/ 4 w 7"/>
                  <a:gd name="T7" fmla="*/ 2 h 12"/>
                  <a:gd name="T8" fmla="*/ 0 w 7"/>
                  <a:gd name="T9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12">
                    <a:moveTo>
                      <a:pt x="3" y="12"/>
                    </a:moveTo>
                    <a:lnTo>
                      <a:pt x="7" y="8"/>
                    </a:lnTo>
                    <a:lnTo>
                      <a:pt x="5" y="7"/>
                    </a:lnTo>
                    <a:lnTo>
                      <a:pt x="4" y="2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938" name="Freeform 341"/>
              <p:cNvSpPr>
                <a:spLocks/>
              </p:cNvSpPr>
              <p:nvPr userDrawn="1"/>
            </p:nvSpPr>
            <p:spPr bwMode="auto">
              <a:xfrm>
                <a:off x="4480" y="3307"/>
                <a:ext cx="3" cy="6"/>
              </a:xfrm>
              <a:custGeom>
                <a:avLst/>
                <a:gdLst>
                  <a:gd name="T0" fmla="*/ 3 w 3"/>
                  <a:gd name="T1" fmla="*/ 6 h 6"/>
                  <a:gd name="T2" fmla="*/ 1 w 3"/>
                  <a:gd name="T3" fmla="*/ 5 h 6"/>
                  <a:gd name="T4" fmla="*/ 0 w 3"/>
                  <a:gd name="T5" fmla="*/ 0 h 6"/>
                  <a:gd name="T6" fmla="*/ 3 w 3"/>
                  <a:gd name="T7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6">
                    <a:moveTo>
                      <a:pt x="3" y="6"/>
                    </a:moveTo>
                    <a:lnTo>
                      <a:pt x="1" y="5"/>
                    </a:lnTo>
                    <a:lnTo>
                      <a:pt x="0" y="0"/>
                    </a:ln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939" name="Freeform 342"/>
              <p:cNvSpPr>
                <a:spLocks/>
              </p:cNvSpPr>
              <p:nvPr userDrawn="1"/>
            </p:nvSpPr>
            <p:spPr bwMode="auto">
              <a:xfrm>
                <a:off x="4480" y="3307"/>
                <a:ext cx="3" cy="6"/>
              </a:xfrm>
              <a:custGeom>
                <a:avLst/>
                <a:gdLst>
                  <a:gd name="T0" fmla="*/ 3 w 3"/>
                  <a:gd name="T1" fmla="*/ 6 h 6"/>
                  <a:gd name="T2" fmla="*/ 1 w 3"/>
                  <a:gd name="T3" fmla="*/ 5 h 6"/>
                  <a:gd name="T4" fmla="*/ 0 w 3"/>
                  <a:gd name="T5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" h="6">
                    <a:moveTo>
                      <a:pt x="3" y="6"/>
                    </a:moveTo>
                    <a:lnTo>
                      <a:pt x="1" y="5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940" name="Freeform 343"/>
              <p:cNvSpPr>
                <a:spLocks/>
              </p:cNvSpPr>
              <p:nvPr userDrawn="1"/>
            </p:nvSpPr>
            <p:spPr bwMode="auto">
              <a:xfrm>
                <a:off x="4479" y="3307"/>
                <a:ext cx="4" cy="10"/>
              </a:xfrm>
              <a:custGeom>
                <a:avLst/>
                <a:gdLst>
                  <a:gd name="T0" fmla="*/ 0 w 4"/>
                  <a:gd name="T1" fmla="*/ 10 h 10"/>
                  <a:gd name="T2" fmla="*/ 4 w 4"/>
                  <a:gd name="T3" fmla="*/ 6 h 10"/>
                  <a:gd name="T4" fmla="*/ 2 w 4"/>
                  <a:gd name="T5" fmla="*/ 5 h 10"/>
                  <a:gd name="T6" fmla="*/ 1 w 4"/>
                  <a:gd name="T7" fmla="*/ 0 h 10"/>
                  <a:gd name="T8" fmla="*/ 0 w 4"/>
                  <a:gd name="T9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10">
                    <a:moveTo>
                      <a:pt x="0" y="10"/>
                    </a:moveTo>
                    <a:lnTo>
                      <a:pt x="4" y="6"/>
                    </a:lnTo>
                    <a:lnTo>
                      <a:pt x="2" y="5"/>
                    </a:lnTo>
                    <a:lnTo>
                      <a:pt x="1" y="0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941" name="Freeform 344"/>
              <p:cNvSpPr>
                <a:spLocks/>
              </p:cNvSpPr>
              <p:nvPr userDrawn="1"/>
            </p:nvSpPr>
            <p:spPr bwMode="auto">
              <a:xfrm>
                <a:off x="4479" y="3307"/>
                <a:ext cx="4" cy="10"/>
              </a:xfrm>
              <a:custGeom>
                <a:avLst/>
                <a:gdLst>
                  <a:gd name="T0" fmla="*/ 0 w 4"/>
                  <a:gd name="T1" fmla="*/ 10 h 10"/>
                  <a:gd name="T2" fmla="*/ 4 w 4"/>
                  <a:gd name="T3" fmla="*/ 6 h 10"/>
                  <a:gd name="T4" fmla="*/ 2 w 4"/>
                  <a:gd name="T5" fmla="*/ 5 h 10"/>
                  <a:gd name="T6" fmla="*/ 1 w 4"/>
                  <a:gd name="T7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" h="10">
                    <a:moveTo>
                      <a:pt x="0" y="10"/>
                    </a:moveTo>
                    <a:lnTo>
                      <a:pt x="4" y="6"/>
                    </a:lnTo>
                    <a:lnTo>
                      <a:pt x="2" y="5"/>
                    </a:lnTo>
                    <a:lnTo>
                      <a:pt x="1" y="0"/>
                    </a:ln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942" name="Freeform 345"/>
              <p:cNvSpPr>
                <a:spLocks/>
              </p:cNvSpPr>
              <p:nvPr userDrawn="1"/>
            </p:nvSpPr>
            <p:spPr bwMode="auto">
              <a:xfrm>
                <a:off x="4480" y="3307"/>
                <a:ext cx="3" cy="6"/>
              </a:xfrm>
              <a:custGeom>
                <a:avLst/>
                <a:gdLst>
                  <a:gd name="T0" fmla="*/ 3 w 3"/>
                  <a:gd name="T1" fmla="*/ 6 h 6"/>
                  <a:gd name="T2" fmla="*/ 1 w 3"/>
                  <a:gd name="T3" fmla="*/ 5 h 6"/>
                  <a:gd name="T4" fmla="*/ 0 w 3"/>
                  <a:gd name="T5" fmla="*/ 0 h 6"/>
                  <a:gd name="T6" fmla="*/ 3 w 3"/>
                  <a:gd name="T7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6">
                    <a:moveTo>
                      <a:pt x="3" y="6"/>
                    </a:moveTo>
                    <a:lnTo>
                      <a:pt x="1" y="5"/>
                    </a:lnTo>
                    <a:lnTo>
                      <a:pt x="0" y="0"/>
                    </a:ln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943" name="Freeform 346"/>
              <p:cNvSpPr>
                <a:spLocks/>
              </p:cNvSpPr>
              <p:nvPr userDrawn="1"/>
            </p:nvSpPr>
            <p:spPr bwMode="auto">
              <a:xfrm>
                <a:off x="4480" y="3307"/>
                <a:ext cx="3" cy="6"/>
              </a:xfrm>
              <a:custGeom>
                <a:avLst/>
                <a:gdLst>
                  <a:gd name="T0" fmla="*/ 3 w 3"/>
                  <a:gd name="T1" fmla="*/ 6 h 6"/>
                  <a:gd name="T2" fmla="*/ 1 w 3"/>
                  <a:gd name="T3" fmla="*/ 5 h 6"/>
                  <a:gd name="T4" fmla="*/ 0 w 3"/>
                  <a:gd name="T5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" h="6">
                    <a:moveTo>
                      <a:pt x="3" y="6"/>
                    </a:moveTo>
                    <a:lnTo>
                      <a:pt x="1" y="5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944" name="Freeform 347"/>
              <p:cNvSpPr>
                <a:spLocks/>
              </p:cNvSpPr>
              <p:nvPr userDrawn="1"/>
            </p:nvSpPr>
            <p:spPr bwMode="auto">
              <a:xfrm>
                <a:off x="4480" y="3307"/>
                <a:ext cx="1" cy="5"/>
              </a:xfrm>
              <a:custGeom>
                <a:avLst/>
                <a:gdLst>
                  <a:gd name="T0" fmla="*/ 1 w 1"/>
                  <a:gd name="T1" fmla="*/ 5 h 5"/>
                  <a:gd name="T2" fmla="*/ 0 w 1"/>
                  <a:gd name="T3" fmla="*/ 0 h 5"/>
                  <a:gd name="T4" fmla="*/ 1 w 1"/>
                  <a:gd name="T5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5">
                    <a:moveTo>
                      <a:pt x="1" y="5"/>
                    </a:moveTo>
                    <a:lnTo>
                      <a:pt x="0" y="0"/>
                    </a:lnTo>
                    <a:lnTo>
                      <a:pt x="1" y="5"/>
                    </a:ln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945" name="Line 348"/>
              <p:cNvSpPr>
                <a:spLocks noChangeShapeType="1"/>
              </p:cNvSpPr>
              <p:nvPr userDrawn="1"/>
            </p:nvSpPr>
            <p:spPr bwMode="auto">
              <a:xfrm flipH="1" flipV="1">
                <a:off x="4480" y="3307"/>
                <a:ext cx="1" cy="5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946" name="Freeform 349"/>
              <p:cNvSpPr>
                <a:spLocks/>
              </p:cNvSpPr>
              <p:nvPr userDrawn="1"/>
            </p:nvSpPr>
            <p:spPr bwMode="auto">
              <a:xfrm>
                <a:off x="4473" y="3305"/>
                <a:ext cx="8" cy="12"/>
              </a:xfrm>
              <a:custGeom>
                <a:avLst/>
                <a:gdLst>
                  <a:gd name="T0" fmla="*/ 8 w 8"/>
                  <a:gd name="T1" fmla="*/ 7 h 12"/>
                  <a:gd name="T2" fmla="*/ 7 w 8"/>
                  <a:gd name="T3" fmla="*/ 2 h 12"/>
                  <a:gd name="T4" fmla="*/ 3 w 8"/>
                  <a:gd name="T5" fmla="*/ 0 h 12"/>
                  <a:gd name="T6" fmla="*/ 0 w 8"/>
                  <a:gd name="T7" fmla="*/ 1 h 12"/>
                  <a:gd name="T8" fmla="*/ 0 w 8"/>
                  <a:gd name="T9" fmla="*/ 1 h 12"/>
                  <a:gd name="T10" fmla="*/ 0 w 8"/>
                  <a:gd name="T11" fmla="*/ 6 h 12"/>
                  <a:gd name="T12" fmla="*/ 4 w 8"/>
                  <a:gd name="T13" fmla="*/ 11 h 12"/>
                  <a:gd name="T14" fmla="*/ 6 w 8"/>
                  <a:gd name="T15" fmla="*/ 12 h 12"/>
                  <a:gd name="T16" fmla="*/ 8 w 8"/>
                  <a:gd name="T17" fmla="*/ 7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" h="12">
                    <a:moveTo>
                      <a:pt x="8" y="7"/>
                    </a:moveTo>
                    <a:lnTo>
                      <a:pt x="7" y="2"/>
                    </a:lnTo>
                    <a:lnTo>
                      <a:pt x="3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6"/>
                    </a:lnTo>
                    <a:lnTo>
                      <a:pt x="4" y="11"/>
                    </a:lnTo>
                    <a:lnTo>
                      <a:pt x="6" y="12"/>
                    </a:lnTo>
                    <a:lnTo>
                      <a:pt x="8" y="7"/>
                    </a:ln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947" name="Freeform 350"/>
              <p:cNvSpPr>
                <a:spLocks/>
              </p:cNvSpPr>
              <p:nvPr userDrawn="1"/>
            </p:nvSpPr>
            <p:spPr bwMode="auto">
              <a:xfrm>
                <a:off x="4473" y="3305"/>
                <a:ext cx="8" cy="12"/>
              </a:xfrm>
              <a:custGeom>
                <a:avLst/>
                <a:gdLst>
                  <a:gd name="T0" fmla="*/ 8 w 8"/>
                  <a:gd name="T1" fmla="*/ 7 h 12"/>
                  <a:gd name="T2" fmla="*/ 7 w 8"/>
                  <a:gd name="T3" fmla="*/ 2 h 12"/>
                  <a:gd name="T4" fmla="*/ 3 w 8"/>
                  <a:gd name="T5" fmla="*/ 0 h 12"/>
                  <a:gd name="T6" fmla="*/ 0 w 8"/>
                  <a:gd name="T7" fmla="*/ 1 h 12"/>
                  <a:gd name="T8" fmla="*/ 0 w 8"/>
                  <a:gd name="T9" fmla="*/ 1 h 12"/>
                  <a:gd name="T10" fmla="*/ 0 w 8"/>
                  <a:gd name="T11" fmla="*/ 6 h 12"/>
                  <a:gd name="T12" fmla="*/ 4 w 8"/>
                  <a:gd name="T13" fmla="*/ 11 h 12"/>
                  <a:gd name="T14" fmla="*/ 6 w 8"/>
                  <a:gd name="T15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" h="12">
                    <a:moveTo>
                      <a:pt x="8" y="7"/>
                    </a:moveTo>
                    <a:lnTo>
                      <a:pt x="7" y="2"/>
                    </a:lnTo>
                    <a:lnTo>
                      <a:pt x="3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6"/>
                    </a:lnTo>
                    <a:lnTo>
                      <a:pt x="4" y="11"/>
                    </a:lnTo>
                    <a:lnTo>
                      <a:pt x="6" y="12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948" name="Freeform 351"/>
              <p:cNvSpPr>
                <a:spLocks/>
              </p:cNvSpPr>
              <p:nvPr userDrawn="1"/>
            </p:nvSpPr>
            <p:spPr bwMode="auto">
              <a:xfrm>
                <a:off x="4292" y="3155"/>
                <a:ext cx="4" cy="9"/>
              </a:xfrm>
              <a:custGeom>
                <a:avLst/>
                <a:gdLst>
                  <a:gd name="T0" fmla="*/ 2 w 4"/>
                  <a:gd name="T1" fmla="*/ 0 h 9"/>
                  <a:gd name="T2" fmla="*/ 4 w 4"/>
                  <a:gd name="T3" fmla="*/ 3 h 9"/>
                  <a:gd name="T4" fmla="*/ 0 w 4"/>
                  <a:gd name="T5" fmla="*/ 9 h 9"/>
                  <a:gd name="T6" fmla="*/ 2 w 4"/>
                  <a:gd name="T7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" h="9">
                    <a:moveTo>
                      <a:pt x="2" y="0"/>
                    </a:moveTo>
                    <a:lnTo>
                      <a:pt x="4" y="3"/>
                    </a:lnTo>
                    <a:lnTo>
                      <a:pt x="0" y="9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2F1E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949" name="Freeform 352"/>
              <p:cNvSpPr>
                <a:spLocks/>
              </p:cNvSpPr>
              <p:nvPr userDrawn="1"/>
            </p:nvSpPr>
            <p:spPr bwMode="auto">
              <a:xfrm>
                <a:off x="4292" y="3155"/>
                <a:ext cx="4" cy="9"/>
              </a:xfrm>
              <a:custGeom>
                <a:avLst/>
                <a:gdLst>
                  <a:gd name="T0" fmla="*/ 2 w 4"/>
                  <a:gd name="T1" fmla="*/ 0 h 9"/>
                  <a:gd name="T2" fmla="*/ 4 w 4"/>
                  <a:gd name="T3" fmla="*/ 3 h 9"/>
                  <a:gd name="T4" fmla="*/ 0 w 4"/>
                  <a:gd name="T5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9">
                    <a:moveTo>
                      <a:pt x="2" y="0"/>
                    </a:moveTo>
                    <a:lnTo>
                      <a:pt x="4" y="3"/>
                    </a:lnTo>
                    <a:lnTo>
                      <a:pt x="0" y="9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950" name="Freeform 353"/>
              <p:cNvSpPr>
                <a:spLocks/>
              </p:cNvSpPr>
              <p:nvPr userDrawn="1"/>
            </p:nvSpPr>
            <p:spPr bwMode="auto">
              <a:xfrm>
                <a:off x="4282" y="3146"/>
                <a:ext cx="2" cy="4"/>
              </a:xfrm>
              <a:custGeom>
                <a:avLst/>
                <a:gdLst>
                  <a:gd name="T0" fmla="*/ 0 w 2"/>
                  <a:gd name="T1" fmla="*/ 4 h 4"/>
                  <a:gd name="T2" fmla="*/ 2 w 2"/>
                  <a:gd name="T3" fmla="*/ 4 h 4"/>
                  <a:gd name="T4" fmla="*/ 0 w 2"/>
                  <a:gd name="T5" fmla="*/ 0 h 4"/>
                  <a:gd name="T6" fmla="*/ 0 w 2"/>
                  <a:gd name="T7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2" y="4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951" name="Freeform 354"/>
              <p:cNvSpPr>
                <a:spLocks/>
              </p:cNvSpPr>
              <p:nvPr userDrawn="1"/>
            </p:nvSpPr>
            <p:spPr bwMode="auto">
              <a:xfrm>
                <a:off x="4282" y="3146"/>
                <a:ext cx="2" cy="4"/>
              </a:xfrm>
              <a:custGeom>
                <a:avLst/>
                <a:gdLst>
                  <a:gd name="T0" fmla="*/ 0 w 2"/>
                  <a:gd name="T1" fmla="*/ 4 h 4"/>
                  <a:gd name="T2" fmla="*/ 2 w 2"/>
                  <a:gd name="T3" fmla="*/ 4 h 4"/>
                  <a:gd name="T4" fmla="*/ 0 w 2"/>
                  <a:gd name="T5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2" y="4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952" name="Freeform 355"/>
              <p:cNvSpPr>
                <a:spLocks/>
              </p:cNvSpPr>
              <p:nvPr userDrawn="1"/>
            </p:nvSpPr>
            <p:spPr bwMode="auto">
              <a:xfrm>
                <a:off x="4318" y="3096"/>
                <a:ext cx="4" cy="2"/>
              </a:xfrm>
              <a:custGeom>
                <a:avLst/>
                <a:gdLst>
                  <a:gd name="T0" fmla="*/ 4 w 4"/>
                  <a:gd name="T1" fmla="*/ 0 h 2"/>
                  <a:gd name="T2" fmla="*/ 3 w 4"/>
                  <a:gd name="T3" fmla="*/ 1 h 2"/>
                  <a:gd name="T4" fmla="*/ 0 w 4"/>
                  <a:gd name="T5" fmla="*/ 2 h 2"/>
                  <a:gd name="T6" fmla="*/ 4 w 4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3" y="1"/>
                    </a:lnTo>
                    <a:lnTo>
                      <a:pt x="0" y="2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953" name="Freeform 356"/>
              <p:cNvSpPr>
                <a:spLocks/>
              </p:cNvSpPr>
              <p:nvPr userDrawn="1"/>
            </p:nvSpPr>
            <p:spPr bwMode="auto">
              <a:xfrm>
                <a:off x="4318" y="3096"/>
                <a:ext cx="4" cy="2"/>
              </a:xfrm>
              <a:custGeom>
                <a:avLst/>
                <a:gdLst>
                  <a:gd name="T0" fmla="*/ 4 w 4"/>
                  <a:gd name="T1" fmla="*/ 0 h 2"/>
                  <a:gd name="T2" fmla="*/ 3 w 4"/>
                  <a:gd name="T3" fmla="*/ 1 h 2"/>
                  <a:gd name="T4" fmla="*/ 0 w 4"/>
                  <a:gd name="T5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3" y="1"/>
                    </a:lnTo>
                    <a:lnTo>
                      <a:pt x="0" y="2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954" name="Freeform 357"/>
              <p:cNvSpPr>
                <a:spLocks/>
              </p:cNvSpPr>
              <p:nvPr userDrawn="1"/>
            </p:nvSpPr>
            <p:spPr bwMode="auto">
              <a:xfrm>
                <a:off x="4292" y="3155"/>
                <a:ext cx="4" cy="9"/>
              </a:xfrm>
              <a:custGeom>
                <a:avLst/>
                <a:gdLst>
                  <a:gd name="T0" fmla="*/ 2 w 4"/>
                  <a:gd name="T1" fmla="*/ 0 h 9"/>
                  <a:gd name="T2" fmla="*/ 4 w 4"/>
                  <a:gd name="T3" fmla="*/ 3 h 9"/>
                  <a:gd name="T4" fmla="*/ 0 w 4"/>
                  <a:gd name="T5" fmla="*/ 9 h 9"/>
                  <a:gd name="T6" fmla="*/ 2 w 4"/>
                  <a:gd name="T7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" h="9">
                    <a:moveTo>
                      <a:pt x="2" y="0"/>
                    </a:moveTo>
                    <a:lnTo>
                      <a:pt x="4" y="3"/>
                    </a:lnTo>
                    <a:lnTo>
                      <a:pt x="0" y="9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2F1E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955" name="Freeform 358"/>
              <p:cNvSpPr>
                <a:spLocks/>
              </p:cNvSpPr>
              <p:nvPr userDrawn="1"/>
            </p:nvSpPr>
            <p:spPr bwMode="auto">
              <a:xfrm>
                <a:off x="4292" y="3155"/>
                <a:ext cx="4" cy="9"/>
              </a:xfrm>
              <a:custGeom>
                <a:avLst/>
                <a:gdLst>
                  <a:gd name="T0" fmla="*/ 2 w 4"/>
                  <a:gd name="T1" fmla="*/ 0 h 9"/>
                  <a:gd name="T2" fmla="*/ 4 w 4"/>
                  <a:gd name="T3" fmla="*/ 3 h 9"/>
                  <a:gd name="T4" fmla="*/ 0 w 4"/>
                  <a:gd name="T5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9">
                    <a:moveTo>
                      <a:pt x="2" y="0"/>
                    </a:moveTo>
                    <a:lnTo>
                      <a:pt x="4" y="3"/>
                    </a:lnTo>
                    <a:lnTo>
                      <a:pt x="0" y="9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956" name="Freeform 359"/>
              <p:cNvSpPr>
                <a:spLocks/>
              </p:cNvSpPr>
              <p:nvPr userDrawn="1"/>
            </p:nvSpPr>
            <p:spPr bwMode="auto">
              <a:xfrm>
                <a:off x="4277" y="3146"/>
                <a:ext cx="7" cy="4"/>
              </a:xfrm>
              <a:custGeom>
                <a:avLst/>
                <a:gdLst>
                  <a:gd name="T0" fmla="*/ 5 w 7"/>
                  <a:gd name="T1" fmla="*/ 4 h 4"/>
                  <a:gd name="T2" fmla="*/ 7 w 7"/>
                  <a:gd name="T3" fmla="*/ 4 h 4"/>
                  <a:gd name="T4" fmla="*/ 5 w 7"/>
                  <a:gd name="T5" fmla="*/ 0 h 4"/>
                  <a:gd name="T6" fmla="*/ 3 w 7"/>
                  <a:gd name="T7" fmla="*/ 1 h 4"/>
                  <a:gd name="T8" fmla="*/ 0 w 7"/>
                  <a:gd name="T9" fmla="*/ 2 h 4"/>
                  <a:gd name="T10" fmla="*/ 3 w 7"/>
                  <a:gd name="T11" fmla="*/ 3 h 4"/>
                  <a:gd name="T12" fmla="*/ 5 w 7"/>
                  <a:gd name="T13" fmla="*/ 4 h 4"/>
                  <a:gd name="T14" fmla="*/ 5 w 7"/>
                  <a:gd name="T15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" h="4">
                    <a:moveTo>
                      <a:pt x="5" y="4"/>
                    </a:moveTo>
                    <a:lnTo>
                      <a:pt x="7" y="4"/>
                    </a:lnTo>
                    <a:lnTo>
                      <a:pt x="5" y="0"/>
                    </a:lnTo>
                    <a:lnTo>
                      <a:pt x="3" y="1"/>
                    </a:lnTo>
                    <a:lnTo>
                      <a:pt x="0" y="2"/>
                    </a:lnTo>
                    <a:lnTo>
                      <a:pt x="3" y="3"/>
                    </a:lnTo>
                    <a:lnTo>
                      <a:pt x="5" y="4"/>
                    </a:lnTo>
                    <a:lnTo>
                      <a:pt x="5" y="4"/>
                    </a:ln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957" name="Freeform 360"/>
              <p:cNvSpPr>
                <a:spLocks/>
              </p:cNvSpPr>
              <p:nvPr userDrawn="1"/>
            </p:nvSpPr>
            <p:spPr bwMode="auto">
              <a:xfrm>
                <a:off x="4320" y="3102"/>
                <a:ext cx="2" cy="2"/>
              </a:xfrm>
              <a:custGeom>
                <a:avLst/>
                <a:gdLst>
                  <a:gd name="T0" fmla="*/ 0 w 2"/>
                  <a:gd name="T1" fmla="*/ 0 h 2"/>
                  <a:gd name="T2" fmla="*/ 2 w 2"/>
                  <a:gd name="T3" fmla="*/ 0 h 2"/>
                  <a:gd name="T4" fmla="*/ 1 w 2"/>
                  <a:gd name="T5" fmla="*/ 2 h 2"/>
                  <a:gd name="T6" fmla="*/ 0 w 2"/>
                  <a:gd name="T7" fmla="*/ 0 h 2"/>
                  <a:gd name="T8" fmla="*/ 0 w 2"/>
                  <a:gd name="T9" fmla="*/ 0 h 2"/>
                  <a:gd name="T10" fmla="*/ 0 w 2"/>
                  <a:gd name="T11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2" y="0"/>
                    </a:lnTo>
                    <a:lnTo>
                      <a:pt x="1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958" name="Freeform 361"/>
              <p:cNvSpPr>
                <a:spLocks/>
              </p:cNvSpPr>
              <p:nvPr userDrawn="1"/>
            </p:nvSpPr>
            <p:spPr bwMode="auto">
              <a:xfrm>
                <a:off x="4316" y="3094"/>
                <a:ext cx="6" cy="4"/>
              </a:xfrm>
              <a:custGeom>
                <a:avLst/>
                <a:gdLst>
                  <a:gd name="T0" fmla="*/ 0 w 6"/>
                  <a:gd name="T1" fmla="*/ 3 h 4"/>
                  <a:gd name="T2" fmla="*/ 2 w 6"/>
                  <a:gd name="T3" fmla="*/ 0 h 4"/>
                  <a:gd name="T4" fmla="*/ 4 w 6"/>
                  <a:gd name="T5" fmla="*/ 1 h 4"/>
                  <a:gd name="T6" fmla="*/ 6 w 6"/>
                  <a:gd name="T7" fmla="*/ 2 h 4"/>
                  <a:gd name="T8" fmla="*/ 5 w 6"/>
                  <a:gd name="T9" fmla="*/ 3 h 4"/>
                  <a:gd name="T10" fmla="*/ 2 w 6"/>
                  <a:gd name="T11" fmla="*/ 4 h 4"/>
                  <a:gd name="T12" fmla="*/ 0 w 6"/>
                  <a:gd name="T13" fmla="*/ 3 h 4"/>
                  <a:gd name="T14" fmla="*/ 0 w 6"/>
                  <a:gd name="T15" fmla="*/ 3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" h="4">
                    <a:moveTo>
                      <a:pt x="0" y="3"/>
                    </a:moveTo>
                    <a:lnTo>
                      <a:pt x="2" y="0"/>
                    </a:lnTo>
                    <a:lnTo>
                      <a:pt x="4" y="1"/>
                    </a:lnTo>
                    <a:lnTo>
                      <a:pt x="6" y="2"/>
                    </a:lnTo>
                    <a:lnTo>
                      <a:pt x="5" y="3"/>
                    </a:lnTo>
                    <a:lnTo>
                      <a:pt x="2" y="4"/>
                    </a:lnTo>
                    <a:lnTo>
                      <a:pt x="0" y="3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959" name="Freeform 362"/>
              <p:cNvSpPr>
                <a:spLocks/>
              </p:cNvSpPr>
              <p:nvPr userDrawn="1"/>
            </p:nvSpPr>
            <p:spPr bwMode="auto">
              <a:xfrm>
                <a:off x="4291" y="3155"/>
                <a:ext cx="5" cy="9"/>
              </a:xfrm>
              <a:custGeom>
                <a:avLst/>
                <a:gdLst>
                  <a:gd name="T0" fmla="*/ 0 w 5"/>
                  <a:gd name="T1" fmla="*/ 7 h 9"/>
                  <a:gd name="T2" fmla="*/ 1 w 5"/>
                  <a:gd name="T3" fmla="*/ 4 h 9"/>
                  <a:gd name="T4" fmla="*/ 0 w 5"/>
                  <a:gd name="T5" fmla="*/ 1 h 9"/>
                  <a:gd name="T6" fmla="*/ 3 w 5"/>
                  <a:gd name="T7" fmla="*/ 0 h 9"/>
                  <a:gd name="T8" fmla="*/ 5 w 5"/>
                  <a:gd name="T9" fmla="*/ 3 h 9"/>
                  <a:gd name="T10" fmla="*/ 1 w 5"/>
                  <a:gd name="T11" fmla="*/ 9 h 9"/>
                  <a:gd name="T12" fmla="*/ 0 w 5"/>
                  <a:gd name="T13" fmla="*/ 7 h 9"/>
                  <a:gd name="T14" fmla="*/ 0 w 5"/>
                  <a:gd name="T15" fmla="*/ 7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" h="9">
                    <a:moveTo>
                      <a:pt x="0" y="7"/>
                    </a:moveTo>
                    <a:lnTo>
                      <a:pt x="1" y="4"/>
                    </a:lnTo>
                    <a:lnTo>
                      <a:pt x="0" y="1"/>
                    </a:lnTo>
                    <a:lnTo>
                      <a:pt x="3" y="0"/>
                    </a:lnTo>
                    <a:lnTo>
                      <a:pt x="5" y="3"/>
                    </a:lnTo>
                    <a:lnTo>
                      <a:pt x="1" y="9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F2F1E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960" name="Freeform 363"/>
              <p:cNvSpPr>
                <a:spLocks/>
              </p:cNvSpPr>
              <p:nvPr userDrawn="1"/>
            </p:nvSpPr>
            <p:spPr bwMode="auto">
              <a:xfrm>
                <a:off x="4277" y="3146"/>
                <a:ext cx="7" cy="4"/>
              </a:xfrm>
              <a:custGeom>
                <a:avLst/>
                <a:gdLst>
                  <a:gd name="T0" fmla="*/ 5 w 7"/>
                  <a:gd name="T1" fmla="*/ 4 h 4"/>
                  <a:gd name="T2" fmla="*/ 7 w 7"/>
                  <a:gd name="T3" fmla="*/ 4 h 4"/>
                  <a:gd name="T4" fmla="*/ 5 w 7"/>
                  <a:gd name="T5" fmla="*/ 0 h 4"/>
                  <a:gd name="T6" fmla="*/ 3 w 7"/>
                  <a:gd name="T7" fmla="*/ 1 h 4"/>
                  <a:gd name="T8" fmla="*/ 0 w 7"/>
                  <a:gd name="T9" fmla="*/ 2 h 4"/>
                  <a:gd name="T10" fmla="*/ 3 w 7"/>
                  <a:gd name="T11" fmla="*/ 3 h 4"/>
                  <a:gd name="T12" fmla="*/ 5 w 7"/>
                  <a:gd name="T13" fmla="*/ 4 h 4"/>
                  <a:gd name="T14" fmla="*/ 5 w 7"/>
                  <a:gd name="T15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" h="4">
                    <a:moveTo>
                      <a:pt x="5" y="4"/>
                    </a:moveTo>
                    <a:lnTo>
                      <a:pt x="7" y="4"/>
                    </a:lnTo>
                    <a:lnTo>
                      <a:pt x="5" y="0"/>
                    </a:lnTo>
                    <a:lnTo>
                      <a:pt x="3" y="1"/>
                    </a:lnTo>
                    <a:lnTo>
                      <a:pt x="0" y="2"/>
                    </a:lnTo>
                    <a:lnTo>
                      <a:pt x="3" y="3"/>
                    </a:lnTo>
                    <a:lnTo>
                      <a:pt x="5" y="4"/>
                    </a:lnTo>
                    <a:lnTo>
                      <a:pt x="5" y="4"/>
                    </a:ln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961" name="Freeform 364"/>
              <p:cNvSpPr>
                <a:spLocks/>
              </p:cNvSpPr>
              <p:nvPr userDrawn="1"/>
            </p:nvSpPr>
            <p:spPr bwMode="auto">
              <a:xfrm>
                <a:off x="4320" y="3102"/>
                <a:ext cx="2" cy="2"/>
              </a:xfrm>
              <a:custGeom>
                <a:avLst/>
                <a:gdLst>
                  <a:gd name="T0" fmla="*/ 0 w 2"/>
                  <a:gd name="T1" fmla="*/ 0 h 2"/>
                  <a:gd name="T2" fmla="*/ 2 w 2"/>
                  <a:gd name="T3" fmla="*/ 0 h 2"/>
                  <a:gd name="T4" fmla="*/ 1 w 2"/>
                  <a:gd name="T5" fmla="*/ 2 h 2"/>
                  <a:gd name="T6" fmla="*/ 0 w 2"/>
                  <a:gd name="T7" fmla="*/ 0 h 2"/>
                  <a:gd name="T8" fmla="*/ 0 w 2"/>
                  <a:gd name="T9" fmla="*/ 0 h 2"/>
                  <a:gd name="T10" fmla="*/ 0 w 2"/>
                  <a:gd name="T11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2" y="0"/>
                    </a:lnTo>
                    <a:lnTo>
                      <a:pt x="1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962" name="Freeform 365"/>
              <p:cNvSpPr>
                <a:spLocks/>
              </p:cNvSpPr>
              <p:nvPr userDrawn="1"/>
            </p:nvSpPr>
            <p:spPr bwMode="auto">
              <a:xfrm>
                <a:off x="4316" y="3094"/>
                <a:ext cx="6" cy="4"/>
              </a:xfrm>
              <a:custGeom>
                <a:avLst/>
                <a:gdLst>
                  <a:gd name="T0" fmla="*/ 0 w 6"/>
                  <a:gd name="T1" fmla="*/ 3 h 4"/>
                  <a:gd name="T2" fmla="*/ 2 w 6"/>
                  <a:gd name="T3" fmla="*/ 0 h 4"/>
                  <a:gd name="T4" fmla="*/ 4 w 6"/>
                  <a:gd name="T5" fmla="*/ 1 h 4"/>
                  <a:gd name="T6" fmla="*/ 6 w 6"/>
                  <a:gd name="T7" fmla="*/ 2 h 4"/>
                  <a:gd name="T8" fmla="*/ 5 w 6"/>
                  <a:gd name="T9" fmla="*/ 3 h 4"/>
                  <a:gd name="T10" fmla="*/ 2 w 6"/>
                  <a:gd name="T11" fmla="*/ 4 h 4"/>
                  <a:gd name="T12" fmla="*/ 0 w 6"/>
                  <a:gd name="T13" fmla="*/ 3 h 4"/>
                  <a:gd name="T14" fmla="*/ 0 w 6"/>
                  <a:gd name="T15" fmla="*/ 3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" h="4">
                    <a:moveTo>
                      <a:pt x="0" y="3"/>
                    </a:moveTo>
                    <a:lnTo>
                      <a:pt x="2" y="0"/>
                    </a:lnTo>
                    <a:lnTo>
                      <a:pt x="4" y="1"/>
                    </a:lnTo>
                    <a:lnTo>
                      <a:pt x="6" y="2"/>
                    </a:lnTo>
                    <a:lnTo>
                      <a:pt x="5" y="3"/>
                    </a:lnTo>
                    <a:lnTo>
                      <a:pt x="2" y="4"/>
                    </a:lnTo>
                    <a:lnTo>
                      <a:pt x="0" y="3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963" name="Rectangle 366"/>
              <p:cNvSpPr>
                <a:spLocks noChangeArrowheads="1"/>
              </p:cNvSpPr>
              <p:nvPr userDrawn="1"/>
            </p:nvSpPr>
            <p:spPr bwMode="auto">
              <a:xfrm>
                <a:off x="2440" y="2792"/>
                <a:ext cx="44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S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964" name="Rectangle 367"/>
              <p:cNvSpPr>
                <a:spLocks noChangeArrowheads="1"/>
              </p:cNvSpPr>
              <p:nvPr userDrawn="1"/>
            </p:nvSpPr>
            <p:spPr bwMode="auto">
              <a:xfrm>
                <a:off x="2460" y="2792"/>
                <a:ext cx="44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u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965" name="Rectangle 368"/>
              <p:cNvSpPr>
                <a:spLocks noChangeArrowheads="1"/>
              </p:cNvSpPr>
              <p:nvPr userDrawn="1"/>
            </p:nvSpPr>
            <p:spPr bwMode="auto">
              <a:xfrm>
                <a:off x="2480" y="2792"/>
                <a:ext cx="35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r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966" name="Rectangle 369"/>
              <p:cNvSpPr>
                <a:spLocks noChangeArrowheads="1"/>
              </p:cNvSpPr>
              <p:nvPr userDrawn="1"/>
            </p:nvSpPr>
            <p:spPr bwMode="auto">
              <a:xfrm>
                <a:off x="2493" y="2792"/>
                <a:ext cx="29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i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967" name="Rectangle 370"/>
              <p:cNvSpPr>
                <a:spLocks noChangeArrowheads="1"/>
              </p:cNvSpPr>
              <p:nvPr userDrawn="1"/>
            </p:nvSpPr>
            <p:spPr bwMode="auto">
              <a:xfrm>
                <a:off x="2500" y="2792"/>
                <a:ext cx="44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n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968" name="Rectangle 371"/>
              <p:cNvSpPr>
                <a:spLocks noChangeArrowheads="1"/>
              </p:cNvSpPr>
              <p:nvPr userDrawn="1"/>
            </p:nvSpPr>
            <p:spPr bwMode="auto">
              <a:xfrm>
                <a:off x="2520" y="2792"/>
                <a:ext cx="42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a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969" name="Rectangle 372"/>
              <p:cNvSpPr>
                <a:spLocks noChangeArrowheads="1"/>
              </p:cNvSpPr>
              <p:nvPr userDrawn="1"/>
            </p:nvSpPr>
            <p:spPr bwMode="auto">
              <a:xfrm>
                <a:off x="2539" y="2792"/>
                <a:ext cx="54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m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970" name="Freeform 373"/>
              <p:cNvSpPr>
                <a:spLocks/>
              </p:cNvSpPr>
              <p:nvPr userDrawn="1"/>
            </p:nvSpPr>
            <p:spPr bwMode="auto">
              <a:xfrm>
                <a:off x="4248" y="1779"/>
                <a:ext cx="699" cy="354"/>
              </a:xfrm>
              <a:custGeom>
                <a:avLst/>
                <a:gdLst>
                  <a:gd name="T0" fmla="*/ 17 w 699"/>
                  <a:gd name="T1" fmla="*/ 206 h 354"/>
                  <a:gd name="T2" fmla="*/ 0 w 699"/>
                  <a:gd name="T3" fmla="*/ 165 h 354"/>
                  <a:gd name="T4" fmla="*/ 34 w 699"/>
                  <a:gd name="T5" fmla="*/ 159 h 354"/>
                  <a:gd name="T6" fmla="*/ 50 w 699"/>
                  <a:gd name="T7" fmla="*/ 127 h 354"/>
                  <a:gd name="T8" fmla="*/ 68 w 699"/>
                  <a:gd name="T9" fmla="*/ 120 h 354"/>
                  <a:gd name="T10" fmla="*/ 81 w 699"/>
                  <a:gd name="T11" fmla="*/ 116 h 354"/>
                  <a:gd name="T12" fmla="*/ 111 w 699"/>
                  <a:gd name="T13" fmla="*/ 127 h 354"/>
                  <a:gd name="T14" fmla="*/ 132 w 699"/>
                  <a:gd name="T15" fmla="*/ 134 h 354"/>
                  <a:gd name="T16" fmla="*/ 159 w 699"/>
                  <a:gd name="T17" fmla="*/ 127 h 354"/>
                  <a:gd name="T18" fmla="*/ 184 w 699"/>
                  <a:gd name="T19" fmla="*/ 126 h 354"/>
                  <a:gd name="T20" fmla="*/ 201 w 699"/>
                  <a:gd name="T21" fmla="*/ 136 h 354"/>
                  <a:gd name="T22" fmla="*/ 234 w 699"/>
                  <a:gd name="T23" fmla="*/ 135 h 354"/>
                  <a:gd name="T24" fmla="*/ 224 w 699"/>
                  <a:gd name="T25" fmla="*/ 106 h 354"/>
                  <a:gd name="T26" fmla="*/ 222 w 699"/>
                  <a:gd name="T27" fmla="*/ 88 h 354"/>
                  <a:gd name="T28" fmla="*/ 236 w 699"/>
                  <a:gd name="T29" fmla="*/ 67 h 354"/>
                  <a:gd name="T30" fmla="*/ 223 w 699"/>
                  <a:gd name="T31" fmla="*/ 59 h 354"/>
                  <a:gd name="T32" fmla="*/ 234 w 699"/>
                  <a:gd name="T33" fmla="*/ 51 h 354"/>
                  <a:gd name="T34" fmla="*/ 256 w 699"/>
                  <a:gd name="T35" fmla="*/ 44 h 354"/>
                  <a:gd name="T36" fmla="*/ 289 w 699"/>
                  <a:gd name="T37" fmla="*/ 35 h 354"/>
                  <a:gd name="T38" fmla="*/ 307 w 699"/>
                  <a:gd name="T39" fmla="*/ 24 h 354"/>
                  <a:gd name="T40" fmla="*/ 337 w 699"/>
                  <a:gd name="T41" fmla="*/ 9 h 354"/>
                  <a:gd name="T42" fmla="*/ 361 w 699"/>
                  <a:gd name="T43" fmla="*/ 2 h 354"/>
                  <a:gd name="T44" fmla="*/ 386 w 699"/>
                  <a:gd name="T45" fmla="*/ 16 h 354"/>
                  <a:gd name="T46" fmla="*/ 394 w 699"/>
                  <a:gd name="T47" fmla="*/ 31 h 354"/>
                  <a:gd name="T48" fmla="*/ 409 w 699"/>
                  <a:gd name="T49" fmla="*/ 28 h 354"/>
                  <a:gd name="T50" fmla="*/ 427 w 699"/>
                  <a:gd name="T51" fmla="*/ 34 h 354"/>
                  <a:gd name="T52" fmla="*/ 440 w 699"/>
                  <a:gd name="T53" fmla="*/ 42 h 354"/>
                  <a:gd name="T54" fmla="*/ 467 w 699"/>
                  <a:gd name="T55" fmla="*/ 30 h 354"/>
                  <a:gd name="T56" fmla="*/ 485 w 699"/>
                  <a:gd name="T57" fmla="*/ 25 h 354"/>
                  <a:gd name="T58" fmla="*/ 569 w 699"/>
                  <a:gd name="T59" fmla="*/ 97 h 354"/>
                  <a:gd name="T60" fmla="*/ 592 w 699"/>
                  <a:gd name="T61" fmla="*/ 105 h 354"/>
                  <a:gd name="T62" fmla="*/ 620 w 699"/>
                  <a:gd name="T63" fmla="*/ 99 h 354"/>
                  <a:gd name="T64" fmla="*/ 650 w 699"/>
                  <a:gd name="T65" fmla="*/ 118 h 354"/>
                  <a:gd name="T66" fmla="*/ 662 w 699"/>
                  <a:gd name="T67" fmla="*/ 133 h 354"/>
                  <a:gd name="T68" fmla="*/ 685 w 699"/>
                  <a:gd name="T69" fmla="*/ 131 h 354"/>
                  <a:gd name="T70" fmla="*/ 688 w 699"/>
                  <a:gd name="T71" fmla="*/ 153 h 354"/>
                  <a:gd name="T72" fmla="*/ 679 w 699"/>
                  <a:gd name="T73" fmla="*/ 192 h 354"/>
                  <a:gd name="T74" fmla="*/ 644 w 699"/>
                  <a:gd name="T75" fmla="*/ 194 h 354"/>
                  <a:gd name="T76" fmla="*/ 634 w 699"/>
                  <a:gd name="T77" fmla="*/ 233 h 354"/>
                  <a:gd name="T78" fmla="*/ 620 w 699"/>
                  <a:gd name="T79" fmla="*/ 243 h 354"/>
                  <a:gd name="T80" fmla="*/ 602 w 699"/>
                  <a:gd name="T81" fmla="*/ 254 h 354"/>
                  <a:gd name="T82" fmla="*/ 613 w 699"/>
                  <a:gd name="T83" fmla="*/ 281 h 354"/>
                  <a:gd name="T84" fmla="*/ 613 w 699"/>
                  <a:gd name="T85" fmla="*/ 309 h 354"/>
                  <a:gd name="T86" fmla="*/ 547 w 699"/>
                  <a:gd name="T87" fmla="*/ 299 h 354"/>
                  <a:gd name="T88" fmla="*/ 502 w 699"/>
                  <a:gd name="T89" fmla="*/ 298 h 354"/>
                  <a:gd name="T90" fmla="*/ 464 w 699"/>
                  <a:gd name="T91" fmla="*/ 311 h 354"/>
                  <a:gd name="T92" fmla="*/ 439 w 699"/>
                  <a:gd name="T93" fmla="*/ 324 h 354"/>
                  <a:gd name="T94" fmla="*/ 395 w 699"/>
                  <a:gd name="T95" fmla="*/ 348 h 354"/>
                  <a:gd name="T96" fmla="*/ 311 w 699"/>
                  <a:gd name="T97" fmla="*/ 289 h 354"/>
                  <a:gd name="T98" fmla="*/ 171 w 699"/>
                  <a:gd name="T99" fmla="*/ 340 h 354"/>
                  <a:gd name="T100" fmla="*/ 127 w 699"/>
                  <a:gd name="T101" fmla="*/ 324 h 354"/>
                  <a:gd name="T102" fmla="*/ 109 w 699"/>
                  <a:gd name="T103" fmla="*/ 316 h 354"/>
                  <a:gd name="T104" fmla="*/ 94 w 699"/>
                  <a:gd name="T105" fmla="*/ 298 h 354"/>
                  <a:gd name="T106" fmla="*/ 81 w 699"/>
                  <a:gd name="T107" fmla="*/ 283 h 354"/>
                  <a:gd name="T108" fmla="*/ 102 w 699"/>
                  <a:gd name="T109" fmla="*/ 282 h 354"/>
                  <a:gd name="T110" fmla="*/ 93 w 699"/>
                  <a:gd name="T111" fmla="*/ 266 h 354"/>
                  <a:gd name="T112" fmla="*/ 118 w 699"/>
                  <a:gd name="T113" fmla="*/ 262 h 354"/>
                  <a:gd name="T114" fmla="*/ 123 w 699"/>
                  <a:gd name="T115" fmla="*/ 250 h 354"/>
                  <a:gd name="T116" fmla="*/ 121 w 699"/>
                  <a:gd name="T117" fmla="*/ 231 h 354"/>
                  <a:gd name="T118" fmla="*/ 103 w 699"/>
                  <a:gd name="T119" fmla="*/ 227 h 354"/>
                  <a:gd name="T120" fmla="*/ 92 w 699"/>
                  <a:gd name="T121" fmla="*/ 224 h 354"/>
                  <a:gd name="T122" fmla="*/ 75 w 699"/>
                  <a:gd name="T123" fmla="*/ 228 h 354"/>
                  <a:gd name="T124" fmla="*/ 60 w 699"/>
                  <a:gd name="T125" fmla="*/ 237 h 3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699" h="354">
                    <a:moveTo>
                      <a:pt x="54" y="237"/>
                    </a:moveTo>
                    <a:lnTo>
                      <a:pt x="49" y="234"/>
                    </a:lnTo>
                    <a:lnTo>
                      <a:pt x="44" y="236"/>
                    </a:lnTo>
                    <a:lnTo>
                      <a:pt x="38" y="232"/>
                    </a:lnTo>
                    <a:lnTo>
                      <a:pt x="38" y="228"/>
                    </a:lnTo>
                    <a:lnTo>
                      <a:pt x="45" y="228"/>
                    </a:lnTo>
                    <a:lnTo>
                      <a:pt x="38" y="217"/>
                    </a:lnTo>
                    <a:lnTo>
                      <a:pt x="29" y="209"/>
                    </a:lnTo>
                    <a:lnTo>
                      <a:pt x="17" y="206"/>
                    </a:lnTo>
                    <a:lnTo>
                      <a:pt x="16" y="208"/>
                    </a:lnTo>
                    <a:lnTo>
                      <a:pt x="10" y="203"/>
                    </a:lnTo>
                    <a:lnTo>
                      <a:pt x="11" y="201"/>
                    </a:lnTo>
                    <a:lnTo>
                      <a:pt x="8" y="196"/>
                    </a:lnTo>
                    <a:lnTo>
                      <a:pt x="0" y="193"/>
                    </a:lnTo>
                    <a:lnTo>
                      <a:pt x="3" y="187"/>
                    </a:lnTo>
                    <a:lnTo>
                      <a:pt x="4" y="176"/>
                    </a:lnTo>
                    <a:lnTo>
                      <a:pt x="1" y="174"/>
                    </a:lnTo>
                    <a:lnTo>
                      <a:pt x="0" y="165"/>
                    </a:lnTo>
                    <a:lnTo>
                      <a:pt x="4" y="163"/>
                    </a:lnTo>
                    <a:lnTo>
                      <a:pt x="9" y="158"/>
                    </a:lnTo>
                    <a:lnTo>
                      <a:pt x="9" y="153"/>
                    </a:lnTo>
                    <a:lnTo>
                      <a:pt x="12" y="149"/>
                    </a:lnTo>
                    <a:lnTo>
                      <a:pt x="21" y="158"/>
                    </a:lnTo>
                    <a:lnTo>
                      <a:pt x="23" y="161"/>
                    </a:lnTo>
                    <a:lnTo>
                      <a:pt x="28" y="164"/>
                    </a:lnTo>
                    <a:lnTo>
                      <a:pt x="34" y="164"/>
                    </a:lnTo>
                    <a:lnTo>
                      <a:pt x="34" y="159"/>
                    </a:lnTo>
                    <a:lnTo>
                      <a:pt x="36" y="157"/>
                    </a:lnTo>
                    <a:lnTo>
                      <a:pt x="32" y="142"/>
                    </a:lnTo>
                    <a:lnTo>
                      <a:pt x="38" y="142"/>
                    </a:lnTo>
                    <a:lnTo>
                      <a:pt x="43" y="142"/>
                    </a:lnTo>
                    <a:lnTo>
                      <a:pt x="43" y="138"/>
                    </a:lnTo>
                    <a:lnTo>
                      <a:pt x="40" y="135"/>
                    </a:lnTo>
                    <a:lnTo>
                      <a:pt x="41" y="131"/>
                    </a:lnTo>
                    <a:lnTo>
                      <a:pt x="47" y="127"/>
                    </a:lnTo>
                    <a:lnTo>
                      <a:pt x="50" y="127"/>
                    </a:lnTo>
                    <a:lnTo>
                      <a:pt x="51" y="122"/>
                    </a:lnTo>
                    <a:lnTo>
                      <a:pt x="54" y="120"/>
                    </a:lnTo>
                    <a:lnTo>
                      <a:pt x="58" y="121"/>
                    </a:lnTo>
                    <a:lnTo>
                      <a:pt x="59" y="118"/>
                    </a:lnTo>
                    <a:lnTo>
                      <a:pt x="58" y="115"/>
                    </a:lnTo>
                    <a:lnTo>
                      <a:pt x="59" y="113"/>
                    </a:lnTo>
                    <a:lnTo>
                      <a:pt x="64" y="116"/>
                    </a:lnTo>
                    <a:lnTo>
                      <a:pt x="68" y="117"/>
                    </a:lnTo>
                    <a:lnTo>
                      <a:pt x="68" y="120"/>
                    </a:lnTo>
                    <a:lnTo>
                      <a:pt x="65" y="123"/>
                    </a:lnTo>
                    <a:lnTo>
                      <a:pt x="67" y="124"/>
                    </a:lnTo>
                    <a:lnTo>
                      <a:pt x="70" y="122"/>
                    </a:lnTo>
                    <a:lnTo>
                      <a:pt x="71" y="120"/>
                    </a:lnTo>
                    <a:lnTo>
                      <a:pt x="74" y="118"/>
                    </a:lnTo>
                    <a:lnTo>
                      <a:pt x="74" y="121"/>
                    </a:lnTo>
                    <a:lnTo>
                      <a:pt x="77" y="119"/>
                    </a:lnTo>
                    <a:lnTo>
                      <a:pt x="77" y="116"/>
                    </a:lnTo>
                    <a:lnTo>
                      <a:pt x="81" y="116"/>
                    </a:lnTo>
                    <a:lnTo>
                      <a:pt x="84" y="114"/>
                    </a:lnTo>
                    <a:lnTo>
                      <a:pt x="87" y="114"/>
                    </a:lnTo>
                    <a:lnTo>
                      <a:pt x="90" y="118"/>
                    </a:lnTo>
                    <a:lnTo>
                      <a:pt x="94" y="121"/>
                    </a:lnTo>
                    <a:lnTo>
                      <a:pt x="101" y="119"/>
                    </a:lnTo>
                    <a:lnTo>
                      <a:pt x="103" y="119"/>
                    </a:lnTo>
                    <a:lnTo>
                      <a:pt x="105" y="122"/>
                    </a:lnTo>
                    <a:lnTo>
                      <a:pt x="107" y="122"/>
                    </a:lnTo>
                    <a:lnTo>
                      <a:pt x="111" y="127"/>
                    </a:lnTo>
                    <a:lnTo>
                      <a:pt x="115" y="127"/>
                    </a:lnTo>
                    <a:lnTo>
                      <a:pt x="118" y="131"/>
                    </a:lnTo>
                    <a:lnTo>
                      <a:pt x="124" y="134"/>
                    </a:lnTo>
                    <a:lnTo>
                      <a:pt x="126" y="135"/>
                    </a:lnTo>
                    <a:lnTo>
                      <a:pt x="127" y="137"/>
                    </a:lnTo>
                    <a:lnTo>
                      <a:pt x="127" y="141"/>
                    </a:lnTo>
                    <a:lnTo>
                      <a:pt x="130" y="141"/>
                    </a:lnTo>
                    <a:lnTo>
                      <a:pt x="132" y="138"/>
                    </a:lnTo>
                    <a:lnTo>
                      <a:pt x="132" y="134"/>
                    </a:lnTo>
                    <a:lnTo>
                      <a:pt x="136" y="132"/>
                    </a:lnTo>
                    <a:lnTo>
                      <a:pt x="138" y="135"/>
                    </a:lnTo>
                    <a:lnTo>
                      <a:pt x="145" y="136"/>
                    </a:lnTo>
                    <a:lnTo>
                      <a:pt x="147" y="139"/>
                    </a:lnTo>
                    <a:lnTo>
                      <a:pt x="150" y="140"/>
                    </a:lnTo>
                    <a:lnTo>
                      <a:pt x="154" y="138"/>
                    </a:lnTo>
                    <a:lnTo>
                      <a:pt x="155" y="131"/>
                    </a:lnTo>
                    <a:lnTo>
                      <a:pt x="159" y="130"/>
                    </a:lnTo>
                    <a:lnTo>
                      <a:pt x="159" y="127"/>
                    </a:lnTo>
                    <a:lnTo>
                      <a:pt x="162" y="126"/>
                    </a:lnTo>
                    <a:lnTo>
                      <a:pt x="164" y="129"/>
                    </a:lnTo>
                    <a:lnTo>
                      <a:pt x="166" y="126"/>
                    </a:lnTo>
                    <a:lnTo>
                      <a:pt x="170" y="125"/>
                    </a:lnTo>
                    <a:lnTo>
                      <a:pt x="175" y="130"/>
                    </a:lnTo>
                    <a:lnTo>
                      <a:pt x="176" y="132"/>
                    </a:lnTo>
                    <a:lnTo>
                      <a:pt x="182" y="131"/>
                    </a:lnTo>
                    <a:lnTo>
                      <a:pt x="181" y="127"/>
                    </a:lnTo>
                    <a:lnTo>
                      <a:pt x="184" y="126"/>
                    </a:lnTo>
                    <a:lnTo>
                      <a:pt x="188" y="126"/>
                    </a:lnTo>
                    <a:lnTo>
                      <a:pt x="189" y="124"/>
                    </a:lnTo>
                    <a:lnTo>
                      <a:pt x="194" y="126"/>
                    </a:lnTo>
                    <a:lnTo>
                      <a:pt x="197" y="128"/>
                    </a:lnTo>
                    <a:lnTo>
                      <a:pt x="195" y="130"/>
                    </a:lnTo>
                    <a:lnTo>
                      <a:pt x="192" y="132"/>
                    </a:lnTo>
                    <a:lnTo>
                      <a:pt x="196" y="136"/>
                    </a:lnTo>
                    <a:lnTo>
                      <a:pt x="200" y="137"/>
                    </a:lnTo>
                    <a:lnTo>
                      <a:pt x="201" y="136"/>
                    </a:lnTo>
                    <a:lnTo>
                      <a:pt x="204" y="137"/>
                    </a:lnTo>
                    <a:lnTo>
                      <a:pt x="210" y="137"/>
                    </a:lnTo>
                    <a:lnTo>
                      <a:pt x="216" y="140"/>
                    </a:lnTo>
                    <a:lnTo>
                      <a:pt x="220" y="139"/>
                    </a:lnTo>
                    <a:lnTo>
                      <a:pt x="222" y="136"/>
                    </a:lnTo>
                    <a:lnTo>
                      <a:pt x="222" y="132"/>
                    </a:lnTo>
                    <a:lnTo>
                      <a:pt x="224" y="131"/>
                    </a:lnTo>
                    <a:lnTo>
                      <a:pt x="230" y="134"/>
                    </a:lnTo>
                    <a:lnTo>
                      <a:pt x="234" y="135"/>
                    </a:lnTo>
                    <a:lnTo>
                      <a:pt x="241" y="132"/>
                    </a:lnTo>
                    <a:lnTo>
                      <a:pt x="243" y="129"/>
                    </a:lnTo>
                    <a:lnTo>
                      <a:pt x="242" y="116"/>
                    </a:lnTo>
                    <a:lnTo>
                      <a:pt x="240" y="114"/>
                    </a:lnTo>
                    <a:lnTo>
                      <a:pt x="234" y="114"/>
                    </a:lnTo>
                    <a:lnTo>
                      <a:pt x="232" y="112"/>
                    </a:lnTo>
                    <a:lnTo>
                      <a:pt x="231" y="110"/>
                    </a:lnTo>
                    <a:lnTo>
                      <a:pt x="227" y="109"/>
                    </a:lnTo>
                    <a:lnTo>
                      <a:pt x="224" y="106"/>
                    </a:lnTo>
                    <a:lnTo>
                      <a:pt x="219" y="106"/>
                    </a:lnTo>
                    <a:lnTo>
                      <a:pt x="219" y="104"/>
                    </a:lnTo>
                    <a:lnTo>
                      <a:pt x="218" y="102"/>
                    </a:lnTo>
                    <a:lnTo>
                      <a:pt x="219" y="100"/>
                    </a:lnTo>
                    <a:lnTo>
                      <a:pt x="222" y="99"/>
                    </a:lnTo>
                    <a:lnTo>
                      <a:pt x="223" y="95"/>
                    </a:lnTo>
                    <a:lnTo>
                      <a:pt x="226" y="93"/>
                    </a:lnTo>
                    <a:lnTo>
                      <a:pt x="225" y="89"/>
                    </a:lnTo>
                    <a:lnTo>
                      <a:pt x="222" y="88"/>
                    </a:lnTo>
                    <a:lnTo>
                      <a:pt x="221" y="84"/>
                    </a:lnTo>
                    <a:lnTo>
                      <a:pt x="226" y="78"/>
                    </a:lnTo>
                    <a:lnTo>
                      <a:pt x="230" y="74"/>
                    </a:lnTo>
                    <a:lnTo>
                      <a:pt x="237" y="74"/>
                    </a:lnTo>
                    <a:lnTo>
                      <a:pt x="240" y="75"/>
                    </a:lnTo>
                    <a:lnTo>
                      <a:pt x="243" y="73"/>
                    </a:lnTo>
                    <a:lnTo>
                      <a:pt x="243" y="71"/>
                    </a:lnTo>
                    <a:lnTo>
                      <a:pt x="239" y="69"/>
                    </a:lnTo>
                    <a:lnTo>
                      <a:pt x="236" y="67"/>
                    </a:lnTo>
                    <a:lnTo>
                      <a:pt x="233" y="67"/>
                    </a:lnTo>
                    <a:lnTo>
                      <a:pt x="232" y="68"/>
                    </a:lnTo>
                    <a:lnTo>
                      <a:pt x="228" y="67"/>
                    </a:lnTo>
                    <a:lnTo>
                      <a:pt x="223" y="67"/>
                    </a:lnTo>
                    <a:lnTo>
                      <a:pt x="222" y="64"/>
                    </a:lnTo>
                    <a:lnTo>
                      <a:pt x="224" y="63"/>
                    </a:lnTo>
                    <a:lnTo>
                      <a:pt x="229" y="63"/>
                    </a:lnTo>
                    <a:lnTo>
                      <a:pt x="228" y="59"/>
                    </a:lnTo>
                    <a:lnTo>
                      <a:pt x="223" y="59"/>
                    </a:lnTo>
                    <a:lnTo>
                      <a:pt x="219" y="58"/>
                    </a:lnTo>
                    <a:lnTo>
                      <a:pt x="221" y="57"/>
                    </a:lnTo>
                    <a:lnTo>
                      <a:pt x="219" y="52"/>
                    </a:lnTo>
                    <a:lnTo>
                      <a:pt x="220" y="51"/>
                    </a:lnTo>
                    <a:lnTo>
                      <a:pt x="225" y="51"/>
                    </a:lnTo>
                    <a:lnTo>
                      <a:pt x="227" y="49"/>
                    </a:lnTo>
                    <a:lnTo>
                      <a:pt x="229" y="49"/>
                    </a:lnTo>
                    <a:lnTo>
                      <a:pt x="231" y="51"/>
                    </a:lnTo>
                    <a:lnTo>
                      <a:pt x="234" y="51"/>
                    </a:lnTo>
                    <a:lnTo>
                      <a:pt x="237" y="52"/>
                    </a:lnTo>
                    <a:lnTo>
                      <a:pt x="239" y="51"/>
                    </a:lnTo>
                    <a:lnTo>
                      <a:pt x="239" y="49"/>
                    </a:lnTo>
                    <a:lnTo>
                      <a:pt x="242" y="47"/>
                    </a:lnTo>
                    <a:lnTo>
                      <a:pt x="246" y="47"/>
                    </a:lnTo>
                    <a:lnTo>
                      <a:pt x="248" y="51"/>
                    </a:lnTo>
                    <a:lnTo>
                      <a:pt x="250" y="48"/>
                    </a:lnTo>
                    <a:lnTo>
                      <a:pt x="250" y="46"/>
                    </a:lnTo>
                    <a:lnTo>
                      <a:pt x="256" y="44"/>
                    </a:lnTo>
                    <a:lnTo>
                      <a:pt x="260" y="43"/>
                    </a:lnTo>
                    <a:lnTo>
                      <a:pt x="265" y="41"/>
                    </a:lnTo>
                    <a:lnTo>
                      <a:pt x="270" y="41"/>
                    </a:lnTo>
                    <a:lnTo>
                      <a:pt x="271" y="39"/>
                    </a:lnTo>
                    <a:lnTo>
                      <a:pt x="275" y="36"/>
                    </a:lnTo>
                    <a:lnTo>
                      <a:pt x="280" y="36"/>
                    </a:lnTo>
                    <a:lnTo>
                      <a:pt x="283" y="34"/>
                    </a:lnTo>
                    <a:lnTo>
                      <a:pt x="286" y="33"/>
                    </a:lnTo>
                    <a:lnTo>
                      <a:pt x="289" y="35"/>
                    </a:lnTo>
                    <a:lnTo>
                      <a:pt x="290" y="33"/>
                    </a:lnTo>
                    <a:lnTo>
                      <a:pt x="290" y="30"/>
                    </a:lnTo>
                    <a:lnTo>
                      <a:pt x="292" y="28"/>
                    </a:lnTo>
                    <a:lnTo>
                      <a:pt x="296" y="28"/>
                    </a:lnTo>
                    <a:lnTo>
                      <a:pt x="297" y="26"/>
                    </a:lnTo>
                    <a:lnTo>
                      <a:pt x="298" y="24"/>
                    </a:lnTo>
                    <a:lnTo>
                      <a:pt x="300" y="26"/>
                    </a:lnTo>
                    <a:lnTo>
                      <a:pt x="303" y="26"/>
                    </a:lnTo>
                    <a:lnTo>
                      <a:pt x="307" y="24"/>
                    </a:lnTo>
                    <a:lnTo>
                      <a:pt x="311" y="23"/>
                    </a:lnTo>
                    <a:lnTo>
                      <a:pt x="318" y="18"/>
                    </a:lnTo>
                    <a:lnTo>
                      <a:pt x="320" y="18"/>
                    </a:lnTo>
                    <a:lnTo>
                      <a:pt x="322" y="17"/>
                    </a:lnTo>
                    <a:lnTo>
                      <a:pt x="326" y="16"/>
                    </a:lnTo>
                    <a:lnTo>
                      <a:pt x="329" y="12"/>
                    </a:lnTo>
                    <a:lnTo>
                      <a:pt x="332" y="13"/>
                    </a:lnTo>
                    <a:lnTo>
                      <a:pt x="337" y="12"/>
                    </a:lnTo>
                    <a:lnTo>
                      <a:pt x="337" y="9"/>
                    </a:lnTo>
                    <a:lnTo>
                      <a:pt x="335" y="8"/>
                    </a:lnTo>
                    <a:lnTo>
                      <a:pt x="337" y="6"/>
                    </a:lnTo>
                    <a:lnTo>
                      <a:pt x="341" y="6"/>
                    </a:lnTo>
                    <a:lnTo>
                      <a:pt x="342" y="3"/>
                    </a:lnTo>
                    <a:lnTo>
                      <a:pt x="345" y="1"/>
                    </a:lnTo>
                    <a:lnTo>
                      <a:pt x="348" y="1"/>
                    </a:lnTo>
                    <a:lnTo>
                      <a:pt x="351" y="0"/>
                    </a:lnTo>
                    <a:lnTo>
                      <a:pt x="355" y="2"/>
                    </a:lnTo>
                    <a:lnTo>
                      <a:pt x="361" y="2"/>
                    </a:lnTo>
                    <a:lnTo>
                      <a:pt x="364" y="5"/>
                    </a:lnTo>
                    <a:lnTo>
                      <a:pt x="369" y="4"/>
                    </a:lnTo>
                    <a:lnTo>
                      <a:pt x="373" y="3"/>
                    </a:lnTo>
                    <a:lnTo>
                      <a:pt x="377" y="3"/>
                    </a:lnTo>
                    <a:lnTo>
                      <a:pt x="379" y="8"/>
                    </a:lnTo>
                    <a:lnTo>
                      <a:pt x="380" y="8"/>
                    </a:lnTo>
                    <a:lnTo>
                      <a:pt x="382" y="12"/>
                    </a:lnTo>
                    <a:lnTo>
                      <a:pt x="383" y="15"/>
                    </a:lnTo>
                    <a:lnTo>
                      <a:pt x="386" y="16"/>
                    </a:lnTo>
                    <a:lnTo>
                      <a:pt x="386" y="18"/>
                    </a:lnTo>
                    <a:lnTo>
                      <a:pt x="385" y="21"/>
                    </a:lnTo>
                    <a:lnTo>
                      <a:pt x="386" y="25"/>
                    </a:lnTo>
                    <a:lnTo>
                      <a:pt x="386" y="26"/>
                    </a:lnTo>
                    <a:lnTo>
                      <a:pt x="383" y="27"/>
                    </a:lnTo>
                    <a:lnTo>
                      <a:pt x="385" y="30"/>
                    </a:lnTo>
                    <a:lnTo>
                      <a:pt x="387" y="31"/>
                    </a:lnTo>
                    <a:lnTo>
                      <a:pt x="391" y="30"/>
                    </a:lnTo>
                    <a:lnTo>
                      <a:pt x="394" y="31"/>
                    </a:lnTo>
                    <a:lnTo>
                      <a:pt x="396" y="30"/>
                    </a:lnTo>
                    <a:lnTo>
                      <a:pt x="397" y="28"/>
                    </a:lnTo>
                    <a:lnTo>
                      <a:pt x="399" y="27"/>
                    </a:lnTo>
                    <a:lnTo>
                      <a:pt x="401" y="30"/>
                    </a:lnTo>
                    <a:lnTo>
                      <a:pt x="403" y="30"/>
                    </a:lnTo>
                    <a:lnTo>
                      <a:pt x="403" y="28"/>
                    </a:lnTo>
                    <a:lnTo>
                      <a:pt x="402" y="24"/>
                    </a:lnTo>
                    <a:lnTo>
                      <a:pt x="403" y="23"/>
                    </a:lnTo>
                    <a:lnTo>
                      <a:pt x="409" y="28"/>
                    </a:lnTo>
                    <a:lnTo>
                      <a:pt x="410" y="33"/>
                    </a:lnTo>
                    <a:lnTo>
                      <a:pt x="412" y="37"/>
                    </a:lnTo>
                    <a:lnTo>
                      <a:pt x="414" y="37"/>
                    </a:lnTo>
                    <a:lnTo>
                      <a:pt x="417" y="34"/>
                    </a:lnTo>
                    <a:lnTo>
                      <a:pt x="415" y="33"/>
                    </a:lnTo>
                    <a:lnTo>
                      <a:pt x="414" y="31"/>
                    </a:lnTo>
                    <a:lnTo>
                      <a:pt x="418" y="30"/>
                    </a:lnTo>
                    <a:lnTo>
                      <a:pt x="425" y="34"/>
                    </a:lnTo>
                    <a:lnTo>
                      <a:pt x="427" y="34"/>
                    </a:lnTo>
                    <a:lnTo>
                      <a:pt x="430" y="31"/>
                    </a:lnTo>
                    <a:lnTo>
                      <a:pt x="432" y="33"/>
                    </a:lnTo>
                    <a:lnTo>
                      <a:pt x="430" y="36"/>
                    </a:lnTo>
                    <a:lnTo>
                      <a:pt x="428" y="38"/>
                    </a:lnTo>
                    <a:lnTo>
                      <a:pt x="428" y="43"/>
                    </a:lnTo>
                    <a:lnTo>
                      <a:pt x="430" y="46"/>
                    </a:lnTo>
                    <a:lnTo>
                      <a:pt x="433" y="46"/>
                    </a:lnTo>
                    <a:lnTo>
                      <a:pt x="435" y="43"/>
                    </a:lnTo>
                    <a:lnTo>
                      <a:pt x="440" y="42"/>
                    </a:lnTo>
                    <a:lnTo>
                      <a:pt x="447" y="44"/>
                    </a:lnTo>
                    <a:lnTo>
                      <a:pt x="448" y="45"/>
                    </a:lnTo>
                    <a:lnTo>
                      <a:pt x="451" y="44"/>
                    </a:lnTo>
                    <a:lnTo>
                      <a:pt x="450" y="40"/>
                    </a:lnTo>
                    <a:lnTo>
                      <a:pt x="453" y="38"/>
                    </a:lnTo>
                    <a:lnTo>
                      <a:pt x="459" y="38"/>
                    </a:lnTo>
                    <a:lnTo>
                      <a:pt x="463" y="35"/>
                    </a:lnTo>
                    <a:lnTo>
                      <a:pt x="464" y="32"/>
                    </a:lnTo>
                    <a:lnTo>
                      <a:pt x="467" y="30"/>
                    </a:lnTo>
                    <a:lnTo>
                      <a:pt x="468" y="28"/>
                    </a:lnTo>
                    <a:lnTo>
                      <a:pt x="471" y="24"/>
                    </a:lnTo>
                    <a:lnTo>
                      <a:pt x="474" y="23"/>
                    </a:lnTo>
                    <a:lnTo>
                      <a:pt x="477" y="20"/>
                    </a:lnTo>
                    <a:lnTo>
                      <a:pt x="481" y="19"/>
                    </a:lnTo>
                    <a:lnTo>
                      <a:pt x="486" y="17"/>
                    </a:lnTo>
                    <a:lnTo>
                      <a:pt x="488" y="19"/>
                    </a:lnTo>
                    <a:lnTo>
                      <a:pt x="488" y="22"/>
                    </a:lnTo>
                    <a:lnTo>
                      <a:pt x="485" y="25"/>
                    </a:lnTo>
                    <a:lnTo>
                      <a:pt x="482" y="26"/>
                    </a:lnTo>
                    <a:lnTo>
                      <a:pt x="483" y="29"/>
                    </a:lnTo>
                    <a:lnTo>
                      <a:pt x="516" y="52"/>
                    </a:lnTo>
                    <a:lnTo>
                      <a:pt x="561" y="107"/>
                    </a:lnTo>
                    <a:lnTo>
                      <a:pt x="566" y="106"/>
                    </a:lnTo>
                    <a:lnTo>
                      <a:pt x="569" y="104"/>
                    </a:lnTo>
                    <a:lnTo>
                      <a:pt x="570" y="102"/>
                    </a:lnTo>
                    <a:lnTo>
                      <a:pt x="569" y="101"/>
                    </a:lnTo>
                    <a:lnTo>
                      <a:pt x="569" y="97"/>
                    </a:lnTo>
                    <a:lnTo>
                      <a:pt x="572" y="96"/>
                    </a:lnTo>
                    <a:lnTo>
                      <a:pt x="577" y="98"/>
                    </a:lnTo>
                    <a:lnTo>
                      <a:pt x="577" y="101"/>
                    </a:lnTo>
                    <a:lnTo>
                      <a:pt x="577" y="103"/>
                    </a:lnTo>
                    <a:lnTo>
                      <a:pt x="580" y="104"/>
                    </a:lnTo>
                    <a:lnTo>
                      <a:pt x="583" y="107"/>
                    </a:lnTo>
                    <a:lnTo>
                      <a:pt x="586" y="107"/>
                    </a:lnTo>
                    <a:lnTo>
                      <a:pt x="589" y="106"/>
                    </a:lnTo>
                    <a:lnTo>
                      <a:pt x="592" y="105"/>
                    </a:lnTo>
                    <a:lnTo>
                      <a:pt x="597" y="108"/>
                    </a:lnTo>
                    <a:lnTo>
                      <a:pt x="600" y="106"/>
                    </a:lnTo>
                    <a:lnTo>
                      <a:pt x="604" y="106"/>
                    </a:lnTo>
                    <a:lnTo>
                      <a:pt x="607" y="105"/>
                    </a:lnTo>
                    <a:lnTo>
                      <a:pt x="608" y="103"/>
                    </a:lnTo>
                    <a:lnTo>
                      <a:pt x="607" y="101"/>
                    </a:lnTo>
                    <a:lnTo>
                      <a:pt x="608" y="99"/>
                    </a:lnTo>
                    <a:lnTo>
                      <a:pt x="614" y="99"/>
                    </a:lnTo>
                    <a:lnTo>
                      <a:pt x="620" y="99"/>
                    </a:lnTo>
                    <a:lnTo>
                      <a:pt x="626" y="100"/>
                    </a:lnTo>
                    <a:lnTo>
                      <a:pt x="631" y="104"/>
                    </a:lnTo>
                    <a:lnTo>
                      <a:pt x="635" y="109"/>
                    </a:lnTo>
                    <a:lnTo>
                      <a:pt x="637" y="114"/>
                    </a:lnTo>
                    <a:lnTo>
                      <a:pt x="638" y="114"/>
                    </a:lnTo>
                    <a:lnTo>
                      <a:pt x="641" y="115"/>
                    </a:lnTo>
                    <a:lnTo>
                      <a:pt x="646" y="117"/>
                    </a:lnTo>
                    <a:lnTo>
                      <a:pt x="647" y="117"/>
                    </a:lnTo>
                    <a:lnTo>
                      <a:pt x="650" y="118"/>
                    </a:lnTo>
                    <a:lnTo>
                      <a:pt x="650" y="120"/>
                    </a:lnTo>
                    <a:lnTo>
                      <a:pt x="650" y="122"/>
                    </a:lnTo>
                    <a:lnTo>
                      <a:pt x="650" y="125"/>
                    </a:lnTo>
                    <a:lnTo>
                      <a:pt x="651" y="127"/>
                    </a:lnTo>
                    <a:lnTo>
                      <a:pt x="653" y="129"/>
                    </a:lnTo>
                    <a:lnTo>
                      <a:pt x="654" y="130"/>
                    </a:lnTo>
                    <a:lnTo>
                      <a:pt x="655" y="130"/>
                    </a:lnTo>
                    <a:lnTo>
                      <a:pt x="659" y="132"/>
                    </a:lnTo>
                    <a:lnTo>
                      <a:pt x="662" y="133"/>
                    </a:lnTo>
                    <a:lnTo>
                      <a:pt x="663" y="131"/>
                    </a:lnTo>
                    <a:lnTo>
                      <a:pt x="665" y="130"/>
                    </a:lnTo>
                    <a:lnTo>
                      <a:pt x="674" y="129"/>
                    </a:lnTo>
                    <a:lnTo>
                      <a:pt x="678" y="128"/>
                    </a:lnTo>
                    <a:lnTo>
                      <a:pt x="680" y="125"/>
                    </a:lnTo>
                    <a:lnTo>
                      <a:pt x="684" y="123"/>
                    </a:lnTo>
                    <a:lnTo>
                      <a:pt x="685" y="124"/>
                    </a:lnTo>
                    <a:lnTo>
                      <a:pt x="684" y="128"/>
                    </a:lnTo>
                    <a:lnTo>
                      <a:pt x="685" y="131"/>
                    </a:lnTo>
                    <a:lnTo>
                      <a:pt x="687" y="132"/>
                    </a:lnTo>
                    <a:lnTo>
                      <a:pt x="692" y="135"/>
                    </a:lnTo>
                    <a:lnTo>
                      <a:pt x="697" y="137"/>
                    </a:lnTo>
                    <a:lnTo>
                      <a:pt x="699" y="138"/>
                    </a:lnTo>
                    <a:lnTo>
                      <a:pt x="695" y="141"/>
                    </a:lnTo>
                    <a:lnTo>
                      <a:pt x="692" y="143"/>
                    </a:lnTo>
                    <a:lnTo>
                      <a:pt x="687" y="148"/>
                    </a:lnTo>
                    <a:lnTo>
                      <a:pt x="687" y="151"/>
                    </a:lnTo>
                    <a:lnTo>
                      <a:pt x="688" y="153"/>
                    </a:lnTo>
                    <a:lnTo>
                      <a:pt x="686" y="157"/>
                    </a:lnTo>
                    <a:lnTo>
                      <a:pt x="681" y="159"/>
                    </a:lnTo>
                    <a:lnTo>
                      <a:pt x="678" y="161"/>
                    </a:lnTo>
                    <a:lnTo>
                      <a:pt x="677" y="165"/>
                    </a:lnTo>
                    <a:lnTo>
                      <a:pt x="677" y="173"/>
                    </a:lnTo>
                    <a:lnTo>
                      <a:pt x="681" y="180"/>
                    </a:lnTo>
                    <a:lnTo>
                      <a:pt x="684" y="184"/>
                    </a:lnTo>
                    <a:lnTo>
                      <a:pt x="684" y="186"/>
                    </a:lnTo>
                    <a:lnTo>
                      <a:pt x="679" y="192"/>
                    </a:lnTo>
                    <a:lnTo>
                      <a:pt x="675" y="193"/>
                    </a:lnTo>
                    <a:lnTo>
                      <a:pt x="672" y="197"/>
                    </a:lnTo>
                    <a:lnTo>
                      <a:pt x="669" y="198"/>
                    </a:lnTo>
                    <a:lnTo>
                      <a:pt x="667" y="197"/>
                    </a:lnTo>
                    <a:lnTo>
                      <a:pt x="666" y="195"/>
                    </a:lnTo>
                    <a:lnTo>
                      <a:pt x="663" y="195"/>
                    </a:lnTo>
                    <a:lnTo>
                      <a:pt x="656" y="197"/>
                    </a:lnTo>
                    <a:lnTo>
                      <a:pt x="651" y="196"/>
                    </a:lnTo>
                    <a:lnTo>
                      <a:pt x="644" y="194"/>
                    </a:lnTo>
                    <a:lnTo>
                      <a:pt x="640" y="193"/>
                    </a:lnTo>
                    <a:lnTo>
                      <a:pt x="638" y="193"/>
                    </a:lnTo>
                    <a:lnTo>
                      <a:pt x="636" y="202"/>
                    </a:lnTo>
                    <a:lnTo>
                      <a:pt x="635" y="206"/>
                    </a:lnTo>
                    <a:lnTo>
                      <a:pt x="634" y="210"/>
                    </a:lnTo>
                    <a:lnTo>
                      <a:pt x="633" y="221"/>
                    </a:lnTo>
                    <a:lnTo>
                      <a:pt x="633" y="228"/>
                    </a:lnTo>
                    <a:lnTo>
                      <a:pt x="632" y="231"/>
                    </a:lnTo>
                    <a:lnTo>
                      <a:pt x="634" y="233"/>
                    </a:lnTo>
                    <a:lnTo>
                      <a:pt x="638" y="234"/>
                    </a:lnTo>
                    <a:lnTo>
                      <a:pt x="636" y="238"/>
                    </a:lnTo>
                    <a:lnTo>
                      <a:pt x="636" y="241"/>
                    </a:lnTo>
                    <a:lnTo>
                      <a:pt x="634" y="241"/>
                    </a:lnTo>
                    <a:lnTo>
                      <a:pt x="631" y="242"/>
                    </a:lnTo>
                    <a:lnTo>
                      <a:pt x="628" y="242"/>
                    </a:lnTo>
                    <a:lnTo>
                      <a:pt x="626" y="241"/>
                    </a:lnTo>
                    <a:lnTo>
                      <a:pt x="624" y="242"/>
                    </a:lnTo>
                    <a:lnTo>
                      <a:pt x="620" y="243"/>
                    </a:lnTo>
                    <a:lnTo>
                      <a:pt x="612" y="244"/>
                    </a:lnTo>
                    <a:lnTo>
                      <a:pt x="606" y="246"/>
                    </a:lnTo>
                    <a:lnTo>
                      <a:pt x="603" y="246"/>
                    </a:lnTo>
                    <a:lnTo>
                      <a:pt x="600" y="245"/>
                    </a:lnTo>
                    <a:lnTo>
                      <a:pt x="598" y="246"/>
                    </a:lnTo>
                    <a:lnTo>
                      <a:pt x="595" y="249"/>
                    </a:lnTo>
                    <a:lnTo>
                      <a:pt x="595" y="251"/>
                    </a:lnTo>
                    <a:lnTo>
                      <a:pt x="598" y="254"/>
                    </a:lnTo>
                    <a:lnTo>
                      <a:pt x="602" y="254"/>
                    </a:lnTo>
                    <a:lnTo>
                      <a:pt x="607" y="254"/>
                    </a:lnTo>
                    <a:lnTo>
                      <a:pt x="607" y="256"/>
                    </a:lnTo>
                    <a:lnTo>
                      <a:pt x="604" y="258"/>
                    </a:lnTo>
                    <a:lnTo>
                      <a:pt x="606" y="264"/>
                    </a:lnTo>
                    <a:lnTo>
                      <a:pt x="606" y="267"/>
                    </a:lnTo>
                    <a:lnTo>
                      <a:pt x="608" y="268"/>
                    </a:lnTo>
                    <a:lnTo>
                      <a:pt x="609" y="272"/>
                    </a:lnTo>
                    <a:lnTo>
                      <a:pt x="612" y="278"/>
                    </a:lnTo>
                    <a:lnTo>
                      <a:pt x="613" y="281"/>
                    </a:lnTo>
                    <a:lnTo>
                      <a:pt x="617" y="284"/>
                    </a:lnTo>
                    <a:lnTo>
                      <a:pt x="619" y="290"/>
                    </a:lnTo>
                    <a:lnTo>
                      <a:pt x="616" y="292"/>
                    </a:lnTo>
                    <a:lnTo>
                      <a:pt x="615" y="296"/>
                    </a:lnTo>
                    <a:lnTo>
                      <a:pt x="618" y="299"/>
                    </a:lnTo>
                    <a:lnTo>
                      <a:pt x="617" y="300"/>
                    </a:lnTo>
                    <a:lnTo>
                      <a:pt x="616" y="302"/>
                    </a:lnTo>
                    <a:lnTo>
                      <a:pt x="612" y="305"/>
                    </a:lnTo>
                    <a:lnTo>
                      <a:pt x="613" y="309"/>
                    </a:lnTo>
                    <a:lnTo>
                      <a:pt x="609" y="311"/>
                    </a:lnTo>
                    <a:lnTo>
                      <a:pt x="600" y="309"/>
                    </a:lnTo>
                    <a:lnTo>
                      <a:pt x="593" y="300"/>
                    </a:lnTo>
                    <a:lnTo>
                      <a:pt x="590" y="301"/>
                    </a:lnTo>
                    <a:lnTo>
                      <a:pt x="582" y="298"/>
                    </a:lnTo>
                    <a:lnTo>
                      <a:pt x="571" y="297"/>
                    </a:lnTo>
                    <a:lnTo>
                      <a:pt x="565" y="299"/>
                    </a:lnTo>
                    <a:lnTo>
                      <a:pt x="555" y="297"/>
                    </a:lnTo>
                    <a:lnTo>
                      <a:pt x="547" y="299"/>
                    </a:lnTo>
                    <a:lnTo>
                      <a:pt x="542" y="300"/>
                    </a:lnTo>
                    <a:lnTo>
                      <a:pt x="538" y="298"/>
                    </a:lnTo>
                    <a:lnTo>
                      <a:pt x="534" y="301"/>
                    </a:lnTo>
                    <a:lnTo>
                      <a:pt x="532" y="303"/>
                    </a:lnTo>
                    <a:lnTo>
                      <a:pt x="521" y="301"/>
                    </a:lnTo>
                    <a:lnTo>
                      <a:pt x="514" y="299"/>
                    </a:lnTo>
                    <a:lnTo>
                      <a:pt x="511" y="297"/>
                    </a:lnTo>
                    <a:lnTo>
                      <a:pt x="504" y="297"/>
                    </a:lnTo>
                    <a:lnTo>
                      <a:pt x="502" y="298"/>
                    </a:lnTo>
                    <a:lnTo>
                      <a:pt x="498" y="298"/>
                    </a:lnTo>
                    <a:lnTo>
                      <a:pt x="494" y="297"/>
                    </a:lnTo>
                    <a:lnTo>
                      <a:pt x="492" y="298"/>
                    </a:lnTo>
                    <a:lnTo>
                      <a:pt x="492" y="302"/>
                    </a:lnTo>
                    <a:lnTo>
                      <a:pt x="494" y="307"/>
                    </a:lnTo>
                    <a:lnTo>
                      <a:pt x="494" y="311"/>
                    </a:lnTo>
                    <a:lnTo>
                      <a:pt x="489" y="311"/>
                    </a:lnTo>
                    <a:lnTo>
                      <a:pt x="477" y="312"/>
                    </a:lnTo>
                    <a:lnTo>
                      <a:pt x="464" y="311"/>
                    </a:lnTo>
                    <a:lnTo>
                      <a:pt x="460" y="309"/>
                    </a:lnTo>
                    <a:lnTo>
                      <a:pt x="454" y="309"/>
                    </a:lnTo>
                    <a:lnTo>
                      <a:pt x="450" y="311"/>
                    </a:lnTo>
                    <a:lnTo>
                      <a:pt x="452" y="314"/>
                    </a:lnTo>
                    <a:lnTo>
                      <a:pt x="447" y="316"/>
                    </a:lnTo>
                    <a:lnTo>
                      <a:pt x="447" y="318"/>
                    </a:lnTo>
                    <a:lnTo>
                      <a:pt x="447" y="318"/>
                    </a:lnTo>
                    <a:lnTo>
                      <a:pt x="443" y="322"/>
                    </a:lnTo>
                    <a:lnTo>
                      <a:pt x="439" y="324"/>
                    </a:lnTo>
                    <a:lnTo>
                      <a:pt x="432" y="333"/>
                    </a:lnTo>
                    <a:lnTo>
                      <a:pt x="429" y="337"/>
                    </a:lnTo>
                    <a:lnTo>
                      <a:pt x="427" y="339"/>
                    </a:lnTo>
                    <a:lnTo>
                      <a:pt x="424" y="346"/>
                    </a:lnTo>
                    <a:lnTo>
                      <a:pt x="416" y="353"/>
                    </a:lnTo>
                    <a:lnTo>
                      <a:pt x="415" y="352"/>
                    </a:lnTo>
                    <a:lnTo>
                      <a:pt x="406" y="347"/>
                    </a:lnTo>
                    <a:lnTo>
                      <a:pt x="400" y="347"/>
                    </a:lnTo>
                    <a:lnTo>
                      <a:pt x="395" y="348"/>
                    </a:lnTo>
                    <a:lnTo>
                      <a:pt x="386" y="352"/>
                    </a:lnTo>
                    <a:lnTo>
                      <a:pt x="383" y="352"/>
                    </a:lnTo>
                    <a:lnTo>
                      <a:pt x="375" y="331"/>
                    </a:lnTo>
                    <a:lnTo>
                      <a:pt x="361" y="330"/>
                    </a:lnTo>
                    <a:lnTo>
                      <a:pt x="361" y="305"/>
                    </a:lnTo>
                    <a:lnTo>
                      <a:pt x="355" y="307"/>
                    </a:lnTo>
                    <a:lnTo>
                      <a:pt x="350" y="295"/>
                    </a:lnTo>
                    <a:lnTo>
                      <a:pt x="340" y="289"/>
                    </a:lnTo>
                    <a:lnTo>
                      <a:pt x="311" y="289"/>
                    </a:lnTo>
                    <a:lnTo>
                      <a:pt x="283" y="291"/>
                    </a:lnTo>
                    <a:lnTo>
                      <a:pt x="268" y="283"/>
                    </a:lnTo>
                    <a:lnTo>
                      <a:pt x="256" y="279"/>
                    </a:lnTo>
                    <a:lnTo>
                      <a:pt x="228" y="259"/>
                    </a:lnTo>
                    <a:lnTo>
                      <a:pt x="179" y="268"/>
                    </a:lnTo>
                    <a:lnTo>
                      <a:pt x="193" y="352"/>
                    </a:lnTo>
                    <a:lnTo>
                      <a:pt x="191" y="353"/>
                    </a:lnTo>
                    <a:lnTo>
                      <a:pt x="184" y="354"/>
                    </a:lnTo>
                    <a:lnTo>
                      <a:pt x="171" y="340"/>
                    </a:lnTo>
                    <a:lnTo>
                      <a:pt x="159" y="333"/>
                    </a:lnTo>
                    <a:lnTo>
                      <a:pt x="146" y="332"/>
                    </a:lnTo>
                    <a:lnTo>
                      <a:pt x="138" y="334"/>
                    </a:lnTo>
                    <a:lnTo>
                      <a:pt x="126" y="345"/>
                    </a:lnTo>
                    <a:lnTo>
                      <a:pt x="126" y="340"/>
                    </a:lnTo>
                    <a:lnTo>
                      <a:pt x="125" y="335"/>
                    </a:lnTo>
                    <a:lnTo>
                      <a:pt x="127" y="331"/>
                    </a:lnTo>
                    <a:lnTo>
                      <a:pt x="127" y="326"/>
                    </a:lnTo>
                    <a:lnTo>
                      <a:pt x="127" y="324"/>
                    </a:lnTo>
                    <a:lnTo>
                      <a:pt x="128" y="323"/>
                    </a:lnTo>
                    <a:lnTo>
                      <a:pt x="127" y="322"/>
                    </a:lnTo>
                    <a:lnTo>
                      <a:pt x="123" y="322"/>
                    </a:lnTo>
                    <a:lnTo>
                      <a:pt x="120" y="321"/>
                    </a:lnTo>
                    <a:lnTo>
                      <a:pt x="117" y="320"/>
                    </a:lnTo>
                    <a:lnTo>
                      <a:pt x="114" y="321"/>
                    </a:lnTo>
                    <a:lnTo>
                      <a:pt x="112" y="321"/>
                    </a:lnTo>
                    <a:lnTo>
                      <a:pt x="111" y="318"/>
                    </a:lnTo>
                    <a:lnTo>
                      <a:pt x="109" y="316"/>
                    </a:lnTo>
                    <a:lnTo>
                      <a:pt x="108" y="313"/>
                    </a:lnTo>
                    <a:lnTo>
                      <a:pt x="106" y="312"/>
                    </a:lnTo>
                    <a:lnTo>
                      <a:pt x="104" y="313"/>
                    </a:lnTo>
                    <a:lnTo>
                      <a:pt x="102" y="314"/>
                    </a:lnTo>
                    <a:lnTo>
                      <a:pt x="100" y="314"/>
                    </a:lnTo>
                    <a:lnTo>
                      <a:pt x="101" y="310"/>
                    </a:lnTo>
                    <a:lnTo>
                      <a:pt x="100" y="306"/>
                    </a:lnTo>
                    <a:lnTo>
                      <a:pt x="95" y="300"/>
                    </a:lnTo>
                    <a:lnTo>
                      <a:pt x="94" y="298"/>
                    </a:lnTo>
                    <a:lnTo>
                      <a:pt x="92" y="298"/>
                    </a:lnTo>
                    <a:lnTo>
                      <a:pt x="91" y="294"/>
                    </a:lnTo>
                    <a:lnTo>
                      <a:pt x="89" y="292"/>
                    </a:lnTo>
                    <a:lnTo>
                      <a:pt x="87" y="289"/>
                    </a:lnTo>
                    <a:lnTo>
                      <a:pt x="84" y="289"/>
                    </a:lnTo>
                    <a:lnTo>
                      <a:pt x="81" y="289"/>
                    </a:lnTo>
                    <a:lnTo>
                      <a:pt x="80" y="286"/>
                    </a:lnTo>
                    <a:lnTo>
                      <a:pt x="80" y="285"/>
                    </a:lnTo>
                    <a:lnTo>
                      <a:pt x="81" y="283"/>
                    </a:lnTo>
                    <a:lnTo>
                      <a:pt x="83" y="283"/>
                    </a:lnTo>
                    <a:lnTo>
                      <a:pt x="88" y="283"/>
                    </a:lnTo>
                    <a:lnTo>
                      <a:pt x="90" y="284"/>
                    </a:lnTo>
                    <a:lnTo>
                      <a:pt x="92" y="284"/>
                    </a:lnTo>
                    <a:lnTo>
                      <a:pt x="94" y="284"/>
                    </a:lnTo>
                    <a:lnTo>
                      <a:pt x="96" y="283"/>
                    </a:lnTo>
                    <a:lnTo>
                      <a:pt x="97" y="282"/>
                    </a:lnTo>
                    <a:lnTo>
                      <a:pt x="101" y="283"/>
                    </a:lnTo>
                    <a:lnTo>
                      <a:pt x="102" y="282"/>
                    </a:lnTo>
                    <a:lnTo>
                      <a:pt x="101" y="281"/>
                    </a:lnTo>
                    <a:lnTo>
                      <a:pt x="97" y="281"/>
                    </a:lnTo>
                    <a:lnTo>
                      <a:pt x="96" y="280"/>
                    </a:lnTo>
                    <a:lnTo>
                      <a:pt x="96" y="277"/>
                    </a:lnTo>
                    <a:lnTo>
                      <a:pt x="92" y="273"/>
                    </a:lnTo>
                    <a:lnTo>
                      <a:pt x="92" y="271"/>
                    </a:lnTo>
                    <a:lnTo>
                      <a:pt x="93" y="270"/>
                    </a:lnTo>
                    <a:lnTo>
                      <a:pt x="94" y="268"/>
                    </a:lnTo>
                    <a:lnTo>
                      <a:pt x="93" y="266"/>
                    </a:lnTo>
                    <a:lnTo>
                      <a:pt x="95" y="264"/>
                    </a:lnTo>
                    <a:lnTo>
                      <a:pt x="99" y="263"/>
                    </a:lnTo>
                    <a:lnTo>
                      <a:pt x="103" y="262"/>
                    </a:lnTo>
                    <a:lnTo>
                      <a:pt x="105" y="263"/>
                    </a:lnTo>
                    <a:lnTo>
                      <a:pt x="108" y="262"/>
                    </a:lnTo>
                    <a:lnTo>
                      <a:pt x="112" y="262"/>
                    </a:lnTo>
                    <a:lnTo>
                      <a:pt x="113" y="263"/>
                    </a:lnTo>
                    <a:lnTo>
                      <a:pt x="115" y="262"/>
                    </a:lnTo>
                    <a:lnTo>
                      <a:pt x="118" y="262"/>
                    </a:lnTo>
                    <a:lnTo>
                      <a:pt x="121" y="265"/>
                    </a:lnTo>
                    <a:lnTo>
                      <a:pt x="124" y="265"/>
                    </a:lnTo>
                    <a:lnTo>
                      <a:pt x="127" y="264"/>
                    </a:lnTo>
                    <a:lnTo>
                      <a:pt x="127" y="262"/>
                    </a:lnTo>
                    <a:lnTo>
                      <a:pt x="125" y="261"/>
                    </a:lnTo>
                    <a:lnTo>
                      <a:pt x="122" y="260"/>
                    </a:lnTo>
                    <a:lnTo>
                      <a:pt x="120" y="255"/>
                    </a:lnTo>
                    <a:lnTo>
                      <a:pt x="120" y="251"/>
                    </a:lnTo>
                    <a:lnTo>
                      <a:pt x="123" y="250"/>
                    </a:lnTo>
                    <a:lnTo>
                      <a:pt x="124" y="248"/>
                    </a:lnTo>
                    <a:lnTo>
                      <a:pt x="123" y="247"/>
                    </a:lnTo>
                    <a:lnTo>
                      <a:pt x="122" y="246"/>
                    </a:lnTo>
                    <a:lnTo>
                      <a:pt x="121" y="245"/>
                    </a:lnTo>
                    <a:lnTo>
                      <a:pt x="123" y="241"/>
                    </a:lnTo>
                    <a:lnTo>
                      <a:pt x="124" y="238"/>
                    </a:lnTo>
                    <a:lnTo>
                      <a:pt x="121" y="235"/>
                    </a:lnTo>
                    <a:lnTo>
                      <a:pt x="120" y="233"/>
                    </a:lnTo>
                    <a:lnTo>
                      <a:pt x="121" y="231"/>
                    </a:lnTo>
                    <a:lnTo>
                      <a:pt x="121" y="230"/>
                    </a:lnTo>
                    <a:lnTo>
                      <a:pt x="119" y="229"/>
                    </a:lnTo>
                    <a:lnTo>
                      <a:pt x="117" y="227"/>
                    </a:lnTo>
                    <a:lnTo>
                      <a:pt x="117" y="225"/>
                    </a:lnTo>
                    <a:lnTo>
                      <a:pt x="110" y="225"/>
                    </a:lnTo>
                    <a:lnTo>
                      <a:pt x="108" y="224"/>
                    </a:lnTo>
                    <a:lnTo>
                      <a:pt x="105" y="225"/>
                    </a:lnTo>
                    <a:lnTo>
                      <a:pt x="105" y="226"/>
                    </a:lnTo>
                    <a:lnTo>
                      <a:pt x="103" y="227"/>
                    </a:lnTo>
                    <a:lnTo>
                      <a:pt x="103" y="229"/>
                    </a:lnTo>
                    <a:lnTo>
                      <a:pt x="101" y="230"/>
                    </a:lnTo>
                    <a:lnTo>
                      <a:pt x="99" y="229"/>
                    </a:lnTo>
                    <a:lnTo>
                      <a:pt x="98" y="228"/>
                    </a:lnTo>
                    <a:lnTo>
                      <a:pt x="96" y="228"/>
                    </a:lnTo>
                    <a:lnTo>
                      <a:pt x="95" y="229"/>
                    </a:lnTo>
                    <a:lnTo>
                      <a:pt x="93" y="227"/>
                    </a:lnTo>
                    <a:lnTo>
                      <a:pt x="93" y="224"/>
                    </a:lnTo>
                    <a:lnTo>
                      <a:pt x="92" y="224"/>
                    </a:lnTo>
                    <a:lnTo>
                      <a:pt x="91" y="224"/>
                    </a:lnTo>
                    <a:lnTo>
                      <a:pt x="89" y="224"/>
                    </a:lnTo>
                    <a:lnTo>
                      <a:pt x="87" y="224"/>
                    </a:lnTo>
                    <a:lnTo>
                      <a:pt x="82" y="224"/>
                    </a:lnTo>
                    <a:lnTo>
                      <a:pt x="80" y="226"/>
                    </a:lnTo>
                    <a:lnTo>
                      <a:pt x="79" y="228"/>
                    </a:lnTo>
                    <a:lnTo>
                      <a:pt x="78" y="229"/>
                    </a:lnTo>
                    <a:lnTo>
                      <a:pt x="77" y="228"/>
                    </a:lnTo>
                    <a:lnTo>
                      <a:pt x="75" y="228"/>
                    </a:lnTo>
                    <a:lnTo>
                      <a:pt x="73" y="231"/>
                    </a:lnTo>
                    <a:lnTo>
                      <a:pt x="71" y="231"/>
                    </a:lnTo>
                    <a:lnTo>
                      <a:pt x="69" y="233"/>
                    </a:lnTo>
                    <a:lnTo>
                      <a:pt x="66" y="236"/>
                    </a:lnTo>
                    <a:lnTo>
                      <a:pt x="64" y="235"/>
                    </a:lnTo>
                    <a:lnTo>
                      <a:pt x="63" y="238"/>
                    </a:lnTo>
                    <a:lnTo>
                      <a:pt x="62" y="239"/>
                    </a:lnTo>
                    <a:lnTo>
                      <a:pt x="61" y="238"/>
                    </a:lnTo>
                    <a:lnTo>
                      <a:pt x="60" y="237"/>
                    </a:lnTo>
                    <a:lnTo>
                      <a:pt x="59" y="239"/>
                    </a:lnTo>
                    <a:lnTo>
                      <a:pt x="56" y="239"/>
                    </a:lnTo>
                    <a:lnTo>
                      <a:pt x="55" y="237"/>
                    </a:lnTo>
                    <a:lnTo>
                      <a:pt x="54" y="237"/>
                    </a:lnTo>
                    <a:lnTo>
                      <a:pt x="54" y="237"/>
                    </a:lnTo>
                    <a:close/>
                  </a:path>
                </a:pathLst>
              </a:custGeom>
              <a:solidFill>
                <a:schemeClr val="accent2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971" name="Freeform 374"/>
              <p:cNvSpPr>
                <a:spLocks noEditPoints="1"/>
              </p:cNvSpPr>
              <p:nvPr userDrawn="1"/>
            </p:nvSpPr>
            <p:spPr bwMode="auto">
              <a:xfrm>
                <a:off x="4580" y="1736"/>
                <a:ext cx="1197" cy="853"/>
              </a:xfrm>
              <a:custGeom>
                <a:avLst/>
                <a:gdLst>
                  <a:gd name="T0" fmla="*/ 935 w 1253"/>
                  <a:gd name="T1" fmla="*/ 120 h 893"/>
                  <a:gd name="T2" fmla="*/ 945 w 1253"/>
                  <a:gd name="T3" fmla="*/ 85 h 893"/>
                  <a:gd name="T4" fmla="*/ 949 w 1253"/>
                  <a:gd name="T5" fmla="*/ 41 h 893"/>
                  <a:gd name="T6" fmla="*/ 941 w 1253"/>
                  <a:gd name="T7" fmla="*/ 14 h 893"/>
                  <a:gd name="T8" fmla="*/ 979 w 1253"/>
                  <a:gd name="T9" fmla="*/ 1 h 893"/>
                  <a:gd name="T10" fmla="*/ 1017 w 1253"/>
                  <a:gd name="T11" fmla="*/ 5 h 893"/>
                  <a:gd name="T12" fmla="*/ 1038 w 1253"/>
                  <a:gd name="T13" fmla="*/ 17 h 893"/>
                  <a:gd name="T14" fmla="*/ 1055 w 1253"/>
                  <a:gd name="T15" fmla="*/ 40 h 893"/>
                  <a:gd name="T16" fmla="*/ 1085 w 1253"/>
                  <a:gd name="T17" fmla="*/ 75 h 893"/>
                  <a:gd name="T18" fmla="*/ 1111 w 1253"/>
                  <a:gd name="T19" fmla="*/ 107 h 893"/>
                  <a:gd name="T20" fmla="*/ 1136 w 1253"/>
                  <a:gd name="T21" fmla="*/ 109 h 893"/>
                  <a:gd name="T22" fmla="*/ 1162 w 1253"/>
                  <a:gd name="T23" fmla="*/ 126 h 893"/>
                  <a:gd name="T24" fmla="*/ 1173 w 1253"/>
                  <a:gd name="T25" fmla="*/ 147 h 893"/>
                  <a:gd name="T26" fmla="*/ 1210 w 1253"/>
                  <a:gd name="T27" fmla="*/ 155 h 893"/>
                  <a:gd name="T28" fmla="*/ 1235 w 1253"/>
                  <a:gd name="T29" fmla="*/ 130 h 893"/>
                  <a:gd name="T30" fmla="*/ 1249 w 1253"/>
                  <a:gd name="T31" fmla="*/ 160 h 893"/>
                  <a:gd name="T32" fmla="*/ 1251 w 1253"/>
                  <a:gd name="T33" fmla="*/ 191 h 893"/>
                  <a:gd name="T34" fmla="*/ 1248 w 1253"/>
                  <a:gd name="T35" fmla="*/ 220 h 893"/>
                  <a:gd name="T36" fmla="*/ 1216 w 1253"/>
                  <a:gd name="T37" fmla="*/ 236 h 893"/>
                  <a:gd name="T38" fmla="*/ 1226 w 1253"/>
                  <a:gd name="T39" fmla="*/ 284 h 893"/>
                  <a:gd name="T40" fmla="*/ 1132 w 1253"/>
                  <a:gd name="T41" fmla="*/ 386 h 893"/>
                  <a:gd name="T42" fmla="*/ 1086 w 1253"/>
                  <a:gd name="T43" fmla="*/ 412 h 893"/>
                  <a:gd name="T44" fmla="*/ 1086 w 1253"/>
                  <a:gd name="T45" fmla="*/ 402 h 893"/>
                  <a:gd name="T46" fmla="*/ 1087 w 1253"/>
                  <a:gd name="T47" fmla="*/ 372 h 893"/>
                  <a:gd name="T48" fmla="*/ 1043 w 1253"/>
                  <a:gd name="T49" fmla="*/ 386 h 893"/>
                  <a:gd name="T50" fmla="*/ 1009 w 1253"/>
                  <a:gd name="T51" fmla="*/ 420 h 893"/>
                  <a:gd name="T52" fmla="*/ 1037 w 1253"/>
                  <a:gd name="T53" fmla="*/ 444 h 893"/>
                  <a:gd name="T54" fmla="*/ 1067 w 1253"/>
                  <a:gd name="T55" fmla="*/ 445 h 893"/>
                  <a:gd name="T56" fmla="*/ 1112 w 1253"/>
                  <a:gd name="T57" fmla="*/ 452 h 893"/>
                  <a:gd name="T58" fmla="*/ 1087 w 1253"/>
                  <a:gd name="T59" fmla="*/ 471 h 893"/>
                  <a:gd name="T60" fmla="*/ 1064 w 1253"/>
                  <a:gd name="T61" fmla="*/ 498 h 893"/>
                  <a:gd name="T62" fmla="*/ 1096 w 1253"/>
                  <a:gd name="T63" fmla="*/ 556 h 893"/>
                  <a:gd name="T64" fmla="*/ 1105 w 1253"/>
                  <a:gd name="T65" fmla="*/ 587 h 893"/>
                  <a:gd name="T66" fmla="*/ 1072 w 1253"/>
                  <a:gd name="T67" fmla="*/ 583 h 893"/>
                  <a:gd name="T68" fmla="*/ 1120 w 1253"/>
                  <a:gd name="T69" fmla="*/ 618 h 893"/>
                  <a:gd name="T70" fmla="*/ 1120 w 1253"/>
                  <a:gd name="T71" fmla="*/ 625 h 893"/>
                  <a:gd name="T72" fmla="*/ 1137 w 1253"/>
                  <a:gd name="T73" fmla="*/ 640 h 893"/>
                  <a:gd name="T74" fmla="*/ 1132 w 1253"/>
                  <a:gd name="T75" fmla="*/ 658 h 893"/>
                  <a:gd name="T76" fmla="*/ 1124 w 1253"/>
                  <a:gd name="T77" fmla="*/ 679 h 893"/>
                  <a:gd name="T78" fmla="*/ 1118 w 1253"/>
                  <a:gd name="T79" fmla="*/ 701 h 893"/>
                  <a:gd name="T80" fmla="*/ 1106 w 1253"/>
                  <a:gd name="T81" fmla="*/ 718 h 893"/>
                  <a:gd name="T82" fmla="*/ 1106 w 1253"/>
                  <a:gd name="T83" fmla="*/ 740 h 893"/>
                  <a:gd name="T84" fmla="*/ 1093 w 1253"/>
                  <a:gd name="T85" fmla="*/ 745 h 893"/>
                  <a:gd name="T86" fmla="*/ 1079 w 1253"/>
                  <a:gd name="T87" fmla="*/ 763 h 893"/>
                  <a:gd name="T88" fmla="*/ 1066 w 1253"/>
                  <a:gd name="T89" fmla="*/ 776 h 893"/>
                  <a:gd name="T90" fmla="*/ 1043 w 1253"/>
                  <a:gd name="T91" fmla="*/ 797 h 893"/>
                  <a:gd name="T92" fmla="*/ 1014 w 1253"/>
                  <a:gd name="T93" fmla="*/ 806 h 893"/>
                  <a:gd name="T94" fmla="*/ 995 w 1253"/>
                  <a:gd name="T95" fmla="*/ 811 h 893"/>
                  <a:gd name="T96" fmla="*/ 958 w 1253"/>
                  <a:gd name="T97" fmla="*/ 825 h 893"/>
                  <a:gd name="T98" fmla="*/ 944 w 1253"/>
                  <a:gd name="T99" fmla="*/ 831 h 893"/>
                  <a:gd name="T100" fmla="*/ 936 w 1253"/>
                  <a:gd name="T101" fmla="*/ 847 h 893"/>
                  <a:gd name="T102" fmla="*/ 916 w 1253"/>
                  <a:gd name="T103" fmla="*/ 824 h 893"/>
                  <a:gd name="T104" fmla="*/ 771 w 1253"/>
                  <a:gd name="T105" fmla="*/ 843 h 893"/>
                  <a:gd name="T106" fmla="*/ 1066 w 1253"/>
                  <a:gd name="T107" fmla="*/ 782 h 893"/>
                  <a:gd name="T108" fmla="*/ 1116 w 1253"/>
                  <a:gd name="T109" fmla="*/ 591 h 893"/>
                  <a:gd name="T110" fmla="*/ 1146 w 1253"/>
                  <a:gd name="T111" fmla="*/ 797 h 893"/>
                  <a:gd name="T112" fmla="*/ 1150 w 1253"/>
                  <a:gd name="T113" fmla="*/ 738 h 893"/>
                  <a:gd name="T114" fmla="*/ 1125 w 1253"/>
                  <a:gd name="T115" fmla="*/ 790 h 893"/>
                  <a:gd name="T116" fmla="*/ 954 w 1253"/>
                  <a:gd name="T117" fmla="*/ 837 h 893"/>
                  <a:gd name="T118" fmla="*/ 917 w 1253"/>
                  <a:gd name="T119" fmla="*/ 880 h 893"/>
                  <a:gd name="T120" fmla="*/ 954 w 1253"/>
                  <a:gd name="T121" fmla="*/ 880 h 8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253" h="893">
                    <a:moveTo>
                      <a:pt x="380" y="189"/>
                    </a:moveTo>
                    <a:cubicBezTo>
                      <a:pt x="386" y="189"/>
                      <a:pt x="386" y="189"/>
                      <a:pt x="386" y="189"/>
                    </a:cubicBezTo>
                    <a:cubicBezTo>
                      <a:pt x="389" y="191"/>
                      <a:pt x="389" y="191"/>
                      <a:pt x="389" y="191"/>
                    </a:cubicBezTo>
                    <a:cubicBezTo>
                      <a:pt x="393" y="191"/>
                      <a:pt x="393" y="191"/>
                      <a:pt x="393" y="191"/>
                    </a:cubicBezTo>
                    <a:cubicBezTo>
                      <a:pt x="562" y="196"/>
                      <a:pt x="562" y="196"/>
                      <a:pt x="562" y="196"/>
                    </a:cubicBezTo>
                    <a:cubicBezTo>
                      <a:pt x="863" y="164"/>
                      <a:pt x="863" y="164"/>
                      <a:pt x="863" y="164"/>
                    </a:cubicBezTo>
                    <a:cubicBezTo>
                      <a:pt x="901" y="127"/>
                      <a:pt x="901" y="127"/>
                      <a:pt x="901" y="127"/>
                    </a:cubicBezTo>
                    <a:cubicBezTo>
                      <a:pt x="908" y="124"/>
                      <a:pt x="908" y="124"/>
                      <a:pt x="908" y="124"/>
                    </a:cubicBezTo>
                    <a:cubicBezTo>
                      <a:pt x="911" y="125"/>
                      <a:pt x="911" y="125"/>
                      <a:pt x="911" y="125"/>
                    </a:cubicBezTo>
                    <a:cubicBezTo>
                      <a:pt x="912" y="126"/>
                      <a:pt x="912" y="126"/>
                      <a:pt x="912" y="126"/>
                    </a:cubicBezTo>
                    <a:cubicBezTo>
                      <a:pt x="915" y="125"/>
                      <a:pt x="915" y="125"/>
                      <a:pt x="915" y="125"/>
                    </a:cubicBezTo>
                    <a:cubicBezTo>
                      <a:pt x="921" y="126"/>
                      <a:pt x="921" y="126"/>
                      <a:pt x="921" y="126"/>
                    </a:cubicBezTo>
                    <a:cubicBezTo>
                      <a:pt x="924" y="128"/>
                      <a:pt x="924" y="128"/>
                      <a:pt x="924" y="128"/>
                    </a:cubicBezTo>
                    <a:cubicBezTo>
                      <a:pt x="926" y="128"/>
                      <a:pt x="926" y="128"/>
                      <a:pt x="926" y="128"/>
                    </a:cubicBezTo>
                    <a:cubicBezTo>
                      <a:pt x="935" y="120"/>
                      <a:pt x="935" y="120"/>
                      <a:pt x="935" y="120"/>
                    </a:cubicBezTo>
                    <a:cubicBezTo>
                      <a:pt x="939" y="117"/>
                      <a:pt x="939" y="117"/>
                      <a:pt x="939" y="117"/>
                    </a:cubicBezTo>
                    <a:cubicBezTo>
                      <a:pt x="946" y="115"/>
                      <a:pt x="946" y="115"/>
                      <a:pt x="946" y="115"/>
                    </a:cubicBezTo>
                    <a:cubicBezTo>
                      <a:pt x="949" y="113"/>
                      <a:pt x="949" y="113"/>
                      <a:pt x="949" y="113"/>
                    </a:cubicBezTo>
                    <a:cubicBezTo>
                      <a:pt x="950" y="109"/>
                      <a:pt x="950" y="109"/>
                      <a:pt x="950" y="109"/>
                    </a:cubicBezTo>
                    <a:cubicBezTo>
                      <a:pt x="950" y="105"/>
                      <a:pt x="950" y="105"/>
                      <a:pt x="950" y="105"/>
                    </a:cubicBezTo>
                    <a:cubicBezTo>
                      <a:pt x="948" y="104"/>
                      <a:pt x="948" y="104"/>
                      <a:pt x="948" y="104"/>
                    </a:cubicBezTo>
                    <a:cubicBezTo>
                      <a:pt x="947" y="105"/>
                      <a:pt x="947" y="105"/>
                      <a:pt x="947" y="105"/>
                    </a:cubicBezTo>
                    <a:cubicBezTo>
                      <a:pt x="945" y="104"/>
                      <a:pt x="945" y="104"/>
                      <a:pt x="945" y="104"/>
                    </a:cubicBezTo>
                    <a:cubicBezTo>
                      <a:pt x="943" y="104"/>
                      <a:pt x="943" y="104"/>
                      <a:pt x="943" y="104"/>
                    </a:cubicBezTo>
                    <a:cubicBezTo>
                      <a:pt x="943" y="99"/>
                      <a:pt x="943" y="99"/>
                      <a:pt x="943" y="99"/>
                    </a:cubicBezTo>
                    <a:cubicBezTo>
                      <a:pt x="944" y="97"/>
                      <a:pt x="944" y="97"/>
                      <a:pt x="944" y="97"/>
                    </a:cubicBezTo>
                    <a:cubicBezTo>
                      <a:pt x="944" y="92"/>
                      <a:pt x="944" y="92"/>
                      <a:pt x="944" y="92"/>
                    </a:cubicBezTo>
                    <a:cubicBezTo>
                      <a:pt x="942" y="89"/>
                      <a:pt x="942" y="89"/>
                      <a:pt x="942" y="89"/>
                    </a:cubicBezTo>
                    <a:cubicBezTo>
                      <a:pt x="943" y="87"/>
                      <a:pt x="943" y="87"/>
                      <a:pt x="943" y="87"/>
                    </a:cubicBezTo>
                    <a:cubicBezTo>
                      <a:pt x="945" y="85"/>
                      <a:pt x="945" y="85"/>
                      <a:pt x="945" y="85"/>
                    </a:cubicBezTo>
                    <a:cubicBezTo>
                      <a:pt x="946" y="82"/>
                      <a:pt x="946" y="82"/>
                      <a:pt x="946" y="82"/>
                    </a:cubicBezTo>
                    <a:cubicBezTo>
                      <a:pt x="944" y="80"/>
                      <a:pt x="944" y="80"/>
                      <a:pt x="944" y="80"/>
                    </a:cubicBezTo>
                    <a:cubicBezTo>
                      <a:pt x="943" y="76"/>
                      <a:pt x="943" y="76"/>
                      <a:pt x="943" y="76"/>
                    </a:cubicBezTo>
                    <a:cubicBezTo>
                      <a:pt x="944" y="74"/>
                      <a:pt x="944" y="74"/>
                      <a:pt x="944" y="74"/>
                    </a:cubicBezTo>
                    <a:cubicBezTo>
                      <a:pt x="942" y="70"/>
                      <a:pt x="942" y="70"/>
                      <a:pt x="942" y="70"/>
                    </a:cubicBezTo>
                    <a:cubicBezTo>
                      <a:pt x="942" y="67"/>
                      <a:pt x="942" y="67"/>
                      <a:pt x="942" y="67"/>
                    </a:cubicBezTo>
                    <a:cubicBezTo>
                      <a:pt x="944" y="64"/>
                      <a:pt x="944" y="64"/>
                      <a:pt x="944" y="64"/>
                    </a:cubicBezTo>
                    <a:cubicBezTo>
                      <a:pt x="947" y="62"/>
                      <a:pt x="947" y="62"/>
                      <a:pt x="947" y="62"/>
                    </a:cubicBezTo>
                    <a:cubicBezTo>
                      <a:pt x="947" y="57"/>
                      <a:pt x="947" y="57"/>
                      <a:pt x="947" y="57"/>
                    </a:cubicBezTo>
                    <a:cubicBezTo>
                      <a:pt x="950" y="54"/>
                      <a:pt x="950" y="54"/>
                      <a:pt x="950" y="54"/>
                    </a:cubicBezTo>
                    <a:cubicBezTo>
                      <a:pt x="952" y="52"/>
                      <a:pt x="952" y="52"/>
                      <a:pt x="952" y="52"/>
                    </a:cubicBezTo>
                    <a:cubicBezTo>
                      <a:pt x="953" y="48"/>
                      <a:pt x="953" y="48"/>
                      <a:pt x="953" y="48"/>
                    </a:cubicBezTo>
                    <a:cubicBezTo>
                      <a:pt x="952" y="45"/>
                      <a:pt x="952" y="45"/>
                      <a:pt x="952" y="45"/>
                    </a:cubicBezTo>
                    <a:cubicBezTo>
                      <a:pt x="952" y="43"/>
                      <a:pt x="952" y="43"/>
                      <a:pt x="952" y="43"/>
                    </a:cubicBezTo>
                    <a:cubicBezTo>
                      <a:pt x="949" y="41"/>
                      <a:pt x="949" y="41"/>
                      <a:pt x="949" y="41"/>
                    </a:cubicBezTo>
                    <a:cubicBezTo>
                      <a:pt x="947" y="37"/>
                      <a:pt x="947" y="37"/>
                      <a:pt x="947" y="37"/>
                    </a:cubicBezTo>
                    <a:cubicBezTo>
                      <a:pt x="945" y="33"/>
                      <a:pt x="945" y="33"/>
                      <a:pt x="945" y="33"/>
                    </a:cubicBezTo>
                    <a:cubicBezTo>
                      <a:pt x="942" y="32"/>
                      <a:pt x="942" y="32"/>
                      <a:pt x="942" y="32"/>
                    </a:cubicBezTo>
                    <a:cubicBezTo>
                      <a:pt x="940" y="33"/>
                      <a:pt x="940" y="33"/>
                      <a:pt x="940" y="33"/>
                    </a:cubicBezTo>
                    <a:cubicBezTo>
                      <a:pt x="935" y="36"/>
                      <a:pt x="935" y="36"/>
                      <a:pt x="935" y="36"/>
                    </a:cubicBezTo>
                    <a:cubicBezTo>
                      <a:pt x="933" y="36"/>
                      <a:pt x="933" y="36"/>
                      <a:pt x="933" y="36"/>
                    </a:cubicBezTo>
                    <a:cubicBezTo>
                      <a:pt x="932" y="34"/>
                      <a:pt x="932" y="34"/>
                      <a:pt x="932" y="34"/>
                    </a:cubicBezTo>
                    <a:cubicBezTo>
                      <a:pt x="932" y="30"/>
                      <a:pt x="932" y="30"/>
                      <a:pt x="932" y="30"/>
                    </a:cubicBezTo>
                    <a:cubicBezTo>
                      <a:pt x="933" y="28"/>
                      <a:pt x="933" y="28"/>
                      <a:pt x="933" y="28"/>
                    </a:cubicBezTo>
                    <a:cubicBezTo>
                      <a:pt x="933" y="26"/>
                      <a:pt x="933" y="26"/>
                      <a:pt x="933" y="26"/>
                    </a:cubicBezTo>
                    <a:cubicBezTo>
                      <a:pt x="935" y="24"/>
                      <a:pt x="935" y="24"/>
                      <a:pt x="935" y="24"/>
                    </a:cubicBezTo>
                    <a:cubicBezTo>
                      <a:pt x="936" y="21"/>
                      <a:pt x="936" y="21"/>
                      <a:pt x="936" y="21"/>
                    </a:cubicBezTo>
                    <a:cubicBezTo>
                      <a:pt x="939" y="18"/>
                      <a:pt x="939" y="18"/>
                      <a:pt x="939" y="18"/>
                    </a:cubicBezTo>
                    <a:cubicBezTo>
                      <a:pt x="939" y="15"/>
                      <a:pt x="939" y="15"/>
                      <a:pt x="939" y="15"/>
                    </a:cubicBezTo>
                    <a:cubicBezTo>
                      <a:pt x="941" y="14"/>
                      <a:pt x="941" y="14"/>
                      <a:pt x="941" y="14"/>
                    </a:cubicBezTo>
                    <a:cubicBezTo>
                      <a:pt x="946" y="13"/>
                      <a:pt x="946" y="13"/>
                      <a:pt x="946" y="13"/>
                    </a:cubicBezTo>
                    <a:cubicBezTo>
                      <a:pt x="948" y="12"/>
                      <a:pt x="948" y="12"/>
                      <a:pt x="948" y="12"/>
                    </a:cubicBezTo>
                    <a:cubicBezTo>
                      <a:pt x="951" y="12"/>
                      <a:pt x="951" y="12"/>
                      <a:pt x="951" y="12"/>
                    </a:cubicBezTo>
                    <a:cubicBezTo>
                      <a:pt x="951" y="11"/>
                      <a:pt x="951" y="11"/>
                      <a:pt x="951" y="11"/>
                    </a:cubicBezTo>
                    <a:cubicBezTo>
                      <a:pt x="954" y="12"/>
                      <a:pt x="954" y="12"/>
                      <a:pt x="954" y="12"/>
                    </a:cubicBezTo>
                    <a:cubicBezTo>
                      <a:pt x="957" y="10"/>
                      <a:pt x="957" y="10"/>
                      <a:pt x="957" y="10"/>
                    </a:cubicBezTo>
                    <a:cubicBezTo>
                      <a:pt x="959" y="8"/>
                      <a:pt x="959" y="8"/>
                      <a:pt x="959" y="8"/>
                    </a:cubicBezTo>
                    <a:cubicBezTo>
                      <a:pt x="962" y="8"/>
                      <a:pt x="962" y="8"/>
                      <a:pt x="962" y="8"/>
                    </a:cubicBezTo>
                    <a:cubicBezTo>
                      <a:pt x="964" y="5"/>
                      <a:pt x="964" y="5"/>
                      <a:pt x="964" y="5"/>
                    </a:cubicBezTo>
                    <a:cubicBezTo>
                      <a:pt x="968" y="6"/>
                      <a:pt x="968" y="6"/>
                      <a:pt x="968" y="6"/>
                    </a:cubicBezTo>
                    <a:cubicBezTo>
                      <a:pt x="971" y="6"/>
                      <a:pt x="971" y="6"/>
                      <a:pt x="971" y="6"/>
                    </a:cubicBezTo>
                    <a:cubicBezTo>
                      <a:pt x="975" y="6"/>
                      <a:pt x="975" y="6"/>
                      <a:pt x="975" y="6"/>
                    </a:cubicBezTo>
                    <a:cubicBezTo>
                      <a:pt x="976" y="4"/>
                      <a:pt x="976" y="4"/>
                      <a:pt x="976" y="4"/>
                    </a:cubicBezTo>
                    <a:cubicBezTo>
                      <a:pt x="978" y="4"/>
                      <a:pt x="978" y="4"/>
                      <a:pt x="978" y="4"/>
                    </a:cubicBezTo>
                    <a:cubicBezTo>
                      <a:pt x="979" y="1"/>
                      <a:pt x="979" y="1"/>
                      <a:pt x="979" y="1"/>
                    </a:cubicBezTo>
                    <a:cubicBezTo>
                      <a:pt x="985" y="1"/>
                      <a:pt x="985" y="1"/>
                      <a:pt x="985" y="1"/>
                    </a:cubicBezTo>
                    <a:cubicBezTo>
                      <a:pt x="985" y="0"/>
                      <a:pt x="985" y="0"/>
                      <a:pt x="985" y="0"/>
                    </a:cubicBezTo>
                    <a:cubicBezTo>
                      <a:pt x="988" y="1"/>
                      <a:pt x="988" y="1"/>
                      <a:pt x="988" y="1"/>
                    </a:cubicBezTo>
                    <a:cubicBezTo>
                      <a:pt x="991" y="1"/>
                      <a:pt x="991" y="1"/>
                      <a:pt x="991" y="1"/>
                    </a:cubicBezTo>
                    <a:cubicBezTo>
                      <a:pt x="993" y="3"/>
                      <a:pt x="993" y="3"/>
                      <a:pt x="993" y="3"/>
                    </a:cubicBezTo>
                    <a:cubicBezTo>
                      <a:pt x="999" y="3"/>
                      <a:pt x="999" y="3"/>
                      <a:pt x="999" y="3"/>
                    </a:cubicBezTo>
                    <a:cubicBezTo>
                      <a:pt x="1002" y="5"/>
                      <a:pt x="1002" y="5"/>
                      <a:pt x="1002" y="5"/>
                    </a:cubicBezTo>
                    <a:cubicBezTo>
                      <a:pt x="1003" y="7"/>
                      <a:pt x="1003" y="7"/>
                      <a:pt x="1003" y="7"/>
                    </a:cubicBezTo>
                    <a:cubicBezTo>
                      <a:pt x="1007" y="7"/>
                      <a:pt x="1007" y="7"/>
                      <a:pt x="1007" y="7"/>
                    </a:cubicBezTo>
                    <a:cubicBezTo>
                      <a:pt x="1010" y="6"/>
                      <a:pt x="1010" y="6"/>
                      <a:pt x="1010" y="6"/>
                    </a:cubicBezTo>
                    <a:cubicBezTo>
                      <a:pt x="1011" y="7"/>
                      <a:pt x="1011" y="7"/>
                      <a:pt x="1011" y="7"/>
                    </a:cubicBezTo>
                    <a:cubicBezTo>
                      <a:pt x="1014" y="9"/>
                      <a:pt x="1014" y="9"/>
                      <a:pt x="1014" y="9"/>
                    </a:cubicBezTo>
                    <a:cubicBezTo>
                      <a:pt x="1016" y="8"/>
                      <a:pt x="1016" y="8"/>
                      <a:pt x="1016" y="8"/>
                    </a:cubicBezTo>
                    <a:cubicBezTo>
                      <a:pt x="1016" y="6"/>
                      <a:pt x="1016" y="6"/>
                      <a:pt x="1016" y="6"/>
                    </a:cubicBezTo>
                    <a:cubicBezTo>
                      <a:pt x="1017" y="5"/>
                      <a:pt x="1017" y="5"/>
                      <a:pt x="1017" y="5"/>
                    </a:cubicBezTo>
                    <a:cubicBezTo>
                      <a:pt x="1019" y="6"/>
                      <a:pt x="1019" y="6"/>
                      <a:pt x="1019" y="6"/>
                    </a:cubicBezTo>
                    <a:cubicBezTo>
                      <a:pt x="1022" y="6"/>
                      <a:pt x="1022" y="6"/>
                      <a:pt x="1022" y="6"/>
                    </a:cubicBezTo>
                    <a:cubicBezTo>
                      <a:pt x="1023" y="5"/>
                      <a:pt x="1023" y="5"/>
                      <a:pt x="1023" y="5"/>
                    </a:cubicBezTo>
                    <a:cubicBezTo>
                      <a:pt x="1025" y="7"/>
                      <a:pt x="1025" y="7"/>
                      <a:pt x="1025" y="7"/>
                    </a:cubicBezTo>
                    <a:cubicBezTo>
                      <a:pt x="1027" y="7"/>
                      <a:pt x="1027" y="7"/>
                      <a:pt x="1027" y="7"/>
                    </a:cubicBezTo>
                    <a:cubicBezTo>
                      <a:pt x="1030" y="8"/>
                      <a:pt x="1030" y="8"/>
                      <a:pt x="1030" y="8"/>
                    </a:cubicBezTo>
                    <a:cubicBezTo>
                      <a:pt x="1031" y="10"/>
                      <a:pt x="1031" y="10"/>
                      <a:pt x="1031" y="10"/>
                    </a:cubicBezTo>
                    <a:cubicBezTo>
                      <a:pt x="1030" y="11"/>
                      <a:pt x="1030" y="11"/>
                      <a:pt x="1030" y="11"/>
                    </a:cubicBezTo>
                    <a:cubicBezTo>
                      <a:pt x="1031" y="13"/>
                      <a:pt x="1031" y="13"/>
                      <a:pt x="1031" y="13"/>
                    </a:cubicBezTo>
                    <a:cubicBezTo>
                      <a:pt x="1033" y="13"/>
                      <a:pt x="1033" y="13"/>
                      <a:pt x="1033" y="13"/>
                    </a:cubicBezTo>
                    <a:cubicBezTo>
                      <a:pt x="1034" y="15"/>
                      <a:pt x="1034" y="15"/>
                      <a:pt x="1034" y="15"/>
                    </a:cubicBezTo>
                    <a:cubicBezTo>
                      <a:pt x="1036" y="13"/>
                      <a:pt x="1036" y="13"/>
                      <a:pt x="1036" y="13"/>
                    </a:cubicBezTo>
                    <a:cubicBezTo>
                      <a:pt x="1039" y="14"/>
                      <a:pt x="1039" y="14"/>
                      <a:pt x="1039" y="14"/>
                    </a:cubicBezTo>
                    <a:cubicBezTo>
                      <a:pt x="1039" y="16"/>
                      <a:pt x="1039" y="16"/>
                      <a:pt x="1039" y="16"/>
                    </a:cubicBezTo>
                    <a:cubicBezTo>
                      <a:pt x="1038" y="17"/>
                      <a:pt x="1038" y="17"/>
                      <a:pt x="1038" y="17"/>
                    </a:cubicBezTo>
                    <a:cubicBezTo>
                      <a:pt x="1039" y="19"/>
                      <a:pt x="1039" y="19"/>
                      <a:pt x="1039" y="19"/>
                    </a:cubicBezTo>
                    <a:cubicBezTo>
                      <a:pt x="1042" y="20"/>
                      <a:pt x="1042" y="20"/>
                      <a:pt x="1042" y="20"/>
                    </a:cubicBezTo>
                    <a:cubicBezTo>
                      <a:pt x="1044" y="20"/>
                      <a:pt x="1044" y="20"/>
                      <a:pt x="1044" y="20"/>
                    </a:cubicBezTo>
                    <a:cubicBezTo>
                      <a:pt x="1045" y="21"/>
                      <a:pt x="1045" y="21"/>
                      <a:pt x="1045" y="21"/>
                    </a:cubicBezTo>
                    <a:cubicBezTo>
                      <a:pt x="1045" y="23"/>
                      <a:pt x="1045" y="23"/>
                      <a:pt x="1045" y="23"/>
                    </a:cubicBezTo>
                    <a:cubicBezTo>
                      <a:pt x="1047" y="24"/>
                      <a:pt x="1047" y="24"/>
                      <a:pt x="1047" y="24"/>
                    </a:cubicBezTo>
                    <a:cubicBezTo>
                      <a:pt x="1049" y="26"/>
                      <a:pt x="1049" y="26"/>
                      <a:pt x="1049" y="26"/>
                    </a:cubicBezTo>
                    <a:cubicBezTo>
                      <a:pt x="1049" y="28"/>
                      <a:pt x="1049" y="28"/>
                      <a:pt x="1049" y="28"/>
                    </a:cubicBezTo>
                    <a:cubicBezTo>
                      <a:pt x="1050" y="30"/>
                      <a:pt x="1050" y="30"/>
                      <a:pt x="1050" y="30"/>
                    </a:cubicBezTo>
                    <a:cubicBezTo>
                      <a:pt x="1050" y="32"/>
                      <a:pt x="1050" y="32"/>
                      <a:pt x="1050" y="32"/>
                    </a:cubicBezTo>
                    <a:cubicBezTo>
                      <a:pt x="1051" y="33"/>
                      <a:pt x="1051" y="33"/>
                      <a:pt x="1051" y="33"/>
                    </a:cubicBezTo>
                    <a:cubicBezTo>
                      <a:pt x="1056" y="34"/>
                      <a:pt x="1056" y="34"/>
                      <a:pt x="1056" y="34"/>
                    </a:cubicBezTo>
                    <a:cubicBezTo>
                      <a:pt x="1056" y="36"/>
                      <a:pt x="1056" y="36"/>
                      <a:pt x="1056" y="36"/>
                    </a:cubicBezTo>
                    <a:cubicBezTo>
                      <a:pt x="1055" y="38"/>
                      <a:pt x="1055" y="38"/>
                      <a:pt x="1055" y="38"/>
                    </a:cubicBezTo>
                    <a:cubicBezTo>
                      <a:pt x="1055" y="40"/>
                      <a:pt x="1055" y="40"/>
                      <a:pt x="1055" y="40"/>
                    </a:cubicBezTo>
                    <a:cubicBezTo>
                      <a:pt x="1060" y="43"/>
                      <a:pt x="1060" y="43"/>
                      <a:pt x="1060" y="43"/>
                    </a:cubicBezTo>
                    <a:cubicBezTo>
                      <a:pt x="1061" y="46"/>
                      <a:pt x="1061" y="46"/>
                      <a:pt x="1061" y="46"/>
                    </a:cubicBezTo>
                    <a:cubicBezTo>
                      <a:pt x="1064" y="49"/>
                      <a:pt x="1064" y="49"/>
                      <a:pt x="1064" y="49"/>
                    </a:cubicBezTo>
                    <a:cubicBezTo>
                      <a:pt x="1064" y="51"/>
                      <a:pt x="1064" y="51"/>
                      <a:pt x="1064" y="51"/>
                    </a:cubicBezTo>
                    <a:cubicBezTo>
                      <a:pt x="1066" y="52"/>
                      <a:pt x="1066" y="52"/>
                      <a:pt x="1066" y="52"/>
                    </a:cubicBezTo>
                    <a:cubicBezTo>
                      <a:pt x="1068" y="56"/>
                      <a:pt x="1068" y="56"/>
                      <a:pt x="1068" y="56"/>
                    </a:cubicBezTo>
                    <a:cubicBezTo>
                      <a:pt x="1070" y="57"/>
                      <a:pt x="1070" y="57"/>
                      <a:pt x="1070" y="57"/>
                    </a:cubicBezTo>
                    <a:cubicBezTo>
                      <a:pt x="1070" y="59"/>
                      <a:pt x="1070" y="59"/>
                      <a:pt x="1070" y="59"/>
                    </a:cubicBezTo>
                    <a:cubicBezTo>
                      <a:pt x="1069" y="61"/>
                      <a:pt x="1069" y="61"/>
                      <a:pt x="1069" y="61"/>
                    </a:cubicBezTo>
                    <a:cubicBezTo>
                      <a:pt x="1070" y="62"/>
                      <a:pt x="1070" y="62"/>
                      <a:pt x="1070" y="62"/>
                    </a:cubicBezTo>
                    <a:cubicBezTo>
                      <a:pt x="1072" y="61"/>
                      <a:pt x="1072" y="61"/>
                      <a:pt x="1072" y="61"/>
                    </a:cubicBezTo>
                    <a:cubicBezTo>
                      <a:pt x="1074" y="64"/>
                      <a:pt x="1074" y="64"/>
                      <a:pt x="1074" y="64"/>
                    </a:cubicBezTo>
                    <a:cubicBezTo>
                      <a:pt x="1075" y="66"/>
                      <a:pt x="1075" y="66"/>
                      <a:pt x="1075" y="66"/>
                    </a:cubicBezTo>
                    <a:cubicBezTo>
                      <a:pt x="1078" y="71"/>
                      <a:pt x="1078" y="71"/>
                      <a:pt x="1078" y="71"/>
                    </a:cubicBezTo>
                    <a:cubicBezTo>
                      <a:pt x="1085" y="75"/>
                      <a:pt x="1085" y="75"/>
                      <a:pt x="1085" y="75"/>
                    </a:cubicBezTo>
                    <a:cubicBezTo>
                      <a:pt x="1086" y="78"/>
                      <a:pt x="1086" y="78"/>
                      <a:pt x="1086" y="78"/>
                    </a:cubicBezTo>
                    <a:cubicBezTo>
                      <a:pt x="1087" y="82"/>
                      <a:pt x="1087" y="82"/>
                      <a:pt x="1087" y="82"/>
                    </a:cubicBezTo>
                    <a:cubicBezTo>
                      <a:pt x="1089" y="83"/>
                      <a:pt x="1089" y="83"/>
                      <a:pt x="1089" y="83"/>
                    </a:cubicBezTo>
                    <a:cubicBezTo>
                      <a:pt x="1089" y="87"/>
                      <a:pt x="1089" y="87"/>
                      <a:pt x="1089" y="87"/>
                    </a:cubicBezTo>
                    <a:cubicBezTo>
                      <a:pt x="1091" y="88"/>
                      <a:pt x="1091" y="88"/>
                      <a:pt x="1091" y="88"/>
                    </a:cubicBezTo>
                    <a:cubicBezTo>
                      <a:pt x="1093" y="89"/>
                      <a:pt x="1093" y="89"/>
                      <a:pt x="1093" y="89"/>
                    </a:cubicBezTo>
                    <a:cubicBezTo>
                      <a:pt x="1094" y="92"/>
                      <a:pt x="1094" y="92"/>
                      <a:pt x="1094" y="92"/>
                    </a:cubicBezTo>
                    <a:cubicBezTo>
                      <a:pt x="1094" y="94"/>
                      <a:pt x="1094" y="94"/>
                      <a:pt x="1094" y="94"/>
                    </a:cubicBezTo>
                    <a:cubicBezTo>
                      <a:pt x="1096" y="98"/>
                      <a:pt x="1096" y="98"/>
                      <a:pt x="1096" y="98"/>
                    </a:cubicBezTo>
                    <a:cubicBezTo>
                      <a:pt x="1100" y="102"/>
                      <a:pt x="1100" y="102"/>
                      <a:pt x="1100" y="102"/>
                    </a:cubicBezTo>
                    <a:cubicBezTo>
                      <a:pt x="1103" y="103"/>
                      <a:pt x="1103" y="103"/>
                      <a:pt x="1103" y="103"/>
                    </a:cubicBezTo>
                    <a:cubicBezTo>
                      <a:pt x="1104" y="106"/>
                      <a:pt x="1104" y="106"/>
                      <a:pt x="1104" y="106"/>
                    </a:cubicBezTo>
                    <a:cubicBezTo>
                      <a:pt x="1107" y="106"/>
                      <a:pt x="1107" y="106"/>
                      <a:pt x="1107" y="106"/>
                    </a:cubicBezTo>
                    <a:cubicBezTo>
                      <a:pt x="1109" y="105"/>
                      <a:pt x="1109" y="105"/>
                      <a:pt x="1109" y="105"/>
                    </a:cubicBezTo>
                    <a:cubicBezTo>
                      <a:pt x="1111" y="107"/>
                      <a:pt x="1111" y="107"/>
                      <a:pt x="1111" y="107"/>
                    </a:cubicBezTo>
                    <a:cubicBezTo>
                      <a:pt x="1112" y="106"/>
                      <a:pt x="1112" y="106"/>
                      <a:pt x="1112" y="106"/>
                    </a:cubicBezTo>
                    <a:cubicBezTo>
                      <a:pt x="1116" y="106"/>
                      <a:pt x="1116" y="106"/>
                      <a:pt x="1116" y="106"/>
                    </a:cubicBezTo>
                    <a:cubicBezTo>
                      <a:pt x="1118" y="105"/>
                      <a:pt x="1118" y="105"/>
                      <a:pt x="1118" y="105"/>
                    </a:cubicBezTo>
                    <a:cubicBezTo>
                      <a:pt x="1121" y="105"/>
                      <a:pt x="1121" y="105"/>
                      <a:pt x="1121" y="105"/>
                    </a:cubicBezTo>
                    <a:cubicBezTo>
                      <a:pt x="1121" y="106"/>
                      <a:pt x="1121" y="106"/>
                      <a:pt x="1121" y="106"/>
                    </a:cubicBezTo>
                    <a:cubicBezTo>
                      <a:pt x="1120" y="107"/>
                      <a:pt x="1120" y="107"/>
                      <a:pt x="1120" y="107"/>
                    </a:cubicBezTo>
                    <a:cubicBezTo>
                      <a:pt x="1121" y="108"/>
                      <a:pt x="1121" y="108"/>
                      <a:pt x="1121" y="108"/>
                    </a:cubicBezTo>
                    <a:cubicBezTo>
                      <a:pt x="1125" y="109"/>
                      <a:pt x="1125" y="109"/>
                      <a:pt x="1125" y="109"/>
                    </a:cubicBezTo>
                    <a:cubicBezTo>
                      <a:pt x="1127" y="110"/>
                      <a:pt x="1127" y="110"/>
                      <a:pt x="1127" y="110"/>
                    </a:cubicBezTo>
                    <a:cubicBezTo>
                      <a:pt x="1128" y="111"/>
                      <a:pt x="1128" y="111"/>
                      <a:pt x="1128" y="111"/>
                    </a:cubicBezTo>
                    <a:cubicBezTo>
                      <a:pt x="1131" y="113"/>
                      <a:pt x="1131" y="113"/>
                      <a:pt x="1131" y="113"/>
                    </a:cubicBezTo>
                    <a:cubicBezTo>
                      <a:pt x="1131" y="111"/>
                      <a:pt x="1131" y="111"/>
                      <a:pt x="1131" y="111"/>
                    </a:cubicBezTo>
                    <a:cubicBezTo>
                      <a:pt x="1133" y="110"/>
                      <a:pt x="1133" y="110"/>
                      <a:pt x="1133" y="110"/>
                    </a:cubicBezTo>
                    <a:cubicBezTo>
                      <a:pt x="1135" y="111"/>
                      <a:pt x="1135" y="111"/>
                      <a:pt x="1135" y="111"/>
                    </a:cubicBezTo>
                    <a:cubicBezTo>
                      <a:pt x="1136" y="109"/>
                      <a:pt x="1136" y="109"/>
                      <a:pt x="1136" y="109"/>
                    </a:cubicBezTo>
                    <a:cubicBezTo>
                      <a:pt x="1138" y="108"/>
                      <a:pt x="1138" y="108"/>
                      <a:pt x="1138" y="108"/>
                    </a:cubicBezTo>
                    <a:cubicBezTo>
                      <a:pt x="1139" y="110"/>
                      <a:pt x="1139" y="110"/>
                      <a:pt x="1139" y="110"/>
                    </a:cubicBezTo>
                    <a:cubicBezTo>
                      <a:pt x="1140" y="112"/>
                      <a:pt x="1140" y="112"/>
                      <a:pt x="1140" y="112"/>
                    </a:cubicBezTo>
                    <a:cubicBezTo>
                      <a:pt x="1142" y="114"/>
                      <a:pt x="1142" y="114"/>
                      <a:pt x="1142" y="114"/>
                    </a:cubicBezTo>
                    <a:cubicBezTo>
                      <a:pt x="1144" y="114"/>
                      <a:pt x="1144" y="114"/>
                      <a:pt x="1144" y="114"/>
                    </a:cubicBezTo>
                    <a:cubicBezTo>
                      <a:pt x="1145" y="116"/>
                      <a:pt x="1145" y="116"/>
                      <a:pt x="1145" y="116"/>
                    </a:cubicBezTo>
                    <a:cubicBezTo>
                      <a:pt x="1147" y="118"/>
                      <a:pt x="1147" y="118"/>
                      <a:pt x="1147" y="118"/>
                    </a:cubicBezTo>
                    <a:cubicBezTo>
                      <a:pt x="1148" y="118"/>
                      <a:pt x="1148" y="118"/>
                      <a:pt x="1148" y="118"/>
                    </a:cubicBezTo>
                    <a:cubicBezTo>
                      <a:pt x="1150" y="119"/>
                      <a:pt x="1150" y="119"/>
                      <a:pt x="1150" y="119"/>
                    </a:cubicBezTo>
                    <a:cubicBezTo>
                      <a:pt x="1150" y="121"/>
                      <a:pt x="1150" y="121"/>
                      <a:pt x="1150" y="121"/>
                    </a:cubicBezTo>
                    <a:cubicBezTo>
                      <a:pt x="1154" y="123"/>
                      <a:pt x="1154" y="123"/>
                      <a:pt x="1154" y="123"/>
                    </a:cubicBezTo>
                    <a:cubicBezTo>
                      <a:pt x="1155" y="124"/>
                      <a:pt x="1155" y="124"/>
                      <a:pt x="1155" y="124"/>
                    </a:cubicBezTo>
                    <a:cubicBezTo>
                      <a:pt x="1157" y="124"/>
                      <a:pt x="1157" y="124"/>
                      <a:pt x="1157" y="124"/>
                    </a:cubicBezTo>
                    <a:cubicBezTo>
                      <a:pt x="1159" y="126"/>
                      <a:pt x="1159" y="126"/>
                      <a:pt x="1159" y="126"/>
                    </a:cubicBezTo>
                    <a:cubicBezTo>
                      <a:pt x="1162" y="126"/>
                      <a:pt x="1162" y="126"/>
                      <a:pt x="1162" y="126"/>
                    </a:cubicBezTo>
                    <a:cubicBezTo>
                      <a:pt x="1164" y="125"/>
                      <a:pt x="1164" y="125"/>
                      <a:pt x="1164" y="125"/>
                    </a:cubicBezTo>
                    <a:cubicBezTo>
                      <a:pt x="1166" y="125"/>
                      <a:pt x="1166" y="125"/>
                      <a:pt x="1166" y="125"/>
                    </a:cubicBezTo>
                    <a:cubicBezTo>
                      <a:pt x="1168" y="124"/>
                      <a:pt x="1168" y="124"/>
                      <a:pt x="1168" y="124"/>
                    </a:cubicBezTo>
                    <a:cubicBezTo>
                      <a:pt x="1169" y="123"/>
                      <a:pt x="1169" y="123"/>
                      <a:pt x="1169" y="123"/>
                    </a:cubicBezTo>
                    <a:cubicBezTo>
                      <a:pt x="1171" y="124"/>
                      <a:pt x="1171" y="124"/>
                      <a:pt x="1171" y="124"/>
                    </a:cubicBezTo>
                    <a:cubicBezTo>
                      <a:pt x="1170" y="126"/>
                      <a:pt x="1170" y="126"/>
                      <a:pt x="1170" y="126"/>
                    </a:cubicBezTo>
                    <a:cubicBezTo>
                      <a:pt x="1169" y="129"/>
                      <a:pt x="1169" y="129"/>
                      <a:pt x="1169" y="129"/>
                    </a:cubicBezTo>
                    <a:cubicBezTo>
                      <a:pt x="1169" y="131"/>
                      <a:pt x="1169" y="131"/>
                      <a:pt x="1169" y="131"/>
                    </a:cubicBezTo>
                    <a:cubicBezTo>
                      <a:pt x="1169" y="133"/>
                      <a:pt x="1169" y="133"/>
                      <a:pt x="1169" y="133"/>
                    </a:cubicBezTo>
                    <a:cubicBezTo>
                      <a:pt x="1172" y="133"/>
                      <a:pt x="1172" y="133"/>
                      <a:pt x="1172" y="133"/>
                    </a:cubicBezTo>
                    <a:cubicBezTo>
                      <a:pt x="1173" y="137"/>
                      <a:pt x="1173" y="137"/>
                      <a:pt x="1173" y="137"/>
                    </a:cubicBezTo>
                    <a:cubicBezTo>
                      <a:pt x="1174" y="140"/>
                      <a:pt x="1174" y="140"/>
                      <a:pt x="1174" y="140"/>
                    </a:cubicBezTo>
                    <a:cubicBezTo>
                      <a:pt x="1174" y="143"/>
                      <a:pt x="1174" y="143"/>
                      <a:pt x="1174" y="143"/>
                    </a:cubicBezTo>
                    <a:cubicBezTo>
                      <a:pt x="1173" y="144"/>
                      <a:pt x="1173" y="144"/>
                      <a:pt x="1173" y="144"/>
                    </a:cubicBezTo>
                    <a:cubicBezTo>
                      <a:pt x="1173" y="147"/>
                      <a:pt x="1173" y="147"/>
                      <a:pt x="1173" y="147"/>
                    </a:cubicBezTo>
                    <a:cubicBezTo>
                      <a:pt x="1177" y="151"/>
                      <a:pt x="1177" y="151"/>
                      <a:pt x="1177" y="151"/>
                    </a:cubicBezTo>
                    <a:cubicBezTo>
                      <a:pt x="1178" y="152"/>
                      <a:pt x="1178" y="152"/>
                      <a:pt x="1178" y="152"/>
                    </a:cubicBezTo>
                    <a:cubicBezTo>
                      <a:pt x="1181" y="156"/>
                      <a:pt x="1181" y="156"/>
                      <a:pt x="1181" y="156"/>
                    </a:cubicBezTo>
                    <a:cubicBezTo>
                      <a:pt x="1182" y="158"/>
                      <a:pt x="1182" y="158"/>
                      <a:pt x="1182" y="158"/>
                    </a:cubicBezTo>
                    <a:cubicBezTo>
                      <a:pt x="1185" y="157"/>
                      <a:pt x="1185" y="157"/>
                      <a:pt x="1185" y="157"/>
                    </a:cubicBezTo>
                    <a:cubicBezTo>
                      <a:pt x="1188" y="155"/>
                      <a:pt x="1188" y="155"/>
                      <a:pt x="1188" y="155"/>
                    </a:cubicBezTo>
                    <a:cubicBezTo>
                      <a:pt x="1191" y="155"/>
                      <a:pt x="1191" y="155"/>
                      <a:pt x="1191" y="155"/>
                    </a:cubicBezTo>
                    <a:cubicBezTo>
                      <a:pt x="1192" y="158"/>
                      <a:pt x="1192" y="158"/>
                      <a:pt x="1192" y="158"/>
                    </a:cubicBezTo>
                    <a:cubicBezTo>
                      <a:pt x="1193" y="160"/>
                      <a:pt x="1193" y="160"/>
                      <a:pt x="1193" y="160"/>
                    </a:cubicBezTo>
                    <a:cubicBezTo>
                      <a:pt x="1196" y="159"/>
                      <a:pt x="1196" y="159"/>
                      <a:pt x="1196" y="159"/>
                    </a:cubicBezTo>
                    <a:cubicBezTo>
                      <a:pt x="1197" y="158"/>
                      <a:pt x="1197" y="158"/>
                      <a:pt x="1197" y="158"/>
                    </a:cubicBezTo>
                    <a:cubicBezTo>
                      <a:pt x="1200" y="158"/>
                      <a:pt x="1200" y="158"/>
                      <a:pt x="1200" y="158"/>
                    </a:cubicBezTo>
                    <a:cubicBezTo>
                      <a:pt x="1202" y="158"/>
                      <a:pt x="1202" y="158"/>
                      <a:pt x="1202" y="158"/>
                    </a:cubicBezTo>
                    <a:cubicBezTo>
                      <a:pt x="1207" y="157"/>
                      <a:pt x="1207" y="157"/>
                      <a:pt x="1207" y="157"/>
                    </a:cubicBezTo>
                    <a:cubicBezTo>
                      <a:pt x="1210" y="155"/>
                      <a:pt x="1210" y="155"/>
                      <a:pt x="1210" y="155"/>
                    </a:cubicBezTo>
                    <a:cubicBezTo>
                      <a:pt x="1212" y="154"/>
                      <a:pt x="1212" y="154"/>
                      <a:pt x="1212" y="154"/>
                    </a:cubicBezTo>
                    <a:cubicBezTo>
                      <a:pt x="1211" y="152"/>
                      <a:pt x="1211" y="152"/>
                      <a:pt x="1211" y="152"/>
                    </a:cubicBezTo>
                    <a:cubicBezTo>
                      <a:pt x="1212" y="148"/>
                      <a:pt x="1212" y="148"/>
                      <a:pt x="1212" y="148"/>
                    </a:cubicBezTo>
                    <a:cubicBezTo>
                      <a:pt x="1215" y="147"/>
                      <a:pt x="1215" y="147"/>
                      <a:pt x="1215" y="147"/>
                    </a:cubicBezTo>
                    <a:cubicBezTo>
                      <a:pt x="1215" y="144"/>
                      <a:pt x="1215" y="144"/>
                      <a:pt x="1215" y="144"/>
                    </a:cubicBezTo>
                    <a:cubicBezTo>
                      <a:pt x="1216" y="142"/>
                      <a:pt x="1216" y="142"/>
                      <a:pt x="1216" y="142"/>
                    </a:cubicBezTo>
                    <a:cubicBezTo>
                      <a:pt x="1218" y="141"/>
                      <a:pt x="1218" y="141"/>
                      <a:pt x="1218" y="141"/>
                    </a:cubicBezTo>
                    <a:cubicBezTo>
                      <a:pt x="1222" y="141"/>
                      <a:pt x="1222" y="141"/>
                      <a:pt x="1222" y="141"/>
                    </a:cubicBezTo>
                    <a:cubicBezTo>
                      <a:pt x="1223" y="137"/>
                      <a:pt x="1223" y="137"/>
                      <a:pt x="1223" y="137"/>
                    </a:cubicBezTo>
                    <a:cubicBezTo>
                      <a:pt x="1225" y="137"/>
                      <a:pt x="1225" y="137"/>
                      <a:pt x="1225" y="137"/>
                    </a:cubicBezTo>
                    <a:cubicBezTo>
                      <a:pt x="1227" y="136"/>
                      <a:pt x="1227" y="136"/>
                      <a:pt x="1227" y="136"/>
                    </a:cubicBezTo>
                    <a:cubicBezTo>
                      <a:pt x="1228" y="134"/>
                      <a:pt x="1228" y="134"/>
                      <a:pt x="1228" y="134"/>
                    </a:cubicBezTo>
                    <a:cubicBezTo>
                      <a:pt x="1230" y="132"/>
                      <a:pt x="1230" y="132"/>
                      <a:pt x="1230" y="132"/>
                    </a:cubicBezTo>
                    <a:cubicBezTo>
                      <a:pt x="1233" y="131"/>
                      <a:pt x="1233" y="131"/>
                      <a:pt x="1233" y="131"/>
                    </a:cubicBezTo>
                    <a:cubicBezTo>
                      <a:pt x="1235" y="130"/>
                      <a:pt x="1235" y="130"/>
                      <a:pt x="1235" y="130"/>
                    </a:cubicBezTo>
                    <a:cubicBezTo>
                      <a:pt x="1239" y="131"/>
                      <a:pt x="1239" y="131"/>
                      <a:pt x="1239" y="131"/>
                    </a:cubicBezTo>
                    <a:cubicBezTo>
                      <a:pt x="1241" y="132"/>
                      <a:pt x="1241" y="132"/>
                      <a:pt x="1241" y="132"/>
                    </a:cubicBezTo>
                    <a:cubicBezTo>
                      <a:pt x="1244" y="133"/>
                      <a:pt x="1244" y="133"/>
                      <a:pt x="1244" y="133"/>
                    </a:cubicBezTo>
                    <a:cubicBezTo>
                      <a:pt x="1245" y="135"/>
                      <a:pt x="1245" y="135"/>
                      <a:pt x="1245" y="135"/>
                    </a:cubicBezTo>
                    <a:cubicBezTo>
                      <a:pt x="1247" y="138"/>
                      <a:pt x="1247" y="138"/>
                      <a:pt x="1247" y="138"/>
                    </a:cubicBezTo>
                    <a:cubicBezTo>
                      <a:pt x="1245" y="140"/>
                      <a:pt x="1245" y="140"/>
                      <a:pt x="1245" y="140"/>
                    </a:cubicBezTo>
                    <a:cubicBezTo>
                      <a:pt x="1246" y="142"/>
                      <a:pt x="1246" y="142"/>
                      <a:pt x="1246" y="142"/>
                    </a:cubicBezTo>
                    <a:cubicBezTo>
                      <a:pt x="1249" y="145"/>
                      <a:pt x="1249" y="145"/>
                      <a:pt x="1249" y="145"/>
                    </a:cubicBezTo>
                    <a:cubicBezTo>
                      <a:pt x="1249" y="148"/>
                      <a:pt x="1249" y="148"/>
                      <a:pt x="1249" y="148"/>
                    </a:cubicBezTo>
                    <a:cubicBezTo>
                      <a:pt x="1251" y="149"/>
                      <a:pt x="1251" y="149"/>
                      <a:pt x="1251" y="149"/>
                    </a:cubicBezTo>
                    <a:cubicBezTo>
                      <a:pt x="1253" y="151"/>
                      <a:pt x="1253" y="151"/>
                      <a:pt x="1253" y="151"/>
                    </a:cubicBezTo>
                    <a:cubicBezTo>
                      <a:pt x="1253" y="155"/>
                      <a:pt x="1253" y="155"/>
                      <a:pt x="1253" y="155"/>
                    </a:cubicBezTo>
                    <a:cubicBezTo>
                      <a:pt x="1252" y="158"/>
                      <a:pt x="1252" y="158"/>
                      <a:pt x="1252" y="158"/>
                    </a:cubicBezTo>
                    <a:cubicBezTo>
                      <a:pt x="1252" y="159"/>
                      <a:pt x="1252" y="159"/>
                      <a:pt x="1252" y="159"/>
                    </a:cubicBezTo>
                    <a:cubicBezTo>
                      <a:pt x="1249" y="160"/>
                      <a:pt x="1249" y="160"/>
                      <a:pt x="1249" y="160"/>
                    </a:cubicBezTo>
                    <a:cubicBezTo>
                      <a:pt x="1246" y="163"/>
                      <a:pt x="1246" y="163"/>
                      <a:pt x="1246" y="163"/>
                    </a:cubicBezTo>
                    <a:cubicBezTo>
                      <a:pt x="1246" y="165"/>
                      <a:pt x="1246" y="165"/>
                      <a:pt x="1246" y="165"/>
                    </a:cubicBezTo>
                    <a:cubicBezTo>
                      <a:pt x="1248" y="167"/>
                      <a:pt x="1248" y="167"/>
                      <a:pt x="1248" y="167"/>
                    </a:cubicBezTo>
                    <a:cubicBezTo>
                      <a:pt x="1249" y="168"/>
                      <a:pt x="1249" y="168"/>
                      <a:pt x="1249" y="168"/>
                    </a:cubicBezTo>
                    <a:cubicBezTo>
                      <a:pt x="1248" y="171"/>
                      <a:pt x="1248" y="171"/>
                      <a:pt x="1248" y="171"/>
                    </a:cubicBezTo>
                    <a:cubicBezTo>
                      <a:pt x="1247" y="174"/>
                      <a:pt x="1247" y="174"/>
                      <a:pt x="1247" y="174"/>
                    </a:cubicBezTo>
                    <a:cubicBezTo>
                      <a:pt x="1248" y="175"/>
                      <a:pt x="1248" y="175"/>
                      <a:pt x="1248" y="175"/>
                    </a:cubicBezTo>
                    <a:cubicBezTo>
                      <a:pt x="1250" y="176"/>
                      <a:pt x="1250" y="176"/>
                      <a:pt x="1250" y="176"/>
                    </a:cubicBezTo>
                    <a:cubicBezTo>
                      <a:pt x="1250" y="178"/>
                      <a:pt x="1250" y="178"/>
                      <a:pt x="1250" y="178"/>
                    </a:cubicBezTo>
                    <a:cubicBezTo>
                      <a:pt x="1251" y="180"/>
                      <a:pt x="1251" y="180"/>
                      <a:pt x="1251" y="180"/>
                    </a:cubicBezTo>
                    <a:cubicBezTo>
                      <a:pt x="1251" y="181"/>
                      <a:pt x="1251" y="181"/>
                      <a:pt x="1251" y="181"/>
                    </a:cubicBezTo>
                    <a:cubicBezTo>
                      <a:pt x="1250" y="182"/>
                      <a:pt x="1250" y="182"/>
                      <a:pt x="1250" y="182"/>
                    </a:cubicBezTo>
                    <a:cubicBezTo>
                      <a:pt x="1249" y="182"/>
                      <a:pt x="1249" y="182"/>
                      <a:pt x="1249" y="182"/>
                    </a:cubicBezTo>
                    <a:cubicBezTo>
                      <a:pt x="1249" y="187"/>
                      <a:pt x="1249" y="187"/>
                      <a:pt x="1249" y="187"/>
                    </a:cubicBezTo>
                    <a:cubicBezTo>
                      <a:pt x="1251" y="191"/>
                      <a:pt x="1251" y="191"/>
                      <a:pt x="1251" y="191"/>
                    </a:cubicBezTo>
                    <a:cubicBezTo>
                      <a:pt x="1252" y="193"/>
                      <a:pt x="1252" y="193"/>
                      <a:pt x="1252" y="193"/>
                    </a:cubicBezTo>
                    <a:cubicBezTo>
                      <a:pt x="1252" y="194"/>
                      <a:pt x="1252" y="194"/>
                      <a:pt x="1252" y="194"/>
                    </a:cubicBezTo>
                    <a:cubicBezTo>
                      <a:pt x="1250" y="195"/>
                      <a:pt x="1250" y="195"/>
                      <a:pt x="1250" y="195"/>
                    </a:cubicBezTo>
                    <a:cubicBezTo>
                      <a:pt x="1249" y="198"/>
                      <a:pt x="1249" y="198"/>
                      <a:pt x="1249" y="198"/>
                    </a:cubicBezTo>
                    <a:cubicBezTo>
                      <a:pt x="1250" y="200"/>
                      <a:pt x="1250" y="200"/>
                      <a:pt x="1250" y="200"/>
                    </a:cubicBezTo>
                    <a:cubicBezTo>
                      <a:pt x="1250" y="202"/>
                      <a:pt x="1250" y="202"/>
                      <a:pt x="1250" y="202"/>
                    </a:cubicBezTo>
                    <a:cubicBezTo>
                      <a:pt x="1251" y="204"/>
                      <a:pt x="1251" y="204"/>
                      <a:pt x="1251" y="204"/>
                    </a:cubicBezTo>
                    <a:cubicBezTo>
                      <a:pt x="1249" y="205"/>
                      <a:pt x="1249" y="205"/>
                      <a:pt x="1249" y="205"/>
                    </a:cubicBezTo>
                    <a:cubicBezTo>
                      <a:pt x="1248" y="206"/>
                      <a:pt x="1248" y="206"/>
                      <a:pt x="1248" y="206"/>
                    </a:cubicBezTo>
                    <a:cubicBezTo>
                      <a:pt x="1249" y="208"/>
                      <a:pt x="1249" y="208"/>
                      <a:pt x="1249" y="208"/>
                    </a:cubicBezTo>
                    <a:cubicBezTo>
                      <a:pt x="1250" y="211"/>
                      <a:pt x="1250" y="211"/>
                      <a:pt x="1250" y="211"/>
                    </a:cubicBezTo>
                    <a:cubicBezTo>
                      <a:pt x="1249" y="212"/>
                      <a:pt x="1249" y="212"/>
                      <a:pt x="1249" y="212"/>
                    </a:cubicBezTo>
                    <a:cubicBezTo>
                      <a:pt x="1247" y="216"/>
                      <a:pt x="1247" y="216"/>
                      <a:pt x="1247" y="216"/>
                    </a:cubicBezTo>
                    <a:cubicBezTo>
                      <a:pt x="1247" y="218"/>
                      <a:pt x="1247" y="218"/>
                      <a:pt x="1247" y="218"/>
                    </a:cubicBezTo>
                    <a:cubicBezTo>
                      <a:pt x="1248" y="220"/>
                      <a:pt x="1248" y="220"/>
                      <a:pt x="1248" y="220"/>
                    </a:cubicBezTo>
                    <a:cubicBezTo>
                      <a:pt x="1247" y="221"/>
                      <a:pt x="1247" y="221"/>
                      <a:pt x="1247" y="221"/>
                    </a:cubicBezTo>
                    <a:cubicBezTo>
                      <a:pt x="1248" y="223"/>
                      <a:pt x="1248" y="223"/>
                      <a:pt x="1248" y="223"/>
                    </a:cubicBezTo>
                    <a:cubicBezTo>
                      <a:pt x="1249" y="225"/>
                      <a:pt x="1249" y="225"/>
                      <a:pt x="1249" y="225"/>
                    </a:cubicBezTo>
                    <a:cubicBezTo>
                      <a:pt x="1249" y="228"/>
                      <a:pt x="1249" y="228"/>
                      <a:pt x="1249" y="228"/>
                    </a:cubicBezTo>
                    <a:cubicBezTo>
                      <a:pt x="1248" y="230"/>
                      <a:pt x="1248" y="230"/>
                      <a:pt x="1248" y="230"/>
                    </a:cubicBezTo>
                    <a:cubicBezTo>
                      <a:pt x="1246" y="230"/>
                      <a:pt x="1246" y="230"/>
                      <a:pt x="1246" y="230"/>
                    </a:cubicBezTo>
                    <a:cubicBezTo>
                      <a:pt x="1244" y="229"/>
                      <a:pt x="1244" y="229"/>
                      <a:pt x="1244" y="229"/>
                    </a:cubicBezTo>
                    <a:cubicBezTo>
                      <a:pt x="1232" y="227"/>
                      <a:pt x="1232" y="227"/>
                      <a:pt x="1232" y="227"/>
                    </a:cubicBezTo>
                    <a:cubicBezTo>
                      <a:pt x="1229" y="226"/>
                      <a:pt x="1229" y="226"/>
                      <a:pt x="1229" y="226"/>
                    </a:cubicBezTo>
                    <a:cubicBezTo>
                      <a:pt x="1226" y="225"/>
                      <a:pt x="1226" y="225"/>
                      <a:pt x="1226" y="225"/>
                    </a:cubicBezTo>
                    <a:cubicBezTo>
                      <a:pt x="1225" y="226"/>
                      <a:pt x="1225" y="226"/>
                      <a:pt x="1225" y="226"/>
                    </a:cubicBezTo>
                    <a:cubicBezTo>
                      <a:pt x="1221" y="231"/>
                      <a:pt x="1221" y="231"/>
                      <a:pt x="1221" y="231"/>
                    </a:cubicBezTo>
                    <a:cubicBezTo>
                      <a:pt x="1220" y="233"/>
                      <a:pt x="1220" y="233"/>
                      <a:pt x="1220" y="233"/>
                    </a:cubicBezTo>
                    <a:cubicBezTo>
                      <a:pt x="1218" y="236"/>
                      <a:pt x="1218" y="236"/>
                      <a:pt x="1218" y="236"/>
                    </a:cubicBezTo>
                    <a:cubicBezTo>
                      <a:pt x="1216" y="236"/>
                      <a:pt x="1216" y="236"/>
                      <a:pt x="1216" y="236"/>
                    </a:cubicBezTo>
                    <a:cubicBezTo>
                      <a:pt x="1214" y="237"/>
                      <a:pt x="1214" y="237"/>
                      <a:pt x="1214" y="237"/>
                    </a:cubicBezTo>
                    <a:cubicBezTo>
                      <a:pt x="1213" y="239"/>
                      <a:pt x="1213" y="239"/>
                      <a:pt x="1213" y="239"/>
                    </a:cubicBezTo>
                    <a:cubicBezTo>
                      <a:pt x="1214" y="242"/>
                      <a:pt x="1214" y="242"/>
                      <a:pt x="1214" y="242"/>
                    </a:cubicBezTo>
                    <a:cubicBezTo>
                      <a:pt x="1219" y="249"/>
                      <a:pt x="1219" y="249"/>
                      <a:pt x="1219" y="249"/>
                    </a:cubicBezTo>
                    <a:cubicBezTo>
                      <a:pt x="1220" y="252"/>
                      <a:pt x="1220" y="252"/>
                      <a:pt x="1220" y="252"/>
                    </a:cubicBezTo>
                    <a:cubicBezTo>
                      <a:pt x="1221" y="254"/>
                      <a:pt x="1221" y="254"/>
                      <a:pt x="1221" y="254"/>
                    </a:cubicBezTo>
                    <a:cubicBezTo>
                      <a:pt x="1223" y="257"/>
                      <a:pt x="1223" y="257"/>
                      <a:pt x="1223" y="257"/>
                    </a:cubicBezTo>
                    <a:cubicBezTo>
                      <a:pt x="1223" y="261"/>
                      <a:pt x="1223" y="261"/>
                      <a:pt x="1223" y="261"/>
                    </a:cubicBezTo>
                    <a:cubicBezTo>
                      <a:pt x="1224" y="265"/>
                      <a:pt x="1224" y="265"/>
                      <a:pt x="1224" y="265"/>
                    </a:cubicBezTo>
                    <a:cubicBezTo>
                      <a:pt x="1224" y="268"/>
                      <a:pt x="1224" y="268"/>
                      <a:pt x="1224" y="268"/>
                    </a:cubicBezTo>
                    <a:cubicBezTo>
                      <a:pt x="1224" y="274"/>
                      <a:pt x="1224" y="274"/>
                      <a:pt x="1224" y="274"/>
                    </a:cubicBezTo>
                    <a:cubicBezTo>
                      <a:pt x="1226" y="276"/>
                      <a:pt x="1226" y="276"/>
                      <a:pt x="1226" y="276"/>
                    </a:cubicBezTo>
                    <a:cubicBezTo>
                      <a:pt x="1227" y="279"/>
                      <a:pt x="1227" y="279"/>
                      <a:pt x="1227" y="279"/>
                    </a:cubicBezTo>
                    <a:cubicBezTo>
                      <a:pt x="1227" y="283"/>
                      <a:pt x="1227" y="283"/>
                      <a:pt x="1227" y="283"/>
                    </a:cubicBezTo>
                    <a:cubicBezTo>
                      <a:pt x="1226" y="284"/>
                      <a:pt x="1226" y="284"/>
                      <a:pt x="1226" y="284"/>
                    </a:cubicBezTo>
                    <a:cubicBezTo>
                      <a:pt x="1226" y="287"/>
                      <a:pt x="1226" y="287"/>
                      <a:pt x="1226" y="287"/>
                    </a:cubicBezTo>
                    <a:cubicBezTo>
                      <a:pt x="1226" y="289"/>
                      <a:pt x="1226" y="289"/>
                      <a:pt x="1226" y="289"/>
                    </a:cubicBezTo>
                    <a:cubicBezTo>
                      <a:pt x="1226" y="292"/>
                      <a:pt x="1226" y="292"/>
                      <a:pt x="1226" y="292"/>
                    </a:cubicBezTo>
                    <a:cubicBezTo>
                      <a:pt x="1225" y="292"/>
                      <a:pt x="1225" y="292"/>
                      <a:pt x="1225" y="292"/>
                    </a:cubicBezTo>
                    <a:cubicBezTo>
                      <a:pt x="1220" y="292"/>
                      <a:pt x="1220" y="292"/>
                      <a:pt x="1220" y="292"/>
                    </a:cubicBezTo>
                    <a:cubicBezTo>
                      <a:pt x="1218" y="293"/>
                      <a:pt x="1218" y="293"/>
                      <a:pt x="1218" y="293"/>
                    </a:cubicBezTo>
                    <a:cubicBezTo>
                      <a:pt x="1218" y="295"/>
                      <a:pt x="1218" y="295"/>
                      <a:pt x="1218" y="295"/>
                    </a:cubicBezTo>
                    <a:cubicBezTo>
                      <a:pt x="1219" y="298"/>
                      <a:pt x="1219" y="298"/>
                      <a:pt x="1219" y="298"/>
                    </a:cubicBezTo>
                    <a:cubicBezTo>
                      <a:pt x="1220" y="299"/>
                      <a:pt x="1220" y="299"/>
                      <a:pt x="1220" y="299"/>
                    </a:cubicBezTo>
                    <a:cubicBezTo>
                      <a:pt x="1220" y="301"/>
                      <a:pt x="1220" y="301"/>
                      <a:pt x="1220" y="301"/>
                    </a:cubicBezTo>
                    <a:cubicBezTo>
                      <a:pt x="1219" y="303"/>
                      <a:pt x="1219" y="303"/>
                      <a:pt x="1219" y="303"/>
                    </a:cubicBezTo>
                    <a:cubicBezTo>
                      <a:pt x="1203" y="315"/>
                      <a:pt x="1203" y="315"/>
                      <a:pt x="1203" y="315"/>
                    </a:cubicBezTo>
                    <a:cubicBezTo>
                      <a:pt x="1198" y="344"/>
                      <a:pt x="1198" y="344"/>
                      <a:pt x="1198" y="344"/>
                    </a:cubicBezTo>
                    <a:cubicBezTo>
                      <a:pt x="1142" y="382"/>
                      <a:pt x="1142" y="382"/>
                      <a:pt x="1142" y="382"/>
                    </a:cubicBezTo>
                    <a:cubicBezTo>
                      <a:pt x="1132" y="386"/>
                      <a:pt x="1132" y="386"/>
                      <a:pt x="1132" y="386"/>
                    </a:cubicBezTo>
                    <a:cubicBezTo>
                      <a:pt x="1132" y="386"/>
                      <a:pt x="1132" y="386"/>
                      <a:pt x="1132" y="386"/>
                    </a:cubicBezTo>
                    <a:cubicBezTo>
                      <a:pt x="1130" y="383"/>
                      <a:pt x="1130" y="383"/>
                      <a:pt x="1130" y="383"/>
                    </a:cubicBezTo>
                    <a:cubicBezTo>
                      <a:pt x="1125" y="389"/>
                      <a:pt x="1125" y="389"/>
                      <a:pt x="1125" y="389"/>
                    </a:cubicBezTo>
                    <a:cubicBezTo>
                      <a:pt x="1120" y="389"/>
                      <a:pt x="1120" y="389"/>
                      <a:pt x="1120" y="389"/>
                    </a:cubicBezTo>
                    <a:cubicBezTo>
                      <a:pt x="1118" y="390"/>
                      <a:pt x="1118" y="390"/>
                      <a:pt x="1118" y="390"/>
                    </a:cubicBezTo>
                    <a:cubicBezTo>
                      <a:pt x="1116" y="388"/>
                      <a:pt x="1116" y="388"/>
                      <a:pt x="1116" y="388"/>
                    </a:cubicBezTo>
                    <a:cubicBezTo>
                      <a:pt x="1111" y="392"/>
                      <a:pt x="1111" y="392"/>
                      <a:pt x="1111" y="392"/>
                    </a:cubicBezTo>
                    <a:cubicBezTo>
                      <a:pt x="1107" y="392"/>
                      <a:pt x="1107" y="392"/>
                      <a:pt x="1107" y="392"/>
                    </a:cubicBezTo>
                    <a:cubicBezTo>
                      <a:pt x="1106" y="395"/>
                      <a:pt x="1106" y="395"/>
                      <a:pt x="1106" y="395"/>
                    </a:cubicBezTo>
                    <a:cubicBezTo>
                      <a:pt x="1104" y="395"/>
                      <a:pt x="1104" y="395"/>
                      <a:pt x="1104" y="395"/>
                    </a:cubicBezTo>
                    <a:cubicBezTo>
                      <a:pt x="1095" y="401"/>
                      <a:pt x="1095" y="401"/>
                      <a:pt x="1095" y="401"/>
                    </a:cubicBezTo>
                    <a:cubicBezTo>
                      <a:pt x="1090" y="405"/>
                      <a:pt x="1090" y="405"/>
                      <a:pt x="1090" y="405"/>
                    </a:cubicBezTo>
                    <a:cubicBezTo>
                      <a:pt x="1092" y="408"/>
                      <a:pt x="1092" y="408"/>
                      <a:pt x="1092" y="408"/>
                    </a:cubicBezTo>
                    <a:cubicBezTo>
                      <a:pt x="1091" y="410"/>
                      <a:pt x="1091" y="410"/>
                      <a:pt x="1091" y="410"/>
                    </a:cubicBezTo>
                    <a:cubicBezTo>
                      <a:pt x="1086" y="412"/>
                      <a:pt x="1086" y="412"/>
                      <a:pt x="1086" y="412"/>
                    </a:cubicBezTo>
                    <a:cubicBezTo>
                      <a:pt x="1083" y="417"/>
                      <a:pt x="1083" y="417"/>
                      <a:pt x="1083" y="417"/>
                    </a:cubicBezTo>
                    <a:cubicBezTo>
                      <a:pt x="1081" y="417"/>
                      <a:pt x="1081" y="417"/>
                      <a:pt x="1081" y="417"/>
                    </a:cubicBezTo>
                    <a:cubicBezTo>
                      <a:pt x="1078" y="420"/>
                      <a:pt x="1078" y="420"/>
                      <a:pt x="1078" y="420"/>
                    </a:cubicBezTo>
                    <a:cubicBezTo>
                      <a:pt x="1076" y="420"/>
                      <a:pt x="1076" y="420"/>
                      <a:pt x="1076" y="420"/>
                    </a:cubicBezTo>
                    <a:cubicBezTo>
                      <a:pt x="1075" y="417"/>
                      <a:pt x="1075" y="417"/>
                      <a:pt x="1075" y="417"/>
                    </a:cubicBezTo>
                    <a:cubicBezTo>
                      <a:pt x="1072" y="415"/>
                      <a:pt x="1072" y="415"/>
                      <a:pt x="1072" y="415"/>
                    </a:cubicBezTo>
                    <a:cubicBezTo>
                      <a:pt x="1074" y="412"/>
                      <a:pt x="1074" y="412"/>
                      <a:pt x="1074" y="412"/>
                    </a:cubicBezTo>
                    <a:cubicBezTo>
                      <a:pt x="1077" y="412"/>
                      <a:pt x="1077" y="412"/>
                      <a:pt x="1077" y="412"/>
                    </a:cubicBezTo>
                    <a:cubicBezTo>
                      <a:pt x="1079" y="409"/>
                      <a:pt x="1079" y="409"/>
                      <a:pt x="1079" y="409"/>
                    </a:cubicBezTo>
                    <a:cubicBezTo>
                      <a:pt x="1083" y="410"/>
                      <a:pt x="1083" y="410"/>
                      <a:pt x="1083" y="410"/>
                    </a:cubicBezTo>
                    <a:cubicBezTo>
                      <a:pt x="1085" y="409"/>
                      <a:pt x="1085" y="409"/>
                      <a:pt x="1085" y="409"/>
                    </a:cubicBezTo>
                    <a:cubicBezTo>
                      <a:pt x="1085" y="407"/>
                      <a:pt x="1085" y="407"/>
                      <a:pt x="1085" y="407"/>
                    </a:cubicBezTo>
                    <a:cubicBezTo>
                      <a:pt x="1083" y="406"/>
                      <a:pt x="1083" y="406"/>
                      <a:pt x="1083" y="406"/>
                    </a:cubicBezTo>
                    <a:cubicBezTo>
                      <a:pt x="1083" y="405"/>
                      <a:pt x="1083" y="405"/>
                      <a:pt x="1083" y="405"/>
                    </a:cubicBezTo>
                    <a:cubicBezTo>
                      <a:pt x="1086" y="402"/>
                      <a:pt x="1086" y="402"/>
                      <a:pt x="1086" y="402"/>
                    </a:cubicBezTo>
                    <a:cubicBezTo>
                      <a:pt x="1088" y="399"/>
                      <a:pt x="1088" y="399"/>
                      <a:pt x="1088" y="399"/>
                    </a:cubicBezTo>
                    <a:cubicBezTo>
                      <a:pt x="1084" y="402"/>
                      <a:pt x="1084" y="402"/>
                      <a:pt x="1084" y="402"/>
                    </a:cubicBezTo>
                    <a:cubicBezTo>
                      <a:pt x="1079" y="404"/>
                      <a:pt x="1079" y="404"/>
                      <a:pt x="1079" y="404"/>
                    </a:cubicBezTo>
                    <a:cubicBezTo>
                      <a:pt x="1078" y="402"/>
                      <a:pt x="1078" y="402"/>
                      <a:pt x="1078" y="402"/>
                    </a:cubicBezTo>
                    <a:cubicBezTo>
                      <a:pt x="1078" y="399"/>
                      <a:pt x="1078" y="399"/>
                      <a:pt x="1078" y="399"/>
                    </a:cubicBezTo>
                    <a:cubicBezTo>
                      <a:pt x="1079" y="399"/>
                      <a:pt x="1079" y="399"/>
                      <a:pt x="1079" y="399"/>
                    </a:cubicBezTo>
                    <a:cubicBezTo>
                      <a:pt x="1080" y="396"/>
                      <a:pt x="1080" y="396"/>
                      <a:pt x="1080" y="396"/>
                    </a:cubicBezTo>
                    <a:cubicBezTo>
                      <a:pt x="1075" y="392"/>
                      <a:pt x="1075" y="392"/>
                      <a:pt x="1075" y="392"/>
                    </a:cubicBezTo>
                    <a:cubicBezTo>
                      <a:pt x="1076" y="387"/>
                      <a:pt x="1076" y="387"/>
                      <a:pt x="1076" y="387"/>
                    </a:cubicBezTo>
                    <a:cubicBezTo>
                      <a:pt x="1076" y="386"/>
                      <a:pt x="1076" y="386"/>
                      <a:pt x="1076" y="386"/>
                    </a:cubicBezTo>
                    <a:cubicBezTo>
                      <a:pt x="1079" y="386"/>
                      <a:pt x="1079" y="386"/>
                      <a:pt x="1079" y="386"/>
                    </a:cubicBezTo>
                    <a:cubicBezTo>
                      <a:pt x="1080" y="381"/>
                      <a:pt x="1080" y="381"/>
                      <a:pt x="1080" y="381"/>
                    </a:cubicBezTo>
                    <a:cubicBezTo>
                      <a:pt x="1084" y="376"/>
                      <a:pt x="1084" y="376"/>
                      <a:pt x="1084" y="376"/>
                    </a:cubicBezTo>
                    <a:cubicBezTo>
                      <a:pt x="1085" y="374"/>
                      <a:pt x="1085" y="374"/>
                      <a:pt x="1085" y="374"/>
                    </a:cubicBezTo>
                    <a:cubicBezTo>
                      <a:pt x="1087" y="372"/>
                      <a:pt x="1087" y="372"/>
                      <a:pt x="1087" y="372"/>
                    </a:cubicBezTo>
                    <a:cubicBezTo>
                      <a:pt x="1087" y="369"/>
                      <a:pt x="1087" y="369"/>
                      <a:pt x="1087" y="369"/>
                    </a:cubicBezTo>
                    <a:cubicBezTo>
                      <a:pt x="1078" y="364"/>
                      <a:pt x="1078" y="364"/>
                      <a:pt x="1078" y="364"/>
                    </a:cubicBezTo>
                    <a:cubicBezTo>
                      <a:pt x="1072" y="357"/>
                      <a:pt x="1072" y="357"/>
                      <a:pt x="1072" y="357"/>
                    </a:cubicBezTo>
                    <a:cubicBezTo>
                      <a:pt x="1071" y="361"/>
                      <a:pt x="1071" y="361"/>
                      <a:pt x="1071" y="361"/>
                    </a:cubicBezTo>
                    <a:cubicBezTo>
                      <a:pt x="1068" y="361"/>
                      <a:pt x="1068" y="361"/>
                      <a:pt x="1068" y="361"/>
                    </a:cubicBezTo>
                    <a:cubicBezTo>
                      <a:pt x="1066" y="360"/>
                      <a:pt x="1066" y="360"/>
                      <a:pt x="1066" y="360"/>
                    </a:cubicBezTo>
                    <a:cubicBezTo>
                      <a:pt x="1061" y="360"/>
                      <a:pt x="1061" y="360"/>
                      <a:pt x="1061" y="360"/>
                    </a:cubicBezTo>
                    <a:cubicBezTo>
                      <a:pt x="1059" y="364"/>
                      <a:pt x="1059" y="364"/>
                      <a:pt x="1059" y="364"/>
                    </a:cubicBezTo>
                    <a:cubicBezTo>
                      <a:pt x="1057" y="365"/>
                      <a:pt x="1057" y="365"/>
                      <a:pt x="1057" y="365"/>
                    </a:cubicBezTo>
                    <a:cubicBezTo>
                      <a:pt x="1057" y="369"/>
                      <a:pt x="1057" y="369"/>
                      <a:pt x="1057" y="369"/>
                    </a:cubicBezTo>
                    <a:cubicBezTo>
                      <a:pt x="1053" y="373"/>
                      <a:pt x="1053" y="373"/>
                      <a:pt x="1053" y="373"/>
                    </a:cubicBezTo>
                    <a:cubicBezTo>
                      <a:pt x="1052" y="381"/>
                      <a:pt x="1052" y="381"/>
                      <a:pt x="1052" y="381"/>
                    </a:cubicBezTo>
                    <a:cubicBezTo>
                      <a:pt x="1050" y="381"/>
                      <a:pt x="1050" y="381"/>
                      <a:pt x="1050" y="381"/>
                    </a:cubicBezTo>
                    <a:cubicBezTo>
                      <a:pt x="1047" y="386"/>
                      <a:pt x="1047" y="386"/>
                      <a:pt x="1047" y="386"/>
                    </a:cubicBezTo>
                    <a:cubicBezTo>
                      <a:pt x="1043" y="386"/>
                      <a:pt x="1043" y="386"/>
                      <a:pt x="1043" y="386"/>
                    </a:cubicBezTo>
                    <a:cubicBezTo>
                      <a:pt x="1036" y="390"/>
                      <a:pt x="1036" y="390"/>
                      <a:pt x="1036" y="390"/>
                    </a:cubicBezTo>
                    <a:cubicBezTo>
                      <a:pt x="1034" y="399"/>
                      <a:pt x="1034" y="399"/>
                      <a:pt x="1034" y="399"/>
                    </a:cubicBezTo>
                    <a:cubicBezTo>
                      <a:pt x="1033" y="401"/>
                      <a:pt x="1033" y="401"/>
                      <a:pt x="1033" y="401"/>
                    </a:cubicBezTo>
                    <a:cubicBezTo>
                      <a:pt x="1034" y="402"/>
                      <a:pt x="1034" y="402"/>
                      <a:pt x="1034" y="402"/>
                    </a:cubicBezTo>
                    <a:cubicBezTo>
                      <a:pt x="1035" y="407"/>
                      <a:pt x="1035" y="407"/>
                      <a:pt x="1035" y="407"/>
                    </a:cubicBezTo>
                    <a:cubicBezTo>
                      <a:pt x="1032" y="407"/>
                      <a:pt x="1032" y="407"/>
                      <a:pt x="1032" y="407"/>
                    </a:cubicBezTo>
                    <a:cubicBezTo>
                      <a:pt x="1033" y="409"/>
                      <a:pt x="1033" y="409"/>
                      <a:pt x="1033" y="409"/>
                    </a:cubicBezTo>
                    <a:cubicBezTo>
                      <a:pt x="1031" y="413"/>
                      <a:pt x="1031" y="413"/>
                      <a:pt x="1031" y="413"/>
                    </a:cubicBezTo>
                    <a:cubicBezTo>
                      <a:pt x="1026" y="413"/>
                      <a:pt x="1026" y="413"/>
                      <a:pt x="1026" y="413"/>
                    </a:cubicBezTo>
                    <a:cubicBezTo>
                      <a:pt x="1020" y="413"/>
                      <a:pt x="1020" y="413"/>
                      <a:pt x="1020" y="413"/>
                    </a:cubicBezTo>
                    <a:cubicBezTo>
                      <a:pt x="1013" y="410"/>
                      <a:pt x="1013" y="410"/>
                      <a:pt x="1013" y="410"/>
                    </a:cubicBezTo>
                    <a:cubicBezTo>
                      <a:pt x="1012" y="413"/>
                      <a:pt x="1012" y="413"/>
                      <a:pt x="1012" y="413"/>
                    </a:cubicBezTo>
                    <a:cubicBezTo>
                      <a:pt x="1010" y="414"/>
                      <a:pt x="1010" y="414"/>
                      <a:pt x="1010" y="414"/>
                    </a:cubicBezTo>
                    <a:cubicBezTo>
                      <a:pt x="1010" y="418"/>
                      <a:pt x="1010" y="418"/>
                      <a:pt x="1010" y="418"/>
                    </a:cubicBezTo>
                    <a:cubicBezTo>
                      <a:pt x="1009" y="420"/>
                      <a:pt x="1009" y="420"/>
                      <a:pt x="1009" y="420"/>
                    </a:cubicBezTo>
                    <a:cubicBezTo>
                      <a:pt x="1009" y="422"/>
                      <a:pt x="1009" y="422"/>
                      <a:pt x="1009" y="422"/>
                    </a:cubicBezTo>
                    <a:cubicBezTo>
                      <a:pt x="1007" y="423"/>
                      <a:pt x="1007" y="423"/>
                      <a:pt x="1007" y="423"/>
                    </a:cubicBezTo>
                    <a:cubicBezTo>
                      <a:pt x="1009" y="428"/>
                      <a:pt x="1009" y="428"/>
                      <a:pt x="1009" y="428"/>
                    </a:cubicBezTo>
                    <a:cubicBezTo>
                      <a:pt x="1010" y="432"/>
                      <a:pt x="1010" y="432"/>
                      <a:pt x="1010" y="432"/>
                    </a:cubicBezTo>
                    <a:cubicBezTo>
                      <a:pt x="1014" y="434"/>
                      <a:pt x="1014" y="434"/>
                      <a:pt x="1014" y="434"/>
                    </a:cubicBezTo>
                    <a:cubicBezTo>
                      <a:pt x="1020" y="438"/>
                      <a:pt x="1020" y="438"/>
                      <a:pt x="1020" y="438"/>
                    </a:cubicBezTo>
                    <a:cubicBezTo>
                      <a:pt x="1021" y="440"/>
                      <a:pt x="1021" y="440"/>
                      <a:pt x="1021" y="440"/>
                    </a:cubicBezTo>
                    <a:cubicBezTo>
                      <a:pt x="1024" y="445"/>
                      <a:pt x="1024" y="445"/>
                      <a:pt x="1024" y="445"/>
                    </a:cubicBezTo>
                    <a:cubicBezTo>
                      <a:pt x="1024" y="444"/>
                      <a:pt x="1024" y="444"/>
                      <a:pt x="1024" y="444"/>
                    </a:cubicBezTo>
                    <a:cubicBezTo>
                      <a:pt x="1025" y="445"/>
                      <a:pt x="1025" y="445"/>
                      <a:pt x="1025" y="445"/>
                    </a:cubicBezTo>
                    <a:cubicBezTo>
                      <a:pt x="1027" y="443"/>
                      <a:pt x="1027" y="443"/>
                      <a:pt x="1027" y="443"/>
                    </a:cubicBezTo>
                    <a:cubicBezTo>
                      <a:pt x="1029" y="443"/>
                      <a:pt x="1029" y="443"/>
                      <a:pt x="1029" y="443"/>
                    </a:cubicBezTo>
                    <a:cubicBezTo>
                      <a:pt x="1029" y="445"/>
                      <a:pt x="1029" y="445"/>
                      <a:pt x="1029" y="445"/>
                    </a:cubicBezTo>
                    <a:cubicBezTo>
                      <a:pt x="1031" y="444"/>
                      <a:pt x="1031" y="444"/>
                      <a:pt x="1031" y="444"/>
                    </a:cubicBezTo>
                    <a:cubicBezTo>
                      <a:pt x="1037" y="444"/>
                      <a:pt x="1037" y="444"/>
                      <a:pt x="1037" y="444"/>
                    </a:cubicBezTo>
                    <a:cubicBezTo>
                      <a:pt x="1037" y="447"/>
                      <a:pt x="1037" y="447"/>
                      <a:pt x="1037" y="447"/>
                    </a:cubicBezTo>
                    <a:cubicBezTo>
                      <a:pt x="1037" y="452"/>
                      <a:pt x="1037" y="452"/>
                      <a:pt x="1037" y="452"/>
                    </a:cubicBezTo>
                    <a:cubicBezTo>
                      <a:pt x="1043" y="462"/>
                      <a:pt x="1043" y="462"/>
                      <a:pt x="1043" y="462"/>
                    </a:cubicBezTo>
                    <a:cubicBezTo>
                      <a:pt x="1048" y="462"/>
                      <a:pt x="1048" y="462"/>
                      <a:pt x="1048" y="462"/>
                    </a:cubicBezTo>
                    <a:cubicBezTo>
                      <a:pt x="1051" y="460"/>
                      <a:pt x="1051" y="460"/>
                      <a:pt x="1051" y="460"/>
                    </a:cubicBezTo>
                    <a:cubicBezTo>
                      <a:pt x="1055" y="462"/>
                      <a:pt x="1055" y="462"/>
                      <a:pt x="1055" y="462"/>
                    </a:cubicBezTo>
                    <a:cubicBezTo>
                      <a:pt x="1057" y="460"/>
                      <a:pt x="1057" y="460"/>
                      <a:pt x="1057" y="460"/>
                    </a:cubicBezTo>
                    <a:cubicBezTo>
                      <a:pt x="1059" y="457"/>
                      <a:pt x="1059" y="457"/>
                      <a:pt x="1059" y="457"/>
                    </a:cubicBezTo>
                    <a:cubicBezTo>
                      <a:pt x="1057" y="454"/>
                      <a:pt x="1057" y="454"/>
                      <a:pt x="1057" y="454"/>
                    </a:cubicBezTo>
                    <a:cubicBezTo>
                      <a:pt x="1056" y="454"/>
                      <a:pt x="1056" y="454"/>
                      <a:pt x="1056" y="454"/>
                    </a:cubicBezTo>
                    <a:cubicBezTo>
                      <a:pt x="1062" y="452"/>
                      <a:pt x="1062" y="452"/>
                      <a:pt x="1062" y="452"/>
                    </a:cubicBezTo>
                    <a:cubicBezTo>
                      <a:pt x="1064" y="450"/>
                      <a:pt x="1064" y="450"/>
                      <a:pt x="1064" y="450"/>
                    </a:cubicBezTo>
                    <a:cubicBezTo>
                      <a:pt x="1064" y="446"/>
                      <a:pt x="1064" y="446"/>
                      <a:pt x="1064" y="446"/>
                    </a:cubicBezTo>
                    <a:cubicBezTo>
                      <a:pt x="1063" y="445"/>
                      <a:pt x="1063" y="445"/>
                      <a:pt x="1063" y="445"/>
                    </a:cubicBezTo>
                    <a:cubicBezTo>
                      <a:pt x="1067" y="445"/>
                      <a:pt x="1067" y="445"/>
                      <a:pt x="1067" y="445"/>
                    </a:cubicBezTo>
                    <a:cubicBezTo>
                      <a:pt x="1076" y="441"/>
                      <a:pt x="1076" y="441"/>
                      <a:pt x="1076" y="441"/>
                    </a:cubicBezTo>
                    <a:cubicBezTo>
                      <a:pt x="1077" y="443"/>
                      <a:pt x="1077" y="443"/>
                      <a:pt x="1077" y="443"/>
                    </a:cubicBezTo>
                    <a:cubicBezTo>
                      <a:pt x="1079" y="443"/>
                      <a:pt x="1079" y="443"/>
                      <a:pt x="1079" y="443"/>
                    </a:cubicBezTo>
                    <a:cubicBezTo>
                      <a:pt x="1082" y="447"/>
                      <a:pt x="1082" y="447"/>
                      <a:pt x="1082" y="447"/>
                    </a:cubicBezTo>
                    <a:cubicBezTo>
                      <a:pt x="1084" y="448"/>
                      <a:pt x="1084" y="448"/>
                      <a:pt x="1084" y="448"/>
                    </a:cubicBezTo>
                    <a:cubicBezTo>
                      <a:pt x="1086" y="450"/>
                      <a:pt x="1086" y="450"/>
                      <a:pt x="1086" y="450"/>
                    </a:cubicBezTo>
                    <a:cubicBezTo>
                      <a:pt x="1099" y="449"/>
                      <a:pt x="1099" y="449"/>
                      <a:pt x="1099" y="449"/>
                    </a:cubicBezTo>
                    <a:cubicBezTo>
                      <a:pt x="1100" y="448"/>
                      <a:pt x="1100" y="448"/>
                      <a:pt x="1100" y="448"/>
                    </a:cubicBezTo>
                    <a:cubicBezTo>
                      <a:pt x="1104" y="447"/>
                      <a:pt x="1104" y="447"/>
                      <a:pt x="1104" y="447"/>
                    </a:cubicBezTo>
                    <a:cubicBezTo>
                      <a:pt x="1104" y="449"/>
                      <a:pt x="1104" y="449"/>
                      <a:pt x="1104" y="449"/>
                    </a:cubicBezTo>
                    <a:cubicBezTo>
                      <a:pt x="1109" y="449"/>
                      <a:pt x="1109" y="449"/>
                      <a:pt x="1109" y="449"/>
                    </a:cubicBezTo>
                    <a:cubicBezTo>
                      <a:pt x="1114" y="448"/>
                      <a:pt x="1114" y="448"/>
                      <a:pt x="1114" y="448"/>
                    </a:cubicBezTo>
                    <a:cubicBezTo>
                      <a:pt x="1116" y="449"/>
                      <a:pt x="1116" y="449"/>
                      <a:pt x="1116" y="449"/>
                    </a:cubicBezTo>
                    <a:cubicBezTo>
                      <a:pt x="1112" y="450"/>
                      <a:pt x="1112" y="450"/>
                      <a:pt x="1112" y="450"/>
                    </a:cubicBezTo>
                    <a:cubicBezTo>
                      <a:pt x="1112" y="452"/>
                      <a:pt x="1112" y="452"/>
                      <a:pt x="1112" y="452"/>
                    </a:cubicBezTo>
                    <a:cubicBezTo>
                      <a:pt x="1115" y="457"/>
                      <a:pt x="1115" y="457"/>
                      <a:pt x="1115" y="457"/>
                    </a:cubicBezTo>
                    <a:cubicBezTo>
                      <a:pt x="1113" y="457"/>
                      <a:pt x="1113" y="457"/>
                      <a:pt x="1113" y="457"/>
                    </a:cubicBezTo>
                    <a:cubicBezTo>
                      <a:pt x="1111" y="458"/>
                      <a:pt x="1111" y="458"/>
                      <a:pt x="1111" y="458"/>
                    </a:cubicBezTo>
                    <a:cubicBezTo>
                      <a:pt x="1111" y="462"/>
                      <a:pt x="1111" y="462"/>
                      <a:pt x="1111" y="462"/>
                    </a:cubicBezTo>
                    <a:cubicBezTo>
                      <a:pt x="1114" y="463"/>
                      <a:pt x="1114" y="463"/>
                      <a:pt x="1114" y="463"/>
                    </a:cubicBezTo>
                    <a:cubicBezTo>
                      <a:pt x="1114" y="464"/>
                      <a:pt x="1114" y="464"/>
                      <a:pt x="1114" y="464"/>
                    </a:cubicBezTo>
                    <a:cubicBezTo>
                      <a:pt x="1109" y="468"/>
                      <a:pt x="1109" y="468"/>
                      <a:pt x="1109" y="468"/>
                    </a:cubicBezTo>
                    <a:cubicBezTo>
                      <a:pt x="1105" y="465"/>
                      <a:pt x="1105" y="465"/>
                      <a:pt x="1105" y="465"/>
                    </a:cubicBezTo>
                    <a:cubicBezTo>
                      <a:pt x="1104" y="463"/>
                      <a:pt x="1104" y="463"/>
                      <a:pt x="1104" y="463"/>
                    </a:cubicBezTo>
                    <a:cubicBezTo>
                      <a:pt x="1102" y="465"/>
                      <a:pt x="1102" y="465"/>
                      <a:pt x="1102" y="465"/>
                    </a:cubicBezTo>
                    <a:cubicBezTo>
                      <a:pt x="1101" y="463"/>
                      <a:pt x="1101" y="463"/>
                      <a:pt x="1101" y="463"/>
                    </a:cubicBezTo>
                    <a:cubicBezTo>
                      <a:pt x="1097" y="468"/>
                      <a:pt x="1097" y="468"/>
                      <a:pt x="1097" y="468"/>
                    </a:cubicBezTo>
                    <a:cubicBezTo>
                      <a:pt x="1094" y="468"/>
                      <a:pt x="1094" y="468"/>
                      <a:pt x="1094" y="468"/>
                    </a:cubicBezTo>
                    <a:cubicBezTo>
                      <a:pt x="1091" y="471"/>
                      <a:pt x="1091" y="471"/>
                      <a:pt x="1091" y="471"/>
                    </a:cubicBezTo>
                    <a:cubicBezTo>
                      <a:pt x="1087" y="471"/>
                      <a:pt x="1087" y="471"/>
                      <a:pt x="1087" y="471"/>
                    </a:cubicBezTo>
                    <a:cubicBezTo>
                      <a:pt x="1087" y="473"/>
                      <a:pt x="1087" y="473"/>
                      <a:pt x="1087" y="473"/>
                    </a:cubicBezTo>
                    <a:cubicBezTo>
                      <a:pt x="1083" y="471"/>
                      <a:pt x="1083" y="471"/>
                      <a:pt x="1083" y="471"/>
                    </a:cubicBezTo>
                    <a:cubicBezTo>
                      <a:pt x="1079" y="471"/>
                      <a:pt x="1079" y="471"/>
                      <a:pt x="1079" y="471"/>
                    </a:cubicBezTo>
                    <a:cubicBezTo>
                      <a:pt x="1083" y="474"/>
                      <a:pt x="1083" y="474"/>
                      <a:pt x="1083" y="474"/>
                    </a:cubicBezTo>
                    <a:cubicBezTo>
                      <a:pt x="1084" y="477"/>
                      <a:pt x="1084" y="477"/>
                      <a:pt x="1084" y="477"/>
                    </a:cubicBezTo>
                    <a:cubicBezTo>
                      <a:pt x="1079" y="478"/>
                      <a:pt x="1079" y="478"/>
                      <a:pt x="1079" y="478"/>
                    </a:cubicBezTo>
                    <a:cubicBezTo>
                      <a:pt x="1079" y="482"/>
                      <a:pt x="1079" y="482"/>
                      <a:pt x="1079" y="482"/>
                    </a:cubicBezTo>
                    <a:cubicBezTo>
                      <a:pt x="1073" y="481"/>
                      <a:pt x="1073" y="481"/>
                      <a:pt x="1073" y="481"/>
                    </a:cubicBezTo>
                    <a:cubicBezTo>
                      <a:pt x="1070" y="485"/>
                      <a:pt x="1070" y="485"/>
                      <a:pt x="1070" y="485"/>
                    </a:cubicBezTo>
                    <a:cubicBezTo>
                      <a:pt x="1072" y="487"/>
                      <a:pt x="1072" y="487"/>
                      <a:pt x="1072" y="487"/>
                    </a:cubicBezTo>
                    <a:cubicBezTo>
                      <a:pt x="1075" y="489"/>
                      <a:pt x="1075" y="489"/>
                      <a:pt x="1075" y="489"/>
                    </a:cubicBezTo>
                    <a:cubicBezTo>
                      <a:pt x="1072" y="493"/>
                      <a:pt x="1072" y="493"/>
                      <a:pt x="1072" y="493"/>
                    </a:cubicBezTo>
                    <a:cubicBezTo>
                      <a:pt x="1070" y="492"/>
                      <a:pt x="1070" y="492"/>
                      <a:pt x="1070" y="492"/>
                    </a:cubicBezTo>
                    <a:cubicBezTo>
                      <a:pt x="1067" y="497"/>
                      <a:pt x="1067" y="497"/>
                      <a:pt x="1067" y="497"/>
                    </a:cubicBezTo>
                    <a:cubicBezTo>
                      <a:pt x="1064" y="498"/>
                      <a:pt x="1064" y="498"/>
                      <a:pt x="1064" y="498"/>
                    </a:cubicBezTo>
                    <a:cubicBezTo>
                      <a:pt x="1062" y="497"/>
                      <a:pt x="1062" y="497"/>
                      <a:pt x="1062" y="497"/>
                    </a:cubicBezTo>
                    <a:cubicBezTo>
                      <a:pt x="1061" y="503"/>
                      <a:pt x="1061" y="503"/>
                      <a:pt x="1061" y="503"/>
                    </a:cubicBezTo>
                    <a:cubicBezTo>
                      <a:pt x="1063" y="507"/>
                      <a:pt x="1063" y="507"/>
                      <a:pt x="1063" y="507"/>
                    </a:cubicBezTo>
                    <a:cubicBezTo>
                      <a:pt x="1061" y="513"/>
                      <a:pt x="1061" y="513"/>
                      <a:pt x="1061" y="513"/>
                    </a:cubicBezTo>
                    <a:cubicBezTo>
                      <a:pt x="1062" y="522"/>
                      <a:pt x="1062" y="522"/>
                      <a:pt x="1062" y="522"/>
                    </a:cubicBezTo>
                    <a:cubicBezTo>
                      <a:pt x="1063" y="522"/>
                      <a:pt x="1063" y="522"/>
                      <a:pt x="1063" y="522"/>
                    </a:cubicBezTo>
                    <a:cubicBezTo>
                      <a:pt x="1073" y="527"/>
                      <a:pt x="1073" y="527"/>
                      <a:pt x="1073" y="527"/>
                    </a:cubicBezTo>
                    <a:cubicBezTo>
                      <a:pt x="1073" y="529"/>
                      <a:pt x="1073" y="529"/>
                      <a:pt x="1073" y="529"/>
                    </a:cubicBezTo>
                    <a:cubicBezTo>
                      <a:pt x="1076" y="528"/>
                      <a:pt x="1076" y="528"/>
                      <a:pt x="1076" y="528"/>
                    </a:cubicBezTo>
                    <a:cubicBezTo>
                      <a:pt x="1086" y="533"/>
                      <a:pt x="1086" y="533"/>
                      <a:pt x="1086" y="533"/>
                    </a:cubicBezTo>
                    <a:cubicBezTo>
                      <a:pt x="1092" y="545"/>
                      <a:pt x="1092" y="545"/>
                      <a:pt x="1092" y="545"/>
                    </a:cubicBezTo>
                    <a:cubicBezTo>
                      <a:pt x="1093" y="545"/>
                      <a:pt x="1093" y="545"/>
                      <a:pt x="1093" y="545"/>
                    </a:cubicBezTo>
                    <a:cubicBezTo>
                      <a:pt x="1092" y="549"/>
                      <a:pt x="1092" y="549"/>
                      <a:pt x="1092" y="549"/>
                    </a:cubicBezTo>
                    <a:cubicBezTo>
                      <a:pt x="1095" y="550"/>
                      <a:pt x="1095" y="550"/>
                      <a:pt x="1095" y="550"/>
                    </a:cubicBezTo>
                    <a:cubicBezTo>
                      <a:pt x="1096" y="556"/>
                      <a:pt x="1096" y="556"/>
                      <a:pt x="1096" y="556"/>
                    </a:cubicBezTo>
                    <a:cubicBezTo>
                      <a:pt x="1103" y="561"/>
                      <a:pt x="1103" y="561"/>
                      <a:pt x="1103" y="561"/>
                    </a:cubicBezTo>
                    <a:cubicBezTo>
                      <a:pt x="1103" y="566"/>
                      <a:pt x="1103" y="566"/>
                      <a:pt x="1103" y="566"/>
                    </a:cubicBezTo>
                    <a:cubicBezTo>
                      <a:pt x="1108" y="573"/>
                      <a:pt x="1108" y="573"/>
                      <a:pt x="1108" y="573"/>
                    </a:cubicBezTo>
                    <a:cubicBezTo>
                      <a:pt x="1112" y="575"/>
                      <a:pt x="1112" y="575"/>
                      <a:pt x="1112" y="575"/>
                    </a:cubicBezTo>
                    <a:cubicBezTo>
                      <a:pt x="1116" y="575"/>
                      <a:pt x="1116" y="575"/>
                      <a:pt x="1116" y="575"/>
                    </a:cubicBezTo>
                    <a:cubicBezTo>
                      <a:pt x="1118" y="576"/>
                      <a:pt x="1118" y="576"/>
                      <a:pt x="1118" y="576"/>
                    </a:cubicBezTo>
                    <a:cubicBezTo>
                      <a:pt x="1118" y="578"/>
                      <a:pt x="1118" y="578"/>
                      <a:pt x="1118" y="578"/>
                    </a:cubicBezTo>
                    <a:cubicBezTo>
                      <a:pt x="1122" y="583"/>
                      <a:pt x="1122" y="583"/>
                      <a:pt x="1122" y="583"/>
                    </a:cubicBezTo>
                    <a:cubicBezTo>
                      <a:pt x="1125" y="584"/>
                      <a:pt x="1125" y="584"/>
                      <a:pt x="1125" y="584"/>
                    </a:cubicBezTo>
                    <a:cubicBezTo>
                      <a:pt x="1128" y="589"/>
                      <a:pt x="1128" y="589"/>
                      <a:pt x="1128" y="589"/>
                    </a:cubicBezTo>
                    <a:cubicBezTo>
                      <a:pt x="1125" y="591"/>
                      <a:pt x="1125" y="591"/>
                      <a:pt x="1125" y="591"/>
                    </a:cubicBezTo>
                    <a:cubicBezTo>
                      <a:pt x="1118" y="588"/>
                      <a:pt x="1118" y="588"/>
                      <a:pt x="1118" y="588"/>
                    </a:cubicBezTo>
                    <a:cubicBezTo>
                      <a:pt x="1112" y="591"/>
                      <a:pt x="1112" y="591"/>
                      <a:pt x="1112" y="591"/>
                    </a:cubicBezTo>
                    <a:cubicBezTo>
                      <a:pt x="1108" y="587"/>
                      <a:pt x="1108" y="587"/>
                      <a:pt x="1108" y="587"/>
                    </a:cubicBezTo>
                    <a:cubicBezTo>
                      <a:pt x="1105" y="587"/>
                      <a:pt x="1105" y="587"/>
                      <a:pt x="1105" y="587"/>
                    </a:cubicBezTo>
                    <a:cubicBezTo>
                      <a:pt x="1101" y="584"/>
                      <a:pt x="1101" y="584"/>
                      <a:pt x="1101" y="584"/>
                    </a:cubicBezTo>
                    <a:cubicBezTo>
                      <a:pt x="1095" y="583"/>
                      <a:pt x="1095" y="583"/>
                      <a:pt x="1095" y="583"/>
                    </a:cubicBezTo>
                    <a:cubicBezTo>
                      <a:pt x="1093" y="587"/>
                      <a:pt x="1093" y="587"/>
                      <a:pt x="1093" y="587"/>
                    </a:cubicBezTo>
                    <a:cubicBezTo>
                      <a:pt x="1089" y="587"/>
                      <a:pt x="1089" y="587"/>
                      <a:pt x="1089" y="587"/>
                    </a:cubicBezTo>
                    <a:cubicBezTo>
                      <a:pt x="1086" y="585"/>
                      <a:pt x="1086" y="585"/>
                      <a:pt x="1086" y="585"/>
                    </a:cubicBezTo>
                    <a:cubicBezTo>
                      <a:pt x="1084" y="579"/>
                      <a:pt x="1084" y="579"/>
                      <a:pt x="1084" y="579"/>
                    </a:cubicBezTo>
                    <a:cubicBezTo>
                      <a:pt x="1079" y="581"/>
                      <a:pt x="1079" y="581"/>
                      <a:pt x="1079" y="581"/>
                    </a:cubicBezTo>
                    <a:cubicBezTo>
                      <a:pt x="1076" y="580"/>
                      <a:pt x="1076" y="580"/>
                      <a:pt x="1076" y="580"/>
                    </a:cubicBezTo>
                    <a:cubicBezTo>
                      <a:pt x="1075" y="581"/>
                      <a:pt x="1075" y="581"/>
                      <a:pt x="1075" y="581"/>
                    </a:cubicBezTo>
                    <a:cubicBezTo>
                      <a:pt x="1072" y="581"/>
                      <a:pt x="1072" y="581"/>
                      <a:pt x="1072" y="581"/>
                    </a:cubicBezTo>
                    <a:cubicBezTo>
                      <a:pt x="1070" y="580"/>
                      <a:pt x="1070" y="580"/>
                      <a:pt x="1070" y="580"/>
                    </a:cubicBezTo>
                    <a:cubicBezTo>
                      <a:pt x="1067" y="582"/>
                      <a:pt x="1067" y="582"/>
                      <a:pt x="1067" y="582"/>
                    </a:cubicBezTo>
                    <a:cubicBezTo>
                      <a:pt x="1062" y="590"/>
                      <a:pt x="1062" y="590"/>
                      <a:pt x="1062" y="590"/>
                    </a:cubicBezTo>
                    <a:cubicBezTo>
                      <a:pt x="1068" y="584"/>
                      <a:pt x="1068" y="584"/>
                      <a:pt x="1068" y="584"/>
                    </a:cubicBezTo>
                    <a:cubicBezTo>
                      <a:pt x="1072" y="583"/>
                      <a:pt x="1072" y="583"/>
                      <a:pt x="1072" y="583"/>
                    </a:cubicBezTo>
                    <a:cubicBezTo>
                      <a:pt x="1077" y="583"/>
                      <a:pt x="1077" y="583"/>
                      <a:pt x="1077" y="583"/>
                    </a:cubicBezTo>
                    <a:cubicBezTo>
                      <a:pt x="1081" y="581"/>
                      <a:pt x="1081" y="581"/>
                      <a:pt x="1081" y="581"/>
                    </a:cubicBezTo>
                    <a:cubicBezTo>
                      <a:pt x="1083" y="582"/>
                      <a:pt x="1083" y="582"/>
                      <a:pt x="1083" y="582"/>
                    </a:cubicBezTo>
                    <a:cubicBezTo>
                      <a:pt x="1083" y="584"/>
                      <a:pt x="1083" y="584"/>
                      <a:pt x="1083" y="584"/>
                    </a:cubicBezTo>
                    <a:cubicBezTo>
                      <a:pt x="1088" y="589"/>
                      <a:pt x="1088" y="589"/>
                      <a:pt x="1088" y="589"/>
                    </a:cubicBezTo>
                    <a:cubicBezTo>
                      <a:pt x="1091" y="589"/>
                      <a:pt x="1091" y="589"/>
                      <a:pt x="1091" y="589"/>
                    </a:cubicBezTo>
                    <a:cubicBezTo>
                      <a:pt x="1098" y="585"/>
                      <a:pt x="1098" y="585"/>
                      <a:pt x="1098" y="585"/>
                    </a:cubicBezTo>
                    <a:cubicBezTo>
                      <a:pt x="1101" y="585"/>
                      <a:pt x="1101" y="585"/>
                      <a:pt x="1101" y="585"/>
                    </a:cubicBezTo>
                    <a:cubicBezTo>
                      <a:pt x="1109" y="593"/>
                      <a:pt x="1109" y="593"/>
                      <a:pt x="1109" y="593"/>
                    </a:cubicBezTo>
                    <a:cubicBezTo>
                      <a:pt x="1115" y="596"/>
                      <a:pt x="1115" y="596"/>
                      <a:pt x="1115" y="596"/>
                    </a:cubicBezTo>
                    <a:cubicBezTo>
                      <a:pt x="1125" y="602"/>
                      <a:pt x="1125" y="602"/>
                      <a:pt x="1125" y="602"/>
                    </a:cubicBezTo>
                    <a:cubicBezTo>
                      <a:pt x="1130" y="609"/>
                      <a:pt x="1130" y="609"/>
                      <a:pt x="1130" y="609"/>
                    </a:cubicBezTo>
                    <a:cubicBezTo>
                      <a:pt x="1130" y="612"/>
                      <a:pt x="1130" y="612"/>
                      <a:pt x="1130" y="612"/>
                    </a:cubicBezTo>
                    <a:cubicBezTo>
                      <a:pt x="1125" y="612"/>
                      <a:pt x="1125" y="612"/>
                      <a:pt x="1125" y="612"/>
                    </a:cubicBezTo>
                    <a:cubicBezTo>
                      <a:pt x="1120" y="618"/>
                      <a:pt x="1120" y="618"/>
                      <a:pt x="1120" y="618"/>
                    </a:cubicBezTo>
                    <a:cubicBezTo>
                      <a:pt x="1118" y="617"/>
                      <a:pt x="1118" y="617"/>
                      <a:pt x="1118" y="617"/>
                    </a:cubicBezTo>
                    <a:cubicBezTo>
                      <a:pt x="1116" y="619"/>
                      <a:pt x="1116" y="619"/>
                      <a:pt x="1116" y="619"/>
                    </a:cubicBezTo>
                    <a:cubicBezTo>
                      <a:pt x="1116" y="622"/>
                      <a:pt x="1116" y="622"/>
                      <a:pt x="1116" y="622"/>
                    </a:cubicBezTo>
                    <a:cubicBezTo>
                      <a:pt x="1112" y="624"/>
                      <a:pt x="1112" y="624"/>
                      <a:pt x="1112" y="624"/>
                    </a:cubicBezTo>
                    <a:cubicBezTo>
                      <a:pt x="1108" y="621"/>
                      <a:pt x="1108" y="621"/>
                      <a:pt x="1108" y="621"/>
                    </a:cubicBezTo>
                    <a:cubicBezTo>
                      <a:pt x="1105" y="623"/>
                      <a:pt x="1105" y="623"/>
                      <a:pt x="1105" y="623"/>
                    </a:cubicBezTo>
                    <a:cubicBezTo>
                      <a:pt x="1102" y="623"/>
                      <a:pt x="1102" y="623"/>
                      <a:pt x="1102" y="623"/>
                    </a:cubicBezTo>
                    <a:cubicBezTo>
                      <a:pt x="1098" y="627"/>
                      <a:pt x="1098" y="627"/>
                      <a:pt x="1098" y="627"/>
                    </a:cubicBezTo>
                    <a:cubicBezTo>
                      <a:pt x="1098" y="631"/>
                      <a:pt x="1098" y="631"/>
                      <a:pt x="1098" y="631"/>
                    </a:cubicBezTo>
                    <a:cubicBezTo>
                      <a:pt x="1099" y="628"/>
                      <a:pt x="1099" y="628"/>
                      <a:pt x="1099" y="628"/>
                    </a:cubicBezTo>
                    <a:cubicBezTo>
                      <a:pt x="1103" y="625"/>
                      <a:pt x="1103" y="625"/>
                      <a:pt x="1103" y="625"/>
                    </a:cubicBezTo>
                    <a:cubicBezTo>
                      <a:pt x="1107" y="624"/>
                      <a:pt x="1107" y="624"/>
                      <a:pt x="1107" y="624"/>
                    </a:cubicBezTo>
                    <a:cubicBezTo>
                      <a:pt x="1111" y="629"/>
                      <a:pt x="1111" y="629"/>
                      <a:pt x="1111" y="629"/>
                    </a:cubicBezTo>
                    <a:cubicBezTo>
                      <a:pt x="1114" y="630"/>
                      <a:pt x="1114" y="630"/>
                      <a:pt x="1114" y="630"/>
                    </a:cubicBezTo>
                    <a:cubicBezTo>
                      <a:pt x="1120" y="625"/>
                      <a:pt x="1120" y="625"/>
                      <a:pt x="1120" y="625"/>
                    </a:cubicBezTo>
                    <a:cubicBezTo>
                      <a:pt x="1124" y="626"/>
                      <a:pt x="1124" y="626"/>
                      <a:pt x="1124" y="626"/>
                    </a:cubicBezTo>
                    <a:cubicBezTo>
                      <a:pt x="1130" y="634"/>
                      <a:pt x="1130" y="634"/>
                      <a:pt x="1130" y="634"/>
                    </a:cubicBezTo>
                    <a:cubicBezTo>
                      <a:pt x="1131" y="632"/>
                      <a:pt x="1131" y="632"/>
                      <a:pt x="1131" y="632"/>
                    </a:cubicBezTo>
                    <a:cubicBezTo>
                      <a:pt x="1133" y="634"/>
                      <a:pt x="1133" y="634"/>
                      <a:pt x="1133" y="634"/>
                    </a:cubicBezTo>
                    <a:cubicBezTo>
                      <a:pt x="1137" y="634"/>
                      <a:pt x="1137" y="634"/>
                      <a:pt x="1137" y="634"/>
                    </a:cubicBezTo>
                    <a:cubicBezTo>
                      <a:pt x="1137" y="635"/>
                      <a:pt x="1137" y="635"/>
                      <a:pt x="1137" y="635"/>
                    </a:cubicBezTo>
                    <a:cubicBezTo>
                      <a:pt x="1129" y="643"/>
                      <a:pt x="1129" y="643"/>
                      <a:pt x="1129" y="643"/>
                    </a:cubicBezTo>
                    <a:cubicBezTo>
                      <a:pt x="1124" y="644"/>
                      <a:pt x="1124" y="644"/>
                      <a:pt x="1124" y="644"/>
                    </a:cubicBezTo>
                    <a:cubicBezTo>
                      <a:pt x="1124" y="647"/>
                      <a:pt x="1124" y="647"/>
                      <a:pt x="1124" y="647"/>
                    </a:cubicBezTo>
                    <a:cubicBezTo>
                      <a:pt x="1126" y="648"/>
                      <a:pt x="1126" y="648"/>
                      <a:pt x="1126" y="648"/>
                    </a:cubicBezTo>
                    <a:cubicBezTo>
                      <a:pt x="1131" y="644"/>
                      <a:pt x="1131" y="644"/>
                      <a:pt x="1131" y="644"/>
                    </a:cubicBezTo>
                    <a:cubicBezTo>
                      <a:pt x="1135" y="644"/>
                      <a:pt x="1135" y="644"/>
                      <a:pt x="1135" y="644"/>
                    </a:cubicBezTo>
                    <a:cubicBezTo>
                      <a:pt x="1135" y="643"/>
                      <a:pt x="1135" y="643"/>
                      <a:pt x="1135" y="643"/>
                    </a:cubicBezTo>
                    <a:cubicBezTo>
                      <a:pt x="1134" y="642"/>
                      <a:pt x="1134" y="642"/>
                      <a:pt x="1134" y="642"/>
                    </a:cubicBezTo>
                    <a:cubicBezTo>
                      <a:pt x="1137" y="640"/>
                      <a:pt x="1137" y="640"/>
                      <a:pt x="1137" y="640"/>
                    </a:cubicBezTo>
                    <a:cubicBezTo>
                      <a:pt x="1139" y="641"/>
                      <a:pt x="1139" y="641"/>
                      <a:pt x="1139" y="641"/>
                    </a:cubicBezTo>
                    <a:cubicBezTo>
                      <a:pt x="1139" y="646"/>
                      <a:pt x="1139" y="646"/>
                      <a:pt x="1139" y="646"/>
                    </a:cubicBezTo>
                    <a:cubicBezTo>
                      <a:pt x="1141" y="649"/>
                      <a:pt x="1141" y="649"/>
                      <a:pt x="1141" y="649"/>
                    </a:cubicBezTo>
                    <a:cubicBezTo>
                      <a:pt x="1138" y="650"/>
                      <a:pt x="1138" y="650"/>
                      <a:pt x="1138" y="650"/>
                    </a:cubicBezTo>
                    <a:cubicBezTo>
                      <a:pt x="1138" y="649"/>
                      <a:pt x="1138" y="649"/>
                      <a:pt x="1138" y="649"/>
                    </a:cubicBezTo>
                    <a:cubicBezTo>
                      <a:pt x="1136" y="648"/>
                      <a:pt x="1136" y="648"/>
                      <a:pt x="1136" y="648"/>
                    </a:cubicBezTo>
                    <a:cubicBezTo>
                      <a:pt x="1135" y="650"/>
                      <a:pt x="1135" y="650"/>
                      <a:pt x="1135" y="650"/>
                    </a:cubicBezTo>
                    <a:cubicBezTo>
                      <a:pt x="1134" y="651"/>
                      <a:pt x="1134" y="651"/>
                      <a:pt x="1134" y="651"/>
                    </a:cubicBezTo>
                    <a:cubicBezTo>
                      <a:pt x="1130" y="650"/>
                      <a:pt x="1130" y="650"/>
                      <a:pt x="1130" y="650"/>
                    </a:cubicBezTo>
                    <a:cubicBezTo>
                      <a:pt x="1126" y="653"/>
                      <a:pt x="1126" y="653"/>
                      <a:pt x="1126" y="653"/>
                    </a:cubicBezTo>
                    <a:cubicBezTo>
                      <a:pt x="1126" y="655"/>
                      <a:pt x="1126" y="655"/>
                      <a:pt x="1126" y="655"/>
                    </a:cubicBezTo>
                    <a:cubicBezTo>
                      <a:pt x="1132" y="654"/>
                      <a:pt x="1132" y="654"/>
                      <a:pt x="1132" y="654"/>
                    </a:cubicBezTo>
                    <a:cubicBezTo>
                      <a:pt x="1134" y="656"/>
                      <a:pt x="1134" y="656"/>
                      <a:pt x="1134" y="656"/>
                    </a:cubicBezTo>
                    <a:cubicBezTo>
                      <a:pt x="1134" y="658"/>
                      <a:pt x="1134" y="658"/>
                      <a:pt x="1134" y="658"/>
                    </a:cubicBezTo>
                    <a:cubicBezTo>
                      <a:pt x="1132" y="658"/>
                      <a:pt x="1132" y="658"/>
                      <a:pt x="1132" y="658"/>
                    </a:cubicBezTo>
                    <a:cubicBezTo>
                      <a:pt x="1130" y="660"/>
                      <a:pt x="1130" y="660"/>
                      <a:pt x="1130" y="660"/>
                    </a:cubicBezTo>
                    <a:cubicBezTo>
                      <a:pt x="1132" y="661"/>
                      <a:pt x="1132" y="661"/>
                      <a:pt x="1132" y="661"/>
                    </a:cubicBezTo>
                    <a:cubicBezTo>
                      <a:pt x="1134" y="663"/>
                      <a:pt x="1134" y="663"/>
                      <a:pt x="1134" y="663"/>
                    </a:cubicBezTo>
                    <a:cubicBezTo>
                      <a:pt x="1132" y="665"/>
                      <a:pt x="1132" y="665"/>
                      <a:pt x="1132" y="665"/>
                    </a:cubicBezTo>
                    <a:cubicBezTo>
                      <a:pt x="1129" y="664"/>
                      <a:pt x="1129" y="664"/>
                      <a:pt x="1129" y="664"/>
                    </a:cubicBezTo>
                    <a:cubicBezTo>
                      <a:pt x="1128" y="666"/>
                      <a:pt x="1128" y="666"/>
                      <a:pt x="1128" y="666"/>
                    </a:cubicBezTo>
                    <a:cubicBezTo>
                      <a:pt x="1129" y="667"/>
                      <a:pt x="1129" y="667"/>
                      <a:pt x="1129" y="667"/>
                    </a:cubicBezTo>
                    <a:cubicBezTo>
                      <a:pt x="1133" y="667"/>
                      <a:pt x="1133" y="667"/>
                      <a:pt x="1133" y="667"/>
                    </a:cubicBezTo>
                    <a:cubicBezTo>
                      <a:pt x="1135" y="671"/>
                      <a:pt x="1135" y="671"/>
                      <a:pt x="1135" y="671"/>
                    </a:cubicBezTo>
                    <a:cubicBezTo>
                      <a:pt x="1132" y="673"/>
                      <a:pt x="1132" y="673"/>
                      <a:pt x="1132" y="673"/>
                    </a:cubicBezTo>
                    <a:cubicBezTo>
                      <a:pt x="1132" y="676"/>
                      <a:pt x="1132" y="676"/>
                      <a:pt x="1132" y="676"/>
                    </a:cubicBezTo>
                    <a:cubicBezTo>
                      <a:pt x="1130" y="675"/>
                      <a:pt x="1130" y="675"/>
                      <a:pt x="1130" y="675"/>
                    </a:cubicBezTo>
                    <a:cubicBezTo>
                      <a:pt x="1130" y="672"/>
                      <a:pt x="1130" y="672"/>
                      <a:pt x="1130" y="672"/>
                    </a:cubicBezTo>
                    <a:cubicBezTo>
                      <a:pt x="1127" y="672"/>
                      <a:pt x="1127" y="672"/>
                      <a:pt x="1127" y="672"/>
                    </a:cubicBezTo>
                    <a:cubicBezTo>
                      <a:pt x="1124" y="679"/>
                      <a:pt x="1124" y="679"/>
                      <a:pt x="1124" y="679"/>
                    </a:cubicBezTo>
                    <a:cubicBezTo>
                      <a:pt x="1122" y="681"/>
                      <a:pt x="1122" y="681"/>
                      <a:pt x="1122" y="681"/>
                    </a:cubicBezTo>
                    <a:cubicBezTo>
                      <a:pt x="1116" y="679"/>
                      <a:pt x="1116" y="679"/>
                      <a:pt x="1116" y="679"/>
                    </a:cubicBezTo>
                    <a:cubicBezTo>
                      <a:pt x="1120" y="681"/>
                      <a:pt x="1120" y="681"/>
                      <a:pt x="1120" y="681"/>
                    </a:cubicBezTo>
                    <a:cubicBezTo>
                      <a:pt x="1120" y="683"/>
                      <a:pt x="1120" y="683"/>
                      <a:pt x="1120" y="683"/>
                    </a:cubicBezTo>
                    <a:cubicBezTo>
                      <a:pt x="1122" y="685"/>
                      <a:pt x="1122" y="685"/>
                      <a:pt x="1122" y="685"/>
                    </a:cubicBezTo>
                    <a:cubicBezTo>
                      <a:pt x="1119" y="687"/>
                      <a:pt x="1119" y="687"/>
                      <a:pt x="1119" y="687"/>
                    </a:cubicBezTo>
                    <a:cubicBezTo>
                      <a:pt x="1119" y="689"/>
                      <a:pt x="1119" y="689"/>
                      <a:pt x="1119" y="689"/>
                    </a:cubicBezTo>
                    <a:cubicBezTo>
                      <a:pt x="1121" y="691"/>
                      <a:pt x="1121" y="691"/>
                      <a:pt x="1121" y="691"/>
                    </a:cubicBezTo>
                    <a:cubicBezTo>
                      <a:pt x="1119" y="693"/>
                      <a:pt x="1119" y="693"/>
                      <a:pt x="1119" y="693"/>
                    </a:cubicBezTo>
                    <a:cubicBezTo>
                      <a:pt x="1119" y="696"/>
                      <a:pt x="1119" y="696"/>
                      <a:pt x="1119" y="696"/>
                    </a:cubicBezTo>
                    <a:cubicBezTo>
                      <a:pt x="1116" y="697"/>
                      <a:pt x="1116" y="697"/>
                      <a:pt x="1116" y="697"/>
                    </a:cubicBezTo>
                    <a:cubicBezTo>
                      <a:pt x="1114" y="695"/>
                      <a:pt x="1114" y="695"/>
                      <a:pt x="1114" y="695"/>
                    </a:cubicBezTo>
                    <a:cubicBezTo>
                      <a:pt x="1113" y="698"/>
                      <a:pt x="1113" y="698"/>
                      <a:pt x="1113" y="698"/>
                    </a:cubicBezTo>
                    <a:cubicBezTo>
                      <a:pt x="1116" y="698"/>
                      <a:pt x="1116" y="698"/>
                      <a:pt x="1116" y="698"/>
                    </a:cubicBezTo>
                    <a:cubicBezTo>
                      <a:pt x="1118" y="701"/>
                      <a:pt x="1118" y="701"/>
                      <a:pt x="1118" y="701"/>
                    </a:cubicBezTo>
                    <a:cubicBezTo>
                      <a:pt x="1114" y="701"/>
                      <a:pt x="1114" y="701"/>
                      <a:pt x="1114" y="701"/>
                    </a:cubicBezTo>
                    <a:cubicBezTo>
                      <a:pt x="1114" y="703"/>
                      <a:pt x="1114" y="703"/>
                      <a:pt x="1114" y="703"/>
                    </a:cubicBezTo>
                    <a:cubicBezTo>
                      <a:pt x="1109" y="708"/>
                      <a:pt x="1109" y="708"/>
                      <a:pt x="1109" y="708"/>
                    </a:cubicBezTo>
                    <a:cubicBezTo>
                      <a:pt x="1106" y="708"/>
                      <a:pt x="1106" y="708"/>
                      <a:pt x="1106" y="708"/>
                    </a:cubicBezTo>
                    <a:cubicBezTo>
                      <a:pt x="1107" y="705"/>
                      <a:pt x="1107" y="705"/>
                      <a:pt x="1107" y="705"/>
                    </a:cubicBezTo>
                    <a:cubicBezTo>
                      <a:pt x="1105" y="705"/>
                      <a:pt x="1105" y="705"/>
                      <a:pt x="1105" y="705"/>
                    </a:cubicBezTo>
                    <a:cubicBezTo>
                      <a:pt x="1103" y="705"/>
                      <a:pt x="1103" y="705"/>
                      <a:pt x="1103" y="705"/>
                    </a:cubicBezTo>
                    <a:cubicBezTo>
                      <a:pt x="1103" y="708"/>
                      <a:pt x="1103" y="708"/>
                      <a:pt x="1103" y="708"/>
                    </a:cubicBezTo>
                    <a:cubicBezTo>
                      <a:pt x="1100" y="707"/>
                      <a:pt x="1100" y="707"/>
                      <a:pt x="1100" y="707"/>
                    </a:cubicBezTo>
                    <a:cubicBezTo>
                      <a:pt x="1102" y="709"/>
                      <a:pt x="1102" y="709"/>
                      <a:pt x="1102" y="709"/>
                    </a:cubicBezTo>
                    <a:cubicBezTo>
                      <a:pt x="1100" y="711"/>
                      <a:pt x="1100" y="711"/>
                      <a:pt x="1100" y="711"/>
                    </a:cubicBezTo>
                    <a:cubicBezTo>
                      <a:pt x="1103" y="711"/>
                      <a:pt x="1103" y="711"/>
                      <a:pt x="1103" y="711"/>
                    </a:cubicBezTo>
                    <a:cubicBezTo>
                      <a:pt x="1106" y="714"/>
                      <a:pt x="1106" y="714"/>
                      <a:pt x="1106" y="714"/>
                    </a:cubicBezTo>
                    <a:cubicBezTo>
                      <a:pt x="1101" y="714"/>
                      <a:pt x="1101" y="714"/>
                      <a:pt x="1101" y="714"/>
                    </a:cubicBezTo>
                    <a:cubicBezTo>
                      <a:pt x="1106" y="718"/>
                      <a:pt x="1106" y="718"/>
                      <a:pt x="1106" y="718"/>
                    </a:cubicBezTo>
                    <a:cubicBezTo>
                      <a:pt x="1108" y="716"/>
                      <a:pt x="1108" y="716"/>
                      <a:pt x="1108" y="716"/>
                    </a:cubicBezTo>
                    <a:cubicBezTo>
                      <a:pt x="1110" y="718"/>
                      <a:pt x="1110" y="718"/>
                      <a:pt x="1110" y="718"/>
                    </a:cubicBezTo>
                    <a:cubicBezTo>
                      <a:pt x="1104" y="721"/>
                      <a:pt x="1104" y="721"/>
                      <a:pt x="1104" y="721"/>
                    </a:cubicBezTo>
                    <a:cubicBezTo>
                      <a:pt x="1100" y="724"/>
                      <a:pt x="1100" y="724"/>
                      <a:pt x="1100" y="724"/>
                    </a:cubicBezTo>
                    <a:cubicBezTo>
                      <a:pt x="1099" y="727"/>
                      <a:pt x="1099" y="727"/>
                      <a:pt x="1099" y="727"/>
                    </a:cubicBezTo>
                    <a:cubicBezTo>
                      <a:pt x="1101" y="725"/>
                      <a:pt x="1101" y="725"/>
                      <a:pt x="1101" y="725"/>
                    </a:cubicBezTo>
                    <a:cubicBezTo>
                      <a:pt x="1104" y="725"/>
                      <a:pt x="1104" y="725"/>
                      <a:pt x="1104" y="725"/>
                    </a:cubicBezTo>
                    <a:cubicBezTo>
                      <a:pt x="1106" y="727"/>
                      <a:pt x="1106" y="727"/>
                      <a:pt x="1106" y="727"/>
                    </a:cubicBezTo>
                    <a:cubicBezTo>
                      <a:pt x="1102" y="731"/>
                      <a:pt x="1102" y="731"/>
                      <a:pt x="1102" y="731"/>
                    </a:cubicBezTo>
                    <a:cubicBezTo>
                      <a:pt x="1105" y="732"/>
                      <a:pt x="1105" y="732"/>
                      <a:pt x="1105" y="732"/>
                    </a:cubicBezTo>
                    <a:cubicBezTo>
                      <a:pt x="1104" y="734"/>
                      <a:pt x="1104" y="734"/>
                      <a:pt x="1104" y="734"/>
                    </a:cubicBezTo>
                    <a:cubicBezTo>
                      <a:pt x="1102" y="735"/>
                      <a:pt x="1102" y="735"/>
                      <a:pt x="1102" y="735"/>
                    </a:cubicBezTo>
                    <a:cubicBezTo>
                      <a:pt x="1102" y="737"/>
                      <a:pt x="1102" y="737"/>
                      <a:pt x="1102" y="737"/>
                    </a:cubicBezTo>
                    <a:cubicBezTo>
                      <a:pt x="1104" y="737"/>
                      <a:pt x="1104" y="737"/>
                      <a:pt x="1104" y="737"/>
                    </a:cubicBezTo>
                    <a:cubicBezTo>
                      <a:pt x="1106" y="740"/>
                      <a:pt x="1106" y="740"/>
                      <a:pt x="1106" y="740"/>
                    </a:cubicBezTo>
                    <a:cubicBezTo>
                      <a:pt x="1106" y="744"/>
                      <a:pt x="1106" y="744"/>
                      <a:pt x="1106" y="744"/>
                    </a:cubicBezTo>
                    <a:cubicBezTo>
                      <a:pt x="1103" y="741"/>
                      <a:pt x="1103" y="741"/>
                      <a:pt x="1103" y="741"/>
                    </a:cubicBezTo>
                    <a:cubicBezTo>
                      <a:pt x="1101" y="741"/>
                      <a:pt x="1101" y="741"/>
                      <a:pt x="1101" y="741"/>
                    </a:cubicBezTo>
                    <a:cubicBezTo>
                      <a:pt x="1101" y="738"/>
                      <a:pt x="1101" y="738"/>
                      <a:pt x="1101" y="738"/>
                    </a:cubicBezTo>
                    <a:cubicBezTo>
                      <a:pt x="1099" y="736"/>
                      <a:pt x="1099" y="736"/>
                      <a:pt x="1099" y="736"/>
                    </a:cubicBezTo>
                    <a:cubicBezTo>
                      <a:pt x="1097" y="738"/>
                      <a:pt x="1097" y="738"/>
                      <a:pt x="1097" y="738"/>
                    </a:cubicBezTo>
                    <a:cubicBezTo>
                      <a:pt x="1095" y="738"/>
                      <a:pt x="1095" y="738"/>
                      <a:pt x="1095" y="738"/>
                    </a:cubicBezTo>
                    <a:cubicBezTo>
                      <a:pt x="1095" y="741"/>
                      <a:pt x="1095" y="741"/>
                      <a:pt x="1095" y="741"/>
                    </a:cubicBezTo>
                    <a:cubicBezTo>
                      <a:pt x="1098" y="743"/>
                      <a:pt x="1098" y="743"/>
                      <a:pt x="1098" y="743"/>
                    </a:cubicBezTo>
                    <a:cubicBezTo>
                      <a:pt x="1098" y="747"/>
                      <a:pt x="1098" y="747"/>
                      <a:pt x="1098" y="747"/>
                    </a:cubicBezTo>
                    <a:cubicBezTo>
                      <a:pt x="1097" y="745"/>
                      <a:pt x="1097" y="745"/>
                      <a:pt x="1097" y="745"/>
                    </a:cubicBezTo>
                    <a:cubicBezTo>
                      <a:pt x="1095" y="745"/>
                      <a:pt x="1095" y="745"/>
                      <a:pt x="1095" y="745"/>
                    </a:cubicBezTo>
                    <a:cubicBezTo>
                      <a:pt x="1093" y="743"/>
                      <a:pt x="1093" y="743"/>
                      <a:pt x="1093" y="743"/>
                    </a:cubicBezTo>
                    <a:cubicBezTo>
                      <a:pt x="1091" y="744"/>
                      <a:pt x="1091" y="744"/>
                      <a:pt x="1091" y="744"/>
                    </a:cubicBezTo>
                    <a:cubicBezTo>
                      <a:pt x="1093" y="745"/>
                      <a:pt x="1093" y="745"/>
                      <a:pt x="1093" y="745"/>
                    </a:cubicBezTo>
                    <a:cubicBezTo>
                      <a:pt x="1093" y="748"/>
                      <a:pt x="1093" y="748"/>
                      <a:pt x="1093" y="748"/>
                    </a:cubicBezTo>
                    <a:cubicBezTo>
                      <a:pt x="1096" y="748"/>
                      <a:pt x="1096" y="748"/>
                      <a:pt x="1096" y="748"/>
                    </a:cubicBezTo>
                    <a:cubicBezTo>
                      <a:pt x="1096" y="749"/>
                      <a:pt x="1096" y="749"/>
                      <a:pt x="1096" y="749"/>
                    </a:cubicBezTo>
                    <a:cubicBezTo>
                      <a:pt x="1094" y="752"/>
                      <a:pt x="1094" y="752"/>
                      <a:pt x="1094" y="752"/>
                    </a:cubicBezTo>
                    <a:cubicBezTo>
                      <a:pt x="1090" y="749"/>
                      <a:pt x="1090" y="749"/>
                      <a:pt x="1090" y="749"/>
                    </a:cubicBezTo>
                    <a:cubicBezTo>
                      <a:pt x="1090" y="752"/>
                      <a:pt x="1090" y="752"/>
                      <a:pt x="1090" y="752"/>
                    </a:cubicBezTo>
                    <a:cubicBezTo>
                      <a:pt x="1091" y="754"/>
                      <a:pt x="1091" y="754"/>
                      <a:pt x="1091" y="754"/>
                    </a:cubicBezTo>
                    <a:cubicBezTo>
                      <a:pt x="1094" y="755"/>
                      <a:pt x="1094" y="755"/>
                      <a:pt x="1094" y="755"/>
                    </a:cubicBezTo>
                    <a:cubicBezTo>
                      <a:pt x="1093" y="758"/>
                      <a:pt x="1093" y="758"/>
                      <a:pt x="1093" y="758"/>
                    </a:cubicBezTo>
                    <a:cubicBezTo>
                      <a:pt x="1087" y="755"/>
                      <a:pt x="1087" y="755"/>
                      <a:pt x="1087" y="755"/>
                    </a:cubicBezTo>
                    <a:cubicBezTo>
                      <a:pt x="1085" y="757"/>
                      <a:pt x="1085" y="757"/>
                      <a:pt x="1085" y="757"/>
                    </a:cubicBezTo>
                    <a:cubicBezTo>
                      <a:pt x="1084" y="756"/>
                      <a:pt x="1084" y="756"/>
                      <a:pt x="1084" y="756"/>
                    </a:cubicBezTo>
                    <a:cubicBezTo>
                      <a:pt x="1081" y="760"/>
                      <a:pt x="1081" y="760"/>
                      <a:pt x="1081" y="760"/>
                    </a:cubicBezTo>
                    <a:cubicBezTo>
                      <a:pt x="1075" y="760"/>
                      <a:pt x="1075" y="760"/>
                      <a:pt x="1075" y="760"/>
                    </a:cubicBezTo>
                    <a:cubicBezTo>
                      <a:pt x="1079" y="763"/>
                      <a:pt x="1079" y="763"/>
                      <a:pt x="1079" y="763"/>
                    </a:cubicBezTo>
                    <a:cubicBezTo>
                      <a:pt x="1082" y="763"/>
                      <a:pt x="1082" y="763"/>
                      <a:pt x="1082" y="763"/>
                    </a:cubicBezTo>
                    <a:cubicBezTo>
                      <a:pt x="1086" y="763"/>
                      <a:pt x="1086" y="763"/>
                      <a:pt x="1086" y="763"/>
                    </a:cubicBezTo>
                    <a:cubicBezTo>
                      <a:pt x="1084" y="766"/>
                      <a:pt x="1084" y="766"/>
                      <a:pt x="1084" y="766"/>
                    </a:cubicBezTo>
                    <a:cubicBezTo>
                      <a:pt x="1082" y="766"/>
                      <a:pt x="1082" y="766"/>
                      <a:pt x="1082" y="766"/>
                    </a:cubicBezTo>
                    <a:cubicBezTo>
                      <a:pt x="1081" y="770"/>
                      <a:pt x="1081" y="770"/>
                      <a:pt x="1081" y="770"/>
                    </a:cubicBezTo>
                    <a:cubicBezTo>
                      <a:pt x="1079" y="768"/>
                      <a:pt x="1079" y="768"/>
                      <a:pt x="1079" y="768"/>
                    </a:cubicBezTo>
                    <a:cubicBezTo>
                      <a:pt x="1077" y="771"/>
                      <a:pt x="1077" y="771"/>
                      <a:pt x="1077" y="771"/>
                    </a:cubicBezTo>
                    <a:cubicBezTo>
                      <a:pt x="1076" y="772"/>
                      <a:pt x="1076" y="772"/>
                      <a:pt x="1076" y="772"/>
                    </a:cubicBezTo>
                    <a:cubicBezTo>
                      <a:pt x="1075" y="770"/>
                      <a:pt x="1075" y="770"/>
                      <a:pt x="1075" y="770"/>
                    </a:cubicBezTo>
                    <a:cubicBezTo>
                      <a:pt x="1074" y="770"/>
                      <a:pt x="1074" y="770"/>
                      <a:pt x="1074" y="770"/>
                    </a:cubicBezTo>
                    <a:cubicBezTo>
                      <a:pt x="1073" y="773"/>
                      <a:pt x="1073" y="773"/>
                      <a:pt x="1073" y="773"/>
                    </a:cubicBezTo>
                    <a:cubicBezTo>
                      <a:pt x="1071" y="773"/>
                      <a:pt x="1071" y="773"/>
                      <a:pt x="1071" y="773"/>
                    </a:cubicBezTo>
                    <a:cubicBezTo>
                      <a:pt x="1070" y="778"/>
                      <a:pt x="1070" y="778"/>
                      <a:pt x="1070" y="778"/>
                    </a:cubicBezTo>
                    <a:cubicBezTo>
                      <a:pt x="1067" y="778"/>
                      <a:pt x="1067" y="778"/>
                      <a:pt x="1067" y="778"/>
                    </a:cubicBezTo>
                    <a:cubicBezTo>
                      <a:pt x="1066" y="776"/>
                      <a:pt x="1066" y="776"/>
                      <a:pt x="1066" y="776"/>
                    </a:cubicBezTo>
                    <a:cubicBezTo>
                      <a:pt x="1061" y="777"/>
                      <a:pt x="1061" y="777"/>
                      <a:pt x="1061" y="777"/>
                    </a:cubicBezTo>
                    <a:cubicBezTo>
                      <a:pt x="1060" y="779"/>
                      <a:pt x="1060" y="779"/>
                      <a:pt x="1060" y="779"/>
                    </a:cubicBezTo>
                    <a:cubicBezTo>
                      <a:pt x="1058" y="778"/>
                      <a:pt x="1058" y="778"/>
                      <a:pt x="1058" y="778"/>
                    </a:cubicBezTo>
                    <a:cubicBezTo>
                      <a:pt x="1060" y="782"/>
                      <a:pt x="1060" y="782"/>
                      <a:pt x="1060" y="782"/>
                    </a:cubicBezTo>
                    <a:cubicBezTo>
                      <a:pt x="1059" y="786"/>
                      <a:pt x="1059" y="786"/>
                      <a:pt x="1059" y="786"/>
                    </a:cubicBezTo>
                    <a:cubicBezTo>
                      <a:pt x="1057" y="788"/>
                      <a:pt x="1057" y="788"/>
                      <a:pt x="1057" y="788"/>
                    </a:cubicBezTo>
                    <a:cubicBezTo>
                      <a:pt x="1059" y="790"/>
                      <a:pt x="1059" y="790"/>
                      <a:pt x="1059" y="790"/>
                    </a:cubicBezTo>
                    <a:cubicBezTo>
                      <a:pt x="1055" y="792"/>
                      <a:pt x="1055" y="792"/>
                      <a:pt x="1055" y="792"/>
                    </a:cubicBezTo>
                    <a:cubicBezTo>
                      <a:pt x="1053" y="791"/>
                      <a:pt x="1053" y="791"/>
                      <a:pt x="1053" y="791"/>
                    </a:cubicBezTo>
                    <a:cubicBezTo>
                      <a:pt x="1052" y="793"/>
                      <a:pt x="1052" y="793"/>
                      <a:pt x="1052" y="793"/>
                    </a:cubicBezTo>
                    <a:cubicBezTo>
                      <a:pt x="1052" y="791"/>
                      <a:pt x="1052" y="791"/>
                      <a:pt x="1052" y="791"/>
                    </a:cubicBezTo>
                    <a:cubicBezTo>
                      <a:pt x="1050" y="792"/>
                      <a:pt x="1050" y="792"/>
                      <a:pt x="1050" y="792"/>
                    </a:cubicBezTo>
                    <a:cubicBezTo>
                      <a:pt x="1047" y="795"/>
                      <a:pt x="1047" y="795"/>
                      <a:pt x="1047" y="795"/>
                    </a:cubicBezTo>
                    <a:cubicBezTo>
                      <a:pt x="1043" y="795"/>
                      <a:pt x="1043" y="795"/>
                      <a:pt x="1043" y="795"/>
                    </a:cubicBezTo>
                    <a:cubicBezTo>
                      <a:pt x="1043" y="797"/>
                      <a:pt x="1043" y="797"/>
                      <a:pt x="1043" y="797"/>
                    </a:cubicBezTo>
                    <a:cubicBezTo>
                      <a:pt x="1039" y="797"/>
                      <a:pt x="1039" y="797"/>
                      <a:pt x="1039" y="797"/>
                    </a:cubicBezTo>
                    <a:cubicBezTo>
                      <a:pt x="1039" y="796"/>
                      <a:pt x="1039" y="796"/>
                      <a:pt x="1039" y="796"/>
                    </a:cubicBezTo>
                    <a:cubicBezTo>
                      <a:pt x="1037" y="796"/>
                      <a:pt x="1037" y="796"/>
                      <a:pt x="1037" y="796"/>
                    </a:cubicBezTo>
                    <a:cubicBezTo>
                      <a:pt x="1037" y="799"/>
                      <a:pt x="1037" y="799"/>
                      <a:pt x="1037" y="799"/>
                    </a:cubicBezTo>
                    <a:cubicBezTo>
                      <a:pt x="1035" y="801"/>
                      <a:pt x="1035" y="801"/>
                      <a:pt x="1035" y="801"/>
                    </a:cubicBezTo>
                    <a:cubicBezTo>
                      <a:pt x="1032" y="798"/>
                      <a:pt x="1032" y="798"/>
                      <a:pt x="1032" y="798"/>
                    </a:cubicBezTo>
                    <a:cubicBezTo>
                      <a:pt x="1030" y="795"/>
                      <a:pt x="1030" y="795"/>
                      <a:pt x="1030" y="795"/>
                    </a:cubicBezTo>
                    <a:cubicBezTo>
                      <a:pt x="1029" y="797"/>
                      <a:pt x="1029" y="797"/>
                      <a:pt x="1029" y="797"/>
                    </a:cubicBezTo>
                    <a:cubicBezTo>
                      <a:pt x="1026" y="798"/>
                      <a:pt x="1026" y="798"/>
                      <a:pt x="1026" y="798"/>
                    </a:cubicBezTo>
                    <a:cubicBezTo>
                      <a:pt x="1026" y="800"/>
                      <a:pt x="1026" y="800"/>
                      <a:pt x="1026" y="800"/>
                    </a:cubicBezTo>
                    <a:cubicBezTo>
                      <a:pt x="1023" y="801"/>
                      <a:pt x="1023" y="801"/>
                      <a:pt x="1023" y="801"/>
                    </a:cubicBezTo>
                    <a:cubicBezTo>
                      <a:pt x="1020" y="799"/>
                      <a:pt x="1020" y="799"/>
                      <a:pt x="1020" y="799"/>
                    </a:cubicBezTo>
                    <a:cubicBezTo>
                      <a:pt x="1018" y="801"/>
                      <a:pt x="1018" y="801"/>
                      <a:pt x="1018" y="801"/>
                    </a:cubicBezTo>
                    <a:cubicBezTo>
                      <a:pt x="1015" y="802"/>
                      <a:pt x="1015" y="802"/>
                      <a:pt x="1015" y="802"/>
                    </a:cubicBezTo>
                    <a:cubicBezTo>
                      <a:pt x="1014" y="806"/>
                      <a:pt x="1014" y="806"/>
                      <a:pt x="1014" y="806"/>
                    </a:cubicBezTo>
                    <a:cubicBezTo>
                      <a:pt x="1007" y="809"/>
                      <a:pt x="1007" y="809"/>
                      <a:pt x="1007" y="809"/>
                    </a:cubicBezTo>
                    <a:cubicBezTo>
                      <a:pt x="1007" y="807"/>
                      <a:pt x="1007" y="807"/>
                      <a:pt x="1007" y="807"/>
                    </a:cubicBezTo>
                    <a:cubicBezTo>
                      <a:pt x="1010" y="806"/>
                      <a:pt x="1010" y="806"/>
                      <a:pt x="1010" y="806"/>
                    </a:cubicBezTo>
                    <a:cubicBezTo>
                      <a:pt x="1011" y="804"/>
                      <a:pt x="1011" y="804"/>
                      <a:pt x="1011" y="804"/>
                    </a:cubicBezTo>
                    <a:cubicBezTo>
                      <a:pt x="1009" y="804"/>
                      <a:pt x="1009" y="804"/>
                      <a:pt x="1009" y="804"/>
                    </a:cubicBezTo>
                    <a:cubicBezTo>
                      <a:pt x="1005" y="801"/>
                      <a:pt x="1005" y="801"/>
                      <a:pt x="1005" y="801"/>
                    </a:cubicBezTo>
                    <a:cubicBezTo>
                      <a:pt x="1004" y="798"/>
                      <a:pt x="1004" y="798"/>
                      <a:pt x="1004" y="798"/>
                    </a:cubicBezTo>
                    <a:cubicBezTo>
                      <a:pt x="1000" y="796"/>
                      <a:pt x="1000" y="796"/>
                      <a:pt x="1000" y="796"/>
                    </a:cubicBezTo>
                    <a:cubicBezTo>
                      <a:pt x="998" y="794"/>
                      <a:pt x="998" y="794"/>
                      <a:pt x="998" y="794"/>
                    </a:cubicBezTo>
                    <a:cubicBezTo>
                      <a:pt x="999" y="796"/>
                      <a:pt x="999" y="796"/>
                      <a:pt x="999" y="796"/>
                    </a:cubicBezTo>
                    <a:cubicBezTo>
                      <a:pt x="998" y="799"/>
                      <a:pt x="998" y="799"/>
                      <a:pt x="998" y="799"/>
                    </a:cubicBezTo>
                    <a:cubicBezTo>
                      <a:pt x="999" y="802"/>
                      <a:pt x="999" y="802"/>
                      <a:pt x="999" y="802"/>
                    </a:cubicBezTo>
                    <a:cubicBezTo>
                      <a:pt x="1000" y="807"/>
                      <a:pt x="1000" y="807"/>
                      <a:pt x="1000" y="807"/>
                    </a:cubicBezTo>
                    <a:cubicBezTo>
                      <a:pt x="997" y="808"/>
                      <a:pt x="997" y="808"/>
                      <a:pt x="997" y="808"/>
                    </a:cubicBezTo>
                    <a:cubicBezTo>
                      <a:pt x="995" y="811"/>
                      <a:pt x="995" y="811"/>
                      <a:pt x="995" y="811"/>
                    </a:cubicBezTo>
                    <a:cubicBezTo>
                      <a:pt x="993" y="812"/>
                      <a:pt x="993" y="812"/>
                      <a:pt x="993" y="812"/>
                    </a:cubicBezTo>
                    <a:cubicBezTo>
                      <a:pt x="992" y="811"/>
                      <a:pt x="992" y="811"/>
                      <a:pt x="992" y="811"/>
                    </a:cubicBezTo>
                    <a:cubicBezTo>
                      <a:pt x="991" y="810"/>
                      <a:pt x="991" y="810"/>
                      <a:pt x="991" y="810"/>
                    </a:cubicBezTo>
                    <a:cubicBezTo>
                      <a:pt x="990" y="812"/>
                      <a:pt x="990" y="812"/>
                      <a:pt x="990" y="812"/>
                    </a:cubicBezTo>
                    <a:cubicBezTo>
                      <a:pt x="988" y="815"/>
                      <a:pt x="988" y="815"/>
                      <a:pt x="988" y="815"/>
                    </a:cubicBezTo>
                    <a:cubicBezTo>
                      <a:pt x="984" y="818"/>
                      <a:pt x="984" y="818"/>
                      <a:pt x="984" y="818"/>
                    </a:cubicBezTo>
                    <a:cubicBezTo>
                      <a:pt x="980" y="820"/>
                      <a:pt x="980" y="820"/>
                      <a:pt x="980" y="820"/>
                    </a:cubicBezTo>
                    <a:cubicBezTo>
                      <a:pt x="978" y="821"/>
                      <a:pt x="978" y="821"/>
                      <a:pt x="978" y="821"/>
                    </a:cubicBezTo>
                    <a:cubicBezTo>
                      <a:pt x="974" y="820"/>
                      <a:pt x="974" y="820"/>
                      <a:pt x="974" y="820"/>
                    </a:cubicBezTo>
                    <a:cubicBezTo>
                      <a:pt x="970" y="821"/>
                      <a:pt x="970" y="821"/>
                      <a:pt x="970" y="821"/>
                    </a:cubicBezTo>
                    <a:cubicBezTo>
                      <a:pt x="967" y="821"/>
                      <a:pt x="967" y="821"/>
                      <a:pt x="967" y="821"/>
                    </a:cubicBezTo>
                    <a:cubicBezTo>
                      <a:pt x="968" y="823"/>
                      <a:pt x="968" y="823"/>
                      <a:pt x="968" y="823"/>
                    </a:cubicBezTo>
                    <a:cubicBezTo>
                      <a:pt x="964" y="825"/>
                      <a:pt x="964" y="825"/>
                      <a:pt x="964" y="825"/>
                    </a:cubicBezTo>
                    <a:cubicBezTo>
                      <a:pt x="961" y="827"/>
                      <a:pt x="961" y="827"/>
                      <a:pt x="961" y="827"/>
                    </a:cubicBezTo>
                    <a:cubicBezTo>
                      <a:pt x="958" y="825"/>
                      <a:pt x="958" y="825"/>
                      <a:pt x="958" y="825"/>
                    </a:cubicBezTo>
                    <a:cubicBezTo>
                      <a:pt x="956" y="828"/>
                      <a:pt x="956" y="828"/>
                      <a:pt x="956" y="828"/>
                    </a:cubicBezTo>
                    <a:cubicBezTo>
                      <a:pt x="952" y="829"/>
                      <a:pt x="952" y="829"/>
                      <a:pt x="952" y="829"/>
                    </a:cubicBezTo>
                    <a:cubicBezTo>
                      <a:pt x="950" y="831"/>
                      <a:pt x="950" y="831"/>
                      <a:pt x="950" y="831"/>
                    </a:cubicBezTo>
                    <a:cubicBezTo>
                      <a:pt x="949" y="831"/>
                      <a:pt x="949" y="831"/>
                      <a:pt x="949" y="831"/>
                    </a:cubicBezTo>
                    <a:cubicBezTo>
                      <a:pt x="950" y="830"/>
                      <a:pt x="950" y="830"/>
                      <a:pt x="950" y="830"/>
                    </a:cubicBezTo>
                    <a:cubicBezTo>
                      <a:pt x="949" y="829"/>
                      <a:pt x="949" y="829"/>
                      <a:pt x="949" y="829"/>
                    </a:cubicBezTo>
                    <a:cubicBezTo>
                      <a:pt x="948" y="828"/>
                      <a:pt x="948" y="828"/>
                      <a:pt x="948" y="828"/>
                    </a:cubicBezTo>
                    <a:cubicBezTo>
                      <a:pt x="949" y="828"/>
                      <a:pt x="949" y="828"/>
                      <a:pt x="949" y="828"/>
                    </a:cubicBezTo>
                    <a:cubicBezTo>
                      <a:pt x="948" y="828"/>
                      <a:pt x="948" y="828"/>
                      <a:pt x="948" y="828"/>
                    </a:cubicBezTo>
                    <a:cubicBezTo>
                      <a:pt x="947" y="827"/>
                      <a:pt x="947" y="827"/>
                      <a:pt x="947" y="827"/>
                    </a:cubicBezTo>
                    <a:cubicBezTo>
                      <a:pt x="947" y="826"/>
                      <a:pt x="947" y="826"/>
                      <a:pt x="947" y="826"/>
                    </a:cubicBezTo>
                    <a:cubicBezTo>
                      <a:pt x="945" y="827"/>
                      <a:pt x="945" y="827"/>
                      <a:pt x="945" y="827"/>
                    </a:cubicBezTo>
                    <a:cubicBezTo>
                      <a:pt x="944" y="827"/>
                      <a:pt x="944" y="827"/>
                      <a:pt x="944" y="827"/>
                    </a:cubicBezTo>
                    <a:cubicBezTo>
                      <a:pt x="945" y="829"/>
                      <a:pt x="945" y="829"/>
                      <a:pt x="945" y="829"/>
                    </a:cubicBezTo>
                    <a:cubicBezTo>
                      <a:pt x="944" y="831"/>
                      <a:pt x="944" y="831"/>
                      <a:pt x="944" y="831"/>
                    </a:cubicBezTo>
                    <a:cubicBezTo>
                      <a:pt x="942" y="834"/>
                      <a:pt x="942" y="834"/>
                      <a:pt x="942" y="834"/>
                    </a:cubicBezTo>
                    <a:cubicBezTo>
                      <a:pt x="941" y="835"/>
                      <a:pt x="941" y="835"/>
                      <a:pt x="941" y="835"/>
                    </a:cubicBezTo>
                    <a:cubicBezTo>
                      <a:pt x="942" y="838"/>
                      <a:pt x="942" y="838"/>
                      <a:pt x="942" y="838"/>
                    </a:cubicBezTo>
                    <a:cubicBezTo>
                      <a:pt x="945" y="838"/>
                      <a:pt x="945" y="838"/>
                      <a:pt x="945" y="838"/>
                    </a:cubicBezTo>
                    <a:cubicBezTo>
                      <a:pt x="947" y="842"/>
                      <a:pt x="947" y="842"/>
                      <a:pt x="947" y="842"/>
                    </a:cubicBezTo>
                    <a:cubicBezTo>
                      <a:pt x="947" y="843"/>
                      <a:pt x="947" y="843"/>
                      <a:pt x="947" y="843"/>
                    </a:cubicBezTo>
                    <a:cubicBezTo>
                      <a:pt x="948" y="843"/>
                      <a:pt x="948" y="843"/>
                      <a:pt x="948" y="843"/>
                    </a:cubicBezTo>
                    <a:cubicBezTo>
                      <a:pt x="949" y="845"/>
                      <a:pt x="949" y="845"/>
                      <a:pt x="949" y="845"/>
                    </a:cubicBezTo>
                    <a:cubicBezTo>
                      <a:pt x="946" y="849"/>
                      <a:pt x="946" y="849"/>
                      <a:pt x="946" y="849"/>
                    </a:cubicBezTo>
                    <a:cubicBezTo>
                      <a:pt x="943" y="849"/>
                      <a:pt x="943" y="849"/>
                      <a:pt x="943" y="849"/>
                    </a:cubicBezTo>
                    <a:cubicBezTo>
                      <a:pt x="943" y="848"/>
                      <a:pt x="943" y="848"/>
                      <a:pt x="943" y="848"/>
                    </a:cubicBezTo>
                    <a:cubicBezTo>
                      <a:pt x="939" y="847"/>
                      <a:pt x="939" y="847"/>
                      <a:pt x="939" y="847"/>
                    </a:cubicBezTo>
                    <a:cubicBezTo>
                      <a:pt x="938" y="850"/>
                      <a:pt x="938" y="850"/>
                      <a:pt x="938" y="850"/>
                    </a:cubicBezTo>
                    <a:cubicBezTo>
                      <a:pt x="937" y="851"/>
                      <a:pt x="937" y="851"/>
                      <a:pt x="937" y="851"/>
                    </a:cubicBezTo>
                    <a:cubicBezTo>
                      <a:pt x="936" y="847"/>
                      <a:pt x="936" y="847"/>
                      <a:pt x="936" y="847"/>
                    </a:cubicBezTo>
                    <a:cubicBezTo>
                      <a:pt x="936" y="845"/>
                      <a:pt x="936" y="845"/>
                      <a:pt x="936" y="845"/>
                    </a:cubicBezTo>
                    <a:cubicBezTo>
                      <a:pt x="934" y="843"/>
                      <a:pt x="934" y="843"/>
                      <a:pt x="934" y="843"/>
                    </a:cubicBezTo>
                    <a:cubicBezTo>
                      <a:pt x="929" y="837"/>
                      <a:pt x="929" y="837"/>
                      <a:pt x="929" y="837"/>
                    </a:cubicBezTo>
                    <a:cubicBezTo>
                      <a:pt x="929" y="835"/>
                      <a:pt x="929" y="835"/>
                      <a:pt x="929" y="835"/>
                    </a:cubicBezTo>
                    <a:cubicBezTo>
                      <a:pt x="932" y="832"/>
                      <a:pt x="932" y="832"/>
                      <a:pt x="932" y="832"/>
                    </a:cubicBezTo>
                    <a:cubicBezTo>
                      <a:pt x="932" y="828"/>
                      <a:pt x="932" y="828"/>
                      <a:pt x="932" y="828"/>
                    </a:cubicBezTo>
                    <a:cubicBezTo>
                      <a:pt x="935" y="828"/>
                      <a:pt x="935" y="828"/>
                      <a:pt x="935" y="828"/>
                    </a:cubicBezTo>
                    <a:cubicBezTo>
                      <a:pt x="935" y="827"/>
                      <a:pt x="935" y="827"/>
                      <a:pt x="935" y="827"/>
                    </a:cubicBezTo>
                    <a:cubicBezTo>
                      <a:pt x="933" y="826"/>
                      <a:pt x="933" y="826"/>
                      <a:pt x="933" y="826"/>
                    </a:cubicBezTo>
                    <a:cubicBezTo>
                      <a:pt x="930" y="827"/>
                      <a:pt x="930" y="827"/>
                      <a:pt x="930" y="827"/>
                    </a:cubicBezTo>
                    <a:cubicBezTo>
                      <a:pt x="928" y="824"/>
                      <a:pt x="928" y="824"/>
                      <a:pt x="928" y="824"/>
                    </a:cubicBezTo>
                    <a:cubicBezTo>
                      <a:pt x="926" y="828"/>
                      <a:pt x="926" y="828"/>
                      <a:pt x="926" y="828"/>
                    </a:cubicBezTo>
                    <a:cubicBezTo>
                      <a:pt x="923" y="827"/>
                      <a:pt x="923" y="827"/>
                      <a:pt x="923" y="827"/>
                    </a:cubicBezTo>
                    <a:cubicBezTo>
                      <a:pt x="921" y="828"/>
                      <a:pt x="921" y="828"/>
                      <a:pt x="921" y="828"/>
                    </a:cubicBezTo>
                    <a:cubicBezTo>
                      <a:pt x="916" y="824"/>
                      <a:pt x="916" y="824"/>
                      <a:pt x="916" y="824"/>
                    </a:cubicBezTo>
                    <a:cubicBezTo>
                      <a:pt x="914" y="825"/>
                      <a:pt x="914" y="825"/>
                      <a:pt x="914" y="825"/>
                    </a:cubicBezTo>
                    <a:cubicBezTo>
                      <a:pt x="911" y="821"/>
                      <a:pt x="911" y="821"/>
                      <a:pt x="911" y="821"/>
                    </a:cubicBezTo>
                    <a:cubicBezTo>
                      <a:pt x="909" y="818"/>
                      <a:pt x="909" y="818"/>
                      <a:pt x="909" y="818"/>
                    </a:cubicBezTo>
                    <a:cubicBezTo>
                      <a:pt x="908" y="822"/>
                      <a:pt x="908" y="822"/>
                      <a:pt x="908" y="822"/>
                    </a:cubicBezTo>
                    <a:cubicBezTo>
                      <a:pt x="908" y="824"/>
                      <a:pt x="908" y="824"/>
                      <a:pt x="908" y="824"/>
                    </a:cubicBezTo>
                    <a:cubicBezTo>
                      <a:pt x="905" y="825"/>
                      <a:pt x="905" y="825"/>
                      <a:pt x="905" y="825"/>
                    </a:cubicBezTo>
                    <a:cubicBezTo>
                      <a:pt x="903" y="824"/>
                      <a:pt x="903" y="824"/>
                      <a:pt x="903" y="824"/>
                    </a:cubicBezTo>
                    <a:cubicBezTo>
                      <a:pt x="901" y="825"/>
                      <a:pt x="901" y="825"/>
                      <a:pt x="901" y="825"/>
                    </a:cubicBezTo>
                    <a:cubicBezTo>
                      <a:pt x="900" y="824"/>
                      <a:pt x="900" y="824"/>
                      <a:pt x="900" y="824"/>
                    </a:cubicBezTo>
                    <a:cubicBezTo>
                      <a:pt x="900" y="825"/>
                      <a:pt x="900" y="825"/>
                      <a:pt x="900" y="825"/>
                    </a:cubicBezTo>
                    <a:cubicBezTo>
                      <a:pt x="899" y="824"/>
                      <a:pt x="899" y="824"/>
                      <a:pt x="899" y="824"/>
                    </a:cubicBezTo>
                    <a:cubicBezTo>
                      <a:pt x="897" y="824"/>
                      <a:pt x="897" y="824"/>
                      <a:pt x="897" y="824"/>
                    </a:cubicBezTo>
                    <a:cubicBezTo>
                      <a:pt x="878" y="826"/>
                      <a:pt x="878" y="826"/>
                      <a:pt x="878" y="826"/>
                    </a:cubicBezTo>
                    <a:cubicBezTo>
                      <a:pt x="838" y="810"/>
                      <a:pt x="838" y="810"/>
                      <a:pt x="838" y="810"/>
                    </a:cubicBezTo>
                    <a:cubicBezTo>
                      <a:pt x="771" y="843"/>
                      <a:pt x="771" y="843"/>
                      <a:pt x="771" y="843"/>
                    </a:cubicBezTo>
                    <a:cubicBezTo>
                      <a:pt x="722" y="828"/>
                      <a:pt x="722" y="828"/>
                      <a:pt x="722" y="828"/>
                    </a:cubicBezTo>
                    <a:cubicBezTo>
                      <a:pt x="610" y="747"/>
                      <a:pt x="610" y="747"/>
                      <a:pt x="610" y="747"/>
                    </a:cubicBezTo>
                    <a:cubicBezTo>
                      <a:pt x="370" y="726"/>
                      <a:pt x="370" y="726"/>
                      <a:pt x="370" y="726"/>
                    </a:cubicBezTo>
                    <a:cubicBezTo>
                      <a:pt x="244" y="611"/>
                      <a:pt x="244" y="611"/>
                      <a:pt x="244" y="611"/>
                    </a:cubicBezTo>
                    <a:cubicBezTo>
                      <a:pt x="0" y="511"/>
                      <a:pt x="0" y="511"/>
                      <a:pt x="0" y="511"/>
                    </a:cubicBezTo>
                    <a:cubicBezTo>
                      <a:pt x="20" y="313"/>
                      <a:pt x="20" y="313"/>
                      <a:pt x="20" y="313"/>
                    </a:cubicBezTo>
                    <a:cubicBezTo>
                      <a:pt x="180" y="229"/>
                      <a:pt x="180" y="229"/>
                      <a:pt x="180" y="229"/>
                    </a:cubicBezTo>
                    <a:cubicBezTo>
                      <a:pt x="365" y="192"/>
                      <a:pt x="365" y="192"/>
                      <a:pt x="365" y="192"/>
                    </a:cubicBezTo>
                    <a:cubicBezTo>
                      <a:pt x="380" y="189"/>
                      <a:pt x="380" y="189"/>
                      <a:pt x="380" y="189"/>
                    </a:cubicBezTo>
                    <a:close/>
                    <a:moveTo>
                      <a:pt x="1066" y="782"/>
                    </a:moveTo>
                    <a:cubicBezTo>
                      <a:pt x="1067" y="784"/>
                      <a:pt x="1067" y="784"/>
                      <a:pt x="1067" y="784"/>
                    </a:cubicBezTo>
                    <a:cubicBezTo>
                      <a:pt x="1070" y="784"/>
                      <a:pt x="1070" y="784"/>
                      <a:pt x="1070" y="784"/>
                    </a:cubicBezTo>
                    <a:cubicBezTo>
                      <a:pt x="1071" y="783"/>
                      <a:pt x="1071" y="783"/>
                      <a:pt x="1071" y="783"/>
                    </a:cubicBezTo>
                    <a:cubicBezTo>
                      <a:pt x="1069" y="780"/>
                      <a:pt x="1069" y="780"/>
                      <a:pt x="1069" y="780"/>
                    </a:cubicBezTo>
                    <a:cubicBezTo>
                      <a:pt x="1066" y="782"/>
                      <a:pt x="1066" y="782"/>
                      <a:pt x="1066" y="782"/>
                    </a:cubicBezTo>
                    <a:close/>
                    <a:moveTo>
                      <a:pt x="1107" y="734"/>
                    </a:moveTo>
                    <a:cubicBezTo>
                      <a:pt x="1108" y="738"/>
                      <a:pt x="1108" y="738"/>
                      <a:pt x="1108" y="738"/>
                    </a:cubicBezTo>
                    <a:cubicBezTo>
                      <a:pt x="1110" y="737"/>
                      <a:pt x="1110" y="737"/>
                      <a:pt x="1110" y="737"/>
                    </a:cubicBezTo>
                    <a:cubicBezTo>
                      <a:pt x="1110" y="735"/>
                      <a:pt x="1110" y="735"/>
                      <a:pt x="1110" y="735"/>
                    </a:cubicBezTo>
                    <a:cubicBezTo>
                      <a:pt x="1109" y="733"/>
                      <a:pt x="1109" y="733"/>
                      <a:pt x="1109" y="733"/>
                    </a:cubicBezTo>
                    <a:cubicBezTo>
                      <a:pt x="1107" y="734"/>
                      <a:pt x="1107" y="734"/>
                      <a:pt x="1107" y="734"/>
                    </a:cubicBezTo>
                    <a:close/>
                    <a:moveTo>
                      <a:pt x="1137" y="627"/>
                    </a:moveTo>
                    <a:cubicBezTo>
                      <a:pt x="1138" y="630"/>
                      <a:pt x="1138" y="630"/>
                      <a:pt x="1138" y="630"/>
                    </a:cubicBezTo>
                    <a:cubicBezTo>
                      <a:pt x="1142" y="631"/>
                      <a:pt x="1142" y="631"/>
                      <a:pt x="1142" y="631"/>
                    </a:cubicBezTo>
                    <a:cubicBezTo>
                      <a:pt x="1144" y="633"/>
                      <a:pt x="1144" y="633"/>
                      <a:pt x="1144" y="633"/>
                    </a:cubicBezTo>
                    <a:cubicBezTo>
                      <a:pt x="1144" y="630"/>
                      <a:pt x="1144" y="630"/>
                      <a:pt x="1144" y="630"/>
                    </a:cubicBezTo>
                    <a:cubicBezTo>
                      <a:pt x="1141" y="627"/>
                      <a:pt x="1141" y="627"/>
                      <a:pt x="1141" y="627"/>
                    </a:cubicBezTo>
                    <a:cubicBezTo>
                      <a:pt x="1139" y="628"/>
                      <a:pt x="1139" y="628"/>
                      <a:pt x="1139" y="628"/>
                    </a:cubicBezTo>
                    <a:cubicBezTo>
                      <a:pt x="1137" y="627"/>
                      <a:pt x="1137" y="627"/>
                      <a:pt x="1137" y="627"/>
                    </a:cubicBezTo>
                    <a:close/>
                    <a:moveTo>
                      <a:pt x="1116" y="591"/>
                    </a:moveTo>
                    <a:cubicBezTo>
                      <a:pt x="1116" y="592"/>
                      <a:pt x="1116" y="592"/>
                      <a:pt x="1116" y="592"/>
                    </a:cubicBezTo>
                    <a:cubicBezTo>
                      <a:pt x="1118" y="595"/>
                      <a:pt x="1118" y="595"/>
                      <a:pt x="1118" y="595"/>
                    </a:cubicBezTo>
                    <a:cubicBezTo>
                      <a:pt x="1122" y="595"/>
                      <a:pt x="1122" y="595"/>
                      <a:pt x="1122" y="595"/>
                    </a:cubicBezTo>
                    <a:cubicBezTo>
                      <a:pt x="1126" y="596"/>
                      <a:pt x="1126" y="596"/>
                      <a:pt x="1126" y="596"/>
                    </a:cubicBezTo>
                    <a:cubicBezTo>
                      <a:pt x="1126" y="592"/>
                      <a:pt x="1126" y="592"/>
                      <a:pt x="1126" y="592"/>
                    </a:cubicBezTo>
                    <a:cubicBezTo>
                      <a:pt x="1122" y="593"/>
                      <a:pt x="1122" y="593"/>
                      <a:pt x="1122" y="593"/>
                    </a:cubicBezTo>
                    <a:cubicBezTo>
                      <a:pt x="1121" y="592"/>
                      <a:pt x="1121" y="592"/>
                      <a:pt x="1121" y="592"/>
                    </a:cubicBezTo>
                    <a:cubicBezTo>
                      <a:pt x="1116" y="591"/>
                      <a:pt x="1116" y="591"/>
                      <a:pt x="1116" y="591"/>
                    </a:cubicBezTo>
                    <a:close/>
                    <a:moveTo>
                      <a:pt x="1140" y="815"/>
                    </a:moveTo>
                    <a:cubicBezTo>
                      <a:pt x="1142" y="814"/>
                      <a:pt x="1142" y="814"/>
                      <a:pt x="1142" y="814"/>
                    </a:cubicBezTo>
                    <a:cubicBezTo>
                      <a:pt x="1145" y="815"/>
                      <a:pt x="1145" y="815"/>
                      <a:pt x="1145" y="815"/>
                    </a:cubicBezTo>
                    <a:cubicBezTo>
                      <a:pt x="1144" y="811"/>
                      <a:pt x="1144" y="811"/>
                      <a:pt x="1144" y="811"/>
                    </a:cubicBezTo>
                    <a:cubicBezTo>
                      <a:pt x="1145" y="807"/>
                      <a:pt x="1145" y="807"/>
                      <a:pt x="1145" y="807"/>
                    </a:cubicBezTo>
                    <a:cubicBezTo>
                      <a:pt x="1143" y="801"/>
                      <a:pt x="1143" y="801"/>
                      <a:pt x="1143" y="801"/>
                    </a:cubicBezTo>
                    <a:cubicBezTo>
                      <a:pt x="1146" y="797"/>
                      <a:pt x="1146" y="797"/>
                      <a:pt x="1146" y="797"/>
                    </a:cubicBezTo>
                    <a:cubicBezTo>
                      <a:pt x="1151" y="790"/>
                      <a:pt x="1151" y="790"/>
                      <a:pt x="1151" y="790"/>
                    </a:cubicBezTo>
                    <a:cubicBezTo>
                      <a:pt x="1151" y="785"/>
                      <a:pt x="1151" y="785"/>
                      <a:pt x="1151" y="785"/>
                    </a:cubicBezTo>
                    <a:cubicBezTo>
                      <a:pt x="1153" y="784"/>
                      <a:pt x="1153" y="784"/>
                      <a:pt x="1153" y="784"/>
                    </a:cubicBezTo>
                    <a:cubicBezTo>
                      <a:pt x="1151" y="783"/>
                      <a:pt x="1151" y="783"/>
                      <a:pt x="1151" y="783"/>
                    </a:cubicBezTo>
                    <a:cubicBezTo>
                      <a:pt x="1152" y="776"/>
                      <a:pt x="1152" y="776"/>
                      <a:pt x="1152" y="776"/>
                    </a:cubicBezTo>
                    <a:cubicBezTo>
                      <a:pt x="1153" y="771"/>
                      <a:pt x="1153" y="771"/>
                      <a:pt x="1153" y="771"/>
                    </a:cubicBezTo>
                    <a:cubicBezTo>
                      <a:pt x="1152" y="766"/>
                      <a:pt x="1152" y="766"/>
                      <a:pt x="1152" y="766"/>
                    </a:cubicBezTo>
                    <a:cubicBezTo>
                      <a:pt x="1154" y="762"/>
                      <a:pt x="1154" y="762"/>
                      <a:pt x="1154" y="762"/>
                    </a:cubicBezTo>
                    <a:cubicBezTo>
                      <a:pt x="1155" y="753"/>
                      <a:pt x="1155" y="753"/>
                      <a:pt x="1155" y="753"/>
                    </a:cubicBezTo>
                    <a:cubicBezTo>
                      <a:pt x="1156" y="748"/>
                      <a:pt x="1156" y="748"/>
                      <a:pt x="1156" y="748"/>
                    </a:cubicBezTo>
                    <a:cubicBezTo>
                      <a:pt x="1157" y="747"/>
                      <a:pt x="1157" y="747"/>
                      <a:pt x="1157" y="747"/>
                    </a:cubicBezTo>
                    <a:cubicBezTo>
                      <a:pt x="1157" y="744"/>
                      <a:pt x="1157" y="744"/>
                      <a:pt x="1157" y="744"/>
                    </a:cubicBezTo>
                    <a:cubicBezTo>
                      <a:pt x="1153" y="742"/>
                      <a:pt x="1153" y="742"/>
                      <a:pt x="1153" y="742"/>
                    </a:cubicBezTo>
                    <a:cubicBezTo>
                      <a:pt x="1152" y="742"/>
                      <a:pt x="1152" y="742"/>
                      <a:pt x="1152" y="742"/>
                    </a:cubicBezTo>
                    <a:cubicBezTo>
                      <a:pt x="1150" y="738"/>
                      <a:pt x="1150" y="738"/>
                      <a:pt x="1150" y="738"/>
                    </a:cubicBezTo>
                    <a:cubicBezTo>
                      <a:pt x="1146" y="736"/>
                      <a:pt x="1146" y="736"/>
                      <a:pt x="1146" y="736"/>
                    </a:cubicBezTo>
                    <a:cubicBezTo>
                      <a:pt x="1143" y="737"/>
                      <a:pt x="1143" y="737"/>
                      <a:pt x="1143" y="737"/>
                    </a:cubicBezTo>
                    <a:cubicBezTo>
                      <a:pt x="1144" y="740"/>
                      <a:pt x="1144" y="740"/>
                      <a:pt x="1144" y="740"/>
                    </a:cubicBezTo>
                    <a:cubicBezTo>
                      <a:pt x="1140" y="741"/>
                      <a:pt x="1140" y="741"/>
                      <a:pt x="1140" y="741"/>
                    </a:cubicBezTo>
                    <a:cubicBezTo>
                      <a:pt x="1136" y="746"/>
                      <a:pt x="1136" y="746"/>
                      <a:pt x="1136" y="746"/>
                    </a:cubicBezTo>
                    <a:cubicBezTo>
                      <a:pt x="1132" y="752"/>
                      <a:pt x="1132" y="752"/>
                      <a:pt x="1132" y="752"/>
                    </a:cubicBezTo>
                    <a:cubicBezTo>
                      <a:pt x="1133" y="754"/>
                      <a:pt x="1133" y="754"/>
                      <a:pt x="1133" y="754"/>
                    </a:cubicBezTo>
                    <a:cubicBezTo>
                      <a:pt x="1132" y="756"/>
                      <a:pt x="1132" y="756"/>
                      <a:pt x="1132" y="756"/>
                    </a:cubicBezTo>
                    <a:cubicBezTo>
                      <a:pt x="1131" y="758"/>
                      <a:pt x="1131" y="758"/>
                      <a:pt x="1131" y="758"/>
                    </a:cubicBezTo>
                    <a:cubicBezTo>
                      <a:pt x="1127" y="765"/>
                      <a:pt x="1127" y="765"/>
                      <a:pt x="1127" y="765"/>
                    </a:cubicBezTo>
                    <a:cubicBezTo>
                      <a:pt x="1125" y="772"/>
                      <a:pt x="1125" y="772"/>
                      <a:pt x="1125" y="772"/>
                    </a:cubicBezTo>
                    <a:cubicBezTo>
                      <a:pt x="1123" y="773"/>
                      <a:pt x="1123" y="773"/>
                      <a:pt x="1123" y="773"/>
                    </a:cubicBezTo>
                    <a:cubicBezTo>
                      <a:pt x="1124" y="775"/>
                      <a:pt x="1124" y="775"/>
                      <a:pt x="1124" y="775"/>
                    </a:cubicBezTo>
                    <a:cubicBezTo>
                      <a:pt x="1125" y="782"/>
                      <a:pt x="1125" y="782"/>
                      <a:pt x="1125" y="782"/>
                    </a:cubicBezTo>
                    <a:cubicBezTo>
                      <a:pt x="1125" y="790"/>
                      <a:pt x="1125" y="790"/>
                      <a:pt x="1125" y="790"/>
                    </a:cubicBezTo>
                    <a:cubicBezTo>
                      <a:pt x="1127" y="791"/>
                      <a:pt x="1127" y="791"/>
                      <a:pt x="1127" y="791"/>
                    </a:cubicBezTo>
                    <a:cubicBezTo>
                      <a:pt x="1128" y="793"/>
                      <a:pt x="1128" y="793"/>
                      <a:pt x="1128" y="793"/>
                    </a:cubicBezTo>
                    <a:cubicBezTo>
                      <a:pt x="1127" y="793"/>
                      <a:pt x="1127" y="793"/>
                      <a:pt x="1127" y="793"/>
                    </a:cubicBezTo>
                    <a:cubicBezTo>
                      <a:pt x="1127" y="796"/>
                      <a:pt x="1127" y="796"/>
                      <a:pt x="1127" y="796"/>
                    </a:cubicBezTo>
                    <a:cubicBezTo>
                      <a:pt x="1129" y="799"/>
                      <a:pt x="1129" y="799"/>
                      <a:pt x="1129" y="799"/>
                    </a:cubicBezTo>
                    <a:cubicBezTo>
                      <a:pt x="1131" y="799"/>
                      <a:pt x="1131" y="799"/>
                      <a:pt x="1131" y="799"/>
                    </a:cubicBezTo>
                    <a:cubicBezTo>
                      <a:pt x="1131" y="802"/>
                      <a:pt x="1131" y="802"/>
                      <a:pt x="1131" y="802"/>
                    </a:cubicBezTo>
                    <a:cubicBezTo>
                      <a:pt x="1137" y="803"/>
                      <a:pt x="1137" y="803"/>
                      <a:pt x="1137" y="803"/>
                    </a:cubicBezTo>
                    <a:cubicBezTo>
                      <a:pt x="1140" y="807"/>
                      <a:pt x="1140" y="807"/>
                      <a:pt x="1140" y="807"/>
                    </a:cubicBezTo>
                    <a:cubicBezTo>
                      <a:pt x="1139" y="812"/>
                      <a:pt x="1139" y="812"/>
                      <a:pt x="1139" y="812"/>
                    </a:cubicBezTo>
                    <a:cubicBezTo>
                      <a:pt x="1140" y="815"/>
                      <a:pt x="1140" y="815"/>
                      <a:pt x="1140" y="815"/>
                    </a:cubicBezTo>
                    <a:close/>
                    <a:moveTo>
                      <a:pt x="946" y="835"/>
                    </a:moveTo>
                    <a:cubicBezTo>
                      <a:pt x="947" y="837"/>
                      <a:pt x="947" y="837"/>
                      <a:pt x="947" y="837"/>
                    </a:cubicBezTo>
                    <a:cubicBezTo>
                      <a:pt x="950" y="837"/>
                      <a:pt x="950" y="837"/>
                      <a:pt x="950" y="837"/>
                    </a:cubicBezTo>
                    <a:cubicBezTo>
                      <a:pt x="954" y="837"/>
                      <a:pt x="954" y="837"/>
                      <a:pt x="954" y="837"/>
                    </a:cubicBezTo>
                    <a:cubicBezTo>
                      <a:pt x="954" y="836"/>
                      <a:pt x="954" y="836"/>
                      <a:pt x="954" y="836"/>
                    </a:cubicBezTo>
                    <a:cubicBezTo>
                      <a:pt x="950" y="834"/>
                      <a:pt x="950" y="834"/>
                      <a:pt x="950" y="834"/>
                    </a:cubicBezTo>
                    <a:cubicBezTo>
                      <a:pt x="946" y="835"/>
                      <a:pt x="946" y="835"/>
                      <a:pt x="946" y="835"/>
                    </a:cubicBezTo>
                    <a:close/>
                    <a:moveTo>
                      <a:pt x="946" y="854"/>
                    </a:moveTo>
                    <a:cubicBezTo>
                      <a:pt x="942" y="855"/>
                      <a:pt x="942" y="855"/>
                      <a:pt x="942" y="855"/>
                    </a:cubicBezTo>
                    <a:cubicBezTo>
                      <a:pt x="940" y="854"/>
                      <a:pt x="940" y="854"/>
                      <a:pt x="940" y="854"/>
                    </a:cubicBezTo>
                    <a:cubicBezTo>
                      <a:pt x="938" y="856"/>
                      <a:pt x="938" y="856"/>
                      <a:pt x="938" y="856"/>
                    </a:cubicBezTo>
                    <a:cubicBezTo>
                      <a:pt x="934" y="856"/>
                      <a:pt x="934" y="856"/>
                      <a:pt x="934" y="856"/>
                    </a:cubicBezTo>
                    <a:cubicBezTo>
                      <a:pt x="930" y="858"/>
                      <a:pt x="930" y="858"/>
                      <a:pt x="930" y="858"/>
                    </a:cubicBezTo>
                    <a:cubicBezTo>
                      <a:pt x="927" y="858"/>
                      <a:pt x="927" y="858"/>
                      <a:pt x="927" y="858"/>
                    </a:cubicBezTo>
                    <a:cubicBezTo>
                      <a:pt x="926" y="862"/>
                      <a:pt x="926" y="862"/>
                      <a:pt x="926" y="862"/>
                    </a:cubicBezTo>
                    <a:cubicBezTo>
                      <a:pt x="920" y="865"/>
                      <a:pt x="920" y="865"/>
                      <a:pt x="920" y="865"/>
                    </a:cubicBezTo>
                    <a:cubicBezTo>
                      <a:pt x="915" y="870"/>
                      <a:pt x="915" y="870"/>
                      <a:pt x="915" y="870"/>
                    </a:cubicBezTo>
                    <a:cubicBezTo>
                      <a:pt x="917" y="873"/>
                      <a:pt x="917" y="873"/>
                      <a:pt x="917" y="873"/>
                    </a:cubicBezTo>
                    <a:cubicBezTo>
                      <a:pt x="917" y="880"/>
                      <a:pt x="917" y="880"/>
                      <a:pt x="917" y="880"/>
                    </a:cubicBezTo>
                    <a:cubicBezTo>
                      <a:pt x="919" y="884"/>
                      <a:pt x="919" y="884"/>
                      <a:pt x="919" y="884"/>
                    </a:cubicBezTo>
                    <a:cubicBezTo>
                      <a:pt x="919" y="886"/>
                      <a:pt x="919" y="886"/>
                      <a:pt x="919" y="886"/>
                    </a:cubicBezTo>
                    <a:cubicBezTo>
                      <a:pt x="923" y="889"/>
                      <a:pt x="923" y="889"/>
                      <a:pt x="923" y="889"/>
                    </a:cubicBezTo>
                    <a:cubicBezTo>
                      <a:pt x="927" y="889"/>
                      <a:pt x="927" y="889"/>
                      <a:pt x="927" y="889"/>
                    </a:cubicBezTo>
                    <a:cubicBezTo>
                      <a:pt x="929" y="891"/>
                      <a:pt x="929" y="891"/>
                      <a:pt x="929" y="891"/>
                    </a:cubicBezTo>
                    <a:cubicBezTo>
                      <a:pt x="932" y="891"/>
                      <a:pt x="932" y="891"/>
                      <a:pt x="932" y="891"/>
                    </a:cubicBezTo>
                    <a:cubicBezTo>
                      <a:pt x="935" y="893"/>
                      <a:pt x="935" y="893"/>
                      <a:pt x="935" y="893"/>
                    </a:cubicBezTo>
                    <a:cubicBezTo>
                      <a:pt x="938" y="892"/>
                      <a:pt x="938" y="892"/>
                      <a:pt x="938" y="892"/>
                    </a:cubicBezTo>
                    <a:cubicBezTo>
                      <a:pt x="939" y="888"/>
                      <a:pt x="939" y="888"/>
                      <a:pt x="939" y="888"/>
                    </a:cubicBezTo>
                    <a:cubicBezTo>
                      <a:pt x="942" y="888"/>
                      <a:pt x="942" y="888"/>
                      <a:pt x="942" y="888"/>
                    </a:cubicBezTo>
                    <a:cubicBezTo>
                      <a:pt x="945" y="889"/>
                      <a:pt x="945" y="889"/>
                      <a:pt x="945" y="889"/>
                    </a:cubicBezTo>
                    <a:cubicBezTo>
                      <a:pt x="947" y="886"/>
                      <a:pt x="947" y="886"/>
                      <a:pt x="947" y="886"/>
                    </a:cubicBezTo>
                    <a:cubicBezTo>
                      <a:pt x="948" y="883"/>
                      <a:pt x="948" y="883"/>
                      <a:pt x="948" y="883"/>
                    </a:cubicBezTo>
                    <a:cubicBezTo>
                      <a:pt x="951" y="883"/>
                      <a:pt x="951" y="883"/>
                      <a:pt x="951" y="883"/>
                    </a:cubicBezTo>
                    <a:cubicBezTo>
                      <a:pt x="954" y="880"/>
                      <a:pt x="954" y="880"/>
                      <a:pt x="954" y="880"/>
                    </a:cubicBezTo>
                    <a:cubicBezTo>
                      <a:pt x="953" y="877"/>
                      <a:pt x="953" y="877"/>
                      <a:pt x="953" y="877"/>
                    </a:cubicBezTo>
                    <a:cubicBezTo>
                      <a:pt x="955" y="871"/>
                      <a:pt x="955" y="871"/>
                      <a:pt x="955" y="871"/>
                    </a:cubicBezTo>
                    <a:cubicBezTo>
                      <a:pt x="957" y="870"/>
                      <a:pt x="957" y="870"/>
                      <a:pt x="957" y="870"/>
                    </a:cubicBezTo>
                    <a:cubicBezTo>
                      <a:pt x="958" y="867"/>
                      <a:pt x="958" y="867"/>
                      <a:pt x="958" y="867"/>
                    </a:cubicBezTo>
                    <a:cubicBezTo>
                      <a:pt x="961" y="862"/>
                      <a:pt x="961" y="862"/>
                      <a:pt x="961" y="862"/>
                    </a:cubicBezTo>
                    <a:cubicBezTo>
                      <a:pt x="959" y="858"/>
                      <a:pt x="959" y="858"/>
                      <a:pt x="959" y="858"/>
                    </a:cubicBezTo>
                    <a:cubicBezTo>
                      <a:pt x="955" y="855"/>
                      <a:pt x="955" y="855"/>
                      <a:pt x="955" y="855"/>
                    </a:cubicBezTo>
                    <a:cubicBezTo>
                      <a:pt x="951" y="854"/>
                      <a:pt x="951" y="854"/>
                      <a:pt x="951" y="854"/>
                    </a:cubicBezTo>
                    <a:cubicBezTo>
                      <a:pt x="948" y="855"/>
                      <a:pt x="948" y="855"/>
                      <a:pt x="948" y="855"/>
                    </a:cubicBezTo>
                    <a:cubicBezTo>
                      <a:pt x="946" y="854"/>
                      <a:pt x="946" y="854"/>
                      <a:pt x="946" y="854"/>
                    </a:cubicBezTo>
                    <a:close/>
                  </a:path>
                </a:pathLst>
              </a:custGeom>
              <a:solidFill>
                <a:srgbClr val="65625E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972" name="Freeform 375"/>
              <p:cNvSpPr>
                <a:spLocks/>
              </p:cNvSpPr>
              <p:nvPr userDrawn="1"/>
            </p:nvSpPr>
            <p:spPr bwMode="auto">
              <a:xfrm>
                <a:off x="4084" y="2854"/>
                <a:ext cx="7" cy="5"/>
              </a:xfrm>
              <a:custGeom>
                <a:avLst/>
                <a:gdLst>
                  <a:gd name="T0" fmla="*/ 7 w 7"/>
                  <a:gd name="T1" fmla="*/ 0 h 5"/>
                  <a:gd name="T2" fmla="*/ 5 w 7"/>
                  <a:gd name="T3" fmla="*/ 3 h 5"/>
                  <a:gd name="T4" fmla="*/ 0 w 7"/>
                  <a:gd name="T5" fmla="*/ 5 h 5"/>
                  <a:gd name="T6" fmla="*/ 7 w 7"/>
                  <a:gd name="T7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5">
                    <a:moveTo>
                      <a:pt x="7" y="0"/>
                    </a:moveTo>
                    <a:lnTo>
                      <a:pt x="5" y="3"/>
                    </a:lnTo>
                    <a:lnTo>
                      <a:pt x="0" y="5"/>
                    </a:lnTo>
                    <a:lnTo>
                      <a:pt x="7" y="0"/>
                    </a:lnTo>
                    <a:close/>
                  </a:path>
                </a:pathLst>
              </a:custGeom>
              <a:solidFill>
                <a:srgbClr val="65625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973" name="Freeform 376"/>
              <p:cNvSpPr>
                <a:spLocks/>
              </p:cNvSpPr>
              <p:nvPr userDrawn="1"/>
            </p:nvSpPr>
            <p:spPr bwMode="auto">
              <a:xfrm>
                <a:off x="4084" y="2854"/>
                <a:ext cx="7" cy="5"/>
              </a:xfrm>
              <a:custGeom>
                <a:avLst/>
                <a:gdLst>
                  <a:gd name="T0" fmla="*/ 7 w 7"/>
                  <a:gd name="T1" fmla="*/ 0 h 5"/>
                  <a:gd name="T2" fmla="*/ 5 w 7"/>
                  <a:gd name="T3" fmla="*/ 3 h 5"/>
                  <a:gd name="T4" fmla="*/ 0 w 7"/>
                  <a:gd name="T5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5">
                    <a:moveTo>
                      <a:pt x="7" y="0"/>
                    </a:moveTo>
                    <a:lnTo>
                      <a:pt x="5" y="3"/>
                    </a:lnTo>
                    <a:lnTo>
                      <a:pt x="0" y="5"/>
                    </a:lnTo>
                  </a:path>
                </a:pathLst>
              </a:custGeom>
              <a:noFill/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974" name="Freeform 377"/>
              <p:cNvSpPr>
                <a:spLocks/>
              </p:cNvSpPr>
              <p:nvPr userDrawn="1"/>
            </p:nvSpPr>
            <p:spPr bwMode="auto">
              <a:xfrm>
                <a:off x="3675" y="3034"/>
                <a:ext cx="230" cy="219"/>
              </a:xfrm>
              <a:custGeom>
                <a:avLst/>
                <a:gdLst>
                  <a:gd name="T0" fmla="*/ 208 w 230"/>
                  <a:gd name="T1" fmla="*/ 206 h 219"/>
                  <a:gd name="T2" fmla="*/ 198 w 230"/>
                  <a:gd name="T3" fmla="*/ 197 h 219"/>
                  <a:gd name="T4" fmla="*/ 189 w 230"/>
                  <a:gd name="T5" fmla="*/ 189 h 219"/>
                  <a:gd name="T6" fmla="*/ 228 w 230"/>
                  <a:gd name="T7" fmla="*/ 126 h 219"/>
                  <a:gd name="T8" fmla="*/ 228 w 230"/>
                  <a:gd name="T9" fmla="*/ 114 h 219"/>
                  <a:gd name="T10" fmla="*/ 228 w 230"/>
                  <a:gd name="T11" fmla="*/ 95 h 219"/>
                  <a:gd name="T12" fmla="*/ 223 w 230"/>
                  <a:gd name="T13" fmla="*/ 94 h 219"/>
                  <a:gd name="T14" fmla="*/ 214 w 230"/>
                  <a:gd name="T15" fmla="*/ 95 h 219"/>
                  <a:gd name="T16" fmla="*/ 202 w 230"/>
                  <a:gd name="T17" fmla="*/ 93 h 219"/>
                  <a:gd name="T18" fmla="*/ 197 w 230"/>
                  <a:gd name="T19" fmla="*/ 95 h 219"/>
                  <a:gd name="T20" fmla="*/ 198 w 230"/>
                  <a:gd name="T21" fmla="*/ 89 h 219"/>
                  <a:gd name="T22" fmla="*/ 197 w 230"/>
                  <a:gd name="T23" fmla="*/ 80 h 219"/>
                  <a:gd name="T24" fmla="*/ 195 w 230"/>
                  <a:gd name="T25" fmla="*/ 72 h 219"/>
                  <a:gd name="T26" fmla="*/ 191 w 230"/>
                  <a:gd name="T27" fmla="*/ 66 h 219"/>
                  <a:gd name="T28" fmla="*/ 188 w 230"/>
                  <a:gd name="T29" fmla="*/ 59 h 219"/>
                  <a:gd name="T30" fmla="*/ 188 w 230"/>
                  <a:gd name="T31" fmla="*/ 46 h 219"/>
                  <a:gd name="T32" fmla="*/ 188 w 230"/>
                  <a:gd name="T33" fmla="*/ 36 h 219"/>
                  <a:gd name="T34" fmla="*/ 190 w 230"/>
                  <a:gd name="T35" fmla="*/ 26 h 219"/>
                  <a:gd name="T36" fmla="*/ 169 w 230"/>
                  <a:gd name="T37" fmla="*/ 18 h 219"/>
                  <a:gd name="T38" fmla="*/ 145 w 230"/>
                  <a:gd name="T39" fmla="*/ 25 h 219"/>
                  <a:gd name="T40" fmla="*/ 142 w 230"/>
                  <a:gd name="T41" fmla="*/ 36 h 219"/>
                  <a:gd name="T42" fmla="*/ 118 w 230"/>
                  <a:gd name="T43" fmla="*/ 38 h 219"/>
                  <a:gd name="T44" fmla="*/ 107 w 230"/>
                  <a:gd name="T45" fmla="*/ 31 h 219"/>
                  <a:gd name="T46" fmla="*/ 101 w 230"/>
                  <a:gd name="T47" fmla="*/ 23 h 219"/>
                  <a:gd name="T48" fmla="*/ 97 w 230"/>
                  <a:gd name="T49" fmla="*/ 11 h 219"/>
                  <a:gd name="T50" fmla="*/ 95 w 230"/>
                  <a:gd name="T51" fmla="*/ 3 h 219"/>
                  <a:gd name="T52" fmla="*/ 64 w 230"/>
                  <a:gd name="T53" fmla="*/ 0 h 219"/>
                  <a:gd name="T54" fmla="*/ 44 w 230"/>
                  <a:gd name="T55" fmla="*/ 0 h 219"/>
                  <a:gd name="T56" fmla="*/ 30 w 230"/>
                  <a:gd name="T57" fmla="*/ 0 h 219"/>
                  <a:gd name="T58" fmla="*/ 22 w 230"/>
                  <a:gd name="T59" fmla="*/ 2 h 219"/>
                  <a:gd name="T60" fmla="*/ 15 w 230"/>
                  <a:gd name="T61" fmla="*/ 6 h 219"/>
                  <a:gd name="T62" fmla="*/ 28 w 230"/>
                  <a:gd name="T63" fmla="*/ 35 h 219"/>
                  <a:gd name="T64" fmla="*/ 29 w 230"/>
                  <a:gd name="T65" fmla="*/ 58 h 219"/>
                  <a:gd name="T66" fmla="*/ 39 w 230"/>
                  <a:gd name="T67" fmla="*/ 85 h 219"/>
                  <a:gd name="T68" fmla="*/ 34 w 230"/>
                  <a:gd name="T69" fmla="*/ 119 h 219"/>
                  <a:gd name="T70" fmla="*/ 13 w 230"/>
                  <a:gd name="T71" fmla="*/ 138 h 219"/>
                  <a:gd name="T72" fmla="*/ 8 w 230"/>
                  <a:gd name="T73" fmla="*/ 165 h 219"/>
                  <a:gd name="T74" fmla="*/ 0 w 230"/>
                  <a:gd name="T75" fmla="*/ 190 h 219"/>
                  <a:gd name="T76" fmla="*/ 0 w 230"/>
                  <a:gd name="T77" fmla="*/ 205 h 219"/>
                  <a:gd name="T78" fmla="*/ 6 w 230"/>
                  <a:gd name="T79" fmla="*/ 204 h 219"/>
                  <a:gd name="T80" fmla="*/ 15 w 230"/>
                  <a:gd name="T81" fmla="*/ 204 h 219"/>
                  <a:gd name="T82" fmla="*/ 27 w 230"/>
                  <a:gd name="T83" fmla="*/ 200 h 219"/>
                  <a:gd name="T84" fmla="*/ 32 w 230"/>
                  <a:gd name="T85" fmla="*/ 200 h 219"/>
                  <a:gd name="T86" fmla="*/ 35 w 230"/>
                  <a:gd name="T87" fmla="*/ 204 h 219"/>
                  <a:gd name="T88" fmla="*/ 48 w 230"/>
                  <a:gd name="T89" fmla="*/ 207 h 219"/>
                  <a:gd name="T90" fmla="*/ 121 w 230"/>
                  <a:gd name="T91" fmla="*/ 206 h 219"/>
                  <a:gd name="T92" fmla="*/ 130 w 230"/>
                  <a:gd name="T93" fmla="*/ 213 h 219"/>
                  <a:gd name="T94" fmla="*/ 139 w 230"/>
                  <a:gd name="T95" fmla="*/ 216 h 219"/>
                  <a:gd name="T96" fmla="*/ 152 w 230"/>
                  <a:gd name="T97" fmla="*/ 216 h 219"/>
                  <a:gd name="T98" fmla="*/ 159 w 230"/>
                  <a:gd name="T99" fmla="*/ 214 h 219"/>
                  <a:gd name="T100" fmla="*/ 170 w 230"/>
                  <a:gd name="T101" fmla="*/ 218 h 219"/>
                  <a:gd name="T102" fmla="*/ 176 w 230"/>
                  <a:gd name="T103" fmla="*/ 218 h 219"/>
                  <a:gd name="T104" fmla="*/ 180 w 230"/>
                  <a:gd name="T105" fmla="*/ 219 h 219"/>
                  <a:gd name="T106" fmla="*/ 214 w 230"/>
                  <a:gd name="T107" fmla="*/ 213 h 2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30" h="219">
                    <a:moveTo>
                      <a:pt x="214" y="213"/>
                    </a:moveTo>
                    <a:lnTo>
                      <a:pt x="213" y="210"/>
                    </a:lnTo>
                    <a:lnTo>
                      <a:pt x="210" y="209"/>
                    </a:lnTo>
                    <a:lnTo>
                      <a:pt x="208" y="206"/>
                    </a:lnTo>
                    <a:lnTo>
                      <a:pt x="207" y="204"/>
                    </a:lnTo>
                    <a:lnTo>
                      <a:pt x="204" y="203"/>
                    </a:lnTo>
                    <a:lnTo>
                      <a:pt x="202" y="202"/>
                    </a:lnTo>
                    <a:lnTo>
                      <a:pt x="198" y="197"/>
                    </a:lnTo>
                    <a:lnTo>
                      <a:pt x="196" y="196"/>
                    </a:lnTo>
                    <a:lnTo>
                      <a:pt x="194" y="194"/>
                    </a:lnTo>
                    <a:lnTo>
                      <a:pt x="192" y="192"/>
                    </a:lnTo>
                    <a:lnTo>
                      <a:pt x="189" y="189"/>
                    </a:lnTo>
                    <a:lnTo>
                      <a:pt x="189" y="186"/>
                    </a:lnTo>
                    <a:lnTo>
                      <a:pt x="190" y="128"/>
                    </a:lnTo>
                    <a:lnTo>
                      <a:pt x="229" y="128"/>
                    </a:lnTo>
                    <a:lnTo>
                      <a:pt x="228" y="126"/>
                    </a:lnTo>
                    <a:lnTo>
                      <a:pt x="229" y="121"/>
                    </a:lnTo>
                    <a:lnTo>
                      <a:pt x="230" y="119"/>
                    </a:lnTo>
                    <a:lnTo>
                      <a:pt x="230" y="116"/>
                    </a:lnTo>
                    <a:lnTo>
                      <a:pt x="228" y="114"/>
                    </a:lnTo>
                    <a:lnTo>
                      <a:pt x="228" y="110"/>
                    </a:lnTo>
                    <a:lnTo>
                      <a:pt x="228" y="103"/>
                    </a:lnTo>
                    <a:lnTo>
                      <a:pt x="227" y="95"/>
                    </a:lnTo>
                    <a:lnTo>
                      <a:pt x="228" y="95"/>
                    </a:lnTo>
                    <a:lnTo>
                      <a:pt x="228" y="93"/>
                    </a:lnTo>
                    <a:lnTo>
                      <a:pt x="228" y="92"/>
                    </a:lnTo>
                    <a:lnTo>
                      <a:pt x="225" y="93"/>
                    </a:lnTo>
                    <a:lnTo>
                      <a:pt x="223" y="94"/>
                    </a:lnTo>
                    <a:lnTo>
                      <a:pt x="219" y="95"/>
                    </a:lnTo>
                    <a:lnTo>
                      <a:pt x="217" y="95"/>
                    </a:lnTo>
                    <a:lnTo>
                      <a:pt x="215" y="95"/>
                    </a:lnTo>
                    <a:lnTo>
                      <a:pt x="214" y="95"/>
                    </a:lnTo>
                    <a:lnTo>
                      <a:pt x="209" y="95"/>
                    </a:lnTo>
                    <a:lnTo>
                      <a:pt x="207" y="95"/>
                    </a:lnTo>
                    <a:lnTo>
                      <a:pt x="204" y="93"/>
                    </a:lnTo>
                    <a:lnTo>
                      <a:pt x="202" y="93"/>
                    </a:lnTo>
                    <a:lnTo>
                      <a:pt x="202" y="94"/>
                    </a:lnTo>
                    <a:lnTo>
                      <a:pt x="200" y="95"/>
                    </a:lnTo>
                    <a:lnTo>
                      <a:pt x="199" y="95"/>
                    </a:lnTo>
                    <a:lnTo>
                      <a:pt x="197" y="95"/>
                    </a:lnTo>
                    <a:lnTo>
                      <a:pt x="196" y="95"/>
                    </a:lnTo>
                    <a:lnTo>
                      <a:pt x="196" y="91"/>
                    </a:lnTo>
                    <a:lnTo>
                      <a:pt x="198" y="90"/>
                    </a:lnTo>
                    <a:lnTo>
                      <a:pt x="198" y="89"/>
                    </a:lnTo>
                    <a:lnTo>
                      <a:pt x="199" y="86"/>
                    </a:lnTo>
                    <a:lnTo>
                      <a:pt x="197" y="85"/>
                    </a:lnTo>
                    <a:lnTo>
                      <a:pt x="196" y="81"/>
                    </a:lnTo>
                    <a:lnTo>
                      <a:pt x="197" y="80"/>
                    </a:lnTo>
                    <a:lnTo>
                      <a:pt x="197" y="78"/>
                    </a:lnTo>
                    <a:lnTo>
                      <a:pt x="194" y="75"/>
                    </a:lnTo>
                    <a:lnTo>
                      <a:pt x="194" y="73"/>
                    </a:lnTo>
                    <a:lnTo>
                      <a:pt x="195" y="72"/>
                    </a:lnTo>
                    <a:lnTo>
                      <a:pt x="195" y="70"/>
                    </a:lnTo>
                    <a:lnTo>
                      <a:pt x="193" y="69"/>
                    </a:lnTo>
                    <a:lnTo>
                      <a:pt x="192" y="67"/>
                    </a:lnTo>
                    <a:lnTo>
                      <a:pt x="191" y="66"/>
                    </a:lnTo>
                    <a:lnTo>
                      <a:pt x="191" y="64"/>
                    </a:lnTo>
                    <a:lnTo>
                      <a:pt x="189" y="62"/>
                    </a:lnTo>
                    <a:lnTo>
                      <a:pt x="189" y="60"/>
                    </a:lnTo>
                    <a:lnTo>
                      <a:pt x="188" y="59"/>
                    </a:lnTo>
                    <a:lnTo>
                      <a:pt x="189" y="55"/>
                    </a:lnTo>
                    <a:lnTo>
                      <a:pt x="189" y="49"/>
                    </a:lnTo>
                    <a:lnTo>
                      <a:pt x="188" y="47"/>
                    </a:lnTo>
                    <a:lnTo>
                      <a:pt x="188" y="46"/>
                    </a:lnTo>
                    <a:lnTo>
                      <a:pt x="189" y="44"/>
                    </a:lnTo>
                    <a:lnTo>
                      <a:pt x="189" y="42"/>
                    </a:lnTo>
                    <a:lnTo>
                      <a:pt x="187" y="39"/>
                    </a:lnTo>
                    <a:lnTo>
                      <a:pt x="188" y="36"/>
                    </a:lnTo>
                    <a:lnTo>
                      <a:pt x="190" y="33"/>
                    </a:lnTo>
                    <a:lnTo>
                      <a:pt x="190" y="30"/>
                    </a:lnTo>
                    <a:lnTo>
                      <a:pt x="190" y="28"/>
                    </a:lnTo>
                    <a:lnTo>
                      <a:pt x="190" y="26"/>
                    </a:lnTo>
                    <a:lnTo>
                      <a:pt x="168" y="24"/>
                    </a:lnTo>
                    <a:lnTo>
                      <a:pt x="168" y="22"/>
                    </a:lnTo>
                    <a:lnTo>
                      <a:pt x="169" y="20"/>
                    </a:lnTo>
                    <a:lnTo>
                      <a:pt x="169" y="18"/>
                    </a:lnTo>
                    <a:lnTo>
                      <a:pt x="163" y="18"/>
                    </a:lnTo>
                    <a:lnTo>
                      <a:pt x="163" y="19"/>
                    </a:lnTo>
                    <a:lnTo>
                      <a:pt x="145" y="20"/>
                    </a:lnTo>
                    <a:lnTo>
                      <a:pt x="145" y="25"/>
                    </a:lnTo>
                    <a:lnTo>
                      <a:pt x="143" y="28"/>
                    </a:lnTo>
                    <a:lnTo>
                      <a:pt x="142" y="29"/>
                    </a:lnTo>
                    <a:lnTo>
                      <a:pt x="142" y="31"/>
                    </a:lnTo>
                    <a:lnTo>
                      <a:pt x="142" y="36"/>
                    </a:lnTo>
                    <a:lnTo>
                      <a:pt x="129" y="37"/>
                    </a:lnTo>
                    <a:lnTo>
                      <a:pt x="126" y="39"/>
                    </a:lnTo>
                    <a:lnTo>
                      <a:pt x="120" y="38"/>
                    </a:lnTo>
                    <a:lnTo>
                      <a:pt x="118" y="38"/>
                    </a:lnTo>
                    <a:lnTo>
                      <a:pt x="115" y="38"/>
                    </a:lnTo>
                    <a:lnTo>
                      <a:pt x="110" y="39"/>
                    </a:lnTo>
                    <a:lnTo>
                      <a:pt x="108" y="37"/>
                    </a:lnTo>
                    <a:lnTo>
                      <a:pt x="107" y="31"/>
                    </a:lnTo>
                    <a:lnTo>
                      <a:pt x="104" y="28"/>
                    </a:lnTo>
                    <a:lnTo>
                      <a:pt x="103" y="26"/>
                    </a:lnTo>
                    <a:lnTo>
                      <a:pt x="101" y="25"/>
                    </a:lnTo>
                    <a:lnTo>
                      <a:pt x="101" y="23"/>
                    </a:lnTo>
                    <a:lnTo>
                      <a:pt x="100" y="21"/>
                    </a:lnTo>
                    <a:lnTo>
                      <a:pt x="99" y="17"/>
                    </a:lnTo>
                    <a:lnTo>
                      <a:pt x="97" y="13"/>
                    </a:lnTo>
                    <a:lnTo>
                      <a:pt x="97" y="11"/>
                    </a:lnTo>
                    <a:lnTo>
                      <a:pt x="98" y="9"/>
                    </a:lnTo>
                    <a:lnTo>
                      <a:pt x="97" y="8"/>
                    </a:lnTo>
                    <a:lnTo>
                      <a:pt x="96" y="6"/>
                    </a:lnTo>
                    <a:lnTo>
                      <a:pt x="95" y="3"/>
                    </a:lnTo>
                    <a:lnTo>
                      <a:pt x="96" y="3"/>
                    </a:lnTo>
                    <a:lnTo>
                      <a:pt x="96" y="0"/>
                    </a:lnTo>
                    <a:lnTo>
                      <a:pt x="77" y="0"/>
                    </a:lnTo>
                    <a:lnTo>
                      <a:pt x="64" y="0"/>
                    </a:lnTo>
                    <a:lnTo>
                      <a:pt x="57" y="0"/>
                    </a:lnTo>
                    <a:lnTo>
                      <a:pt x="51" y="0"/>
                    </a:lnTo>
                    <a:lnTo>
                      <a:pt x="49" y="0"/>
                    </a:lnTo>
                    <a:lnTo>
                      <a:pt x="44" y="0"/>
                    </a:lnTo>
                    <a:lnTo>
                      <a:pt x="39" y="0"/>
                    </a:lnTo>
                    <a:lnTo>
                      <a:pt x="35" y="0"/>
                    </a:lnTo>
                    <a:lnTo>
                      <a:pt x="33" y="0"/>
                    </a:lnTo>
                    <a:lnTo>
                      <a:pt x="30" y="0"/>
                    </a:lnTo>
                    <a:lnTo>
                      <a:pt x="28" y="0"/>
                    </a:lnTo>
                    <a:lnTo>
                      <a:pt x="24" y="1"/>
                    </a:lnTo>
                    <a:lnTo>
                      <a:pt x="23" y="2"/>
                    </a:lnTo>
                    <a:lnTo>
                      <a:pt x="22" y="2"/>
                    </a:lnTo>
                    <a:lnTo>
                      <a:pt x="21" y="3"/>
                    </a:lnTo>
                    <a:lnTo>
                      <a:pt x="21" y="3"/>
                    </a:lnTo>
                    <a:lnTo>
                      <a:pt x="20" y="3"/>
                    </a:lnTo>
                    <a:lnTo>
                      <a:pt x="15" y="6"/>
                    </a:lnTo>
                    <a:lnTo>
                      <a:pt x="17" y="8"/>
                    </a:lnTo>
                    <a:lnTo>
                      <a:pt x="17" y="10"/>
                    </a:lnTo>
                    <a:lnTo>
                      <a:pt x="27" y="21"/>
                    </a:lnTo>
                    <a:lnTo>
                      <a:pt x="28" y="35"/>
                    </a:lnTo>
                    <a:lnTo>
                      <a:pt x="33" y="43"/>
                    </a:lnTo>
                    <a:lnTo>
                      <a:pt x="32" y="50"/>
                    </a:lnTo>
                    <a:lnTo>
                      <a:pt x="27" y="57"/>
                    </a:lnTo>
                    <a:lnTo>
                      <a:pt x="29" y="58"/>
                    </a:lnTo>
                    <a:lnTo>
                      <a:pt x="29" y="65"/>
                    </a:lnTo>
                    <a:lnTo>
                      <a:pt x="32" y="69"/>
                    </a:lnTo>
                    <a:lnTo>
                      <a:pt x="32" y="73"/>
                    </a:lnTo>
                    <a:lnTo>
                      <a:pt x="39" y="85"/>
                    </a:lnTo>
                    <a:lnTo>
                      <a:pt x="39" y="88"/>
                    </a:lnTo>
                    <a:lnTo>
                      <a:pt x="41" y="91"/>
                    </a:lnTo>
                    <a:lnTo>
                      <a:pt x="41" y="106"/>
                    </a:lnTo>
                    <a:lnTo>
                      <a:pt x="34" y="119"/>
                    </a:lnTo>
                    <a:lnTo>
                      <a:pt x="31" y="119"/>
                    </a:lnTo>
                    <a:lnTo>
                      <a:pt x="24" y="125"/>
                    </a:lnTo>
                    <a:lnTo>
                      <a:pt x="24" y="129"/>
                    </a:lnTo>
                    <a:lnTo>
                      <a:pt x="13" y="138"/>
                    </a:lnTo>
                    <a:lnTo>
                      <a:pt x="13" y="144"/>
                    </a:lnTo>
                    <a:lnTo>
                      <a:pt x="11" y="145"/>
                    </a:lnTo>
                    <a:lnTo>
                      <a:pt x="11" y="160"/>
                    </a:lnTo>
                    <a:lnTo>
                      <a:pt x="8" y="165"/>
                    </a:lnTo>
                    <a:lnTo>
                      <a:pt x="6" y="172"/>
                    </a:lnTo>
                    <a:lnTo>
                      <a:pt x="1" y="178"/>
                    </a:lnTo>
                    <a:lnTo>
                      <a:pt x="1" y="184"/>
                    </a:lnTo>
                    <a:lnTo>
                      <a:pt x="0" y="190"/>
                    </a:lnTo>
                    <a:lnTo>
                      <a:pt x="1" y="199"/>
                    </a:lnTo>
                    <a:lnTo>
                      <a:pt x="0" y="203"/>
                    </a:lnTo>
                    <a:lnTo>
                      <a:pt x="0" y="205"/>
                    </a:lnTo>
                    <a:lnTo>
                      <a:pt x="0" y="205"/>
                    </a:lnTo>
                    <a:lnTo>
                      <a:pt x="3" y="206"/>
                    </a:lnTo>
                    <a:lnTo>
                      <a:pt x="4" y="207"/>
                    </a:lnTo>
                    <a:lnTo>
                      <a:pt x="6" y="206"/>
                    </a:lnTo>
                    <a:lnTo>
                      <a:pt x="6" y="204"/>
                    </a:lnTo>
                    <a:lnTo>
                      <a:pt x="7" y="203"/>
                    </a:lnTo>
                    <a:lnTo>
                      <a:pt x="11" y="204"/>
                    </a:lnTo>
                    <a:lnTo>
                      <a:pt x="14" y="205"/>
                    </a:lnTo>
                    <a:lnTo>
                      <a:pt x="15" y="204"/>
                    </a:lnTo>
                    <a:lnTo>
                      <a:pt x="16" y="202"/>
                    </a:lnTo>
                    <a:lnTo>
                      <a:pt x="21" y="199"/>
                    </a:lnTo>
                    <a:lnTo>
                      <a:pt x="24" y="199"/>
                    </a:lnTo>
                    <a:lnTo>
                      <a:pt x="27" y="200"/>
                    </a:lnTo>
                    <a:lnTo>
                      <a:pt x="28" y="201"/>
                    </a:lnTo>
                    <a:lnTo>
                      <a:pt x="29" y="199"/>
                    </a:lnTo>
                    <a:lnTo>
                      <a:pt x="30" y="199"/>
                    </a:lnTo>
                    <a:lnTo>
                      <a:pt x="32" y="200"/>
                    </a:lnTo>
                    <a:lnTo>
                      <a:pt x="32" y="201"/>
                    </a:lnTo>
                    <a:lnTo>
                      <a:pt x="35" y="202"/>
                    </a:lnTo>
                    <a:lnTo>
                      <a:pt x="34" y="203"/>
                    </a:lnTo>
                    <a:lnTo>
                      <a:pt x="35" y="204"/>
                    </a:lnTo>
                    <a:lnTo>
                      <a:pt x="40" y="207"/>
                    </a:lnTo>
                    <a:lnTo>
                      <a:pt x="44" y="209"/>
                    </a:lnTo>
                    <a:lnTo>
                      <a:pt x="47" y="207"/>
                    </a:lnTo>
                    <a:lnTo>
                      <a:pt x="48" y="207"/>
                    </a:lnTo>
                    <a:lnTo>
                      <a:pt x="50" y="205"/>
                    </a:lnTo>
                    <a:lnTo>
                      <a:pt x="51" y="205"/>
                    </a:lnTo>
                    <a:lnTo>
                      <a:pt x="52" y="206"/>
                    </a:lnTo>
                    <a:lnTo>
                      <a:pt x="121" y="206"/>
                    </a:lnTo>
                    <a:lnTo>
                      <a:pt x="123" y="207"/>
                    </a:lnTo>
                    <a:lnTo>
                      <a:pt x="125" y="210"/>
                    </a:lnTo>
                    <a:lnTo>
                      <a:pt x="126" y="212"/>
                    </a:lnTo>
                    <a:lnTo>
                      <a:pt x="130" y="213"/>
                    </a:lnTo>
                    <a:lnTo>
                      <a:pt x="134" y="214"/>
                    </a:lnTo>
                    <a:lnTo>
                      <a:pt x="137" y="214"/>
                    </a:lnTo>
                    <a:lnTo>
                      <a:pt x="138" y="215"/>
                    </a:lnTo>
                    <a:lnTo>
                      <a:pt x="139" y="216"/>
                    </a:lnTo>
                    <a:lnTo>
                      <a:pt x="141" y="217"/>
                    </a:lnTo>
                    <a:lnTo>
                      <a:pt x="144" y="215"/>
                    </a:lnTo>
                    <a:lnTo>
                      <a:pt x="147" y="214"/>
                    </a:lnTo>
                    <a:lnTo>
                      <a:pt x="152" y="216"/>
                    </a:lnTo>
                    <a:lnTo>
                      <a:pt x="155" y="215"/>
                    </a:lnTo>
                    <a:lnTo>
                      <a:pt x="155" y="213"/>
                    </a:lnTo>
                    <a:lnTo>
                      <a:pt x="156" y="214"/>
                    </a:lnTo>
                    <a:lnTo>
                      <a:pt x="159" y="214"/>
                    </a:lnTo>
                    <a:lnTo>
                      <a:pt x="162" y="217"/>
                    </a:lnTo>
                    <a:lnTo>
                      <a:pt x="165" y="219"/>
                    </a:lnTo>
                    <a:lnTo>
                      <a:pt x="169" y="219"/>
                    </a:lnTo>
                    <a:lnTo>
                      <a:pt x="170" y="218"/>
                    </a:lnTo>
                    <a:lnTo>
                      <a:pt x="171" y="217"/>
                    </a:lnTo>
                    <a:lnTo>
                      <a:pt x="173" y="216"/>
                    </a:lnTo>
                    <a:lnTo>
                      <a:pt x="175" y="217"/>
                    </a:lnTo>
                    <a:lnTo>
                      <a:pt x="176" y="218"/>
                    </a:lnTo>
                    <a:lnTo>
                      <a:pt x="178" y="217"/>
                    </a:lnTo>
                    <a:lnTo>
                      <a:pt x="179" y="219"/>
                    </a:lnTo>
                    <a:lnTo>
                      <a:pt x="180" y="219"/>
                    </a:lnTo>
                    <a:lnTo>
                      <a:pt x="180" y="219"/>
                    </a:lnTo>
                    <a:lnTo>
                      <a:pt x="182" y="219"/>
                    </a:lnTo>
                    <a:lnTo>
                      <a:pt x="184" y="219"/>
                    </a:lnTo>
                    <a:lnTo>
                      <a:pt x="185" y="219"/>
                    </a:lnTo>
                    <a:lnTo>
                      <a:pt x="214" y="213"/>
                    </a:lnTo>
                    <a:lnTo>
                      <a:pt x="214" y="213"/>
                    </a:lnTo>
                    <a:close/>
                  </a:path>
                </a:pathLst>
              </a:custGeom>
              <a:solidFill>
                <a:srgbClr val="65625E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975" name="Freeform 378"/>
              <p:cNvSpPr>
                <a:spLocks/>
              </p:cNvSpPr>
              <p:nvPr userDrawn="1"/>
            </p:nvSpPr>
            <p:spPr bwMode="auto">
              <a:xfrm>
                <a:off x="3922" y="3209"/>
                <a:ext cx="145" cy="126"/>
              </a:xfrm>
              <a:custGeom>
                <a:avLst/>
                <a:gdLst>
                  <a:gd name="T0" fmla="*/ 6 w 145"/>
                  <a:gd name="T1" fmla="*/ 39 h 126"/>
                  <a:gd name="T2" fmla="*/ 13 w 145"/>
                  <a:gd name="T3" fmla="*/ 43 h 126"/>
                  <a:gd name="T4" fmla="*/ 22 w 145"/>
                  <a:gd name="T5" fmla="*/ 41 h 126"/>
                  <a:gd name="T6" fmla="*/ 25 w 145"/>
                  <a:gd name="T7" fmla="*/ 41 h 126"/>
                  <a:gd name="T8" fmla="*/ 36 w 145"/>
                  <a:gd name="T9" fmla="*/ 43 h 126"/>
                  <a:gd name="T10" fmla="*/ 61 w 145"/>
                  <a:gd name="T11" fmla="*/ 17 h 126"/>
                  <a:gd name="T12" fmla="*/ 69 w 145"/>
                  <a:gd name="T13" fmla="*/ 13 h 126"/>
                  <a:gd name="T14" fmla="*/ 69 w 145"/>
                  <a:gd name="T15" fmla="*/ 7 h 126"/>
                  <a:gd name="T16" fmla="*/ 79 w 145"/>
                  <a:gd name="T17" fmla="*/ 2 h 126"/>
                  <a:gd name="T18" fmla="*/ 90 w 145"/>
                  <a:gd name="T19" fmla="*/ 0 h 126"/>
                  <a:gd name="T20" fmla="*/ 96 w 145"/>
                  <a:gd name="T21" fmla="*/ 1 h 126"/>
                  <a:gd name="T22" fmla="*/ 99 w 145"/>
                  <a:gd name="T23" fmla="*/ 6 h 126"/>
                  <a:gd name="T24" fmla="*/ 109 w 145"/>
                  <a:gd name="T25" fmla="*/ 9 h 126"/>
                  <a:gd name="T26" fmla="*/ 117 w 145"/>
                  <a:gd name="T27" fmla="*/ 8 h 126"/>
                  <a:gd name="T28" fmla="*/ 129 w 145"/>
                  <a:gd name="T29" fmla="*/ 16 h 126"/>
                  <a:gd name="T30" fmla="*/ 140 w 145"/>
                  <a:gd name="T31" fmla="*/ 21 h 126"/>
                  <a:gd name="T32" fmla="*/ 143 w 145"/>
                  <a:gd name="T33" fmla="*/ 28 h 126"/>
                  <a:gd name="T34" fmla="*/ 143 w 145"/>
                  <a:gd name="T35" fmla="*/ 34 h 126"/>
                  <a:gd name="T36" fmla="*/ 141 w 145"/>
                  <a:gd name="T37" fmla="*/ 45 h 126"/>
                  <a:gd name="T38" fmla="*/ 144 w 145"/>
                  <a:gd name="T39" fmla="*/ 49 h 126"/>
                  <a:gd name="T40" fmla="*/ 140 w 145"/>
                  <a:gd name="T41" fmla="*/ 56 h 126"/>
                  <a:gd name="T42" fmla="*/ 137 w 145"/>
                  <a:gd name="T43" fmla="*/ 63 h 126"/>
                  <a:gd name="T44" fmla="*/ 139 w 145"/>
                  <a:gd name="T45" fmla="*/ 70 h 126"/>
                  <a:gd name="T46" fmla="*/ 142 w 145"/>
                  <a:gd name="T47" fmla="*/ 77 h 126"/>
                  <a:gd name="T48" fmla="*/ 134 w 145"/>
                  <a:gd name="T49" fmla="*/ 85 h 126"/>
                  <a:gd name="T50" fmla="*/ 132 w 145"/>
                  <a:gd name="T51" fmla="*/ 91 h 126"/>
                  <a:gd name="T52" fmla="*/ 130 w 145"/>
                  <a:gd name="T53" fmla="*/ 100 h 126"/>
                  <a:gd name="T54" fmla="*/ 106 w 145"/>
                  <a:gd name="T55" fmla="*/ 123 h 126"/>
                  <a:gd name="T56" fmla="*/ 93 w 145"/>
                  <a:gd name="T57" fmla="*/ 124 h 126"/>
                  <a:gd name="T58" fmla="*/ 84 w 145"/>
                  <a:gd name="T59" fmla="*/ 121 h 126"/>
                  <a:gd name="T60" fmla="*/ 73 w 145"/>
                  <a:gd name="T61" fmla="*/ 119 h 126"/>
                  <a:gd name="T62" fmla="*/ 70 w 145"/>
                  <a:gd name="T63" fmla="*/ 114 h 126"/>
                  <a:gd name="T64" fmla="*/ 62 w 145"/>
                  <a:gd name="T65" fmla="*/ 110 h 126"/>
                  <a:gd name="T66" fmla="*/ 53 w 145"/>
                  <a:gd name="T67" fmla="*/ 110 h 126"/>
                  <a:gd name="T68" fmla="*/ 44 w 145"/>
                  <a:gd name="T69" fmla="*/ 103 h 126"/>
                  <a:gd name="T70" fmla="*/ 41 w 145"/>
                  <a:gd name="T71" fmla="*/ 93 h 126"/>
                  <a:gd name="T72" fmla="*/ 37 w 145"/>
                  <a:gd name="T73" fmla="*/ 88 h 126"/>
                  <a:gd name="T74" fmla="*/ 36 w 145"/>
                  <a:gd name="T75" fmla="*/ 84 h 126"/>
                  <a:gd name="T76" fmla="*/ 28 w 145"/>
                  <a:gd name="T77" fmla="*/ 78 h 126"/>
                  <a:gd name="T78" fmla="*/ 19 w 145"/>
                  <a:gd name="T79" fmla="*/ 66 h 126"/>
                  <a:gd name="T80" fmla="*/ 15 w 145"/>
                  <a:gd name="T81" fmla="*/ 62 h 126"/>
                  <a:gd name="T82" fmla="*/ 10 w 145"/>
                  <a:gd name="T83" fmla="*/ 54 h 126"/>
                  <a:gd name="T84" fmla="*/ 7 w 145"/>
                  <a:gd name="T85" fmla="*/ 50 h 126"/>
                  <a:gd name="T86" fmla="*/ 1 w 145"/>
                  <a:gd name="T87" fmla="*/ 45 h 126"/>
                  <a:gd name="T88" fmla="*/ 1 w 145"/>
                  <a:gd name="T89" fmla="*/ 40 h 126"/>
                  <a:gd name="T90" fmla="*/ 0 w 145"/>
                  <a:gd name="T91" fmla="*/ 39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45" h="126">
                    <a:moveTo>
                      <a:pt x="0" y="39"/>
                    </a:moveTo>
                    <a:lnTo>
                      <a:pt x="2" y="39"/>
                    </a:lnTo>
                    <a:lnTo>
                      <a:pt x="6" y="39"/>
                    </a:lnTo>
                    <a:lnTo>
                      <a:pt x="10" y="41"/>
                    </a:lnTo>
                    <a:lnTo>
                      <a:pt x="12" y="43"/>
                    </a:lnTo>
                    <a:lnTo>
                      <a:pt x="13" y="43"/>
                    </a:lnTo>
                    <a:lnTo>
                      <a:pt x="17" y="40"/>
                    </a:lnTo>
                    <a:lnTo>
                      <a:pt x="20" y="40"/>
                    </a:lnTo>
                    <a:lnTo>
                      <a:pt x="22" y="41"/>
                    </a:lnTo>
                    <a:lnTo>
                      <a:pt x="23" y="41"/>
                    </a:lnTo>
                    <a:lnTo>
                      <a:pt x="24" y="41"/>
                    </a:lnTo>
                    <a:lnTo>
                      <a:pt x="25" y="41"/>
                    </a:lnTo>
                    <a:lnTo>
                      <a:pt x="27" y="43"/>
                    </a:lnTo>
                    <a:lnTo>
                      <a:pt x="31" y="44"/>
                    </a:lnTo>
                    <a:lnTo>
                      <a:pt x="36" y="43"/>
                    </a:lnTo>
                    <a:lnTo>
                      <a:pt x="41" y="35"/>
                    </a:lnTo>
                    <a:lnTo>
                      <a:pt x="50" y="25"/>
                    </a:lnTo>
                    <a:lnTo>
                      <a:pt x="61" y="17"/>
                    </a:lnTo>
                    <a:lnTo>
                      <a:pt x="67" y="15"/>
                    </a:lnTo>
                    <a:lnTo>
                      <a:pt x="68" y="14"/>
                    </a:lnTo>
                    <a:lnTo>
                      <a:pt x="69" y="13"/>
                    </a:lnTo>
                    <a:lnTo>
                      <a:pt x="68" y="11"/>
                    </a:lnTo>
                    <a:lnTo>
                      <a:pt x="69" y="9"/>
                    </a:lnTo>
                    <a:lnTo>
                      <a:pt x="69" y="7"/>
                    </a:lnTo>
                    <a:lnTo>
                      <a:pt x="70" y="6"/>
                    </a:lnTo>
                    <a:lnTo>
                      <a:pt x="76" y="3"/>
                    </a:lnTo>
                    <a:lnTo>
                      <a:pt x="79" y="2"/>
                    </a:lnTo>
                    <a:lnTo>
                      <a:pt x="81" y="1"/>
                    </a:lnTo>
                    <a:lnTo>
                      <a:pt x="84" y="0"/>
                    </a:lnTo>
                    <a:lnTo>
                      <a:pt x="90" y="0"/>
                    </a:lnTo>
                    <a:lnTo>
                      <a:pt x="90" y="1"/>
                    </a:lnTo>
                    <a:lnTo>
                      <a:pt x="92" y="0"/>
                    </a:lnTo>
                    <a:lnTo>
                      <a:pt x="96" y="1"/>
                    </a:lnTo>
                    <a:lnTo>
                      <a:pt x="98" y="1"/>
                    </a:lnTo>
                    <a:lnTo>
                      <a:pt x="99" y="1"/>
                    </a:lnTo>
                    <a:lnTo>
                      <a:pt x="99" y="6"/>
                    </a:lnTo>
                    <a:lnTo>
                      <a:pt x="105" y="7"/>
                    </a:lnTo>
                    <a:lnTo>
                      <a:pt x="108" y="7"/>
                    </a:lnTo>
                    <a:lnTo>
                      <a:pt x="109" y="9"/>
                    </a:lnTo>
                    <a:lnTo>
                      <a:pt x="111" y="9"/>
                    </a:lnTo>
                    <a:lnTo>
                      <a:pt x="112" y="7"/>
                    </a:lnTo>
                    <a:lnTo>
                      <a:pt x="117" y="8"/>
                    </a:lnTo>
                    <a:lnTo>
                      <a:pt x="123" y="11"/>
                    </a:lnTo>
                    <a:lnTo>
                      <a:pt x="126" y="15"/>
                    </a:lnTo>
                    <a:lnTo>
                      <a:pt x="129" y="16"/>
                    </a:lnTo>
                    <a:lnTo>
                      <a:pt x="135" y="16"/>
                    </a:lnTo>
                    <a:lnTo>
                      <a:pt x="138" y="19"/>
                    </a:lnTo>
                    <a:lnTo>
                      <a:pt x="140" y="21"/>
                    </a:lnTo>
                    <a:lnTo>
                      <a:pt x="144" y="22"/>
                    </a:lnTo>
                    <a:lnTo>
                      <a:pt x="145" y="25"/>
                    </a:lnTo>
                    <a:lnTo>
                      <a:pt x="143" y="28"/>
                    </a:lnTo>
                    <a:lnTo>
                      <a:pt x="143" y="29"/>
                    </a:lnTo>
                    <a:lnTo>
                      <a:pt x="143" y="32"/>
                    </a:lnTo>
                    <a:lnTo>
                      <a:pt x="143" y="34"/>
                    </a:lnTo>
                    <a:lnTo>
                      <a:pt x="143" y="37"/>
                    </a:lnTo>
                    <a:lnTo>
                      <a:pt x="142" y="39"/>
                    </a:lnTo>
                    <a:lnTo>
                      <a:pt x="141" y="45"/>
                    </a:lnTo>
                    <a:lnTo>
                      <a:pt x="139" y="48"/>
                    </a:lnTo>
                    <a:lnTo>
                      <a:pt x="141" y="50"/>
                    </a:lnTo>
                    <a:lnTo>
                      <a:pt x="144" y="49"/>
                    </a:lnTo>
                    <a:lnTo>
                      <a:pt x="142" y="51"/>
                    </a:lnTo>
                    <a:lnTo>
                      <a:pt x="140" y="53"/>
                    </a:lnTo>
                    <a:lnTo>
                      <a:pt x="140" y="56"/>
                    </a:lnTo>
                    <a:lnTo>
                      <a:pt x="139" y="60"/>
                    </a:lnTo>
                    <a:lnTo>
                      <a:pt x="137" y="61"/>
                    </a:lnTo>
                    <a:lnTo>
                      <a:pt x="137" y="63"/>
                    </a:lnTo>
                    <a:lnTo>
                      <a:pt x="140" y="66"/>
                    </a:lnTo>
                    <a:lnTo>
                      <a:pt x="141" y="69"/>
                    </a:lnTo>
                    <a:lnTo>
                      <a:pt x="139" y="70"/>
                    </a:lnTo>
                    <a:lnTo>
                      <a:pt x="139" y="73"/>
                    </a:lnTo>
                    <a:lnTo>
                      <a:pt x="141" y="74"/>
                    </a:lnTo>
                    <a:lnTo>
                      <a:pt x="142" y="77"/>
                    </a:lnTo>
                    <a:lnTo>
                      <a:pt x="139" y="80"/>
                    </a:lnTo>
                    <a:lnTo>
                      <a:pt x="136" y="83"/>
                    </a:lnTo>
                    <a:lnTo>
                      <a:pt x="134" y="85"/>
                    </a:lnTo>
                    <a:lnTo>
                      <a:pt x="132" y="86"/>
                    </a:lnTo>
                    <a:lnTo>
                      <a:pt x="131" y="88"/>
                    </a:lnTo>
                    <a:lnTo>
                      <a:pt x="132" y="91"/>
                    </a:lnTo>
                    <a:lnTo>
                      <a:pt x="131" y="93"/>
                    </a:lnTo>
                    <a:lnTo>
                      <a:pt x="131" y="98"/>
                    </a:lnTo>
                    <a:lnTo>
                      <a:pt x="130" y="100"/>
                    </a:lnTo>
                    <a:lnTo>
                      <a:pt x="130" y="107"/>
                    </a:lnTo>
                    <a:lnTo>
                      <a:pt x="109" y="126"/>
                    </a:lnTo>
                    <a:lnTo>
                      <a:pt x="106" y="123"/>
                    </a:lnTo>
                    <a:lnTo>
                      <a:pt x="101" y="122"/>
                    </a:lnTo>
                    <a:lnTo>
                      <a:pt x="96" y="123"/>
                    </a:lnTo>
                    <a:lnTo>
                      <a:pt x="93" y="124"/>
                    </a:lnTo>
                    <a:lnTo>
                      <a:pt x="91" y="123"/>
                    </a:lnTo>
                    <a:lnTo>
                      <a:pt x="87" y="121"/>
                    </a:lnTo>
                    <a:lnTo>
                      <a:pt x="84" y="121"/>
                    </a:lnTo>
                    <a:lnTo>
                      <a:pt x="84" y="119"/>
                    </a:lnTo>
                    <a:lnTo>
                      <a:pt x="80" y="118"/>
                    </a:lnTo>
                    <a:lnTo>
                      <a:pt x="73" y="119"/>
                    </a:lnTo>
                    <a:lnTo>
                      <a:pt x="72" y="117"/>
                    </a:lnTo>
                    <a:lnTo>
                      <a:pt x="70" y="115"/>
                    </a:lnTo>
                    <a:lnTo>
                      <a:pt x="70" y="114"/>
                    </a:lnTo>
                    <a:lnTo>
                      <a:pt x="68" y="113"/>
                    </a:lnTo>
                    <a:lnTo>
                      <a:pt x="66" y="113"/>
                    </a:lnTo>
                    <a:lnTo>
                      <a:pt x="62" y="110"/>
                    </a:lnTo>
                    <a:lnTo>
                      <a:pt x="61" y="110"/>
                    </a:lnTo>
                    <a:lnTo>
                      <a:pt x="56" y="109"/>
                    </a:lnTo>
                    <a:lnTo>
                      <a:pt x="53" y="110"/>
                    </a:lnTo>
                    <a:lnTo>
                      <a:pt x="49" y="109"/>
                    </a:lnTo>
                    <a:lnTo>
                      <a:pt x="47" y="106"/>
                    </a:lnTo>
                    <a:lnTo>
                      <a:pt x="44" y="103"/>
                    </a:lnTo>
                    <a:lnTo>
                      <a:pt x="42" y="100"/>
                    </a:lnTo>
                    <a:lnTo>
                      <a:pt x="42" y="97"/>
                    </a:lnTo>
                    <a:lnTo>
                      <a:pt x="41" y="93"/>
                    </a:lnTo>
                    <a:lnTo>
                      <a:pt x="42" y="91"/>
                    </a:lnTo>
                    <a:lnTo>
                      <a:pt x="40" y="89"/>
                    </a:lnTo>
                    <a:lnTo>
                      <a:pt x="37" y="88"/>
                    </a:lnTo>
                    <a:lnTo>
                      <a:pt x="36" y="86"/>
                    </a:lnTo>
                    <a:lnTo>
                      <a:pt x="36" y="85"/>
                    </a:lnTo>
                    <a:lnTo>
                      <a:pt x="36" y="84"/>
                    </a:lnTo>
                    <a:lnTo>
                      <a:pt x="34" y="82"/>
                    </a:lnTo>
                    <a:lnTo>
                      <a:pt x="32" y="81"/>
                    </a:lnTo>
                    <a:lnTo>
                      <a:pt x="28" y="78"/>
                    </a:lnTo>
                    <a:lnTo>
                      <a:pt x="25" y="76"/>
                    </a:lnTo>
                    <a:lnTo>
                      <a:pt x="19" y="69"/>
                    </a:lnTo>
                    <a:lnTo>
                      <a:pt x="19" y="66"/>
                    </a:lnTo>
                    <a:lnTo>
                      <a:pt x="18" y="67"/>
                    </a:lnTo>
                    <a:lnTo>
                      <a:pt x="16" y="65"/>
                    </a:lnTo>
                    <a:lnTo>
                      <a:pt x="15" y="62"/>
                    </a:lnTo>
                    <a:lnTo>
                      <a:pt x="13" y="60"/>
                    </a:lnTo>
                    <a:lnTo>
                      <a:pt x="12" y="57"/>
                    </a:lnTo>
                    <a:lnTo>
                      <a:pt x="10" y="54"/>
                    </a:lnTo>
                    <a:lnTo>
                      <a:pt x="9" y="53"/>
                    </a:lnTo>
                    <a:lnTo>
                      <a:pt x="9" y="51"/>
                    </a:lnTo>
                    <a:lnTo>
                      <a:pt x="7" y="50"/>
                    </a:lnTo>
                    <a:lnTo>
                      <a:pt x="5" y="49"/>
                    </a:lnTo>
                    <a:lnTo>
                      <a:pt x="3" y="47"/>
                    </a:lnTo>
                    <a:lnTo>
                      <a:pt x="1" y="45"/>
                    </a:lnTo>
                    <a:lnTo>
                      <a:pt x="0" y="43"/>
                    </a:lnTo>
                    <a:lnTo>
                      <a:pt x="0" y="42"/>
                    </a:lnTo>
                    <a:lnTo>
                      <a:pt x="1" y="40"/>
                    </a:lnTo>
                    <a:lnTo>
                      <a:pt x="0" y="39"/>
                    </a:lnTo>
                    <a:lnTo>
                      <a:pt x="0" y="39"/>
                    </a:lnTo>
                    <a:lnTo>
                      <a:pt x="0" y="39"/>
                    </a:lnTo>
                    <a:lnTo>
                      <a:pt x="0" y="39"/>
                    </a:lnTo>
                    <a:close/>
                  </a:path>
                </a:pathLst>
              </a:custGeom>
              <a:solidFill>
                <a:srgbClr val="65625E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976" name="Freeform 379"/>
              <p:cNvSpPr>
                <a:spLocks/>
              </p:cNvSpPr>
              <p:nvPr userDrawn="1"/>
            </p:nvSpPr>
            <p:spPr bwMode="auto">
              <a:xfrm>
                <a:off x="3823" y="3248"/>
                <a:ext cx="172" cy="165"/>
              </a:xfrm>
              <a:custGeom>
                <a:avLst/>
                <a:gdLst>
                  <a:gd name="T0" fmla="*/ 99 w 172"/>
                  <a:gd name="T1" fmla="*/ 3 h 165"/>
                  <a:gd name="T2" fmla="*/ 102 w 172"/>
                  <a:gd name="T3" fmla="*/ 8 h 165"/>
                  <a:gd name="T4" fmla="*/ 108 w 172"/>
                  <a:gd name="T5" fmla="*/ 12 h 165"/>
                  <a:gd name="T6" fmla="*/ 111 w 172"/>
                  <a:gd name="T7" fmla="*/ 18 h 165"/>
                  <a:gd name="T8" fmla="*/ 115 w 172"/>
                  <a:gd name="T9" fmla="*/ 26 h 165"/>
                  <a:gd name="T10" fmla="*/ 118 w 172"/>
                  <a:gd name="T11" fmla="*/ 30 h 165"/>
                  <a:gd name="T12" fmla="*/ 131 w 172"/>
                  <a:gd name="T13" fmla="*/ 42 h 165"/>
                  <a:gd name="T14" fmla="*/ 135 w 172"/>
                  <a:gd name="T15" fmla="*/ 46 h 165"/>
                  <a:gd name="T16" fmla="*/ 139 w 172"/>
                  <a:gd name="T17" fmla="*/ 50 h 165"/>
                  <a:gd name="T18" fmla="*/ 141 w 172"/>
                  <a:gd name="T19" fmla="*/ 58 h 165"/>
                  <a:gd name="T20" fmla="*/ 146 w 172"/>
                  <a:gd name="T21" fmla="*/ 67 h 165"/>
                  <a:gd name="T22" fmla="*/ 155 w 172"/>
                  <a:gd name="T23" fmla="*/ 70 h 165"/>
                  <a:gd name="T24" fmla="*/ 165 w 172"/>
                  <a:gd name="T25" fmla="*/ 74 h 165"/>
                  <a:gd name="T26" fmla="*/ 169 w 172"/>
                  <a:gd name="T27" fmla="*/ 76 h 165"/>
                  <a:gd name="T28" fmla="*/ 170 w 172"/>
                  <a:gd name="T29" fmla="*/ 80 h 165"/>
                  <a:gd name="T30" fmla="*/ 163 w 172"/>
                  <a:gd name="T31" fmla="*/ 83 h 165"/>
                  <a:gd name="T32" fmla="*/ 160 w 172"/>
                  <a:gd name="T33" fmla="*/ 89 h 165"/>
                  <a:gd name="T34" fmla="*/ 153 w 172"/>
                  <a:gd name="T35" fmla="*/ 91 h 165"/>
                  <a:gd name="T36" fmla="*/ 143 w 172"/>
                  <a:gd name="T37" fmla="*/ 95 h 165"/>
                  <a:gd name="T38" fmla="*/ 139 w 172"/>
                  <a:gd name="T39" fmla="*/ 99 h 165"/>
                  <a:gd name="T40" fmla="*/ 133 w 172"/>
                  <a:gd name="T41" fmla="*/ 102 h 165"/>
                  <a:gd name="T42" fmla="*/ 124 w 172"/>
                  <a:gd name="T43" fmla="*/ 114 h 165"/>
                  <a:gd name="T44" fmla="*/ 123 w 172"/>
                  <a:gd name="T45" fmla="*/ 119 h 165"/>
                  <a:gd name="T46" fmla="*/ 118 w 172"/>
                  <a:gd name="T47" fmla="*/ 122 h 165"/>
                  <a:gd name="T48" fmla="*/ 114 w 172"/>
                  <a:gd name="T49" fmla="*/ 127 h 165"/>
                  <a:gd name="T50" fmla="*/ 105 w 172"/>
                  <a:gd name="T51" fmla="*/ 130 h 165"/>
                  <a:gd name="T52" fmla="*/ 102 w 172"/>
                  <a:gd name="T53" fmla="*/ 140 h 165"/>
                  <a:gd name="T54" fmla="*/ 102 w 172"/>
                  <a:gd name="T55" fmla="*/ 146 h 165"/>
                  <a:gd name="T56" fmla="*/ 95 w 172"/>
                  <a:gd name="T57" fmla="*/ 146 h 165"/>
                  <a:gd name="T58" fmla="*/ 83 w 172"/>
                  <a:gd name="T59" fmla="*/ 147 h 165"/>
                  <a:gd name="T60" fmla="*/ 71 w 172"/>
                  <a:gd name="T61" fmla="*/ 143 h 165"/>
                  <a:gd name="T62" fmla="*/ 60 w 172"/>
                  <a:gd name="T63" fmla="*/ 140 h 165"/>
                  <a:gd name="T64" fmla="*/ 48 w 172"/>
                  <a:gd name="T65" fmla="*/ 152 h 165"/>
                  <a:gd name="T66" fmla="*/ 37 w 172"/>
                  <a:gd name="T67" fmla="*/ 160 h 165"/>
                  <a:gd name="T68" fmla="*/ 27 w 172"/>
                  <a:gd name="T69" fmla="*/ 165 h 165"/>
                  <a:gd name="T70" fmla="*/ 14 w 172"/>
                  <a:gd name="T71" fmla="*/ 164 h 165"/>
                  <a:gd name="T72" fmla="*/ 12 w 172"/>
                  <a:gd name="T73" fmla="*/ 157 h 165"/>
                  <a:gd name="T74" fmla="*/ 6 w 172"/>
                  <a:gd name="T75" fmla="*/ 137 h 165"/>
                  <a:gd name="T76" fmla="*/ 0 w 172"/>
                  <a:gd name="T77" fmla="*/ 132 h 165"/>
                  <a:gd name="T78" fmla="*/ 19 w 172"/>
                  <a:gd name="T79" fmla="*/ 76 h 165"/>
                  <a:gd name="T80" fmla="*/ 54 w 172"/>
                  <a:gd name="T81" fmla="*/ 9 h 165"/>
                  <a:gd name="T82" fmla="*/ 63 w 172"/>
                  <a:gd name="T83" fmla="*/ 7 h 165"/>
                  <a:gd name="T84" fmla="*/ 66 w 172"/>
                  <a:gd name="T85" fmla="*/ 11 h 165"/>
                  <a:gd name="T86" fmla="*/ 67 w 172"/>
                  <a:gd name="T87" fmla="*/ 15 h 165"/>
                  <a:gd name="T88" fmla="*/ 79 w 172"/>
                  <a:gd name="T89" fmla="*/ 3 h 165"/>
                  <a:gd name="T90" fmla="*/ 87 w 172"/>
                  <a:gd name="T91" fmla="*/ 5 h 165"/>
                  <a:gd name="T92" fmla="*/ 99 w 172"/>
                  <a:gd name="T93" fmla="*/ 0 h 165"/>
                  <a:gd name="T94" fmla="*/ 99 w 172"/>
                  <a:gd name="T95" fmla="*/ 0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72" h="165">
                    <a:moveTo>
                      <a:pt x="99" y="0"/>
                    </a:moveTo>
                    <a:lnTo>
                      <a:pt x="100" y="1"/>
                    </a:lnTo>
                    <a:lnTo>
                      <a:pt x="99" y="3"/>
                    </a:lnTo>
                    <a:lnTo>
                      <a:pt x="99" y="4"/>
                    </a:lnTo>
                    <a:lnTo>
                      <a:pt x="100" y="6"/>
                    </a:lnTo>
                    <a:lnTo>
                      <a:pt x="102" y="8"/>
                    </a:lnTo>
                    <a:lnTo>
                      <a:pt x="104" y="10"/>
                    </a:lnTo>
                    <a:lnTo>
                      <a:pt x="106" y="11"/>
                    </a:lnTo>
                    <a:lnTo>
                      <a:pt x="108" y="12"/>
                    </a:lnTo>
                    <a:lnTo>
                      <a:pt x="108" y="14"/>
                    </a:lnTo>
                    <a:lnTo>
                      <a:pt x="109" y="15"/>
                    </a:lnTo>
                    <a:lnTo>
                      <a:pt x="111" y="18"/>
                    </a:lnTo>
                    <a:lnTo>
                      <a:pt x="112" y="21"/>
                    </a:lnTo>
                    <a:lnTo>
                      <a:pt x="114" y="23"/>
                    </a:lnTo>
                    <a:lnTo>
                      <a:pt x="115" y="26"/>
                    </a:lnTo>
                    <a:lnTo>
                      <a:pt x="117" y="28"/>
                    </a:lnTo>
                    <a:lnTo>
                      <a:pt x="118" y="27"/>
                    </a:lnTo>
                    <a:lnTo>
                      <a:pt x="118" y="30"/>
                    </a:lnTo>
                    <a:lnTo>
                      <a:pt x="124" y="37"/>
                    </a:lnTo>
                    <a:lnTo>
                      <a:pt x="127" y="39"/>
                    </a:lnTo>
                    <a:lnTo>
                      <a:pt x="131" y="42"/>
                    </a:lnTo>
                    <a:lnTo>
                      <a:pt x="133" y="43"/>
                    </a:lnTo>
                    <a:lnTo>
                      <a:pt x="135" y="45"/>
                    </a:lnTo>
                    <a:lnTo>
                      <a:pt x="135" y="46"/>
                    </a:lnTo>
                    <a:lnTo>
                      <a:pt x="135" y="47"/>
                    </a:lnTo>
                    <a:lnTo>
                      <a:pt x="136" y="49"/>
                    </a:lnTo>
                    <a:lnTo>
                      <a:pt x="139" y="50"/>
                    </a:lnTo>
                    <a:lnTo>
                      <a:pt x="141" y="52"/>
                    </a:lnTo>
                    <a:lnTo>
                      <a:pt x="140" y="54"/>
                    </a:lnTo>
                    <a:lnTo>
                      <a:pt x="141" y="58"/>
                    </a:lnTo>
                    <a:lnTo>
                      <a:pt x="141" y="61"/>
                    </a:lnTo>
                    <a:lnTo>
                      <a:pt x="143" y="64"/>
                    </a:lnTo>
                    <a:lnTo>
                      <a:pt x="146" y="67"/>
                    </a:lnTo>
                    <a:lnTo>
                      <a:pt x="148" y="70"/>
                    </a:lnTo>
                    <a:lnTo>
                      <a:pt x="152" y="71"/>
                    </a:lnTo>
                    <a:lnTo>
                      <a:pt x="155" y="70"/>
                    </a:lnTo>
                    <a:lnTo>
                      <a:pt x="160" y="71"/>
                    </a:lnTo>
                    <a:lnTo>
                      <a:pt x="161" y="71"/>
                    </a:lnTo>
                    <a:lnTo>
                      <a:pt x="165" y="74"/>
                    </a:lnTo>
                    <a:lnTo>
                      <a:pt x="167" y="74"/>
                    </a:lnTo>
                    <a:lnTo>
                      <a:pt x="169" y="75"/>
                    </a:lnTo>
                    <a:lnTo>
                      <a:pt x="169" y="76"/>
                    </a:lnTo>
                    <a:lnTo>
                      <a:pt x="171" y="78"/>
                    </a:lnTo>
                    <a:lnTo>
                      <a:pt x="172" y="80"/>
                    </a:lnTo>
                    <a:lnTo>
                      <a:pt x="170" y="80"/>
                    </a:lnTo>
                    <a:lnTo>
                      <a:pt x="168" y="81"/>
                    </a:lnTo>
                    <a:lnTo>
                      <a:pt x="165" y="82"/>
                    </a:lnTo>
                    <a:lnTo>
                      <a:pt x="163" y="83"/>
                    </a:lnTo>
                    <a:lnTo>
                      <a:pt x="163" y="85"/>
                    </a:lnTo>
                    <a:lnTo>
                      <a:pt x="162" y="88"/>
                    </a:lnTo>
                    <a:lnTo>
                      <a:pt x="160" y="89"/>
                    </a:lnTo>
                    <a:lnTo>
                      <a:pt x="158" y="91"/>
                    </a:lnTo>
                    <a:lnTo>
                      <a:pt x="154" y="91"/>
                    </a:lnTo>
                    <a:lnTo>
                      <a:pt x="153" y="91"/>
                    </a:lnTo>
                    <a:lnTo>
                      <a:pt x="151" y="91"/>
                    </a:lnTo>
                    <a:lnTo>
                      <a:pt x="147" y="91"/>
                    </a:lnTo>
                    <a:lnTo>
                      <a:pt x="143" y="95"/>
                    </a:lnTo>
                    <a:lnTo>
                      <a:pt x="141" y="97"/>
                    </a:lnTo>
                    <a:lnTo>
                      <a:pt x="140" y="97"/>
                    </a:lnTo>
                    <a:lnTo>
                      <a:pt x="139" y="99"/>
                    </a:lnTo>
                    <a:lnTo>
                      <a:pt x="136" y="100"/>
                    </a:lnTo>
                    <a:lnTo>
                      <a:pt x="135" y="101"/>
                    </a:lnTo>
                    <a:lnTo>
                      <a:pt x="133" y="102"/>
                    </a:lnTo>
                    <a:lnTo>
                      <a:pt x="130" y="103"/>
                    </a:lnTo>
                    <a:lnTo>
                      <a:pt x="125" y="110"/>
                    </a:lnTo>
                    <a:lnTo>
                      <a:pt x="124" y="114"/>
                    </a:lnTo>
                    <a:lnTo>
                      <a:pt x="125" y="116"/>
                    </a:lnTo>
                    <a:lnTo>
                      <a:pt x="125" y="119"/>
                    </a:lnTo>
                    <a:lnTo>
                      <a:pt x="123" y="119"/>
                    </a:lnTo>
                    <a:lnTo>
                      <a:pt x="122" y="120"/>
                    </a:lnTo>
                    <a:lnTo>
                      <a:pt x="119" y="120"/>
                    </a:lnTo>
                    <a:lnTo>
                      <a:pt x="118" y="122"/>
                    </a:lnTo>
                    <a:lnTo>
                      <a:pt x="117" y="125"/>
                    </a:lnTo>
                    <a:lnTo>
                      <a:pt x="116" y="126"/>
                    </a:lnTo>
                    <a:lnTo>
                      <a:pt x="114" y="127"/>
                    </a:lnTo>
                    <a:lnTo>
                      <a:pt x="112" y="128"/>
                    </a:lnTo>
                    <a:lnTo>
                      <a:pt x="109" y="129"/>
                    </a:lnTo>
                    <a:lnTo>
                      <a:pt x="105" y="130"/>
                    </a:lnTo>
                    <a:lnTo>
                      <a:pt x="103" y="133"/>
                    </a:lnTo>
                    <a:lnTo>
                      <a:pt x="104" y="138"/>
                    </a:lnTo>
                    <a:lnTo>
                      <a:pt x="102" y="140"/>
                    </a:lnTo>
                    <a:lnTo>
                      <a:pt x="102" y="141"/>
                    </a:lnTo>
                    <a:lnTo>
                      <a:pt x="101" y="145"/>
                    </a:lnTo>
                    <a:lnTo>
                      <a:pt x="102" y="146"/>
                    </a:lnTo>
                    <a:lnTo>
                      <a:pt x="98" y="149"/>
                    </a:lnTo>
                    <a:lnTo>
                      <a:pt x="96" y="148"/>
                    </a:lnTo>
                    <a:lnTo>
                      <a:pt x="95" y="146"/>
                    </a:lnTo>
                    <a:lnTo>
                      <a:pt x="92" y="146"/>
                    </a:lnTo>
                    <a:lnTo>
                      <a:pt x="87" y="146"/>
                    </a:lnTo>
                    <a:lnTo>
                      <a:pt x="83" y="147"/>
                    </a:lnTo>
                    <a:lnTo>
                      <a:pt x="80" y="146"/>
                    </a:lnTo>
                    <a:lnTo>
                      <a:pt x="77" y="147"/>
                    </a:lnTo>
                    <a:lnTo>
                      <a:pt x="71" y="143"/>
                    </a:lnTo>
                    <a:lnTo>
                      <a:pt x="68" y="143"/>
                    </a:lnTo>
                    <a:lnTo>
                      <a:pt x="66" y="140"/>
                    </a:lnTo>
                    <a:lnTo>
                      <a:pt x="60" y="140"/>
                    </a:lnTo>
                    <a:lnTo>
                      <a:pt x="55" y="140"/>
                    </a:lnTo>
                    <a:lnTo>
                      <a:pt x="51" y="144"/>
                    </a:lnTo>
                    <a:lnTo>
                      <a:pt x="48" y="152"/>
                    </a:lnTo>
                    <a:lnTo>
                      <a:pt x="45" y="155"/>
                    </a:lnTo>
                    <a:lnTo>
                      <a:pt x="38" y="158"/>
                    </a:lnTo>
                    <a:lnTo>
                      <a:pt x="37" y="160"/>
                    </a:lnTo>
                    <a:lnTo>
                      <a:pt x="33" y="162"/>
                    </a:lnTo>
                    <a:lnTo>
                      <a:pt x="30" y="163"/>
                    </a:lnTo>
                    <a:lnTo>
                      <a:pt x="27" y="165"/>
                    </a:lnTo>
                    <a:lnTo>
                      <a:pt x="23" y="164"/>
                    </a:lnTo>
                    <a:lnTo>
                      <a:pt x="19" y="165"/>
                    </a:lnTo>
                    <a:lnTo>
                      <a:pt x="14" y="164"/>
                    </a:lnTo>
                    <a:lnTo>
                      <a:pt x="10" y="165"/>
                    </a:lnTo>
                    <a:lnTo>
                      <a:pt x="10" y="162"/>
                    </a:lnTo>
                    <a:lnTo>
                      <a:pt x="12" y="157"/>
                    </a:lnTo>
                    <a:lnTo>
                      <a:pt x="12" y="151"/>
                    </a:lnTo>
                    <a:lnTo>
                      <a:pt x="8" y="141"/>
                    </a:lnTo>
                    <a:lnTo>
                      <a:pt x="6" y="137"/>
                    </a:lnTo>
                    <a:lnTo>
                      <a:pt x="0" y="132"/>
                    </a:lnTo>
                    <a:lnTo>
                      <a:pt x="0" y="133"/>
                    </a:lnTo>
                    <a:lnTo>
                      <a:pt x="0" y="132"/>
                    </a:lnTo>
                    <a:lnTo>
                      <a:pt x="0" y="132"/>
                    </a:lnTo>
                    <a:lnTo>
                      <a:pt x="3" y="76"/>
                    </a:lnTo>
                    <a:lnTo>
                      <a:pt x="19" y="76"/>
                    </a:lnTo>
                    <a:lnTo>
                      <a:pt x="23" y="12"/>
                    </a:lnTo>
                    <a:lnTo>
                      <a:pt x="36" y="12"/>
                    </a:lnTo>
                    <a:lnTo>
                      <a:pt x="54" y="9"/>
                    </a:lnTo>
                    <a:lnTo>
                      <a:pt x="59" y="8"/>
                    </a:lnTo>
                    <a:lnTo>
                      <a:pt x="62" y="7"/>
                    </a:lnTo>
                    <a:lnTo>
                      <a:pt x="63" y="7"/>
                    </a:lnTo>
                    <a:lnTo>
                      <a:pt x="64" y="8"/>
                    </a:lnTo>
                    <a:lnTo>
                      <a:pt x="65" y="10"/>
                    </a:lnTo>
                    <a:lnTo>
                      <a:pt x="66" y="11"/>
                    </a:lnTo>
                    <a:lnTo>
                      <a:pt x="65" y="12"/>
                    </a:lnTo>
                    <a:lnTo>
                      <a:pt x="65" y="14"/>
                    </a:lnTo>
                    <a:lnTo>
                      <a:pt x="67" y="15"/>
                    </a:lnTo>
                    <a:lnTo>
                      <a:pt x="73" y="11"/>
                    </a:lnTo>
                    <a:lnTo>
                      <a:pt x="76" y="7"/>
                    </a:lnTo>
                    <a:lnTo>
                      <a:pt x="79" y="3"/>
                    </a:lnTo>
                    <a:lnTo>
                      <a:pt x="84" y="3"/>
                    </a:lnTo>
                    <a:lnTo>
                      <a:pt x="85" y="4"/>
                    </a:lnTo>
                    <a:lnTo>
                      <a:pt x="87" y="5"/>
                    </a:lnTo>
                    <a:lnTo>
                      <a:pt x="89" y="3"/>
                    </a:lnTo>
                    <a:lnTo>
                      <a:pt x="96" y="1"/>
                    </a:lnTo>
                    <a:lnTo>
                      <a:pt x="99" y="0"/>
                    </a:lnTo>
                    <a:lnTo>
                      <a:pt x="99" y="0"/>
                    </a:lnTo>
                    <a:lnTo>
                      <a:pt x="99" y="0"/>
                    </a:lnTo>
                    <a:lnTo>
                      <a:pt x="99" y="0"/>
                    </a:lnTo>
                    <a:close/>
                  </a:path>
                </a:pathLst>
              </a:custGeom>
              <a:solidFill>
                <a:srgbClr val="65625E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977" name="Freeform 380"/>
              <p:cNvSpPr>
                <a:spLocks/>
              </p:cNvSpPr>
              <p:nvPr userDrawn="1"/>
            </p:nvSpPr>
            <p:spPr bwMode="auto">
              <a:xfrm>
                <a:off x="3675" y="3233"/>
                <a:ext cx="247" cy="223"/>
              </a:xfrm>
              <a:custGeom>
                <a:avLst/>
                <a:gdLst>
                  <a:gd name="T0" fmla="*/ 151 w 247"/>
                  <a:gd name="T1" fmla="*/ 91 h 223"/>
                  <a:gd name="T2" fmla="*/ 184 w 247"/>
                  <a:gd name="T3" fmla="*/ 27 h 223"/>
                  <a:gd name="T4" fmla="*/ 210 w 247"/>
                  <a:gd name="T5" fmla="*/ 22 h 223"/>
                  <a:gd name="T6" fmla="*/ 213 w 247"/>
                  <a:gd name="T7" fmla="*/ 25 h 223"/>
                  <a:gd name="T8" fmla="*/ 213 w 247"/>
                  <a:gd name="T9" fmla="*/ 29 h 223"/>
                  <a:gd name="T10" fmla="*/ 224 w 247"/>
                  <a:gd name="T11" fmla="*/ 22 h 223"/>
                  <a:gd name="T12" fmla="*/ 233 w 247"/>
                  <a:gd name="T13" fmla="*/ 19 h 223"/>
                  <a:gd name="T14" fmla="*/ 244 w 247"/>
                  <a:gd name="T15" fmla="*/ 16 h 223"/>
                  <a:gd name="T16" fmla="*/ 244 w 247"/>
                  <a:gd name="T17" fmla="*/ 11 h 223"/>
                  <a:gd name="T18" fmla="*/ 240 w 247"/>
                  <a:gd name="T19" fmla="*/ 10 h 223"/>
                  <a:gd name="T20" fmla="*/ 233 w 247"/>
                  <a:gd name="T21" fmla="*/ 10 h 223"/>
                  <a:gd name="T22" fmla="*/ 184 w 247"/>
                  <a:gd name="T23" fmla="*/ 20 h 223"/>
                  <a:gd name="T24" fmla="*/ 180 w 247"/>
                  <a:gd name="T25" fmla="*/ 20 h 223"/>
                  <a:gd name="T26" fmla="*/ 176 w 247"/>
                  <a:gd name="T27" fmla="*/ 19 h 223"/>
                  <a:gd name="T28" fmla="*/ 171 w 247"/>
                  <a:gd name="T29" fmla="*/ 18 h 223"/>
                  <a:gd name="T30" fmla="*/ 165 w 247"/>
                  <a:gd name="T31" fmla="*/ 20 h 223"/>
                  <a:gd name="T32" fmla="*/ 156 w 247"/>
                  <a:gd name="T33" fmla="*/ 15 h 223"/>
                  <a:gd name="T34" fmla="*/ 152 w 247"/>
                  <a:gd name="T35" fmla="*/ 17 h 223"/>
                  <a:gd name="T36" fmla="*/ 141 w 247"/>
                  <a:gd name="T37" fmla="*/ 18 h 223"/>
                  <a:gd name="T38" fmla="*/ 137 w 247"/>
                  <a:gd name="T39" fmla="*/ 15 h 223"/>
                  <a:gd name="T40" fmla="*/ 126 w 247"/>
                  <a:gd name="T41" fmla="*/ 13 h 223"/>
                  <a:gd name="T42" fmla="*/ 121 w 247"/>
                  <a:gd name="T43" fmla="*/ 7 h 223"/>
                  <a:gd name="T44" fmla="*/ 50 w 247"/>
                  <a:gd name="T45" fmla="*/ 6 h 223"/>
                  <a:gd name="T46" fmla="*/ 44 w 247"/>
                  <a:gd name="T47" fmla="*/ 10 h 223"/>
                  <a:gd name="T48" fmla="*/ 34 w 247"/>
                  <a:gd name="T49" fmla="*/ 4 h 223"/>
                  <a:gd name="T50" fmla="*/ 32 w 247"/>
                  <a:gd name="T51" fmla="*/ 1 h 223"/>
                  <a:gd name="T52" fmla="*/ 28 w 247"/>
                  <a:gd name="T53" fmla="*/ 2 h 223"/>
                  <a:gd name="T54" fmla="*/ 21 w 247"/>
                  <a:gd name="T55" fmla="*/ 0 h 223"/>
                  <a:gd name="T56" fmla="*/ 14 w 247"/>
                  <a:gd name="T57" fmla="*/ 6 h 223"/>
                  <a:gd name="T58" fmla="*/ 6 w 247"/>
                  <a:gd name="T59" fmla="*/ 5 h 223"/>
                  <a:gd name="T60" fmla="*/ 3 w 247"/>
                  <a:gd name="T61" fmla="*/ 7 h 223"/>
                  <a:gd name="T62" fmla="*/ 1 w 247"/>
                  <a:gd name="T63" fmla="*/ 22 h 223"/>
                  <a:gd name="T64" fmla="*/ 27 w 247"/>
                  <a:gd name="T65" fmla="*/ 62 h 223"/>
                  <a:gd name="T66" fmla="*/ 37 w 247"/>
                  <a:gd name="T67" fmla="*/ 88 h 223"/>
                  <a:gd name="T68" fmla="*/ 45 w 247"/>
                  <a:gd name="T69" fmla="*/ 110 h 223"/>
                  <a:gd name="T70" fmla="*/ 53 w 247"/>
                  <a:gd name="T71" fmla="*/ 146 h 223"/>
                  <a:gd name="T72" fmla="*/ 51 w 247"/>
                  <a:gd name="T73" fmla="*/ 160 h 223"/>
                  <a:gd name="T74" fmla="*/ 57 w 247"/>
                  <a:gd name="T75" fmla="*/ 174 h 223"/>
                  <a:gd name="T76" fmla="*/ 57 w 247"/>
                  <a:gd name="T77" fmla="*/ 181 h 223"/>
                  <a:gd name="T78" fmla="*/ 64 w 247"/>
                  <a:gd name="T79" fmla="*/ 196 h 223"/>
                  <a:gd name="T80" fmla="*/ 73 w 247"/>
                  <a:gd name="T81" fmla="*/ 211 h 223"/>
                  <a:gd name="T82" fmla="*/ 87 w 247"/>
                  <a:gd name="T83" fmla="*/ 213 h 223"/>
                  <a:gd name="T84" fmla="*/ 87 w 247"/>
                  <a:gd name="T85" fmla="*/ 207 h 223"/>
                  <a:gd name="T86" fmla="*/ 97 w 247"/>
                  <a:gd name="T87" fmla="*/ 209 h 223"/>
                  <a:gd name="T88" fmla="*/ 105 w 247"/>
                  <a:gd name="T89" fmla="*/ 220 h 223"/>
                  <a:gd name="T90" fmla="*/ 114 w 247"/>
                  <a:gd name="T91" fmla="*/ 221 h 223"/>
                  <a:gd name="T92" fmla="*/ 121 w 247"/>
                  <a:gd name="T93" fmla="*/ 220 h 223"/>
                  <a:gd name="T94" fmla="*/ 127 w 247"/>
                  <a:gd name="T95" fmla="*/ 223 h 223"/>
                  <a:gd name="T96" fmla="*/ 131 w 247"/>
                  <a:gd name="T97" fmla="*/ 217 h 223"/>
                  <a:gd name="T98" fmla="*/ 143 w 247"/>
                  <a:gd name="T99" fmla="*/ 212 h 223"/>
                  <a:gd name="T100" fmla="*/ 148 w 247"/>
                  <a:gd name="T101" fmla="*/ 147 h 2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247" h="223">
                    <a:moveTo>
                      <a:pt x="148" y="147"/>
                    </a:moveTo>
                    <a:lnTo>
                      <a:pt x="148" y="147"/>
                    </a:lnTo>
                    <a:lnTo>
                      <a:pt x="151" y="91"/>
                    </a:lnTo>
                    <a:lnTo>
                      <a:pt x="167" y="91"/>
                    </a:lnTo>
                    <a:lnTo>
                      <a:pt x="171" y="27"/>
                    </a:lnTo>
                    <a:lnTo>
                      <a:pt x="184" y="27"/>
                    </a:lnTo>
                    <a:lnTo>
                      <a:pt x="202" y="24"/>
                    </a:lnTo>
                    <a:lnTo>
                      <a:pt x="207" y="23"/>
                    </a:lnTo>
                    <a:lnTo>
                      <a:pt x="210" y="22"/>
                    </a:lnTo>
                    <a:lnTo>
                      <a:pt x="211" y="22"/>
                    </a:lnTo>
                    <a:lnTo>
                      <a:pt x="212" y="23"/>
                    </a:lnTo>
                    <a:lnTo>
                      <a:pt x="213" y="25"/>
                    </a:lnTo>
                    <a:lnTo>
                      <a:pt x="214" y="26"/>
                    </a:lnTo>
                    <a:lnTo>
                      <a:pt x="213" y="27"/>
                    </a:lnTo>
                    <a:lnTo>
                      <a:pt x="213" y="29"/>
                    </a:lnTo>
                    <a:lnTo>
                      <a:pt x="215" y="30"/>
                    </a:lnTo>
                    <a:lnTo>
                      <a:pt x="221" y="26"/>
                    </a:lnTo>
                    <a:lnTo>
                      <a:pt x="224" y="22"/>
                    </a:lnTo>
                    <a:lnTo>
                      <a:pt x="227" y="18"/>
                    </a:lnTo>
                    <a:lnTo>
                      <a:pt x="232" y="18"/>
                    </a:lnTo>
                    <a:lnTo>
                      <a:pt x="233" y="19"/>
                    </a:lnTo>
                    <a:lnTo>
                      <a:pt x="235" y="20"/>
                    </a:lnTo>
                    <a:lnTo>
                      <a:pt x="237" y="18"/>
                    </a:lnTo>
                    <a:lnTo>
                      <a:pt x="244" y="16"/>
                    </a:lnTo>
                    <a:lnTo>
                      <a:pt x="247" y="15"/>
                    </a:lnTo>
                    <a:lnTo>
                      <a:pt x="245" y="11"/>
                    </a:lnTo>
                    <a:lnTo>
                      <a:pt x="244" y="11"/>
                    </a:lnTo>
                    <a:lnTo>
                      <a:pt x="243" y="10"/>
                    </a:lnTo>
                    <a:lnTo>
                      <a:pt x="241" y="11"/>
                    </a:lnTo>
                    <a:lnTo>
                      <a:pt x="240" y="10"/>
                    </a:lnTo>
                    <a:lnTo>
                      <a:pt x="239" y="10"/>
                    </a:lnTo>
                    <a:lnTo>
                      <a:pt x="237" y="9"/>
                    </a:lnTo>
                    <a:lnTo>
                      <a:pt x="233" y="10"/>
                    </a:lnTo>
                    <a:lnTo>
                      <a:pt x="231" y="10"/>
                    </a:lnTo>
                    <a:lnTo>
                      <a:pt x="185" y="20"/>
                    </a:lnTo>
                    <a:lnTo>
                      <a:pt x="184" y="20"/>
                    </a:lnTo>
                    <a:lnTo>
                      <a:pt x="182" y="20"/>
                    </a:lnTo>
                    <a:lnTo>
                      <a:pt x="180" y="20"/>
                    </a:lnTo>
                    <a:lnTo>
                      <a:pt x="180" y="20"/>
                    </a:lnTo>
                    <a:lnTo>
                      <a:pt x="179" y="20"/>
                    </a:lnTo>
                    <a:lnTo>
                      <a:pt x="178" y="18"/>
                    </a:lnTo>
                    <a:lnTo>
                      <a:pt x="176" y="19"/>
                    </a:lnTo>
                    <a:lnTo>
                      <a:pt x="175" y="18"/>
                    </a:lnTo>
                    <a:lnTo>
                      <a:pt x="173" y="17"/>
                    </a:lnTo>
                    <a:lnTo>
                      <a:pt x="171" y="18"/>
                    </a:lnTo>
                    <a:lnTo>
                      <a:pt x="170" y="19"/>
                    </a:lnTo>
                    <a:lnTo>
                      <a:pt x="169" y="20"/>
                    </a:lnTo>
                    <a:lnTo>
                      <a:pt x="165" y="20"/>
                    </a:lnTo>
                    <a:lnTo>
                      <a:pt x="162" y="18"/>
                    </a:lnTo>
                    <a:lnTo>
                      <a:pt x="159" y="15"/>
                    </a:lnTo>
                    <a:lnTo>
                      <a:pt x="156" y="15"/>
                    </a:lnTo>
                    <a:lnTo>
                      <a:pt x="155" y="14"/>
                    </a:lnTo>
                    <a:lnTo>
                      <a:pt x="155" y="16"/>
                    </a:lnTo>
                    <a:lnTo>
                      <a:pt x="152" y="17"/>
                    </a:lnTo>
                    <a:lnTo>
                      <a:pt x="147" y="15"/>
                    </a:lnTo>
                    <a:lnTo>
                      <a:pt x="144" y="16"/>
                    </a:lnTo>
                    <a:lnTo>
                      <a:pt x="141" y="18"/>
                    </a:lnTo>
                    <a:lnTo>
                      <a:pt x="139" y="17"/>
                    </a:lnTo>
                    <a:lnTo>
                      <a:pt x="138" y="16"/>
                    </a:lnTo>
                    <a:lnTo>
                      <a:pt x="137" y="15"/>
                    </a:lnTo>
                    <a:lnTo>
                      <a:pt x="134" y="15"/>
                    </a:lnTo>
                    <a:lnTo>
                      <a:pt x="130" y="14"/>
                    </a:lnTo>
                    <a:lnTo>
                      <a:pt x="126" y="13"/>
                    </a:lnTo>
                    <a:lnTo>
                      <a:pt x="125" y="11"/>
                    </a:lnTo>
                    <a:lnTo>
                      <a:pt x="123" y="8"/>
                    </a:lnTo>
                    <a:lnTo>
                      <a:pt x="121" y="7"/>
                    </a:lnTo>
                    <a:lnTo>
                      <a:pt x="52" y="7"/>
                    </a:lnTo>
                    <a:lnTo>
                      <a:pt x="51" y="6"/>
                    </a:lnTo>
                    <a:lnTo>
                      <a:pt x="50" y="6"/>
                    </a:lnTo>
                    <a:lnTo>
                      <a:pt x="48" y="8"/>
                    </a:lnTo>
                    <a:lnTo>
                      <a:pt x="47" y="8"/>
                    </a:lnTo>
                    <a:lnTo>
                      <a:pt x="44" y="10"/>
                    </a:lnTo>
                    <a:lnTo>
                      <a:pt x="40" y="8"/>
                    </a:lnTo>
                    <a:lnTo>
                      <a:pt x="35" y="5"/>
                    </a:lnTo>
                    <a:lnTo>
                      <a:pt x="34" y="4"/>
                    </a:lnTo>
                    <a:lnTo>
                      <a:pt x="35" y="3"/>
                    </a:lnTo>
                    <a:lnTo>
                      <a:pt x="32" y="2"/>
                    </a:lnTo>
                    <a:lnTo>
                      <a:pt x="32" y="1"/>
                    </a:lnTo>
                    <a:lnTo>
                      <a:pt x="30" y="0"/>
                    </a:lnTo>
                    <a:lnTo>
                      <a:pt x="29" y="0"/>
                    </a:lnTo>
                    <a:lnTo>
                      <a:pt x="28" y="2"/>
                    </a:lnTo>
                    <a:lnTo>
                      <a:pt x="27" y="1"/>
                    </a:lnTo>
                    <a:lnTo>
                      <a:pt x="24" y="0"/>
                    </a:lnTo>
                    <a:lnTo>
                      <a:pt x="21" y="0"/>
                    </a:lnTo>
                    <a:lnTo>
                      <a:pt x="16" y="3"/>
                    </a:lnTo>
                    <a:lnTo>
                      <a:pt x="15" y="5"/>
                    </a:lnTo>
                    <a:lnTo>
                      <a:pt x="14" y="6"/>
                    </a:lnTo>
                    <a:lnTo>
                      <a:pt x="11" y="5"/>
                    </a:lnTo>
                    <a:lnTo>
                      <a:pt x="7" y="4"/>
                    </a:lnTo>
                    <a:lnTo>
                      <a:pt x="6" y="5"/>
                    </a:lnTo>
                    <a:lnTo>
                      <a:pt x="6" y="7"/>
                    </a:lnTo>
                    <a:lnTo>
                      <a:pt x="4" y="8"/>
                    </a:lnTo>
                    <a:lnTo>
                      <a:pt x="3" y="7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1" y="22"/>
                    </a:lnTo>
                    <a:lnTo>
                      <a:pt x="11" y="32"/>
                    </a:lnTo>
                    <a:lnTo>
                      <a:pt x="17" y="42"/>
                    </a:lnTo>
                    <a:lnTo>
                      <a:pt x="27" y="62"/>
                    </a:lnTo>
                    <a:lnTo>
                      <a:pt x="28" y="69"/>
                    </a:lnTo>
                    <a:lnTo>
                      <a:pt x="37" y="83"/>
                    </a:lnTo>
                    <a:lnTo>
                      <a:pt x="37" y="88"/>
                    </a:lnTo>
                    <a:lnTo>
                      <a:pt x="47" y="101"/>
                    </a:lnTo>
                    <a:lnTo>
                      <a:pt x="47" y="109"/>
                    </a:lnTo>
                    <a:lnTo>
                      <a:pt x="45" y="110"/>
                    </a:lnTo>
                    <a:lnTo>
                      <a:pt x="47" y="118"/>
                    </a:lnTo>
                    <a:lnTo>
                      <a:pt x="48" y="132"/>
                    </a:lnTo>
                    <a:lnTo>
                      <a:pt x="53" y="146"/>
                    </a:lnTo>
                    <a:lnTo>
                      <a:pt x="52" y="154"/>
                    </a:lnTo>
                    <a:lnTo>
                      <a:pt x="54" y="158"/>
                    </a:lnTo>
                    <a:lnTo>
                      <a:pt x="51" y="160"/>
                    </a:lnTo>
                    <a:lnTo>
                      <a:pt x="53" y="163"/>
                    </a:lnTo>
                    <a:lnTo>
                      <a:pt x="55" y="172"/>
                    </a:lnTo>
                    <a:lnTo>
                      <a:pt x="57" y="174"/>
                    </a:lnTo>
                    <a:lnTo>
                      <a:pt x="59" y="177"/>
                    </a:lnTo>
                    <a:lnTo>
                      <a:pt x="57" y="177"/>
                    </a:lnTo>
                    <a:lnTo>
                      <a:pt x="57" y="181"/>
                    </a:lnTo>
                    <a:lnTo>
                      <a:pt x="60" y="184"/>
                    </a:lnTo>
                    <a:lnTo>
                      <a:pt x="60" y="192"/>
                    </a:lnTo>
                    <a:lnTo>
                      <a:pt x="64" y="196"/>
                    </a:lnTo>
                    <a:lnTo>
                      <a:pt x="69" y="204"/>
                    </a:lnTo>
                    <a:lnTo>
                      <a:pt x="72" y="209"/>
                    </a:lnTo>
                    <a:lnTo>
                      <a:pt x="73" y="211"/>
                    </a:lnTo>
                    <a:lnTo>
                      <a:pt x="80" y="216"/>
                    </a:lnTo>
                    <a:lnTo>
                      <a:pt x="83" y="214"/>
                    </a:lnTo>
                    <a:lnTo>
                      <a:pt x="87" y="213"/>
                    </a:lnTo>
                    <a:lnTo>
                      <a:pt x="87" y="211"/>
                    </a:lnTo>
                    <a:lnTo>
                      <a:pt x="85" y="210"/>
                    </a:lnTo>
                    <a:lnTo>
                      <a:pt x="87" y="207"/>
                    </a:lnTo>
                    <a:lnTo>
                      <a:pt x="92" y="205"/>
                    </a:lnTo>
                    <a:lnTo>
                      <a:pt x="94" y="209"/>
                    </a:lnTo>
                    <a:lnTo>
                      <a:pt x="97" y="209"/>
                    </a:lnTo>
                    <a:lnTo>
                      <a:pt x="95" y="213"/>
                    </a:lnTo>
                    <a:lnTo>
                      <a:pt x="98" y="218"/>
                    </a:lnTo>
                    <a:lnTo>
                      <a:pt x="105" y="220"/>
                    </a:lnTo>
                    <a:lnTo>
                      <a:pt x="109" y="221"/>
                    </a:lnTo>
                    <a:lnTo>
                      <a:pt x="112" y="220"/>
                    </a:lnTo>
                    <a:lnTo>
                      <a:pt x="114" y="221"/>
                    </a:lnTo>
                    <a:lnTo>
                      <a:pt x="116" y="221"/>
                    </a:lnTo>
                    <a:lnTo>
                      <a:pt x="118" y="220"/>
                    </a:lnTo>
                    <a:lnTo>
                      <a:pt x="121" y="220"/>
                    </a:lnTo>
                    <a:lnTo>
                      <a:pt x="122" y="223"/>
                    </a:lnTo>
                    <a:lnTo>
                      <a:pt x="125" y="222"/>
                    </a:lnTo>
                    <a:lnTo>
                      <a:pt x="127" y="223"/>
                    </a:lnTo>
                    <a:lnTo>
                      <a:pt x="127" y="220"/>
                    </a:lnTo>
                    <a:lnTo>
                      <a:pt x="129" y="218"/>
                    </a:lnTo>
                    <a:lnTo>
                      <a:pt x="131" y="217"/>
                    </a:lnTo>
                    <a:lnTo>
                      <a:pt x="133" y="214"/>
                    </a:lnTo>
                    <a:lnTo>
                      <a:pt x="137" y="211"/>
                    </a:lnTo>
                    <a:lnTo>
                      <a:pt x="143" y="212"/>
                    </a:lnTo>
                    <a:lnTo>
                      <a:pt x="145" y="212"/>
                    </a:lnTo>
                    <a:lnTo>
                      <a:pt x="148" y="148"/>
                    </a:lnTo>
                    <a:lnTo>
                      <a:pt x="148" y="147"/>
                    </a:lnTo>
                    <a:lnTo>
                      <a:pt x="148" y="147"/>
                    </a:lnTo>
                    <a:close/>
                  </a:path>
                </a:pathLst>
              </a:custGeom>
              <a:solidFill>
                <a:srgbClr val="65625E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978" name="Freeform 381"/>
              <p:cNvSpPr>
                <a:spLocks/>
              </p:cNvSpPr>
              <p:nvPr userDrawn="1"/>
            </p:nvSpPr>
            <p:spPr bwMode="auto">
              <a:xfrm>
                <a:off x="4315" y="3213"/>
                <a:ext cx="1" cy="4"/>
              </a:xfrm>
              <a:custGeom>
                <a:avLst/>
                <a:gdLst>
                  <a:gd name="T0" fmla="*/ 0 w 1"/>
                  <a:gd name="T1" fmla="*/ 0 h 4"/>
                  <a:gd name="T2" fmla="*/ 1 w 1"/>
                  <a:gd name="T3" fmla="*/ 2 h 4"/>
                  <a:gd name="T4" fmla="*/ 0 w 1"/>
                  <a:gd name="T5" fmla="*/ 4 h 4"/>
                  <a:gd name="T6" fmla="*/ 0 w 1"/>
                  <a:gd name="T7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4">
                    <a:moveTo>
                      <a:pt x="0" y="0"/>
                    </a:moveTo>
                    <a:lnTo>
                      <a:pt x="1" y="2"/>
                    </a:lnTo>
                    <a:lnTo>
                      <a:pt x="0" y="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65625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979" name="Freeform 382"/>
              <p:cNvSpPr>
                <a:spLocks/>
              </p:cNvSpPr>
              <p:nvPr userDrawn="1"/>
            </p:nvSpPr>
            <p:spPr bwMode="auto">
              <a:xfrm>
                <a:off x="4315" y="3213"/>
                <a:ext cx="1" cy="4"/>
              </a:xfrm>
              <a:custGeom>
                <a:avLst/>
                <a:gdLst>
                  <a:gd name="T0" fmla="*/ 0 w 1"/>
                  <a:gd name="T1" fmla="*/ 0 h 4"/>
                  <a:gd name="T2" fmla="*/ 1 w 1"/>
                  <a:gd name="T3" fmla="*/ 2 h 4"/>
                  <a:gd name="T4" fmla="*/ 0 w 1"/>
                  <a:gd name="T5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4">
                    <a:moveTo>
                      <a:pt x="0" y="0"/>
                    </a:moveTo>
                    <a:lnTo>
                      <a:pt x="1" y="2"/>
                    </a:lnTo>
                    <a:lnTo>
                      <a:pt x="0" y="4"/>
                    </a:lnTo>
                  </a:path>
                </a:pathLst>
              </a:custGeom>
              <a:noFill/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980" name="Freeform 383"/>
              <p:cNvSpPr>
                <a:spLocks noEditPoints="1"/>
              </p:cNvSpPr>
              <p:nvPr userDrawn="1"/>
            </p:nvSpPr>
            <p:spPr bwMode="auto">
              <a:xfrm>
                <a:off x="3755" y="3327"/>
                <a:ext cx="298" cy="245"/>
              </a:xfrm>
              <a:custGeom>
                <a:avLst/>
                <a:gdLst>
                  <a:gd name="T0" fmla="*/ 5 w 298"/>
                  <a:gd name="T1" fmla="*/ 116 h 245"/>
                  <a:gd name="T2" fmla="*/ 15 w 298"/>
                  <a:gd name="T3" fmla="*/ 119 h 245"/>
                  <a:gd name="T4" fmla="*/ 34 w 298"/>
                  <a:gd name="T5" fmla="*/ 127 h 245"/>
                  <a:gd name="T6" fmla="*/ 45 w 298"/>
                  <a:gd name="T7" fmla="*/ 128 h 245"/>
                  <a:gd name="T8" fmla="*/ 53 w 298"/>
                  <a:gd name="T9" fmla="*/ 120 h 245"/>
                  <a:gd name="T10" fmla="*/ 74 w 298"/>
                  <a:gd name="T11" fmla="*/ 58 h 245"/>
                  <a:gd name="T12" fmla="*/ 78 w 298"/>
                  <a:gd name="T13" fmla="*/ 86 h 245"/>
                  <a:gd name="T14" fmla="*/ 98 w 298"/>
                  <a:gd name="T15" fmla="*/ 84 h 245"/>
                  <a:gd name="T16" fmla="*/ 116 w 298"/>
                  <a:gd name="T17" fmla="*/ 73 h 245"/>
                  <a:gd name="T18" fmla="*/ 136 w 298"/>
                  <a:gd name="T19" fmla="*/ 64 h 245"/>
                  <a:gd name="T20" fmla="*/ 155 w 298"/>
                  <a:gd name="T21" fmla="*/ 67 h 245"/>
                  <a:gd name="T22" fmla="*/ 170 w 298"/>
                  <a:gd name="T23" fmla="*/ 67 h 245"/>
                  <a:gd name="T24" fmla="*/ 171 w 298"/>
                  <a:gd name="T25" fmla="*/ 54 h 245"/>
                  <a:gd name="T26" fmla="*/ 184 w 298"/>
                  <a:gd name="T27" fmla="*/ 47 h 245"/>
                  <a:gd name="T28" fmla="*/ 191 w 298"/>
                  <a:gd name="T29" fmla="*/ 40 h 245"/>
                  <a:gd name="T30" fmla="*/ 198 w 298"/>
                  <a:gd name="T31" fmla="*/ 24 h 245"/>
                  <a:gd name="T32" fmla="*/ 208 w 298"/>
                  <a:gd name="T33" fmla="*/ 18 h 245"/>
                  <a:gd name="T34" fmla="*/ 221 w 298"/>
                  <a:gd name="T35" fmla="*/ 12 h 245"/>
                  <a:gd name="T36" fmla="*/ 231 w 298"/>
                  <a:gd name="T37" fmla="*/ 6 h 245"/>
                  <a:gd name="T38" fmla="*/ 247 w 298"/>
                  <a:gd name="T39" fmla="*/ 0 h 245"/>
                  <a:gd name="T40" fmla="*/ 260 w 298"/>
                  <a:gd name="T41" fmla="*/ 6 h 245"/>
                  <a:gd name="T42" fmla="*/ 278 w 298"/>
                  <a:gd name="T43" fmla="*/ 14 h 245"/>
                  <a:gd name="T44" fmla="*/ 281 w 298"/>
                  <a:gd name="T45" fmla="*/ 35 h 245"/>
                  <a:gd name="T46" fmla="*/ 282 w 298"/>
                  <a:gd name="T47" fmla="*/ 66 h 245"/>
                  <a:gd name="T48" fmla="*/ 268 w 298"/>
                  <a:gd name="T49" fmla="*/ 68 h 245"/>
                  <a:gd name="T50" fmla="*/ 264 w 298"/>
                  <a:gd name="T51" fmla="*/ 87 h 245"/>
                  <a:gd name="T52" fmla="*/ 283 w 298"/>
                  <a:gd name="T53" fmla="*/ 91 h 245"/>
                  <a:gd name="T54" fmla="*/ 298 w 298"/>
                  <a:gd name="T55" fmla="*/ 87 h 245"/>
                  <a:gd name="T56" fmla="*/ 294 w 298"/>
                  <a:gd name="T57" fmla="*/ 104 h 245"/>
                  <a:gd name="T58" fmla="*/ 281 w 298"/>
                  <a:gd name="T59" fmla="*/ 127 h 245"/>
                  <a:gd name="T60" fmla="*/ 269 w 298"/>
                  <a:gd name="T61" fmla="*/ 136 h 245"/>
                  <a:gd name="T62" fmla="*/ 257 w 298"/>
                  <a:gd name="T63" fmla="*/ 149 h 245"/>
                  <a:gd name="T64" fmla="*/ 236 w 298"/>
                  <a:gd name="T65" fmla="*/ 179 h 245"/>
                  <a:gd name="T66" fmla="*/ 208 w 298"/>
                  <a:gd name="T67" fmla="*/ 203 h 245"/>
                  <a:gd name="T68" fmla="*/ 186 w 298"/>
                  <a:gd name="T69" fmla="*/ 219 h 245"/>
                  <a:gd name="T70" fmla="*/ 169 w 298"/>
                  <a:gd name="T71" fmla="*/ 223 h 245"/>
                  <a:gd name="T72" fmla="*/ 159 w 298"/>
                  <a:gd name="T73" fmla="*/ 231 h 245"/>
                  <a:gd name="T74" fmla="*/ 144 w 298"/>
                  <a:gd name="T75" fmla="*/ 234 h 245"/>
                  <a:gd name="T76" fmla="*/ 118 w 298"/>
                  <a:gd name="T77" fmla="*/ 231 h 245"/>
                  <a:gd name="T78" fmla="*/ 98 w 298"/>
                  <a:gd name="T79" fmla="*/ 232 h 245"/>
                  <a:gd name="T80" fmla="*/ 90 w 298"/>
                  <a:gd name="T81" fmla="*/ 237 h 245"/>
                  <a:gd name="T82" fmla="*/ 72 w 298"/>
                  <a:gd name="T83" fmla="*/ 238 h 245"/>
                  <a:gd name="T84" fmla="*/ 57 w 298"/>
                  <a:gd name="T85" fmla="*/ 244 h 245"/>
                  <a:gd name="T86" fmla="*/ 40 w 298"/>
                  <a:gd name="T87" fmla="*/ 235 h 245"/>
                  <a:gd name="T88" fmla="*/ 33 w 298"/>
                  <a:gd name="T89" fmla="*/ 231 h 245"/>
                  <a:gd name="T90" fmla="*/ 28 w 298"/>
                  <a:gd name="T91" fmla="*/ 229 h 245"/>
                  <a:gd name="T92" fmla="*/ 20 w 298"/>
                  <a:gd name="T93" fmla="*/ 207 h 245"/>
                  <a:gd name="T94" fmla="*/ 28 w 298"/>
                  <a:gd name="T95" fmla="*/ 200 h 245"/>
                  <a:gd name="T96" fmla="*/ 22 w 298"/>
                  <a:gd name="T97" fmla="*/ 173 h 245"/>
                  <a:gd name="T98" fmla="*/ 7 w 298"/>
                  <a:gd name="T99" fmla="*/ 131 h 245"/>
                  <a:gd name="T100" fmla="*/ 0 w 298"/>
                  <a:gd name="T101" fmla="*/ 122 h 245"/>
                  <a:gd name="T102" fmla="*/ 208 w 298"/>
                  <a:gd name="T103" fmla="*/ 162 h 245"/>
                  <a:gd name="T104" fmla="*/ 218 w 298"/>
                  <a:gd name="T105" fmla="*/ 152 h 245"/>
                  <a:gd name="T106" fmla="*/ 226 w 298"/>
                  <a:gd name="T107" fmla="*/ 146 h 245"/>
                  <a:gd name="T108" fmla="*/ 229 w 298"/>
                  <a:gd name="T109" fmla="*/ 128 h 245"/>
                  <a:gd name="T110" fmla="*/ 217 w 298"/>
                  <a:gd name="T111" fmla="*/ 124 h 245"/>
                  <a:gd name="T112" fmla="*/ 203 w 298"/>
                  <a:gd name="T113" fmla="*/ 129 h 245"/>
                  <a:gd name="T114" fmla="*/ 191 w 298"/>
                  <a:gd name="T115" fmla="*/ 146 h 245"/>
                  <a:gd name="T116" fmla="*/ 196 w 298"/>
                  <a:gd name="T117" fmla="*/ 156 h 2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8" h="245">
                    <a:moveTo>
                      <a:pt x="0" y="122"/>
                    </a:moveTo>
                    <a:lnTo>
                      <a:pt x="3" y="120"/>
                    </a:lnTo>
                    <a:lnTo>
                      <a:pt x="7" y="119"/>
                    </a:lnTo>
                    <a:lnTo>
                      <a:pt x="7" y="117"/>
                    </a:lnTo>
                    <a:lnTo>
                      <a:pt x="5" y="116"/>
                    </a:lnTo>
                    <a:lnTo>
                      <a:pt x="7" y="113"/>
                    </a:lnTo>
                    <a:lnTo>
                      <a:pt x="12" y="111"/>
                    </a:lnTo>
                    <a:lnTo>
                      <a:pt x="14" y="115"/>
                    </a:lnTo>
                    <a:lnTo>
                      <a:pt x="17" y="115"/>
                    </a:lnTo>
                    <a:lnTo>
                      <a:pt x="15" y="119"/>
                    </a:lnTo>
                    <a:lnTo>
                      <a:pt x="18" y="124"/>
                    </a:lnTo>
                    <a:lnTo>
                      <a:pt x="25" y="126"/>
                    </a:lnTo>
                    <a:lnTo>
                      <a:pt x="29" y="127"/>
                    </a:lnTo>
                    <a:lnTo>
                      <a:pt x="32" y="126"/>
                    </a:lnTo>
                    <a:lnTo>
                      <a:pt x="34" y="127"/>
                    </a:lnTo>
                    <a:lnTo>
                      <a:pt x="36" y="127"/>
                    </a:lnTo>
                    <a:lnTo>
                      <a:pt x="38" y="126"/>
                    </a:lnTo>
                    <a:lnTo>
                      <a:pt x="41" y="126"/>
                    </a:lnTo>
                    <a:lnTo>
                      <a:pt x="42" y="129"/>
                    </a:lnTo>
                    <a:lnTo>
                      <a:pt x="45" y="128"/>
                    </a:lnTo>
                    <a:lnTo>
                      <a:pt x="47" y="129"/>
                    </a:lnTo>
                    <a:lnTo>
                      <a:pt x="47" y="126"/>
                    </a:lnTo>
                    <a:lnTo>
                      <a:pt x="49" y="124"/>
                    </a:lnTo>
                    <a:lnTo>
                      <a:pt x="51" y="123"/>
                    </a:lnTo>
                    <a:lnTo>
                      <a:pt x="53" y="120"/>
                    </a:lnTo>
                    <a:lnTo>
                      <a:pt x="57" y="117"/>
                    </a:lnTo>
                    <a:lnTo>
                      <a:pt x="63" y="118"/>
                    </a:lnTo>
                    <a:lnTo>
                      <a:pt x="65" y="118"/>
                    </a:lnTo>
                    <a:lnTo>
                      <a:pt x="68" y="53"/>
                    </a:lnTo>
                    <a:lnTo>
                      <a:pt x="74" y="58"/>
                    </a:lnTo>
                    <a:lnTo>
                      <a:pt x="76" y="62"/>
                    </a:lnTo>
                    <a:lnTo>
                      <a:pt x="80" y="72"/>
                    </a:lnTo>
                    <a:lnTo>
                      <a:pt x="80" y="78"/>
                    </a:lnTo>
                    <a:lnTo>
                      <a:pt x="78" y="83"/>
                    </a:lnTo>
                    <a:lnTo>
                      <a:pt x="78" y="86"/>
                    </a:lnTo>
                    <a:lnTo>
                      <a:pt x="82" y="85"/>
                    </a:lnTo>
                    <a:lnTo>
                      <a:pt x="87" y="86"/>
                    </a:lnTo>
                    <a:lnTo>
                      <a:pt x="91" y="85"/>
                    </a:lnTo>
                    <a:lnTo>
                      <a:pt x="95" y="86"/>
                    </a:lnTo>
                    <a:lnTo>
                      <a:pt x="98" y="84"/>
                    </a:lnTo>
                    <a:lnTo>
                      <a:pt x="101" y="83"/>
                    </a:lnTo>
                    <a:lnTo>
                      <a:pt x="105" y="81"/>
                    </a:lnTo>
                    <a:lnTo>
                      <a:pt x="106" y="79"/>
                    </a:lnTo>
                    <a:lnTo>
                      <a:pt x="113" y="76"/>
                    </a:lnTo>
                    <a:lnTo>
                      <a:pt x="116" y="73"/>
                    </a:lnTo>
                    <a:lnTo>
                      <a:pt x="119" y="65"/>
                    </a:lnTo>
                    <a:lnTo>
                      <a:pt x="123" y="61"/>
                    </a:lnTo>
                    <a:lnTo>
                      <a:pt x="128" y="61"/>
                    </a:lnTo>
                    <a:lnTo>
                      <a:pt x="134" y="61"/>
                    </a:lnTo>
                    <a:lnTo>
                      <a:pt x="136" y="64"/>
                    </a:lnTo>
                    <a:lnTo>
                      <a:pt x="139" y="64"/>
                    </a:lnTo>
                    <a:lnTo>
                      <a:pt x="145" y="68"/>
                    </a:lnTo>
                    <a:lnTo>
                      <a:pt x="148" y="67"/>
                    </a:lnTo>
                    <a:lnTo>
                      <a:pt x="151" y="68"/>
                    </a:lnTo>
                    <a:lnTo>
                      <a:pt x="155" y="67"/>
                    </a:lnTo>
                    <a:lnTo>
                      <a:pt x="160" y="67"/>
                    </a:lnTo>
                    <a:lnTo>
                      <a:pt x="163" y="67"/>
                    </a:lnTo>
                    <a:lnTo>
                      <a:pt x="164" y="69"/>
                    </a:lnTo>
                    <a:lnTo>
                      <a:pt x="166" y="70"/>
                    </a:lnTo>
                    <a:lnTo>
                      <a:pt x="170" y="67"/>
                    </a:lnTo>
                    <a:lnTo>
                      <a:pt x="169" y="66"/>
                    </a:lnTo>
                    <a:lnTo>
                      <a:pt x="170" y="62"/>
                    </a:lnTo>
                    <a:lnTo>
                      <a:pt x="170" y="61"/>
                    </a:lnTo>
                    <a:lnTo>
                      <a:pt x="172" y="59"/>
                    </a:lnTo>
                    <a:lnTo>
                      <a:pt x="171" y="54"/>
                    </a:lnTo>
                    <a:lnTo>
                      <a:pt x="173" y="51"/>
                    </a:lnTo>
                    <a:lnTo>
                      <a:pt x="177" y="50"/>
                    </a:lnTo>
                    <a:lnTo>
                      <a:pt x="180" y="49"/>
                    </a:lnTo>
                    <a:lnTo>
                      <a:pt x="182" y="48"/>
                    </a:lnTo>
                    <a:lnTo>
                      <a:pt x="184" y="47"/>
                    </a:lnTo>
                    <a:lnTo>
                      <a:pt x="185" y="46"/>
                    </a:lnTo>
                    <a:lnTo>
                      <a:pt x="186" y="43"/>
                    </a:lnTo>
                    <a:lnTo>
                      <a:pt x="187" y="41"/>
                    </a:lnTo>
                    <a:lnTo>
                      <a:pt x="190" y="41"/>
                    </a:lnTo>
                    <a:lnTo>
                      <a:pt x="191" y="40"/>
                    </a:lnTo>
                    <a:lnTo>
                      <a:pt x="193" y="40"/>
                    </a:lnTo>
                    <a:lnTo>
                      <a:pt x="193" y="37"/>
                    </a:lnTo>
                    <a:lnTo>
                      <a:pt x="192" y="35"/>
                    </a:lnTo>
                    <a:lnTo>
                      <a:pt x="193" y="31"/>
                    </a:lnTo>
                    <a:lnTo>
                      <a:pt x="198" y="24"/>
                    </a:lnTo>
                    <a:lnTo>
                      <a:pt x="201" y="23"/>
                    </a:lnTo>
                    <a:lnTo>
                      <a:pt x="203" y="22"/>
                    </a:lnTo>
                    <a:lnTo>
                      <a:pt x="204" y="21"/>
                    </a:lnTo>
                    <a:lnTo>
                      <a:pt x="207" y="20"/>
                    </a:lnTo>
                    <a:lnTo>
                      <a:pt x="208" y="18"/>
                    </a:lnTo>
                    <a:lnTo>
                      <a:pt x="209" y="18"/>
                    </a:lnTo>
                    <a:lnTo>
                      <a:pt x="211" y="16"/>
                    </a:lnTo>
                    <a:lnTo>
                      <a:pt x="215" y="12"/>
                    </a:lnTo>
                    <a:lnTo>
                      <a:pt x="219" y="12"/>
                    </a:lnTo>
                    <a:lnTo>
                      <a:pt x="221" y="12"/>
                    </a:lnTo>
                    <a:lnTo>
                      <a:pt x="222" y="12"/>
                    </a:lnTo>
                    <a:lnTo>
                      <a:pt x="226" y="12"/>
                    </a:lnTo>
                    <a:lnTo>
                      <a:pt x="228" y="10"/>
                    </a:lnTo>
                    <a:lnTo>
                      <a:pt x="230" y="9"/>
                    </a:lnTo>
                    <a:lnTo>
                      <a:pt x="231" y="6"/>
                    </a:lnTo>
                    <a:lnTo>
                      <a:pt x="231" y="4"/>
                    </a:lnTo>
                    <a:lnTo>
                      <a:pt x="233" y="3"/>
                    </a:lnTo>
                    <a:lnTo>
                      <a:pt x="236" y="2"/>
                    </a:lnTo>
                    <a:lnTo>
                      <a:pt x="238" y="1"/>
                    </a:lnTo>
                    <a:lnTo>
                      <a:pt x="247" y="0"/>
                    </a:lnTo>
                    <a:lnTo>
                      <a:pt x="251" y="1"/>
                    </a:lnTo>
                    <a:lnTo>
                      <a:pt x="251" y="3"/>
                    </a:lnTo>
                    <a:lnTo>
                      <a:pt x="254" y="3"/>
                    </a:lnTo>
                    <a:lnTo>
                      <a:pt x="258" y="5"/>
                    </a:lnTo>
                    <a:lnTo>
                      <a:pt x="260" y="6"/>
                    </a:lnTo>
                    <a:lnTo>
                      <a:pt x="263" y="5"/>
                    </a:lnTo>
                    <a:lnTo>
                      <a:pt x="268" y="4"/>
                    </a:lnTo>
                    <a:lnTo>
                      <a:pt x="273" y="5"/>
                    </a:lnTo>
                    <a:lnTo>
                      <a:pt x="277" y="8"/>
                    </a:lnTo>
                    <a:lnTo>
                      <a:pt x="278" y="14"/>
                    </a:lnTo>
                    <a:lnTo>
                      <a:pt x="279" y="18"/>
                    </a:lnTo>
                    <a:lnTo>
                      <a:pt x="281" y="22"/>
                    </a:lnTo>
                    <a:lnTo>
                      <a:pt x="282" y="31"/>
                    </a:lnTo>
                    <a:lnTo>
                      <a:pt x="281" y="32"/>
                    </a:lnTo>
                    <a:lnTo>
                      <a:pt x="281" y="35"/>
                    </a:lnTo>
                    <a:lnTo>
                      <a:pt x="283" y="39"/>
                    </a:lnTo>
                    <a:lnTo>
                      <a:pt x="284" y="42"/>
                    </a:lnTo>
                    <a:lnTo>
                      <a:pt x="284" y="56"/>
                    </a:lnTo>
                    <a:lnTo>
                      <a:pt x="282" y="61"/>
                    </a:lnTo>
                    <a:lnTo>
                      <a:pt x="282" y="66"/>
                    </a:lnTo>
                    <a:lnTo>
                      <a:pt x="282" y="73"/>
                    </a:lnTo>
                    <a:lnTo>
                      <a:pt x="279" y="71"/>
                    </a:lnTo>
                    <a:lnTo>
                      <a:pt x="276" y="69"/>
                    </a:lnTo>
                    <a:lnTo>
                      <a:pt x="272" y="66"/>
                    </a:lnTo>
                    <a:lnTo>
                      <a:pt x="268" y="68"/>
                    </a:lnTo>
                    <a:lnTo>
                      <a:pt x="268" y="71"/>
                    </a:lnTo>
                    <a:lnTo>
                      <a:pt x="263" y="80"/>
                    </a:lnTo>
                    <a:lnTo>
                      <a:pt x="261" y="83"/>
                    </a:lnTo>
                    <a:lnTo>
                      <a:pt x="262" y="86"/>
                    </a:lnTo>
                    <a:lnTo>
                      <a:pt x="264" y="87"/>
                    </a:lnTo>
                    <a:lnTo>
                      <a:pt x="267" y="91"/>
                    </a:lnTo>
                    <a:lnTo>
                      <a:pt x="272" y="95"/>
                    </a:lnTo>
                    <a:lnTo>
                      <a:pt x="279" y="95"/>
                    </a:lnTo>
                    <a:lnTo>
                      <a:pt x="282" y="94"/>
                    </a:lnTo>
                    <a:lnTo>
                      <a:pt x="283" y="91"/>
                    </a:lnTo>
                    <a:lnTo>
                      <a:pt x="283" y="88"/>
                    </a:lnTo>
                    <a:lnTo>
                      <a:pt x="285" y="86"/>
                    </a:lnTo>
                    <a:lnTo>
                      <a:pt x="288" y="86"/>
                    </a:lnTo>
                    <a:lnTo>
                      <a:pt x="294" y="87"/>
                    </a:lnTo>
                    <a:lnTo>
                      <a:pt x="298" y="87"/>
                    </a:lnTo>
                    <a:lnTo>
                      <a:pt x="298" y="88"/>
                    </a:lnTo>
                    <a:lnTo>
                      <a:pt x="295" y="91"/>
                    </a:lnTo>
                    <a:lnTo>
                      <a:pt x="297" y="91"/>
                    </a:lnTo>
                    <a:lnTo>
                      <a:pt x="294" y="98"/>
                    </a:lnTo>
                    <a:lnTo>
                      <a:pt x="294" y="104"/>
                    </a:lnTo>
                    <a:lnTo>
                      <a:pt x="292" y="108"/>
                    </a:lnTo>
                    <a:lnTo>
                      <a:pt x="290" y="116"/>
                    </a:lnTo>
                    <a:lnTo>
                      <a:pt x="287" y="119"/>
                    </a:lnTo>
                    <a:lnTo>
                      <a:pt x="286" y="122"/>
                    </a:lnTo>
                    <a:lnTo>
                      <a:pt x="281" y="127"/>
                    </a:lnTo>
                    <a:lnTo>
                      <a:pt x="279" y="127"/>
                    </a:lnTo>
                    <a:lnTo>
                      <a:pt x="278" y="129"/>
                    </a:lnTo>
                    <a:lnTo>
                      <a:pt x="274" y="131"/>
                    </a:lnTo>
                    <a:lnTo>
                      <a:pt x="272" y="133"/>
                    </a:lnTo>
                    <a:lnTo>
                      <a:pt x="269" y="136"/>
                    </a:lnTo>
                    <a:lnTo>
                      <a:pt x="266" y="140"/>
                    </a:lnTo>
                    <a:lnTo>
                      <a:pt x="263" y="144"/>
                    </a:lnTo>
                    <a:lnTo>
                      <a:pt x="263" y="146"/>
                    </a:lnTo>
                    <a:lnTo>
                      <a:pt x="261" y="149"/>
                    </a:lnTo>
                    <a:lnTo>
                      <a:pt x="257" y="149"/>
                    </a:lnTo>
                    <a:lnTo>
                      <a:pt x="254" y="155"/>
                    </a:lnTo>
                    <a:lnTo>
                      <a:pt x="247" y="167"/>
                    </a:lnTo>
                    <a:lnTo>
                      <a:pt x="241" y="172"/>
                    </a:lnTo>
                    <a:lnTo>
                      <a:pt x="240" y="177"/>
                    </a:lnTo>
                    <a:lnTo>
                      <a:pt x="236" y="179"/>
                    </a:lnTo>
                    <a:lnTo>
                      <a:pt x="233" y="183"/>
                    </a:lnTo>
                    <a:lnTo>
                      <a:pt x="231" y="183"/>
                    </a:lnTo>
                    <a:lnTo>
                      <a:pt x="230" y="184"/>
                    </a:lnTo>
                    <a:lnTo>
                      <a:pt x="211" y="202"/>
                    </a:lnTo>
                    <a:lnTo>
                      <a:pt x="208" y="203"/>
                    </a:lnTo>
                    <a:lnTo>
                      <a:pt x="209" y="204"/>
                    </a:lnTo>
                    <a:lnTo>
                      <a:pt x="206" y="207"/>
                    </a:lnTo>
                    <a:lnTo>
                      <a:pt x="193" y="214"/>
                    </a:lnTo>
                    <a:lnTo>
                      <a:pt x="190" y="217"/>
                    </a:lnTo>
                    <a:lnTo>
                      <a:pt x="186" y="219"/>
                    </a:lnTo>
                    <a:lnTo>
                      <a:pt x="186" y="220"/>
                    </a:lnTo>
                    <a:lnTo>
                      <a:pt x="179" y="222"/>
                    </a:lnTo>
                    <a:lnTo>
                      <a:pt x="175" y="224"/>
                    </a:lnTo>
                    <a:lnTo>
                      <a:pt x="171" y="225"/>
                    </a:lnTo>
                    <a:lnTo>
                      <a:pt x="169" y="223"/>
                    </a:lnTo>
                    <a:lnTo>
                      <a:pt x="164" y="223"/>
                    </a:lnTo>
                    <a:lnTo>
                      <a:pt x="159" y="225"/>
                    </a:lnTo>
                    <a:lnTo>
                      <a:pt x="157" y="228"/>
                    </a:lnTo>
                    <a:lnTo>
                      <a:pt x="160" y="230"/>
                    </a:lnTo>
                    <a:lnTo>
                      <a:pt x="159" y="231"/>
                    </a:lnTo>
                    <a:lnTo>
                      <a:pt x="153" y="232"/>
                    </a:lnTo>
                    <a:lnTo>
                      <a:pt x="149" y="230"/>
                    </a:lnTo>
                    <a:lnTo>
                      <a:pt x="146" y="229"/>
                    </a:lnTo>
                    <a:lnTo>
                      <a:pt x="143" y="232"/>
                    </a:lnTo>
                    <a:lnTo>
                      <a:pt x="144" y="234"/>
                    </a:lnTo>
                    <a:lnTo>
                      <a:pt x="143" y="235"/>
                    </a:lnTo>
                    <a:lnTo>
                      <a:pt x="135" y="233"/>
                    </a:lnTo>
                    <a:lnTo>
                      <a:pt x="132" y="232"/>
                    </a:lnTo>
                    <a:lnTo>
                      <a:pt x="123" y="229"/>
                    </a:lnTo>
                    <a:lnTo>
                      <a:pt x="118" y="231"/>
                    </a:lnTo>
                    <a:lnTo>
                      <a:pt x="118" y="232"/>
                    </a:lnTo>
                    <a:lnTo>
                      <a:pt x="115" y="233"/>
                    </a:lnTo>
                    <a:lnTo>
                      <a:pt x="111" y="231"/>
                    </a:lnTo>
                    <a:lnTo>
                      <a:pt x="101" y="231"/>
                    </a:lnTo>
                    <a:lnTo>
                      <a:pt x="98" y="232"/>
                    </a:lnTo>
                    <a:lnTo>
                      <a:pt x="98" y="235"/>
                    </a:lnTo>
                    <a:lnTo>
                      <a:pt x="95" y="234"/>
                    </a:lnTo>
                    <a:lnTo>
                      <a:pt x="93" y="235"/>
                    </a:lnTo>
                    <a:lnTo>
                      <a:pt x="91" y="235"/>
                    </a:lnTo>
                    <a:lnTo>
                      <a:pt x="90" y="237"/>
                    </a:lnTo>
                    <a:lnTo>
                      <a:pt x="85" y="237"/>
                    </a:lnTo>
                    <a:lnTo>
                      <a:pt x="82" y="238"/>
                    </a:lnTo>
                    <a:lnTo>
                      <a:pt x="78" y="236"/>
                    </a:lnTo>
                    <a:lnTo>
                      <a:pt x="73" y="237"/>
                    </a:lnTo>
                    <a:lnTo>
                      <a:pt x="72" y="238"/>
                    </a:lnTo>
                    <a:lnTo>
                      <a:pt x="67" y="237"/>
                    </a:lnTo>
                    <a:lnTo>
                      <a:pt x="63" y="242"/>
                    </a:lnTo>
                    <a:lnTo>
                      <a:pt x="60" y="242"/>
                    </a:lnTo>
                    <a:lnTo>
                      <a:pt x="58" y="245"/>
                    </a:lnTo>
                    <a:lnTo>
                      <a:pt x="57" y="244"/>
                    </a:lnTo>
                    <a:lnTo>
                      <a:pt x="56" y="245"/>
                    </a:lnTo>
                    <a:lnTo>
                      <a:pt x="46" y="241"/>
                    </a:lnTo>
                    <a:lnTo>
                      <a:pt x="44" y="242"/>
                    </a:lnTo>
                    <a:lnTo>
                      <a:pt x="44" y="237"/>
                    </a:lnTo>
                    <a:lnTo>
                      <a:pt x="40" y="235"/>
                    </a:lnTo>
                    <a:lnTo>
                      <a:pt x="37" y="237"/>
                    </a:lnTo>
                    <a:lnTo>
                      <a:pt x="36" y="236"/>
                    </a:lnTo>
                    <a:lnTo>
                      <a:pt x="37" y="235"/>
                    </a:lnTo>
                    <a:lnTo>
                      <a:pt x="36" y="232"/>
                    </a:lnTo>
                    <a:lnTo>
                      <a:pt x="33" y="231"/>
                    </a:lnTo>
                    <a:lnTo>
                      <a:pt x="30" y="234"/>
                    </a:lnTo>
                    <a:lnTo>
                      <a:pt x="30" y="236"/>
                    </a:lnTo>
                    <a:lnTo>
                      <a:pt x="27" y="235"/>
                    </a:lnTo>
                    <a:lnTo>
                      <a:pt x="27" y="232"/>
                    </a:lnTo>
                    <a:lnTo>
                      <a:pt x="28" y="229"/>
                    </a:lnTo>
                    <a:lnTo>
                      <a:pt x="28" y="224"/>
                    </a:lnTo>
                    <a:lnTo>
                      <a:pt x="30" y="220"/>
                    </a:lnTo>
                    <a:lnTo>
                      <a:pt x="27" y="214"/>
                    </a:lnTo>
                    <a:lnTo>
                      <a:pt x="23" y="212"/>
                    </a:lnTo>
                    <a:lnTo>
                      <a:pt x="20" y="207"/>
                    </a:lnTo>
                    <a:lnTo>
                      <a:pt x="20" y="202"/>
                    </a:lnTo>
                    <a:lnTo>
                      <a:pt x="22" y="201"/>
                    </a:lnTo>
                    <a:lnTo>
                      <a:pt x="24" y="202"/>
                    </a:lnTo>
                    <a:lnTo>
                      <a:pt x="26" y="202"/>
                    </a:lnTo>
                    <a:lnTo>
                      <a:pt x="28" y="200"/>
                    </a:lnTo>
                    <a:lnTo>
                      <a:pt x="30" y="194"/>
                    </a:lnTo>
                    <a:lnTo>
                      <a:pt x="27" y="189"/>
                    </a:lnTo>
                    <a:lnTo>
                      <a:pt x="28" y="186"/>
                    </a:lnTo>
                    <a:lnTo>
                      <a:pt x="22" y="177"/>
                    </a:lnTo>
                    <a:lnTo>
                      <a:pt x="22" y="173"/>
                    </a:lnTo>
                    <a:lnTo>
                      <a:pt x="17" y="168"/>
                    </a:lnTo>
                    <a:lnTo>
                      <a:pt x="14" y="157"/>
                    </a:lnTo>
                    <a:lnTo>
                      <a:pt x="11" y="148"/>
                    </a:lnTo>
                    <a:lnTo>
                      <a:pt x="11" y="142"/>
                    </a:lnTo>
                    <a:lnTo>
                      <a:pt x="7" y="131"/>
                    </a:lnTo>
                    <a:lnTo>
                      <a:pt x="1" y="127"/>
                    </a:lnTo>
                    <a:lnTo>
                      <a:pt x="0" y="122"/>
                    </a:lnTo>
                    <a:lnTo>
                      <a:pt x="0" y="122"/>
                    </a:lnTo>
                    <a:lnTo>
                      <a:pt x="0" y="122"/>
                    </a:lnTo>
                    <a:lnTo>
                      <a:pt x="0" y="122"/>
                    </a:lnTo>
                    <a:close/>
                    <a:moveTo>
                      <a:pt x="196" y="156"/>
                    </a:moveTo>
                    <a:lnTo>
                      <a:pt x="199" y="158"/>
                    </a:lnTo>
                    <a:lnTo>
                      <a:pt x="201" y="161"/>
                    </a:lnTo>
                    <a:lnTo>
                      <a:pt x="205" y="162"/>
                    </a:lnTo>
                    <a:lnTo>
                      <a:pt x="208" y="162"/>
                    </a:lnTo>
                    <a:lnTo>
                      <a:pt x="209" y="160"/>
                    </a:lnTo>
                    <a:lnTo>
                      <a:pt x="210" y="159"/>
                    </a:lnTo>
                    <a:lnTo>
                      <a:pt x="212" y="154"/>
                    </a:lnTo>
                    <a:lnTo>
                      <a:pt x="215" y="153"/>
                    </a:lnTo>
                    <a:lnTo>
                      <a:pt x="218" y="152"/>
                    </a:lnTo>
                    <a:lnTo>
                      <a:pt x="221" y="151"/>
                    </a:lnTo>
                    <a:lnTo>
                      <a:pt x="223" y="152"/>
                    </a:lnTo>
                    <a:lnTo>
                      <a:pt x="227" y="150"/>
                    </a:lnTo>
                    <a:lnTo>
                      <a:pt x="228" y="148"/>
                    </a:lnTo>
                    <a:lnTo>
                      <a:pt x="226" y="146"/>
                    </a:lnTo>
                    <a:lnTo>
                      <a:pt x="226" y="144"/>
                    </a:lnTo>
                    <a:lnTo>
                      <a:pt x="229" y="142"/>
                    </a:lnTo>
                    <a:lnTo>
                      <a:pt x="232" y="139"/>
                    </a:lnTo>
                    <a:lnTo>
                      <a:pt x="232" y="135"/>
                    </a:lnTo>
                    <a:lnTo>
                      <a:pt x="229" y="128"/>
                    </a:lnTo>
                    <a:lnTo>
                      <a:pt x="225" y="126"/>
                    </a:lnTo>
                    <a:lnTo>
                      <a:pt x="222" y="126"/>
                    </a:lnTo>
                    <a:lnTo>
                      <a:pt x="220" y="125"/>
                    </a:lnTo>
                    <a:lnTo>
                      <a:pt x="219" y="125"/>
                    </a:lnTo>
                    <a:lnTo>
                      <a:pt x="217" y="124"/>
                    </a:lnTo>
                    <a:lnTo>
                      <a:pt x="214" y="124"/>
                    </a:lnTo>
                    <a:lnTo>
                      <a:pt x="213" y="125"/>
                    </a:lnTo>
                    <a:lnTo>
                      <a:pt x="211" y="126"/>
                    </a:lnTo>
                    <a:lnTo>
                      <a:pt x="209" y="128"/>
                    </a:lnTo>
                    <a:lnTo>
                      <a:pt x="203" y="129"/>
                    </a:lnTo>
                    <a:lnTo>
                      <a:pt x="199" y="132"/>
                    </a:lnTo>
                    <a:lnTo>
                      <a:pt x="197" y="137"/>
                    </a:lnTo>
                    <a:lnTo>
                      <a:pt x="192" y="141"/>
                    </a:lnTo>
                    <a:lnTo>
                      <a:pt x="189" y="143"/>
                    </a:lnTo>
                    <a:lnTo>
                      <a:pt x="191" y="146"/>
                    </a:lnTo>
                    <a:lnTo>
                      <a:pt x="193" y="148"/>
                    </a:lnTo>
                    <a:lnTo>
                      <a:pt x="194" y="149"/>
                    </a:lnTo>
                    <a:lnTo>
                      <a:pt x="196" y="152"/>
                    </a:lnTo>
                    <a:lnTo>
                      <a:pt x="196" y="156"/>
                    </a:lnTo>
                    <a:lnTo>
                      <a:pt x="196" y="156"/>
                    </a:lnTo>
                    <a:close/>
                  </a:path>
                </a:pathLst>
              </a:custGeom>
              <a:solidFill>
                <a:srgbClr val="65625E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981" name="Freeform 384"/>
              <p:cNvSpPr>
                <a:spLocks noEditPoints="1"/>
              </p:cNvSpPr>
              <p:nvPr userDrawn="1"/>
            </p:nvSpPr>
            <p:spPr bwMode="auto">
              <a:xfrm>
                <a:off x="3097" y="1506"/>
                <a:ext cx="162" cy="100"/>
              </a:xfrm>
              <a:custGeom>
                <a:avLst/>
                <a:gdLst>
                  <a:gd name="T0" fmla="*/ 59 w 162"/>
                  <a:gd name="T1" fmla="*/ 98 h 100"/>
                  <a:gd name="T2" fmla="*/ 52 w 162"/>
                  <a:gd name="T3" fmla="*/ 84 h 100"/>
                  <a:gd name="T4" fmla="*/ 66 w 162"/>
                  <a:gd name="T5" fmla="*/ 90 h 100"/>
                  <a:gd name="T6" fmla="*/ 86 w 162"/>
                  <a:gd name="T7" fmla="*/ 91 h 100"/>
                  <a:gd name="T8" fmla="*/ 96 w 162"/>
                  <a:gd name="T9" fmla="*/ 85 h 100"/>
                  <a:gd name="T10" fmla="*/ 105 w 162"/>
                  <a:gd name="T11" fmla="*/ 86 h 100"/>
                  <a:gd name="T12" fmla="*/ 114 w 162"/>
                  <a:gd name="T13" fmla="*/ 84 h 100"/>
                  <a:gd name="T14" fmla="*/ 137 w 162"/>
                  <a:gd name="T15" fmla="*/ 68 h 100"/>
                  <a:gd name="T16" fmla="*/ 144 w 162"/>
                  <a:gd name="T17" fmla="*/ 68 h 100"/>
                  <a:gd name="T18" fmla="*/ 149 w 162"/>
                  <a:gd name="T19" fmla="*/ 60 h 100"/>
                  <a:gd name="T20" fmla="*/ 155 w 162"/>
                  <a:gd name="T21" fmla="*/ 58 h 100"/>
                  <a:gd name="T22" fmla="*/ 155 w 162"/>
                  <a:gd name="T23" fmla="*/ 43 h 100"/>
                  <a:gd name="T24" fmla="*/ 159 w 162"/>
                  <a:gd name="T25" fmla="*/ 32 h 100"/>
                  <a:gd name="T26" fmla="*/ 147 w 162"/>
                  <a:gd name="T27" fmla="*/ 27 h 100"/>
                  <a:gd name="T28" fmla="*/ 150 w 162"/>
                  <a:gd name="T29" fmla="*/ 17 h 100"/>
                  <a:gd name="T30" fmla="*/ 144 w 162"/>
                  <a:gd name="T31" fmla="*/ 11 h 100"/>
                  <a:gd name="T32" fmla="*/ 143 w 162"/>
                  <a:gd name="T33" fmla="*/ 5 h 100"/>
                  <a:gd name="T34" fmla="*/ 133 w 162"/>
                  <a:gd name="T35" fmla="*/ 8 h 100"/>
                  <a:gd name="T36" fmla="*/ 122 w 162"/>
                  <a:gd name="T37" fmla="*/ 3 h 100"/>
                  <a:gd name="T38" fmla="*/ 113 w 162"/>
                  <a:gd name="T39" fmla="*/ 14 h 100"/>
                  <a:gd name="T40" fmla="*/ 104 w 162"/>
                  <a:gd name="T41" fmla="*/ 18 h 100"/>
                  <a:gd name="T42" fmla="*/ 92 w 162"/>
                  <a:gd name="T43" fmla="*/ 18 h 100"/>
                  <a:gd name="T44" fmla="*/ 90 w 162"/>
                  <a:gd name="T45" fmla="*/ 17 h 100"/>
                  <a:gd name="T46" fmla="*/ 76 w 162"/>
                  <a:gd name="T47" fmla="*/ 18 h 100"/>
                  <a:gd name="T48" fmla="*/ 69 w 162"/>
                  <a:gd name="T49" fmla="*/ 20 h 100"/>
                  <a:gd name="T50" fmla="*/ 64 w 162"/>
                  <a:gd name="T51" fmla="*/ 24 h 100"/>
                  <a:gd name="T52" fmla="*/ 54 w 162"/>
                  <a:gd name="T53" fmla="*/ 30 h 100"/>
                  <a:gd name="T54" fmla="*/ 46 w 162"/>
                  <a:gd name="T55" fmla="*/ 36 h 100"/>
                  <a:gd name="T56" fmla="*/ 47 w 162"/>
                  <a:gd name="T57" fmla="*/ 25 h 100"/>
                  <a:gd name="T58" fmla="*/ 46 w 162"/>
                  <a:gd name="T59" fmla="*/ 16 h 100"/>
                  <a:gd name="T60" fmla="*/ 38 w 162"/>
                  <a:gd name="T61" fmla="*/ 7 h 100"/>
                  <a:gd name="T62" fmla="*/ 23 w 162"/>
                  <a:gd name="T63" fmla="*/ 1 h 100"/>
                  <a:gd name="T64" fmla="*/ 29 w 162"/>
                  <a:gd name="T65" fmla="*/ 3 h 100"/>
                  <a:gd name="T66" fmla="*/ 26 w 162"/>
                  <a:gd name="T67" fmla="*/ 6 h 100"/>
                  <a:gd name="T68" fmla="*/ 32 w 162"/>
                  <a:gd name="T69" fmla="*/ 18 h 100"/>
                  <a:gd name="T70" fmla="*/ 25 w 162"/>
                  <a:gd name="T71" fmla="*/ 12 h 100"/>
                  <a:gd name="T72" fmla="*/ 18 w 162"/>
                  <a:gd name="T73" fmla="*/ 14 h 100"/>
                  <a:gd name="T74" fmla="*/ 16 w 162"/>
                  <a:gd name="T75" fmla="*/ 16 h 100"/>
                  <a:gd name="T76" fmla="*/ 18 w 162"/>
                  <a:gd name="T77" fmla="*/ 21 h 100"/>
                  <a:gd name="T78" fmla="*/ 9 w 162"/>
                  <a:gd name="T79" fmla="*/ 21 h 100"/>
                  <a:gd name="T80" fmla="*/ 8 w 162"/>
                  <a:gd name="T81" fmla="*/ 29 h 100"/>
                  <a:gd name="T82" fmla="*/ 6 w 162"/>
                  <a:gd name="T83" fmla="*/ 32 h 100"/>
                  <a:gd name="T84" fmla="*/ 20 w 162"/>
                  <a:gd name="T85" fmla="*/ 27 h 100"/>
                  <a:gd name="T86" fmla="*/ 26 w 162"/>
                  <a:gd name="T87" fmla="*/ 31 h 100"/>
                  <a:gd name="T88" fmla="*/ 36 w 162"/>
                  <a:gd name="T89" fmla="*/ 27 h 100"/>
                  <a:gd name="T90" fmla="*/ 43 w 162"/>
                  <a:gd name="T91" fmla="*/ 33 h 100"/>
                  <a:gd name="T92" fmla="*/ 27 w 162"/>
                  <a:gd name="T93" fmla="*/ 38 h 100"/>
                  <a:gd name="T94" fmla="*/ 41 w 162"/>
                  <a:gd name="T95" fmla="*/ 38 h 100"/>
                  <a:gd name="T96" fmla="*/ 26 w 162"/>
                  <a:gd name="T97" fmla="*/ 46 h 100"/>
                  <a:gd name="T98" fmla="*/ 22 w 162"/>
                  <a:gd name="T99" fmla="*/ 43 h 100"/>
                  <a:gd name="T100" fmla="*/ 11 w 162"/>
                  <a:gd name="T101" fmla="*/ 46 h 100"/>
                  <a:gd name="T102" fmla="*/ 7 w 162"/>
                  <a:gd name="T103" fmla="*/ 52 h 100"/>
                  <a:gd name="T104" fmla="*/ 28 w 162"/>
                  <a:gd name="T105" fmla="*/ 53 h 100"/>
                  <a:gd name="T106" fmla="*/ 30 w 162"/>
                  <a:gd name="T107" fmla="*/ 63 h 100"/>
                  <a:gd name="T108" fmla="*/ 31 w 162"/>
                  <a:gd name="T109" fmla="*/ 66 h 100"/>
                  <a:gd name="T110" fmla="*/ 41 w 162"/>
                  <a:gd name="T111" fmla="*/ 66 h 100"/>
                  <a:gd name="T112" fmla="*/ 29 w 162"/>
                  <a:gd name="T113" fmla="*/ 74 h 100"/>
                  <a:gd name="T114" fmla="*/ 21 w 162"/>
                  <a:gd name="T115" fmla="*/ 72 h 100"/>
                  <a:gd name="T116" fmla="*/ 21 w 162"/>
                  <a:gd name="T117" fmla="*/ 84 h 100"/>
                  <a:gd name="T118" fmla="*/ 39 w 162"/>
                  <a:gd name="T119" fmla="*/ 82 h 100"/>
                  <a:gd name="T120" fmla="*/ 48 w 162"/>
                  <a:gd name="T121" fmla="*/ 85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62" h="100">
                    <a:moveTo>
                      <a:pt x="57" y="100"/>
                    </a:moveTo>
                    <a:lnTo>
                      <a:pt x="56" y="98"/>
                    </a:lnTo>
                    <a:lnTo>
                      <a:pt x="57" y="95"/>
                    </a:lnTo>
                    <a:lnTo>
                      <a:pt x="59" y="94"/>
                    </a:lnTo>
                    <a:lnTo>
                      <a:pt x="59" y="98"/>
                    </a:lnTo>
                    <a:lnTo>
                      <a:pt x="57" y="100"/>
                    </a:lnTo>
                    <a:lnTo>
                      <a:pt x="57" y="100"/>
                    </a:lnTo>
                    <a:lnTo>
                      <a:pt x="57" y="100"/>
                    </a:lnTo>
                    <a:close/>
                    <a:moveTo>
                      <a:pt x="48" y="85"/>
                    </a:moveTo>
                    <a:lnTo>
                      <a:pt x="52" y="84"/>
                    </a:lnTo>
                    <a:lnTo>
                      <a:pt x="52" y="86"/>
                    </a:lnTo>
                    <a:lnTo>
                      <a:pt x="56" y="91"/>
                    </a:lnTo>
                    <a:lnTo>
                      <a:pt x="59" y="92"/>
                    </a:lnTo>
                    <a:lnTo>
                      <a:pt x="62" y="89"/>
                    </a:lnTo>
                    <a:lnTo>
                      <a:pt x="66" y="90"/>
                    </a:lnTo>
                    <a:lnTo>
                      <a:pt x="71" y="95"/>
                    </a:lnTo>
                    <a:lnTo>
                      <a:pt x="79" y="95"/>
                    </a:lnTo>
                    <a:lnTo>
                      <a:pt x="82" y="96"/>
                    </a:lnTo>
                    <a:lnTo>
                      <a:pt x="87" y="95"/>
                    </a:lnTo>
                    <a:lnTo>
                      <a:pt x="86" y="91"/>
                    </a:lnTo>
                    <a:lnTo>
                      <a:pt x="88" y="89"/>
                    </a:lnTo>
                    <a:lnTo>
                      <a:pt x="88" y="91"/>
                    </a:lnTo>
                    <a:lnTo>
                      <a:pt x="92" y="92"/>
                    </a:lnTo>
                    <a:lnTo>
                      <a:pt x="96" y="89"/>
                    </a:lnTo>
                    <a:lnTo>
                      <a:pt x="96" y="85"/>
                    </a:lnTo>
                    <a:lnTo>
                      <a:pt x="101" y="84"/>
                    </a:lnTo>
                    <a:lnTo>
                      <a:pt x="99" y="86"/>
                    </a:lnTo>
                    <a:lnTo>
                      <a:pt x="101" y="87"/>
                    </a:lnTo>
                    <a:lnTo>
                      <a:pt x="102" y="86"/>
                    </a:lnTo>
                    <a:lnTo>
                      <a:pt x="105" y="86"/>
                    </a:lnTo>
                    <a:lnTo>
                      <a:pt x="109" y="82"/>
                    </a:lnTo>
                    <a:lnTo>
                      <a:pt x="111" y="83"/>
                    </a:lnTo>
                    <a:lnTo>
                      <a:pt x="112" y="82"/>
                    </a:lnTo>
                    <a:lnTo>
                      <a:pt x="114" y="83"/>
                    </a:lnTo>
                    <a:lnTo>
                      <a:pt x="114" y="84"/>
                    </a:lnTo>
                    <a:lnTo>
                      <a:pt x="116" y="83"/>
                    </a:lnTo>
                    <a:lnTo>
                      <a:pt x="124" y="76"/>
                    </a:lnTo>
                    <a:lnTo>
                      <a:pt x="127" y="72"/>
                    </a:lnTo>
                    <a:lnTo>
                      <a:pt x="135" y="70"/>
                    </a:lnTo>
                    <a:lnTo>
                      <a:pt x="137" y="68"/>
                    </a:lnTo>
                    <a:lnTo>
                      <a:pt x="136" y="66"/>
                    </a:lnTo>
                    <a:lnTo>
                      <a:pt x="137" y="65"/>
                    </a:lnTo>
                    <a:lnTo>
                      <a:pt x="138" y="65"/>
                    </a:lnTo>
                    <a:lnTo>
                      <a:pt x="139" y="67"/>
                    </a:lnTo>
                    <a:lnTo>
                      <a:pt x="144" y="68"/>
                    </a:lnTo>
                    <a:lnTo>
                      <a:pt x="147" y="65"/>
                    </a:lnTo>
                    <a:lnTo>
                      <a:pt x="147" y="64"/>
                    </a:lnTo>
                    <a:lnTo>
                      <a:pt x="146" y="63"/>
                    </a:lnTo>
                    <a:lnTo>
                      <a:pt x="147" y="60"/>
                    </a:lnTo>
                    <a:lnTo>
                      <a:pt x="149" y="60"/>
                    </a:lnTo>
                    <a:lnTo>
                      <a:pt x="147" y="55"/>
                    </a:lnTo>
                    <a:lnTo>
                      <a:pt x="149" y="53"/>
                    </a:lnTo>
                    <a:lnTo>
                      <a:pt x="152" y="55"/>
                    </a:lnTo>
                    <a:lnTo>
                      <a:pt x="153" y="58"/>
                    </a:lnTo>
                    <a:lnTo>
                      <a:pt x="155" y="58"/>
                    </a:lnTo>
                    <a:lnTo>
                      <a:pt x="157" y="54"/>
                    </a:lnTo>
                    <a:lnTo>
                      <a:pt x="156" y="51"/>
                    </a:lnTo>
                    <a:lnTo>
                      <a:pt x="153" y="47"/>
                    </a:lnTo>
                    <a:lnTo>
                      <a:pt x="153" y="44"/>
                    </a:lnTo>
                    <a:lnTo>
                      <a:pt x="155" y="43"/>
                    </a:lnTo>
                    <a:lnTo>
                      <a:pt x="155" y="39"/>
                    </a:lnTo>
                    <a:lnTo>
                      <a:pt x="157" y="38"/>
                    </a:lnTo>
                    <a:lnTo>
                      <a:pt x="160" y="38"/>
                    </a:lnTo>
                    <a:lnTo>
                      <a:pt x="162" y="35"/>
                    </a:lnTo>
                    <a:lnTo>
                      <a:pt x="159" y="32"/>
                    </a:lnTo>
                    <a:lnTo>
                      <a:pt x="152" y="31"/>
                    </a:lnTo>
                    <a:lnTo>
                      <a:pt x="150" y="33"/>
                    </a:lnTo>
                    <a:lnTo>
                      <a:pt x="152" y="30"/>
                    </a:lnTo>
                    <a:lnTo>
                      <a:pt x="151" y="27"/>
                    </a:lnTo>
                    <a:lnTo>
                      <a:pt x="147" y="27"/>
                    </a:lnTo>
                    <a:lnTo>
                      <a:pt x="146" y="28"/>
                    </a:lnTo>
                    <a:lnTo>
                      <a:pt x="145" y="24"/>
                    </a:lnTo>
                    <a:lnTo>
                      <a:pt x="147" y="21"/>
                    </a:lnTo>
                    <a:lnTo>
                      <a:pt x="150" y="21"/>
                    </a:lnTo>
                    <a:lnTo>
                      <a:pt x="150" y="17"/>
                    </a:lnTo>
                    <a:lnTo>
                      <a:pt x="148" y="15"/>
                    </a:lnTo>
                    <a:lnTo>
                      <a:pt x="145" y="17"/>
                    </a:lnTo>
                    <a:lnTo>
                      <a:pt x="142" y="16"/>
                    </a:lnTo>
                    <a:lnTo>
                      <a:pt x="140" y="13"/>
                    </a:lnTo>
                    <a:lnTo>
                      <a:pt x="144" y="11"/>
                    </a:lnTo>
                    <a:lnTo>
                      <a:pt x="144" y="8"/>
                    </a:lnTo>
                    <a:lnTo>
                      <a:pt x="146" y="7"/>
                    </a:lnTo>
                    <a:lnTo>
                      <a:pt x="150" y="6"/>
                    </a:lnTo>
                    <a:lnTo>
                      <a:pt x="146" y="4"/>
                    </a:lnTo>
                    <a:lnTo>
                      <a:pt x="143" y="5"/>
                    </a:lnTo>
                    <a:lnTo>
                      <a:pt x="137" y="11"/>
                    </a:lnTo>
                    <a:lnTo>
                      <a:pt x="136" y="14"/>
                    </a:lnTo>
                    <a:lnTo>
                      <a:pt x="133" y="14"/>
                    </a:lnTo>
                    <a:lnTo>
                      <a:pt x="132" y="11"/>
                    </a:lnTo>
                    <a:lnTo>
                      <a:pt x="133" y="8"/>
                    </a:lnTo>
                    <a:lnTo>
                      <a:pt x="132" y="7"/>
                    </a:lnTo>
                    <a:lnTo>
                      <a:pt x="131" y="3"/>
                    </a:lnTo>
                    <a:lnTo>
                      <a:pt x="127" y="2"/>
                    </a:lnTo>
                    <a:lnTo>
                      <a:pt x="124" y="4"/>
                    </a:lnTo>
                    <a:lnTo>
                      <a:pt x="122" y="3"/>
                    </a:lnTo>
                    <a:lnTo>
                      <a:pt x="120" y="6"/>
                    </a:lnTo>
                    <a:lnTo>
                      <a:pt x="122" y="10"/>
                    </a:lnTo>
                    <a:lnTo>
                      <a:pt x="120" y="12"/>
                    </a:lnTo>
                    <a:lnTo>
                      <a:pt x="117" y="13"/>
                    </a:lnTo>
                    <a:lnTo>
                      <a:pt x="113" y="14"/>
                    </a:lnTo>
                    <a:lnTo>
                      <a:pt x="113" y="11"/>
                    </a:lnTo>
                    <a:lnTo>
                      <a:pt x="112" y="10"/>
                    </a:lnTo>
                    <a:lnTo>
                      <a:pt x="110" y="13"/>
                    </a:lnTo>
                    <a:lnTo>
                      <a:pt x="107" y="18"/>
                    </a:lnTo>
                    <a:lnTo>
                      <a:pt x="104" y="18"/>
                    </a:lnTo>
                    <a:lnTo>
                      <a:pt x="100" y="12"/>
                    </a:lnTo>
                    <a:lnTo>
                      <a:pt x="97" y="12"/>
                    </a:lnTo>
                    <a:lnTo>
                      <a:pt x="96" y="11"/>
                    </a:lnTo>
                    <a:lnTo>
                      <a:pt x="93" y="12"/>
                    </a:lnTo>
                    <a:lnTo>
                      <a:pt x="92" y="18"/>
                    </a:lnTo>
                    <a:lnTo>
                      <a:pt x="95" y="23"/>
                    </a:lnTo>
                    <a:lnTo>
                      <a:pt x="91" y="33"/>
                    </a:lnTo>
                    <a:lnTo>
                      <a:pt x="93" y="25"/>
                    </a:lnTo>
                    <a:lnTo>
                      <a:pt x="90" y="20"/>
                    </a:lnTo>
                    <a:lnTo>
                      <a:pt x="90" y="17"/>
                    </a:lnTo>
                    <a:lnTo>
                      <a:pt x="88" y="16"/>
                    </a:lnTo>
                    <a:lnTo>
                      <a:pt x="89" y="12"/>
                    </a:lnTo>
                    <a:lnTo>
                      <a:pt x="85" y="10"/>
                    </a:lnTo>
                    <a:lnTo>
                      <a:pt x="78" y="14"/>
                    </a:lnTo>
                    <a:lnTo>
                      <a:pt x="76" y="18"/>
                    </a:lnTo>
                    <a:lnTo>
                      <a:pt x="78" y="21"/>
                    </a:lnTo>
                    <a:lnTo>
                      <a:pt x="75" y="25"/>
                    </a:lnTo>
                    <a:lnTo>
                      <a:pt x="72" y="25"/>
                    </a:lnTo>
                    <a:lnTo>
                      <a:pt x="71" y="21"/>
                    </a:lnTo>
                    <a:lnTo>
                      <a:pt x="69" y="20"/>
                    </a:lnTo>
                    <a:lnTo>
                      <a:pt x="69" y="12"/>
                    </a:lnTo>
                    <a:lnTo>
                      <a:pt x="66" y="10"/>
                    </a:lnTo>
                    <a:lnTo>
                      <a:pt x="62" y="14"/>
                    </a:lnTo>
                    <a:lnTo>
                      <a:pt x="62" y="22"/>
                    </a:lnTo>
                    <a:lnTo>
                      <a:pt x="64" y="24"/>
                    </a:lnTo>
                    <a:lnTo>
                      <a:pt x="64" y="30"/>
                    </a:lnTo>
                    <a:lnTo>
                      <a:pt x="62" y="33"/>
                    </a:lnTo>
                    <a:lnTo>
                      <a:pt x="58" y="33"/>
                    </a:lnTo>
                    <a:lnTo>
                      <a:pt x="58" y="29"/>
                    </a:lnTo>
                    <a:lnTo>
                      <a:pt x="54" y="30"/>
                    </a:lnTo>
                    <a:lnTo>
                      <a:pt x="53" y="35"/>
                    </a:lnTo>
                    <a:lnTo>
                      <a:pt x="50" y="36"/>
                    </a:lnTo>
                    <a:lnTo>
                      <a:pt x="50" y="42"/>
                    </a:lnTo>
                    <a:lnTo>
                      <a:pt x="48" y="37"/>
                    </a:lnTo>
                    <a:lnTo>
                      <a:pt x="46" y="36"/>
                    </a:lnTo>
                    <a:lnTo>
                      <a:pt x="46" y="33"/>
                    </a:lnTo>
                    <a:lnTo>
                      <a:pt x="48" y="30"/>
                    </a:lnTo>
                    <a:lnTo>
                      <a:pt x="48" y="27"/>
                    </a:lnTo>
                    <a:lnTo>
                      <a:pt x="45" y="27"/>
                    </a:lnTo>
                    <a:lnTo>
                      <a:pt x="47" y="25"/>
                    </a:lnTo>
                    <a:lnTo>
                      <a:pt x="44" y="21"/>
                    </a:lnTo>
                    <a:lnTo>
                      <a:pt x="47" y="22"/>
                    </a:lnTo>
                    <a:lnTo>
                      <a:pt x="49" y="20"/>
                    </a:lnTo>
                    <a:lnTo>
                      <a:pt x="48" y="18"/>
                    </a:lnTo>
                    <a:lnTo>
                      <a:pt x="46" y="16"/>
                    </a:lnTo>
                    <a:lnTo>
                      <a:pt x="48" y="14"/>
                    </a:lnTo>
                    <a:lnTo>
                      <a:pt x="46" y="11"/>
                    </a:lnTo>
                    <a:lnTo>
                      <a:pt x="44" y="13"/>
                    </a:lnTo>
                    <a:lnTo>
                      <a:pt x="42" y="10"/>
                    </a:lnTo>
                    <a:lnTo>
                      <a:pt x="38" y="7"/>
                    </a:lnTo>
                    <a:lnTo>
                      <a:pt x="37" y="4"/>
                    </a:lnTo>
                    <a:lnTo>
                      <a:pt x="36" y="1"/>
                    </a:lnTo>
                    <a:lnTo>
                      <a:pt x="32" y="2"/>
                    </a:lnTo>
                    <a:lnTo>
                      <a:pt x="28" y="0"/>
                    </a:lnTo>
                    <a:lnTo>
                      <a:pt x="23" y="1"/>
                    </a:lnTo>
                    <a:lnTo>
                      <a:pt x="23" y="2"/>
                    </a:lnTo>
                    <a:lnTo>
                      <a:pt x="24" y="4"/>
                    </a:lnTo>
                    <a:lnTo>
                      <a:pt x="26" y="4"/>
                    </a:lnTo>
                    <a:lnTo>
                      <a:pt x="26" y="3"/>
                    </a:lnTo>
                    <a:lnTo>
                      <a:pt x="29" y="3"/>
                    </a:lnTo>
                    <a:lnTo>
                      <a:pt x="31" y="4"/>
                    </a:lnTo>
                    <a:lnTo>
                      <a:pt x="34" y="5"/>
                    </a:lnTo>
                    <a:lnTo>
                      <a:pt x="33" y="7"/>
                    </a:lnTo>
                    <a:lnTo>
                      <a:pt x="29" y="6"/>
                    </a:lnTo>
                    <a:lnTo>
                      <a:pt x="26" y="6"/>
                    </a:lnTo>
                    <a:lnTo>
                      <a:pt x="26" y="7"/>
                    </a:lnTo>
                    <a:lnTo>
                      <a:pt x="32" y="11"/>
                    </a:lnTo>
                    <a:lnTo>
                      <a:pt x="35" y="15"/>
                    </a:lnTo>
                    <a:lnTo>
                      <a:pt x="34" y="17"/>
                    </a:lnTo>
                    <a:lnTo>
                      <a:pt x="32" y="18"/>
                    </a:lnTo>
                    <a:lnTo>
                      <a:pt x="32" y="15"/>
                    </a:lnTo>
                    <a:lnTo>
                      <a:pt x="29" y="13"/>
                    </a:lnTo>
                    <a:lnTo>
                      <a:pt x="26" y="15"/>
                    </a:lnTo>
                    <a:lnTo>
                      <a:pt x="25" y="14"/>
                    </a:lnTo>
                    <a:lnTo>
                      <a:pt x="25" y="12"/>
                    </a:lnTo>
                    <a:lnTo>
                      <a:pt x="23" y="8"/>
                    </a:lnTo>
                    <a:lnTo>
                      <a:pt x="19" y="7"/>
                    </a:lnTo>
                    <a:lnTo>
                      <a:pt x="16" y="8"/>
                    </a:lnTo>
                    <a:lnTo>
                      <a:pt x="19" y="12"/>
                    </a:lnTo>
                    <a:lnTo>
                      <a:pt x="18" y="14"/>
                    </a:lnTo>
                    <a:lnTo>
                      <a:pt x="16" y="11"/>
                    </a:lnTo>
                    <a:lnTo>
                      <a:pt x="13" y="10"/>
                    </a:lnTo>
                    <a:lnTo>
                      <a:pt x="12" y="12"/>
                    </a:lnTo>
                    <a:lnTo>
                      <a:pt x="14" y="15"/>
                    </a:lnTo>
                    <a:lnTo>
                      <a:pt x="16" y="16"/>
                    </a:lnTo>
                    <a:lnTo>
                      <a:pt x="18" y="18"/>
                    </a:lnTo>
                    <a:lnTo>
                      <a:pt x="14" y="16"/>
                    </a:lnTo>
                    <a:lnTo>
                      <a:pt x="11" y="18"/>
                    </a:lnTo>
                    <a:lnTo>
                      <a:pt x="13" y="21"/>
                    </a:lnTo>
                    <a:lnTo>
                      <a:pt x="18" y="21"/>
                    </a:lnTo>
                    <a:lnTo>
                      <a:pt x="15" y="21"/>
                    </a:lnTo>
                    <a:lnTo>
                      <a:pt x="14" y="22"/>
                    </a:lnTo>
                    <a:lnTo>
                      <a:pt x="15" y="24"/>
                    </a:lnTo>
                    <a:lnTo>
                      <a:pt x="14" y="25"/>
                    </a:lnTo>
                    <a:lnTo>
                      <a:pt x="9" y="21"/>
                    </a:lnTo>
                    <a:lnTo>
                      <a:pt x="7" y="21"/>
                    </a:lnTo>
                    <a:lnTo>
                      <a:pt x="5" y="21"/>
                    </a:lnTo>
                    <a:lnTo>
                      <a:pt x="8" y="26"/>
                    </a:lnTo>
                    <a:lnTo>
                      <a:pt x="9" y="28"/>
                    </a:lnTo>
                    <a:lnTo>
                      <a:pt x="8" y="29"/>
                    </a:lnTo>
                    <a:lnTo>
                      <a:pt x="4" y="25"/>
                    </a:lnTo>
                    <a:lnTo>
                      <a:pt x="2" y="24"/>
                    </a:lnTo>
                    <a:lnTo>
                      <a:pt x="0" y="27"/>
                    </a:lnTo>
                    <a:lnTo>
                      <a:pt x="4" y="29"/>
                    </a:lnTo>
                    <a:lnTo>
                      <a:pt x="6" y="32"/>
                    </a:lnTo>
                    <a:lnTo>
                      <a:pt x="11" y="33"/>
                    </a:lnTo>
                    <a:lnTo>
                      <a:pt x="13" y="29"/>
                    </a:lnTo>
                    <a:lnTo>
                      <a:pt x="17" y="28"/>
                    </a:lnTo>
                    <a:lnTo>
                      <a:pt x="19" y="25"/>
                    </a:lnTo>
                    <a:lnTo>
                      <a:pt x="20" y="27"/>
                    </a:lnTo>
                    <a:lnTo>
                      <a:pt x="21" y="29"/>
                    </a:lnTo>
                    <a:lnTo>
                      <a:pt x="23" y="29"/>
                    </a:lnTo>
                    <a:lnTo>
                      <a:pt x="25" y="27"/>
                    </a:lnTo>
                    <a:lnTo>
                      <a:pt x="25" y="31"/>
                    </a:lnTo>
                    <a:lnTo>
                      <a:pt x="26" y="31"/>
                    </a:lnTo>
                    <a:lnTo>
                      <a:pt x="29" y="29"/>
                    </a:lnTo>
                    <a:lnTo>
                      <a:pt x="30" y="27"/>
                    </a:lnTo>
                    <a:lnTo>
                      <a:pt x="31" y="30"/>
                    </a:lnTo>
                    <a:lnTo>
                      <a:pt x="32" y="30"/>
                    </a:lnTo>
                    <a:lnTo>
                      <a:pt x="36" y="27"/>
                    </a:lnTo>
                    <a:lnTo>
                      <a:pt x="36" y="29"/>
                    </a:lnTo>
                    <a:lnTo>
                      <a:pt x="34" y="32"/>
                    </a:lnTo>
                    <a:lnTo>
                      <a:pt x="36" y="33"/>
                    </a:lnTo>
                    <a:lnTo>
                      <a:pt x="39" y="31"/>
                    </a:lnTo>
                    <a:lnTo>
                      <a:pt x="43" y="33"/>
                    </a:lnTo>
                    <a:lnTo>
                      <a:pt x="40" y="34"/>
                    </a:lnTo>
                    <a:lnTo>
                      <a:pt x="38" y="34"/>
                    </a:lnTo>
                    <a:lnTo>
                      <a:pt x="36" y="36"/>
                    </a:lnTo>
                    <a:lnTo>
                      <a:pt x="32" y="36"/>
                    </a:lnTo>
                    <a:lnTo>
                      <a:pt x="27" y="38"/>
                    </a:lnTo>
                    <a:lnTo>
                      <a:pt x="27" y="40"/>
                    </a:lnTo>
                    <a:lnTo>
                      <a:pt x="33" y="42"/>
                    </a:lnTo>
                    <a:lnTo>
                      <a:pt x="37" y="41"/>
                    </a:lnTo>
                    <a:lnTo>
                      <a:pt x="38" y="39"/>
                    </a:lnTo>
                    <a:lnTo>
                      <a:pt x="41" y="38"/>
                    </a:lnTo>
                    <a:lnTo>
                      <a:pt x="40" y="41"/>
                    </a:lnTo>
                    <a:lnTo>
                      <a:pt x="38" y="43"/>
                    </a:lnTo>
                    <a:lnTo>
                      <a:pt x="32" y="44"/>
                    </a:lnTo>
                    <a:lnTo>
                      <a:pt x="29" y="43"/>
                    </a:lnTo>
                    <a:lnTo>
                      <a:pt x="26" y="46"/>
                    </a:lnTo>
                    <a:lnTo>
                      <a:pt x="25" y="44"/>
                    </a:lnTo>
                    <a:lnTo>
                      <a:pt x="25" y="43"/>
                    </a:lnTo>
                    <a:lnTo>
                      <a:pt x="25" y="42"/>
                    </a:lnTo>
                    <a:lnTo>
                      <a:pt x="23" y="42"/>
                    </a:lnTo>
                    <a:lnTo>
                      <a:pt x="22" y="43"/>
                    </a:lnTo>
                    <a:lnTo>
                      <a:pt x="23" y="43"/>
                    </a:lnTo>
                    <a:lnTo>
                      <a:pt x="20" y="45"/>
                    </a:lnTo>
                    <a:lnTo>
                      <a:pt x="17" y="44"/>
                    </a:lnTo>
                    <a:lnTo>
                      <a:pt x="14" y="44"/>
                    </a:lnTo>
                    <a:lnTo>
                      <a:pt x="11" y="46"/>
                    </a:lnTo>
                    <a:lnTo>
                      <a:pt x="7" y="44"/>
                    </a:lnTo>
                    <a:lnTo>
                      <a:pt x="4" y="45"/>
                    </a:lnTo>
                    <a:lnTo>
                      <a:pt x="4" y="45"/>
                    </a:lnTo>
                    <a:lnTo>
                      <a:pt x="5" y="49"/>
                    </a:lnTo>
                    <a:lnTo>
                      <a:pt x="7" y="52"/>
                    </a:lnTo>
                    <a:lnTo>
                      <a:pt x="12" y="53"/>
                    </a:lnTo>
                    <a:lnTo>
                      <a:pt x="12" y="51"/>
                    </a:lnTo>
                    <a:lnTo>
                      <a:pt x="18" y="53"/>
                    </a:lnTo>
                    <a:lnTo>
                      <a:pt x="25" y="53"/>
                    </a:lnTo>
                    <a:lnTo>
                      <a:pt x="28" y="53"/>
                    </a:lnTo>
                    <a:lnTo>
                      <a:pt x="28" y="55"/>
                    </a:lnTo>
                    <a:lnTo>
                      <a:pt x="25" y="56"/>
                    </a:lnTo>
                    <a:lnTo>
                      <a:pt x="25" y="58"/>
                    </a:lnTo>
                    <a:lnTo>
                      <a:pt x="29" y="61"/>
                    </a:lnTo>
                    <a:lnTo>
                      <a:pt x="30" y="63"/>
                    </a:lnTo>
                    <a:lnTo>
                      <a:pt x="32" y="63"/>
                    </a:lnTo>
                    <a:lnTo>
                      <a:pt x="37" y="59"/>
                    </a:lnTo>
                    <a:lnTo>
                      <a:pt x="36" y="62"/>
                    </a:lnTo>
                    <a:lnTo>
                      <a:pt x="32" y="64"/>
                    </a:lnTo>
                    <a:lnTo>
                      <a:pt x="31" y="66"/>
                    </a:lnTo>
                    <a:lnTo>
                      <a:pt x="34" y="68"/>
                    </a:lnTo>
                    <a:lnTo>
                      <a:pt x="39" y="65"/>
                    </a:lnTo>
                    <a:lnTo>
                      <a:pt x="43" y="65"/>
                    </a:lnTo>
                    <a:lnTo>
                      <a:pt x="44" y="67"/>
                    </a:lnTo>
                    <a:lnTo>
                      <a:pt x="41" y="66"/>
                    </a:lnTo>
                    <a:lnTo>
                      <a:pt x="38" y="67"/>
                    </a:lnTo>
                    <a:lnTo>
                      <a:pt x="35" y="69"/>
                    </a:lnTo>
                    <a:lnTo>
                      <a:pt x="31" y="69"/>
                    </a:lnTo>
                    <a:lnTo>
                      <a:pt x="31" y="72"/>
                    </a:lnTo>
                    <a:lnTo>
                      <a:pt x="29" y="74"/>
                    </a:lnTo>
                    <a:lnTo>
                      <a:pt x="27" y="74"/>
                    </a:lnTo>
                    <a:lnTo>
                      <a:pt x="25" y="75"/>
                    </a:lnTo>
                    <a:lnTo>
                      <a:pt x="25" y="73"/>
                    </a:lnTo>
                    <a:lnTo>
                      <a:pt x="21" y="70"/>
                    </a:lnTo>
                    <a:lnTo>
                      <a:pt x="21" y="72"/>
                    </a:lnTo>
                    <a:lnTo>
                      <a:pt x="20" y="72"/>
                    </a:lnTo>
                    <a:lnTo>
                      <a:pt x="21" y="76"/>
                    </a:lnTo>
                    <a:lnTo>
                      <a:pt x="22" y="77"/>
                    </a:lnTo>
                    <a:lnTo>
                      <a:pt x="21" y="78"/>
                    </a:lnTo>
                    <a:lnTo>
                      <a:pt x="21" y="84"/>
                    </a:lnTo>
                    <a:lnTo>
                      <a:pt x="25" y="84"/>
                    </a:lnTo>
                    <a:lnTo>
                      <a:pt x="25" y="83"/>
                    </a:lnTo>
                    <a:lnTo>
                      <a:pt x="28" y="84"/>
                    </a:lnTo>
                    <a:lnTo>
                      <a:pt x="35" y="85"/>
                    </a:lnTo>
                    <a:lnTo>
                      <a:pt x="39" y="82"/>
                    </a:lnTo>
                    <a:lnTo>
                      <a:pt x="43" y="84"/>
                    </a:lnTo>
                    <a:lnTo>
                      <a:pt x="46" y="82"/>
                    </a:lnTo>
                    <a:lnTo>
                      <a:pt x="47" y="84"/>
                    </a:lnTo>
                    <a:lnTo>
                      <a:pt x="48" y="85"/>
                    </a:lnTo>
                    <a:lnTo>
                      <a:pt x="48" y="85"/>
                    </a:lnTo>
                    <a:close/>
                  </a:path>
                </a:pathLst>
              </a:custGeom>
              <a:solidFill>
                <a:srgbClr val="65625E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982" name="Freeform 385"/>
              <p:cNvSpPr>
                <a:spLocks/>
              </p:cNvSpPr>
              <p:nvPr userDrawn="1"/>
            </p:nvSpPr>
            <p:spPr bwMode="auto">
              <a:xfrm>
                <a:off x="3917" y="1982"/>
                <a:ext cx="4" cy="2"/>
              </a:xfrm>
              <a:custGeom>
                <a:avLst/>
                <a:gdLst>
                  <a:gd name="T0" fmla="*/ 0 w 4"/>
                  <a:gd name="T1" fmla="*/ 2 h 2"/>
                  <a:gd name="T2" fmla="*/ 1 w 4"/>
                  <a:gd name="T3" fmla="*/ 0 h 2"/>
                  <a:gd name="T4" fmla="*/ 4 w 4"/>
                  <a:gd name="T5" fmla="*/ 0 h 2"/>
                  <a:gd name="T6" fmla="*/ 0 w 4"/>
                  <a:gd name="T7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" h="2">
                    <a:moveTo>
                      <a:pt x="0" y="2"/>
                    </a:moveTo>
                    <a:lnTo>
                      <a:pt x="1" y="0"/>
                    </a:lnTo>
                    <a:lnTo>
                      <a:pt x="4" y="0"/>
                    </a:lnTo>
                    <a:lnTo>
                      <a:pt x="0" y="2"/>
                    </a:lnTo>
                    <a:close/>
                  </a:path>
                </a:pathLst>
              </a:custGeom>
              <a:solidFill>
                <a:srgbClr val="65625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983" name="Freeform 386"/>
              <p:cNvSpPr>
                <a:spLocks/>
              </p:cNvSpPr>
              <p:nvPr userDrawn="1"/>
            </p:nvSpPr>
            <p:spPr bwMode="auto">
              <a:xfrm>
                <a:off x="3917" y="1982"/>
                <a:ext cx="4" cy="2"/>
              </a:xfrm>
              <a:custGeom>
                <a:avLst/>
                <a:gdLst>
                  <a:gd name="T0" fmla="*/ 0 w 4"/>
                  <a:gd name="T1" fmla="*/ 2 h 2"/>
                  <a:gd name="T2" fmla="*/ 1 w 4"/>
                  <a:gd name="T3" fmla="*/ 0 h 2"/>
                  <a:gd name="T4" fmla="*/ 4 w 4"/>
                  <a:gd name="T5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2">
                    <a:moveTo>
                      <a:pt x="0" y="2"/>
                    </a:moveTo>
                    <a:lnTo>
                      <a:pt x="1" y="0"/>
                    </a:lnTo>
                    <a:lnTo>
                      <a:pt x="4" y="0"/>
                    </a:lnTo>
                  </a:path>
                </a:pathLst>
              </a:custGeom>
              <a:noFill/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984" name="Freeform 387"/>
              <p:cNvSpPr>
                <a:spLocks/>
              </p:cNvSpPr>
              <p:nvPr userDrawn="1"/>
            </p:nvSpPr>
            <p:spPr bwMode="auto">
              <a:xfrm>
                <a:off x="3820" y="2123"/>
                <a:ext cx="45" cy="36"/>
              </a:xfrm>
              <a:custGeom>
                <a:avLst/>
                <a:gdLst>
                  <a:gd name="T0" fmla="*/ 32 w 45"/>
                  <a:gd name="T1" fmla="*/ 0 h 36"/>
                  <a:gd name="T2" fmla="*/ 39 w 45"/>
                  <a:gd name="T3" fmla="*/ 6 h 36"/>
                  <a:gd name="T4" fmla="*/ 44 w 45"/>
                  <a:gd name="T5" fmla="*/ 14 h 36"/>
                  <a:gd name="T6" fmla="*/ 45 w 45"/>
                  <a:gd name="T7" fmla="*/ 18 h 36"/>
                  <a:gd name="T8" fmla="*/ 45 w 45"/>
                  <a:gd name="T9" fmla="*/ 22 h 36"/>
                  <a:gd name="T10" fmla="*/ 43 w 45"/>
                  <a:gd name="T11" fmla="*/ 24 h 36"/>
                  <a:gd name="T12" fmla="*/ 40 w 45"/>
                  <a:gd name="T13" fmla="*/ 24 h 36"/>
                  <a:gd name="T14" fmla="*/ 35 w 45"/>
                  <a:gd name="T15" fmla="*/ 27 h 36"/>
                  <a:gd name="T16" fmla="*/ 27 w 45"/>
                  <a:gd name="T17" fmla="*/ 27 h 36"/>
                  <a:gd name="T18" fmla="*/ 23 w 45"/>
                  <a:gd name="T19" fmla="*/ 29 h 36"/>
                  <a:gd name="T20" fmla="*/ 22 w 45"/>
                  <a:gd name="T21" fmla="*/ 30 h 36"/>
                  <a:gd name="T22" fmla="*/ 17 w 45"/>
                  <a:gd name="T23" fmla="*/ 32 h 36"/>
                  <a:gd name="T24" fmla="*/ 10 w 45"/>
                  <a:gd name="T25" fmla="*/ 36 h 36"/>
                  <a:gd name="T26" fmla="*/ 10 w 45"/>
                  <a:gd name="T27" fmla="*/ 36 h 36"/>
                  <a:gd name="T28" fmla="*/ 6 w 45"/>
                  <a:gd name="T29" fmla="*/ 33 h 36"/>
                  <a:gd name="T30" fmla="*/ 4 w 45"/>
                  <a:gd name="T31" fmla="*/ 30 h 36"/>
                  <a:gd name="T32" fmla="*/ 1 w 45"/>
                  <a:gd name="T33" fmla="*/ 25 h 36"/>
                  <a:gd name="T34" fmla="*/ 0 w 45"/>
                  <a:gd name="T35" fmla="*/ 18 h 36"/>
                  <a:gd name="T36" fmla="*/ 1 w 45"/>
                  <a:gd name="T37" fmla="*/ 12 h 36"/>
                  <a:gd name="T38" fmla="*/ 1 w 45"/>
                  <a:gd name="T39" fmla="*/ 12 h 36"/>
                  <a:gd name="T40" fmla="*/ 2 w 45"/>
                  <a:gd name="T41" fmla="*/ 11 h 36"/>
                  <a:gd name="T42" fmla="*/ 2 w 45"/>
                  <a:gd name="T43" fmla="*/ 9 h 36"/>
                  <a:gd name="T44" fmla="*/ 7 w 45"/>
                  <a:gd name="T45" fmla="*/ 6 h 36"/>
                  <a:gd name="T46" fmla="*/ 11 w 45"/>
                  <a:gd name="T47" fmla="*/ 5 h 36"/>
                  <a:gd name="T48" fmla="*/ 14 w 45"/>
                  <a:gd name="T49" fmla="*/ 3 h 36"/>
                  <a:gd name="T50" fmla="*/ 20 w 45"/>
                  <a:gd name="T51" fmla="*/ 1 h 36"/>
                  <a:gd name="T52" fmla="*/ 24 w 45"/>
                  <a:gd name="T53" fmla="*/ 2 h 36"/>
                  <a:gd name="T54" fmla="*/ 29 w 45"/>
                  <a:gd name="T55" fmla="*/ 0 h 36"/>
                  <a:gd name="T56" fmla="*/ 32 w 45"/>
                  <a:gd name="T57" fmla="*/ 0 h 36"/>
                  <a:gd name="T58" fmla="*/ 32 w 45"/>
                  <a:gd name="T59" fmla="*/ 0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45" h="36">
                    <a:moveTo>
                      <a:pt x="32" y="0"/>
                    </a:moveTo>
                    <a:lnTo>
                      <a:pt x="39" y="6"/>
                    </a:lnTo>
                    <a:lnTo>
                      <a:pt x="44" y="14"/>
                    </a:lnTo>
                    <a:lnTo>
                      <a:pt x="45" y="18"/>
                    </a:lnTo>
                    <a:lnTo>
                      <a:pt x="45" y="22"/>
                    </a:lnTo>
                    <a:lnTo>
                      <a:pt x="43" y="24"/>
                    </a:lnTo>
                    <a:lnTo>
                      <a:pt x="40" y="24"/>
                    </a:lnTo>
                    <a:lnTo>
                      <a:pt x="35" y="27"/>
                    </a:lnTo>
                    <a:lnTo>
                      <a:pt x="27" y="27"/>
                    </a:lnTo>
                    <a:lnTo>
                      <a:pt x="23" y="29"/>
                    </a:lnTo>
                    <a:lnTo>
                      <a:pt x="22" y="30"/>
                    </a:lnTo>
                    <a:lnTo>
                      <a:pt x="17" y="32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6" y="33"/>
                    </a:lnTo>
                    <a:lnTo>
                      <a:pt x="4" y="30"/>
                    </a:lnTo>
                    <a:lnTo>
                      <a:pt x="1" y="25"/>
                    </a:lnTo>
                    <a:lnTo>
                      <a:pt x="0" y="18"/>
                    </a:lnTo>
                    <a:lnTo>
                      <a:pt x="1" y="12"/>
                    </a:lnTo>
                    <a:lnTo>
                      <a:pt x="1" y="12"/>
                    </a:lnTo>
                    <a:lnTo>
                      <a:pt x="2" y="11"/>
                    </a:lnTo>
                    <a:lnTo>
                      <a:pt x="2" y="9"/>
                    </a:lnTo>
                    <a:lnTo>
                      <a:pt x="7" y="6"/>
                    </a:lnTo>
                    <a:lnTo>
                      <a:pt x="11" y="5"/>
                    </a:lnTo>
                    <a:lnTo>
                      <a:pt x="14" y="3"/>
                    </a:lnTo>
                    <a:lnTo>
                      <a:pt x="20" y="1"/>
                    </a:lnTo>
                    <a:lnTo>
                      <a:pt x="24" y="2"/>
                    </a:lnTo>
                    <a:lnTo>
                      <a:pt x="29" y="0"/>
                    </a:lnTo>
                    <a:lnTo>
                      <a:pt x="32" y="0"/>
                    </a:lnTo>
                    <a:lnTo>
                      <a:pt x="32" y="0"/>
                    </a:lnTo>
                    <a:close/>
                  </a:path>
                </a:pathLst>
              </a:custGeom>
              <a:solidFill>
                <a:schemeClr val="accent4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985" name="Freeform 388"/>
              <p:cNvSpPr>
                <a:spLocks/>
              </p:cNvSpPr>
              <p:nvPr userDrawn="1"/>
            </p:nvSpPr>
            <p:spPr bwMode="auto">
              <a:xfrm>
                <a:off x="3559" y="2003"/>
                <a:ext cx="82" cy="45"/>
              </a:xfrm>
              <a:custGeom>
                <a:avLst/>
                <a:gdLst>
                  <a:gd name="T0" fmla="*/ 35 w 82"/>
                  <a:gd name="T1" fmla="*/ 6 h 45"/>
                  <a:gd name="T2" fmla="*/ 43 w 82"/>
                  <a:gd name="T3" fmla="*/ 6 h 45"/>
                  <a:gd name="T4" fmla="*/ 44 w 82"/>
                  <a:gd name="T5" fmla="*/ 1 h 45"/>
                  <a:gd name="T6" fmla="*/ 49 w 82"/>
                  <a:gd name="T7" fmla="*/ 4 h 45"/>
                  <a:gd name="T8" fmla="*/ 53 w 82"/>
                  <a:gd name="T9" fmla="*/ 3 h 45"/>
                  <a:gd name="T10" fmla="*/ 60 w 82"/>
                  <a:gd name="T11" fmla="*/ 6 h 45"/>
                  <a:gd name="T12" fmla="*/ 64 w 82"/>
                  <a:gd name="T13" fmla="*/ 12 h 45"/>
                  <a:gd name="T14" fmla="*/ 64 w 82"/>
                  <a:gd name="T15" fmla="*/ 17 h 45"/>
                  <a:gd name="T16" fmla="*/ 72 w 82"/>
                  <a:gd name="T17" fmla="*/ 16 h 45"/>
                  <a:gd name="T18" fmla="*/ 79 w 82"/>
                  <a:gd name="T19" fmla="*/ 17 h 45"/>
                  <a:gd name="T20" fmla="*/ 82 w 82"/>
                  <a:gd name="T21" fmla="*/ 20 h 45"/>
                  <a:gd name="T22" fmla="*/ 81 w 82"/>
                  <a:gd name="T23" fmla="*/ 29 h 45"/>
                  <a:gd name="T24" fmla="*/ 73 w 82"/>
                  <a:gd name="T25" fmla="*/ 38 h 45"/>
                  <a:gd name="T26" fmla="*/ 67 w 82"/>
                  <a:gd name="T27" fmla="*/ 36 h 45"/>
                  <a:gd name="T28" fmla="*/ 59 w 82"/>
                  <a:gd name="T29" fmla="*/ 39 h 45"/>
                  <a:gd name="T30" fmla="*/ 53 w 82"/>
                  <a:gd name="T31" fmla="*/ 41 h 45"/>
                  <a:gd name="T32" fmla="*/ 48 w 82"/>
                  <a:gd name="T33" fmla="*/ 34 h 45"/>
                  <a:gd name="T34" fmla="*/ 38 w 82"/>
                  <a:gd name="T35" fmla="*/ 43 h 45"/>
                  <a:gd name="T36" fmla="*/ 25 w 82"/>
                  <a:gd name="T37" fmla="*/ 45 h 45"/>
                  <a:gd name="T38" fmla="*/ 20 w 82"/>
                  <a:gd name="T39" fmla="*/ 42 h 45"/>
                  <a:gd name="T40" fmla="*/ 17 w 82"/>
                  <a:gd name="T41" fmla="*/ 35 h 45"/>
                  <a:gd name="T42" fmla="*/ 10 w 82"/>
                  <a:gd name="T43" fmla="*/ 32 h 45"/>
                  <a:gd name="T44" fmla="*/ 9 w 82"/>
                  <a:gd name="T45" fmla="*/ 38 h 45"/>
                  <a:gd name="T46" fmla="*/ 0 w 82"/>
                  <a:gd name="T47" fmla="*/ 40 h 45"/>
                  <a:gd name="T48" fmla="*/ 2 w 82"/>
                  <a:gd name="T49" fmla="*/ 36 h 45"/>
                  <a:gd name="T50" fmla="*/ 4 w 82"/>
                  <a:gd name="T51" fmla="*/ 32 h 45"/>
                  <a:gd name="T52" fmla="*/ 10 w 82"/>
                  <a:gd name="T53" fmla="*/ 20 h 45"/>
                  <a:gd name="T54" fmla="*/ 16 w 82"/>
                  <a:gd name="T55" fmla="*/ 14 h 45"/>
                  <a:gd name="T56" fmla="*/ 19 w 82"/>
                  <a:gd name="T57" fmla="*/ 10 h 45"/>
                  <a:gd name="T58" fmla="*/ 17 w 82"/>
                  <a:gd name="T59" fmla="*/ 5 h 45"/>
                  <a:gd name="T60" fmla="*/ 23 w 82"/>
                  <a:gd name="T61" fmla="*/ 7 h 45"/>
                  <a:gd name="T62" fmla="*/ 32 w 82"/>
                  <a:gd name="T63" fmla="*/ 5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82" h="45">
                    <a:moveTo>
                      <a:pt x="32" y="5"/>
                    </a:moveTo>
                    <a:lnTo>
                      <a:pt x="35" y="6"/>
                    </a:lnTo>
                    <a:lnTo>
                      <a:pt x="38" y="4"/>
                    </a:lnTo>
                    <a:lnTo>
                      <a:pt x="43" y="6"/>
                    </a:lnTo>
                    <a:lnTo>
                      <a:pt x="44" y="4"/>
                    </a:lnTo>
                    <a:lnTo>
                      <a:pt x="44" y="1"/>
                    </a:lnTo>
                    <a:lnTo>
                      <a:pt x="47" y="0"/>
                    </a:lnTo>
                    <a:lnTo>
                      <a:pt x="49" y="4"/>
                    </a:lnTo>
                    <a:lnTo>
                      <a:pt x="51" y="4"/>
                    </a:lnTo>
                    <a:lnTo>
                      <a:pt x="53" y="3"/>
                    </a:lnTo>
                    <a:lnTo>
                      <a:pt x="56" y="3"/>
                    </a:lnTo>
                    <a:lnTo>
                      <a:pt x="60" y="6"/>
                    </a:lnTo>
                    <a:lnTo>
                      <a:pt x="64" y="9"/>
                    </a:lnTo>
                    <a:lnTo>
                      <a:pt x="64" y="12"/>
                    </a:lnTo>
                    <a:lnTo>
                      <a:pt x="63" y="15"/>
                    </a:lnTo>
                    <a:lnTo>
                      <a:pt x="64" y="17"/>
                    </a:lnTo>
                    <a:lnTo>
                      <a:pt x="69" y="17"/>
                    </a:lnTo>
                    <a:lnTo>
                      <a:pt x="72" y="16"/>
                    </a:lnTo>
                    <a:lnTo>
                      <a:pt x="76" y="20"/>
                    </a:lnTo>
                    <a:lnTo>
                      <a:pt x="79" y="17"/>
                    </a:lnTo>
                    <a:lnTo>
                      <a:pt x="81" y="17"/>
                    </a:lnTo>
                    <a:lnTo>
                      <a:pt x="82" y="20"/>
                    </a:lnTo>
                    <a:lnTo>
                      <a:pt x="80" y="24"/>
                    </a:lnTo>
                    <a:lnTo>
                      <a:pt x="81" y="29"/>
                    </a:lnTo>
                    <a:lnTo>
                      <a:pt x="74" y="31"/>
                    </a:lnTo>
                    <a:lnTo>
                      <a:pt x="73" y="38"/>
                    </a:lnTo>
                    <a:lnTo>
                      <a:pt x="70" y="35"/>
                    </a:lnTo>
                    <a:lnTo>
                      <a:pt x="67" y="36"/>
                    </a:lnTo>
                    <a:lnTo>
                      <a:pt x="59" y="33"/>
                    </a:lnTo>
                    <a:lnTo>
                      <a:pt x="59" y="39"/>
                    </a:lnTo>
                    <a:lnTo>
                      <a:pt x="55" y="44"/>
                    </a:lnTo>
                    <a:lnTo>
                      <a:pt x="53" y="41"/>
                    </a:lnTo>
                    <a:lnTo>
                      <a:pt x="47" y="39"/>
                    </a:lnTo>
                    <a:lnTo>
                      <a:pt x="48" y="34"/>
                    </a:lnTo>
                    <a:lnTo>
                      <a:pt x="43" y="32"/>
                    </a:lnTo>
                    <a:lnTo>
                      <a:pt x="38" y="43"/>
                    </a:lnTo>
                    <a:lnTo>
                      <a:pt x="33" y="41"/>
                    </a:lnTo>
                    <a:lnTo>
                      <a:pt x="25" y="45"/>
                    </a:lnTo>
                    <a:lnTo>
                      <a:pt x="21" y="44"/>
                    </a:lnTo>
                    <a:lnTo>
                      <a:pt x="20" y="42"/>
                    </a:lnTo>
                    <a:lnTo>
                      <a:pt x="18" y="40"/>
                    </a:lnTo>
                    <a:lnTo>
                      <a:pt x="17" y="35"/>
                    </a:lnTo>
                    <a:lnTo>
                      <a:pt x="16" y="32"/>
                    </a:lnTo>
                    <a:lnTo>
                      <a:pt x="10" y="32"/>
                    </a:lnTo>
                    <a:lnTo>
                      <a:pt x="7" y="34"/>
                    </a:lnTo>
                    <a:lnTo>
                      <a:pt x="9" y="38"/>
                    </a:lnTo>
                    <a:lnTo>
                      <a:pt x="5" y="40"/>
                    </a:lnTo>
                    <a:lnTo>
                      <a:pt x="0" y="40"/>
                    </a:lnTo>
                    <a:lnTo>
                      <a:pt x="0" y="37"/>
                    </a:lnTo>
                    <a:lnTo>
                      <a:pt x="2" y="36"/>
                    </a:lnTo>
                    <a:lnTo>
                      <a:pt x="4" y="36"/>
                    </a:lnTo>
                    <a:lnTo>
                      <a:pt x="4" y="32"/>
                    </a:lnTo>
                    <a:lnTo>
                      <a:pt x="5" y="27"/>
                    </a:lnTo>
                    <a:lnTo>
                      <a:pt x="10" y="20"/>
                    </a:lnTo>
                    <a:lnTo>
                      <a:pt x="13" y="19"/>
                    </a:lnTo>
                    <a:lnTo>
                      <a:pt x="16" y="14"/>
                    </a:lnTo>
                    <a:lnTo>
                      <a:pt x="19" y="13"/>
                    </a:lnTo>
                    <a:lnTo>
                      <a:pt x="19" y="10"/>
                    </a:lnTo>
                    <a:lnTo>
                      <a:pt x="16" y="8"/>
                    </a:lnTo>
                    <a:lnTo>
                      <a:pt x="17" y="5"/>
                    </a:lnTo>
                    <a:lnTo>
                      <a:pt x="22" y="4"/>
                    </a:lnTo>
                    <a:lnTo>
                      <a:pt x="23" y="7"/>
                    </a:lnTo>
                    <a:lnTo>
                      <a:pt x="26" y="7"/>
                    </a:lnTo>
                    <a:lnTo>
                      <a:pt x="32" y="5"/>
                    </a:lnTo>
                    <a:lnTo>
                      <a:pt x="32" y="5"/>
                    </a:lnTo>
                    <a:close/>
                  </a:path>
                </a:pathLst>
              </a:custGeom>
              <a:solidFill>
                <a:srgbClr val="65625E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986" name="Freeform 389"/>
              <p:cNvSpPr>
                <a:spLocks/>
              </p:cNvSpPr>
              <p:nvPr userDrawn="1"/>
            </p:nvSpPr>
            <p:spPr bwMode="auto">
              <a:xfrm>
                <a:off x="3550" y="1962"/>
                <a:ext cx="4" cy="2"/>
              </a:xfrm>
              <a:custGeom>
                <a:avLst/>
                <a:gdLst>
                  <a:gd name="T0" fmla="*/ 0 w 4"/>
                  <a:gd name="T1" fmla="*/ 0 h 2"/>
                  <a:gd name="T2" fmla="*/ 3 w 4"/>
                  <a:gd name="T3" fmla="*/ 2 h 2"/>
                  <a:gd name="T4" fmla="*/ 4 w 4"/>
                  <a:gd name="T5" fmla="*/ 1 h 2"/>
                  <a:gd name="T6" fmla="*/ 0 w 4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" h="2">
                    <a:moveTo>
                      <a:pt x="0" y="0"/>
                    </a:moveTo>
                    <a:lnTo>
                      <a:pt x="3" y="2"/>
                    </a:lnTo>
                    <a:lnTo>
                      <a:pt x="4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65625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987" name="Freeform 390"/>
              <p:cNvSpPr>
                <a:spLocks/>
              </p:cNvSpPr>
              <p:nvPr userDrawn="1"/>
            </p:nvSpPr>
            <p:spPr bwMode="auto">
              <a:xfrm>
                <a:off x="3550" y="1962"/>
                <a:ext cx="4" cy="2"/>
              </a:xfrm>
              <a:custGeom>
                <a:avLst/>
                <a:gdLst>
                  <a:gd name="T0" fmla="*/ 0 w 4"/>
                  <a:gd name="T1" fmla="*/ 0 h 2"/>
                  <a:gd name="T2" fmla="*/ 3 w 4"/>
                  <a:gd name="T3" fmla="*/ 2 h 2"/>
                  <a:gd name="T4" fmla="*/ 4 w 4"/>
                  <a:gd name="T5" fmla="*/ 1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2">
                    <a:moveTo>
                      <a:pt x="0" y="0"/>
                    </a:moveTo>
                    <a:lnTo>
                      <a:pt x="3" y="2"/>
                    </a:lnTo>
                    <a:lnTo>
                      <a:pt x="4" y="1"/>
                    </a:lnTo>
                  </a:path>
                </a:pathLst>
              </a:custGeom>
              <a:noFill/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988" name="Freeform 391"/>
              <p:cNvSpPr>
                <a:spLocks noEditPoints="1"/>
              </p:cNvSpPr>
              <p:nvPr userDrawn="1"/>
            </p:nvSpPr>
            <p:spPr bwMode="auto">
              <a:xfrm>
                <a:off x="3309" y="2092"/>
                <a:ext cx="227" cy="166"/>
              </a:xfrm>
              <a:custGeom>
                <a:avLst/>
                <a:gdLst>
                  <a:gd name="T0" fmla="*/ 139 w 238"/>
                  <a:gd name="T1" fmla="*/ 11 h 173"/>
                  <a:gd name="T2" fmla="*/ 141 w 238"/>
                  <a:gd name="T3" fmla="*/ 19 h 173"/>
                  <a:gd name="T4" fmla="*/ 158 w 238"/>
                  <a:gd name="T5" fmla="*/ 25 h 173"/>
                  <a:gd name="T6" fmla="*/ 172 w 238"/>
                  <a:gd name="T7" fmla="*/ 27 h 173"/>
                  <a:gd name="T8" fmla="*/ 186 w 238"/>
                  <a:gd name="T9" fmla="*/ 25 h 173"/>
                  <a:gd name="T10" fmla="*/ 200 w 238"/>
                  <a:gd name="T11" fmla="*/ 29 h 173"/>
                  <a:gd name="T12" fmla="*/ 218 w 238"/>
                  <a:gd name="T13" fmla="*/ 33 h 173"/>
                  <a:gd name="T14" fmla="*/ 216 w 238"/>
                  <a:gd name="T15" fmla="*/ 42 h 173"/>
                  <a:gd name="T16" fmla="*/ 207 w 238"/>
                  <a:gd name="T17" fmla="*/ 55 h 173"/>
                  <a:gd name="T18" fmla="*/ 190 w 238"/>
                  <a:gd name="T19" fmla="*/ 61 h 173"/>
                  <a:gd name="T20" fmla="*/ 183 w 238"/>
                  <a:gd name="T21" fmla="*/ 68 h 173"/>
                  <a:gd name="T22" fmla="*/ 179 w 238"/>
                  <a:gd name="T23" fmla="*/ 73 h 173"/>
                  <a:gd name="T24" fmla="*/ 172 w 238"/>
                  <a:gd name="T25" fmla="*/ 81 h 173"/>
                  <a:gd name="T26" fmla="*/ 158 w 238"/>
                  <a:gd name="T27" fmla="*/ 98 h 173"/>
                  <a:gd name="T28" fmla="*/ 165 w 238"/>
                  <a:gd name="T29" fmla="*/ 108 h 173"/>
                  <a:gd name="T30" fmla="*/ 159 w 238"/>
                  <a:gd name="T31" fmla="*/ 120 h 173"/>
                  <a:gd name="T32" fmla="*/ 153 w 238"/>
                  <a:gd name="T33" fmla="*/ 138 h 173"/>
                  <a:gd name="T34" fmla="*/ 146 w 238"/>
                  <a:gd name="T35" fmla="*/ 142 h 173"/>
                  <a:gd name="T36" fmla="*/ 130 w 238"/>
                  <a:gd name="T37" fmla="*/ 158 h 173"/>
                  <a:gd name="T38" fmla="*/ 121 w 238"/>
                  <a:gd name="T39" fmla="*/ 157 h 173"/>
                  <a:gd name="T40" fmla="*/ 111 w 238"/>
                  <a:gd name="T41" fmla="*/ 157 h 173"/>
                  <a:gd name="T42" fmla="*/ 96 w 238"/>
                  <a:gd name="T43" fmla="*/ 156 h 173"/>
                  <a:gd name="T44" fmla="*/ 80 w 238"/>
                  <a:gd name="T45" fmla="*/ 164 h 173"/>
                  <a:gd name="T46" fmla="*/ 70 w 238"/>
                  <a:gd name="T47" fmla="*/ 170 h 173"/>
                  <a:gd name="T48" fmla="*/ 52 w 238"/>
                  <a:gd name="T49" fmla="*/ 166 h 173"/>
                  <a:gd name="T50" fmla="*/ 41 w 238"/>
                  <a:gd name="T51" fmla="*/ 149 h 173"/>
                  <a:gd name="T52" fmla="*/ 33 w 238"/>
                  <a:gd name="T53" fmla="*/ 143 h 173"/>
                  <a:gd name="T54" fmla="*/ 39 w 238"/>
                  <a:gd name="T55" fmla="*/ 127 h 173"/>
                  <a:gd name="T56" fmla="*/ 33 w 238"/>
                  <a:gd name="T57" fmla="*/ 118 h 173"/>
                  <a:gd name="T58" fmla="*/ 34 w 238"/>
                  <a:gd name="T59" fmla="*/ 102 h 173"/>
                  <a:gd name="T60" fmla="*/ 37 w 238"/>
                  <a:gd name="T61" fmla="*/ 92 h 173"/>
                  <a:gd name="T62" fmla="*/ 43 w 238"/>
                  <a:gd name="T63" fmla="*/ 78 h 173"/>
                  <a:gd name="T64" fmla="*/ 50 w 238"/>
                  <a:gd name="T65" fmla="*/ 55 h 173"/>
                  <a:gd name="T66" fmla="*/ 50 w 238"/>
                  <a:gd name="T67" fmla="*/ 46 h 173"/>
                  <a:gd name="T68" fmla="*/ 36 w 238"/>
                  <a:gd name="T69" fmla="*/ 44 h 173"/>
                  <a:gd name="T70" fmla="*/ 18 w 238"/>
                  <a:gd name="T71" fmla="*/ 42 h 173"/>
                  <a:gd name="T72" fmla="*/ 7 w 238"/>
                  <a:gd name="T73" fmla="*/ 39 h 173"/>
                  <a:gd name="T74" fmla="*/ 8 w 238"/>
                  <a:gd name="T75" fmla="*/ 33 h 173"/>
                  <a:gd name="T76" fmla="*/ 9 w 238"/>
                  <a:gd name="T77" fmla="*/ 26 h 173"/>
                  <a:gd name="T78" fmla="*/ 6 w 238"/>
                  <a:gd name="T79" fmla="*/ 23 h 173"/>
                  <a:gd name="T80" fmla="*/ 2 w 238"/>
                  <a:gd name="T81" fmla="*/ 21 h 173"/>
                  <a:gd name="T82" fmla="*/ 10 w 238"/>
                  <a:gd name="T83" fmla="*/ 10 h 173"/>
                  <a:gd name="T84" fmla="*/ 21 w 238"/>
                  <a:gd name="T85" fmla="*/ 9 h 173"/>
                  <a:gd name="T86" fmla="*/ 25 w 238"/>
                  <a:gd name="T87" fmla="*/ 1 h 173"/>
                  <a:gd name="T88" fmla="*/ 34 w 238"/>
                  <a:gd name="T89" fmla="*/ 1 h 173"/>
                  <a:gd name="T90" fmla="*/ 45 w 238"/>
                  <a:gd name="T91" fmla="*/ 3 h 173"/>
                  <a:gd name="T92" fmla="*/ 61 w 238"/>
                  <a:gd name="T93" fmla="*/ 1 h 173"/>
                  <a:gd name="T94" fmla="*/ 81 w 238"/>
                  <a:gd name="T95" fmla="*/ 8 h 173"/>
                  <a:gd name="T96" fmla="*/ 103 w 238"/>
                  <a:gd name="T97" fmla="*/ 6 h 173"/>
                  <a:gd name="T98" fmla="*/ 115 w 238"/>
                  <a:gd name="T99" fmla="*/ 7 h 173"/>
                  <a:gd name="T100" fmla="*/ 131 w 238"/>
                  <a:gd name="T101" fmla="*/ 10 h 173"/>
                  <a:gd name="T102" fmla="*/ 228 w 238"/>
                  <a:gd name="T103" fmla="*/ 90 h 173"/>
                  <a:gd name="T104" fmla="*/ 238 w 238"/>
                  <a:gd name="T105" fmla="*/ 90 h 173"/>
                  <a:gd name="T106" fmla="*/ 228 w 238"/>
                  <a:gd name="T107" fmla="*/ 90 h 173"/>
                  <a:gd name="T108" fmla="*/ 223 w 238"/>
                  <a:gd name="T109" fmla="*/ 94 h 173"/>
                  <a:gd name="T110" fmla="*/ 211 w 238"/>
                  <a:gd name="T111" fmla="*/ 95 h 173"/>
                  <a:gd name="T112" fmla="*/ 217 w 238"/>
                  <a:gd name="T113" fmla="*/ 102 h 173"/>
                  <a:gd name="T114" fmla="*/ 198 w 238"/>
                  <a:gd name="T115" fmla="*/ 110 h 173"/>
                  <a:gd name="T116" fmla="*/ 190 w 238"/>
                  <a:gd name="T117" fmla="*/ 112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38" h="173">
                    <a:moveTo>
                      <a:pt x="135" y="9"/>
                    </a:moveTo>
                    <a:cubicBezTo>
                      <a:pt x="138" y="10"/>
                      <a:pt x="138" y="10"/>
                      <a:pt x="138" y="10"/>
                    </a:cubicBezTo>
                    <a:cubicBezTo>
                      <a:pt x="139" y="11"/>
                      <a:pt x="139" y="11"/>
                      <a:pt x="139" y="11"/>
                    </a:cubicBezTo>
                    <a:cubicBezTo>
                      <a:pt x="141" y="12"/>
                      <a:pt x="141" y="12"/>
                      <a:pt x="141" y="12"/>
                    </a:cubicBezTo>
                    <a:cubicBezTo>
                      <a:pt x="142" y="16"/>
                      <a:pt x="142" y="16"/>
                      <a:pt x="142" y="16"/>
                    </a:cubicBezTo>
                    <a:cubicBezTo>
                      <a:pt x="141" y="19"/>
                      <a:pt x="141" y="19"/>
                      <a:pt x="141" y="19"/>
                    </a:cubicBezTo>
                    <a:cubicBezTo>
                      <a:pt x="147" y="18"/>
                      <a:pt x="147" y="18"/>
                      <a:pt x="147" y="18"/>
                    </a:cubicBezTo>
                    <a:cubicBezTo>
                      <a:pt x="154" y="21"/>
                      <a:pt x="154" y="21"/>
                      <a:pt x="154" y="21"/>
                    </a:cubicBezTo>
                    <a:cubicBezTo>
                      <a:pt x="158" y="25"/>
                      <a:pt x="158" y="25"/>
                      <a:pt x="158" y="25"/>
                    </a:cubicBezTo>
                    <a:cubicBezTo>
                      <a:pt x="162" y="23"/>
                      <a:pt x="162" y="23"/>
                      <a:pt x="162" y="23"/>
                    </a:cubicBezTo>
                    <a:cubicBezTo>
                      <a:pt x="166" y="27"/>
                      <a:pt x="166" y="27"/>
                      <a:pt x="166" y="27"/>
                    </a:cubicBezTo>
                    <a:cubicBezTo>
                      <a:pt x="172" y="27"/>
                      <a:pt x="172" y="27"/>
                      <a:pt x="172" y="27"/>
                    </a:cubicBezTo>
                    <a:cubicBezTo>
                      <a:pt x="174" y="28"/>
                      <a:pt x="174" y="28"/>
                      <a:pt x="174" y="28"/>
                    </a:cubicBezTo>
                    <a:cubicBezTo>
                      <a:pt x="177" y="25"/>
                      <a:pt x="177" y="25"/>
                      <a:pt x="177" y="25"/>
                    </a:cubicBezTo>
                    <a:cubicBezTo>
                      <a:pt x="186" y="25"/>
                      <a:pt x="186" y="25"/>
                      <a:pt x="186" y="25"/>
                    </a:cubicBezTo>
                    <a:cubicBezTo>
                      <a:pt x="190" y="26"/>
                      <a:pt x="190" y="26"/>
                      <a:pt x="190" y="26"/>
                    </a:cubicBezTo>
                    <a:cubicBezTo>
                      <a:pt x="195" y="26"/>
                      <a:pt x="195" y="26"/>
                      <a:pt x="195" y="26"/>
                    </a:cubicBezTo>
                    <a:cubicBezTo>
                      <a:pt x="200" y="29"/>
                      <a:pt x="200" y="29"/>
                      <a:pt x="200" y="29"/>
                    </a:cubicBezTo>
                    <a:cubicBezTo>
                      <a:pt x="209" y="28"/>
                      <a:pt x="209" y="28"/>
                      <a:pt x="209" y="28"/>
                    </a:cubicBezTo>
                    <a:cubicBezTo>
                      <a:pt x="216" y="32"/>
                      <a:pt x="216" y="32"/>
                      <a:pt x="216" y="32"/>
                    </a:cubicBezTo>
                    <a:cubicBezTo>
                      <a:pt x="218" y="33"/>
                      <a:pt x="218" y="33"/>
                      <a:pt x="218" y="33"/>
                    </a:cubicBezTo>
                    <a:cubicBezTo>
                      <a:pt x="218" y="35"/>
                      <a:pt x="218" y="35"/>
                      <a:pt x="218" y="35"/>
                    </a:cubicBezTo>
                    <a:cubicBezTo>
                      <a:pt x="215" y="37"/>
                      <a:pt x="215" y="37"/>
                      <a:pt x="215" y="37"/>
                    </a:cubicBezTo>
                    <a:cubicBezTo>
                      <a:pt x="216" y="42"/>
                      <a:pt x="216" y="42"/>
                      <a:pt x="216" y="42"/>
                    </a:cubicBezTo>
                    <a:cubicBezTo>
                      <a:pt x="216" y="47"/>
                      <a:pt x="216" y="47"/>
                      <a:pt x="216" y="47"/>
                    </a:cubicBezTo>
                    <a:cubicBezTo>
                      <a:pt x="214" y="51"/>
                      <a:pt x="214" y="51"/>
                      <a:pt x="214" y="51"/>
                    </a:cubicBezTo>
                    <a:cubicBezTo>
                      <a:pt x="207" y="55"/>
                      <a:pt x="207" y="55"/>
                      <a:pt x="207" y="55"/>
                    </a:cubicBezTo>
                    <a:cubicBezTo>
                      <a:pt x="207" y="55"/>
                      <a:pt x="204" y="59"/>
                      <a:pt x="203" y="59"/>
                    </a:cubicBezTo>
                    <a:cubicBezTo>
                      <a:pt x="197" y="61"/>
                      <a:pt x="197" y="61"/>
                      <a:pt x="197" y="61"/>
                    </a:cubicBezTo>
                    <a:cubicBezTo>
                      <a:pt x="190" y="61"/>
                      <a:pt x="190" y="61"/>
                      <a:pt x="190" y="61"/>
                    </a:cubicBezTo>
                    <a:cubicBezTo>
                      <a:pt x="185" y="64"/>
                      <a:pt x="185" y="64"/>
                      <a:pt x="185" y="64"/>
                    </a:cubicBezTo>
                    <a:cubicBezTo>
                      <a:pt x="181" y="66"/>
                      <a:pt x="181" y="66"/>
                      <a:pt x="181" y="66"/>
                    </a:cubicBezTo>
                    <a:cubicBezTo>
                      <a:pt x="183" y="68"/>
                      <a:pt x="183" y="68"/>
                      <a:pt x="183" y="68"/>
                    </a:cubicBezTo>
                    <a:cubicBezTo>
                      <a:pt x="182" y="72"/>
                      <a:pt x="182" y="72"/>
                      <a:pt x="182" y="72"/>
                    </a:cubicBezTo>
                    <a:cubicBezTo>
                      <a:pt x="179" y="74"/>
                      <a:pt x="179" y="74"/>
                      <a:pt x="179" y="74"/>
                    </a:cubicBezTo>
                    <a:cubicBezTo>
                      <a:pt x="179" y="73"/>
                      <a:pt x="179" y="73"/>
                      <a:pt x="179" y="73"/>
                    </a:cubicBezTo>
                    <a:cubicBezTo>
                      <a:pt x="179" y="73"/>
                      <a:pt x="179" y="73"/>
                      <a:pt x="179" y="73"/>
                    </a:cubicBezTo>
                    <a:cubicBezTo>
                      <a:pt x="177" y="72"/>
                      <a:pt x="177" y="72"/>
                      <a:pt x="177" y="72"/>
                    </a:cubicBezTo>
                    <a:cubicBezTo>
                      <a:pt x="172" y="81"/>
                      <a:pt x="172" y="81"/>
                      <a:pt x="172" y="81"/>
                    </a:cubicBezTo>
                    <a:cubicBezTo>
                      <a:pt x="168" y="83"/>
                      <a:pt x="168" y="83"/>
                      <a:pt x="168" y="83"/>
                    </a:cubicBezTo>
                    <a:cubicBezTo>
                      <a:pt x="160" y="95"/>
                      <a:pt x="160" y="95"/>
                      <a:pt x="160" y="95"/>
                    </a:cubicBezTo>
                    <a:cubicBezTo>
                      <a:pt x="158" y="98"/>
                      <a:pt x="158" y="98"/>
                      <a:pt x="158" y="98"/>
                    </a:cubicBezTo>
                    <a:cubicBezTo>
                      <a:pt x="162" y="103"/>
                      <a:pt x="162" y="103"/>
                      <a:pt x="162" y="103"/>
                    </a:cubicBezTo>
                    <a:cubicBezTo>
                      <a:pt x="162" y="107"/>
                      <a:pt x="162" y="107"/>
                      <a:pt x="162" y="107"/>
                    </a:cubicBezTo>
                    <a:cubicBezTo>
                      <a:pt x="165" y="108"/>
                      <a:pt x="165" y="108"/>
                      <a:pt x="165" y="108"/>
                    </a:cubicBezTo>
                    <a:cubicBezTo>
                      <a:pt x="170" y="115"/>
                      <a:pt x="170" y="115"/>
                      <a:pt x="170" y="115"/>
                    </a:cubicBezTo>
                    <a:cubicBezTo>
                      <a:pt x="166" y="118"/>
                      <a:pt x="166" y="118"/>
                      <a:pt x="166" y="118"/>
                    </a:cubicBezTo>
                    <a:cubicBezTo>
                      <a:pt x="159" y="120"/>
                      <a:pt x="159" y="120"/>
                      <a:pt x="159" y="120"/>
                    </a:cubicBezTo>
                    <a:cubicBezTo>
                      <a:pt x="160" y="124"/>
                      <a:pt x="160" y="124"/>
                      <a:pt x="160" y="124"/>
                    </a:cubicBezTo>
                    <a:cubicBezTo>
                      <a:pt x="154" y="133"/>
                      <a:pt x="154" y="133"/>
                      <a:pt x="154" y="133"/>
                    </a:cubicBezTo>
                    <a:cubicBezTo>
                      <a:pt x="153" y="138"/>
                      <a:pt x="153" y="138"/>
                      <a:pt x="153" y="138"/>
                    </a:cubicBezTo>
                    <a:cubicBezTo>
                      <a:pt x="154" y="140"/>
                      <a:pt x="154" y="140"/>
                      <a:pt x="154" y="140"/>
                    </a:cubicBezTo>
                    <a:cubicBezTo>
                      <a:pt x="153" y="142"/>
                      <a:pt x="153" y="142"/>
                      <a:pt x="153" y="142"/>
                    </a:cubicBezTo>
                    <a:cubicBezTo>
                      <a:pt x="146" y="142"/>
                      <a:pt x="146" y="142"/>
                      <a:pt x="146" y="142"/>
                    </a:cubicBezTo>
                    <a:cubicBezTo>
                      <a:pt x="135" y="148"/>
                      <a:pt x="135" y="148"/>
                      <a:pt x="135" y="148"/>
                    </a:cubicBezTo>
                    <a:cubicBezTo>
                      <a:pt x="135" y="151"/>
                      <a:pt x="135" y="151"/>
                      <a:pt x="135" y="151"/>
                    </a:cubicBezTo>
                    <a:cubicBezTo>
                      <a:pt x="130" y="158"/>
                      <a:pt x="130" y="158"/>
                      <a:pt x="130" y="158"/>
                    </a:cubicBezTo>
                    <a:cubicBezTo>
                      <a:pt x="126" y="157"/>
                      <a:pt x="126" y="157"/>
                      <a:pt x="126" y="157"/>
                    </a:cubicBezTo>
                    <a:cubicBezTo>
                      <a:pt x="122" y="153"/>
                      <a:pt x="122" y="153"/>
                      <a:pt x="122" y="153"/>
                    </a:cubicBezTo>
                    <a:cubicBezTo>
                      <a:pt x="121" y="157"/>
                      <a:pt x="121" y="157"/>
                      <a:pt x="121" y="157"/>
                    </a:cubicBezTo>
                    <a:cubicBezTo>
                      <a:pt x="117" y="159"/>
                      <a:pt x="117" y="159"/>
                      <a:pt x="117" y="159"/>
                    </a:cubicBezTo>
                    <a:cubicBezTo>
                      <a:pt x="114" y="157"/>
                      <a:pt x="114" y="157"/>
                      <a:pt x="114" y="157"/>
                    </a:cubicBezTo>
                    <a:cubicBezTo>
                      <a:pt x="111" y="157"/>
                      <a:pt x="111" y="157"/>
                      <a:pt x="111" y="157"/>
                    </a:cubicBezTo>
                    <a:cubicBezTo>
                      <a:pt x="110" y="158"/>
                      <a:pt x="110" y="158"/>
                      <a:pt x="110" y="158"/>
                    </a:cubicBezTo>
                    <a:cubicBezTo>
                      <a:pt x="104" y="158"/>
                      <a:pt x="104" y="158"/>
                      <a:pt x="104" y="158"/>
                    </a:cubicBezTo>
                    <a:cubicBezTo>
                      <a:pt x="96" y="156"/>
                      <a:pt x="96" y="156"/>
                      <a:pt x="96" y="156"/>
                    </a:cubicBezTo>
                    <a:cubicBezTo>
                      <a:pt x="93" y="157"/>
                      <a:pt x="93" y="157"/>
                      <a:pt x="93" y="157"/>
                    </a:cubicBezTo>
                    <a:cubicBezTo>
                      <a:pt x="86" y="158"/>
                      <a:pt x="86" y="158"/>
                      <a:pt x="86" y="158"/>
                    </a:cubicBezTo>
                    <a:cubicBezTo>
                      <a:pt x="80" y="164"/>
                      <a:pt x="80" y="164"/>
                      <a:pt x="80" y="164"/>
                    </a:cubicBezTo>
                    <a:cubicBezTo>
                      <a:pt x="73" y="165"/>
                      <a:pt x="73" y="165"/>
                      <a:pt x="73" y="165"/>
                    </a:cubicBezTo>
                    <a:cubicBezTo>
                      <a:pt x="71" y="167"/>
                      <a:pt x="71" y="167"/>
                      <a:pt x="71" y="167"/>
                    </a:cubicBezTo>
                    <a:cubicBezTo>
                      <a:pt x="70" y="170"/>
                      <a:pt x="70" y="170"/>
                      <a:pt x="70" y="170"/>
                    </a:cubicBezTo>
                    <a:cubicBezTo>
                      <a:pt x="65" y="173"/>
                      <a:pt x="65" y="173"/>
                      <a:pt x="65" y="173"/>
                    </a:cubicBezTo>
                    <a:cubicBezTo>
                      <a:pt x="59" y="172"/>
                      <a:pt x="59" y="172"/>
                      <a:pt x="59" y="172"/>
                    </a:cubicBezTo>
                    <a:cubicBezTo>
                      <a:pt x="52" y="166"/>
                      <a:pt x="52" y="166"/>
                      <a:pt x="52" y="166"/>
                    </a:cubicBezTo>
                    <a:cubicBezTo>
                      <a:pt x="49" y="157"/>
                      <a:pt x="49" y="157"/>
                      <a:pt x="49" y="157"/>
                    </a:cubicBezTo>
                    <a:cubicBezTo>
                      <a:pt x="49" y="156"/>
                      <a:pt x="49" y="156"/>
                      <a:pt x="49" y="156"/>
                    </a:cubicBezTo>
                    <a:cubicBezTo>
                      <a:pt x="41" y="149"/>
                      <a:pt x="41" y="149"/>
                      <a:pt x="41" y="149"/>
                    </a:cubicBezTo>
                    <a:cubicBezTo>
                      <a:pt x="36" y="148"/>
                      <a:pt x="36" y="148"/>
                      <a:pt x="36" y="148"/>
                    </a:cubicBezTo>
                    <a:cubicBezTo>
                      <a:pt x="33" y="147"/>
                      <a:pt x="33" y="147"/>
                      <a:pt x="33" y="147"/>
                    </a:cubicBezTo>
                    <a:cubicBezTo>
                      <a:pt x="33" y="143"/>
                      <a:pt x="33" y="143"/>
                      <a:pt x="33" y="143"/>
                    </a:cubicBezTo>
                    <a:cubicBezTo>
                      <a:pt x="30" y="139"/>
                      <a:pt x="30" y="139"/>
                      <a:pt x="30" y="139"/>
                    </a:cubicBezTo>
                    <a:cubicBezTo>
                      <a:pt x="34" y="131"/>
                      <a:pt x="34" y="131"/>
                      <a:pt x="34" y="131"/>
                    </a:cubicBezTo>
                    <a:cubicBezTo>
                      <a:pt x="39" y="127"/>
                      <a:pt x="39" y="127"/>
                      <a:pt x="39" y="127"/>
                    </a:cubicBezTo>
                    <a:cubicBezTo>
                      <a:pt x="39" y="124"/>
                      <a:pt x="39" y="124"/>
                      <a:pt x="39" y="124"/>
                    </a:cubicBezTo>
                    <a:cubicBezTo>
                      <a:pt x="35" y="123"/>
                      <a:pt x="35" y="123"/>
                      <a:pt x="35" y="123"/>
                    </a:cubicBezTo>
                    <a:cubicBezTo>
                      <a:pt x="33" y="118"/>
                      <a:pt x="33" y="118"/>
                      <a:pt x="33" y="118"/>
                    </a:cubicBezTo>
                    <a:cubicBezTo>
                      <a:pt x="39" y="112"/>
                      <a:pt x="39" y="112"/>
                      <a:pt x="39" y="112"/>
                    </a:cubicBezTo>
                    <a:cubicBezTo>
                      <a:pt x="38" y="105"/>
                      <a:pt x="38" y="105"/>
                      <a:pt x="38" y="105"/>
                    </a:cubicBezTo>
                    <a:cubicBezTo>
                      <a:pt x="34" y="102"/>
                      <a:pt x="34" y="102"/>
                      <a:pt x="34" y="102"/>
                    </a:cubicBezTo>
                    <a:cubicBezTo>
                      <a:pt x="29" y="93"/>
                      <a:pt x="29" y="93"/>
                      <a:pt x="29" y="93"/>
                    </a:cubicBezTo>
                    <a:cubicBezTo>
                      <a:pt x="34" y="92"/>
                      <a:pt x="34" y="92"/>
                      <a:pt x="34" y="92"/>
                    </a:cubicBezTo>
                    <a:cubicBezTo>
                      <a:pt x="37" y="92"/>
                      <a:pt x="37" y="92"/>
                      <a:pt x="37" y="92"/>
                    </a:cubicBezTo>
                    <a:cubicBezTo>
                      <a:pt x="42" y="86"/>
                      <a:pt x="42" y="86"/>
                      <a:pt x="42" y="86"/>
                    </a:cubicBezTo>
                    <a:cubicBezTo>
                      <a:pt x="39" y="82"/>
                      <a:pt x="39" y="82"/>
                      <a:pt x="39" y="82"/>
                    </a:cubicBezTo>
                    <a:cubicBezTo>
                      <a:pt x="43" y="78"/>
                      <a:pt x="43" y="78"/>
                      <a:pt x="43" y="78"/>
                    </a:cubicBezTo>
                    <a:cubicBezTo>
                      <a:pt x="43" y="67"/>
                      <a:pt x="43" y="67"/>
                      <a:pt x="43" y="67"/>
                    </a:cubicBezTo>
                    <a:cubicBezTo>
                      <a:pt x="42" y="62"/>
                      <a:pt x="42" y="62"/>
                      <a:pt x="42" y="62"/>
                    </a:cubicBezTo>
                    <a:cubicBezTo>
                      <a:pt x="50" y="55"/>
                      <a:pt x="50" y="55"/>
                      <a:pt x="50" y="55"/>
                    </a:cubicBezTo>
                    <a:cubicBezTo>
                      <a:pt x="52" y="55"/>
                      <a:pt x="52" y="55"/>
                      <a:pt x="52" y="55"/>
                    </a:cubicBezTo>
                    <a:cubicBezTo>
                      <a:pt x="54" y="51"/>
                      <a:pt x="54" y="51"/>
                      <a:pt x="54" y="51"/>
                    </a:cubicBezTo>
                    <a:cubicBezTo>
                      <a:pt x="50" y="46"/>
                      <a:pt x="50" y="46"/>
                      <a:pt x="50" y="46"/>
                    </a:cubicBezTo>
                    <a:cubicBezTo>
                      <a:pt x="49" y="41"/>
                      <a:pt x="49" y="41"/>
                      <a:pt x="49" y="41"/>
                    </a:cubicBezTo>
                    <a:cubicBezTo>
                      <a:pt x="40" y="40"/>
                      <a:pt x="40" y="40"/>
                      <a:pt x="40" y="40"/>
                    </a:cubicBezTo>
                    <a:cubicBezTo>
                      <a:pt x="36" y="44"/>
                      <a:pt x="36" y="44"/>
                      <a:pt x="36" y="44"/>
                    </a:cubicBezTo>
                    <a:cubicBezTo>
                      <a:pt x="26" y="42"/>
                      <a:pt x="26" y="42"/>
                      <a:pt x="26" y="42"/>
                    </a:cubicBezTo>
                    <a:cubicBezTo>
                      <a:pt x="19" y="45"/>
                      <a:pt x="19" y="45"/>
                      <a:pt x="19" y="45"/>
                    </a:cubicBezTo>
                    <a:cubicBezTo>
                      <a:pt x="18" y="42"/>
                      <a:pt x="18" y="42"/>
                      <a:pt x="18" y="42"/>
                    </a:cubicBezTo>
                    <a:cubicBezTo>
                      <a:pt x="18" y="38"/>
                      <a:pt x="18" y="38"/>
                      <a:pt x="18" y="38"/>
                    </a:cubicBezTo>
                    <a:cubicBezTo>
                      <a:pt x="15" y="37"/>
                      <a:pt x="15" y="37"/>
                      <a:pt x="15" y="37"/>
                    </a:cubicBezTo>
                    <a:cubicBezTo>
                      <a:pt x="7" y="39"/>
                      <a:pt x="7" y="39"/>
                      <a:pt x="7" y="39"/>
                    </a:cubicBezTo>
                    <a:cubicBezTo>
                      <a:pt x="6" y="38"/>
                      <a:pt x="6" y="38"/>
                      <a:pt x="6" y="38"/>
                    </a:cubicBezTo>
                    <a:cubicBezTo>
                      <a:pt x="11" y="34"/>
                      <a:pt x="11" y="34"/>
                      <a:pt x="11" y="34"/>
                    </a:cubicBezTo>
                    <a:cubicBezTo>
                      <a:pt x="8" y="33"/>
                      <a:pt x="8" y="33"/>
                      <a:pt x="8" y="33"/>
                    </a:cubicBezTo>
                    <a:cubicBezTo>
                      <a:pt x="10" y="31"/>
                      <a:pt x="10" y="31"/>
                      <a:pt x="10" y="31"/>
                    </a:cubicBezTo>
                    <a:cubicBezTo>
                      <a:pt x="9" y="30"/>
                      <a:pt x="9" y="30"/>
                      <a:pt x="9" y="30"/>
                    </a:cubicBezTo>
                    <a:cubicBezTo>
                      <a:pt x="9" y="26"/>
                      <a:pt x="9" y="26"/>
                      <a:pt x="9" y="26"/>
                    </a:cubicBezTo>
                    <a:cubicBezTo>
                      <a:pt x="6" y="29"/>
                      <a:pt x="6" y="29"/>
                      <a:pt x="6" y="29"/>
                    </a:cubicBezTo>
                    <a:cubicBezTo>
                      <a:pt x="5" y="28"/>
                      <a:pt x="5" y="28"/>
                      <a:pt x="5" y="28"/>
                    </a:cubicBezTo>
                    <a:cubicBezTo>
                      <a:pt x="6" y="23"/>
                      <a:pt x="6" y="23"/>
                      <a:pt x="6" y="23"/>
                    </a:cubicBezTo>
                    <a:cubicBezTo>
                      <a:pt x="4" y="22"/>
                      <a:pt x="4" y="22"/>
                      <a:pt x="4" y="22"/>
                    </a:cubicBezTo>
                    <a:cubicBezTo>
                      <a:pt x="4" y="20"/>
                      <a:pt x="4" y="20"/>
                      <a:pt x="4" y="20"/>
                    </a:cubicBezTo>
                    <a:cubicBezTo>
                      <a:pt x="2" y="21"/>
                      <a:pt x="2" y="21"/>
                      <a:pt x="2" y="21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10" y="10"/>
                      <a:pt x="10" y="10"/>
                      <a:pt x="10" y="10"/>
                    </a:cubicBezTo>
                    <a:cubicBezTo>
                      <a:pt x="12" y="11"/>
                      <a:pt x="12" y="11"/>
                      <a:pt x="12" y="11"/>
                    </a:cubicBezTo>
                    <a:cubicBezTo>
                      <a:pt x="18" y="11"/>
                      <a:pt x="18" y="11"/>
                      <a:pt x="18" y="11"/>
                    </a:cubicBezTo>
                    <a:cubicBezTo>
                      <a:pt x="21" y="9"/>
                      <a:pt x="21" y="9"/>
                      <a:pt x="21" y="9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8" y="5"/>
                      <a:pt x="18" y="5"/>
                      <a:pt x="18" y="5"/>
                    </a:cubicBezTo>
                    <a:cubicBezTo>
                      <a:pt x="25" y="1"/>
                      <a:pt x="25" y="1"/>
                      <a:pt x="25" y="1"/>
                    </a:cubicBezTo>
                    <a:cubicBezTo>
                      <a:pt x="26" y="2"/>
                      <a:pt x="26" y="2"/>
                      <a:pt x="26" y="2"/>
                    </a:cubicBezTo>
                    <a:cubicBezTo>
                      <a:pt x="29" y="0"/>
                      <a:pt x="29" y="0"/>
                      <a:pt x="29" y="0"/>
                    </a:cubicBezTo>
                    <a:cubicBezTo>
                      <a:pt x="34" y="1"/>
                      <a:pt x="34" y="1"/>
                      <a:pt x="34" y="1"/>
                    </a:cubicBezTo>
                    <a:cubicBezTo>
                      <a:pt x="38" y="6"/>
                      <a:pt x="38" y="6"/>
                      <a:pt x="38" y="6"/>
                    </a:cubicBezTo>
                    <a:cubicBezTo>
                      <a:pt x="42" y="3"/>
                      <a:pt x="42" y="3"/>
                      <a:pt x="42" y="3"/>
                    </a:cubicBezTo>
                    <a:cubicBezTo>
                      <a:pt x="45" y="3"/>
                      <a:pt x="45" y="3"/>
                      <a:pt x="45" y="3"/>
                    </a:cubicBezTo>
                    <a:cubicBezTo>
                      <a:pt x="50" y="5"/>
                      <a:pt x="50" y="5"/>
                      <a:pt x="50" y="5"/>
                    </a:cubicBezTo>
                    <a:cubicBezTo>
                      <a:pt x="55" y="3"/>
                      <a:pt x="55" y="3"/>
                      <a:pt x="55" y="3"/>
                    </a:cubicBezTo>
                    <a:cubicBezTo>
                      <a:pt x="61" y="1"/>
                      <a:pt x="61" y="1"/>
                      <a:pt x="61" y="1"/>
                    </a:cubicBezTo>
                    <a:cubicBezTo>
                      <a:pt x="62" y="3"/>
                      <a:pt x="62" y="3"/>
                      <a:pt x="62" y="3"/>
                    </a:cubicBezTo>
                    <a:cubicBezTo>
                      <a:pt x="67" y="6"/>
                      <a:pt x="67" y="6"/>
                      <a:pt x="67" y="6"/>
                    </a:cubicBezTo>
                    <a:cubicBezTo>
                      <a:pt x="81" y="8"/>
                      <a:pt x="81" y="8"/>
                      <a:pt x="81" y="8"/>
                    </a:cubicBezTo>
                    <a:cubicBezTo>
                      <a:pt x="87" y="9"/>
                      <a:pt x="87" y="9"/>
                      <a:pt x="87" y="9"/>
                    </a:cubicBezTo>
                    <a:cubicBezTo>
                      <a:pt x="97" y="5"/>
                      <a:pt x="97" y="5"/>
                      <a:pt x="97" y="5"/>
                    </a:cubicBezTo>
                    <a:cubicBezTo>
                      <a:pt x="103" y="6"/>
                      <a:pt x="103" y="6"/>
                      <a:pt x="103" y="6"/>
                    </a:cubicBezTo>
                    <a:cubicBezTo>
                      <a:pt x="105" y="9"/>
                      <a:pt x="105" y="9"/>
                      <a:pt x="105" y="9"/>
                    </a:cubicBezTo>
                    <a:cubicBezTo>
                      <a:pt x="112" y="10"/>
                      <a:pt x="112" y="10"/>
                      <a:pt x="112" y="10"/>
                    </a:cubicBezTo>
                    <a:cubicBezTo>
                      <a:pt x="115" y="7"/>
                      <a:pt x="115" y="7"/>
                      <a:pt x="115" y="7"/>
                    </a:cubicBezTo>
                    <a:cubicBezTo>
                      <a:pt x="118" y="7"/>
                      <a:pt x="118" y="7"/>
                      <a:pt x="118" y="7"/>
                    </a:cubicBezTo>
                    <a:cubicBezTo>
                      <a:pt x="129" y="13"/>
                      <a:pt x="129" y="13"/>
                      <a:pt x="129" y="13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3" y="10"/>
                      <a:pt x="133" y="10"/>
                      <a:pt x="133" y="10"/>
                    </a:cubicBezTo>
                    <a:cubicBezTo>
                      <a:pt x="135" y="9"/>
                      <a:pt x="135" y="9"/>
                      <a:pt x="135" y="9"/>
                    </a:cubicBezTo>
                    <a:close/>
                    <a:moveTo>
                      <a:pt x="228" y="90"/>
                    </a:moveTo>
                    <a:cubicBezTo>
                      <a:pt x="234" y="90"/>
                      <a:pt x="234" y="90"/>
                      <a:pt x="234" y="90"/>
                    </a:cubicBezTo>
                    <a:cubicBezTo>
                      <a:pt x="237" y="92"/>
                      <a:pt x="237" y="92"/>
                      <a:pt x="237" y="92"/>
                    </a:cubicBezTo>
                    <a:cubicBezTo>
                      <a:pt x="238" y="90"/>
                      <a:pt x="238" y="90"/>
                      <a:pt x="238" y="90"/>
                    </a:cubicBezTo>
                    <a:cubicBezTo>
                      <a:pt x="234" y="86"/>
                      <a:pt x="234" y="86"/>
                      <a:pt x="234" y="86"/>
                    </a:cubicBezTo>
                    <a:cubicBezTo>
                      <a:pt x="229" y="87"/>
                      <a:pt x="229" y="87"/>
                      <a:pt x="229" y="87"/>
                    </a:cubicBezTo>
                    <a:cubicBezTo>
                      <a:pt x="228" y="90"/>
                      <a:pt x="228" y="90"/>
                      <a:pt x="228" y="90"/>
                    </a:cubicBezTo>
                    <a:close/>
                    <a:moveTo>
                      <a:pt x="217" y="102"/>
                    </a:moveTo>
                    <a:cubicBezTo>
                      <a:pt x="218" y="97"/>
                      <a:pt x="218" y="97"/>
                      <a:pt x="218" y="97"/>
                    </a:cubicBezTo>
                    <a:cubicBezTo>
                      <a:pt x="223" y="94"/>
                      <a:pt x="223" y="94"/>
                      <a:pt x="223" y="94"/>
                    </a:cubicBezTo>
                    <a:cubicBezTo>
                      <a:pt x="219" y="93"/>
                      <a:pt x="219" y="93"/>
                      <a:pt x="219" y="93"/>
                    </a:cubicBezTo>
                    <a:cubicBezTo>
                      <a:pt x="214" y="93"/>
                      <a:pt x="214" y="93"/>
                      <a:pt x="214" y="93"/>
                    </a:cubicBezTo>
                    <a:cubicBezTo>
                      <a:pt x="211" y="95"/>
                      <a:pt x="211" y="95"/>
                      <a:pt x="211" y="95"/>
                    </a:cubicBezTo>
                    <a:cubicBezTo>
                      <a:pt x="210" y="98"/>
                      <a:pt x="210" y="98"/>
                      <a:pt x="210" y="98"/>
                    </a:cubicBezTo>
                    <a:cubicBezTo>
                      <a:pt x="214" y="100"/>
                      <a:pt x="214" y="100"/>
                      <a:pt x="214" y="100"/>
                    </a:cubicBezTo>
                    <a:cubicBezTo>
                      <a:pt x="217" y="102"/>
                      <a:pt x="217" y="102"/>
                      <a:pt x="217" y="102"/>
                    </a:cubicBezTo>
                    <a:close/>
                    <a:moveTo>
                      <a:pt x="193" y="115"/>
                    </a:moveTo>
                    <a:cubicBezTo>
                      <a:pt x="195" y="112"/>
                      <a:pt x="195" y="112"/>
                      <a:pt x="195" y="112"/>
                    </a:cubicBezTo>
                    <a:cubicBezTo>
                      <a:pt x="198" y="110"/>
                      <a:pt x="198" y="110"/>
                      <a:pt x="198" y="110"/>
                    </a:cubicBezTo>
                    <a:cubicBezTo>
                      <a:pt x="196" y="107"/>
                      <a:pt x="196" y="107"/>
                      <a:pt x="196" y="107"/>
                    </a:cubicBezTo>
                    <a:cubicBezTo>
                      <a:pt x="191" y="109"/>
                      <a:pt x="191" y="109"/>
                      <a:pt x="191" y="109"/>
                    </a:cubicBezTo>
                    <a:cubicBezTo>
                      <a:pt x="190" y="112"/>
                      <a:pt x="190" y="112"/>
                      <a:pt x="190" y="112"/>
                    </a:cubicBezTo>
                    <a:lnTo>
                      <a:pt x="193" y="115"/>
                    </a:lnTo>
                    <a:close/>
                  </a:path>
                </a:pathLst>
              </a:custGeom>
              <a:solidFill>
                <a:srgbClr val="65625E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989" name="Freeform 392"/>
              <p:cNvSpPr>
                <a:spLocks/>
              </p:cNvSpPr>
              <p:nvPr userDrawn="1"/>
            </p:nvSpPr>
            <p:spPr bwMode="auto">
              <a:xfrm>
                <a:off x="3239" y="2262"/>
                <a:ext cx="213" cy="162"/>
              </a:xfrm>
              <a:custGeom>
                <a:avLst/>
                <a:gdLst>
                  <a:gd name="T0" fmla="*/ 74 w 213"/>
                  <a:gd name="T1" fmla="*/ 147 h 162"/>
                  <a:gd name="T2" fmla="*/ 86 w 213"/>
                  <a:gd name="T3" fmla="*/ 136 h 162"/>
                  <a:gd name="T4" fmla="*/ 101 w 213"/>
                  <a:gd name="T5" fmla="*/ 131 h 162"/>
                  <a:gd name="T6" fmla="*/ 110 w 213"/>
                  <a:gd name="T7" fmla="*/ 131 h 162"/>
                  <a:gd name="T8" fmla="*/ 124 w 213"/>
                  <a:gd name="T9" fmla="*/ 129 h 162"/>
                  <a:gd name="T10" fmla="*/ 159 w 213"/>
                  <a:gd name="T11" fmla="*/ 109 h 162"/>
                  <a:gd name="T12" fmla="*/ 173 w 213"/>
                  <a:gd name="T13" fmla="*/ 97 h 162"/>
                  <a:gd name="T14" fmla="*/ 175 w 213"/>
                  <a:gd name="T15" fmla="*/ 88 h 162"/>
                  <a:gd name="T16" fmla="*/ 183 w 213"/>
                  <a:gd name="T17" fmla="*/ 78 h 162"/>
                  <a:gd name="T18" fmla="*/ 209 w 213"/>
                  <a:gd name="T19" fmla="*/ 77 h 162"/>
                  <a:gd name="T20" fmla="*/ 211 w 213"/>
                  <a:gd name="T21" fmla="*/ 72 h 162"/>
                  <a:gd name="T22" fmla="*/ 211 w 213"/>
                  <a:gd name="T23" fmla="*/ 66 h 162"/>
                  <a:gd name="T24" fmla="*/ 207 w 213"/>
                  <a:gd name="T25" fmla="*/ 65 h 162"/>
                  <a:gd name="T26" fmla="*/ 204 w 213"/>
                  <a:gd name="T27" fmla="*/ 60 h 162"/>
                  <a:gd name="T28" fmla="*/ 200 w 213"/>
                  <a:gd name="T29" fmla="*/ 42 h 162"/>
                  <a:gd name="T30" fmla="*/ 199 w 213"/>
                  <a:gd name="T31" fmla="*/ 32 h 162"/>
                  <a:gd name="T32" fmla="*/ 198 w 213"/>
                  <a:gd name="T33" fmla="*/ 25 h 162"/>
                  <a:gd name="T34" fmla="*/ 196 w 213"/>
                  <a:gd name="T35" fmla="*/ 20 h 162"/>
                  <a:gd name="T36" fmla="*/ 193 w 213"/>
                  <a:gd name="T37" fmla="*/ 16 h 162"/>
                  <a:gd name="T38" fmla="*/ 181 w 213"/>
                  <a:gd name="T39" fmla="*/ 15 h 162"/>
                  <a:gd name="T40" fmla="*/ 177 w 213"/>
                  <a:gd name="T41" fmla="*/ 9 h 162"/>
                  <a:gd name="T42" fmla="*/ 176 w 213"/>
                  <a:gd name="T43" fmla="*/ 8 h 162"/>
                  <a:gd name="T44" fmla="*/ 166 w 213"/>
                  <a:gd name="T45" fmla="*/ 13 h 162"/>
                  <a:gd name="T46" fmla="*/ 158 w 213"/>
                  <a:gd name="T47" fmla="*/ 11 h 162"/>
                  <a:gd name="T48" fmla="*/ 148 w 213"/>
                  <a:gd name="T49" fmla="*/ 14 h 162"/>
                  <a:gd name="T50" fmla="*/ 140 w 213"/>
                  <a:gd name="T51" fmla="*/ 8 h 162"/>
                  <a:gd name="T52" fmla="*/ 137 w 213"/>
                  <a:gd name="T53" fmla="*/ 4 h 162"/>
                  <a:gd name="T54" fmla="*/ 137 w 213"/>
                  <a:gd name="T55" fmla="*/ 1 h 162"/>
                  <a:gd name="T56" fmla="*/ 133 w 213"/>
                  <a:gd name="T57" fmla="*/ 1 h 162"/>
                  <a:gd name="T58" fmla="*/ 128 w 213"/>
                  <a:gd name="T59" fmla="*/ 1 h 162"/>
                  <a:gd name="T60" fmla="*/ 123 w 213"/>
                  <a:gd name="T61" fmla="*/ 15 h 162"/>
                  <a:gd name="T62" fmla="*/ 119 w 213"/>
                  <a:gd name="T63" fmla="*/ 27 h 162"/>
                  <a:gd name="T64" fmla="*/ 108 w 213"/>
                  <a:gd name="T65" fmla="*/ 40 h 162"/>
                  <a:gd name="T66" fmla="*/ 102 w 213"/>
                  <a:gd name="T67" fmla="*/ 43 h 162"/>
                  <a:gd name="T68" fmla="*/ 90 w 213"/>
                  <a:gd name="T69" fmla="*/ 50 h 162"/>
                  <a:gd name="T70" fmla="*/ 81 w 213"/>
                  <a:gd name="T71" fmla="*/ 55 h 162"/>
                  <a:gd name="T72" fmla="*/ 74 w 213"/>
                  <a:gd name="T73" fmla="*/ 60 h 162"/>
                  <a:gd name="T74" fmla="*/ 69 w 213"/>
                  <a:gd name="T75" fmla="*/ 72 h 162"/>
                  <a:gd name="T76" fmla="*/ 60 w 213"/>
                  <a:gd name="T77" fmla="*/ 83 h 162"/>
                  <a:gd name="T78" fmla="*/ 56 w 213"/>
                  <a:gd name="T79" fmla="*/ 96 h 162"/>
                  <a:gd name="T80" fmla="*/ 56 w 213"/>
                  <a:gd name="T81" fmla="*/ 109 h 162"/>
                  <a:gd name="T82" fmla="*/ 60 w 213"/>
                  <a:gd name="T83" fmla="*/ 112 h 162"/>
                  <a:gd name="T84" fmla="*/ 47 w 213"/>
                  <a:gd name="T85" fmla="*/ 130 h 162"/>
                  <a:gd name="T86" fmla="*/ 41 w 213"/>
                  <a:gd name="T87" fmla="*/ 140 h 162"/>
                  <a:gd name="T88" fmla="*/ 22 w 213"/>
                  <a:gd name="T89" fmla="*/ 153 h 162"/>
                  <a:gd name="T90" fmla="*/ 0 w 213"/>
                  <a:gd name="T91" fmla="*/ 161 h 162"/>
                  <a:gd name="T92" fmla="*/ 74 w 213"/>
                  <a:gd name="T93" fmla="*/ 162 h 162"/>
                  <a:gd name="T94" fmla="*/ 74 w 213"/>
                  <a:gd name="T95" fmla="*/ 162 h 1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13" h="162">
                    <a:moveTo>
                      <a:pt x="74" y="162"/>
                    </a:moveTo>
                    <a:lnTo>
                      <a:pt x="74" y="147"/>
                    </a:lnTo>
                    <a:lnTo>
                      <a:pt x="82" y="141"/>
                    </a:lnTo>
                    <a:lnTo>
                      <a:pt x="86" y="136"/>
                    </a:lnTo>
                    <a:lnTo>
                      <a:pt x="92" y="133"/>
                    </a:lnTo>
                    <a:lnTo>
                      <a:pt x="101" y="131"/>
                    </a:lnTo>
                    <a:lnTo>
                      <a:pt x="107" y="131"/>
                    </a:lnTo>
                    <a:lnTo>
                      <a:pt x="110" y="131"/>
                    </a:lnTo>
                    <a:lnTo>
                      <a:pt x="117" y="131"/>
                    </a:lnTo>
                    <a:lnTo>
                      <a:pt x="124" y="129"/>
                    </a:lnTo>
                    <a:lnTo>
                      <a:pt x="140" y="120"/>
                    </a:lnTo>
                    <a:lnTo>
                      <a:pt x="159" y="109"/>
                    </a:lnTo>
                    <a:lnTo>
                      <a:pt x="171" y="101"/>
                    </a:lnTo>
                    <a:lnTo>
                      <a:pt x="173" y="97"/>
                    </a:lnTo>
                    <a:lnTo>
                      <a:pt x="173" y="91"/>
                    </a:lnTo>
                    <a:lnTo>
                      <a:pt x="175" y="88"/>
                    </a:lnTo>
                    <a:lnTo>
                      <a:pt x="179" y="85"/>
                    </a:lnTo>
                    <a:lnTo>
                      <a:pt x="183" y="78"/>
                    </a:lnTo>
                    <a:lnTo>
                      <a:pt x="187" y="77"/>
                    </a:lnTo>
                    <a:lnTo>
                      <a:pt x="209" y="77"/>
                    </a:lnTo>
                    <a:lnTo>
                      <a:pt x="211" y="73"/>
                    </a:lnTo>
                    <a:lnTo>
                      <a:pt x="211" y="72"/>
                    </a:lnTo>
                    <a:lnTo>
                      <a:pt x="213" y="67"/>
                    </a:lnTo>
                    <a:lnTo>
                      <a:pt x="211" y="66"/>
                    </a:lnTo>
                    <a:lnTo>
                      <a:pt x="209" y="66"/>
                    </a:lnTo>
                    <a:lnTo>
                      <a:pt x="207" y="65"/>
                    </a:lnTo>
                    <a:lnTo>
                      <a:pt x="205" y="64"/>
                    </a:lnTo>
                    <a:lnTo>
                      <a:pt x="204" y="60"/>
                    </a:lnTo>
                    <a:lnTo>
                      <a:pt x="202" y="55"/>
                    </a:lnTo>
                    <a:lnTo>
                      <a:pt x="200" y="42"/>
                    </a:lnTo>
                    <a:lnTo>
                      <a:pt x="199" y="39"/>
                    </a:lnTo>
                    <a:lnTo>
                      <a:pt x="199" y="32"/>
                    </a:lnTo>
                    <a:lnTo>
                      <a:pt x="199" y="26"/>
                    </a:lnTo>
                    <a:lnTo>
                      <a:pt x="198" y="25"/>
                    </a:lnTo>
                    <a:lnTo>
                      <a:pt x="198" y="22"/>
                    </a:lnTo>
                    <a:lnTo>
                      <a:pt x="196" y="20"/>
                    </a:lnTo>
                    <a:lnTo>
                      <a:pt x="195" y="17"/>
                    </a:lnTo>
                    <a:lnTo>
                      <a:pt x="193" y="16"/>
                    </a:lnTo>
                    <a:lnTo>
                      <a:pt x="191" y="16"/>
                    </a:lnTo>
                    <a:lnTo>
                      <a:pt x="181" y="15"/>
                    </a:lnTo>
                    <a:lnTo>
                      <a:pt x="178" y="12"/>
                    </a:lnTo>
                    <a:lnTo>
                      <a:pt x="177" y="9"/>
                    </a:lnTo>
                    <a:lnTo>
                      <a:pt x="176" y="8"/>
                    </a:lnTo>
                    <a:lnTo>
                      <a:pt x="176" y="8"/>
                    </a:lnTo>
                    <a:lnTo>
                      <a:pt x="173" y="12"/>
                    </a:lnTo>
                    <a:lnTo>
                      <a:pt x="166" y="13"/>
                    </a:lnTo>
                    <a:lnTo>
                      <a:pt x="161" y="12"/>
                    </a:lnTo>
                    <a:lnTo>
                      <a:pt x="158" y="11"/>
                    </a:lnTo>
                    <a:lnTo>
                      <a:pt x="154" y="13"/>
                    </a:lnTo>
                    <a:lnTo>
                      <a:pt x="148" y="14"/>
                    </a:lnTo>
                    <a:lnTo>
                      <a:pt x="144" y="13"/>
                    </a:lnTo>
                    <a:lnTo>
                      <a:pt x="140" y="8"/>
                    </a:lnTo>
                    <a:lnTo>
                      <a:pt x="138" y="6"/>
                    </a:lnTo>
                    <a:lnTo>
                      <a:pt x="137" y="4"/>
                    </a:lnTo>
                    <a:lnTo>
                      <a:pt x="137" y="1"/>
                    </a:lnTo>
                    <a:lnTo>
                      <a:pt x="137" y="1"/>
                    </a:lnTo>
                    <a:lnTo>
                      <a:pt x="136" y="0"/>
                    </a:lnTo>
                    <a:lnTo>
                      <a:pt x="133" y="1"/>
                    </a:lnTo>
                    <a:lnTo>
                      <a:pt x="131" y="2"/>
                    </a:lnTo>
                    <a:lnTo>
                      <a:pt x="128" y="1"/>
                    </a:lnTo>
                    <a:lnTo>
                      <a:pt x="124" y="5"/>
                    </a:lnTo>
                    <a:lnTo>
                      <a:pt x="123" y="15"/>
                    </a:lnTo>
                    <a:lnTo>
                      <a:pt x="120" y="21"/>
                    </a:lnTo>
                    <a:lnTo>
                      <a:pt x="119" y="27"/>
                    </a:lnTo>
                    <a:lnTo>
                      <a:pt x="117" y="32"/>
                    </a:lnTo>
                    <a:lnTo>
                      <a:pt x="108" y="40"/>
                    </a:lnTo>
                    <a:lnTo>
                      <a:pt x="106" y="40"/>
                    </a:lnTo>
                    <a:lnTo>
                      <a:pt x="102" y="43"/>
                    </a:lnTo>
                    <a:lnTo>
                      <a:pt x="96" y="44"/>
                    </a:lnTo>
                    <a:lnTo>
                      <a:pt x="90" y="50"/>
                    </a:lnTo>
                    <a:lnTo>
                      <a:pt x="88" y="50"/>
                    </a:lnTo>
                    <a:lnTo>
                      <a:pt x="81" y="55"/>
                    </a:lnTo>
                    <a:lnTo>
                      <a:pt x="77" y="56"/>
                    </a:lnTo>
                    <a:lnTo>
                      <a:pt x="74" y="60"/>
                    </a:lnTo>
                    <a:lnTo>
                      <a:pt x="66" y="66"/>
                    </a:lnTo>
                    <a:lnTo>
                      <a:pt x="69" y="72"/>
                    </a:lnTo>
                    <a:lnTo>
                      <a:pt x="68" y="76"/>
                    </a:lnTo>
                    <a:lnTo>
                      <a:pt x="60" y="83"/>
                    </a:lnTo>
                    <a:lnTo>
                      <a:pt x="56" y="92"/>
                    </a:lnTo>
                    <a:lnTo>
                      <a:pt x="56" y="96"/>
                    </a:lnTo>
                    <a:lnTo>
                      <a:pt x="58" y="102"/>
                    </a:lnTo>
                    <a:lnTo>
                      <a:pt x="56" y="109"/>
                    </a:lnTo>
                    <a:lnTo>
                      <a:pt x="58" y="109"/>
                    </a:lnTo>
                    <a:lnTo>
                      <a:pt x="60" y="112"/>
                    </a:lnTo>
                    <a:lnTo>
                      <a:pt x="58" y="117"/>
                    </a:lnTo>
                    <a:lnTo>
                      <a:pt x="47" y="130"/>
                    </a:lnTo>
                    <a:lnTo>
                      <a:pt x="46" y="135"/>
                    </a:lnTo>
                    <a:lnTo>
                      <a:pt x="41" y="140"/>
                    </a:lnTo>
                    <a:lnTo>
                      <a:pt x="34" y="141"/>
                    </a:lnTo>
                    <a:lnTo>
                      <a:pt x="22" y="153"/>
                    </a:lnTo>
                    <a:lnTo>
                      <a:pt x="4" y="155"/>
                    </a:lnTo>
                    <a:lnTo>
                      <a:pt x="0" y="161"/>
                    </a:lnTo>
                    <a:lnTo>
                      <a:pt x="74" y="162"/>
                    </a:lnTo>
                    <a:lnTo>
                      <a:pt x="74" y="162"/>
                    </a:lnTo>
                    <a:lnTo>
                      <a:pt x="74" y="162"/>
                    </a:lnTo>
                    <a:lnTo>
                      <a:pt x="74" y="162"/>
                    </a:lnTo>
                    <a:close/>
                  </a:path>
                </a:pathLst>
              </a:custGeom>
              <a:solidFill>
                <a:srgbClr val="65625E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990" name="Freeform 393"/>
              <p:cNvSpPr>
                <a:spLocks noEditPoints="1"/>
              </p:cNvSpPr>
              <p:nvPr userDrawn="1"/>
            </p:nvSpPr>
            <p:spPr bwMode="auto">
              <a:xfrm>
                <a:off x="3910" y="2126"/>
                <a:ext cx="341" cy="132"/>
              </a:xfrm>
              <a:custGeom>
                <a:avLst/>
                <a:gdLst>
                  <a:gd name="T0" fmla="*/ 16 w 341"/>
                  <a:gd name="T1" fmla="*/ 12 h 132"/>
                  <a:gd name="T2" fmla="*/ 27 w 341"/>
                  <a:gd name="T3" fmla="*/ 1 h 132"/>
                  <a:gd name="T4" fmla="*/ 48 w 341"/>
                  <a:gd name="T5" fmla="*/ 15 h 132"/>
                  <a:gd name="T6" fmla="*/ 46 w 341"/>
                  <a:gd name="T7" fmla="*/ 25 h 132"/>
                  <a:gd name="T8" fmla="*/ 18 w 341"/>
                  <a:gd name="T9" fmla="*/ 37 h 132"/>
                  <a:gd name="T10" fmla="*/ 14 w 341"/>
                  <a:gd name="T11" fmla="*/ 33 h 132"/>
                  <a:gd name="T12" fmla="*/ 6 w 341"/>
                  <a:gd name="T13" fmla="*/ 29 h 132"/>
                  <a:gd name="T14" fmla="*/ 261 w 341"/>
                  <a:gd name="T15" fmla="*/ 18 h 132"/>
                  <a:gd name="T16" fmla="*/ 240 w 341"/>
                  <a:gd name="T17" fmla="*/ 20 h 132"/>
                  <a:gd name="T18" fmla="*/ 210 w 341"/>
                  <a:gd name="T19" fmla="*/ 20 h 132"/>
                  <a:gd name="T20" fmla="*/ 187 w 341"/>
                  <a:gd name="T21" fmla="*/ 16 h 132"/>
                  <a:gd name="T22" fmla="*/ 171 w 341"/>
                  <a:gd name="T23" fmla="*/ 8 h 132"/>
                  <a:gd name="T24" fmla="*/ 155 w 341"/>
                  <a:gd name="T25" fmla="*/ 2 h 132"/>
                  <a:gd name="T26" fmla="*/ 120 w 341"/>
                  <a:gd name="T27" fmla="*/ 6 h 132"/>
                  <a:gd name="T28" fmla="*/ 100 w 341"/>
                  <a:gd name="T29" fmla="*/ 15 h 132"/>
                  <a:gd name="T30" fmla="*/ 77 w 341"/>
                  <a:gd name="T31" fmla="*/ 19 h 132"/>
                  <a:gd name="T32" fmla="*/ 57 w 341"/>
                  <a:gd name="T33" fmla="*/ 24 h 132"/>
                  <a:gd name="T34" fmla="*/ 55 w 341"/>
                  <a:gd name="T35" fmla="*/ 33 h 132"/>
                  <a:gd name="T36" fmla="*/ 48 w 341"/>
                  <a:gd name="T37" fmla="*/ 40 h 132"/>
                  <a:gd name="T38" fmla="*/ 30 w 341"/>
                  <a:gd name="T39" fmla="*/ 41 h 132"/>
                  <a:gd name="T40" fmla="*/ 11 w 341"/>
                  <a:gd name="T41" fmla="*/ 52 h 132"/>
                  <a:gd name="T42" fmla="*/ 21 w 341"/>
                  <a:gd name="T43" fmla="*/ 58 h 132"/>
                  <a:gd name="T44" fmla="*/ 23 w 341"/>
                  <a:gd name="T45" fmla="*/ 71 h 132"/>
                  <a:gd name="T46" fmla="*/ 23 w 341"/>
                  <a:gd name="T47" fmla="*/ 77 h 132"/>
                  <a:gd name="T48" fmla="*/ 15 w 341"/>
                  <a:gd name="T49" fmla="*/ 77 h 132"/>
                  <a:gd name="T50" fmla="*/ 19 w 341"/>
                  <a:gd name="T51" fmla="*/ 88 h 132"/>
                  <a:gd name="T52" fmla="*/ 30 w 341"/>
                  <a:gd name="T53" fmla="*/ 102 h 132"/>
                  <a:gd name="T54" fmla="*/ 31 w 341"/>
                  <a:gd name="T55" fmla="*/ 113 h 132"/>
                  <a:gd name="T56" fmla="*/ 41 w 341"/>
                  <a:gd name="T57" fmla="*/ 117 h 132"/>
                  <a:gd name="T58" fmla="*/ 45 w 341"/>
                  <a:gd name="T59" fmla="*/ 117 h 132"/>
                  <a:gd name="T60" fmla="*/ 55 w 341"/>
                  <a:gd name="T61" fmla="*/ 117 h 132"/>
                  <a:gd name="T62" fmla="*/ 64 w 341"/>
                  <a:gd name="T63" fmla="*/ 120 h 132"/>
                  <a:gd name="T64" fmla="*/ 79 w 341"/>
                  <a:gd name="T65" fmla="*/ 128 h 132"/>
                  <a:gd name="T66" fmla="*/ 93 w 341"/>
                  <a:gd name="T67" fmla="*/ 121 h 132"/>
                  <a:gd name="T68" fmla="*/ 119 w 341"/>
                  <a:gd name="T69" fmla="*/ 119 h 132"/>
                  <a:gd name="T70" fmla="*/ 154 w 341"/>
                  <a:gd name="T71" fmla="*/ 127 h 132"/>
                  <a:gd name="T72" fmla="*/ 180 w 341"/>
                  <a:gd name="T73" fmla="*/ 117 h 132"/>
                  <a:gd name="T74" fmla="*/ 190 w 341"/>
                  <a:gd name="T75" fmla="*/ 120 h 132"/>
                  <a:gd name="T76" fmla="*/ 197 w 341"/>
                  <a:gd name="T77" fmla="*/ 131 h 132"/>
                  <a:gd name="T78" fmla="*/ 208 w 341"/>
                  <a:gd name="T79" fmla="*/ 116 h 132"/>
                  <a:gd name="T80" fmla="*/ 239 w 341"/>
                  <a:gd name="T81" fmla="*/ 112 h 132"/>
                  <a:gd name="T82" fmla="*/ 263 w 341"/>
                  <a:gd name="T83" fmla="*/ 109 h 132"/>
                  <a:gd name="T84" fmla="*/ 299 w 341"/>
                  <a:gd name="T85" fmla="*/ 104 h 132"/>
                  <a:gd name="T86" fmla="*/ 326 w 341"/>
                  <a:gd name="T87" fmla="*/ 101 h 132"/>
                  <a:gd name="T88" fmla="*/ 341 w 341"/>
                  <a:gd name="T89" fmla="*/ 102 h 132"/>
                  <a:gd name="T90" fmla="*/ 333 w 341"/>
                  <a:gd name="T91" fmla="*/ 77 h 132"/>
                  <a:gd name="T92" fmla="*/ 325 w 341"/>
                  <a:gd name="T93" fmla="*/ 56 h 132"/>
                  <a:gd name="T94" fmla="*/ 328 w 341"/>
                  <a:gd name="T95" fmla="*/ 41 h 132"/>
                  <a:gd name="T96" fmla="*/ 312 w 341"/>
                  <a:gd name="T97" fmla="*/ 22 h 132"/>
                  <a:gd name="T98" fmla="*/ 291 w 341"/>
                  <a:gd name="T99" fmla="*/ 8 h 132"/>
                  <a:gd name="T100" fmla="*/ 277 w 341"/>
                  <a:gd name="T101" fmla="*/ 7 h 132"/>
                  <a:gd name="T102" fmla="*/ 44 w 341"/>
                  <a:gd name="T103" fmla="*/ 120 h 132"/>
                  <a:gd name="T104" fmla="*/ 0 w 341"/>
                  <a:gd name="T105" fmla="*/ 43 h 132"/>
                  <a:gd name="T106" fmla="*/ 1 w 341"/>
                  <a:gd name="T107" fmla="*/ 41 h 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341" h="132">
                    <a:moveTo>
                      <a:pt x="6" y="29"/>
                    </a:moveTo>
                    <a:lnTo>
                      <a:pt x="10" y="28"/>
                    </a:lnTo>
                    <a:lnTo>
                      <a:pt x="11" y="24"/>
                    </a:lnTo>
                    <a:lnTo>
                      <a:pt x="10" y="20"/>
                    </a:lnTo>
                    <a:lnTo>
                      <a:pt x="15" y="17"/>
                    </a:lnTo>
                    <a:lnTo>
                      <a:pt x="16" y="12"/>
                    </a:lnTo>
                    <a:lnTo>
                      <a:pt x="12" y="11"/>
                    </a:lnTo>
                    <a:lnTo>
                      <a:pt x="13" y="6"/>
                    </a:lnTo>
                    <a:lnTo>
                      <a:pt x="16" y="3"/>
                    </a:lnTo>
                    <a:lnTo>
                      <a:pt x="19" y="3"/>
                    </a:lnTo>
                    <a:lnTo>
                      <a:pt x="21" y="1"/>
                    </a:lnTo>
                    <a:lnTo>
                      <a:pt x="27" y="1"/>
                    </a:lnTo>
                    <a:lnTo>
                      <a:pt x="31" y="5"/>
                    </a:lnTo>
                    <a:lnTo>
                      <a:pt x="34" y="2"/>
                    </a:lnTo>
                    <a:lnTo>
                      <a:pt x="38" y="3"/>
                    </a:lnTo>
                    <a:lnTo>
                      <a:pt x="38" y="9"/>
                    </a:lnTo>
                    <a:lnTo>
                      <a:pt x="44" y="14"/>
                    </a:lnTo>
                    <a:lnTo>
                      <a:pt x="48" y="15"/>
                    </a:lnTo>
                    <a:lnTo>
                      <a:pt x="53" y="19"/>
                    </a:lnTo>
                    <a:lnTo>
                      <a:pt x="56" y="21"/>
                    </a:lnTo>
                    <a:lnTo>
                      <a:pt x="56" y="23"/>
                    </a:lnTo>
                    <a:lnTo>
                      <a:pt x="53" y="27"/>
                    </a:lnTo>
                    <a:lnTo>
                      <a:pt x="49" y="26"/>
                    </a:lnTo>
                    <a:lnTo>
                      <a:pt x="46" y="25"/>
                    </a:lnTo>
                    <a:lnTo>
                      <a:pt x="42" y="25"/>
                    </a:lnTo>
                    <a:lnTo>
                      <a:pt x="40" y="26"/>
                    </a:lnTo>
                    <a:lnTo>
                      <a:pt x="33" y="26"/>
                    </a:lnTo>
                    <a:lnTo>
                      <a:pt x="30" y="28"/>
                    </a:lnTo>
                    <a:lnTo>
                      <a:pt x="28" y="32"/>
                    </a:lnTo>
                    <a:lnTo>
                      <a:pt x="18" y="37"/>
                    </a:lnTo>
                    <a:lnTo>
                      <a:pt x="10" y="43"/>
                    </a:lnTo>
                    <a:lnTo>
                      <a:pt x="10" y="41"/>
                    </a:lnTo>
                    <a:lnTo>
                      <a:pt x="12" y="35"/>
                    </a:lnTo>
                    <a:lnTo>
                      <a:pt x="14" y="35"/>
                    </a:lnTo>
                    <a:lnTo>
                      <a:pt x="18" y="33"/>
                    </a:lnTo>
                    <a:lnTo>
                      <a:pt x="14" y="33"/>
                    </a:lnTo>
                    <a:lnTo>
                      <a:pt x="12" y="32"/>
                    </a:lnTo>
                    <a:lnTo>
                      <a:pt x="10" y="33"/>
                    </a:lnTo>
                    <a:lnTo>
                      <a:pt x="8" y="31"/>
                    </a:lnTo>
                    <a:lnTo>
                      <a:pt x="6" y="29"/>
                    </a:lnTo>
                    <a:lnTo>
                      <a:pt x="6" y="29"/>
                    </a:lnTo>
                    <a:lnTo>
                      <a:pt x="6" y="29"/>
                    </a:lnTo>
                    <a:lnTo>
                      <a:pt x="6" y="29"/>
                    </a:lnTo>
                    <a:close/>
                    <a:moveTo>
                      <a:pt x="275" y="7"/>
                    </a:moveTo>
                    <a:lnTo>
                      <a:pt x="274" y="8"/>
                    </a:lnTo>
                    <a:lnTo>
                      <a:pt x="272" y="12"/>
                    </a:lnTo>
                    <a:lnTo>
                      <a:pt x="268" y="15"/>
                    </a:lnTo>
                    <a:lnTo>
                      <a:pt x="261" y="18"/>
                    </a:lnTo>
                    <a:lnTo>
                      <a:pt x="260" y="21"/>
                    </a:lnTo>
                    <a:lnTo>
                      <a:pt x="254" y="21"/>
                    </a:lnTo>
                    <a:lnTo>
                      <a:pt x="252" y="23"/>
                    </a:lnTo>
                    <a:lnTo>
                      <a:pt x="245" y="22"/>
                    </a:lnTo>
                    <a:lnTo>
                      <a:pt x="243" y="20"/>
                    </a:lnTo>
                    <a:lnTo>
                      <a:pt x="240" y="20"/>
                    </a:lnTo>
                    <a:lnTo>
                      <a:pt x="239" y="19"/>
                    </a:lnTo>
                    <a:lnTo>
                      <a:pt x="235" y="21"/>
                    </a:lnTo>
                    <a:lnTo>
                      <a:pt x="228" y="21"/>
                    </a:lnTo>
                    <a:lnTo>
                      <a:pt x="221" y="24"/>
                    </a:lnTo>
                    <a:lnTo>
                      <a:pt x="214" y="23"/>
                    </a:lnTo>
                    <a:lnTo>
                      <a:pt x="210" y="20"/>
                    </a:lnTo>
                    <a:lnTo>
                      <a:pt x="208" y="22"/>
                    </a:lnTo>
                    <a:lnTo>
                      <a:pt x="201" y="18"/>
                    </a:lnTo>
                    <a:lnTo>
                      <a:pt x="197" y="18"/>
                    </a:lnTo>
                    <a:lnTo>
                      <a:pt x="191" y="13"/>
                    </a:lnTo>
                    <a:lnTo>
                      <a:pt x="189" y="13"/>
                    </a:lnTo>
                    <a:lnTo>
                      <a:pt x="187" y="16"/>
                    </a:lnTo>
                    <a:lnTo>
                      <a:pt x="184" y="15"/>
                    </a:lnTo>
                    <a:lnTo>
                      <a:pt x="181" y="11"/>
                    </a:lnTo>
                    <a:lnTo>
                      <a:pt x="181" y="7"/>
                    </a:lnTo>
                    <a:lnTo>
                      <a:pt x="178" y="4"/>
                    </a:lnTo>
                    <a:lnTo>
                      <a:pt x="175" y="5"/>
                    </a:lnTo>
                    <a:lnTo>
                      <a:pt x="171" y="8"/>
                    </a:lnTo>
                    <a:lnTo>
                      <a:pt x="169" y="8"/>
                    </a:lnTo>
                    <a:lnTo>
                      <a:pt x="167" y="9"/>
                    </a:lnTo>
                    <a:lnTo>
                      <a:pt x="161" y="4"/>
                    </a:lnTo>
                    <a:lnTo>
                      <a:pt x="161" y="0"/>
                    </a:lnTo>
                    <a:lnTo>
                      <a:pt x="160" y="0"/>
                    </a:lnTo>
                    <a:lnTo>
                      <a:pt x="155" y="2"/>
                    </a:lnTo>
                    <a:lnTo>
                      <a:pt x="149" y="2"/>
                    </a:lnTo>
                    <a:lnTo>
                      <a:pt x="146" y="1"/>
                    </a:lnTo>
                    <a:lnTo>
                      <a:pt x="142" y="2"/>
                    </a:lnTo>
                    <a:lnTo>
                      <a:pt x="134" y="1"/>
                    </a:lnTo>
                    <a:lnTo>
                      <a:pt x="129" y="2"/>
                    </a:lnTo>
                    <a:lnTo>
                      <a:pt x="120" y="6"/>
                    </a:lnTo>
                    <a:lnTo>
                      <a:pt x="117" y="7"/>
                    </a:lnTo>
                    <a:lnTo>
                      <a:pt x="110" y="7"/>
                    </a:lnTo>
                    <a:lnTo>
                      <a:pt x="108" y="10"/>
                    </a:lnTo>
                    <a:lnTo>
                      <a:pt x="105" y="10"/>
                    </a:lnTo>
                    <a:lnTo>
                      <a:pt x="101" y="14"/>
                    </a:lnTo>
                    <a:lnTo>
                      <a:pt x="100" y="15"/>
                    </a:lnTo>
                    <a:lnTo>
                      <a:pt x="98" y="19"/>
                    </a:lnTo>
                    <a:lnTo>
                      <a:pt x="96" y="20"/>
                    </a:lnTo>
                    <a:lnTo>
                      <a:pt x="96" y="22"/>
                    </a:lnTo>
                    <a:lnTo>
                      <a:pt x="91" y="23"/>
                    </a:lnTo>
                    <a:lnTo>
                      <a:pt x="80" y="19"/>
                    </a:lnTo>
                    <a:lnTo>
                      <a:pt x="77" y="19"/>
                    </a:lnTo>
                    <a:lnTo>
                      <a:pt x="75" y="21"/>
                    </a:lnTo>
                    <a:lnTo>
                      <a:pt x="72" y="20"/>
                    </a:lnTo>
                    <a:lnTo>
                      <a:pt x="66" y="21"/>
                    </a:lnTo>
                    <a:lnTo>
                      <a:pt x="63" y="20"/>
                    </a:lnTo>
                    <a:lnTo>
                      <a:pt x="58" y="21"/>
                    </a:lnTo>
                    <a:lnTo>
                      <a:pt x="57" y="24"/>
                    </a:lnTo>
                    <a:lnTo>
                      <a:pt x="61" y="29"/>
                    </a:lnTo>
                    <a:lnTo>
                      <a:pt x="66" y="29"/>
                    </a:lnTo>
                    <a:lnTo>
                      <a:pt x="71" y="29"/>
                    </a:lnTo>
                    <a:lnTo>
                      <a:pt x="70" y="31"/>
                    </a:lnTo>
                    <a:lnTo>
                      <a:pt x="62" y="32"/>
                    </a:lnTo>
                    <a:lnTo>
                      <a:pt x="55" y="33"/>
                    </a:lnTo>
                    <a:lnTo>
                      <a:pt x="53" y="37"/>
                    </a:lnTo>
                    <a:lnTo>
                      <a:pt x="54" y="38"/>
                    </a:lnTo>
                    <a:lnTo>
                      <a:pt x="58" y="37"/>
                    </a:lnTo>
                    <a:lnTo>
                      <a:pt x="59" y="39"/>
                    </a:lnTo>
                    <a:lnTo>
                      <a:pt x="56" y="40"/>
                    </a:lnTo>
                    <a:lnTo>
                      <a:pt x="48" y="40"/>
                    </a:lnTo>
                    <a:lnTo>
                      <a:pt x="45" y="39"/>
                    </a:lnTo>
                    <a:lnTo>
                      <a:pt x="40" y="40"/>
                    </a:lnTo>
                    <a:lnTo>
                      <a:pt x="38" y="37"/>
                    </a:lnTo>
                    <a:lnTo>
                      <a:pt x="35" y="38"/>
                    </a:lnTo>
                    <a:lnTo>
                      <a:pt x="32" y="41"/>
                    </a:lnTo>
                    <a:lnTo>
                      <a:pt x="30" y="41"/>
                    </a:lnTo>
                    <a:lnTo>
                      <a:pt x="25" y="38"/>
                    </a:lnTo>
                    <a:lnTo>
                      <a:pt x="21" y="38"/>
                    </a:lnTo>
                    <a:lnTo>
                      <a:pt x="12" y="44"/>
                    </a:lnTo>
                    <a:lnTo>
                      <a:pt x="11" y="47"/>
                    </a:lnTo>
                    <a:lnTo>
                      <a:pt x="10" y="51"/>
                    </a:lnTo>
                    <a:lnTo>
                      <a:pt x="11" y="52"/>
                    </a:lnTo>
                    <a:lnTo>
                      <a:pt x="10" y="56"/>
                    </a:lnTo>
                    <a:lnTo>
                      <a:pt x="10" y="57"/>
                    </a:lnTo>
                    <a:lnTo>
                      <a:pt x="10" y="60"/>
                    </a:lnTo>
                    <a:lnTo>
                      <a:pt x="16" y="58"/>
                    </a:lnTo>
                    <a:lnTo>
                      <a:pt x="17" y="58"/>
                    </a:lnTo>
                    <a:lnTo>
                      <a:pt x="21" y="58"/>
                    </a:lnTo>
                    <a:lnTo>
                      <a:pt x="25" y="58"/>
                    </a:lnTo>
                    <a:lnTo>
                      <a:pt x="21" y="62"/>
                    </a:lnTo>
                    <a:lnTo>
                      <a:pt x="22" y="65"/>
                    </a:lnTo>
                    <a:lnTo>
                      <a:pt x="23" y="68"/>
                    </a:lnTo>
                    <a:lnTo>
                      <a:pt x="23" y="70"/>
                    </a:lnTo>
                    <a:lnTo>
                      <a:pt x="23" y="71"/>
                    </a:lnTo>
                    <a:lnTo>
                      <a:pt x="24" y="72"/>
                    </a:lnTo>
                    <a:lnTo>
                      <a:pt x="28" y="70"/>
                    </a:lnTo>
                    <a:lnTo>
                      <a:pt x="28" y="72"/>
                    </a:lnTo>
                    <a:lnTo>
                      <a:pt x="26" y="73"/>
                    </a:lnTo>
                    <a:lnTo>
                      <a:pt x="21" y="76"/>
                    </a:lnTo>
                    <a:lnTo>
                      <a:pt x="23" y="77"/>
                    </a:lnTo>
                    <a:lnTo>
                      <a:pt x="25" y="78"/>
                    </a:lnTo>
                    <a:lnTo>
                      <a:pt x="23" y="79"/>
                    </a:lnTo>
                    <a:lnTo>
                      <a:pt x="21" y="82"/>
                    </a:lnTo>
                    <a:lnTo>
                      <a:pt x="19" y="82"/>
                    </a:lnTo>
                    <a:lnTo>
                      <a:pt x="17" y="78"/>
                    </a:lnTo>
                    <a:lnTo>
                      <a:pt x="15" y="77"/>
                    </a:lnTo>
                    <a:lnTo>
                      <a:pt x="15" y="80"/>
                    </a:lnTo>
                    <a:lnTo>
                      <a:pt x="16" y="83"/>
                    </a:lnTo>
                    <a:lnTo>
                      <a:pt x="14" y="85"/>
                    </a:lnTo>
                    <a:lnTo>
                      <a:pt x="15" y="88"/>
                    </a:lnTo>
                    <a:lnTo>
                      <a:pt x="18" y="90"/>
                    </a:lnTo>
                    <a:lnTo>
                      <a:pt x="19" y="88"/>
                    </a:lnTo>
                    <a:lnTo>
                      <a:pt x="23" y="91"/>
                    </a:lnTo>
                    <a:lnTo>
                      <a:pt x="25" y="91"/>
                    </a:lnTo>
                    <a:lnTo>
                      <a:pt x="30" y="93"/>
                    </a:lnTo>
                    <a:lnTo>
                      <a:pt x="31" y="97"/>
                    </a:lnTo>
                    <a:lnTo>
                      <a:pt x="28" y="100"/>
                    </a:lnTo>
                    <a:lnTo>
                      <a:pt x="30" y="102"/>
                    </a:lnTo>
                    <a:lnTo>
                      <a:pt x="31" y="104"/>
                    </a:lnTo>
                    <a:lnTo>
                      <a:pt x="32" y="104"/>
                    </a:lnTo>
                    <a:lnTo>
                      <a:pt x="37" y="109"/>
                    </a:lnTo>
                    <a:lnTo>
                      <a:pt x="35" y="112"/>
                    </a:lnTo>
                    <a:lnTo>
                      <a:pt x="32" y="111"/>
                    </a:lnTo>
                    <a:lnTo>
                      <a:pt x="31" y="113"/>
                    </a:lnTo>
                    <a:lnTo>
                      <a:pt x="34" y="114"/>
                    </a:lnTo>
                    <a:lnTo>
                      <a:pt x="40" y="113"/>
                    </a:lnTo>
                    <a:lnTo>
                      <a:pt x="48" y="113"/>
                    </a:lnTo>
                    <a:lnTo>
                      <a:pt x="47" y="114"/>
                    </a:lnTo>
                    <a:lnTo>
                      <a:pt x="45" y="116"/>
                    </a:lnTo>
                    <a:lnTo>
                      <a:pt x="41" y="117"/>
                    </a:lnTo>
                    <a:lnTo>
                      <a:pt x="35" y="116"/>
                    </a:lnTo>
                    <a:lnTo>
                      <a:pt x="33" y="119"/>
                    </a:lnTo>
                    <a:lnTo>
                      <a:pt x="36" y="119"/>
                    </a:lnTo>
                    <a:lnTo>
                      <a:pt x="39" y="118"/>
                    </a:lnTo>
                    <a:lnTo>
                      <a:pt x="43" y="118"/>
                    </a:lnTo>
                    <a:lnTo>
                      <a:pt x="45" y="117"/>
                    </a:lnTo>
                    <a:lnTo>
                      <a:pt x="45" y="120"/>
                    </a:lnTo>
                    <a:lnTo>
                      <a:pt x="46" y="121"/>
                    </a:lnTo>
                    <a:lnTo>
                      <a:pt x="49" y="118"/>
                    </a:lnTo>
                    <a:lnTo>
                      <a:pt x="51" y="116"/>
                    </a:lnTo>
                    <a:lnTo>
                      <a:pt x="53" y="116"/>
                    </a:lnTo>
                    <a:lnTo>
                      <a:pt x="55" y="117"/>
                    </a:lnTo>
                    <a:lnTo>
                      <a:pt x="57" y="117"/>
                    </a:lnTo>
                    <a:lnTo>
                      <a:pt x="61" y="119"/>
                    </a:lnTo>
                    <a:lnTo>
                      <a:pt x="63" y="117"/>
                    </a:lnTo>
                    <a:lnTo>
                      <a:pt x="66" y="117"/>
                    </a:lnTo>
                    <a:lnTo>
                      <a:pt x="65" y="119"/>
                    </a:lnTo>
                    <a:lnTo>
                      <a:pt x="64" y="120"/>
                    </a:lnTo>
                    <a:lnTo>
                      <a:pt x="65" y="122"/>
                    </a:lnTo>
                    <a:lnTo>
                      <a:pt x="66" y="125"/>
                    </a:lnTo>
                    <a:lnTo>
                      <a:pt x="70" y="128"/>
                    </a:lnTo>
                    <a:lnTo>
                      <a:pt x="71" y="127"/>
                    </a:lnTo>
                    <a:lnTo>
                      <a:pt x="75" y="129"/>
                    </a:lnTo>
                    <a:lnTo>
                      <a:pt x="79" y="128"/>
                    </a:lnTo>
                    <a:lnTo>
                      <a:pt x="82" y="127"/>
                    </a:lnTo>
                    <a:lnTo>
                      <a:pt x="85" y="127"/>
                    </a:lnTo>
                    <a:lnTo>
                      <a:pt x="88" y="125"/>
                    </a:lnTo>
                    <a:lnTo>
                      <a:pt x="91" y="127"/>
                    </a:lnTo>
                    <a:lnTo>
                      <a:pt x="93" y="125"/>
                    </a:lnTo>
                    <a:lnTo>
                      <a:pt x="93" y="121"/>
                    </a:lnTo>
                    <a:lnTo>
                      <a:pt x="94" y="119"/>
                    </a:lnTo>
                    <a:lnTo>
                      <a:pt x="93" y="116"/>
                    </a:lnTo>
                    <a:lnTo>
                      <a:pt x="100" y="115"/>
                    </a:lnTo>
                    <a:lnTo>
                      <a:pt x="107" y="116"/>
                    </a:lnTo>
                    <a:lnTo>
                      <a:pt x="116" y="119"/>
                    </a:lnTo>
                    <a:lnTo>
                      <a:pt x="119" y="119"/>
                    </a:lnTo>
                    <a:lnTo>
                      <a:pt x="125" y="127"/>
                    </a:lnTo>
                    <a:lnTo>
                      <a:pt x="130" y="130"/>
                    </a:lnTo>
                    <a:lnTo>
                      <a:pt x="146" y="128"/>
                    </a:lnTo>
                    <a:lnTo>
                      <a:pt x="152" y="126"/>
                    </a:lnTo>
                    <a:lnTo>
                      <a:pt x="153" y="126"/>
                    </a:lnTo>
                    <a:lnTo>
                      <a:pt x="154" y="127"/>
                    </a:lnTo>
                    <a:lnTo>
                      <a:pt x="157" y="125"/>
                    </a:lnTo>
                    <a:lnTo>
                      <a:pt x="158" y="122"/>
                    </a:lnTo>
                    <a:lnTo>
                      <a:pt x="165" y="114"/>
                    </a:lnTo>
                    <a:lnTo>
                      <a:pt x="167" y="114"/>
                    </a:lnTo>
                    <a:lnTo>
                      <a:pt x="175" y="116"/>
                    </a:lnTo>
                    <a:lnTo>
                      <a:pt x="180" y="117"/>
                    </a:lnTo>
                    <a:lnTo>
                      <a:pt x="185" y="116"/>
                    </a:lnTo>
                    <a:lnTo>
                      <a:pt x="185" y="116"/>
                    </a:lnTo>
                    <a:lnTo>
                      <a:pt x="189" y="113"/>
                    </a:lnTo>
                    <a:lnTo>
                      <a:pt x="192" y="114"/>
                    </a:lnTo>
                    <a:lnTo>
                      <a:pt x="193" y="116"/>
                    </a:lnTo>
                    <a:lnTo>
                      <a:pt x="190" y="120"/>
                    </a:lnTo>
                    <a:lnTo>
                      <a:pt x="186" y="123"/>
                    </a:lnTo>
                    <a:lnTo>
                      <a:pt x="186" y="125"/>
                    </a:lnTo>
                    <a:lnTo>
                      <a:pt x="190" y="128"/>
                    </a:lnTo>
                    <a:lnTo>
                      <a:pt x="189" y="131"/>
                    </a:lnTo>
                    <a:lnTo>
                      <a:pt x="193" y="132"/>
                    </a:lnTo>
                    <a:lnTo>
                      <a:pt x="197" y="131"/>
                    </a:lnTo>
                    <a:lnTo>
                      <a:pt x="201" y="130"/>
                    </a:lnTo>
                    <a:lnTo>
                      <a:pt x="200" y="126"/>
                    </a:lnTo>
                    <a:lnTo>
                      <a:pt x="203" y="124"/>
                    </a:lnTo>
                    <a:lnTo>
                      <a:pt x="203" y="117"/>
                    </a:lnTo>
                    <a:lnTo>
                      <a:pt x="204" y="115"/>
                    </a:lnTo>
                    <a:lnTo>
                      <a:pt x="208" y="116"/>
                    </a:lnTo>
                    <a:lnTo>
                      <a:pt x="212" y="116"/>
                    </a:lnTo>
                    <a:lnTo>
                      <a:pt x="221" y="114"/>
                    </a:lnTo>
                    <a:lnTo>
                      <a:pt x="223" y="114"/>
                    </a:lnTo>
                    <a:lnTo>
                      <a:pt x="225" y="112"/>
                    </a:lnTo>
                    <a:lnTo>
                      <a:pt x="235" y="111"/>
                    </a:lnTo>
                    <a:lnTo>
                      <a:pt x="239" y="112"/>
                    </a:lnTo>
                    <a:lnTo>
                      <a:pt x="241" y="114"/>
                    </a:lnTo>
                    <a:lnTo>
                      <a:pt x="247" y="115"/>
                    </a:lnTo>
                    <a:lnTo>
                      <a:pt x="255" y="115"/>
                    </a:lnTo>
                    <a:lnTo>
                      <a:pt x="255" y="114"/>
                    </a:lnTo>
                    <a:lnTo>
                      <a:pt x="260" y="112"/>
                    </a:lnTo>
                    <a:lnTo>
                      <a:pt x="263" y="109"/>
                    </a:lnTo>
                    <a:lnTo>
                      <a:pt x="269" y="107"/>
                    </a:lnTo>
                    <a:lnTo>
                      <a:pt x="274" y="107"/>
                    </a:lnTo>
                    <a:lnTo>
                      <a:pt x="278" y="106"/>
                    </a:lnTo>
                    <a:lnTo>
                      <a:pt x="287" y="107"/>
                    </a:lnTo>
                    <a:lnTo>
                      <a:pt x="294" y="104"/>
                    </a:lnTo>
                    <a:lnTo>
                      <a:pt x="299" y="104"/>
                    </a:lnTo>
                    <a:lnTo>
                      <a:pt x="301" y="106"/>
                    </a:lnTo>
                    <a:lnTo>
                      <a:pt x="306" y="101"/>
                    </a:lnTo>
                    <a:lnTo>
                      <a:pt x="311" y="101"/>
                    </a:lnTo>
                    <a:lnTo>
                      <a:pt x="312" y="100"/>
                    </a:lnTo>
                    <a:lnTo>
                      <a:pt x="320" y="100"/>
                    </a:lnTo>
                    <a:lnTo>
                      <a:pt x="326" y="101"/>
                    </a:lnTo>
                    <a:lnTo>
                      <a:pt x="331" y="100"/>
                    </a:lnTo>
                    <a:lnTo>
                      <a:pt x="333" y="102"/>
                    </a:lnTo>
                    <a:lnTo>
                      <a:pt x="333" y="105"/>
                    </a:lnTo>
                    <a:lnTo>
                      <a:pt x="336" y="107"/>
                    </a:lnTo>
                    <a:lnTo>
                      <a:pt x="340" y="106"/>
                    </a:lnTo>
                    <a:lnTo>
                      <a:pt x="341" y="102"/>
                    </a:lnTo>
                    <a:lnTo>
                      <a:pt x="339" y="98"/>
                    </a:lnTo>
                    <a:lnTo>
                      <a:pt x="335" y="92"/>
                    </a:lnTo>
                    <a:lnTo>
                      <a:pt x="331" y="90"/>
                    </a:lnTo>
                    <a:lnTo>
                      <a:pt x="331" y="88"/>
                    </a:lnTo>
                    <a:lnTo>
                      <a:pt x="331" y="83"/>
                    </a:lnTo>
                    <a:lnTo>
                      <a:pt x="333" y="77"/>
                    </a:lnTo>
                    <a:lnTo>
                      <a:pt x="332" y="75"/>
                    </a:lnTo>
                    <a:lnTo>
                      <a:pt x="328" y="74"/>
                    </a:lnTo>
                    <a:lnTo>
                      <a:pt x="328" y="70"/>
                    </a:lnTo>
                    <a:lnTo>
                      <a:pt x="328" y="67"/>
                    </a:lnTo>
                    <a:lnTo>
                      <a:pt x="327" y="60"/>
                    </a:lnTo>
                    <a:lnTo>
                      <a:pt x="325" y="56"/>
                    </a:lnTo>
                    <a:lnTo>
                      <a:pt x="324" y="54"/>
                    </a:lnTo>
                    <a:lnTo>
                      <a:pt x="330" y="54"/>
                    </a:lnTo>
                    <a:lnTo>
                      <a:pt x="332" y="50"/>
                    </a:lnTo>
                    <a:lnTo>
                      <a:pt x="333" y="48"/>
                    </a:lnTo>
                    <a:lnTo>
                      <a:pt x="332" y="45"/>
                    </a:lnTo>
                    <a:lnTo>
                      <a:pt x="328" y="41"/>
                    </a:lnTo>
                    <a:lnTo>
                      <a:pt x="325" y="42"/>
                    </a:lnTo>
                    <a:lnTo>
                      <a:pt x="319" y="41"/>
                    </a:lnTo>
                    <a:lnTo>
                      <a:pt x="313" y="38"/>
                    </a:lnTo>
                    <a:lnTo>
                      <a:pt x="313" y="31"/>
                    </a:lnTo>
                    <a:lnTo>
                      <a:pt x="314" y="26"/>
                    </a:lnTo>
                    <a:lnTo>
                      <a:pt x="312" y="22"/>
                    </a:lnTo>
                    <a:lnTo>
                      <a:pt x="309" y="21"/>
                    </a:lnTo>
                    <a:lnTo>
                      <a:pt x="309" y="19"/>
                    </a:lnTo>
                    <a:lnTo>
                      <a:pt x="306" y="16"/>
                    </a:lnTo>
                    <a:lnTo>
                      <a:pt x="302" y="15"/>
                    </a:lnTo>
                    <a:lnTo>
                      <a:pt x="294" y="8"/>
                    </a:lnTo>
                    <a:lnTo>
                      <a:pt x="291" y="8"/>
                    </a:lnTo>
                    <a:lnTo>
                      <a:pt x="289" y="10"/>
                    </a:lnTo>
                    <a:lnTo>
                      <a:pt x="287" y="10"/>
                    </a:lnTo>
                    <a:lnTo>
                      <a:pt x="282" y="8"/>
                    </a:lnTo>
                    <a:lnTo>
                      <a:pt x="280" y="11"/>
                    </a:lnTo>
                    <a:lnTo>
                      <a:pt x="278" y="10"/>
                    </a:lnTo>
                    <a:lnTo>
                      <a:pt x="277" y="7"/>
                    </a:lnTo>
                    <a:lnTo>
                      <a:pt x="275" y="7"/>
                    </a:lnTo>
                    <a:lnTo>
                      <a:pt x="275" y="7"/>
                    </a:lnTo>
                    <a:lnTo>
                      <a:pt x="275" y="7"/>
                    </a:lnTo>
                    <a:close/>
                    <a:moveTo>
                      <a:pt x="41" y="121"/>
                    </a:moveTo>
                    <a:lnTo>
                      <a:pt x="42" y="120"/>
                    </a:lnTo>
                    <a:lnTo>
                      <a:pt x="44" y="120"/>
                    </a:lnTo>
                    <a:lnTo>
                      <a:pt x="44" y="121"/>
                    </a:lnTo>
                    <a:lnTo>
                      <a:pt x="42" y="122"/>
                    </a:lnTo>
                    <a:lnTo>
                      <a:pt x="41" y="121"/>
                    </a:lnTo>
                    <a:lnTo>
                      <a:pt x="41" y="121"/>
                    </a:lnTo>
                    <a:lnTo>
                      <a:pt x="41" y="121"/>
                    </a:lnTo>
                    <a:close/>
                    <a:moveTo>
                      <a:pt x="0" y="43"/>
                    </a:moveTo>
                    <a:lnTo>
                      <a:pt x="3" y="44"/>
                    </a:lnTo>
                    <a:lnTo>
                      <a:pt x="7" y="43"/>
                    </a:lnTo>
                    <a:lnTo>
                      <a:pt x="8" y="41"/>
                    </a:lnTo>
                    <a:lnTo>
                      <a:pt x="6" y="40"/>
                    </a:lnTo>
                    <a:lnTo>
                      <a:pt x="4" y="41"/>
                    </a:lnTo>
                    <a:lnTo>
                      <a:pt x="1" y="41"/>
                    </a:lnTo>
                    <a:lnTo>
                      <a:pt x="0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chemeClr val="accent4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991" name="Freeform 394"/>
              <p:cNvSpPr>
                <a:spLocks noEditPoints="1"/>
              </p:cNvSpPr>
              <p:nvPr userDrawn="1"/>
            </p:nvSpPr>
            <p:spPr bwMode="auto">
              <a:xfrm>
                <a:off x="4580" y="1736"/>
                <a:ext cx="1197" cy="853"/>
              </a:xfrm>
              <a:custGeom>
                <a:avLst/>
                <a:gdLst>
                  <a:gd name="T0" fmla="*/ 935 w 1253"/>
                  <a:gd name="T1" fmla="*/ 120 h 893"/>
                  <a:gd name="T2" fmla="*/ 945 w 1253"/>
                  <a:gd name="T3" fmla="*/ 85 h 893"/>
                  <a:gd name="T4" fmla="*/ 949 w 1253"/>
                  <a:gd name="T5" fmla="*/ 41 h 893"/>
                  <a:gd name="T6" fmla="*/ 941 w 1253"/>
                  <a:gd name="T7" fmla="*/ 14 h 893"/>
                  <a:gd name="T8" fmla="*/ 979 w 1253"/>
                  <a:gd name="T9" fmla="*/ 1 h 893"/>
                  <a:gd name="T10" fmla="*/ 1017 w 1253"/>
                  <a:gd name="T11" fmla="*/ 5 h 893"/>
                  <a:gd name="T12" fmla="*/ 1038 w 1253"/>
                  <a:gd name="T13" fmla="*/ 17 h 893"/>
                  <a:gd name="T14" fmla="*/ 1055 w 1253"/>
                  <a:gd name="T15" fmla="*/ 40 h 893"/>
                  <a:gd name="T16" fmla="*/ 1085 w 1253"/>
                  <a:gd name="T17" fmla="*/ 75 h 893"/>
                  <a:gd name="T18" fmla="*/ 1111 w 1253"/>
                  <a:gd name="T19" fmla="*/ 107 h 893"/>
                  <a:gd name="T20" fmla="*/ 1136 w 1253"/>
                  <a:gd name="T21" fmla="*/ 109 h 893"/>
                  <a:gd name="T22" fmla="*/ 1162 w 1253"/>
                  <a:gd name="T23" fmla="*/ 126 h 893"/>
                  <a:gd name="T24" fmla="*/ 1173 w 1253"/>
                  <a:gd name="T25" fmla="*/ 147 h 893"/>
                  <a:gd name="T26" fmla="*/ 1210 w 1253"/>
                  <a:gd name="T27" fmla="*/ 155 h 893"/>
                  <a:gd name="T28" fmla="*/ 1235 w 1253"/>
                  <a:gd name="T29" fmla="*/ 130 h 893"/>
                  <a:gd name="T30" fmla="*/ 1249 w 1253"/>
                  <a:gd name="T31" fmla="*/ 160 h 893"/>
                  <a:gd name="T32" fmla="*/ 1251 w 1253"/>
                  <a:gd name="T33" fmla="*/ 191 h 893"/>
                  <a:gd name="T34" fmla="*/ 1248 w 1253"/>
                  <a:gd name="T35" fmla="*/ 220 h 893"/>
                  <a:gd name="T36" fmla="*/ 1216 w 1253"/>
                  <a:gd name="T37" fmla="*/ 236 h 893"/>
                  <a:gd name="T38" fmla="*/ 1226 w 1253"/>
                  <a:gd name="T39" fmla="*/ 284 h 893"/>
                  <a:gd name="T40" fmla="*/ 1132 w 1253"/>
                  <a:gd name="T41" fmla="*/ 386 h 893"/>
                  <a:gd name="T42" fmla="*/ 1086 w 1253"/>
                  <a:gd name="T43" fmla="*/ 412 h 893"/>
                  <a:gd name="T44" fmla="*/ 1086 w 1253"/>
                  <a:gd name="T45" fmla="*/ 402 h 893"/>
                  <a:gd name="T46" fmla="*/ 1087 w 1253"/>
                  <a:gd name="T47" fmla="*/ 372 h 893"/>
                  <a:gd name="T48" fmla="*/ 1043 w 1253"/>
                  <a:gd name="T49" fmla="*/ 386 h 893"/>
                  <a:gd name="T50" fmla="*/ 1009 w 1253"/>
                  <a:gd name="T51" fmla="*/ 420 h 893"/>
                  <a:gd name="T52" fmla="*/ 1037 w 1253"/>
                  <a:gd name="T53" fmla="*/ 444 h 893"/>
                  <a:gd name="T54" fmla="*/ 1067 w 1253"/>
                  <a:gd name="T55" fmla="*/ 445 h 893"/>
                  <a:gd name="T56" fmla="*/ 1112 w 1253"/>
                  <a:gd name="T57" fmla="*/ 452 h 893"/>
                  <a:gd name="T58" fmla="*/ 1087 w 1253"/>
                  <a:gd name="T59" fmla="*/ 471 h 893"/>
                  <a:gd name="T60" fmla="*/ 1064 w 1253"/>
                  <a:gd name="T61" fmla="*/ 498 h 893"/>
                  <a:gd name="T62" fmla="*/ 1096 w 1253"/>
                  <a:gd name="T63" fmla="*/ 556 h 893"/>
                  <a:gd name="T64" fmla="*/ 1105 w 1253"/>
                  <a:gd name="T65" fmla="*/ 587 h 893"/>
                  <a:gd name="T66" fmla="*/ 1072 w 1253"/>
                  <a:gd name="T67" fmla="*/ 583 h 893"/>
                  <a:gd name="T68" fmla="*/ 1120 w 1253"/>
                  <a:gd name="T69" fmla="*/ 618 h 893"/>
                  <a:gd name="T70" fmla="*/ 1120 w 1253"/>
                  <a:gd name="T71" fmla="*/ 625 h 893"/>
                  <a:gd name="T72" fmla="*/ 1137 w 1253"/>
                  <a:gd name="T73" fmla="*/ 640 h 893"/>
                  <a:gd name="T74" fmla="*/ 1132 w 1253"/>
                  <a:gd name="T75" fmla="*/ 658 h 893"/>
                  <a:gd name="T76" fmla="*/ 1124 w 1253"/>
                  <a:gd name="T77" fmla="*/ 679 h 893"/>
                  <a:gd name="T78" fmla="*/ 1118 w 1253"/>
                  <a:gd name="T79" fmla="*/ 701 h 893"/>
                  <a:gd name="T80" fmla="*/ 1106 w 1253"/>
                  <a:gd name="T81" fmla="*/ 718 h 893"/>
                  <a:gd name="T82" fmla="*/ 1106 w 1253"/>
                  <a:gd name="T83" fmla="*/ 740 h 893"/>
                  <a:gd name="T84" fmla="*/ 1093 w 1253"/>
                  <a:gd name="T85" fmla="*/ 745 h 893"/>
                  <a:gd name="T86" fmla="*/ 1079 w 1253"/>
                  <a:gd name="T87" fmla="*/ 763 h 893"/>
                  <a:gd name="T88" fmla="*/ 1066 w 1253"/>
                  <a:gd name="T89" fmla="*/ 776 h 893"/>
                  <a:gd name="T90" fmla="*/ 1043 w 1253"/>
                  <a:gd name="T91" fmla="*/ 797 h 893"/>
                  <a:gd name="T92" fmla="*/ 1014 w 1253"/>
                  <a:gd name="T93" fmla="*/ 806 h 893"/>
                  <a:gd name="T94" fmla="*/ 995 w 1253"/>
                  <a:gd name="T95" fmla="*/ 811 h 893"/>
                  <a:gd name="T96" fmla="*/ 958 w 1253"/>
                  <a:gd name="T97" fmla="*/ 825 h 893"/>
                  <a:gd name="T98" fmla="*/ 944 w 1253"/>
                  <a:gd name="T99" fmla="*/ 831 h 893"/>
                  <a:gd name="T100" fmla="*/ 936 w 1253"/>
                  <a:gd name="T101" fmla="*/ 847 h 893"/>
                  <a:gd name="T102" fmla="*/ 916 w 1253"/>
                  <a:gd name="T103" fmla="*/ 824 h 893"/>
                  <a:gd name="T104" fmla="*/ 771 w 1253"/>
                  <a:gd name="T105" fmla="*/ 843 h 893"/>
                  <a:gd name="T106" fmla="*/ 1066 w 1253"/>
                  <a:gd name="T107" fmla="*/ 782 h 893"/>
                  <a:gd name="T108" fmla="*/ 1116 w 1253"/>
                  <a:gd name="T109" fmla="*/ 591 h 893"/>
                  <a:gd name="T110" fmla="*/ 1146 w 1253"/>
                  <a:gd name="T111" fmla="*/ 797 h 893"/>
                  <a:gd name="T112" fmla="*/ 1150 w 1253"/>
                  <a:gd name="T113" fmla="*/ 738 h 893"/>
                  <a:gd name="T114" fmla="*/ 1125 w 1253"/>
                  <a:gd name="T115" fmla="*/ 790 h 893"/>
                  <a:gd name="T116" fmla="*/ 954 w 1253"/>
                  <a:gd name="T117" fmla="*/ 837 h 893"/>
                  <a:gd name="T118" fmla="*/ 917 w 1253"/>
                  <a:gd name="T119" fmla="*/ 880 h 893"/>
                  <a:gd name="T120" fmla="*/ 954 w 1253"/>
                  <a:gd name="T121" fmla="*/ 880 h 8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253" h="893">
                    <a:moveTo>
                      <a:pt x="380" y="189"/>
                    </a:moveTo>
                    <a:cubicBezTo>
                      <a:pt x="386" y="189"/>
                      <a:pt x="386" y="189"/>
                      <a:pt x="386" y="189"/>
                    </a:cubicBezTo>
                    <a:cubicBezTo>
                      <a:pt x="389" y="191"/>
                      <a:pt x="389" y="191"/>
                      <a:pt x="389" y="191"/>
                    </a:cubicBezTo>
                    <a:cubicBezTo>
                      <a:pt x="393" y="191"/>
                      <a:pt x="393" y="191"/>
                      <a:pt x="393" y="191"/>
                    </a:cubicBezTo>
                    <a:cubicBezTo>
                      <a:pt x="562" y="196"/>
                      <a:pt x="562" y="196"/>
                      <a:pt x="562" y="196"/>
                    </a:cubicBezTo>
                    <a:cubicBezTo>
                      <a:pt x="863" y="164"/>
                      <a:pt x="863" y="164"/>
                      <a:pt x="863" y="164"/>
                    </a:cubicBezTo>
                    <a:cubicBezTo>
                      <a:pt x="901" y="127"/>
                      <a:pt x="901" y="127"/>
                      <a:pt x="901" y="127"/>
                    </a:cubicBezTo>
                    <a:cubicBezTo>
                      <a:pt x="908" y="124"/>
                      <a:pt x="908" y="124"/>
                      <a:pt x="908" y="124"/>
                    </a:cubicBezTo>
                    <a:cubicBezTo>
                      <a:pt x="911" y="125"/>
                      <a:pt x="911" y="125"/>
                      <a:pt x="911" y="125"/>
                    </a:cubicBezTo>
                    <a:cubicBezTo>
                      <a:pt x="912" y="126"/>
                      <a:pt x="912" y="126"/>
                      <a:pt x="912" y="126"/>
                    </a:cubicBezTo>
                    <a:cubicBezTo>
                      <a:pt x="915" y="125"/>
                      <a:pt x="915" y="125"/>
                      <a:pt x="915" y="125"/>
                    </a:cubicBezTo>
                    <a:cubicBezTo>
                      <a:pt x="921" y="126"/>
                      <a:pt x="921" y="126"/>
                      <a:pt x="921" y="126"/>
                    </a:cubicBezTo>
                    <a:cubicBezTo>
                      <a:pt x="924" y="128"/>
                      <a:pt x="924" y="128"/>
                      <a:pt x="924" y="128"/>
                    </a:cubicBezTo>
                    <a:cubicBezTo>
                      <a:pt x="926" y="128"/>
                      <a:pt x="926" y="128"/>
                      <a:pt x="926" y="128"/>
                    </a:cubicBezTo>
                    <a:cubicBezTo>
                      <a:pt x="935" y="120"/>
                      <a:pt x="935" y="120"/>
                      <a:pt x="935" y="120"/>
                    </a:cubicBezTo>
                    <a:cubicBezTo>
                      <a:pt x="939" y="117"/>
                      <a:pt x="939" y="117"/>
                      <a:pt x="939" y="117"/>
                    </a:cubicBezTo>
                    <a:cubicBezTo>
                      <a:pt x="946" y="115"/>
                      <a:pt x="946" y="115"/>
                      <a:pt x="946" y="115"/>
                    </a:cubicBezTo>
                    <a:cubicBezTo>
                      <a:pt x="949" y="113"/>
                      <a:pt x="949" y="113"/>
                      <a:pt x="949" y="113"/>
                    </a:cubicBezTo>
                    <a:cubicBezTo>
                      <a:pt x="950" y="109"/>
                      <a:pt x="950" y="109"/>
                      <a:pt x="950" y="109"/>
                    </a:cubicBezTo>
                    <a:cubicBezTo>
                      <a:pt x="950" y="105"/>
                      <a:pt x="950" y="105"/>
                      <a:pt x="950" y="105"/>
                    </a:cubicBezTo>
                    <a:cubicBezTo>
                      <a:pt x="948" y="104"/>
                      <a:pt x="948" y="104"/>
                      <a:pt x="948" y="104"/>
                    </a:cubicBezTo>
                    <a:cubicBezTo>
                      <a:pt x="947" y="105"/>
                      <a:pt x="947" y="105"/>
                      <a:pt x="947" y="105"/>
                    </a:cubicBezTo>
                    <a:cubicBezTo>
                      <a:pt x="945" y="104"/>
                      <a:pt x="945" y="104"/>
                      <a:pt x="945" y="104"/>
                    </a:cubicBezTo>
                    <a:cubicBezTo>
                      <a:pt x="943" y="104"/>
                      <a:pt x="943" y="104"/>
                      <a:pt x="943" y="104"/>
                    </a:cubicBezTo>
                    <a:cubicBezTo>
                      <a:pt x="943" y="99"/>
                      <a:pt x="943" y="99"/>
                      <a:pt x="943" y="99"/>
                    </a:cubicBezTo>
                    <a:cubicBezTo>
                      <a:pt x="944" y="97"/>
                      <a:pt x="944" y="97"/>
                      <a:pt x="944" y="97"/>
                    </a:cubicBezTo>
                    <a:cubicBezTo>
                      <a:pt x="944" y="92"/>
                      <a:pt x="944" y="92"/>
                      <a:pt x="944" y="92"/>
                    </a:cubicBezTo>
                    <a:cubicBezTo>
                      <a:pt x="942" y="89"/>
                      <a:pt x="942" y="89"/>
                      <a:pt x="942" y="89"/>
                    </a:cubicBezTo>
                    <a:cubicBezTo>
                      <a:pt x="943" y="87"/>
                      <a:pt x="943" y="87"/>
                      <a:pt x="943" y="87"/>
                    </a:cubicBezTo>
                    <a:cubicBezTo>
                      <a:pt x="945" y="85"/>
                      <a:pt x="945" y="85"/>
                      <a:pt x="945" y="85"/>
                    </a:cubicBezTo>
                    <a:cubicBezTo>
                      <a:pt x="946" y="82"/>
                      <a:pt x="946" y="82"/>
                      <a:pt x="946" y="82"/>
                    </a:cubicBezTo>
                    <a:cubicBezTo>
                      <a:pt x="944" y="80"/>
                      <a:pt x="944" y="80"/>
                      <a:pt x="944" y="80"/>
                    </a:cubicBezTo>
                    <a:cubicBezTo>
                      <a:pt x="943" y="76"/>
                      <a:pt x="943" y="76"/>
                      <a:pt x="943" y="76"/>
                    </a:cubicBezTo>
                    <a:cubicBezTo>
                      <a:pt x="944" y="74"/>
                      <a:pt x="944" y="74"/>
                      <a:pt x="944" y="74"/>
                    </a:cubicBezTo>
                    <a:cubicBezTo>
                      <a:pt x="942" y="70"/>
                      <a:pt x="942" y="70"/>
                      <a:pt x="942" y="70"/>
                    </a:cubicBezTo>
                    <a:cubicBezTo>
                      <a:pt x="942" y="67"/>
                      <a:pt x="942" y="67"/>
                      <a:pt x="942" y="67"/>
                    </a:cubicBezTo>
                    <a:cubicBezTo>
                      <a:pt x="944" y="64"/>
                      <a:pt x="944" y="64"/>
                      <a:pt x="944" y="64"/>
                    </a:cubicBezTo>
                    <a:cubicBezTo>
                      <a:pt x="947" y="62"/>
                      <a:pt x="947" y="62"/>
                      <a:pt x="947" y="62"/>
                    </a:cubicBezTo>
                    <a:cubicBezTo>
                      <a:pt x="947" y="57"/>
                      <a:pt x="947" y="57"/>
                      <a:pt x="947" y="57"/>
                    </a:cubicBezTo>
                    <a:cubicBezTo>
                      <a:pt x="950" y="54"/>
                      <a:pt x="950" y="54"/>
                      <a:pt x="950" y="54"/>
                    </a:cubicBezTo>
                    <a:cubicBezTo>
                      <a:pt x="952" y="52"/>
                      <a:pt x="952" y="52"/>
                      <a:pt x="952" y="52"/>
                    </a:cubicBezTo>
                    <a:cubicBezTo>
                      <a:pt x="953" y="48"/>
                      <a:pt x="953" y="48"/>
                      <a:pt x="953" y="48"/>
                    </a:cubicBezTo>
                    <a:cubicBezTo>
                      <a:pt x="952" y="45"/>
                      <a:pt x="952" y="45"/>
                      <a:pt x="952" y="45"/>
                    </a:cubicBezTo>
                    <a:cubicBezTo>
                      <a:pt x="952" y="43"/>
                      <a:pt x="952" y="43"/>
                      <a:pt x="952" y="43"/>
                    </a:cubicBezTo>
                    <a:cubicBezTo>
                      <a:pt x="949" y="41"/>
                      <a:pt x="949" y="41"/>
                      <a:pt x="949" y="41"/>
                    </a:cubicBezTo>
                    <a:cubicBezTo>
                      <a:pt x="947" y="37"/>
                      <a:pt x="947" y="37"/>
                      <a:pt x="947" y="37"/>
                    </a:cubicBezTo>
                    <a:cubicBezTo>
                      <a:pt x="945" y="33"/>
                      <a:pt x="945" y="33"/>
                      <a:pt x="945" y="33"/>
                    </a:cubicBezTo>
                    <a:cubicBezTo>
                      <a:pt x="942" y="32"/>
                      <a:pt x="942" y="32"/>
                      <a:pt x="942" y="32"/>
                    </a:cubicBezTo>
                    <a:cubicBezTo>
                      <a:pt x="940" y="33"/>
                      <a:pt x="940" y="33"/>
                      <a:pt x="940" y="33"/>
                    </a:cubicBezTo>
                    <a:cubicBezTo>
                      <a:pt x="935" y="36"/>
                      <a:pt x="935" y="36"/>
                      <a:pt x="935" y="36"/>
                    </a:cubicBezTo>
                    <a:cubicBezTo>
                      <a:pt x="933" y="36"/>
                      <a:pt x="933" y="36"/>
                      <a:pt x="933" y="36"/>
                    </a:cubicBezTo>
                    <a:cubicBezTo>
                      <a:pt x="932" y="34"/>
                      <a:pt x="932" y="34"/>
                      <a:pt x="932" y="34"/>
                    </a:cubicBezTo>
                    <a:cubicBezTo>
                      <a:pt x="932" y="30"/>
                      <a:pt x="932" y="30"/>
                      <a:pt x="932" y="30"/>
                    </a:cubicBezTo>
                    <a:cubicBezTo>
                      <a:pt x="933" y="28"/>
                      <a:pt x="933" y="28"/>
                      <a:pt x="933" y="28"/>
                    </a:cubicBezTo>
                    <a:cubicBezTo>
                      <a:pt x="933" y="26"/>
                      <a:pt x="933" y="26"/>
                      <a:pt x="933" y="26"/>
                    </a:cubicBezTo>
                    <a:cubicBezTo>
                      <a:pt x="935" y="24"/>
                      <a:pt x="935" y="24"/>
                      <a:pt x="935" y="24"/>
                    </a:cubicBezTo>
                    <a:cubicBezTo>
                      <a:pt x="936" y="21"/>
                      <a:pt x="936" y="21"/>
                      <a:pt x="936" y="21"/>
                    </a:cubicBezTo>
                    <a:cubicBezTo>
                      <a:pt x="939" y="18"/>
                      <a:pt x="939" y="18"/>
                      <a:pt x="939" y="18"/>
                    </a:cubicBezTo>
                    <a:cubicBezTo>
                      <a:pt x="939" y="15"/>
                      <a:pt x="939" y="15"/>
                      <a:pt x="939" y="15"/>
                    </a:cubicBezTo>
                    <a:cubicBezTo>
                      <a:pt x="941" y="14"/>
                      <a:pt x="941" y="14"/>
                      <a:pt x="941" y="14"/>
                    </a:cubicBezTo>
                    <a:cubicBezTo>
                      <a:pt x="946" y="13"/>
                      <a:pt x="946" y="13"/>
                      <a:pt x="946" y="13"/>
                    </a:cubicBezTo>
                    <a:cubicBezTo>
                      <a:pt x="948" y="12"/>
                      <a:pt x="948" y="12"/>
                      <a:pt x="948" y="12"/>
                    </a:cubicBezTo>
                    <a:cubicBezTo>
                      <a:pt x="951" y="12"/>
                      <a:pt x="951" y="12"/>
                      <a:pt x="951" y="12"/>
                    </a:cubicBezTo>
                    <a:cubicBezTo>
                      <a:pt x="951" y="11"/>
                      <a:pt x="951" y="11"/>
                      <a:pt x="951" y="11"/>
                    </a:cubicBezTo>
                    <a:cubicBezTo>
                      <a:pt x="954" y="12"/>
                      <a:pt x="954" y="12"/>
                      <a:pt x="954" y="12"/>
                    </a:cubicBezTo>
                    <a:cubicBezTo>
                      <a:pt x="957" y="10"/>
                      <a:pt x="957" y="10"/>
                      <a:pt x="957" y="10"/>
                    </a:cubicBezTo>
                    <a:cubicBezTo>
                      <a:pt x="959" y="8"/>
                      <a:pt x="959" y="8"/>
                      <a:pt x="959" y="8"/>
                    </a:cubicBezTo>
                    <a:cubicBezTo>
                      <a:pt x="962" y="8"/>
                      <a:pt x="962" y="8"/>
                      <a:pt x="962" y="8"/>
                    </a:cubicBezTo>
                    <a:cubicBezTo>
                      <a:pt x="964" y="5"/>
                      <a:pt x="964" y="5"/>
                      <a:pt x="964" y="5"/>
                    </a:cubicBezTo>
                    <a:cubicBezTo>
                      <a:pt x="968" y="6"/>
                      <a:pt x="968" y="6"/>
                      <a:pt x="968" y="6"/>
                    </a:cubicBezTo>
                    <a:cubicBezTo>
                      <a:pt x="971" y="6"/>
                      <a:pt x="971" y="6"/>
                      <a:pt x="971" y="6"/>
                    </a:cubicBezTo>
                    <a:cubicBezTo>
                      <a:pt x="975" y="6"/>
                      <a:pt x="975" y="6"/>
                      <a:pt x="975" y="6"/>
                    </a:cubicBezTo>
                    <a:cubicBezTo>
                      <a:pt x="976" y="4"/>
                      <a:pt x="976" y="4"/>
                      <a:pt x="976" y="4"/>
                    </a:cubicBezTo>
                    <a:cubicBezTo>
                      <a:pt x="978" y="4"/>
                      <a:pt x="978" y="4"/>
                      <a:pt x="978" y="4"/>
                    </a:cubicBezTo>
                    <a:cubicBezTo>
                      <a:pt x="979" y="1"/>
                      <a:pt x="979" y="1"/>
                      <a:pt x="979" y="1"/>
                    </a:cubicBezTo>
                    <a:cubicBezTo>
                      <a:pt x="985" y="1"/>
                      <a:pt x="985" y="1"/>
                      <a:pt x="985" y="1"/>
                    </a:cubicBezTo>
                    <a:cubicBezTo>
                      <a:pt x="985" y="0"/>
                      <a:pt x="985" y="0"/>
                      <a:pt x="985" y="0"/>
                    </a:cubicBezTo>
                    <a:cubicBezTo>
                      <a:pt x="988" y="1"/>
                      <a:pt x="988" y="1"/>
                      <a:pt x="988" y="1"/>
                    </a:cubicBezTo>
                    <a:cubicBezTo>
                      <a:pt x="991" y="1"/>
                      <a:pt x="991" y="1"/>
                      <a:pt x="991" y="1"/>
                    </a:cubicBezTo>
                    <a:cubicBezTo>
                      <a:pt x="993" y="3"/>
                      <a:pt x="993" y="3"/>
                      <a:pt x="993" y="3"/>
                    </a:cubicBezTo>
                    <a:cubicBezTo>
                      <a:pt x="999" y="3"/>
                      <a:pt x="999" y="3"/>
                      <a:pt x="999" y="3"/>
                    </a:cubicBezTo>
                    <a:cubicBezTo>
                      <a:pt x="1002" y="5"/>
                      <a:pt x="1002" y="5"/>
                      <a:pt x="1002" y="5"/>
                    </a:cubicBezTo>
                    <a:cubicBezTo>
                      <a:pt x="1003" y="7"/>
                      <a:pt x="1003" y="7"/>
                      <a:pt x="1003" y="7"/>
                    </a:cubicBezTo>
                    <a:cubicBezTo>
                      <a:pt x="1007" y="7"/>
                      <a:pt x="1007" y="7"/>
                      <a:pt x="1007" y="7"/>
                    </a:cubicBezTo>
                    <a:cubicBezTo>
                      <a:pt x="1010" y="6"/>
                      <a:pt x="1010" y="6"/>
                      <a:pt x="1010" y="6"/>
                    </a:cubicBezTo>
                    <a:cubicBezTo>
                      <a:pt x="1011" y="7"/>
                      <a:pt x="1011" y="7"/>
                      <a:pt x="1011" y="7"/>
                    </a:cubicBezTo>
                    <a:cubicBezTo>
                      <a:pt x="1014" y="9"/>
                      <a:pt x="1014" y="9"/>
                      <a:pt x="1014" y="9"/>
                    </a:cubicBezTo>
                    <a:cubicBezTo>
                      <a:pt x="1016" y="8"/>
                      <a:pt x="1016" y="8"/>
                      <a:pt x="1016" y="8"/>
                    </a:cubicBezTo>
                    <a:cubicBezTo>
                      <a:pt x="1016" y="6"/>
                      <a:pt x="1016" y="6"/>
                      <a:pt x="1016" y="6"/>
                    </a:cubicBezTo>
                    <a:cubicBezTo>
                      <a:pt x="1017" y="5"/>
                      <a:pt x="1017" y="5"/>
                      <a:pt x="1017" y="5"/>
                    </a:cubicBezTo>
                    <a:cubicBezTo>
                      <a:pt x="1019" y="6"/>
                      <a:pt x="1019" y="6"/>
                      <a:pt x="1019" y="6"/>
                    </a:cubicBezTo>
                    <a:cubicBezTo>
                      <a:pt x="1022" y="6"/>
                      <a:pt x="1022" y="6"/>
                      <a:pt x="1022" y="6"/>
                    </a:cubicBezTo>
                    <a:cubicBezTo>
                      <a:pt x="1023" y="5"/>
                      <a:pt x="1023" y="5"/>
                      <a:pt x="1023" y="5"/>
                    </a:cubicBezTo>
                    <a:cubicBezTo>
                      <a:pt x="1025" y="7"/>
                      <a:pt x="1025" y="7"/>
                      <a:pt x="1025" y="7"/>
                    </a:cubicBezTo>
                    <a:cubicBezTo>
                      <a:pt x="1027" y="7"/>
                      <a:pt x="1027" y="7"/>
                      <a:pt x="1027" y="7"/>
                    </a:cubicBezTo>
                    <a:cubicBezTo>
                      <a:pt x="1030" y="8"/>
                      <a:pt x="1030" y="8"/>
                      <a:pt x="1030" y="8"/>
                    </a:cubicBezTo>
                    <a:cubicBezTo>
                      <a:pt x="1031" y="10"/>
                      <a:pt x="1031" y="10"/>
                      <a:pt x="1031" y="10"/>
                    </a:cubicBezTo>
                    <a:cubicBezTo>
                      <a:pt x="1030" y="11"/>
                      <a:pt x="1030" y="11"/>
                      <a:pt x="1030" y="11"/>
                    </a:cubicBezTo>
                    <a:cubicBezTo>
                      <a:pt x="1031" y="13"/>
                      <a:pt x="1031" y="13"/>
                      <a:pt x="1031" y="13"/>
                    </a:cubicBezTo>
                    <a:cubicBezTo>
                      <a:pt x="1033" y="13"/>
                      <a:pt x="1033" y="13"/>
                      <a:pt x="1033" y="13"/>
                    </a:cubicBezTo>
                    <a:cubicBezTo>
                      <a:pt x="1034" y="15"/>
                      <a:pt x="1034" y="15"/>
                      <a:pt x="1034" y="15"/>
                    </a:cubicBezTo>
                    <a:cubicBezTo>
                      <a:pt x="1036" y="13"/>
                      <a:pt x="1036" y="13"/>
                      <a:pt x="1036" y="13"/>
                    </a:cubicBezTo>
                    <a:cubicBezTo>
                      <a:pt x="1039" y="14"/>
                      <a:pt x="1039" y="14"/>
                      <a:pt x="1039" y="14"/>
                    </a:cubicBezTo>
                    <a:cubicBezTo>
                      <a:pt x="1039" y="16"/>
                      <a:pt x="1039" y="16"/>
                      <a:pt x="1039" y="16"/>
                    </a:cubicBezTo>
                    <a:cubicBezTo>
                      <a:pt x="1038" y="17"/>
                      <a:pt x="1038" y="17"/>
                      <a:pt x="1038" y="17"/>
                    </a:cubicBezTo>
                    <a:cubicBezTo>
                      <a:pt x="1039" y="19"/>
                      <a:pt x="1039" y="19"/>
                      <a:pt x="1039" y="19"/>
                    </a:cubicBezTo>
                    <a:cubicBezTo>
                      <a:pt x="1042" y="20"/>
                      <a:pt x="1042" y="20"/>
                      <a:pt x="1042" y="20"/>
                    </a:cubicBezTo>
                    <a:cubicBezTo>
                      <a:pt x="1044" y="20"/>
                      <a:pt x="1044" y="20"/>
                      <a:pt x="1044" y="20"/>
                    </a:cubicBezTo>
                    <a:cubicBezTo>
                      <a:pt x="1045" y="21"/>
                      <a:pt x="1045" y="21"/>
                      <a:pt x="1045" y="21"/>
                    </a:cubicBezTo>
                    <a:cubicBezTo>
                      <a:pt x="1045" y="23"/>
                      <a:pt x="1045" y="23"/>
                      <a:pt x="1045" y="23"/>
                    </a:cubicBezTo>
                    <a:cubicBezTo>
                      <a:pt x="1047" y="24"/>
                      <a:pt x="1047" y="24"/>
                      <a:pt x="1047" y="24"/>
                    </a:cubicBezTo>
                    <a:cubicBezTo>
                      <a:pt x="1049" y="26"/>
                      <a:pt x="1049" y="26"/>
                      <a:pt x="1049" y="26"/>
                    </a:cubicBezTo>
                    <a:cubicBezTo>
                      <a:pt x="1049" y="28"/>
                      <a:pt x="1049" y="28"/>
                      <a:pt x="1049" y="28"/>
                    </a:cubicBezTo>
                    <a:cubicBezTo>
                      <a:pt x="1050" y="30"/>
                      <a:pt x="1050" y="30"/>
                      <a:pt x="1050" y="30"/>
                    </a:cubicBezTo>
                    <a:cubicBezTo>
                      <a:pt x="1050" y="32"/>
                      <a:pt x="1050" y="32"/>
                      <a:pt x="1050" y="32"/>
                    </a:cubicBezTo>
                    <a:cubicBezTo>
                      <a:pt x="1051" y="33"/>
                      <a:pt x="1051" y="33"/>
                      <a:pt x="1051" y="33"/>
                    </a:cubicBezTo>
                    <a:cubicBezTo>
                      <a:pt x="1056" y="34"/>
                      <a:pt x="1056" y="34"/>
                      <a:pt x="1056" y="34"/>
                    </a:cubicBezTo>
                    <a:cubicBezTo>
                      <a:pt x="1056" y="36"/>
                      <a:pt x="1056" y="36"/>
                      <a:pt x="1056" y="36"/>
                    </a:cubicBezTo>
                    <a:cubicBezTo>
                      <a:pt x="1055" y="38"/>
                      <a:pt x="1055" y="38"/>
                      <a:pt x="1055" y="38"/>
                    </a:cubicBezTo>
                    <a:cubicBezTo>
                      <a:pt x="1055" y="40"/>
                      <a:pt x="1055" y="40"/>
                      <a:pt x="1055" y="40"/>
                    </a:cubicBezTo>
                    <a:cubicBezTo>
                      <a:pt x="1060" y="43"/>
                      <a:pt x="1060" y="43"/>
                      <a:pt x="1060" y="43"/>
                    </a:cubicBezTo>
                    <a:cubicBezTo>
                      <a:pt x="1061" y="46"/>
                      <a:pt x="1061" y="46"/>
                      <a:pt x="1061" y="46"/>
                    </a:cubicBezTo>
                    <a:cubicBezTo>
                      <a:pt x="1064" y="49"/>
                      <a:pt x="1064" y="49"/>
                      <a:pt x="1064" y="49"/>
                    </a:cubicBezTo>
                    <a:cubicBezTo>
                      <a:pt x="1064" y="51"/>
                      <a:pt x="1064" y="51"/>
                      <a:pt x="1064" y="51"/>
                    </a:cubicBezTo>
                    <a:cubicBezTo>
                      <a:pt x="1066" y="52"/>
                      <a:pt x="1066" y="52"/>
                      <a:pt x="1066" y="52"/>
                    </a:cubicBezTo>
                    <a:cubicBezTo>
                      <a:pt x="1068" y="56"/>
                      <a:pt x="1068" y="56"/>
                      <a:pt x="1068" y="56"/>
                    </a:cubicBezTo>
                    <a:cubicBezTo>
                      <a:pt x="1070" y="57"/>
                      <a:pt x="1070" y="57"/>
                      <a:pt x="1070" y="57"/>
                    </a:cubicBezTo>
                    <a:cubicBezTo>
                      <a:pt x="1070" y="59"/>
                      <a:pt x="1070" y="59"/>
                      <a:pt x="1070" y="59"/>
                    </a:cubicBezTo>
                    <a:cubicBezTo>
                      <a:pt x="1069" y="61"/>
                      <a:pt x="1069" y="61"/>
                      <a:pt x="1069" y="61"/>
                    </a:cubicBezTo>
                    <a:cubicBezTo>
                      <a:pt x="1070" y="62"/>
                      <a:pt x="1070" y="62"/>
                      <a:pt x="1070" y="62"/>
                    </a:cubicBezTo>
                    <a:cubicBezTo>
                      <a:pt x="1072" y="61"/>
                      <a:pt x="1072" y="61"/>
                      <a:pt x="1072" y="61"/>
                    </a:cubicBezTo>
                    <a:cubicBezTo>
                      <a:pt x="1074" y="64"/>
                      <a:pt x="1074" y="64"/>
                      <a:pt x="1074" y="64"/>
                    </a:cubicBezTo>
                    <a:cubicBezTo>
                      <a:pt x="1075" y="66"/>
                      <a:pt x="1075" y="66"/>
                      <a:pt x="1075" y="66"/>
                    </a:cubicBezTo>
                    <a:cubicBezTo>
                      <a:pt x="1078" y="71"/>
                      <a:pt x="1078" y="71"/>
                      <a:pt x="1078" y="71"/>
                    </a:cubicBezTo>
                    <a:cubicBezTo>
                      <a:pt x="1085" y="75"/>
                      <a:pt x="1085" y="75"/>
                      <a:pt x="1085" y="75"/>
                    </a:cubicBezTo>
                    <a:cubicBezTo>
                      <a:pt x="1086" y="78"/>
                      <a:pt x="1086" y="78"/>
                      <a:pt x="1086" y="78"/>
                    </a:cubicBezTo>
                    <a:cubicBezTo>
                      <a:pt x="1087" y="82"/>
                      <a:pt x="1087" y="82"/>
                      <a:pt x="1087" y="82"/>
                    </a:cubicBezTo>
                    <a:cubicBezTo>
                      <a:pt x="1089" y="83"/>
                      <a:pt x="1089" y="83"/>
                      <a:pt x="1089" y="83"/>
                    </a:cubicBezTo>
                    <a:cubicBezTo>
                      <a:pt x="1089" y="87"/>
                      <a:pt x="1089" y="87"/>
                      <a:pt x="1089" y="87"/>
                    </a:cubicBezTo>
                    <a:cubicBezTo>
                      <a:pt x="1091" y="88"/>
                      <a:pt x="1091" y="88"/>
                      <a:pt x="1091" y="88"/>
                    </a:cubicBezTo>
                    <a:cubicBezTo>
                      <a:pt x="1093" y="89"/>
                      <a:pt x="1093" y="89"/>
                      <a:pt x="1093" y="89"/>
                    </a:cubicBezTo>
                    <a:cubicBezTo>
                      <a:pt x="1094" y="92"/>
                      <a:pt x="1094" y="92"/>
                      <a:pt x="1094" y="92"/>
                    </a:cubicBezTo>
                    <a:cubicBezTo>
                      <a:pt x="1094" y="94"/>
                      <a:pt x="1094" y="94"/>
                      <a:pt x="1094" y="94"/>
                    </a:cubicBezTo>
                    <a:cubicBezTo>
                      <a:pt x="1096" y="98"/>
                      <a:pt x="1096" y="98"/>
                      <a:pt x="1096" y="98"/>
                    </a:cubicBezTo>
                    <a:cubicBezTo>
                      <a:pt x="1100" y="102"/>
                      <a:pt x="1100" y="102"/>
                      <a:pt x="1100" y="102"/>
                    </a:cubicBezTo>
                    <a:cubicBezTo>
                      <a:pt x="1103" y="103"/>
                      <a:pt x="1103" y="103"/>
                      <a:pt x="1103" y="103"/>
                    </a:cubicBezTo>
                    <a:cubicBezTo>
                      <a:pt x="1104" y="106"/>
                      <a:pt x="1104" y="106"/>
                      <a:pt x="1104" y="106"/>
                    </a:cubicBezTo>
                    <a:cubicBezTo>
                      <a:pt x="1107" y="106"/>
                      <a:pt x="1107" y="106"/>
                      <a:pt x="1107" y="106"/>
                    </a:cubicBezTo>
                    <a:cubicBezTo>
                      <a:pt x="1109" y="105"/>
                      <a:pt x="1109" y="105"/>
                      <a:pt x="1109" y="105"/>
                    </a:cubicBezTo>
                    <a:cubicBezTo>
                      <a:pt x="1111" y="107"/>
                      <a:pt x="1111" y="107"/>
                      <a:pt x="1111" y="107"/>
                    </a:cubicBezTo>
                    <a:cubicBezTo>
                      <a:pt x="1112" y="106"/>
                      <a:pt x="1112" y="106"/>
                      <a:pt x="1112" y="106"/>
                    </a:cubicBezTo>
                    <a:cubicBezTo>
                      <a:pt x="1116" y="106"/>
                      <a:pt x="1116" y="106"/>
                      <a:pt x="1116" y="106"/>
                    </a:cubicBezTo>
                    <a:cubicBezTo>
                      <a:pt x="1118" y="105"/>
                      <a:pt x="1118" y="105"/>
                      <a:pt x="1118" y="105"/>
                    </a:cubicBezTo>
                    <a:cubicBezTo>
                      <a:pt x="1121" y="105"/>
                      <a:pt x="1121" y="105"/>
                      <a:pt x="1121" y="105"/>
                    </a:cubicBezTo>
                    <a:cubicBezTo>
                      <a:pt x="1121" y="106"/>
                      <a:pt x="1121" y="106"/>
                      <a:pt x="1121" y="106"/>
                    </a:cubicBezTo>
                    <a:cubicBezTo>
                      <a:pt x="1120" y="107"/>
                      <a:pt x="1120" y="107"/>
                      <a:pt x="1120" y="107"/>
                    </a:cubicBezTo>
                    <a:cubicBezTo>
                      <a:pt x="1121" y="108"/>
                      <a:pt x="1121" y="108"/>
                      <a:pt x="1121" y="108"/>
                    </a:cubicBezTo>
                    <a:cubicBezTo>
                      <a:pt x="1125" y="109"/>
                      <a:pt x="1125" y="109"/>
                      <a:pt x="1125" y="109"/>
                    </a:cubicBezTo>
                    <a:cubicBezTo>
                      <a:pt x="1127" y="110"/>
                      <a:pt x="1127" y="110"/>
                      <a:pt x="1127" y="110"/>
                    </a:cubicBezTo>
                    <a:cubicBezTo>
                      <a:pt x="1128" y="111"/>
                      <a:pt x="1128" y="111"/>
                      <a:pt x="1128" y="111"/>
                    </a:cubicBezTo>
                    <a:cubicBezTo>
                      <a:pt x="1131" y="113"/>
                      <a:pt x="1131" y="113"/>
                      <a:pt x="1131" y="113"/>
                    </a:cubicBezTo>
                    <a:cubicBezTo>
                      <a:pt x="1131" y="111"/>
                      <a:pt x="1131" y="111"/>
                      <a:pt x="1131" y="111"/>
                    </a:cubicBezTo>
                    <a:cubicBezTo>
                      <a:pt x="1133" y="110"/>
                      <a:pt x="1133" y="110"/>
                      <a:pt x="1133" y="110"/>
                    </a:cubicBezTo>
                    <a:cubicBezTo>
                      <a:pt x="1135" y="111"/>
                      <a:pt x="1135" y="111"/>
                      <a:pt x="1135" y="111"/>
                    </a:cubicBezTo>
                    <a:cubicBezTo>
                      <a:pt x="1136" y="109"/>
                      <a:pt x="1136" y="109"/>
                      <a:pt x="1136" y="109"/>
                    </a:cubicBezTo>
                    <a:cubicBezTo>
                      <a:pt x="1138" y="108"/>
                      <a:pt x="1138" y="108"/>
                      <a:pt x="1138" y="108"/>
                    </a:cubicBezTo>
                    <a:cubicBezTo>
                      <a:pt x="1139" y="110"/>
                      <a:pt x="1139" y="110"/>
                      <a:pt x="1139" y="110"/>
                    </a:cubicBezTo>
                    <a:cubicBezTo>
                      <a:pt x="1140" y="112"/>
                      <a:pt x="1140" y="112"/>
                      <a:pt x="1140" y="112"/>
                    </a:cubicBezTo>
                    <a:cubicBezTo>
                      <a:pt x="1142" y="114"/>
                      <a:pt x="1142" y="114"/>
                      <a:pt x="1142" y="114"/>
                    </a:cubicBezTo>
                    <a:cubicBezTo>
                      <a:pt x="1144" y="114"/>
                      <a:pt x="1144" y="114"/>
                      <a:pt x="1144" y="114"/>
                    </a:cubicBezTo>
                    <a:cubicBezTo>
                      <a:pt x="1145" y="116"/>
                      <a:pt x="1145" y="116"/>
                      <a:pt x="1145" y="116"/>
                    </a:cubicBezTo>
                    <a:cubicBezTo>
                      <a:pt x="1147" y="118"/>
                      <a:pt x="1147" y="118"/>
                      <a:pt x="1147" y="118"/>
                    </a:cubicBezTo>
                    <a:cubicBezTo>
                      <a:pt x="1148" y="118"/>
                      <a:pt x="1148" y="118"/>
                      <a:pt x="1148" y="118"/>
                    </a:cubicBezTo>
                    <a:cubicBezTo>
                      <a:pt x="1150" y="119"/>
                      <a:pt x="1150" y="119"/>
                      <a:pt x="1150" y="119"/>
                    </a:cubicBezTo>
                    <a:cubicBezTo>
                      <a:pt x="1150" y="121"/>
                      <a:pt x="1150" y="121"/>
                      <a:pt x="1150" y="121"/>
                    </a:cubicBezTo>
                    <a:cubicBezTo>
                      <a:pt x="1154" y="123"/>
                      <a:pt x="1154" y="123"/>
                      <a:pt x="1154" y="123"/>
                    </a:cubicBezTo>
                    <a:cubicBezTo>
                      <a:pt x="1155" y="124"/>
                      <a:pt x="1155" y="124"/>
                      <a:pt x="1155" y="124"/>
                    </a:cubicBezTo>
                    <a:cubicBezTo>
                      <a:pt x="1157" y="124"/>
                      <a:pt x="1157" y="124"/>
                      <a:pt x="1157" y="124"/>
                    </a:cubicBezTo>
                    <a:cubicBezTo>
                      <a:pt x="1159" y="126"/>
                      <a:pt x="1159" y="126"/>
                      <a:pt x="1159" y="126"/>
                    </a:cubicBezTo>
                    <a:cubicBezTo>
                      <a:pt x="1162" y="126"/>
                      <a:pt x="1162" y="126"/>
                      <a:pt x="1162" y="126"/>
                    </a:cubicBezTo>
                    <a:cubicBezTo>
                      <a:pt x="1164" y="125"/>
                      <a:pt x="1164" y="125"/>
                      <a:pt x="1164" y="125"/>
                    </a:cubicBezTo>
                    <a:cubicBezTo>
                      <a:pt x="1166" y="125"/>
                      <a:pt x="1166" y="125"/>
                      <a:pt x="1166" y="125"/>
                    </a:cubicBezTo>
                    <a:cubicBezTo>
                      <a:pt x="1168" y="124"/>
                      <a:pt x="1168" y="124"/>
                      <a:pt x="1168" y="124"/>
                    </a:cubicBezTo>
                    <a:cubicBezTo>
                      <a:pt x="1169" y="123"/>
                      <a:pt x="1169" y="123"/>
                      <a:pt x="1169" y="123"/>
                    </a:cubicBezTo>
                    <a:cubicBezTo>
                      <a:pt x="1171" y="124"/>
                      <a:pt x="1171" y="124"/>
                      <a:pt x="1171" y="124"/>
                    </a:cubicBezTo>
                    <a:cubicBezTo>
                      <a:pt x="1170" y="126"/>
                      <a:pt x="1170" y="126"/>
                      <a:pt x="1170" y="126"/>
                    </a:cubicBezTo>
                    <a:cubicBezTo>
                      <a:pt x="1169" y="129"/>
                      <a:pt x="1169" y="129"/>
                      <a:pt x="1169" y="129"/>
                    </a:cubicBezTo>
                    <a:cubicBezTo>
                      <a:pt x="1169" y="131"/>
                      <a:pt x="1169" y="131"/>
                      <a:pt x="1169" y="131"/>
                    </a:cubicBezTo>
                    <a:cubicBezTo>
                      <a:pt x="1169" y="133"/>
                      <a:pt x="1169" y="133"/>
                      <a:pt x="1169" y="133"/>
                    </a:cubicBezTo>
                    <a:cubicBezTo>
                      <a:pt x="1172" y="133"/>
                      <a:pt x="1172" y="133"/>
                      <a:pt x="1172" y="133"/>
                    </a:cubicBezTo>
                    <a:cubicBezTo>
                      <a:pt x="1173" y="137"/>
                      <a:pt x="1173" y="137"/>
                      <a:pt x="1173" y="137"/>
                    </a:cubicBezTo>
                    <a:cubicBezTo>
                      <a:pt x="1174" y="140"/>
                      <a:pt x="1174" y="140"/>
                      <a:pt x="1174" y="140"/>
                    </a:cubicBezTo>
                    <a:cubicBezTo>
                      <a:pt x="1174" y="143"/>
                      <a:pt x="1174" y="143"/>
                      <a:pt x="1174" y="143"/>
                    </a:cubicBezTo>
                    <a:cubicBezTo>
                      <a:pt x="1173" y="144"/>
                      <a:pt x="1173" y="144"/>
                      <a:pt x="1173" y="144"/>
                    </a:cubicBezTo>
                    <a:cubicBezTo>
                      <a:pt x="1173" y="147"/>
                      <a:pt x="1173" y="147"/>
                      <a:pt x="1173" y="147"/>
                    </a:cubicBezTo>
                    <a:cubicBezTo>
                      <a:pt x="1177" y="151"/>
                      <a:pt x="1177" y="151"/>
                      <a:pt x="1177" y="151"/>
                    </a:cubicBezTo>
                    <a:cubicBezTo>
                      <a:pt x="1178" y="152"/>
                      <a:pt x="1178" y="152"/>
                      <a:pt x="1178" y="152"/>
                    </a:cubicBezTo>
                    <a:cubicBezTo>
                      <a:pt x="1181" y="156"/>
                      <a:pt x="1181" y="156"/>
                      <a:pt x="1181" y="156"/>
                    </a:cubicBezTo>
                    <a:cubicBezTo>
                      <a:pt x="1182" y="158"/>
                      <a:pt x="1182" y="158"/>
                      <a:pt x="1182" y="158"/>
                    </a:cubicBezTo>
                    <a:cubicBezTo>
                      <a:pt x="1185" y="157"/>
                      <a:pt x="1185" y="157"/>
                      <a:pt x="1185" y="157"/>
                    </a:cubicBezTo>
                    <a:cubicBezTo>
                      <a:pt x="1188" y="155"/>
                      <a:pt x="1188" y="155"/>
                      <a:pt x="1188" y="155"/>
                    </a:cubicBezTo>
                    <a:cubicBezTo>
                      <a:pt x="1191" y="155"/>
                      <a:pt x="1191" y="155"/>
                      <a:pt x="1191" y="155"/>
                    </a:cubicBezTo>
                    <a:cubicBezTo>
                      <a:pt x="1192" y="158"/>
                      <a:pt x="1192" y="158"/>
                      <a:pt x="1192" y="158"/>
                    </a:cubicBezTo>
                    <a:cubicBezTo>
                      <a:pt x="1193" y="160"/>
                      <a:pt x="1193" y="160"/>
                      <a:pt x="1193" y="160"/>
                    </a:cubicBezTo>
                    <a:cubicBezTo>
                      <a:pt x="1196" y="159"/>
                      <a:pt x="1196" y="159"/>
                      <a:pt x="1196" y="159"/>
                    </a:cubicBezTo>
                    <a:cubicBezTo>
                      <a:pt x="1197" y="158"/>
                      <a:pt x="1197" y="158"/>
                      <a:pt x="1197" y="158"/>
                    </a:cubicBezTo>
                    <a:cubicBezTo>
                      <a:pt x="1200" y="158"/>
                      <a:pt x="1200" y="158"/>
                      <a:pt x="1200" y="158"/>
                    </a:cubicBezTo>
                    <a:cubicBezTo>
                      <a:pt x="1202" y="158"/>
                      <a:pt x="1202" y="158"/>
                      <a:pt x="1202" y="158"/>
                    </a:cubicBezTo>
                    <a:cubicBezTo>
                      <a:pt x="1207" y="157"/>
                      <a:pt x="1207" y="157"/>
                      <a:pt x="1207" y="157"/>
                    </a:cubicBezTo>
                    <a:cubicBezTo>
                      <a:pt x="1210" y="155"/>
                      <a:pt x="1210" y="155"/>
                      <a:pt x="1210" y="155"/>
                    </a:cubicBezTo>
                    <a:cubicBezTo>
                      <a:pt x="1212" y="154"/>
                      <a:pt x="1212" y="154"/>
                      <a:pt x="1212" y="154"/>
                    </a:cubicBezTo>
                    <a:cubicBezTo>
                      <a:pt x="1211" y="152"/>
                      <a:pt x="1211" y="152"/>
                      <a:pt x="1211" y="152"/>
                    </a:cubicBezTo>
                    <a:cubicBezTo>
                      <a:pt x="1212" y="148"/>
                      <a:pt x="1212" y="148"/>
                      <a:pt x="1212" y="148"/>
                    </a:cubicBezTo>
                    <a:cubicBezTo>
                      <a:pt x="1215" y="147"/>
                      <a:pt x="1215" y="147"/>
                      <a:pt x="1215" y="147"/>
                    </a:cubicBezTo>
                    <a:cubicBezTo>
                      <a:pt x="1215" y="144"/>
                      <a:pt x="1215" y="144"/>
                      <a:pt x="1215" y="144"/>
                    </a:cubicBezTo>
                    <a:cubicBezTo>
                      <a:pt x="1216" y="142"/>
                      <a:pt x="1216" y="142"/>
                      <a:pt x="1216" y="142"/>
                    </a:cubicBezTo>
                    <a:cubicBezTo>
                      <a:pt x="1218" y="141"/>
                      <a:pt x="1218" y="141"/>
                      <a:pt x="1218" y="141"/>
                    </a:cubicBezTo>
                    <a:cubicBezTo>
                      <a:pt x="1222" y="141"/>
                      <a:pt x="1222" y="141"/>
                      <a:pt x="1222" y="141"/>
                    </a:cubicBezTo>
                    <a:cubicBezTo>
                      <a:pt x="1223" y="137"/>
                      <a:pt x="1223" y="137"/>
                      <a:pt x="1223" y="137"/>
                    </a:cubicBezTo>
                    <a:cubicBezTo>
                      <a:pt x="1225" y="137"/>
                      <a:pt x="1225" y="137"/>
                      <a:pt x="1225" y="137"/>
                    </a:cubicBezTo>
                    <a:cubicBezTo>
                      <a:pt x="1227" y="136"/>
                      <a:pt x="1227" y="136"/>
                      <a:pt x="1227" y="136"/>
                    </a:cubicBezTo>
                    <a:cubicBezTo>
                      <a:pt x="1228" y="134"/>
                      <a:pt x="1228" y="134"/>
                      <a:pt x="1228" y="134"/>
                    </a:cubicBezTo>
                    <a:cubicBezTo>
                      <a:pt x="1230" y="132"/>
                      <a:pt x="1230" y="132"/>
                      <a:pt x="1230" y="132"/>
                    </a:cubicBezTo>
                    <a:cubicBezTo>
                      <a:pt x="1233" y="131"/>
                      <a:pt x="1233" y="131"/>
                      <a:pt x="1233" y="131"/>
                    </a:cubicBezTo>
                    <a:cubicBezTo>
                      <a:pt x="1235" y="130"/>
                      <a:pt x="1235" y="130"/>
                      <a:pt x="1235" y="130"/>
                    </a:cubicBezTo>
                    <a:cubicBezTo>
                      <a:pt x="1239" y="131"/>
                      <a:pt x="1239" y="131"/>
                      <a:pt x="1239" y="131"/>
                    </a:cubicBezTo>
                    <a:cubicBezTo>
                      <a:pt x="1241" y="132"/>
                      <a:pt x="1241" y="132"/>
                      <a:pt x="1241" y="132"/>
                    </a:cubicBezTo>
                    <a:cubicBezTo>
                      <a:pt x="1244" y="133"/>
                      <a:pt x="1244" y="133"/>
                      <a:pt x="1244" y="133"/>
                    </a:cubicBezTo>
                    <a:cubicBezTo>
                      <a:pt x="1245" y="135"/>
                      <a:pt x="1245" y="135"/>
                      <a:pt x="1245" y="135"/>
                    </a:cubicBezTo>
                    <a:cubicBezTo>
                      <a:pt x="1247" y="138"/>
                      <a:pt x="1247" y="138"/>
                      <a:pt x="1247" y="138"/>
                    </a:cubicBezTo>
                    <a:cubicBezTo>
                      <a:pt x="1245" y="140"/>
                      <a:pt x="1245" y="140"/>
                      <a:pt x="1245" y="140"/>
                    </a:cubicBezTo>
                    <a:cubicBezTo>
                      <a:pt x="1246" y="142"/>
                      <a:pt x="1246" y="142"/>
                      <a:pt x="1246" y="142"/>
                    </a:cubicBezTo>
                    <a:cubicBezTo>
                      <a:pt x="1249" y="145"/>
                      <a:pt x="1249" y="145"/>
                      <a:pt x="1249" y="145"/>
                    </a:cubicBezTo>
                    <a:cubicBezTo>
                      <a:pt x="1249" y="148"/>
                      <a:pt x="1249" y="148"/>
                      <a:pt x="1249" y="148"/>
                    </a:cubicBezTo>
                    <a:cubicBezTo>
                      <a:pt x="1251" y="149"/>
                      <a:pt x="1251" y="149"/>
                      <a:pt x="1251" y="149"/>
                    </a:cubicBezTo>
                    <a:cubicBezTo>
                      <a:pt x="1253" y="151"/>
                      <a:pt x="1253" y="151"/>
                      <a:pt x="1253" y="151"/>
                    </a:cubicBezTo>
                    <a:cubicBezTo>
                      <a:pt x="1253" y="155"/>
                      <a:pt x="1253" y="155"/>
                      <a:pt x="1253" y="155"/>
                    </a:cubicBezTo>
                    <a:cubicBezTo>
                      <a:pt x="1252" y="158"/>
                      <a:pt x="1252" y="158"/>
                      <a:pt x="1252" y="158"/>
                    </a:cubicBezTo>
                    <a:cubicBezTo>
                      <a:pt x="1252" y="159"/>
                      <a:pt x="1252" y="159"/>
                      <a:pt x="1252" y="159"/>
                    </a:cubicBezTo>
                    <a:cubicBezTo>
                      <a:pt x="1249" y="160"/>
                      <a:pt x="1249" y="160"/>
                      <a:pt x="1249" y="160"/>
                    </a:cubicBezTo>
                    <a:cubicBezTo>
                      <a:pt x="1246" y="163"/>
                      <a:pt x="1246" y="163"/>
                      <a:pt x="1246" y="163"/>
                    </a:cubicBezTo>
                    <a:cubicBezTo>
                      <a:pt x="1246" y="165"/>
                      <a:pt x="1246" y="165"/>
                      <a:pt x="1246" y="165"/>
                    </a:cubicBezTo>
                    <a:cubicBezTo>
                      <a:pt x="1248" y="167"/>
                      <a:pt x="1248" y="167"/>
                      <a:pt x="1248" y="167"/>
                    </a:cubicBezTo>
                    <a:cubicBezTo>
                      <a:pt x="1249" y="168"/>
                      <a:pt x="1249" y="168"/>
                      <a:pt x="1249" y="168"/>
                    </a:cubicBezTo>
                    <a:cubicBezTo>
                      <a:pt x="1248" y="171"/>
                      <a:pt x="1248" y="171"/>
                      <a:pt x="1248" y="171"/>
                    </a:cubicBezTo>
                    <a:cubicBezTo>
                      <a:pt x="1247" y="174"/>
                      <a:pt x="1247" y="174"/>
                      <a:pt x="1247" y="174"/>
                    </a:cubicBezTo>
                    <a:cubicBezTo>
                      <a:pt x="1248" y="175"/>
                      <a:pt x="1248" y="175"/>
                      <a:pt x="1248" y="175"/>
                    </a:cubicBezTo>
                    <a:cubicBezTo>
                      <a:pt x="1250" y="176"/>
                      <a:pt x="1250" y="176"/>
                      <a:pt x="1250" y="176"/>
                    </a:cubicBezTo>
                    <a:cubicBezTo>
                      <a:pt x="1250" y="178"/>
                      <a:pt x="1250" y="178"/>
                      <a:pt x="1250" y="178"/>
                    </a:cubicBezTo>
                    <a:cubicBezTo>
                      <a:pt x="1251" y="180"/>
                      <a:pt x="1251" y="180"/>
                      <a:pt x="1251" y="180"/>
                    </a:cubicBezTo>
                    <a:cubicBezTo>
                      <a:pt x="1251" y="181"/>
                      <a:pt x="1251" y="181"/>
                      <a:pt x="1251" y="181"/>
                    </a:cubicBezTo>
                    <a:cubicBezTo>
                      <a:pt x="1250" y="182"/>
                      <a:pt x="1250" y="182"/>
                      <a:pt x="1250" y="182"/>
                    </a:cubicBezTo>
                    <a:cubicBezTo>
                      <a:pt x="1249" y="182"/>
                      <a:pt x="1249" y="182"/>
                      <a:pt x="1249" y="182"/>
                    </a:cubicBezTo>
                    <a:cubicBezTo>
                      <a:pt x="1249" y="187"/>
                      <a:pt x="1249" y="187"/>
                      <a:pt x="1249" y="187"/>
                    </a:cubicBezTo>
                    <a:cubicBezTo>
                      <a:pt x="1251" y="191"/>
                      <a:pt x="1251" y="191"/>
                      <a:pt x="1251" y="191"/>
                    </a:cubicBezTo>
                    <a:cubicBezTo>
                      <a:pt x="1252" y="193"/>
                      <a:pt x="1252" y="193"/>
                      <a:pt x="1252" y="193"/>
                    </a:cubicBezTo>
                    <a:cubicBezTo>
                      <a:pt x="1252" y="194"/>
                      <a:pt x="1252" y="194"/>
                      <a:pt x="1252" y="194"/>
                    </a:cubicBezTo>
                    <a:cubicBezTo>
                      <a:pt x="1250" y="195"/>
                      <a:pt x="1250" y="195"/>
                      <a:pt x="1250" y="195"/>
                    </a:cubicBezTo>
                    <a:cubicBezTo>
                      <a:pt x="1249" y="198"/>
                      <a:pt x="1249" y="198"/>
                      <a:pt x="1249" y="198"/>
                    </a:cubicBezTo>
                    <a:cubicBezTo>
                      <a:pt x="1250" y="200"/>
                      <a:pt x="1250" y="200"/>
                      <a:pt x="1250" y="200"/>
                    </a:cubicBezTo>
                    <a:cubicBezTo>
                      <a:pt x="1250" y="202"/>
                      <a:pt x="1250" y="202"/>
                      <a:pt x="1250" y="202"/>
                    </a:cubicBezTo>
                    <a:cubicBezTo>
                      <a:pt x="1251" y="204"/>
                      <a:pt x="1251" y="204"/>
                      <a:pt x="1251" y="204"/>
                    </a:cubicBezTo>
                    <a:cubicBezTo>
                      <a:pt x="1249" y="205"/>
                      <a:pt x="1249" y="205"/>
                      <a:pt x="1249" y="205"/>
                    </a:cubicBezTo>
                    <a:cubicBezTo>
                      <a:pt x="1248" y="206"/>
                      <a:pt x="1248" y="206"/>
                      <a:pt x="1248" y="206"/>
                    </a:cubicBezTo>
                    <a:cubicBezTo>
                      <a:pt x="1249" y="208"/>
                      <a:pt x="1249" y="208"/>
                      <a:pt x="1249" y="208"/>
                    </a:cubicBezTo>
                    <a:cubicBezTo>
                      <a:pt x="1250" y="211"/>
                      <a:pt x="1250" y="211"/>
                      <a:pt x="1250" y="211"/>
                    </a:cubicBezTo>
                    <a:cubicBezTo>
                      <a:pt x="1249" y="212"/>
                      <a:pt x="1249" y="212"/>
                      <a:pt x="1249" y="212"/>
                    </a:cubicBezTo>
                    <a:cubicBezTo>
                      <a:pt x="1247" y="216"/>
                      <a:pt x="1247" y="216"/>
                      <a:pt x="1247" y="216"/>
                    </a:cubicBezTo>
                    <a:cubicBezTo>
                      <a:pt x="1247" y="218"/>
                      <a:pt x="1247" y="218"/>
                      <a:pt x="1247" y="218"/>
                    </a:cubicBezTo>
                    <a:cubicBezTo>
                      <a:pt x="1248" y="220"/>
                      <a:pt x="1248" y="220"/>
                      <a:pt x="1248" y="220"/>
                    </a:cubicBezTo>
                    <a:cubicBezTo>
                      <a:pt x="1247" y="221"/>
                      <a:pt x="1247" y="221"/>
                      <a:pt x="1247" y="221"/>
                    </a:cubicBezTo>
                    <a:cubicBezTo>
                      <a:pt x="1248" y="223"/>
                      <a:pt x="1248" y="223"/>
                      <a:pt x="1248" y="223"/>
                    </a:cubicBezTo>
                    <a:cubicBezTo>
                      <a:pt x="1249" y="225"/>
                      <a:pt x="1249" y="225"/>
                      <a:pt x="1249" y="225"/>
                    </a:cubicBezTo>
                    <a:cubicBezTo>
                      <a:pt x="1249" y="228"/>
                      <a:pt x="1249" y="228"/>
                      <a:pt x="1249" y="228"/>
                    </a:cubicBezTo>
                    <a:cubicBezTo>
                      <a:pt x="1248" y="230"/>
                      <a:pt x="1248" y="230"/>
                      <a:pt x="1248" y="230"/>
                    </a:cubicBezTo>
                    <a:cubicBezTo>
                      <a:pt x="1246" y="230"/>
                      <a:pt x="1246" y="230"/>
                      <a:pt x="1246" y="230"/>
                    </a:cubicBezTo>
                    <a:cubicBezTo>
                      <a:pt x="1244" y="229"/>
                      <a:pt x="1244" y="229"/>
                      <a:pt x="1244" y="229"/>
                    </a:cubicBezTo>
                    <a:cubicBezTo>
                      <a:pt x="1232" y="227"/>
                      <a:pt x="1232" y="227"/>
                      <a:pt x="1232" y="227"/>
                    </a:cubicBezTo>
                    <a:cubicBezTo>
                      <a:pt x="1229" y="226"/>
                      <a:pt x="1229" y="226"/>
                      <a:pt x="1229" y="226"/>
                    </a:cubicBezTo>
                    <a:cubicBezTo>
                      <a:pt x="1226" y="225"/>
                      <a:pt x="1226" y="225"/>
                      <a:pt x="1226" y="225"/>
                    </a:cubicBezTo>
                    <a:cubicBezTo>
                      <a:pt x="1225" y="226"/>
                      <a:pt x="1225" y="226"/>
                      <a:pt x="1225" y="226"/>
                    </a:cubicBezTo>
                    <a:cubicBezTo>
                      <a:pt x="1221" y="231"/>
                      <a:pt x="1221" y="231"/>
                      <a:pt x="1221" y="231"/>
                    </a:cubicBezTo>
                    <a:cubicBezTo>
                      <a:pt x="1220" y="233"/>
                      <a:pt x="1220" y="233"/>
                      <a:pt x="1220" y="233"/>
                    </a:cubicBezTo>
                    <a:cubicBezTo>
                      <a:pt x="1218" y="236"/>
                      <a:pt x="1218" y="236"/>
                      <a:pt x="1218" y="236"/>
                    </a:cubicBezTo>
                    <a:cubicBezTo>
                      <a:pt x="1216" y="236"/>
                      <a:pt x="1216" y="236"/>
                      <a:pt x="1216" y="236"/>
                    </a:cubicBezTo>
                    <a:cubicBezTo>
                      <a:pt x="1214" y="237"/>
                      <a:pt x="1214" y="237"/>
                      <a:pt x="1214" y="237"/>
                    </a:cubicBezTo>
                    <a:cubicBezTo>
                      <a:pt x="1213" y="239"/>
                      <a:pt x="1213" y="239"/>
                      <a:pt x="1213" y="239"/>
                    </a:cubicBezTo>
                    <a:cubicBezTo>
                      <a:pt x="1214" y="242"/>
                      <a:pt x="1214" y="242"/>
                      <a:pt x="1214" y="242"/>
                    </a:cubicBezTo>
                    <a:cubicBezTo>
                      <a:pt x="1219" y="249"/>
                      <a:pt x="1219" y="249"/>
                      <a:pt x="1219" y="249"/>
                    </a:cubicBezTo>
                    <a:cubicBezTo>
                      <a:pt x="1220" y="252"/>
                      <a:pt x="1220" y="252"/>
                      <a:pt x="1220" y="252"/>
                    </a:cubicBezTo>
                    <a:cubicBezTo>
                      <a:pt x="1221" y="254"/>
                      <a:pt x="1221" y="254"/>
                      <a:pt x="1221" y="254"/>
                    </a:cubicBezTo>
                    <a:cubicBezTo>
                      <a:pt x="1223" y="257"/>
                      <a:pt x="1223" y="257"/>
                      <a:pt x="1223" y="257"/>
                    </a:cubicBezTo>
                    <a:cubicBezTo>
                      <a:pt x="1223" y="261"/>
                      <a:pt x="1223" y="261"/>
                      <a:pt x="1223" y="261"/>
                    </a:cubicBezTo>
                    <a:cubicBezTo>
                      <a:pt x="1224" y="265"/>
                      <a:pt x="1224" y="265"/>
                      <a:pt x="1224" y="265"/>
                    </a:cubicBezTo>
                    <a:cubicBezTo>
                      <a:pt x="1224" y="268"/>
                      <a:pt x="1224" y="268"/>
                      <a:pt x="1224" y="268"/>
                    </a:cubicBezTo>
                    <a:cubicBezTo>
                      <a:pt x="1224" y="274"/>
                      <a:pt x="1224" y="274"/>
                      <a:pt x="1224" y="274"/>
                    </a:cubicBezTo>
                    <a:cubicBezTo>
                      <a:pt x="1226" y="276"/>
                      <a:pt x="1226" y="276"/>
                      <a:pt x="1226" y="276"/>
                    </a:cubicBezTo>
                    <a:cubicBezTo>
                      <a:pt x="1227" y="279"/>
                      <a:pt x="1227" y="279"/>
                      <a:pt x="1227" y="279"/>
                    </a:cubicBezTo>
                    <a:cubicBezTo>
                      <a:pt x="1227" y="283"/>
                      <a:pt x="1227" y="283"/>
                      <a:pt x="1227" y="283"/>
                    </a:cubicBezTo>
                    <a:cubicBezTo>
                      <a:pt x="1226" y="284"/>
                      <a:pt x="1226" y="284"/>
                      <a:pt x="1226" y="284"/>
                    </a:cubicBezTo>
                    <a:cubicBezTo>
                      <a:pt x="1226" y="287"/>
                      <a:pt x="1226" y="287"/>
                      <a:pt x="1226" y="287"/>
                    </a:cubicBezTo>
                    <a:cubicBezTo>
                      <a:pt x="1226" y="289"/>
                      <a:pt x="1226" y="289"/>
                      <a:pt x="1226" y="289"/>
                    </a:cubicBezTo>
                    <a:cubicBezTo>
                      <a:pt x="1226" y="292"/>
                      <a:pt x="1226" y="292"/>
                      <a:pt x="1226" y="292"/>
                    </a:cubicBezTo>
                    <a:cubicBezTo>
                      <a:pt x="1225" y="292"/>
                      <a:pt x="1225" y="292"/>
                      <a:pt x="1225" y="292"/>
                    </a:cubicBezTo>
                    <a:cubicBezTo>
                      <a:pt x="1220" y="292"/>
                      <a:pt x="1220" y="292"/>
                      <a:pt x="1220" y="292"/>
                    </a:cubicBezTo>
                    <a:cubicBezTo>
                      <a:pt x="1218" y="293"/>
                      <a:pt x="1218" y="293"/>
                      <a:pt x="1218" y="293"/>
                    </a:cubicBezTo>
                    <a:cubicBezTo>
                      <a:pt x="1218" y="295"/>
                      <a:pt x="1218" y="295"/>
                      <a:pt x="1218" y="295"/>
                    </a:cubicBezTo>
                    <a:cubicBezTo>
                      <a:pt x="1219" y="298"/>
                      <a:pt x="1219" y="298"/>
                      <a:pt x="1219" y="298"/>
                    </a:cubicBezTo>
                    <a:cubicBezTo>
                      <a:pt x="1220" y="299"/>
                      <a:pt x="1220" y="299"/>
                      <a:pt x="1220" y="299"/>
                    </a:cubicBezTo>
                    <a:cubicBezTo>
                      <a:pt x="1220" y="301"/>
                      <a:pt x="1220" y="301"/>
                      <a:pt x="1220" y="301"/>
                    </a:cubicBezTo>
                    <a:cubicBezTo>
                      <a:pt x="1219" y="303"/>
                      <a:pt x="1219" y="303"/>
                      <a:pt x="1219" y="303"/>
                    </a:cubicBezTo>
                    <a:cubicBezTo>
                      <a:pt x="1203" y="315"/>
                      <a:pt x="1203" y="315"/>
                      <a:pt x="1203" y="315"/>
                    </a:cubicBezTo>
                    <a:cubicBezTo>
                      <a:pt x="1198" y="344"/>
                      <a:pt x="1198" y="344"/>
                      <a:pt x="1198" y="344"/>
                    </a:cubicBezTo>
                    <a:cubicBezTo>
                      <a:pt x="1142" y="382"/>
                      <a:pt x="1142" y="382"/>
                      <a:pt x="1142" y="382"/>
                    </a:cubicBezTo>
                    <a:cubicBezTo>
                      <a:pt x="1132" y="386"/>
                      <a:pt x="1132" y="386"/>
                      <a:pt x="1132" y="386"/>
                    </a:cubicBezTo>
                    <a:cubicBezTo>
                      <a:pt x="1132" y="386"/>
                      <a:pt x="1132" y="386"/>
                      <a:pt x="1132" y="386"/>
                    </a:cubicBezTo>
                    <a:cubicBezTo>
                      <a:pt x="1130" y="383"/>
                      <a:pt x="1130" y="383"/>
                      <a:pt x="1130" y="383"/>
                    </a:cubicBezTo>
                    <a:cubicBezTo>
                      <a:pt x="1125" y="389"/>
                      <a:pt x="1125" y="389"/>
                      <a:pt x="1125" y="389"/>
                    </a:cubicBezTo>
                    <a:cubicBezTo>
                      <a:pt x="1120" y="389"/>
                      <a:pt x="1120" y="389"/>
                      <a:pt x="1120" y="389"/>
                    </a:cubicBezTo>
                    <a:cubicBezTo>
                      <a:pt x="1118" y="390"/>
                      <a:pt x="1118" y="390"/>
                      <a:pt x="1118" y="390"/>
                    </a:cubicBezTo>
                    <a:cubicBezTo>
                      <a:pt x="1116" y="388"/>
                      <a:pt x="1116" y="388"/>
                      <a:pt x="1116" y="388"/>
                    </a:cubicBezTo>
                    <a:cubicBezTo>
                      <a:pt x="1111" y="392"/>
                      <a:pt x="1111" y="392"/>
                      <a:pt x="1111" y="392"/>
                    </a:cubicBezTo>
                    <a:cubicBezTo>
                      <a:pt x="1107" y="392"/>
                      <a:pt x="1107" y="392"/>
                      <a:pt x="1107" y="392"/>
                    </a:cubicBezTo>
                    <a:cubicBezTo>
                      <a:pt x="1106" y="395"/>
                      <a:pt x="1106" y="395"/>
                      <a:pt x="1106" y="395"/>
                    </a:cubicBezTo>
                    <a:cubicBezTo>
                      <a:pt x="1104" y="395"/>
                      <a:pt x="1104" y="395"/>
                      <a:pt x="1104" y="395"/>
                    </a:cubicBezTo>
                    <a:cubicBezTo>
                      <a:pt x="1095" y="401"/>
                      <a:pt x="1095" y="401"/>
                      <a:pt x="1095" y="401"/>
                    </a:cubicBezTo>
                    <a:cubicBezTo>
                      <a:pt x="1090" y="405"/>
                      <a:pt x="1090" y="405"/>
                      <a:pt x="1090" y="405"/>
                    </a:cubicBezTo>
                    <a:cubicBezTo>
                      <a:pt x="1092" y="408"/>
                      <a:pt x="1092" y="408"/>
                      <a:pt x="1092" y="408"/>
                    </a:cubicBezTo>
                    <a:cubicBezTo>
                      <a:pt x="1091" y="410"/>
                      <a:pt x="1091" y="410"/>
                      <a:pt x="1091" y="410"/>
                    </a:cubicBezTo>
                    <a:cubicBezTo>
                      <a:pt x="1086" y="412"/>
                      <a:pt x="1086" y="412"/>
                      <a:pt x="1086" y="412"/>
                    </a:cubicBezTo>
                    <a:cubicBezTo>
                      <a:pt x="1083" y="417"/>
                      <a:pt x="1083" y="417"/>
                      <a:pt x="1083" y="417"/>
                    </a:cubicBezTo>
                    <a:cubicBezTo>
                      <a:pt x="1081" y="417"/>
                      <a:pt x="1081" y="417"/>
                      <a:pt x="1081" y="417"/>
                    </a:cubicBezTo>
                    <a:cubicBezTo>
                      <a:pt x="1078" y="420"/>
                      <a:pt x="1078" y="420"/>
                      <a:pt x="1078" y="420"/>
                    </a:cubicBezTo>
                    <a:cubicBezTo>
                      <a:pt x="1076" y="420"/>
                      <a:pt x="1076" y="420"/>
                      <a:pt x="1076" y="420"/>
                    </a:cubicBezTo>
                    <a:cubicBezTo>
                      <a:pt x="1075" y="417"/>
                      <a:pt x="1075" y="417"/>
                      <a:pt x="1075" y="417"/>
                    </a:cubicBezTo>
                    <a:cubicBezTo>
                      <a:pt x="1072" y="415"/>
                      <a:pt x="1072" y="415"/>
                      <a:pt x="1072" y="415"/>
                    </a:cubicBezTo>
                    <a:cubicBezTo>
                      <a:pt x="1074" y="412"/>
                      <a:pt x="1074" y="412"/>
                      <a:pt x="1074" y="412"/>
                    </a:cubicBezTo>
                    <a:cubicBezTo>
                      <a:pt x="1077" y="412"/>
                      <a:pt x="1077" y="412"/>
                      <a:pt x="1077" y="412"/>
                    </a:cubicBezTo>
                    <a:cubicBezTo>
                      <a:pt x="1079" y="409"/>
                      <a:pt x="1079" y="409"/>
                      <a:pt x="1079" y="409"/>
                    </a:cubicBezTo>
                    <a:cubicBezTo>
                      <a:pt x="1083" y="410"/>
                      <a:pt x="1083" y="410"/>
                      <a:pt x="1083" y="410"/>
                    </a:cubicBezTo>
                    <a:cubicBezTo>
                      <a:pt x="1085" y="409"/>
                      <a:pt x="1085" y="409"/>
                      <a:pt x="1085" y="409"/>
                    </a:cubicBezTo>
                    <a:cubicBezTo>
                      <a:pt x="1085" y="407"/>
                      <a:pt x="1085" y="407"/>
                      <a:pt x="1085" y="407"/>
                    </a:cubicBezTo>
                    <a:cubicBezTo>
                      <a:pt x="1083" y="406"/>
                      <a:pt x="1083" y="406"/>
                      <a:pt x="1083" y="406"/>
                    </a:cubicBezTo>
                    <a:cubicBezTo>
                      <a:pt x="1083" y="405"/>
                      <a:pt x="1083" y="405"/>
                      <a:pt x="1083" y="405"/>
                    </a:cubicBezTo>
                    <a:cubicBezTo>
                      <a:pt x="1086" y="402"/>
                      <a:pt x="1086" y="402"/>
                      <a:pt x="1086" y="402"/>
                    </a:cubicBezTo>
                    <a:cubicBezTo>
                      <a:pt x="1088" y="399"/>
                      <a:pt x="1088" y="399"/>
                      <a:pt x="1088" y="399"/>
                    </a:cubicBezTo>
                    <a:cubicBezTo>
                      <a:pt x="1084" y="402"/>
                      <a:pt x="1084" y="402"/>
                      <a:pt x="1084" y="402"/>
                    </a:cubicBezTo>
                    <a:cubicBezTo>
                      <a:pt x="1079" y="404"/>
                      <a:pt x="1079" y="404"/>
                      <a:pt x="1079" y="404"/>
                    </a:cubicBezTo>
                    <a:cubicBezTo>
                      <a:pt x="1078" y="402"/>
                      <a:pt x="1078" y="402"/>
                      <a:pt x="1078" y="402"/>
                    </a:cubicBezTo>
                    <a:cubicBezTo>
                      <a:pt x="1078" y="399"/>
                      <a:pt x="1078" y="399"/>
                      <a:pt x="1078" y="399"/>
                    </a:cubicBezTo>
                    <a:cubicBezTo>
                      <a:pt x="1079" y="399"/>
                      <a:pt x="1079" y="399"/>
                      <a:pt x="1079" y="399"/>
                    </a:cubicBezTo>
                    <a:cubicBezTo>
                      <a:pt x="1080" y="396"/>
                      <a:pt x="1080" y="396"/>
                      <a:pt x="1080" y="396"/>
                    </a:cubicBezTo>
                    <a:cubicBezTo>
                      <a:pt x="1075" y="392"/>
                      <a:pt x="1075" y="392"/>
                      <a:pt x="1075" y="392"/>
                    </a:cubicBezTo>
                    <a:cubicBezTo>
                      <a:pt x="1076" y="387"/>
                      <a:pt x="1076" y="387"/>
                      <a:pt x="1076" y="387"/>
                    </a:cubicBezTo>
                    <a:cubicBezTo>
                      <a:pt x="1076" y="386"/>
                      <a:pt x="1076" y="386"/>
                      <a:pt x="1076" y="386"/>
                    </a:cubicBezTo>
                    <a:cubicBezTo>
                      <a:pt x="1079" y="386"/>
                      <a:pt x="1079" y="386"/>
                      <a:pt x="1079" y="386"/>
                    </a:cubicBezTo>
                    <a:cubicBezTo>
                      <a:pt x="1080" y="381"/>
                      <a:pt x="1080" y="381"/>
                      <a:pt x="1080" y="381"/>
                    </a:cubicBezTo>
                    <a:cubicBezTo>
                      <a:pt x="1084" y="376"/>
                      <a:pt x="1084" y="376"/>
                      <a:pt x="1084" y="376"/>
                    </a:cubicBezTo>
                    <a:cubicBezTo>
                      <a:pt x="1085" y="374"/>
                      <a:pt x="1085" y="374"/>
                      <a:pt x="1085" y="374"/>
                    </a:cubicBezTo>
                    <a:cubicBezTo>
                      <a:pt x="1087" y="372"/>
                      <a:pt x="1087" y="372"/>
                      <a:pt x="1087" y="372"/>
                    </a:cubicBezTo>
                    <a:cubicBezTo>
                      <a:pt x="1087" y="369"/>
                      <a:pt x="1087" y="369"/>
                      <a:pt x="1087" y="369"/>
                    </a:cubicBezTo>
                    <a:cubicBezTo>
                      <a:pt x="1078" y="364"/>
                      <a:pt x="1078" y="364"/>
                      <a:pt x="1078" y="364"/>
                    </a:cubicBezTo>
                    <a:cubicBezTo>
                      <a:pt x="1072" y="357"/>
                      <a:pt x="1072" y="357"/>
                      <a:pt x="1072" y="357"/>
                    </a:cubicBezTo>
                    <a:cubicBezTo>
                      <a:pt x="1071" y="361"/>
                      <a:pt x="1071" y="361"/>
                      <a:pt x="1071" y="361"/>
                    </a:cubicBezTo>
                    <a:cubicBezTo>
                      <a:pt x="1068" y="361"/>
                      <a:pt x="1068" y="361"/>
                      <a:pt x="1068" y="361"/>
                    </a:cubicBezTo>
                    <a:cubicBezTo>
                      <a:pt x="1066" y="360"/>
                      <a:pt x="1066" y="360"/>
                      <a:pt x="1066" y="360"/>
                    </a:cubicBezTo>
                    <a:cubicBezTo>
                      <a:pt x="1061" y="360"/>
                      <a:pt x="1061" y="360"/>
                      <a:pt x="1061" y="360"/>
                    </a:cubicBezTo>
                    <a:cubicBezTo>
                      <a:pt x="1059" y="364"/>
                      <a:pt x="1059" y="364"/>
                      <a:pt x="1059" y="364"/>
                    </a:cubicBezTo>
                    <a:cubicBezTo>
                      <a:pt x="1057" y="365"/>
                      <a:pt x="1057" y="365"/>
                      <a:pt x="1057" y="365"/>
                    </a:cubicBezTo>
                    <a:cubicBezTo>
                      <a:pt x="1057" y="369"/>
                      <a:pt x="1057" y="369"/>
                      <a:pt x="1057" y="369"/>
                    </a:cubicBezTo>
                    <a:cubicBezTo>
                      <a:pt x="1053" y="373"/>
                      <a:pt x="1053" y="373"/>
                      <a:pt x="1053" y="373"/>
                    </a:cubicBezTo>
                    <a:cubicBezTo>
                      <a:pt x="1052" y="381"/>
                      <a:pt x="1052" y="381"/>
                      <a:pt x="1052" y="381"/>
                    </a:cubicBezTo>
                    <a:cubicBezTo>
                      <a:pt x="1050" y="381"/>
                      <a:pt x="1050" y="381"/>
                      <a:pt x="1050" y="381"/>
                    </a:cubicBezTo>
                    <a:cubicBezTo>
                      <a:pt x="1047" y="386"/>
                      <a:pt x="1047" y="386"/>
                      <a:pt x="1047" y="386"/>
                    </a:cubicBezTo>
                    <a:cubicBezTo>
                      <a:pt x="1043" y="386"/>
                      <a:pt x="1043" y="386"/>
                      <a:pt x="1043" y="386"/>
                    </a:cubicBezTo>
                    <a:cubicBezTo>
                      <a:pt x="1036" y="390"/>
                      <a:pt x="1036" y="390"/>
                      <a:pt x="1036" y="390"/>
                    </a:cubicBezTo>
                    <a:cubicBezTo>
                      <a:pt x="1034" y="399"/>
                      <a:pt x="1034" y="399"/>
                      <a:pt x="1034" y="399"/>
                    </a:cubicBezTo>
                    <a:cubicBezTo>
                      <a:pt x="1033" y="401"/>
                      <a:pt x="1033" y="401"/>
                      <a:pt x="1033" y="401"/>
                    </a:cubicBezTo>
                    <a:cubicBezTo>
                      <a:pt x="1034" y="402"/>
                      <a:pt x="1034" y="402"/>
                      <a:pt x="1034" y="402"/>
                    </a:cubicBezTo>
                    <a:cubicBezTo>
                      <a:pt x="1035" y="407"/>
                      <a:pt x="1035" y="407"/>
                      <a:pt x="1035" y="407"/>
                    </a:cubicBezTo>
                    <a:cubicBezTo>
                      <a:pt x="1032" y="407"/>
                      <a:pt x="1032" y="407"/>
                      <a:pt x="1032" y="407"/>
                    </a:cubicBezTo>
                    <a:cubicBezTo>
                      <a:pt x="1033" y="409"/>
                      <a:pt x="1033" y="409"/>
                      <a:pt x="1033" y="409"/>
                    </a:cubicBezTo>
                    <a:cubicBezTo>
                      <a:pt x="1031" y="413"/>
                      <a:pt x="1031" y="413"/>
                      <a:pt x="1031" y="413"/>
                    </a:cubicBezTo>
                    <a:cubicBezTo>
                      <a:pt x="1026" y="413"/>
                      <a:pt x="1026" y="413"/>
                      <a:pt x="1026" y="413"/>
                    </a:cubicBezTo>
                    <a:cubicBezTo>
                      <a:pt x="1020" y="413"/>
                      <a:pt x="1020" y="413"/>
                      <a:pt x="1020" y="413"/>
                    </a:cubicBezTo>
                    <a:cubicBezTo>
                      <a:pt x="1013" y="410"/>
                      <a:pt x="1013" y="410"/>
                      <a:pt x="1013" y="410"/>
                    </a:cubicBezTo>
                    <a:cubicBezTo>
                      <a:pt x="1012" y="413"/>
                      <a:pt x="1012" y="413"/>
                      <a:pt x="1012" y="413"/>
                    </a:cubicBezTo>
                    <a:cubicBezTo>
                      <a:pt x="1010" y="414"/>
                      <a:pt x="1010" y="414"/>
                      <a:pt x="1010" y="414"/>
                    </a:cubicBezTo>
                    <a:cubicBezTo>
                      <a:pt x="1010" y="418"/>
                      <a:pt x="1010" y="418"/>
                      <a:pt x="1010" y="418"/>
                    </a:cubicBezTo>
                    <a:cubicBezTo>
                      <a:pt x="1009" y="420"/>
                      <a:pt x="1009" y="420"/>
                      <a:pt x="1009" y="420"/>
                    </a:cubicBezTo>
                    <a:cubicBezTo>
                      <a:pt x="1009" y="422"/>
                      <a:pt x="1009" y="422"/>
                      <a:pt x="1009" y="422"/>
                    </a:cubicBezTo>
                    <a:cubicBezTo>
                      <a:pt x="1007" y="423"/>
                      <a:pt x="1007" y="423"/>
                      <a:pt x="1007" y="423"/>
                    </a:cubicBezTo>
                    <a:cubicBezTo>
                      <a:pt x="1009" y="428"/>
                      <a:pt x="1009" y="428"/>
                      <a:pt x="1009" y="428"/>
                    </a:cubicBezTo>
                    <a:cubicBezTo>
                      <a:pt x="1010" y="432"/>
                      <a:pt x="1010" y="432"/>
                      <a:pt x="1010" y="432"/>
                    </a:cubicBezTo>
                    <a:cubicBezTo>
                      <a:pt x="1014" y="434"/>
                      <a:pt x="1014" y="434"/>
                      <a:pt x="1014" y="434"/>
                    </a:cubicBezTo>
                    <a:cubicBezTo>
                      <a:pt x="1020" y="438"/>
                      <a:pt x="1020" y="438"/>
                      <a:pt x="1020" y="438"/>
                    </a:cubicBezTo>
                    <a:cubicBezTo>
                      <a:pt x="1021" y="440"/>
                      <a:pt x="1021" y="440"/>
                      <a:pt x="1021" y="440"/>
                    </a:cubicBezTo>
                    <a:cubicBezTo>
                      <a:pt x="1024" y="445"/>
                      <a:pt x="1024" y="445"/>
                      <a:pt x="1024" y="445"/>
                    </a:cubicBezTo>
                    <a:cubicBezTo>
                      <a:pt x="1024" y="444"/>
                      <a:pt x="1024" y="444"/>
                      <a:pt x="1024" y="444"/>
                    </a:cubicBezTo>
                    <a:cubicBezTo>
                      <a:pt x="1025" y="445"/>
                      <a:pt x="1025" y="445"/>
                      <a:pt x="1025" y="445"/>
                    </a:cubicBezTo>
                    <a:cubicBezTo>
                      <a:pt x="1027" y="443"/>
                      <a:pt x="1027" y="443"/>
                      <a:pt x="1027" y="443"/>
                    </a:cubicBezTo>
                    <a:cubicBezTo>
                      <a:pt x="1029" y="443"/>
                      <a:pt x="1029" y="443"/>
                      <a:pt x="1029" y="443"/>
                    </a:cubicBezTo>
                    <a:cubicBezTo>
                      <a:pt x="1029" y="445"/>
                      <a:pt x="1029" y="445"/>
                      <a:pt x="1029" y="445"/>
                    </a:cubicBezTo>
                    <a:cubicBezTo>
                      <a:pt x="1031" y="444"/>
                      <a:pt x="1031" y="444"/>
                      <a:pt x="1031" y="444"/>
                    </a:cubicBezTo>
                    <a:cubicBezTo>
                      <a:pt x="1037" y="444"/>
                      <a:pt x="1037" y="444"/>
                      <a:pt x="1037" y="444"/>
                    </a:cubicBezTo>
                    <a:cubicBezTo>
                      <a:pt x="1037" y="447"/>
                      <a:pt x="1037" y="447"/>
                      <a:pt x="1037" y="447"/>
                    </a:cubicBezTo>
                    <a:cubicBezTo>
                      <a:pt x="1037" y="452"/>
                      <a:pt x="1037" y="452"/>
                      <a:pt x="1037" y="452"/>
                    </a:cubicBezTo>
                    <a:cubicBezTo>
                      <a:pt x="1043" y="462"/>
                      <a:pt x="1043" y="462"/>
                      <a:pt x="1043" y="462"/>
                    </a:cubicBezTo>
                    <a:cubicBezTo>
                      <a:pt x="1048" y="462"/>
                      <a:pt x="1048" y="462"/>
                      <a:pt x="1048" y="462"/>
                    </a:cubicBezTo>
                    <a:cubicBezTo>
                      <a:pt x="1051" y="460"/>
                      <a:pt x="1051" y="460"/>
                      <a:pt x="1051" y="460"/>
                    </a:cubicBezTo>
                    <a:cubicBezTo>
                      <a:pt x="1055" y="462"/>
                      <a:pt x="1055" y="462"/>
                      <a:pt x="1055" y="462"/>
                    </a:cubicBezTo>
                    <a:cubicBezTo>
                      <a:pt x="1057" y="460"/>
                      <a:pt x="1057" y="460"/>
                      <a:pt x="1057" y="460"/>
                    </a:cubicBezTo>
                    <a:cubicBezTo>
                      <a:pt x="1059" y="457"/>
                      <a:pt x="1059" y="457"/>
                      <a:pt x="1059" y="457"/>
                    </a:cubicBezTo>
                    <a:cubicBezTo>
                      <a:pt x="1057" y="454"/>
                      <a:pt x="1057" y="454"/>
                      <a:pt x="1057" y="454"/>
                    </a:cubicBezTo>
                    <a:cubicBezTo>
                      <a:pt x="1056" y="454"/>
                      <a:pt x="1056" y="454"/>
                      <a:pt x="1056" y="454"/>
                    </a:cubicBezTo>
                    <a:cubicBezTo>
                      <a:pt x="1062" y="452"/>
                      <a:pt x="1062" y="452"/>
                      <a:pt x="1062" y="452"/>
                    </a:cubicBezTo>
                    <a:cubicBezTo>
                      <a:pt x="1064" y="450"/>
                      <a:pt x="1064" y="450"/>
                      <a:pt x="1064" y="450"/>
                    </a:cubicBezTo>
                    <a:cubicBezTo>
                      <a:pt x="1064" y="446"/>
                      <a:pt x="1064" y="446"/>
                      <a:pt x="1064" y="446"/>
                    </a:cubicBezTo>
                    <a:cubicBezTo>
                      <a:pt x="1063" y="445"/>
                      <a:pt x="1063" y="445"/>
                      <a:pt x="1063" y="445"/>
                    </a:cubicBezTo>
                    <a:cubicBezTo>
                      <a:pt x="1067" y="445"/>
                      <a:pt x="1067" y="445"/>
                      <a:pt x="1067" y="445"/>
                    </a:cubicBezTo>
                    <a:cubicBezTo>
                      <a:pt x="1076" y="441"/>
                      <a:pt x="1076" y="441"/>
                      <a:pt x="1076" y="441"/>
                    </a:cubicBezTo>
                    <a:cubicBezTo>
                      <a:pt x="1077" y="443"/>
                      <a:pt x="1077" y="443"/>
                      <a:pt x="1077" y="443"/>
                    </a:cubicBezTo>
                    <a:cubicBezTo>
                      <a:pt x="1079" y="443"/>
                      <a:pt x="1079" y="443"/>
                      <a:pt x="1079" y="443"/>
                    </a:cubicBezTo>
                    <a:cubicBezTo>
                      <a:pt x="1082" y="447"/>
                      <a:pt x="1082" y="447"/>
                      <a:pt x="1082" y="447"/>
                    </a:cubicBezTo>
                    <a:cubicBezTo>
                      <a:pt x="1084" y="448"/>
                      <a:pt x="1084" y="448"/>
                      <a:pt x="1084" y="448"/>
                    </a:cubicBezTo>
                    <a:cubicBezTo>
                      <a:pt x="1086" y="450"/>
                      <a:pt x="1086" y="450"/>
                      <a:pt x="1086" y="450"/>
                    </a:cubicBezTo>
                    <a:cubicBezTo>
                      <a:pt x="1099" y="449"/>
                      <a:pt x="1099" y="449"/>
                      <a:pt x="1099" y="449"/>
                    </a:cubicBezTo>
                    <a:cubicBezTo>
                      <a:pt x="1100" y="448"/>
                      <a:pt x="1100" y="448"/>
                      <a:pt x="1100" y="448"/>
                    </a:cubicBezTo>
                    <a:cubicBezTo>
                      <a:pt x="1104" y="447"/>
                      <a:pt x="1104" y="447"/>
                      <a:pt x="1104" y="447"/>
                    </a:cubicBezTo>
                    <a:cubicBezTo>
                      <a:pt x="1104" y="449"/>
                      <a:pt x="1104" y="449"/>
                      <a:pt x="1104" y="449"/>
                    </a:cubicBezTo>
                    <a:cubicBezTo>
                      <a:pt x="1109" y="449"/>
                      <a:pt x="1109" y="449"/>
                      <a:pt x="1109" y="449"/>
                    </a:cubicBezTo>
                    <a:cubicBezTo>
                      <a:pt x="1114" y="448"/>
                      <a:pt x="1114" y="448"/>
                      <a:pt x="1114" y="448"/>
                    </a:cubicBezTo>
                    <a:cubicBezTo>
                      <a:pt x="1116" y="449"/>
                      <a:pt x="1116" y="449"/>
                      <a:pt x="1116" y="449"/>
                    </a:cubicBezTo>
                    <a:cubicBezTo>
                      <a:pt x="1112" y="450"/>
                      <a:pt x="1112" y="450"/>
                      <a:pt x="1112" y="450"/>
                    </a:cubicBezTo>
                    <a:cubicBezTo>
                      <a:pt x="1112" y="452"/>
                      <a:pt x="1112" y="452"/>
                      <a:pt x="1112" y="452"/>
                    </a:cubicBezTo>
                    <a:cubicBezTo>
                      <a:pt x="1115" y="457"/>
                      <a:pt x="1115" y="457"/>
                      <a:pt x="1115" y="457"/>
                    </a:cubicBezTo>
                    <a:cubicBezTo>
                      <a:pt x="1113" y="457"/>
                      <a:pt x="1113" y="457"/>
                      <a:pt x="1113" y="457"/>
                    </a:cubicBezTo>
                    <a:cubicBezTo>
                      <a:pt x="1111" y="458"/>
                      <a:pt x="1111" y="458"/>
                      <a:pt x="1111" y="458"/>
                    </a:cubicBezTo>
                    <a:cubicBezTo>
                      <a:pt x="1111" y="462"/>
                      <a:pt x="1111" y="462"/>
                      <a:pt x="1111" y="462"/>
                    </a:cubicBezTo>
                    <a:cubicBezTo>
                      <a:pt x="1114" y="463"/>
                      <a:pt x="1114" y="463"/>
                      <a:pt x="1114" y="463"/>
                    </a:cubicBezTo>
                    <a:cubicBezTo>
                      <a:pt x="1114" y="464"/>
                      <a:pt x="1114" y="464"/>
                      <a:pt x="1114" y="464"/>
                    </a:cubicBezTo>
                    <a:cubicBezTo>
                      <a:pt x="1109" y="468"/>
                      <a:pt x="1109" y="468"/>
                      <a:pt x="1109" y="468"/>
                    </a:cubicBezTo>
                    <a:cubicBezTo>
                      <a:pt x="1105" y="465"/>
                      <a:pt x="1105" y="465"/>
                      <a:pt x="1105" y="465"/>
                    </a:cubicBezTo>
                    <a:cubicBezTo>
                      <a:pt x="1104" y="463"/>
                      <a:pt x="1104" y="463"/>
                      <a:pt x="1104" y="463"/>
                    </a:cubicBezTo>
                    <a:cubicBezTo>
                      <a:pt x="1102" y="465"/>
                      <a:pt x="1102" y="465"/>
                      <a:pt x="1102" y="465"/>
                    </a:cubicBezTo>
                    <a:cubicBezTo>
                      <a:pt x="1101" y="463"/>
                      <a:pt x="1101" y="463"/>
                      <a:pt x="1101" y="463"/>
                    </a:cubicBezTo>
                    <a:cubicBezTo>
                      <a:pt x="1097" y="468"/>
                      <a:pt x="1097" y="468"/>
                      <a:pt x="1097" y="468"/>
                    </a:cubicBezTo>
                    <a:cubicBezTo>
                      <a:pt x="1094" y="468"/>
                      <a:pt x="1094" y="468"/>
                      <a:pt x="1094" y="468"/>
                    </a:cubicBezTo>
                    <a:cubicBezTo>
                      <a:pt x="1091" y="471"/>
                      <a:pt x="1091" y="471"/>
                      <a:pt x="1091" y="471"/>
                    </a:cubicBezTo>
                    <a:cubicBezTo>
                      <a:pt x="1087" y="471"/>
                      <a:pt x="1087" y="471"/>
                      <a:pt x="1087" y="471"/>
                    </a:cubicBezTo>
                    <a:cubicBezTo>
                      <a:pt x="1087" y="473"/>
                      <a:pt x="1087" y="473"/>
                      <a:pt x="1087" y="473"/>
                    </a:cubicBezTo>
                    <a:cubicBezTo>
                      <a:pt x="1083" y="471"/>
                      <a:pt x="1083" y="471"/>
                      <a:pt x="1083" y="471"/>
                    </a:cubicBezTo>
                    <a:cubicBezTo>
                      <a:pt x="1079" y="471"/>
                      <a:pt x="1079" y="471"/>
                      <a:pt x="1079" y="471"/>
                    </a:cubicBezTo>
                    <a:cubicBezTo>
                      <a:pt x="1083" y="474"/>
                      <a:pt x="1083" y="474"/>
                      <a:pt x="1083" y="474"/>
                    </a:cubicBezTo>
                    <a:cubicBezTo>
                      <a:pt x="1084" y="477"/>
                      <a:pt x="1084" y="477"/>
                      <a:pt x="1084" y="477"/>
                    </a:cubicBezTo>
                    <a:cubicBezTo>
                      <a:pt x="1079" y="478"/>
                      <a:pt x="1079" y="478"/>
                      <a:pt x="1079" y="478"/>
                    </a:cubicBezTo>
                    <a:cubicBezTo>
                      <a:pt x="1079" y="482"/>
                      <a:pt x="1079" y="482"/>
                      <a:pt x="1079" y="482"/>
                    </a:cubicBezTo>
                    <a:cubicBezTo>
                      <a:pt x="1073" y="481"/>
                      <a:pt x="1073" y="481"/>
                      <a:pt x="1073" y="481"/>
                    </a:cubicBezTo>
                    <a:cubicBezTo>
                      <a:pt x="1070" y="485"/>
                      <a:pt x="1070" y="485"/>
                      <a:pt x="1070" y="485"/>
                    </a:cubicBezTo>
                    <a:cubicBezTo>
                      <a:pt x="1072" y="487"/>
                      <a:pt x="1072" y="487"/>
                      <a:pt x="1072" y="487"/>
                    </a:cubicBezTo>
                    <a:cubicBezTo>
                      <a:pt x="1075" y="489"/>
                      <a:pt x="1075" y="489"/>
                      <a:pt x="1075" y="489"/>
                    </a:cubicBezTo>
                    <a:cubicBezTo>
                      <a:pt x="1072" y="493"/>
                      <a:pt x="1072" y="493"/>
                      <a:pt x="1072" y="493"/>
                    </a:cubicBezTo>
                    <a:cubicBezTo>
                      <a:pt x="1070" y="492"/>
                      <a:pt x="1070" y="492"/>
                      <a:pt x="1070" y="492"/>
                    </a:cubicBezTo>
                    <a:cubicBezTo>
                      <a:pt x="1067" y="497"/>
                      <a:pt x="1067" y="497"/>
                      <a:pt x="1067" y="497"/>
                    </a:cubicBezTo>
                    <a:cubicBezTo>
                      <a:pt x="1064" y="498"/>
                      <a:pt x="1064" y="498"/>
                      <a:pt x="1064" y="498"/>
                    </a:cubicBezTo>
                    <a:cubicBezTo>
                      <a:pt x="1062" y="497"/>
                      <a:pt x="1062" y="497"/>
                      <a:pt x="1062" y="497"/>
                    </a:cubicBezTo>
                    <a:cubicBezTo>
                      <a:pt x="1061" y="503"/>
                      <a:pt x="1061" y="503"/>
                      <a:pt x="1061" y="503"/>
                    </a:cubicBezTo>
                    <a:cubicBezTo>
                      <a:pt x="1063" y="507"/>
                      <a:pt x="1063" y="507"/>
                      <a:pt x="1063" y="507"/>
                    </a:cubicBezTo>
                    <a:cubicBezTo>
                      <a:pt x="1061" y="513"/>
                      <a:pt x="1061" y="513"/>
                      <a:pt x="1061" y="513"/>
                    </a:cubicBezTo>
                    <a:cubicBezTo>
                      <a:pt x="1062" y="522"/>
                      <a:pt x="1062" y="522"/>
                      <a:pt x="1062" y="522"/>
                    </a:cubicBezTo>
                    <a:cubicBezTo>
                      <a:pt x="1063" y="522"/>
                      <a:pt x="1063" y="522"/>
                      <a:pt x="1063" y="522"/>
                    </a:cubicBezTo>
                    <a:cubicBezTo>
                      <a:pt x="1073" y="527"/>
                      <a:pt x="1073" y="527"/>
                      <a:pt x="1073" y="527"/>
                    </a:cubicBezTo>
                    <a:cubicBezTo>
                      <a:pt x="1073" y="529"/>
                      <a:pt x="1073" y="529"/>
                      <a:pt x="1073" y="529"/>
                    </a:cubicBezTo>
                    <a:cubicBezTo>
                      <a:pt x="1076" y="528"/>
                      <a:pt x="1076" y="528"/>
                      <a:pt x="1076" y="528"/>
                    </a:cubicBezTo>
                    <a:cubicBezTo>
                      <a:pt x="1086" y="533"/>
                      <a:pt x="1086" y="533"/>
                      <a:pt x="1086" y="533"/>
                    </a:cubicBezTo>
                    <a:cubicBezTo>
                      <a:pt x="1092" y="545"/>
                      <a:pt x="1092" y="545"/>
                      <a:pt x="1092" y="545"/>
                    </a:cubicBezTo>
                    <a:cubicBezTo>
                      <a:pt x="1093" y="545"/>
                      <a:pt x="1093" y="545"/>
                      <a:pt x="1093" y="545"/>
                    </a:cubicBezTo>
                    <a:cubicBezTo>
                      <a:pt x="1092" y="549"/>
                      <a:pt x="1092" y="549"/>
                      <a:pt x="1092" y="549"/>
                    </a:cubicBezTo>
                    <a:cubicBezTo>
                      <a:pt x="1095" y="550"/>
                      <a:pt x="1095" y="550"/>
                      <a:pt x="1095" y="550"/>
                    </a:cubicBezTo>
                    <a:cubicBezTo>
                      <a:pt x="1096" y="556"/>
                      <a:pt x="1096" y="556"/>
                      <a:pt x="1096" y="556"/>
                    </a:cubicBezTo>
                    <a:cubicBezTo>
                      <a:pt x="1103" y="561"/>
                      <a:pt x="1103" y="561"/>
                      <a:pt x="1103" y="561"/>
                    </a:cubicBezTo>
                    <a:cubicBezTo>
                      <a:pt x="1103" y="566"/>
                      <a:pt x="1103" y="566"/>
                      <a:pt x="1103" y="566"/>
                    </a:cubicBezTo>
                    <a:cubicBezTo>
                      <a:pt x="1108" y="573"/>
                      <a:pt x="1108" y="573"/>
                      <a:pt x="1108" y="573"/>
                    </a:cubicBezTo>
                    <a:cubicBezTo>
                      <a:pt x="1112" y="575"/>
                      <a:pt x="1112" y="575"/>
                      <a:pt x="1112" y="575"/>
                    </a:cubicBezTo>
                    <a:cubicBezTo>
                      <a:pt x="1116" y="575"/>
                      <a:pt x="1116" y="575"/>
                      <a:pt x="1116" y="575"/>
                    </a:cubicBezTo>
                    <a:cubicBezTo>
                      <a:pt x="1118" y="576"/>
                      <a:pt x="1118" y="576"/>
                      <a:pt x="1118" y="576"/>
                    </a:cubicBezTo>
                    <a:cubicBezTo>
                      <a:pt x="1118" y="578"/>
                      <a:pt x="1118" y="578"/>
                      <a:pt x="1118" y="578"/>
                    </a:cubicBezTo>
                    <a:cubicBezTo>
                      <a:pt x="1122" y="583"/>
                      <a:pt x="1122" y="583"/>
                      <a:pt x="1122" y="583"/>
                    </a:cubicBezTo>
                    <a:cubicBezTo>
                      <a:pt x="1125" y="584"/>
                      <a:pt x="1125" y="584"/>
                      <a:pt x="1125" y="584"/>
                    </a:cubicBezTo>
                    <a:cubicBezTo>
                      <a:pt x="1128" y="589"/>
                      <a:pt x="1128" y="589"/>
                      <a:pt x="1128" y="589"/>
                    </a:cubicBezTo>
                    <a:cubicBezTo>
                      <a:pt x="1125" y="591"/>
                      <a:pt x="1125" y="591"/>
                      <a:pt x="1125" y="591"/>
                    </a:cubicBezTo>
                    <a:cubicBezTo>
                      <a:pt x="1118" y="588"/>
                      <a:pt x="1118" y="588"/>
                      <a:pt x="1118" y="588"/>
                    </a:cubicBezTo>
                    <a:cubicBezTo>
                      <a:pt x="1112" y="591"/>
                      <a:pt x="1112" y="591"/>
                      <a:pt x="1112" y="591"/>
                    </a:cubicBezTo>
                    <a:cubicBezTo>
                      <a:pt x="1108" y="587"/>
                      <a:pt x="1108" y="587"/>
                      <a:pt x="1108" y="587"/>
                    </a:cubicBezTo>
                    <a:cubicBezTo>
                      <a:pt x="1105" y="587"/>
                      <a:pt x="1105" y="587"/>
                      <a:pt x="1105" y="587"/>
                    </a:cubicBezTo>
                    <a:cubicBezTo>
                      <a:pt x="1101" y="584"/>
                      <a:pt x="1101" y="584"/>
                      <a:pt x="1101" y="584"/>
                    </a:cubicBezTo>
                    <a:cubicBezTo>
                      <a:pt x="1095" y="583"/>
                      <a:pt x="1095" y="583"/>
                      <a:pt x="1095" y="583"/>
                    </a:cubicBezTo>
                    <a:cubicBezTo>
                      <a:pt x="1093" y="587"/>
                      <a:pt x="1093" y="587"/>
                      <a:pt x="1093" y="587"/>
                    </a:cubicBezTo>
                    <a:cubicBezTo>
                      <a:pt x="1089" y="587"/>
                      <a:pt x="1089" y="587"/>
                      <a:pt x="1089" y="587"/>
                    </a:cubicBezTo>
                    <a:cubicBezTo>
                      <a:pt x="1086" y="585"/>
                      <a:pt x="1086" y="585"/>
                      <a:pt x="1086" y="585"/>
                    </a:cubicBezTo>
                    <a:cubicBezTo>
                      <a:pt x="1084" y="579"/>
                      <a:pt x="1084" y="579"/>
                      <a:pt x="1084" y="579"/>
                    </a:cubicBezTo>
                    <a:cubicBezTo>
                      <a:pt x="1079" y="581"/>
                      <a:pt x="1079" y="581"/>
                      <a:pt x="1079" y="581"/>
                    </a:cubicBezTo>
                    <a:cubicBezTo>
                      <a:pt x="1076" y="580"/>
                      <a:pt x="1076" y="580"/>
                      <a:pt x="1076" y="580"/>
                    </a:cubicBezTo>
                    <a:cubicBezTo>
                      <a:pt x="1075" y="581"/>
                      <a:pt x="1075" y="581"/>
                      <a:pt x="1075" y="581"/>
                    </a:cubicBezTo>
                    <a:cubicBezTo>
                      <a:pt x="1072" y="581"/>
                      <a:pt x="1072" y="581"/>
                      <a:pt x="1072" y="581"/>
                    </a:cubicBezTo>
                    <a:cubicBezTo>
                      <a:pt x="1070" y="580"/>
                      <a:pt x="1070" y="580"/>
                      <a:pt x="1070" y="580"/>
                    </a:cubicBezTo>
                    <a:cubicBezTo>
                      <a:pt x="1067" y="582"/>
                      <a:pt x="1067" y="582"/>
                      <a:pt x="1067" y="582"/>
                    </a:cubicBezTo>
                    <a:cubicBezTo>
                      <a:pt x="1062" y="590"/>
                      <a:pt x="1062" y="590"/>
                      <a:pt x="1062" y="590"/>
                    </a:cubicBezTo>
                    <a:cubicBezTo>
                      <a:pt x="1068" y="584"/>
                      <a:pt x="1068" y="584"/>
                      <a:pt x="1068" y="584"/>
                    </a:cubicBezTo>
                    <a:cubicBezTo>
                      <a:pt x="1072" y="583"/>
                      <a:pt x="1072" y="583"/>
                      <a:pt x="1072" y="583"/>
                    </a:cubicBezTo>
                    <a:cubicBezTo>
                      <a:pt x="1077" y="583"/>
                      <a:pt x="1077" y="583"/>
                      <a:pt x="1077" y="583"/>
                    </a:cubicBezTo>
                    <a:cubicBezTo>
                      <a:pt x="1081" y="581"/>
                      <a:pt x="1081" y="581"/>
                      <a:pt x="1081" y="581"/>
                    </a:cubicBezTo>
                    <a:cubicBezTo>
                      <a:pt x="1083" y="582"/>
                      <a:pt x="1083" y="582"/>
                      <a:pt x="1083" y="582"/>
                    </a:cubicBezTo>
                    <a:cubicBezTo>
                      <a:pt x="1083" y="584"/>
                      <a:pt x="1083" y="584"/>
                      <a:pt x="1083" y="584"/>
                    </a:cubicBezTo>
                    <a:cubicBezTo>
                      <a:pt x="1088" y="589"/>
                      <a:pt x="1088" y="589"/>
                      <a:pt x="1088" y="589"/>
                    </a:cubicBezTo>
                    <a:cubicBezTo>
                      <a:pt x="1091" y="589"/>
                      <a:pt x="1091" y="589"/>
                      <a:pt x="1091" y="589"/>
                    </a:cubicBezTo>
                    <a:cubicBezTo>
                      <a:pt x="1098" y="585"/>
                      <a:pt x="1098" y="585"/>
                      <a:pt x="1098" y="585"/>
                    </a:cubicBezTo>
                    <a:cubicBezTo>
                      <a:pt x="1101" y="585"/>
                      <a:pt x="1101" y="585"/>
                      <a:pt x="1101" y="585"/>
                    </a:cubicBezTo>
                    <a:cubicBezTo>
                      <a:pt x="1109" y="593"/>
                      <a:pt x="1109" y="593"/>
                      <a:pt x="1109" y="593"/>
                    </a:cubicBezTo>
                    <a:cubicBezTo>
                      <a:pt x="1115" y="596"/>
                      <a:pt x="1115" y="596"/>
                      <a:pt x="1115" y="596"/>
                    </a:cubicBezTo>
                    <a:cubicBezTo>
                      <a:pt x="1125" y="602"/>
                      <a:pt x="1125" y="602"/>
                      <a:pt x="1125" y="602"/>
                    </a:cubicBezTo>
                    <a:cubicBezTo>
                      <a:pt x="1130" y="609"/>
                      <a:pt x="1130" y="609"/>
                      <a:pt x="1130" y="609"/>
                    </a:cubicBezTo>
                    <a:cubicBezTo>
                      <a:pt x="1130" y="612"/>
                      <a:pt x="1130" y="612"/>
                      <a:pt x="1130" y="612"/>
                    </a:cubicBezTo>
                    <a:cubicBezTo>
                      <a:pt x="1125" y="612"/>
                      <a:pt x="1125" y="612"/>
                      <a:pt x="1125" y="612"/>
                    </a:cubicBezTo>
                    <a:cubicBezTo>
                      <a:pt x="1120" y="618"/>
                      <a:pt x="1120" y="618"/>
                      <a:pt x="1120" y="618"/>
                    </a:cubicBezTo>
                    <a:cubicBezTo>
                      <a:pt x="1118" y="617"/>
                      <a:pt x="1118" y="617"/>
                      <a:pt x="1118" y="617"/>
                    </a:cubicBezTo>
                    <a:cubicBezTo>
                      <a:pt x="1116" y="619"/>
                      <a:pt x="1116" y="619"/>
                      <a:pt x="1116" y="619"/>
                    </a:cubicBezTo>
                    <a:cubicBezTo>
                      <a:pt x="1116" y="622"/>
                      <a:pt x="1116" y="622"/>
                      <a:pt x="1116" y="622"/>
                    </a:cubicBezTo>
                    <a:cubicBezTo>
                      <a:pt x="1112" y="624"/>
                      <a:pt x="1112" y="624"/>
                      <a:pt x="1112" y="624"/>
                    </a:cubicBezTo>
                    <a:cubicBezTo>
                      <a:pt x="1108" y="621"/>
                      <a:pt x="1108" y="621"/>
                      <a:pt x="1108" y="621"/>
                    </a:cubicBezTo>
                    <a:cubicBezTo>
                      <a:pt x="1105" y="623"/>
                      <a:pt x="1105" y="623"/>
                      <a:pt x="1105" y="623"/>
                    </a:cubicBezTo>
                    <a:cubicBezTo>
                      <a:pt x="1102" y="623"/>
                      <a:pt x="1102" y="623"/>
                      <a:pt x="1102" y="623"/>
                    </a:cubicBezTo>
                    <a:cubicBezTo>
                      <a:pt x="1098" y="627"/>
                      <a:pt x="1098" y="627"/>
                      <a:pt x="1098" y="627"/>
                    </a:cubicBezTo>
                    <a:cubicBezTo>
                      <a:pt x="1098" y="631"/>
                      <a:pt x="1098" y="631"/>
                      <a:pt x="1098" y="631"/>
                    </a:cubicBezTo>
                    <a:cubicBezTo>
                      <a:pt x="1099" y="628"/>
                      <a:pt x="1099" y="628"/>
                      <a:pt x="1099" y="628"/>
                    </a:cubicBezTo>
                    <a:cubicBezTo>
                      <a:pt x="1103" y="625"/>
                      <a:pt x="1103" y="625"/>
                      <a:pt x="1103" y="625"/>
                    </a:cubicBezTo>
                    <a:cubicBezTo>
                      <a:pt x="1107" y="624"/>
                      <a:pt x="1107" y="624"/>
                      <a:pt x="1107" y="624"/>
                    </a:cubicBezTo>
                    <a:cubicBezTo>
                      <a:pt x="1111" y="629"/>
                      <a:pt x="1111" y="629"/>
                      <a:pt x="1111" y="629"/>
                    </a:cubicBezTo>
                    <a:cubicBezTo>
                      <a:pt x="1114" y="630"/>
                      <a:pt x="1114" y="630"/>
                      <a:pt x="1114" y="630"/>
                    </a:cubicBezTo>
                    <a:cubicBezTo>
                      <a:pt x="1120" y="625"/>
                      <a:pt x="1120" y="625"/>
                      <a:pt x="1120" y="625"/>
                    </a:cubicBezTo>
                    <a:cubicBezTo>
                      <a:pt x="1124" y="626"/>
                      <a:pt x="1124" y="626"/>
                      <a:pt x="1124" y="626"/>
                    </a:cubicBezTo>
                    <a:cubicBezTo>
                      <a:pt x="1130" y="634"/>
                      <a:pt x="1130" y="634"/>
                      <a:pt x="1130" y="634"/>
                    </a:cubicBezTo>
                    <a:cubicBezTo>
                      <a:pt x="1131" y="632"/>
                      <a:pt x="1131" y="632"/>
                      <a:pt x="1131" y="632"/>
                    </a:cubicBezTo>
                    <a:cubicBezTo>
                      <a:pt x="1133" y="634"/>
                      <a:pt x="1133" y="634"/>
                      <a:pt x="1133" y="634"/>
                    </a:cubicBezTo>
                    <a:cubicBezTo>
                      <a:pt x="1137" y="634"/>
                      <a:pt x="1137" y="634"/>
                      <a:pt x="1137" y="634"/>
                    </a:cubicBezTo>
                    <a:cubicBezTo>
                      <a:pt x="1137" y="635"/>
                      <a:pt x="1137" y="635"/>
                      <a:pt x="1137" y="635"/>
                    </a:cubicBezTo>
                    <a:cubicBezTo>
                      <a:pt x="1129" y="643"/>
                      <a:pt x="1129" y="643"/>
                      <a:pt x="1129" y="643"/>
                    </a:cubicBezTo>
                    <a:cubicBezTo>
                      <a:pt x="1124" y="644"/>
                      <a:pt x="1124" y="644"/>
                      <a:pt x="1124" y="644"/>
                    </a:cubicBezTo>
                    <a:cubicBezTo>
                      <a:pt x="1124" y="647"/>
                      <a:pt x="1124" y="647"/>
                      <a:pt x="1124" y="647"/>
                    </a:cubicBezTo>
                    <a:cubicBezTo>
                      <a:pt x="1126" y="648"/>
                      <a:pt x="1126" y="648"/>
                      <a:pt x="1126" y="648"/>
                    </a:cubicBezTo>
                    <a:cubicBezTo>
                      <a:pt x="1131" y="644"/>
                      <a:pt x="1131" y="644"/>
                      <a:pt x="1131" y="644"/>
                    </a:cubicBezTo>
                    <a:cubicBezTo>
                      <a:pt x="1135" y="644"/>
                      <a:pt x="1135" y="644"/>
                      <a:pt x="1135" y="644"/>
                    </a:cubicBezTo>
                    <a:cubicBezTo>
                      <a:pt x="1135" y="643"/>
                      <a:pt x="1135" y="643"/>
                      <a:pt x="1135" y="643"/>
                    </a:cubicBezTo>
                    <a:cubicBezTo>
                      <a:pt x="1134" y="642"/>
                      <a:pt x="1134" y="642"/>
                      <a:pt x="1134" y="642"/>
                    </a:cubicBezTo>
                    <a:cubicBezTo>
                      <a:pt x="1137" y="640"/>
                      <a:pt x="1137" y="640"/>
                      <a:pt x="1137" y="640"/>
                    </a:cubicBezTo>
                    <a:cubicBezTo>
                      <a:pt x="1139" y="641"/>
                      <a:pt x="1139" y="641"/>
                      <a:pt x="1139" y="641"/>
                    </a:cubicBezTo>
                    <a:cubicBezTo>
                      <a:pt x="1139" y="646"/>
                      <a:pt x="1139" y="646"/>
                      <a:pt x="1139" y="646"/>
                    </a:cubicBezTo>
                    <a:cubicBezTo>
                      <a:pt x="1141" y="649"/>
                      <a:pt x="1141" y="649"/>
                      <a:pt x="1141" y="649"/>
                    </a:cubicBezTo>
                    <a:cubicBezTo>
                      <a:pt x="1138" y="650"/>
                      <a:pt x="1138" y="650"/>
                      <a:pt x="1138" y="650"/>
                    </a:cubicBezTo>
                    <a:cubicBezTo>
                      <a:pt x="1138" y="649"/>
                      <a:pt x="1138" y="649"/>
                      <a:pt x="1138" y="649"/>
                    </a:cubicBezTo>
                    <a:cubicBezTo>
                      <a:pt x="1136" y="648"/>
                      <a:pt x="1136" y="648"/>
                      <a:pt x="1136" y="648"/>
                    </a:cubicBezTo>
                    <a:cubicBezTo>
                      <a:pt x="1135" y="650"/>
                      <a:pt x="1135" y="650"/>
                      <a:pt x="1135" y="650"/>
                    </a:cubicBezTo>
                    <a:cubicBezTo>
                      <a:pt x="1134" y="651"/>
                      <a:pt x="1134" y="651"/>
                      <a:pt x="1134" y="651"/>
                    </a:cubicBezTo>
                    <a:cubicBezTo>
                      <a:pt x="1130" y="650"/>
                      <a:pt x="1130" y="650"/>
                      <a:pt x="1130" y="650"/>
                    </a:cubicBezTo>
                    <a:cubicBezTo>
                      <a:pt x="1126" y="653"/>
                      <a:pt x="1126" y="653"/>
                      <a:pt x="1126" y="653"/>
                    </a:cubicBezTo>
                    <a:cubicBezTo>
                      <a:pt x="1126" y="655"/>
                      <a:pt x="1126" y="655"/>
                      <a:pt x="1126" y="655"/>
                    </a:cubicBezTo>
                    <a:cubicBezTo>
                      <a:pt x="1132" y="654"/>
                      <a:pt x="1132" y="654"/>
                      <a:pt x="1132" y="654"/>
                    </a:cubicBezTo>
                    <a:cubicBezTo>
                      <a:pt x="1134" y="656"/>
                      <a:pt x="1134" y="656"/>
                      <a:pt x="1134" y="656"/>
                    </a:cubicBezTo>
                    <a:cubicBezTo>
                      <a:pt x="1134" y="658"/>
                      <a:pt x="1134" y="658"/>
                      <a:pt x="1134" y="658"/>
                    </a:cubicBezTo>
                    <a:cubicBezTo>
                      <a:pt x="1132" y="658"/>
                      <a:pt x="1132" y="658"/>
                      <a:pt x="1132" y="658"/>
                    </a:cubicBezTo>
                    <a:cubicBezTo>
                      <a:pt x="1130" y="660"/>
                      <a:pt x="1130" y="660"/>
                      <a:pt x="1130" y="660"/>
                    </a:cubicBezTo>
                    <a:cubicBezTo>
                      <a:pt x="1132" y="661"/>
                      <a:pt x="1132" y="661"/>
                      <a:pt x="1132" y="661"/>
                    </a:cubicBezTo>
                    <a:cubicBezTo>
                      <a:pt x="1134" y="663"/>
                      <a:pt x="1134" y="663"/>
                      <a:pt x="1134" y="663"/>
                    </a:cubicBezTo>
                    <a:cubicBezTo>
                      <a:pt x="1132" y="665"/>
                      <a:pt x="1132" y="665"/>
                      <a:pt x="1132" y="665"/>
                    </a:cubicBezTo>
                    <a:cubicBezTo>
                      <a:pt x="1129" y="664"/>
                      <a:pt x="1129" y="664"/>
                      <a:pt x="1129" y="664"/>
                    </a:cubicBezTo>
                    <a:cubicBezTo>
                      <a:pt x="1128" y="666"/>
                      <a:pt x="1128" y="666"/>
                      <a:pt x="1128" y="666"/>
                    </a:cubicBezTo>
                    <a:cubicBezTo>
                      <a:pt x="1129" y="667"/>
                      <a:pt x="1129" y="667"/>
                      <a:pt x="1129" y="667"/>
                    </a:cubicBezTo>
                    <a:cubicBezTo>
                      <a:pt x="1133" y="667"/>
                      <a:pt x="1133" y="667"/>
                      <a:pt x="1133" y="667"/>
                    </a:cubicBezTo>
                    <a:cubicBezTo>
                      <a:pt x="1135" y="671"/>
                      <a:pt x="1135" y="671"/>
                      <a:pt x="1135" y="671"/>
                    </a:cubicBezTo>
                    <a:cubicBezTo>
                      <a:pt x="1132" y="673"/>
                      <a:pt x="1132" y="673"/>
                      <a:pt x="1132" y="673"/>
                    </a:cubicBezTo>
                    <a:cubicBezTo>
                      <a:pt x="1132" y="676"/>
                      <a:pt x="1132" y="676"/>
                      <a:pt x="1132" y="676"/>
                    </a:cubicBezTo>
                    <a:cubicBezTo>
                      <a:pt x="1130" y="675"/>
                      <a:pt x="1130" y="675"/>
                      <a:pt x="1130" y="675"/>
                    </a:cubicBezTo>
                    <a:cubicBezTo>
                      <a:pt x="1130" y="672"/>
                      <a:pt x="1130" y="672"/>
                      <a:pt x="1130" y="672"/>
                    </a:cubicBezTo>
                    <a:cubicBezTo>
                      <a:pt x="1127" y="672"/>
                      <a:pt x="1127" y="672"/>
                      <a:pt x="1127" y="672"/>
                    </a:cubicBezTo>
                    <a:cubicBezTo>
                      <a:pt x="1124" y="679"/>
                      <a:pt x="1124" y="679"/>
                      <a:pt x="1124" y="679"/>
                    </a:cubicBezTo>
                    <a:cubicBezTo>
                      <a:pt x="1122" y="681"/>
                      <a:pt x="1122" y="681"/>
                      <a:pt x="1122" y="681"/>
                    </a:cubicBezTo>
                    <a:cubicBezTo>
                      <a:pt x="1116" y="679"/>
                      <a:pt x="1116" y="679"/>
                      <a:pt x="1116" y="679"/>
                    </a:cubicBezTo>
                    <a:cubicBezTo>
                      <a:pt x="1120" y="681"/>
                      <a:pt x="1120" y="681"/>
                      <a:pt x="1120" y="681"/>
                    </a:cubicBezTo>
                    <a:cubicBezTo>
                      <a:pt x="1120" y="683"/>
                      <a:pt x="1120" y="683"/>
                      <a:pt x="1120" y="683"/>
                    </a:cubicBezTo>
                    <a:cubicBezTo>
                      <a:pt x="1122" y="685"/>
                      <a:pt x="1122" y="685"/>
                      <a:pt x="1122" y="685"/>
                    </a:cubicBezTo>
                    <a:cubicBezTo>
                      <a:pt x="1119" y="687"/>
                      <a:pt x="1119" y="687"/>
                      <a:pt x="1119" y="687"/>
                    </a:cubicBezTo>
                    <a:cubicBezTo>
                      <a:pt x="1119" y="689"/>
                      <a:pt x="1119" y="689"/>
                      <a:pt x="1119" y="689"/>
                    </a:cubicBezTo>
                    <a:cubicBezTo>
                      <a:pt x="1121" y="691"/>
                      <a:pt x="1121" y="691"/>
                      <a:pt x="1121" y="691"/>
                    </a:cubicBezTo>
                    <a:cubicBezTo>
                      <a:pt x="1119" y="693"/>
                      <a:pt x="1119" y="693"/>
                      <a:pt x="1119" y="693"/>
                    </a:cubicBezTo>
                    <a:cubicBezTo>
                      <a:pt x="1119" y="696"/>
                      <a:pt x="1119" y="696"/>
                      <a:pt x="1119" y="696"/>
                    </a:cubicBezTo>
                    <a:cubicBezTo>
                      <a:pt x="1116" y="697"/>
                      <a:pt x="1116" y="697"/>
                      <a:pt x="1116" y="697"/>
                    </a:cubicBezTo>
                    <a:cubicBezTo>
                      <a:pt x="1114" y="695"/>
                      <a:pt x="1114" y="695"/>
                      <a:pt x="1114" y="695"/>
                    </a:cubicBezTo>
                    <a:cubicBezTo>
                      <a:pt x="1113" y="698"/>
                      <a:pt x="1113" y="698"/>
                      <a:pt x="1113" y="698"/>
                    </a:cubicBezTo>
                    <a:cubicBezTo>
                      <a:pt x="1116" y="698"/>
                      <a:pt x="1116" y="698"/>
                      <a:pt x="1116" y="698"/>
                    </a:cubicBezTo>
                    <a:cubicBezTo>
                      <a:pt x="1118" y="701"/>
                      <a:pt x="1118" y="701"/>
                      <a:pt x="1118" y="701"/>
                    </a:cubicBezTo>
                    <a:cubicBezTo>
                      <a:pt x="1114" y="701"/>
                      <a:pt x="1114" y="701"/>
                      <a:pt x="1114" y="701"/>
                    </a:cubicBezTo>
                    <a:cubicBezTo>
                      <a:pt x="1114" y="703"/>
                      <a:pt x="1114" y="703"/>
                      <a:pt x="1114" y="703"/>
                    </a:cubicBezTo>
                    <a:cubicBezTo>
                      <a:pt x="1109" y="708"/>
                      <a:pt x="1109" y="708"/>
                      <a:pt x="1109" y="708"/>
                    </a:cubicBezTo>
                    <a:cubicBezTo>
                      <a:pt x="1106" y="708"/>
                      <a:pt x="1106" y="708"/>
                      <a:pt x="1106" y="708"/>
                    </a:cubicBezTo>
                    <a:cubicBezTo>
                      <a:pt x="1107" y="705"/>
                      <a:pt x="1107" y="705"/>
                      <a:pt x="1107" y="705"/>
                    </a:cubicBezTo>
                    <a:cubicBezTo>
                      <a:pt x="1105" y="705"/>
                      <a:pt x="1105" y="705"/>
                      <a:pt x="1105" y="705"/>
                    </a:cubicBezTo>
                    <a:cubicBezTo>
                      <a:pt x="1103" y="705"/>
                      <a:pt x="1103" y="705"/>
                      <a:pt x="1103" y="705"/>
                    </a:cubicBezTo>
                    <a:cubicBezTo>
                      <a:pt x="1103" y="708"/>
                      <a:pt x="1103" y="708"/>
                      <a:pt x="1103" y="708"/>
                    </a:cubicBezTo>
                    <a:cubicBezTo>
                      <a:pt x="1100" y="707"/>
                      <a:pt x="1100" y="707"/>
                      <a:pt x="1100" y="707"/>
                    </a:cubicBezTo>
                    <a:cubicBezTo>
                      <a:pt x="1102" y="709"/>
                      <a:pt x="1102" y="709"/>
                      <a:pt x="1102" y="709"/>
                    </a:cubicBezTo>
                    <a:cubicBezTo>
                      <a:pt x="1100" y="711"/>
                      <a:pt x="1100" y="711"/>
                      <a:pt x="1100" y="711"/>
                    </a:cubicBezTo>
                    <a:cubicBezTo>
                      <a:pt x="1103" y="711"/>
                      <a:pt x="1103" y="711"/>
                      <a:pt x="1103" y="711"/>
                    </a:cubicBezTo>
                    <a:cubicBezTo>
                      <a:pt x="1106" y="714"/>
                      <a:pt x="1106" y="714"/>
                      <a:pt x="1106" y="714"/>
                    </a:cubicBezTo>
                    <a:cubicBezTo>
                      <a:pt x="1101" y="714"/>
                      <a:pt x="1101" y="714"/>
                      <a:pt x="1101" y="714"/>
                    </a:cubicBezTo>
                    <a:cubicBezTo>
                      <a:pt x="1106" y="718"/>
                      <a:pt x="1106" y="718"/>
                      <a:pt x="1106" y="718"/>
                    </a:cubicBezTo>
                    <a:cubicBezTo>
                      <a:pt x="1108" y="716"/>
                      <a:pt x="1108" y="716"/>
                      <a:pt x="1108" y="716"/>
                    </a:cubicBezTo>
                    <a:cubicBezTo>
                      <a:pt x="1110" y="718"/>
                      <a:pt x="1110" y="718"/>
                      <a:pt x="1110" y="718"/>
                    </a:cubicBezTo>
                    <a:cubicBezTo>
                      <a:pt x="1104" y="721"/>
                      <a:pt x="1104" y="721"/>
                      <a:pt x="1104" y="721"/>
                    </a:cubicBezTo>
                    <a:cubicBezTo>
                      <a:pt x="1100" y="724"/>
                      <a:pt x="1100" y="724"/>
                      <a:pt x="1100" y="724"/>
                    </a:cubicBezTo>
                    <a:cubicBezTo>
                      <a:pt x="1099" y="727"/>
                      <a:pt x="1099" y="727"/>
                      <a:pt x="1099" y="727"/>
                    </a:cubicBezTo>
                    <a:cubicBezTo>
                      <a:pt x="1101" y="725"/>
                      <a:pt x="1101" y="725"/>
                      <a:pt x="1101" y="725"/>
                    </a:cubicBezTo>
                    <a:cubicBezTo>
                      <a:pt x="1104" y="725"/>
                      <a:pt x="1104" y="725"/>
                      <a:pt x="1104" y="725"/>
                    </a:cubicBezTo>
                    <a:cubicBezTo>
                      <a:pt x="1106" y="727"/>
                      <a:pt x="1106" y="727"/>
                      <a:pt x="1106" y="727"/>
                    </a:cubicBezTo>
                    <a:cubicBezTo>
                      <a:pt x="1102" y="731"/>
                      <a:pt x="1102" y="731"/>
                      <a:pt x="1102" y="731"/>
                    </a:cubicBezTo>
                    <a:cubicBezTo>
                      <a:pt x="1105" y="732"/>
                      <a:pt x="1105" y="732"/>
                      <a:pt x="1105" y="732"/>
                    </a:cubicBezTo>
                    <a:cubicBezTo>
                      <a:pt x="1104" y="734"/>
                      <a:pt x="1104" y="734"/>
                      <a:pt x="1104" y="734"/>
                    </a:cubicBezTo>
                    <a:cubicBezTo>
                      <a:pt x="1102" y="735"/>
                      <a:pt x="1102" y="735"/>
                      <a:pt x="1102" y="735"/>
                    </a:cubicBezTo>
                    <a:cubicBezTo>
                      <a:pt x="1102" y="737"/>
                      <a:pt x="1102" y="737"/>
                      <a:pt x="1102" y="737"/>
                    </a:cubicBezTo>
                    <a:cubicBezTo>
                      <a:pt x="1104" y="737"/>
                      <a:pt x="1104" y="737"/>
                      <a:pt x="1104" y="737"/>
                    </a:cubicBezTo>
                    <a:cubicBezTo>
                      <a:pt x="1106" y="740"/>
                      <a:pt x="1106" y="740"/>
                      <a:pt x="1106" y="740"/>
                    </a:cubicBezTo>
                    <a:cubicBezTo>
                      <a:pt x="1106" y="744"/>
                      <a:pt x="1106" y="744"/>
                      <a:pt x="1106" y="744"/>
                    </a:cubicBezTo>
                    <a:cubicBezTo>
                      <a:pt x="1103" y="741"/>
                      <a:pt x="1103" y="741"/>
                      <a:pt x="1103" y="741"/>
                    </a:cubicBezTo>
                    <a:cubicBezTo>
                      <a:pt x="1101" y="741"/>
                      <a:pt x="1101" y="741"/>
                      <a:pt x="1101" y="741"/>
                    </a:cubicBezTo>
                    <a:cubicBezTo>
                      <a:pt x="1101" y="738"/>
                      <a:pt x="1101" y="738"/>
                      <a:pt x="1101" y="738"/>
                    </a:cubicBezTo>
                    <a:cubicBezTo>
                      <a:pt x="1099" y="736"/>
                      <a:pt x="1099" y="736"/>
                      <a:pt x="1099" y="736"/>
                    </a:cubicBezTo>
                    <a:cubicBezTo>
                      <a:pt x="1097" y="738"/>
                      <a:pt x="1097" y="738"/>
                      <a:pt x="1097" y="738"/>
                    </a:cubicBezTo>
                    <a:cubicBezTo>
                      <a:pt x="1095" y="738"/>
                      <a:pt x="1095" y="738"/>
                      <a:pt x="1095" y="738"/>
                    </a:cubicBezTo>
                    <a:cubicBezTo>
                      <a:pt x="1095" y="741"/>
                      <a:pt x="1095" y="741"/>
                      <a:pt x="1095" y="741"/>
                    </a:cubicBezTo>
                    <a:cubicBezTo>
                      <a:pt x="1098" y="743"/>
                      <a:pt x="1098" y="743"/>
                      <a:pt x="1098" y="743"/>
                    </a:cubicBezTo>
                    <a:cubicBezTo>
                      <a:pt x="1098" y="747"/>
                      <a:pt x="1098" y="747"/>
                      <a:pt x="1098" y="747"/>
                    </a:cubicBezTo>
                    <a:cubicBezTo>
                      <a:pt x="1097" y="745"/>
                      <a:pt x="1097" y="745"/>
                      <a:pt x="1097" y="745"/>
                    </a:cubicBezTo>
                    <a:cubicBezTo>
                      <a:pt x="1095" y="745"/>
                      <a:pt x="1095" y="745"/>
                      <a:pt x="1095" y="745"/>
                    </a:cubicBezTo>
                    <a:cubicBezTo>
                      <a:pt x="1093" y="743"/>
                      <a:pt x="1093" y="743"/>
                      <a:pt x="1093" y="743"/>
                    </a:cubicBezTo>
                    <a:cubicBezTo>
                      <a:pt x="1091" y="744"/>
                      <a:pt x="1091" y="744"/>
                      <a:pt x="1091" y="744"/>
                    </a:cubicBezTo>
                    <a:cubicBezTo>
                      <a:pt x="1093" y="745"/>
                      <a:pt x="1093" y="745"/>
                      <a:pt x="1093" y="745"/>
                    </a:cubicBezTo>
                    <a:cubicBezTo>
                      <a:pt x="1093" y="748"/>
                      <a:pt x="1093" y="748"/>
                      <a:pt x="1093" y="748"/>
                    </a:cubicBezTo>
                    <a:cubicBezTo>
                      <a:pt x="1096" y="748"/>
                      <a:pt x="1096" y="748"/>
                      <a:pt x="1096" y="748"/>
                    </a:cubicBezTo>
                    <a:cubicBezTo>
                      <a:pt x="1096" y="749"/>
                      <a:pt x="1096" y="749"/>
                      <a:pt x="1096" y="749"/>
                    </a:cubicBezTo>
                    <a:cubicBezTo>
                      <a:pt x="1094" y="752"/>
                      <a:pt x="1094" y="752"/>
                      <a:pt x="1094" y="752"/>
                    </a:cubicBezTo>
                    <a:cubicBezTo>
                      <a:pt x="1090" y="749"/>
                      <a:pt x="1090" y="749"/>
                      <a:pt x="1090" y="749"/>
                    </a:cubicBezTo>
                    <a:cubicBezTo>
                      <a:pt x="1090" y="752"/>
                      <a:pt x="1090" y="752"/>
                      <a:pt x="1090" y="752"/>
                    </a:cubicBezTo>
                    <a:cubicBezTo>
                      <a:pt x="1091" y="754"/>
                      <a:pt x="1091" y="754"/>
                      <a:pt x="1091" y="754"/>
                    </a:cubicBezTo>
                    <a:cubicBezTo>
                      <a:pt x="1094" y="755"/>
                      <a:pt x="1094" y="755"/>
                      <a:pt x="1094" y="755"/>
                    </a:cubicBezTo>
                    <a:cubicBezTo>
                      <a:pt x="1093" y="758"/>
                      <a:pt x="1093" y="758"/>
                      <a:pt x="1093" y="758"/>
                    </a:cubicBezTo>
                    <a:cubicBezTo>
                      <a:pt x="1087" y="755"/>
                      <a:pt x="1087" y="755"/>
                      <a:pt x="1087" y="755"/>
                    </a:cubicBezTo>
                    <a:cubicBezTo>
                      <a:pt x="1085" y="757"/>
                      <a:pt x="1085" y="757"/>
                      <a:pt x="1085" y="757"/>
                    </a:cubicBezTo>
                    <a:cubicBezTo>
                      <a:pt x="1084" y="756"/>
                      <a:pt x="1084" y="756"/>
                      <a:pt x="1084" y="756"/>
                    </a:cubicBezTo>
                    <a:cubicBezTo>
                      <a:pt x="1081" y="760"/>
                      <a:pt x="1081" y="760"/>
                      <a:pt x="1081" y="760"/>
                    </a:cubicBezTo>
                    <a:cubicBezTo>
                      <a:pt x="1075" y="760"/>
                      <a:pt x="1075" y="760"/>
                      <a:pt x="1075" y="760"/>
                    </a:cubicBezTo>
                    <a:cubicBezTo>
                      <a:pt x="1079" y="763"/>
                      <a:pt x="1079" y="763"/>
                      <a:pt x="1079" y="763"/>
                    </a:cubicBezTo>
                    <a:cubicBezTo>
                      <a:pt x="1082" y="763"/>
                      <a:pt x="1082" y="763"/>
                      <a:pt x="1082" y="763"/>
                    </a:cubicBezTo>
                    <a:cubicBezTo>
                      <a:pt x="1086" y="763"/>
                      <a:pt x="1086" y="763"/>
                      <a:pt x="1086" y="763"/>
                    </a:cubicBezTo>
                    <a:cubicBezTo>
                      <a:pt x="1084" y="766"/>
                      <a:pt x="1084" y="766"/>
                      <a:pt x="1084" y="766"/>
                    </a:cubicBezTo>
                    <a:cubicBezTo>
                      <a:pt x="1082" y="766"/>
                      <a:pt x="1082" y="766"/>
                      <a:pt x="1082" y="766"/>
                    </a:cubicBezTo>
                    <a:cubicBezTo>
                      <a:pt x="1081" y="770"/>
                      <a:pt x="1081" y="770"/>
                      <a:pt x="1081" y="770"/>
                    </a:cubicBezTo>
                    <a:cubicBezTo>
                      <a:pt x="1079" y="768"/>
                      <a:pt x="1079" y="768"/>
                      <a:pt x="1079" y="768"/>
                    </a:cubicBezTo>
                    <a:cubicBezTo>
                      <a:pt x="1077" y="771"/>
                      <a:pt x="1077" y="771"/>
                      <a:pt x="1077" y="771"/>
                    </a:cubicBezTo>
                    <a:cubicBezTo>
                      <a:pt x="1076" y="772"/>
                      <a:pt x="1076" y="772"/>
                      <a:pt x="1076" y="772"/>
                    </a:cubicBezTo>
                    <a:cubicBezTo>
                      <a:pt x="1075" y="770"/>
                      <a:pt x="1075" y="770"/>
                      <a:pt x="1075" y="770"/>
                    </a:cubicBezTo>
                    <a:cubicBezTo>
                      <a:pt x="1074" y="770"/>
                      <a:pt x="1074" y="770"/>
                      <a:pt x="1074" y="770"/>
                    </a:cubicBezTo>
                    <a:cubicBezTo>
                      <a:pt x="1073" y="773"/>
                      <a:pt x="1073" y="773"/>
                      <a:pt x="1073" y="773"/>
                    </a:cubicBezTo>
                    <a:cubicBezTo>
                      <a:pt x="1071" y="773"/>
                      <a:pt x="1071" y="773"/>
                      <a:pt x="1071" y="773"/>
                    </a:cubicBezTo>
                    <a:cubicBezTo>
                      <a:pt x="1070" y="778"/>
                      <a:pt x="1070" y="778"/>
                      <a:pt x="1070" y="778"/>
                    </a:cubicBezTo>
                    <a:cubicBezTo>
                      <a:pt x="1067" y="778"/>
                      <a:pt x="1067" y="778"/>
                      <a:pt x="1067" y="778"/>
                    </a:cubicBezTo>
                    <a:cubicBezTo>
                      <a:pt x="1066" y="776"/>
                      <a:pt x="1066" y="776"/>
                      <a:pt x="1066" y="776"/>
                    </a:cubicBezTo>
                    <a:cubicBezTo>
                      <a:pt x="1061" y="777"/>
                      <a:pt x="1061" y="777"/>
                      <a:pt x="1061" y="777"/>
                    </a:cubicBezTo>
                    <a:cubicBezTo>
                      <a:pt x="1060" y="779"/>
                      <a:pt x="1060" y="779"/>
                      <a:pt x="1060" y="779"/>
                    </a:cubicBezTo>
                    <a:cubicBezTo>
                      <a:pt x="1058" y="778"/>
                      <a:pt x="1058" y="778"/>
                      <a:pt x="1058" y="778"/>
                    </a:cubicBezTo>
                    <a:cubicBezTo>
                      <a:pt x="1060" y="782"/>
                      <a:pt x="1060" y="782"/>
                      <a:pt x="1060" y="782"/>
                    </a:cubicBezTo>
                    <a:cubicBezTo>
                      <a:pt x="1059" y="786"/>
                      <a:pt x="1059" y="786"/>
                      <a:pt x="1059" y="786"/>
                    </a:cubicBezTo>
                    <a:cubicBezTo>
                      <a:pt x="1057" y="788"/>
                      <a:pt x="1057" y="788"/>
                      <a:pt x="1057" y="788"/>
                    </a:cubicBezTo>
                    <a:cubicBezTo>
                      <a:pt x="1059" y="790"/>
                      <a:pt x="1059" y="790"/>
                      <a:pt x="1059" y="790"/>
                    </a:cubicBezTo>
                    <a:cubicBezTo>
                      <a:pt x="1055" y="792"/>
                      <a:pt x="1055" y="792"/>
                      <a:pt x="1055" y="792"/>
                    </a:cubicBezTo>
                    <a:cubicBezTo>
                      <a:pt x="1053" y="791"/>
                      <a:pt x="1053" y="791"/>
                      <a:pt x="1053" y="791"/>
                    </a:cubicBezTo>
                    <a:cubicBezTo>
                      <a:pt x="1052" y="793"/>
                      <a:pt x="1052" y="793"/>
                      <a:pt x="1052" y="793"/>
                    </a:cubicBezTo>
                    <a:cubicBezTo>
                      <a:pt x="1052" y="791"/>
                      <a:pt x="1052" y="791"/>
                      <a:pt x="1052" y="791"/>
                    </a:cubicBezTo>
                    <a:cubicBezTo>
                      <a:pt x="1050" y="792"/>
                      <a:pt x="1050" y="792"/>
                      <a:pt x="1050" y="792"/>
                    </a:cubicBezTo>
                    <a:cubicBezTo>
                      <a:pt x="1047" y="795"/>
                      <a:pt x="1047" y="795"/>
                      <a:pt x="1047" y="795"/>
                    </a:cubicBezTo>
                    <a:cubicBezTo>
                      <a:pt x="1043" y="795"/>
                      <a:pt x="1043" y="795"/>
                      <a:pt x="1043" y="795"/>
                    </a:cubicBezTo>
                    <a:cubicBezTo>
                      <a:pt x="1043" y="797"/>
                      <a:pt x="1043" y="797"/>
                      <a:pt x="1043" y="797"/>
                    </a:cubicBezTo>
                    <a:cubicBezTo>
                      <a:pt x="1039" y="797"/>
                      <a:pt x="1039" y="797"/>
                      <a:pt x="1039" y="797"/>
                    </a:cubicBezTo>
                    <a:cubicBezTo>
                      <a:pt x="1039" y="796"/>
                      <a:pt x="1039" y="796"/>
                      <a:pt x="1039" y="796"/>
                    </a:cubicBezTo>
                    <a:cubicBezTo>
                      <a:pt x="1037" y="796"/>
                      <a:pt x="1037" y="796"/>
                      <a:pt x="1037" y="796"/>
                    </a:cubicBezTo>
                    <a:cubicBezTo>
                      <a:pt x="1037" y="799"/>
                      <a:pt x="1037" y="799"/>
                      <a:pt x="1037" y="799"/>
                    </a:cubicBezTo>
                    <a:cubicBezTo>
                      <a:pt x="1035" y="801"/>
                      <a:pt x="1035" y="801"/>
                      <a:pt x="1035" y="801"/>
                    </a:cubicBezTo>
                    <a:cubicBezTo>
                      <a:pt x="1032" y="798"/>
                      <a:pt x="1032" y="798"/>
                      <a:pt x="1032" y="798"/>
                    </a:cubicBezTo>
                    <a:cubicBezTo>
                      <a:pt x="1030" y="795"/>
                      <a:pt x="1030" y="795"/>
                      <a:pt x="1030" y="795"/>
                    </a:cubicBezTo>
                    <a:cubicBezTo>
                      <a:pt x="1029" y="797"/>
                      <a:pt x="1029" y="797"/>
                      <a:pt x="1029" y="797"/>
                    </a:cubicBezTo>
                    <a:cubicBezTo>
                      <a:pt x="1026" y="798"/>
                      <a:pt x="1026" y="798"/>
                      <a:pt x="1026" y="798"/>
                    </a:cubicBezTo>
                    <a:cubicBezTo>
                      <a:pt x="1026" y="800"/>
                      <a:pt x="1026" y="800"/>
                      <a:pt x="1026" y="800"/>
                    </a:cubicBezTo>
                    <a:cubicBezTo>
                      <a:pt x="1023" y="801"/>
                      <a:pt x="1023" y="801"/>
                      <a:pt x="1023" y="801"/>
                    </a:cubicBezTo>
                    <a:cubicBezTo>
                      <a:pt x="1020" y="799"/>
                      <a:pt x="1020" y="799"/>
                      <a:pt x="1020" y="799"/>
                    </a:cubicBezTo>
                    <a:cubicBezTo>
                      <a:pt x="1018" y="801"/>
                      <a:pt x="1018" y="801"/>
                      <a:pt x="1018" y="801"/>
                    </a:cubicBezTo>
                    <a:cubicBezTo>
                      <a:pt x="1015" y="802"/>
                      <a:pt x="1015" y="802"/>
                      <a:pt x="1015" y="802"/>
                    </a:cubicBezTo>
                    <a:cubicBezTo>
                      <a:pt x="1014" y="806"/>
                      <a:pt x="1014" y="806"/>
                      <a:pt x="1014" y="806"/>
                    </a:cubicBezTo>
                    <a:cubicBezTo>
                      <a:pt x="1007" y="809"/>
                      <a:pt x="1007" y="809"/>
                      <a:pt x="1007" y="809"/>
                    </a:cubicBezTo>
                    <a:cubicBezTo>
                      <a:pt x="1007" y="807"/>
                      <a:pt x="1007" y="807"/>
                      <a:pt x="1007" y="807"/>
                    </a:cubicBezTo>
                    <a:cubicBezTo>
                      <a:pt x="1010" y="806"/>
                      <a:pt x="1010" y="806"/>
                      <a:pt x="1010" y="806"/>
                    </a:cubicBezTo>
                    <a:cubicBezTo>
                      <a:pt x="1011" y="804"/>
                      <a:pt x="1011" y="804"/>
                      <a:pt x="1011" y="804"/>
                    </a:cubicBezTo>
                    <a:cubicBezTo>
                      <a:pt x="1009" y="804"/>
                      <a:pt x="1009" y="804"/>
                      <a:pt x="1009" y="804"/>
                    </a:cubicBezTo>
                    <a:cubicBezTo>
                      <a:pt x="1005" y="801"/>
                      <a:pt x="1005" y="801"/>
                      <a:pt x="1005" y="801"/>
                    </a:cubicBezTo>
                    <a:cubicBezTo>
                      <a:pt x="1004" y="798"/>
                      <a:pt x="1004" y="798"/>
                      <a:pt x="1004" y="798"/>
                    </a:cubicBezTo>
                    <a:cubicBezTo>
                      <a:pt x="1000" y="796"/>
                      <a:pt x="1000" y="796"/>
                      <a:pt x="1000" y="796"/>
                    </a:cubicBezTo>
                    <a:cubicBezTo>
                      <a:pt x="998" y="794"/>
                      <a:pt x="998" y="794"/>
                      <a:pt x="998" y="794"/>
                    </a:cubicBezTo>
                    <a:cubicBezTo>
                      <a:pt x="999" y="796"/>
                      <a:pt x="999" y="796"/>
                      <a:pt x="999" y="796"/>
                    </a:cubicBezTo>
                    <a:cubicBezTo>
                      <a:pt x="998" y="799"/>
                      <a:pt x="998" y="799"/>
                      <a:pt x="998" y="799"/>
                    </a:cubicBezTo>
                    <a:cubicBezTo>
                      <a:pt x="999" y="802"/>
                      <a:pt x="999" y="802"/>
                      <a:pt x="999" y="802"/>
                    </a:cubicBezTo>
                    <a:cubicBezTo>
                      <a:pt x="1000" y="807"/>
                      <a:pt x="1000" y="807"/>
                      <a:pt x="1000" y="807"/>
                    </a:cubicBezTo>
                    <a:cubicBezTo>
                      <a:pt x="997" y="808"/>
                      <a:pt x="997" y="808"/>
                      <a:pt x="997" y="808"/>
                    </a:cubicBezTo>
                    <a:cubicBezTo>
                      <a:pt x="995" y="811"/>
                      <a:pt x="995" y="811"/>
                      <a:pt x="995" y="811"/>
                    </a:cubicBezTo>
                    <a:cubicBezTo>
                      <a:pt x="993" y="812"/>
                      <a:pt x="993" y="812"/>
                      <a:pt x="993" y="812"/>
                    </a:cubicBezTo>
                    <a:cubicBezTo>
                      <a:pt x="992" y="811"/>
                      <a:pt x="992" y="811"/>
                      <a:pt x="992" y="811"/>
                    </a:cubicBezTo>
                    <a:cubicBezTo>
                      <a:pt x="991" y="810"/>
                      <a:pt x="991" y="810"/>
                      <a:pt x="991" y="810"/>
                    </a:cubicBezTo>
                    <a:cubicBezTo>
                      <a:pt x="990" y="812"/>
                      <a:pt x="990" y="812"/>
                      <a:pt x="990" y="812"/>
                    </a:cubicBezTo>
                    <a:cubicBezTo>
                      <a:pt x="988" y="815"/>
                      <a:pt x="988" y="815"/>
                      <a:pt x="988" y="815"/>
                    </a:cubicBezTo>
                    <a:cubicBezTo>
                      <a:pt x="984" y="818"/>
                      <a:pt x="984" y="818"/>
                      <a:pt x="984" y="818"/>
                    </a:cubicBezTo>
                    <a:cubicBezTo>
                      <a:pt x="980" y="820"/>
                      <a:pt x="980" y="820"/>
                      <a:pt x="980" y="820"/>
                    </a:cubicBezTo>
                    <a:cubicBezTo>
                      <a:pt x="978" y="821"/>
                      <a:pt x="978" y="821"/>
                      <a:pt x="978" y="821"/>
                    </a:cubicBezTo>
                    <a:cubicBezTo>
                      <a:pt x="974" y="820"/>
                      <a:pt x="974" y="820"/>
                      <a:pt x="974" y="820"/>
                    </a:cubicBezTo>
                    <a:cubicBezTo>
                      <a:pt x="970" y="821"/>
                      <a:pt x="970" y="821"/>
                      <a:pt x="970" y="821"/>
                    </a:cubicBezTo>
                    <a:cubicBezTo>
                      <a:pt x="967" y="821"/>
                      <a:pt x="967" y="821"/>
                      <a:pt x="967" y="821"/>
                    </a:cubicBezTo>
                    <a:cubicBezTo>
                      <a:pt x="968" y="823"/>
                      <a:pt x="968" y="823"/>
                      <a:pt x="968" y="823"/>
                    </a:cubicBezTo>
                    <a:cubicBezTo>
                      <a:pt x="964" y="825"/>
                      <a:pt x="964" y="825"/>
                      <a:pt x="964" y="825"/>
                    </a:cubicBezTo>
                    <a:cubicBezTo>
                      <a:pt x="961" y="827"/>
                      <a:pt x="961" y="827"/>
                      <a:pt x="961" y="827"/>
                    </a:cubicBezTo>
                    <a:cubicBezTo>
                      <a:pt x="958" y="825"/>
                      <a:pt x="958" y="825"/>
                      <a:pt x="958" y="825"/>
                    </a:cubicBezTo>
                    <a:cubicBezTo>
                      <a:pt x="956" y="828"/>
                      <a:pt x="956" y="828"/>
                      <a:pt x="956" y="828"/>
                    </a:cubicBezTo>
                    <a:cubicBezTo>
                      <a:pt x="952" y="829"/>
                      <a:pt x="952" y="829"/>
                      <a:pt x="952" y="829"/>
                    </a:cubicBezTo>
                    <a:cubicBezTo>
                      <a:pt x="950" y="831"/>
                      <a:pt x="950" y="831"/>
                      <a:pt x="950" y="831"/>
                    </a:cubicBezTo>
                    <a:cubicBezTo>
                      <a:pt x="949" y="831"/>
                      <a:pt x="949" y="831"/>
                      <a:pt x="949" y="831"/>
                    </a:cubicBezTo>
                    <a:cubicBezTo>
                      <a:pt x="950" y="830"/>
                      <a:pt x="950" y="830"/>
                      <a:pt x="950" y="830"/>
                    </a:cubicBezTo>
                    <a:cubicBezTo>
                      <a:pt x="949" y="829"/>
                      <a:pt x="949" y="829"/>
                      <a:pt x="949" y="829"/>
                    </a:cubicBezTo>
                    <a:cubicBezTo>
                      <a:pt x="948" y="828"/>
                      <a:pt x="948" y="828"/>
                      <a:pt x="948" y="828"/>
                    </a:cubicBezTo>
                    <a:cubicBezTo>
                      <a:pt x="949" y="828"/>
                      <a:pt x="949" y="828"/>
                      <a:pt x="949" y="828"/>
                    </a:cubicBezTo>
                    <a:cubicBezTo>
                      <a:pt x="948" y="828"/>
                      <a:pt x="948" y="828"/>
                      <a:pt x="948" y="828"/>
                    </a:cubicBezTo>
                    <a:cubicBezTo>
                      <a:pt x="947" y="827"/>
                      <a:pt x="947" y="827"/>
                      <a:pt x="947" y="827"/>
                    </a:cubicBezTo>
                    <a:cubicBezTo>
                      <a:pt x="947" y="826"/>
                      <a:pt x="947" y="826"/>
                      <a:pt x="947" y="826"/>
                    </a:cubicBezTo>
                    <a:cubicBezTo>
                      <a:pt x="945" y="827"/>
                      <a:pt x="945" y="827"/>
                      <a:pt x="945" y="827"/>
                    </a:cubicBezTo>
                    <a:cubicBezTo>
                      <a:pt x="944" y="827"/>
                      <a:pt x="944" y="827"/>
                      <a:pt x="944" y="827"/>
                    </a:cubicBezTo>
                    <a:cubicBezTo>
                      <a:pt x="945" y="829"/>
                      <a:pt x="945" y="829"/>
                      <a:pt x="945" y="829"/>
                    </a:cubicBezTo>
                    <a:cubicBezTo>
                      <a:pt x="944" y="831"/>
                      <a:pt x="944" y="831"/>
                      <a:pt x="944" y="831"/>
                    </a:cubicBezTo>
                    <a:cubicBezTo>
                      <a:pt x="942" y="834"/>
                      <a:pt x="942" y="834"/>
                      <a:pt x="942" y="834"/>
                    </a:cubicBezTo>
                    <a:cubicBezTo>
                      <a:pt x="941" y="835"/>
                      <a:pt x="941" y="835"/>
                      <a:pt x="941" y="835"/>
                    </a:cubicBezTo>
                    <a:cubicBezTo>
                      <a:pt x="942" y="838"/>
                      <a:pt x="942" y="838"/>
                      <a:pt x="942" y="838"/>
                    </a:cubicBezTo>
                    <a:cubicBezTo>
                      <a:pt x="945" y="838"/>
                      <a:pt x="945" y="838"/>
                      <a:pt x="945" y="838"/>
                    </a:cubicBezTo>
                    <a:cubicBezTo>
                      <a:pt x="947" y="842"/>
                      <a:pt x="947" y="842"/>
                      <a:pt x="947" y="842"/>
                    </a:cubicBezTo>
                    <a:cubicBezTo>
                      <a:pt x="947" y="843"/>
                      <a:pt x="947" y="843"/>
                      <a:pt x="947" y="843"/>
                    </a:cubicBezTo>
                    <a:cubicBezTo>
                      <a:pt x="948" y="843"/>
                      <a:pt x="948" y="843"/>
                      <a:pt x="948" y="843"/>
                    </a:cubicBezTo>
                    <a:cubicBezTo>
                      <a:pt x="949" y="845"/>
                      <a:pt x="949" y="845"/>
                      <a:pt x="949" y="845"/>
                    </a:cubicBezTo>
                    <a:cubicBezTo>
                      <a:pt x="946" y="849"/>
                      <a:pt x="946" y="849"/>
                      <a:pt x="946" y="849"/>
                    </a:cubicBezTo>
                    <a:cubicBezTo>
                      <a:pt x="943" y="849"/>
                      <a:pt x="943" y="849"/>
                      <a:pt x="943" y="849"/>
                    </a:cubicBezTo>
                    <a:cubicBezTo>
                      <a:pt x="943" y="848"/>
                      <a:pt x="943" y="848"/>
                      <a:pt x="943" y="848"/>
                    </a:cubicBezTo>
                    <a:cubicBezTo>
                      <a:pt x="939" y="847"/>
                      <a:pt x="939" y="847"/>
                      <a:pt x="939" y="847"/>
                    </a:cubicBezTo>
                    <a:cubicBezTo>
                      <a:pt x="938" y="850"/>
                      <a:pt x="938" y="850"/>
                      <a:pt x="938" y="850"/>
                    </a:cubicBezTo>
                    <a:cubicBezTo>
                      <a:pt x="937" y="851"/>
                      <a:pt x="937" y="851"/>
                      <a:pt x="937" y="851"/>
                    </a:cubicBezTo>
                    <a:cubicBezTo>
                      <a:pt x="936" y="847"/>
                      <a:pt x="936" y="847"/>
                      <a:pt x="936" y="847"/>
                    </a:cubicBezTo>
                    <a:cubicBezTo>
                      <a:pt x="936" y="845"/>
                      <a:pt x="936" y="845"/>
                      <a:pt x="936" y="845"/>
                    </a:cubicBezTo>
                    <a:cubicBezTo>
                      <a:pt x="934" y="843"/>
                      <a:pt x="934" y="843"/>
                      <a:pt x="934" y="843"/>
                    </a:cubicBezTo>
                    <a:cubicBezTo>
                      <a:pt x="929" y="837"/>
                      <a:pt x="929" y="837"/>
                      <a:pt x="929" y="837"/>
                    </a:cubicBezTo>
                    <a:cubicBezTo>
                      <a:pt x="929" y="835"/>
                      <a:pt x="929" y="835"/>
                      <a:pt x="929" y="835"/>
                    </a:cubicBezTo>
                    <a:cubicBezTo>
                      <a:pt x="932" y="832"/>
                      <a:pt x="932" y="832"/>
                      <a:pt x="932" y="832"/>
                    </a:cubicBezTo>
                    <a:cubicBezTo>
                      <a:pt x="932" y="828"/>
                      <a:pt x="932" y="828"/>
                      <a:pt x="932" y="828"/>
                    </a:cubicBezTo>
                    <a:cubicBezTo>
                      <a:pt x="935" y="828"/>
                      <a:pt x="935" y="828"/>
                      <a:pt x="935" y="828"/>
                    </a:cubicBezTo>
                    <a:cubicBezTo>
                      <a:pt x="935" y="827"/>
                      <a:pt x="935" y="827"/>
                      <a:pt x="935" y="827"/>
                    </a:cubicBezTo>
                    <a:cubicBezTo>
                      <a:pt x="933" y="826"/>
                      <a:pt x="933" y="826"/>
                      <a:pt x="933" y="826"/>
                    </a:cubicBezTo>
                    <a:cubicBezTo>
                      <a:pt x="930" y="827"/>
                      <a:pt x="930" y="827"/>
                      <a:pt x="930" y="827"/>
                    </a:cubicBezTo>
                    <a:cubicBezTo>
                      <a:pt x="928" y="824"/>
                      <a:pt x="928" y="824"/>
                      <a:pt x="928" y="824"/>
                    </a:cubicBezTo>
                    <a:cubicBezTo>
                      <a:pt x="926" y="828"/>
                      <a:pt x="926" y="828"/>
                      <a:pt x="926" y="828"/>
                    </a:cubicBezTo>
                    <a:cubicBezTo>
                      <a:pt x="923" y="827"/>
                      <a:pt x="923" y="827"/>
                      <a:pt x="923" y="827"/>
                    </a:cubicBezTo>
                    <a:cubicBezTo>
                      <a:pt x="921" y="828"/>
                      <a:pt x="921" y="828"/>
                      <a:pt x="921" y="828"/>
                    </a:cubicBezTo>
                    <a:cubicBezTo>
                      <a:pt x="916" y="824"/>
                      <a:pt x="916" y="824"/>
                      <a:pt x="916" y="824"/>
                    </a:cubicBezTo>
                    <a:cubicBezTo>
                      <a:pt x="914" y="825"/>
                      <a:pt x="914" y="825"/>
                      <a:pt x="914" y="825"/>
                    </a:cubicBezTo>
                    <a:cubicBezTo>
                      <a:pt x="911" y="821"/>
                      <a:pt x="911" y="821"/>
                      <a:pt x="911" y="821"/>
                    </a:cubicBezTo>
                    <a:cubicBezTo>
                      <a:pt x="909" y="818"/>
                      <a:pt x="909" y="818"/>
                      <a:pt x="909" y="818"/>
                    </a:cubicBezTo>
                    <a:cubicBezTo>
                      <a:pt x="908" y="822"/>
                      <a:pt x="908" y="822"/>
                      <a:pt x="908" y="822"/>
                    </a:cubicBezTo>
                    <a:cubicBezTo>
                      <a:pt x="908" y="824"/>
                      <a:pt x="908" y="824"/>
                      <a:pt x="908" y="824"/>
                    </a:cubicBezTo>
                    <a:cubicBezTo>
                      <a:pt x="905" y="825"/>
                      <a:pt x="905" y="825"/>
                      <a:pt x="905" y="825"/>
                    </a:cubicBezTo>
                    <a:cubicBezTo>
                      <a:pt x="903" y="824"/>
                      <a:pt x="903" y="824"/>
                      <a:pt x="903" y="824"/>
                    </a:cubicBezTo>
                    <a:cubicBezTo>
                      <a:pt x="901" y="825"/>
                      <a:pt x="901" y="825"/>
                      <a:pt x="901" y="825"/>
                    </a:cubicBezTo>
                    <a:cubicBezTo>
                      <a:pt x="900" y="824"/>
                      <a:pt x="900" y="824"/>
                      <a:pt x="900" y="824"/>
                    </a:cubicBezTo>
                    <a:cubicBezTo>
                      <a:pt x="900" y="825"/>
                      <a:pt x="900" y="825"/>
                      <a:pt x="900" y="825"/>
                    </a:cubicBezTo>
                    <a:cubicBezTo>
                      <a:pt x="899" y="824"/>
                      <a:pt x="899" y="824"/>
                      <a:pt x="899" y="824"/>
                    </a:cubicBezTo>
                    <a:cubicBezTo>
                      <a:pt x="897" y="824"/>
                      <a:pt x="897" y="824"/>
                      <a:pt x="897" y="824"/>
                    </a:cubicBezTo>
                    <a:cubicBezTo>
                      <a:pt x="878" y="826"/>
                      <a:pt x="878" y="826"/>
                      <a:pt x="878" y="826"/>
                    </a:cubicBezTo>
                    <a:cubicBezTo>
                      <a:pt x="838" y="810"/>
                      <a:pt x="838" y="810"/>
                      <a:pt x="838" y="810"/>
                    </a:cubicBezTo>
                    <a:cubicBezTo>
                      <a:pt x="771" y="843"/>
                      <a:pt x="771" y="843"/>
                      <a:pt x="771" y="843"/>
                    </a:cubicBezTo>
                    <a:cubicBezTo>
                      <a:pt x="722" y="828"/>
                      <a:pt x="722" y="828"/>
                      <a:pt x="722" y="828"/>
                    </a:cubicBezTo>
                    <a:cubicBezTo>
                      <a:pt x="610" y="747"/>
                      <a:pt x="610" y="747"/>
                      <a:pt x="610" y="747"/>
                    </a:cubicBezTo>
                    <a:cubicBezTo>
                      <a:pt x="370" y="726"/>
                      <a:pt x="370" y="726"/>
                      <a:pt x="370" y="726"/>
                    </a:cubicBezTo>
                    <a:cubicBezTo>
                      <a:pt x="244" y="611"/>
                      <a:pt x="244" y="611"/>
                      <a:pt x="244" y="611"/>
                    </a:cubicBezTo>
                    <a:cubicBezTo>
                      <a:pt x="0" y="511"/>
                      <a:pt x="0" y="511"/>
                      <a:pt x="0" y="511"/>
                    </a:cubicBezTo>
                    <a:cubicBezTo>
                      <a:pt x="20" y="313"/>
                      <a:pt x="20" y="313"/>
                      <a:pt x="20" y="313"/>
                    </a:cubicBezTo>
                    <a:cubicBezTo>
                      <a:pt x="180" y="229"/>
                      <a:pt x="180" y="229"/>
                      <a:pt x="180" y="229"/>
                    </a:cubicBezTo>
                    <a:cubicBezTo>
                      <a:pt x="365" y="192"/>
                      <a:pt x="365" y="192"/>
                      <a:pt x="365" y="192"/>
                    </a:cubicBezTo>
                    <a:cubicBezTo>
                      <a:pt x="380" y="189"/>
                      <a:pt x="380" y="189"/>
                      <a:pt x="380" y="189"/>
                    </a:cubicBezTo>
                    <a:close/>
                    <a:moveTo>
                      <a:pt x="1066" y="782"/>
                    </a:moveTo>
                    <a:cubicBezTo>
                      <a:pt x="1067" y="784"/>
                      <a:pt x="1067" y="784"/>
                      <a:pt x="1067" y="784"/>
                    </a:cubicBezTo>
                    <a:cubicBezTo>
                      <a:pt x="1070" y="784"/>
                      <a:pt x="1070" y="784"/>
                      <a:pt x="1070" y="784"/>
                    </a:cubicBezTo>
                    <a:cubicBezTo>
                      <a:pt x="1071" y="783"/>
                      <a:pt x="1071" y="783"/>
                      <a:pt x="1071" y="783"/>
                    </a:cubicBezTo>
                    <a:cubicBezTo>
                      <a:pt x="1069" y="780"/>
                      <a:pt x="1069" y="780"/>
                      <a:pt x="1069" y="780"/>
                    </a:cubicBezTo>
                    <a:cubicBezTo>
                      <a:pt x="1066" y="782"/>
                      <a:pt x="1066" y="782"/>
                      <a:pt x="1066" y="782"/>
                    </a:cubicBezTo>
                    <a:close/>
                    <a:moveTo>
                      <a:pt x="1107" y="734"/>
                    </a:moveTo>
                    <a:cubicBezTo>
                      <a:pt x="1108" y="738"/>
                      <a:pt x="1108" y="738"/>
                      <a:pt x="1108" y="738"/>
                    </a:cubicBezTo>
                    <a:cubicBezTo>
                      <a:pt x="1110" y="737"/>
                      <a:pt x="1110" y="737"/>
                      <a:pt x="1110" y="737"/>
                    </a:cubicBezTo>
                    <a:cubicBezTo>
                      <a:pt x="1110" y="735"/>
                      <a:pt x="1110" y="735"/>
                      <a:pt x="1110" y="735"/>
                    </a:cubicBezTo>
                    <a:cubicBezTo>
                      <a:pt x="1109" y="733"/>
                      <a:pt x="1109" y="733"/>
                      <a:pt x="1109" y="733"/>
                    </a:cubicBezTo>
                    <a:cubicBezTo>
                      <a:pt x="1107" y="734"/>
                      <a:pt x="1107" y="734"/>
                      <a:pt x="1107" y="734"/>
                    </a:cubicBezTo>
                    <a:close/>
                    <a:moveTo>
                      <a:pt x="1137" y="627"/>
                    </a:moveTo>
                    <a:cubicBezTo>
                      <a:pt x="1138" y="630"/>
                      <a:pt x="1138" y="630"/>
                      <a:pt x="1138" y="630"/>
                    </a:cubicBezTo>
                    <a:cubicBezTo>
                      <a:pt x="1142" y="631"/>
                      <a:pt x="1142" y="631"/>
                      <a:pt x="1142" y="631"/>
                    </a:cubicBezTo>
                    <a:cubicBezTo>
                      <a:pt x="1144" y="633"/>
                      <a:pt x="1144" y="633"/>
                      <a:pt x="1144" y="633"/>
                    </a:cubicBezTo>
                    <a:cubicBezTo>
                      <a:pt x="1144" y="630"/>
                      <a:pt x="1144" y="630"/>
                      <a:pt x="1144" y="630"/>
                    </a:cubicBezTo>
                    <a:cubicBezTo>
                      <a:pt x="1141" y="627"/>
                      <a:pt x="1141" y="627"/>
                      <a:pt x="1141" y="627"/>
                    </a:cubicBezTo>
                    <a:cubicBezTo>
                      <a:pt x="1139" y="628"/>
                      <a:pt x="1139" y="628"/>
                      <a:pt x="1139" y="628"/>
                    </a:cubicBezTo>
                    <a:cubicBezTo>
                      <a:pt x="1137" y="627"/>
                      <a:pt x="1137" y="627"/>
                      <a:pt x="1137" y="627"/>
                    </a:cubicBezTo>
                    <a:close/>
                    <a:moveTo>
                      <a:pt x="1116" y="591"/>
                    </a:moveTo>
                    <a:cubicBezTo>
                      <a:pt x="1116" y="592"/>
                      <a:pt x="1116" y="592"/>
                      <a:pt x="1116" y="592"/>
                    </a:cubicBezTo>
                    <a:cubicBezTo>
                      <a:pt x="1118" y="595"/>
                      <a:pt x="1118" y="595"/>
                      <a:pt x="1118" y="595"/>
                    </a:cubicBezTo>
                    <a:cubicBezTo>
                      <a:pt x="1122" y="595"/>
                      <a:pt x="1122" y="595"/>
                      <a:pt x="1122" y="595"/>
                    </a:cubicBezTo>
                    <a:cubicBezTo>
                      <a:pt x="1126" y="596"/>
                      <a:pt x="1126" y="596"/>
                      <a:pt x="1126" y="596"/>
                    </a:cubicBezTo>
                    <a:cubicBezTo>
                      <a:pt x="1126" y="592"/>
                      <a:pt x="1126" y="592"/>
                      <a:pt x="1126" y="592"/>
                    </a:cubicBezTo>
                    <a:cubicBezTo>
                      <a:pt x="1122" y="593"/>
                      <a:pt x="1122" y="593"/>
                      <a:pt x="1122" y="593"/>
                    </a:cubicBezTo>
                    <a:cubicBezTo>
                      <a:pt x="1121" y="592"/>
                      <a:pt x="1121" y="592"/>
                      <a:pt x="1121" y="592"/>
                    </a:cubicBezTo>
                    <a:cubicBezTo>
                      <a:pt x="1116" y="591"/>
                      <a:pt x="1116" y="591"/>
                      <a:pt x="1116" y="591"/>
                    </a:cubicBezTo>
                    <a:close/>
                    <a:moveTo>
                      <a:pt x="1140" y="815"/>
                    </a:moveTo>
                    <a:cubicBezTo>
                      <a:pt x="1142" y="814"/>
                      <a:pt x="1142" y="814"/>
                      <a:pt x="1142" y="814"/>
                    </a:cubicBezTo>
                    <a:cubicBezTo>
                      <a:pt x="1145" y="815"/>
                      <a:pt x="1145" y="815"/>
                      <a:pt x="1145" y="815"/>
                    </a:cubicBezTo>
                    <a:cubicBezTo>
                      <a:pt x="1144" y="811"/>
                      <a:pt x="1144" y="811"/>
                      <a:pt x="1144" y="811"/>
                    </a:cubicBezTo>
                    <a:cubicBezTo>
                      <a:pt x="1145" y="807"/>
                      <a:pt x="1145" y="807"/>
                      <a:pt x="1145" y="807"/>
                    </a:cubicBezTo>
                    <a:cubicBezTo>
                      <a:pt x="1143" y="801"/>
                      <a:pt x="1143" y="801"/>
                      <a:pt x="1143" y="801"/>
                    </a:cubicBezTo>
                    <a:cubicBezTo>
                      <a:pt x="1146" y="797"/>
                      <a:pt x="1146" y="797"/>
                      <a:pt x="1146" y="797"/>
                    </a:cubicBezTo>
                    <a:cubicBezTo>
                      <a:pt x="1151" y="790"/>
                      <a:pt x="1151" y="790"/>
                      <a:pt x="1151" y="790"/>
                    </a:cubicBezTo>
                    <a:cubicBezTo>
                      <a:pt x="1151" y="785"/>
                      <a:pt x="1151" y="785"/>
                      <a:pt x="1151" y="785"/>
                    </a:cubicBezTo>
                    <a:cubicBezTo>
                      <a:pt x="1153" y="784"/>
                      <a:pt x="1153" y="784"/>
                      <a:pt x="1153" y="784"/>
                    </a:cubicBezTo>
                    <a:cubicBezTo>
                      <a:pt x="1151" y="783"/>
                      <a:pt x="1151" y="783"/>
                      <a:pt x="1151" y="783"/>
                    </a:cubicBezTo>
                    <a:cubicBezTo>
                      <a:pt x="1152" y="776"/>
                      <a:pt x="1152" y="776"/>
                      <a:pt x="1152" y="776"/>
                    </a:cubicBezTo>
                    <a:cubicBezTo>
                      <a:pt x="1153" y="771"/>
                      <a:pt x="1153" y="771"/>
                      <a:pt x="1153" y="771"/>
                    </a:cubicBezTo>
                    <a:cubicBezTo>
                      <a:pt x="1152" y="766"/>
                      <a:pt x="1152" y="766"/>
                      <a:pt x="1152" y="766"/>
                    </a:cubicBezTo>
                    <a:cubicBezTo>
                      <a:pt x="1154" y="762"/>
                      <a:pt x="1154" y="762"/>
                      <a:pt x="1154" y="762"/>
                    </a:cubicBezTo>
                    <a:cubicBezTo>
                      <a:pt x="1155" y="753"/>
                      <a:pt x="1155" y="753"/>
                      <a:pt x="1155" y="753"/>
                    </a:cubicBezTo>
                    <a:cubicBezTo>
                      <a:pt x="1156" y="748"/>
                      <a:pt x="1156" y="748"/>
                      <a:pt x="1156" y="748"/>
                    </a:cubicBezTo>
                    <a:cubicBezTo>
                      <a:pt x="1157" y="747"/>
                      <a:pt x="1157" y="747"/>
                      <a:pt x="1157" y="747"/>
                    </a:cubicBezTo>
                    <a:cubicBezTo>
                      <a:pt x="1157" y="744"/>
                      <a:pt x="1157" y="744"/>
                      <a:pt x="1157" y="744"/>
                    </a:cubicBezTo>
                    <a:cubicBezTo>
                      <a:pt x="1153" y="742"/>
                      <a:pt x="1153" y="742"/>
                      <a:pt x="1153" y="742"/>
                    </a:cubicBezTo>
                    <a:cubicBezTo>
                      <a:pt x="1152" y="742"/>
                      <a:pt x="1152" y="742"/>
                      <a:pt x="1152" y="742"/>
                    </a:cubicBezTo>
                    <a:cubicBezTo>
                      <a:pt x="1150" y="738"/>
                      <a:pt x="1150" y="738"/>
                      <a:pt x="1150" y="738"/>
                    </a:cubicBezTo>
                    <a:cubicBezTo>
                      <a:pt x="1146" y="736"/>
                      <a:pt x="1146" y="736"/>
                      <a:pt x="1146" y="736"/>
                    </a:cubicBezTo>
                    <a:cubicBezTo>
                      <a:pt x="1143" y="737"/>
                      <a:pt x="1143" y="737"/>
                      <a:pt x="1143" y="737"/>
                    </a:cubicBezTo>
                    <a:cubicBezTo>
                      <a:pt x="1144" y="740"/>
                      <a:pt x="1144" y="740"/>
                      <a:pt x="1144" y="740"/>
                    </a:cubicBezTo>
                    <a:cubicBezTo>
                      <a:pt x="1140" y="741"/>
                      <a:pt x="1140" y="741"/>
                      <a:pt x="1140" y="741"/>
                    </a:cubicBezTo>
                    <a:cubicBezTo>
                      <a:pt x="1136" y="746"/>
                      <a:pt x="1136" y="746"/>
                      <a:pt x="1136" y="746"/>
                    </a:cubicBezTo>
                    <a:cubicBezTo>
                      <a:pt x="1132" y="752"/>
                      <a:pt x="1132" y="752"/>
                      <a:pt x="1132" y="752"/>
                    </a:cubicBezTo>
                    <a:cubicBezTo>
                      <a:pt x="1133" y="754"/>
                      <a:pt x="1133" y="754"/>
                      <a:pt x="1133" y="754"/>
                    </a:cubicBezTo>
                    <a:cubicBezTo>
                      <a:pt x="1132" y="756"/>
                      <a:pt x="1132" y="756"/>
                      <a:pt x="1132" y="756"/>
                    </a:cubicBezTo>
                    <a:cubicBezTo>
                      <a:pt x="1131" y="758"/>
                      <a:pt x="1131" y="758"/>
                      <a:pt x="1131" y="758"/>
                    </a:cubicBezTo>
                    <a:cubicBezTo>
                      <a:pt x="1127" y="765"/>
                      <a:pt x="1127" y="765"/>
                      <a:pt x="1127" y="765"/>
                    </a:cubicBezTo>
                    <a:cubicBezTo>
                      <a:pt x="1125" y="772"/>
                      <a:pt x="1125" y="772"/>
                      <a:pt x="1125" y="772"/>
                    </a:cubicBezTo>
                    <a:cubicBezTo>
                      <a:pt x="1123" y="773"/>
                      <a:pt x="1123" y="773"/>
                      <a:pt x="1123" y="773"/>
                    </a:cubicBezTo>
                    <a:cubicBezTo>
                      <a:pt x="1124" y="775"/>
                      <a:pt x="1124" y="775"/>
                      <a:pt x="1124" y="775"/>
                    </a:cubicBezTo>
                    <a:cubicBezTo>
                      <a:pt x="1125" y="782"/>
                      <a:pt x="1125" y="782"/>
                      <a:pt x="1125" y="782"/>
                    </a:cubicBezTo>
                    <a:cubicBezTo>
                      <a:pt x="1125" y="790"/>
                      <a:pt x="1125" y="790"/>
                      <a:pt x="1125" y="790"/>
                    </a:cubicBezTo>
                    <a:cubicBezTo>
                      <a:pt x="1127" y="791"/>
                      <a:pt x="1127" y="791"/>
                      <a:pt x="1127" y="791"/>
                    </a:cubicBezTo>
                    <a:cubicBezTo>
                      <a:pt x="1128" y="793"/>
                      <a:pt x="1128" y="793"/>
                      <a:pt x="1128" y="793"/>
                    </a:cubicBezTo>
                    <a:cubicBezTo>
                      <a:pt x="1127" y="793"/>
                      <a:pt x="1127" y="793"/>
                      <a:pt x="1127" y="793"/>
                    </a:cubicBezTo>
                    <a:cubicBezTo>
                      <a:pt x="1127" y="796"/>
                      <a:pt x="1127" y="796"/>
                      <a:pt x="1127" y="796"/>
                    </a:cubicBezTo>
                    <a:cubicBezTo>
                      <a:pt x="1129" y="799"/>
                      <a:pt x="1129" y="799"/>
                      <a:pt x="1129" y="799"/>
                    </a:cubicBezTo>
                    <a:cubicBezTo>
                      <a:pt x="1131" y="799"/>
                      <a:pt x="1131" y="799"/>
                      <a:pt x="1131" y="799"/>
                    </a:cubicBezTo>
                    <a:cubicBezTo>
                      <a:pt x="1131" y="802"/>
                      <a:pt x="1131" y="802"/>
                      <a:pt x="1131" y="802"/>
                    </a:cubicBezTo>
                    <a:cubicBezTo>
                      <a:pt x="1137" y="803"/>
                      <a:pt x="1137" y="803"/>
                      <a:pt x="1137" y="803"/>
                    </a:cubicBezTo>
                    <a:cubicBezTo>
                      <a:pt x="1140" y="807"/>
                      <a:pt x="1140" y="807"/>
                      <a:pt x="1140" y="807"/>
                    </a:cubicBezTo>
                    <a:cubicBezTo>
                      <a:pt x="1139" y="812"/>
                      <a:pt x="1139" y="812"/>
                      <a:pt x="1139" y="812"/>
                    </a:cubicBezTo>
                    <a:cubicBezTo>
                      <a:pt x="1140" y="815"/>
                      <a:pt x="1140" y="815"/>
                      <a:pt x="1140" y="815"/>
                    </a:cubicBezTo>
                    <a:close/>
                    <a:moveTo>
                      <a:pt x="946" y="835"/>
                    </a:moveTo>
                    <a:cubicBezTo>
                      <a:pt x="947" y="837"/>
                      <a:pt x="947" y="837"/>
                      <a:pt x="947" y="837"/>
                    </a:cubicBezTo>
                    <a:cubicBezTo>
                      <a:pt x="950" y="837"/>
                      <a:pt x="950" y="837"/>
                      <a:pt x="950" y="837"/>
                    </a:cubicBezTo>
                    <a:cubicBezTo>
                      <a:pt x="954" y="837"/>
                      <a:pt x="954" y="837"/>
                      <a:pt x="954" y="837"/>
                    </a:cubicBezTo>
                    <a:cubicBezTo>
                      <a:pt x="954" y="836"/>
                      <a:pt x="954" y="836"/>
                      <a:pt x="954" y="836"/>
                    </a:cubicBezTo>
                    <a:cubicBezTo>
                      <a:pt x="950" y="834"/>
                      <a:pt x="950" y="834"/>
                      <a:pt x="950" y="834"/>
                    </a:cubicBezTo>
                    <a:cubicBezTo>
                      <a:pt x="946" y="835"/>
                      <a:pt x="946" y="835"/>
                      <a:pt x="946" y="835"/>
                    </a:cubicBezTo>
                    <a:close/>
                    <a:moveTo>
                      <a:pt x="946" y="854"/>
                    </a:moveTo>
                    <a:cubicBezTo>
                      <a:pt x="942" y="855"/>
                      <a:pt x="942" y="855"/>
                      <a:pt x="942" y="855"/>
                    </a:cubicBezTo>
                    <a:cubicBezTo>
                      <a:pt x="940" y="854"/>
                      <a:pt x="940" y="854"/>
                      <a:pt x="940" y="854"/>
                    </a:cubicBezTo>
                    <a:cubicBezTo>
                      <a:pt x="938" y="856"/>
                      <a:pt x="938" y="856"/>
                      <a:pt x="938" y="856"/>
                    </a:cubicBezTo>
                    <a:cubicBezTo>
                      <a:pt x="934" y="856"/>
                      <a:pt x="934" y="856"/>
                      <a:pt x="934" y="856"/>
                    </a:cubicBezTo>
                    <a:cubicBezTo>
                      <a:pt x="930" y="858"/>
                      <a:pt x="930" y="858"/>
                      <a:pt x="930" y="858"/>
                    </a:cubicBezTo>
                    <a:cubicBezTo>
                      <a:pt x="927" y="858"/>
                      <a:pt x="927" y="858"/>
                      <a:pt x="927" y="858"/>
                    </a:cubicBezTo>
                    <a:cubicBezTo>
                      <a:pt x="926" y="862"/>
                      <a:pt x="926" y="862"/>
                      <a:pt x="926" y="862"/>
                    </a:cubicBezTo>
                    <a:cubicBezTo>
                      <a:pt x="920" y="865"/>
                      <a:pt x="920" y="865"/>
                      <a:pt x="920" y="865"/>
                    </a:cubicBezTo>
                    <a:cubicBezTo>
                      <a:pt x="915" y="870"/>
                      <a:pt x="915" y="870"/>
                      <a:pt x="915" y="870"/>
                    </a:cubicBezTo>
                    <a:cubicBezTo>
                      <a:pt x="917" y="873"/>
                      <a:pt x="917" y="873"/>
                      <a:pt x="917" y="873"/>
                    </a:cubicBezTo>
                    <a:cubicBezTo>
                      <a:pt x="917" y="880"/>
                      <a:pt x="917" y="880"/>
                      <a:pt x="917" y="880"/>
                    </a:cubicBezTo>
                    <a:cubicBezTo>
                      <a:pt x="919" y="884"/>
                      <a:pt x="919" y="884"/>
                      <a:pt x="919" y="884"/>
                    </a:cubicBezTo>
                    <a:cubicBezTo>
                      <a:pt x="919" y="886"/>
                      <a:pt x="919" y="886"/>
                      <a:pt x="919" y="886"/>
                    </a:cubicBezTo>
                    <a:cubicBezTo>
                      <a:pt x="923" y="889"/>
                      <a:pt x="923" y="889"/>
                      <a:pt x="923" y="889"/>
                    </a:cubicBezTo>
                    <a:cubicBezTo>
                      <a:pt x="927" y="889"/>
                      <a:pt x="927" y="889"/>
                      <a:pt x="927" y="889"/>
                    </a:cubicBezTo>
                    <a:cubicBezTo>
                      <a:pt x="929" y="891"/>
                      <a:pt x="929" y="891"/>
                      <a:pt x="929" y="891"/>
                    </a:cubicBezTo>
                    <a:cubicBezTo>
                      <a:pt x="932" y="891"/>
                      <a:pt x="932" y="891"/>
                      <a:pt x="932" y="891"/>
                    </a:cubicBezTo>
                    <a:cubicBezTo>
                      <a:pt x="935" y="893"/>
                      <a:pt x="935" y="893"/>
                      <a:pt x="935" y="893"/>
                    </a:cubicBezTo>
                    <a:cubicBezTo>
                      <a:pt x="938" y="892"/>
                      <a:pt x="938" y="892"/>
                      <a:pt x="938" y="892"/>
                    </a:cubicBezTo>
                    <a:cubicBezTo>
                      <a:pt x="939" y="888"/>
                      <a:pt x="939" y="888"/>
                      <a:pt x="939" y="888"/>
                    </a:cubicBezTo>
                    <a:cubicBezTo>
                      <a:pt x="942" y="888"/>
                      <a:pt x="942" y="888"/>
                      <a:pt x="942" y="888"/>
                    </a:cubicBezTo>
                    <a:cubicBezTo>
                      <a:pt x="945" y="889"/>
                      <a:pt x="945" y="889"/>
                      <a:pt x="945" y="889"/>
                    </a:cubicBezTo>
                    <a:cubicBezTo>
                      <a:pt x="947" y="886"/>
                      <a:pt x="947" y="886"/>
                      <a:pt x="947" y="886"/>
                    </a:cubicBezTo>
                    <a:cubicBezTo>
                      <a:pt x="948" y="883"/>
                      <a:pt x="948" y="883"/>
                      <a:pt x="948" y="883"/>
                    </a:cubicBezTo>
                    <a:cubicBezTo>
                      <a:pt x="951" y="883"/>
                      <a:pt x="951" y="883"/>
                      <a:pt x="951" y="883"/>
                    </a:cubicBezTo>
                    <a:cubicBezTo>
                      <a:pt x="954" y="880"/>
                      <a:pt x="954" y="880"/>
                      <a:pt x="954" y="880"/>
                    </a:cubicBezTo>
                    <a:cubicBezTo>
                      <a:pt x="953" y="877"/>
                      <a:pt x="953" y="877"/>
                      <a:pt x="953" y="877"/>
                    </a:cubicBezTo>
                    <a:cubicBezTo>
                      <a:pt x="955" y="871"/>
                      <a:pt x="955" y="871"/>
                      <a:pt x="955" y="871"/>
                    </a:cubicBezTo>
                    <a:cubicBezTo>
                      <a:pt x="957" y="870"/>
                      <a:pt x="957" y="870"/>
                      <a:pt x="957" y="870"/>
                    </a:cubicBezTo>
                    <a:cubicBezTo>
                      <a:pt x="958" y="867"/>
                      <a:pt x="958" y="867"/>
                      <a:pt x="958" y="867"/>
                    </a:cubicBezTo>
                    <a:cubicBezTo>
                      <a:pt x="961" y="862"/>
                      <a:pt x="961" y="862"/>
                      <a:pt x="961" y="862"/>
                    </a:cubicBezTo>
                    <a:cubicBezTo>
                      <a:pt x="959" y="858"/>
                      <a:pt x="959" y="858"/>
                      <a:pt x="959" y="858"/>
                    </a:cubicBezTo>
                    <a:cubicBezTo>
                      <a:pt x="955" y="855"/>
                      <a:pt x="955" y="855"/>
                      <a:pt x="955" y="855"/>
                    </a:cubicBezTo>
                    <a:cubicBezTo>
                      <a:pt x="951" y="854"/>
                      <a:pt x="951" y="854"/>
                      <a:pt x="951" y="854"/>
                    </a:cubicBezTo>
                    <a:cubicBezTo>
                      <a:pt x="948" y="855"/>
                      <a:pt x="948" y="855"/>
                      <a:pt x="948" y="855"/>
                    </a:cubicBezTo>
                    <a:cubicBezTo>
                      <a:pt x="946" y="854"/>
                      <a:pt x="946" y="854"/>
                      <a:pt x="946" y="854"/>
                    </a:cubicBezTo>
                    <a:close/>
                  </a:path>
                </a:pathLst>
              </a:custGeom>
              <a:solidFill>
                <a:schemeClr val="accent4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992" name="Freeform 395"/>
              <p:cNvSpPr>
                <a:spLocks noEditPoints="1"/>
              </p:cNvSpPr>
              <p:nvPr userDrawn="1"/>
            </p:nvSpPr>
            <p:spPr bwMode="auto">
              <a:xfrm>
                <a:off x="3387" y="1930"/>
                <a:ext cx="239" cy="215"/>
              </a:xfrm>
              <a:custGeom>
                <a:avLst/>
                <a:gdLst>
                  <a:gd name="T0" fmla="*/ 188 w 239"/>
                  <a:gd name="T1" fmla="*/ 105 h 215"/>
                  <a:gd name="T2" fmla="*/ 172 w 239"/>
                  <a:gd name="T3" fmla="*/ 113 h 215"/>
                  <a:gd name="T4" fmla="*/ 177 w 239"/>
                  <a:gd name="T5" fmla="*/ 100 h 215"/>
                  <a:gd name="T6" fmla="*/ 191 w 239"/>
                  <a:gd name="T7" fmla="*/ 83 h 215"/>
                  <a:gd name="T8" fmla="*/ 198 w 239"/>
                  <a:gd name="T9" fmla="*/ 80 h 215"/>
                  <a:gd name="T10" fmla="*/ 201 w 239"/>
                  <a:gd name="T11" fmla="*/ 62 h 215"/>
                  <a:gd name="T12" fmla="*/ 206 w 239"/>
                  <a:gd name="T13" fmla="*/ 45 h 215"/>
                  <a:gd name="T14" fmla="*/ 189 w 239"/>
                  <a:gd name="T15" fmla="*/ 44 h 215"/>
                  <a:gd name="T16" fmla="*/ 177 w 239"/>
                  <a:gd name="T17" fmla="*/ 38 h 215"/>
                  <a:gd name="T18" fmla="*/ 163 w 239"/>
                  <a:gd name="T19" fmla="*/ 32 h 215"/>
                  <a:gd name="T20" fmla="*/ 148 w 239"/>
                  <a:gd name="T21" fmla="*/ 25 h 215"/>
                  <a:gd name="T22" fmla="*/ 137 w 239"/>
                  <a:gd name="T23" fmla="*/ 16 h 215"/>
                  <a:gd name="T24" fmla="*/ 124 w 239"/>
                  <a:gd name="T25" fmla="*/ 2 h 215"/>
                  <a:gd name="T26" fmla="*/ 108 w 239"/>
                  <a:gd name="T27" fmla="*/ 5 h 215"/>
                  <a:gd name="T28" fmla="*/ 102 w 239"/>
                  <a:gd name="T29" fmla="*/ 27 h 215"/>
                  <a:gd name="T30" fmla="*/ 80 w 239"/>
                  <a:gd name="T31" fmla="*/ 33 h 215"/>
                  <a:gd name="T32" fmla="*/ 68 w 239"/>
                  <a:gd name="T33" fmla="*/ 40 h 215"/>
                  <a:gd name="T34" fmla="*/ 59 w 239"/>
                  <a:gd name="T35" fmla="*/ 33 h 215"/>
                  <a:gd name="T36" fmla="*/ 49 w 239"/>
                  <a:gd name="T37" fmla="*/ 35 h 215"/>
                  <a:gd name="T38" fmla="*/ 54 w 239"/>
                  <a:gd name="T39" fmla="*/ 50 h 215"/>
                  <a:gd name="T40" fmla="*/ 44 w 239"/>
                  <a:gd name="T41" fmla="*/ 55 h 215"/>
                  <a:gd name="T42" fmla="*/ 27 w 239"/>
                  <a:gd name="T43" fmla="*/ 51 h 215"/>
                  <a:gd name="T44" fmla="*/ 14 w 239"/>
                  <a:gd name="T45" fmla="*/ 54 h 215"/>
                  <a:gd name="T46" fmla="*/ 1 w 239"/>
                  <a:gd name="T47" fmla="*/ 62 h 215"/>
                  <a:gd name="T48" fmla="*/ 3 w 239"/>
                  <a:gd name="T49" fmla="*/ 63 h 215"/>
                  <a:gd name="T50" fmla="*/ 6 w 239"/>
                  <a:gd name="T51" fmla="*/ 68 h 215"/>
                  <a:gd name="T52" fmla="*/ 7 w 239"/>
                  <a:gd name="T53" fmla="*/ 75 h 215"/>
                  <a:gd name="T54" fmla="*/ 22 w 239"/>
                  <a:gd name="T55" fmla="*/ 77 h 215"/>
                  <a:gd name="T56" fmla="*/ 33 w 239"/>
                  <a:gd name="T57" fmla="*/ 80 h 215"/>
                  <a:gd name="T58" fmla="*/ 39 w 239"/>
                  <a:gd name="T59" fmla="*/ 88 h 215"/>
                  <a:gd name="T60" fmla="*/ 48 w 239"/>
                  <a:gd name="T61" fmla="*/ 87 h 215"/>
                  <a:gd name="T62" fmla="*/ 43 w 239"/>
                  <a:gd name="T63" fmla="*/ 97 h 215"/>
                  <a:gd name="T64" fmla="*/ 60 w 239"/>
                  <a:gd name="T65" fmla="*/ 109 h 215"/>
                  <a:gd name="T66" fmla="*/ 59 w 239"/>
                  <a:gd name="T67" fmla="*/ 121 h 215"/>
                  <a:gd name="T68" fmla="*/ 66 w 239"/>
                  <a:gd name="T69" fmla="*/ 127 h 215"/>
                  <a:gd name="T70" fmla="*/ 61 w 239"/>
                  <a:gd name="T71" fmla="*/ 144 h 215"/>
                  <a:gd name="T72" fmla="*/ 54 w 239"/>
                  <a:gd name="T73" fmla="*/ 172 h 215"/>
                  <a:gd name="T74" fmla="*/ 62 w 239"/>
                  <a:gd name="T75" fmla="*/ 180 h 215"/>
                  <a:gd name="T76" fmla="*/ 86 w 239"/>
                  <a:gd name="T77" fmla="*/ 188 h 215"/>
                  <a:gd name="T78" fmla="*/ 108 w 239"/>
                  <a:gd name="T79" fmla="*/ 187 h 215"/>
                  <a:gd name="T80" fmla="*/ 130 w 239"/>
                  <a:gd name="T81" fmla="*/ 192 h 215"/>
                  <a:gd name="T82" fmla="*/ 141 w 239"/>
                  <a:gd name="T83" fmla="*/ 167 h 215"/>
                  <a:gd name="T84" fmla="*/ 157 w 239"/>
                  <a:gd name="T85" fmla="*/ 172 h 215"/>
                  <a:gd name="T86" fmla="*/ 185 w 239"/>
                  <a:gd name="T87" fmla="*/ 180 h 215"/>
                  <a:gd name="T88" fmla="*/ 203 w 239"/>
                  <a:gd name="T89" fmla="*/ 162 h 215"/>
                  <a:gd name="T90" fmla="*/ 192 w 239"/>
                  <a:gd name="T91" fmla="*/ 140 h 215"/>
                  <a:gd name="T92" fmla="*/ 192 w 239"/>
                  <a:gd name="T93" fmla="*/ 123 h 215"/>
                  <a:gd name="T94" fmla="*/ 193 w 239"/>
                  <a:gd name="T95" fmla="*/ 117 h 215"/>
                  <a:gd name="T96" fmla="*/ 228 w 239"/>
                  <a:gd name="T97" fmla="*/ 209 h 215"/>
                  <a:gd name="T98" fmla="*/ 222 w 239"/>
                  <a:gd name="T99" fmla="*/ 202 h 215"/>
                  <a:gd name="T100" fmla="*/ 222 w 239"/>
                  <a:gd name="T101" fmla="*/ 196 h 215"/>
                  <a:gd name="T102" fmla="*/ 231 w 239"/>
                  <a:gd name="T103" fmla="*/ 184 h 215"/>
                  <a:gd name="T104" fmla="*/ 234 w 239"/>
                  <a:gd name="T105" fmla="*/ 178 h 215"/>
                  <a:gd name="T106" fmla="*/ 237 w 239"/>
                  <a:gd name="T107" fmla="*/ 203 h 2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39" h="215">
                    <a:moveTo>
                      <a:pt x="193" y="117"/>
                    </a:moveTo>
                    <a:lnTo>
                      <a:pt x="192" y="115"/>
                    </a:lnTo>
                    <a:lnTo>
                      <a:pt x="190" y="113"/>
                    </a:lnTo>
                    <a:lnTo>
                      <a:pt x="189" y="108"/>
                    </a:lnTo>
                    <a:lnTo>
                      <a:pt x="188" y="105"/>
                    </a:lnTo>
                    <a:lnTo>
                      <a:pt x="182" y="105"/>
                    </a:lnTo>
                    <a:lnTo>
                      <a:pt x="179" y="107"/>
                    </a:lnTo>
                    <a:lnTo>
                      <a:pt x="181" y="111"/>
                    </a:lnTo>
                    <a:lnTo>
                      <a:pt x="177" y="113"/>
                    </a:lnTo>
                    <a:lnTo>
                      <a:pt x="172" y="113"/>
                    </a:lnTo>
                    <a:lnTo>
                      <a:pt x="172" y="110"/>
                    </a:lnTo>
                    <a:lnTo>
                      <a:pt x="174" y="109"/>
                    </a:lnTo>
                    <a:lnTo>
                      <a:pt x="176" y="109"/>
                    </a:lnTo>
                    <a:lnTo>
                      <a:pt x="176" y="105"/>
                    </a:lnTo>
                    <a:lnTo>
                      <a:pt x="177" y="100"/>
                    </a:lnTo>
                    <a:lnTo>
                      <a:pt x="182" y="93"/>
                    </a:lnTo>
                    <a:lnTo>
                      <a:pt x="185" y="92"/>
                    </a:lnTo>
                    <a:lnTo>
                      <a:pt x="188" y="87"/>
                    </a:lnTo>
                    <a:lnTo>
                      <a:pt x="191" y="86"/>
                    </a:lnTo>
                    <a:lnTo>
                      <a:pt x="191" y="83"/>
                    </a:lnTo>
                    <a:lnTo>
                      <a:pt x="188" y="81"/>
                    </a:lnTo>
                    <a:lnTo>
                      <a:pt x="189" y="78"/>
                    </a:lnTo>
                    <a:lnTo>
                      <a:pt x="194" y="77"/>
                    </a:lnTo>
                    <a:lnTo>
                      <a:pt x="195" y="80"/>
                    </a:lnTo>
                    <a:lnTo>
                      <a:pt x="198" y="80"/>
                    </a:lnTo>
                    <a:lnTo>
                      <a:pt x="204" y="78"/>
                    </a:lnTo>
                    <a:lnTo>
                      <a:pt x="203" y="75"/>
                    </a:lnTo>
                    <a:lnTo>
                      <a:pt x="199" y="73"/>
                    </a:lnTo>
                    <a:lnTo>
                      <a:pt x="199" y="68"/>
                    </a:lnTo>
                    <a:lnTo>
                      <a:pt x="201" y="62"/>
                    </a:lnTo>
                    <a:lnTo>
                      <a:pt x="204" y="59"/>
                    </a:lnTo>
                    <a:lnTo>
                      <a:pt x="204" y="57"/>
                    </a:lnTo>
                    <a:lnTo>
                      <a:pt x="206" y="52"/>
                    </a:lnTo>
                    <a:lnTo>
                      <a:pt x="210" y="48"/>
                    </a:lnTo>
                    <a:lnTo>
                      <a:pt x="206" y="45"/>
                    </a:lnTo>
                    <a:lnTo>
                      <a:pt x="203" y="45"/>
                    </a:lnTo>
                    <a:lnTo>
                      <a:pt x="198" y="43"/>
                    </a:lnTo>
                    <a:lnTo>
                      <a:pt x="195" y="44"/>
                    </a:lnTo>
                    <a:lnTo>
                      <a:pt x="192" y="44"/>
                    </a:lnTo>
                    <a:lnTo>
                      <a:pt x="189" y="44"/>
                    </a:lnTo>
                    <a:lnTo>
                      <a:pt x="187" y="45"/>
                    </a:lnTo>
                    <a:lnTo>
                      <a:pt x="183" y="42"/>
                    </a:lnTo>
                    <a:lnTo>
                      <a:pt x="183" y="40"/>
                    </a:lnTo>
                    <a:lnTo>
                      <a:pt x="180" y="37"/>
                    </a:lnTo>
                    <a:lnTo>
                      <a:pt x="177" y="38"/>
                    </a:lnTo>
                    <a:lnTo>
                      <a:pt x="172" y="37"/>
                    </a:lnTo>
                    <a:lnTo>
                      <a:pt x="170" y="33"/>
                    </a:lnTo>
                    <a:lnTo>
                      <a:pt x="167" y="33"/>
                    </a:lnTo>
                    <a:lnTo>
                      <a:pt x="166" y="34"/>
                    </a:lnTo>
                    <a:lnTo>
                      <a:pt x="163" y="32"/>
                    </a:lnTo>
                    <a:lnTo>
                      <a:pt x="159" y="32"/>
                    </a:lnTo>
                    <a:lnTo>
                      <a:pt x="154" y="27"/>
                    </a:lnTo>
                    <a:lnTo>
                      <a:pt x="152" y="27"/>
                    </a:lnTo>
                    <a:lnTo>
                      <a:pt x="150" y="25"/>
                    </a:lnTo>
                    <a:lnTo>
                      <a:pt x="148" y="25"/>
                    </a:lnTo>
                    <a:lnTo>
                      <a:pt x="146" y="26"/>
                    </a:lnTo>
                    <a:lnTo>
                      <a:pt x="143" y="24"/>
                    </a:lnTo>
                    <a:lnTo>
                      <a:pt x="142" y="19"/>
                    </a:lnTo>
                    <a:lnTo>
                      <a:pt x="140" y="18"/>
                    </a:lnTo>
                    <a:lnTo>
                      <a:pt x="137" y="16"/>
                    </a:lnTo>
                    <a:lnTo>
                      <a:pt x="135" y="16"/>
                    </a:lnTo>
                    <a:lnTo>
                      <a:pt x="130" y="12"/>
                    </a:lnTo>
                    <a:lnTo>
                      <a:pt x="129" y="9"/>
                    </a:lnTo>
                    <a:lnTo>
                      <a:pt x="125" y="8"/>
                    </a:lnTo>
                    <a:lnTo>
                      <a:pt x="124" y="2"/>
                    </a:lnTo>
                    <a:lnTo>
                      <a:pt x="122" y="0"/>
                    </a:lnTo>
                    <a:lnTo>
                      <a:pt x="122" y="1"/>
                    </a:lnTo>
                    <a:lnTo>
                      <a:pt x="115" y="4"/>
                    </a:lnTo>
                    <a:lnTo>
                      <a:pt x="113" y="2"/>
                    </a:lnTo>
                    <a:lnTo>
                      <a:pt x="108" y="5"/>
                    </a:lnTo>
                    <a:lnTo>
                      <a:pt x="107" y="9"/>
                    </a:lnTo>
                    <a:lnTo>
                      <a:pt x="108" y="12"/>
                    </a:lnTo>
                    <a:lnTo>
                      <a:pt x="106" y="19"/>
                    </a:lnTo>
                    <a:lnTo>
                      <a:pt x="102" y="24"/>
                    </a:lnTo>
                    <a:lnTo>
                      <a:pt x="102" y="27"/>
                    </a:lnTo>
                    <a:lnTo>
                      <a:pt x="96" y="28"/>
                    </a:lnTo>
                    <a:lnTo>
                      <a:pt x="93" y="28"/>
                    </a:lnTo>
                    <a:lnTo>
                      <a:pt x="89" y="27"/>
                    </a:lnTo>
                    <a:lnTo>
                      <a:pt x="82" y="30"/>
                    </a:lnTo>
                    <a:lnTo>
                      <a:pt x="80" y="33"/>
                    </a:lnTo>
                    <a:lnTo>
                      <a:pt x="81" y="36"/>
                    </a:lnTo>
                    <a:lnTo>
                      <a:pt x="85" y="37"/>
                    </a:lnTo>
                    <a:lnTo>
                      <a:pt x="80" y="40"/>
                    </a:lnTo>
                    <a:lnTo>
                      <a:pt x="76" y="41"/>
                    </a:lnTo>
                    <a:lnTo>
                      <a:pt x="68" y="40"/>
                    </a:lnTo>
                    <a:lnTo>
                      <a:pt x="65" y="38"/>
                    </a:lnTo>
                    <a:lnTo>
                      <a:pt x="62" y="40"/>
                    </a:lnTo>
                    <a:lnTo>
                      <a:pt x="61" y="37"/>
                    </a:lnTo>
                    <a:lnTo>
                      <a:pt x="59" y="35"/>
                    </a:lnTo>
                    <a:lnTo>
                      <a:pt x="59" y="33"/>
                    </a:lnTo>
                    <a:lnTo>
                      <a:pt x="57" y="31"/>
                    </a:lnTo>
                    <a:lnTo>
                      <a:pt x="54" y="32"/>
                    </a:lnTo>
                    <a:lnTo>
                      <a:pt x="50" y="32"/>
                    </a:lnTo>
                    <a:lnTo>
                      <a:pt x="48" y="31"/>
                    </a:lnTo>
                    <a:lnTo>
                      <a:pt x="49" y="35"/>
                    </a:lnTo>
                    <a:lnTo>
                      <a:pt x="48" y="37"/>
                    </a:lnTo>
                    <a:lnTo>
                      <a:pt x="55" y="43"/>
                    </a:lnTo>
                    <a:lnTo>
                      <a:pt x="54" y="45"/>
                    </a:lnTo>
                    <a:lnTo>
                      <a:pt x="54" y="48"/>
                    </a:lnTo>
                    <a:lnTo>
                      <a:pt x="54" y="50"/>
                    </a:lnTo>
                    <a:lnTo>
                      <a:pt x="56" y="52"/>
                    </a:lnTo>
                    <a:lnTo>
                      <a:pt x="56" y="55"/>
                    </a:lnTo>
                    <a:lnTo>
                      <a:pt x="49" y="54"/>
                    </a:lnTo>
                    <a:lnTo>
                      <a:pt x="47" y="55"/>
                    </a:lnTo>
                    <a:lnTo>
                      <a:pt x="44" y="55"/>
                    </a:lnTo>
                    <a:lnTo>
                      <a:pt x="40" y="55"/>
                    </a:lnTo>
                    <a:lnTo>
                      <a:pt x="39" y="54"/>
                    </a:lnTo>
                    <a:lnTo>
                      <a:pt x="36" y="58"/>
                    </a:lnTo>
                    <a:lnTo>
                      <a:pt x="31" y="52"/>
                    </a:lnTo>
                    <a:lnTo>
                      <a:pt x="27" y="51"/>
                    </a:lnTo>
                    <a:lnTo>
                      <a:pt x="23" y="52"/>
                    </a:lnTo>
                    <a:lnTo>
                      <a:pt x="19" y="54"/>
                    </a:lnTo>
                    <a:lnTo>
                      <a:pt x="17" y="53"/>
                    </a:lnTo>
                    <a:lnTo>
                      <a:pt x="16" y="55"/>
                    </a:lnTo>
                    <a:lnTo>
                      <a:pt x="14" y="54"/>
                    </a:lnTo>
                    <a:lnTo>
                      <a:pt x="10" y="54"/>
                    </a:lnTo>
                    <a:lnTo>
                      <a:pt x="8" y="56"/>
                    </a:lnTo>
                    <a:lnTo>
                      <a:pt x="2" y="57"/>
                    </a:lnTo>
                    <a:lnTo>
                      <a:pt x="0" y="60"/>
                    </a:lnTo>
                    <a:lnTo>
                      <a:pt x="1" y="62"/>
                    </a:lnTo>
                    <a:lnTo>
                      <a:pt x="4" y="61"/>
                    </a:lnTo>
                    <a:lnTo>
                      <a:pt x="8" y="62"/>
                    </a:lnTo>
                    <a:lnTo>
                      <a:pt x="9" y="63"/>
                    </a:lnTo>
                    <a:lnTo>
                      <a:pt x="5" y="63"/>
                    </a:lnTo>
                    <a:lnTo>
                      <a:pt x="3" y="63"/>
                    </a:lnTo>
                    <a:lnTo>
                      <a:pt x="4" y="66"/>
                    </a:lnTo>
                    <a:lnTo>
                      <a:pt x="5" y="64"/>
                    </a:lnTo>
                    <a:lnTo>
                      <a:pt x="8" y="65"/>
                    </a:lnTo>
                    <a:lnTo>
                      <a:pt x="8" y="67"/>
                    </a:lnTo>
                    <a:lnTo>
                      <a:pt x="6" y="68"/>
                    </a:lnTo>
                    <a:lnTo>
                      <a:pt x="2" y="69"/>
                    </a:lnTo>
                    <a:lnTo>
                      <a:pt x="3" y="70"/>
                    </a:lnTo>
                    <a:lnTo>
                      <a:pt x="6" y="70"/>
                    </a:lnTo>
                    <a:lnTo>
                      <a:pt x="7" y="73"/>
                    </a:lnTo>
                    <a:lnTo>
                      <a:pt x="7" y="75"/>
                    </a:lnTo>
                    <a:lnTo>
                      <a:pt x="11" y="73"/>
                    </a:lnTo>
                    <a:lnTo>
                      <a:pt x="14" y="73"/>
                    </a:lnTo>
                    <a:lnTo>
                      <a:pt x="16" y="73"/>
                    </a:lnTo>
                    <a:lnTo>
                      <a:pt x="21" y="75"/>
                    </a:lnTo>
                    <a:lnTo>
                      <a:pt x="22" y="77"/>
                    </a:lnTo>
                    <a:lnTo>
                      <a:pt x="25" y="77"/>
                    </a:lnTo>
                    <a:lnTo>
                      <a:pt x="29" y="80"/>
                    </a:lnTo>
                    <a:lnTo>
                      <a:pt x="32" y="77"/>
                    </a:lnTo>
                    <a:lnTo>
                      <a:pt x="34" y="78"/>
                    </a:lnTo>
                    <a:lnTo>
                      <a:pt x="33" y="80"/>
                    </a:lnTo>
                    <a:lnTo>
                      <a:pt x="34" y="81"/>
                    </a:lnTo>
                    <a:lnTo>
                      <a:pt x="37" y="79"/>
                    </a:lnTo>
                    <a:lnTo>
                      <a:pt x="38" y="81"/>
                    </a:lnTo>
                    <a:lnTo>
                      <a:pt x="37" y="85"/>
                    </a:lnTo>
                    <a:lnTo>
                      <a:pt x="39" y="88"/>
                    </a:lnTo>
                    <a:lnTo>
                      <a:pt x="41" y="88"/>
                    </a:lnTo>
                    <a:lnTo>
                      <a:pt x="45" y="85"/>
                    </a:lnTo>
                    <a:lnTo>
                      <a:pt x="49" y="86"/>
                    </a:lnTo>
                    <a:lnTo>
                      <a:pt x="51" y="89"/>
                    </a:lnTo>
                    <a:lnTo>
                      <a:pt x="48" y="87"/>
                    </a:lnTo>
                    <a:lnTo>
                      <a:pt x="44" y="88"/>
                    </a:lnTo>
                    <a:lnTo>
                      <a:pt x="42" y="91"/>
                    </a:lnTo>
                    <a:lnTo>
                      <a:pt x="44" y="91"/>
                    </a:lnTo>
                    <a:lnTo>
                      <a:pt x="45" y="95"/>
                    </a:lnTo>
                    <a:lnTo>
                      <a:pt x="43" y="97"/>
                    </a:lnTo>
                    <a:lnTo>
                      <a:pt x="44" y="99"/>
                    </a:lnTo>
                    <a:lnTo>
                      <a:pt x="47" y="100"/>
                    </a:lnTo>
                    <a:lnTo>
                      <a:pt x="52" y="106"/>
                    </a:lnTo>
                    <a:lnTo>
                      <a:pt x="57" y="106"/>
                    </a:lnTo>
                    <a:lnTo>
                      <a:pt x="60" y="109"/>
                    </a:lnTo>
                    <a:lnTo>
                      <a:pt x="60" y="112"/>
                    </a:lnTo>
                    <a:lnTo>
                      <a:pt x="62" y="115"/>
                    </a:lnTo>
                    <a:lnTo>
                      <a:pt x="60" y="117"/>
                    </a:lnTo>
                    <a:lnTo>
                      <a:pt x="59" y="118"/>
                    </a:lnTo>
                    <a:lnTo>
                      <a:pt x="59" y="121"/>
                    </a:lnTo>
                    <a:lnTo>
                      <a:pt x="62" y="122"/>
                    </a:lnTo>
                    <a:lnTo>
                      <a:pt x="68" y="126"/>
                    </a:lnTo>
                    <a:lnTo>
                      <a:pt x="72" y="137"/>
                    </a:lnTo>
                    <a:lnTo>
                      <a:pt x="67" y="132"/>
                    </a:lnTo>
                    <a:lnTo>
                      <a:pt x="66" y="127"/>
                    </a:lnTo>
                    <a:lnTo>
                      <a:pt x="62" y="126"/>
                    </a:lnTo>
                    <a:lnTo>
                      <a:pt x="60" y="127"/>
                    </a:lnTo>
                    <a:lnTo>
                      <a:pt x="59" y="136"/>
                    </a:lnTo>
                    <a:lnTo>
                      <a:pt x="59" y="142"/>
                    </a:lnTo>
                    <a:lnTo>
                      <a:pt x="61" y="144"/>
                    </a:lnTo>
                    <a:lnTo>
                      <a:pt x="59" y="146"/>
                    </a:lnTo>
                    <a:lnTo>
                      <a:pt x="59" y="158"/>
                    </a:lnTo>
                    <a:lnTo>
                      <a:pt x="55" y="168"/>
                    </a:lnTo>
                    <a:lnTo>
                      <a:pt x="51" y="171"/>
                    </a:lnTo>
                    <a:lnTo>
                      <a:pt x="54" y="172"/>
                    </a:lnTo>
                    <a:lnTo>
                      <a:pt x="55" y="173"/>
                    </a:lnTo>
                    <a:lnTo>
                      <a:pt x="57" y="174"/>
                    </a:lnTo>
                    <a:lnTo>
                      <a:pt x="58" y="178"/>
                    </a:lnTo>
                    <a:lnTo>
                      <a:pt x="57" y="181"/>
                    </a:lnTo>
                    <a:lnTo>
                      <a:pt x="62" y="180"/>
                    </a:lnTo>
                    <a:lnTo>
                      <a:pt x="69" y="182"/>
                    </a:lnTo>
                    <a:lnTo>
                      <a:pt x="73" y="186"/>
                    </a:lnTo>
                    <a:lnTo>
                      <a:pt x="77" y="184"/>
                    </a:lnTo>
                    <a:lnTo>
                      <a:pt x="80" y="188"/>
                    </a:lnTo>
                    <a:lnTo>
                      <a:pt x="86" y="188"/>
                    </a:lnTo>
                    <a:lnTo>
                      <a:pt x="88" y="189"/>
                    </a:lnTo>
                    <a:lnTo>
                      <a:pt x="91" y="186"/>
                    </a:lnTo>
                    <a:lnTo>
                      <a:pt x="100" y="186"/>
                    </a:lnTo>
                    <a:lnTo>
                      <a:pt x="103" y="187"/>
                    </a:lnTo>
                    <a:lnTo>
                      <a:pt x="108" y="187"/>
                    </a:lnTo>
                    <a:lnTo>
                      <a:pt x="113" y="190"/>
                    </a:lnTo>
                    <a:lnTo>
                      <a:pt x="122" y="189"/>
                    </a:lnTo>
                    <a:lnTo>
                      <a:pt x="128" y="193"/>
                    </a:lnTo>
                    <a:lnTo>
                      <a:pt x="130" y="194"/>
                    </a:lnTo>
                    <a:lnTo>
                      <a:pt x="130" y="192"/>
                    </a:lnTo>
                    <a:lnTo>
                      <a:pt x="128" y="186"/>
                    </a:lnTo>
                    <a:lnTo>
                      <a:pt x="130" y="181"/>
                    </a:lnTo>
                    <a:lnTo>
                      <a:pt x="130" y="178"/>
                    </a:lnTo>
                    <a:lnTo>
                      <a:pt x="135" y="174"/>
                    </a:lnTo>
                    <a:lnTo>
                      <a:pt x="141" y="167"/>
                    </a:lnTo>
                    <a:lnTo>
                      <a:pt x="144" y="167"/>
                    </a:lnTo>
                    <a:lnTo>
                      <a:pt x="145" y="169"/>
                    </a:lnTo>
                    <a:lnTo>
                      <a:pt x="149" y="169"/>
                    </a:lnTo>
                    <a:lnTo>
                      <a:pt x="154" y="172"/>
                    </a:lnTo>
                    <a:lnTo>
                      <a:pt x="157" y="172"/>
                    </a:lnTo>
                    <a:lnTo>
                      <a:pt x="160" y="170"/>
                    </a:lnTo>
                    <a:lnTo>
                      <a:pt x="163" y="170"/>
                    </a:lnTo>
                    <a:lnTo>
                      <a:pt x="173" y="177"/>
                    </a:lnTo>
                    <a:lnTo>
                      <a:pt x="176" y="179"/>
                    </a:lnTo>
                    <a:lnTo>
                      <a:pt x="185" y="180"/>
                    </a:lnTo>
                    <a:lnTo>
                      <a:pt x="188" y="177"/>
                    </a:lnTo>
                    <a:lnTo>
                      <a:pt x="188" y="175"/>
                    </a:lnTo>
                    <a:lnTo>
                      <a:pt x="190" y="171"/>
                    </a:lnTo>
                    <a:lnTo>
                      <a:pt x="202" y="162"/>
                    </a:lnTo>
                    <a:lnTo>
                      <a:pt x="203" y="162"/>
                    </a:lnTo>
                    <a:lnTo>
                      <a:pt x="202" y="159"/>
                    </a:lnTo>
                    <a:lnTo>
                      <a:pt x="204" y="153"/>
                    </a:lnTo>
                    <a:lnTo>
                      <a:pt x="198" y="153"/>
                    </a:lnTo>
                    <a:lnTo>
                      <a:pt x="192" y="149"/>
                    </a:lnTo>
                    <a:lnTo>
                      <a:pt x="192" y="140"/>
                    </a:lnTo>
                    <a:lnTo>
                      <a:pt x="188" y="136"/>
                    </a:lnTo>
                    <a:lnTo>
                      <a:pt x="190" y="133"/>
                    </a:lnTo>
                    <a:lnTo>
                      <a:pt x="194" y="132"/>
                    </a:lnTo>
                    <a:lnTo>
                      <a:pt x="195" y="126"/>
                    </a:lnTo>
                    <a:lnTo>
                      <a:pt x="192" y="123"/>
                    </a:lnTo>
                    <a:lnTo>
                      <a:pt x="191" y="119"/>
                    </a:lnTo>
                    <a:lnTo>
                      <a:pt x="193" y="117"/>
                    </a:lnTo>
                    <a:lnTo>
                      <a:pt x="193" y="117"/>
                    </a:lnTo>
                    <a:lnTo>
                      <a:pt x="193" y="117"/>
                    </a:lnTo>
                    <a:lnTo>
                      <a:pt x="193" y="117"/>
                    </a:lnTo>
                    <a:close/>
                    <a:moveTo>
                      <a:pt x="231" y="215"/>
                    </a:moveTo>
                    <a:lnTo>
                      <a:pt x="226" y="212"/>
                    </a:lnTo>
                    <a:lnTo>
                      <a:pt x="225" y="211"/>
                    </a:lnTo>
                    <a:lnTo>
                      <a:pt x="227" y="209"/>
                    </a:lnTo>
                    <a:lnTo>
                      <a:pt x="228" y="209"/>
                    </a:lnTo>
                    <a:lnTo>
                      <a:pt x="227" y="207"/>
                    </a:lnTo>
                    <a:lnTo>
                      <a:pt x="226" y="207"/>
                    </a:lnTo>
                    <a:lnTo>
                      <a:pt x="226" y="205"/>
                    </a:lnTo>
                    <a:lnTo>
                      <a:pt x="223" y="203"/>
                    </a:lnTo>
                    <a:lnTo>
                      <a:pt x="222" y="202"/>
                    </a:lnTo>
                    <a:lnTo>
                      <a:pt x="223" y="202"/>
                    </a:lnTo>
                    <a:lnTo>
                      <a:pt x="223" y="200"/>
                    </a:lnTo>
                    <a:lnTo>
                      <a:pt x="221" y="199"/>
                    </a:lnTo>
                    <a:lnTo>
                      <a:pt x="220" y="196"/>
                    </a:lnTo>
                    <a:lnTo>
                      <a:pt x="222" y="196"/>
                    </a:lnTo>
                    <a:lnTo>
                      <a:pt x="223" y="194"/>
                    </a:lnTo>
                    <a:lnTo>
                      <a:pt x="221" y="193"/>
                    </a:lnTo>
                    <a:lnTo>
                      <a:pt x="223" y="188"/>
                    </a:lnTo>
                    <a:lnTo>
                      <a:pt x="229" y="186"/>
                    </a:lnTo>
                    <a:lnTo>
                      <a:pt x="231" y="184"/>
                    </a:lnTo>
                    <a:lnTo>
                      <a:pt x="233" y="186"/>
                    </a:lnTo>
                    <a:lnTo>
                      <a:pt x="234" y="186"/>
                    </a:lnTo>
                    <a:lnTo>
                      <a:pt x="235" y="183"/>
                    </a:lnTo>
                    <a:lnTo>
                      <a:pt x="234" y="181"/>
                    </a:lnTo>
                    <a:lnTo>
                      <a:pt x="234" y="178"/>
                    </a:lnTo>
                    <a:lnTo>
                      <a:pt x="236" y="178"/>
                    </a:lnTo>
                    <a:lnTo>
                      <a:pt x="237" y="183"/>
                    </a:lnTo>
                    <a:lnTo>
                      <a:pt x="237" y="187"/>
                    </a:lnTo>
                    <a:lnTo>
                      <a:pt x="239" y="195"/>
                    </a:lnTo>
                    <a:lnTo>
                      <a:pt x="237" y="203"/>
                    </a:lnTo>
                    <a:lnTo>
                      <a:pt x="237" y="207"/>
                    </a:lnTo>
                    <a:lnTo>
                      <a:pt x="235" y="213"/>
                    </a:lnTo>
                    <a:lnTo>
                      <a:pt x="231" y="215"/>
                    </a:lnTo>
                    <a:lnTo>
                      <a:pt x="231" y="215"/>
                    </a:lnTo>
                    <a:close/>
                  </a:path>
                </a:pathLst>
              </a:custGeom>
              <a:solidFill>
                <a:srgbClr val="65625E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993" name="Freeform 396"/>
              <p:cNvSpPr>
                <a:spLocks noEditPoints="1"/>
              </p:cNvSpPr>
              <p:nvPr userDrawn="1"/>
            </p:nvSpPr>
            <p:spPr bwMode="auto">
              <a:xfrm>
                <a:off x="3309" y="2092"/>
                <a:ext cx="227" cy="166"/>
              </a:xfrm>
              <a:custGeom>
                <a:avLst/>
                <a:gdLst>
                  <a:gd name="T0" fmla="*/ 139 w 238"/>
                  <a:gd name="T1" fmla="*/ 11 h 173"/>
                  <a:gd name="T2" fmla="*/ 141 w 238"/>
                  <a:gd name="T3" fmla="*/ 19 h 173"/>
                  <a:gd name="T4" fmla="*/ 158 w 238"/>
                  <a:gd name="T5" fmla="*/ 25 h 173"/>
                  <a:gd name="T6" fmla="*/ 172 w 238"/>
                  <a:gd name="T7" fmla="*/ 27 h 173"/>
                  <a:gd name="T8" fmla="*/ 186 w 238"/>
                  <a:gd name="T9" fmla="*/ 25 h 173"/>
                  <a:gd name="T10" fmla="*/ 200 w 238"/>
                  <a:gd name="T11" fmla="*/ 29 h 173"/>
                  <a:gd name="T12" fmla="*/ 218 w 238"/>
                  <a:gd name="T13" fmla="*/ 33 h 173"/>
                  <a:gd name="T14" fmla="*/ 216 w 238"/>
                  <a:gd name="T15" fmla="*/ 42 h 173"/>
                  <a:gd name="T16" fmla="*/ 207 w 238"/>
                  <a:gd name="T17" fmla="*/ 55 h 173"/>
                  <a:gd name="T18" fmla="*/ 190 w 238"/>
                  <a:gd name="T19" fmla="*/ 61 h 173"/>
                  <a:gd name="T20" fmla="*/ 183 w 238"/>
                  <a:gd name="T21" fmla="*/ 68 h 173"/>
                  <a:gd name="T22" fmla="*/ 179 w 238"/>
                  <a:gd name="T23" fmla="*/ 73 h 173"/>
                  <a:gd name="T24" fmla="*/ 172 w 238"/>
                  <a:gd name="T25" fmla="*/ 81 h 173"/>
                  <a:gd name="T26" fmla="*/ 158 w 238"/>
                  <a:gd name="T27" fmla="*/ 98 h 173"/>
                  <a:gd name="T28" fmla="*/ 165 w 238"/>
                  <a:gd name="T29" fmla="*/ 108 h 173"/>
                  <a:gd name="T30" fmla="*/ 159 w 238"/>
                  <a:gd name="T31" fmla="*/ 120 h 173"/>
                  <a:gd name="T32" fmla="*/ 153 w 238"/>
                  <a:gd name="T33" fmla="*/ 138 h 173"/>
                  <a:gd name="T34" fmla="*/ 146 w 238"/>
                  <a:gd name="T35" fmla="*/ 142 h 173"/>
                  <a:gd name="T36" fmla="*/ 130 w 238"/>
                  <a:gd name="T37" fmla="*/ 158 h 173"/>
                  <a:gd name="T38" fmla="*/ 121 w 238"/>
                  <a:gd name="T39" fmla="*/ 157 h 173"/>
                  <a:gd name="T40" fmla="*/ 111 w 238"/>
                  <a:gd name="T41" fmla="*/ 157 h 173"/>
                  <a:gd name="T42" fmla="*/ 96 w 238"/>
                  <a:gd name="T43" fmla="*/ 156 h 173"/>
                  <a:gd name="T44" fmla="*/ 80 w 238"/>
                  <a:gd name="T45" fmla="*/ 164 h 173"/>
                  <a:gd name="T46" fmla="*/ 70 w 238"/>
                  <a:gd name="T47" fmla="*/ 170 h 173"/>
                  <a:gd name="T48" fmla="*/ 52 w 238"/>
                  <a:gd name="T49" fmla="*/ 166 h 173"/>
                  <a:gd name="T50" fmla="*/ 41 w 238"/>
                  <a:gd name="T51" fmla="*/ 149 h 173"/>
                  <a:gd name="T52" fmla="*/ 33 w 238"/>
                  <a:gd name="T53" fmla="*/ 143 h 173"/>
                  <a:gd name="T54" fmla="*/ 39 w 238"/>
                  <a:gd name="T55" fmla="*/ 127 h 173"/>
                  <a:gd name="T56" fmla="*/ 33 w 238"/>
                  <a:gd name="T57" fmla="*/ 118 h 173"/>
                  <a:gd name="T58" fmla="*/ 34 w 238"/>
                  <a:gd name="T59" fmla="*/ 102 h 173"/>
                  <a:gd name="T60" fmla="*/ 37 w 238"/>
                  <a:gd name="T61" fmla="*/ 92 h 173"/>
                  <a:gd name="T62" fmla="*/ 43 w 238"/>
                  <a:gd name="T63" fmla="*/ 78 h 173"/>
                  <a:gd name="T64" fmla="*/ 50 w 238"/>
                  <a:gd name="T65" fmla="*/ 55 h 173"/>
                  <a:gd name="T66" fmla="*/ 50 w 238"/>
                  <a:gd name="T67" fmla="*/ 46 h 173"/>
                  <a:gd name="T68" fmla="*/ 36 w 238"/>
                  <a:gd name="T69" fmla="*/ 44 h 173"/>
                  <a:gd name="T70" fmla="*/ 18 w 238"/>
                  <a:gd name="T71" fmla="*/ 42 h 173"/>
                  <a:gd name="T72" fmla="*/ 7 w 238"/>
                  <a:gd name="T73" fmla="*/ 39 h 173"/>
                  <a:gd name="T74" fmla="*/ 8 w 238"/>
                  <a:gd name="T75" fmla="*/ 33 h 173"/>
                  <a:gd name="T76" fmla="*/ 9 w 238"/>
                  <a:gd name="T77" fmla="*/ 26 h 173"/>
                  <a:gd name="T78" fmla="*/ 6 w 238"/>
                  <a:gd name="T79" fmla="*/ 23 h 173"/>
                  <a:gd name="T80" fmla="*/ 2 w 238"/>
                  <a:gd name="T81" fmla="*/ 21 h 173"/>
                  <a:gd name="T82" fmla="*/ 10 w 238"/>
                  <a:gd name="T83" fmla="*/ 10 h 173"/>
                  <a:gd name="T84" fmla="*/ 21 w 238"/>
                  <a:gd name="T85" fmla="*/ 9 h 173"/>
                  <a:gd name="T86" fmla="*/ 25 w 238"/>
                  <a:gd name="T87" fmla="*/ 1 h 173"/>
                  <a:gd name="T88" fmla="*/ 34 w 238"/>
                  <a:gd name="T89" fmla="*/ 1 h 173"/>
                  <a:gd name="T90" fmla="*/ 45 w 238"/>
                  <a:gd name="T91" fmla="*/ 3 h 173"/>
                  <a:gd name="T92" fmla="*/ 61 w 238"/>
                  <a:gd name="T93" fmla="*/ 1 h 173"/>
                  <a:gd name="T94" fmla="*/ 81 w 238"/>
                  <a:gd name="T95" fmla="*/ 8 h 173"/>
                  <a:gd name="T96" fmla="*/ 103 w 238"/>
                  <a:gd name="T97" fmla="*/ 6 h 173"/>
                  <a:gd name="T98" fmla="*/ 115 w 238"/>
                  <a:gd name="T99" fmla="*/ 7 h 173"/>
                  <a:gd name="T100" fmla="*/ 131 w 238"/>
                  <a:gd name="T101" fmla="*/ 10 h 173"/>
                  <a:gd name="T102" fmla="*/ 228 w 238"/>
                  <a:gd name="T103" fmla="*/ 90 h 173"/>
                  <a:gd name="T104" fmla="*/ 238 w 238"/>
                  <a:gd name="T105" fmla="*/ 90 h 173"/>
                  <a:gd name="T106" fmla="*/ 228 w 238"/>
                  <a:gd name="T107" fmla="*/ 90 h 173"/>
                  <a:gd name="T108" fmla="*/ 223 w 238"/>
                  <a:gd name="T109" fmla="*/ 94 h 173"/>
                  <a:gd name="T110" fmla="*/ 211 w 238"/>
                  <a:gd name="T111" fmla="*/ 95 h 173"/>
                  <a:gd name="T112" fmla="*/ 217 w 238"/>
                  <a:gd name="T113" fmla="*/ 102 h 173"/>
                  <a:gd name="T114" fmla="*/ 198 w 238"/>
                  <a:gd name="T115" fmla="*/ 110 h 173"/>
                  <a:gd name="T116" fmla="*/ 190 w 238"/>
                  <a:gd name="T117" fmla="*/ 112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38" h="173">
                    <a:moveTo>
                      <a:pt x="135" y="9"/>
                    </a:moveTo>
                    <a:cubicBezTo>
                      <a:pt x="138" y="10"/>
                      <a:pt x="138" y="10"/>
                      <a:pt x="138" y="10"/>
                    </a:cubicBezTo>
                    <a:cubicBezTo>
                      <a:pt x="139" y="11"/>
                      <a:pt x="139" y="11"/>
                      <a:pt x="139" y="11"/>
                    </a:cubicBezTo>
                    <a:cubicBezTo>
                      <a:pt x="141" y="12"/>
                      <a:pt x="141" y="12"/>
                      <a:pt x="141" y="12"/>
                    </a:cubicBezTo>
                    <a:cubicBezTo>
                      <a:pt x="142" y="16"/>
                      <a:pt x="142" y="16"/>
                      <a:pt x="142" y="16"/>
                    </a:cubicBezTo>
                    <a:cubicBezTo>
                      <a:pt x="141" y="19"/>
                      <a:pt x="141" y="19"/>
                      <a:pt x="141" y="19"/>
                    </a:cubicBezTo>
                    <a:cubicBezTo>
                      <a:pt x="147" y="18"/>
                      <a:pt x="147" y="18"/>
                      <a:pt x="147" y="18"/>
                    </a:cubicBezTo>
                    <a:cubicBezTo>
                      <a:pt x="154" y="21"/>
                      <a:pt x="154" y="21"/>
                      <a:pt x="154" y="21"/>
                    </a:cubicBezTo>
                    <a:cubicBezTo>
                      <a:pt x="158" y="25"/>
                      <a:pt x="158" y="25"/>
                      <a:pt x="158" y="25"/>
                    </a:cubicBezTo>
                    <a:cubicBezTo>
                      <a:pt x="162" y="23"/>
                      <a:pt x="162" y="23"/>
                      <a:pt x="162" y="23"/>
                    </a:cubicBezTo>
                    <a:cubicBezTo>
                      <a:pt x="166" y="27"/>
                      <a:pt x="166" y="27"/>
                      <a:pt x="166" y="27"/>
                    </a:cubicBezTo>
                    <a:cubicBezTo>
                      <a:pt x="172" y="27"/>
                      <a:pt x="172" y="27"/>
                      <a:pt x="172" y="27"/>
                    </a:cubicBezTo>
                    <a:cubicBezTo>
                      <a:pt x="174" y="28"/>
                      <a:pt x="174" y="28"/>
                      <a:pt x="174" y="28"/>
                    </a:cubicBezTo>
                    <a:cubicBezTo>
                      <a:pt x="177" y="25"/>
                      <a:pt x="177" y="25"/>
                      <a:pt x="177" y="25"/>
                    </a:cubicBezTo>
                    <a:cubicBezTo>
                      <a:pt x="186" y="25"/>
                      <a:pt x="186" y="25"/>
                      <a:pt x="186" y="25"/>
                    </a:cubicBezTo>
                    <a:cubicBezTo>
                      <a:pt x="190" y="26"/>
                      <a:pt x="190" y="26"/>
                      <a:pt x="190" y="26"/>
                    </a:cubicBezTo>
                    <a:cubicBezTo>
                      <a:pt x="195" y="26"/>
                      <a:pt x="195" y="26"/>
                      <a:pt x="195" y="26"/>
                    </a:cubicBezTo>
                    <a:cubicBezTo>
                      <a:pt x="200" y="29"/>
                      <a:pt x="200" y="29"/>
                      <a:pt x="200" y="29"/>
                    </a:cubicBezTo>
                    <a:cubicBezTo>
                      <a:pt x="209" y="28"/>
                      <a:pt x="209" y="28"/>
                      <a:pt x="209" y="28"/>
                    </a:cubicBezTo>
                    <a:cubicBezTo>
                      <a:pt x="216" y="32"/>
                      <a:pt x="216" y="32"/>
                      <a:pt x="216" y="32"/>
                    </a:cubicBezTo>
                    <a:cubicBezTo>
                      <a:pt x="218" y="33"/>
                      <a:pt x="218" y="33"/>
                      <a:pt x="218" y="33"/>
                    </a:cubicBezTo>
                    <a:cubicBezTo>
                      <a:pt x="218" y="35"/>
                      <a:pt x="218" y="35"/>
                      <a:pt x="218" y="35"/>
                    </a:cubicBezTo>
                    <a:cubicBezTo>
                      <a:pt x="215" y="37"/>
                      <a:pt x="215" y="37"/>
                      <a:pt x="215" y="37"/>
                    </a:cubicBezTo>
                    <a:cubicBezTo>
                      <a:pt x="216" y="42"/>
                      <a:pt x="216" y="42"/>
                      <a:pt x="216" y="42"/>
                    </a:cubicBezTo>
                    <a:cubicBezTo>
                      <a:pt x="216" y="47"/>
                      <a:pt x="216" y="47"/>
                      <a:pt x="216" y="47"/>
                    </a:cubicBezTo>
                    <a:cubicBezTo>
                      <a:pt x="214" y="51"/>
                      <a:pt x="214" y="51"/>
                      <a:pt x="214" y="51"/>
                    </a:cubicBezTo>
                    <a:cubicBezTo>
                      <a:pt x="207" y="55"/>
                      <a:pt x="207" y="55"/>
                      <a:pt x="207" y="55"/>
                    </a:cubicBezTo>
                    <a:cubicBezTo>
                      <a:pt x="207" y="55"/>
                      <a:pt x="204" y="59"/>
                      <a:pt x="203" y="59"/>
                    </a:cubicBezTo>
                    <a:cubicBezTo>
                      <a:pt x="197" y="61"/>
                      <a:pt x="197" y="61"/>
                      <a:pt x="197" y="61"/>
                    </a:cubicBezTo>
                    <a:cubicBezTo>
                      <a:pt x="190" y="61"/>
                      <a:pt x="190" y="61"/>
                      <a:pt x="190" y="61"/>
                    </a:cubicBezTo>
                    <a:cubicBezTo>
                      <a:pt x="185" y="64"/>
                      <a:pt x="185" y="64"/>
                      <a:pt x="185" y="64"/>
                    </a:cubicBezTo>
                    <a:cubicBezTo>
                      <a:pt x="181" y="66"/>
                      <a:pt x="181" y="66"/>
                      <a:pt x="181" y="66"/>
                    </a:cubicBezTo>
                    <a:cubicBezTo>
                      <a:pt x="183" y="68"/>
                      <a:pt x="183" y="68"/>
                      <a:pt x="183" y="68"/>
                    </a:cubicBezTo>
                    <a:cubicBezTo>
                      <a:pt x="182" y="72"/>
                      <a:pt x="182" y="72"/>
                      <a:pt x="182" y="72"/>
                    </a:cubicBezTo>
                    <a:cubicBezTo>
                      <a:pt x="179" y="74"/>
                      <a:pt x="179" y="74"/>
                      <a:pt x="179" y="74"/>
                    </a:cubicBezTo>
                    <a:cubicBezTo>
                      <a:pt x="179" y="73"/>
                      <a:pt x="179" y="73"/>
                      <a:pt x="179" y="73"/>
                    </a:cubicBezTo>
                    <a:cubicBezTo>
                      <a:pt x="179" y="73"/>
                      <a:pt x="179" y="73"/>
                      <a:pt x="179" y="73"/>
                    </a:cubicBezTo>
                    <a:cubicBezTo>
                      <a:pt x="177" y="72"/>
                      <a:pt x="177" y="72"/>
                      <a:pt x="177" y="72"/>
                    </a:cubicBezTo>
                    <a:cubicBezTo>
                      <a:pt x="172" y="81"/>
                      <a:pt x="172" y="81"/>
                      <a:pt x="172" y="81"/>
                    </a:cubicBezTo>
                    <a:cubicBezTo>
                      <a:pt x="168" y="83"/>
                      <a:pt x="168" y="83"/>
                      <a:pt x="168" y="83"/>
                    </a:cubicBezTo>
                    <a:cubicBezTo>
                      <a:pt x="160" y="95"/>
                      <a:pt x="160" y="95"/>
                      <a:pt x="160" y="95"/>
                    </a:cubicBezTo>
                    <a:cubicBezTo>
                      <a:pt x="158" y="98"/>
                      <a:pt x="158" y="98"/>
                      <a:pt x="158" y="98"/>
                    </a:cubicBezTo>
                    <a:cubicBezTo>
                      <a:pt x="162" y="103"/>
                      <a:pt x="162" y="103"/>
                      <a:pt x="162" y="103"/>
                    </a:cubicBezTo>
                    <a:cubicBezTo>
                      <a:pt x="162" y="107"/>
                      <a:pt x="162" y="107"/>
                      <a:pt x="162" y="107"/>
                    </a:cubicBezTo>
                    <a:cubicBezTo>
                      <a:pt x="165" y="108"/>
                      <a:pt x="165" y="108"/>
                      <a:pt x="165" y="108"/>
                    </a:cubicBezTo>
                    <a:cubicBezTo>
                      <a:pt x="170" y="115"/>
                      <a:pt x="170" y="115"/>
                      <a:pt x="170" y="115"/>
                    </a:cubicBezTo>
                    <a:cubicBezTo>
                      <a:pt x="166" y="118"/>
                      <a:pt x="166" y="118"/>
                      <a:pt x="166" y="118"/>
                    </a:cubicBezTo>
                    <a:cubicBezTo>
                      <a:pt x="159" y="120"/>
                      <a:pt x="159" y="120"/>
                      <a:pt x="159" y="120"/>
                    </a:cubicBezTo>
                    <a:cubicBezTo>
                      <a:pt x="160" y="124"/>
                      <a:pt x="160" y="124"/>
                      <a:pt x="160" y="124"/>
                    </a:cubicBezTo>
                    <a:cubicBezTo>
                      <a:pt x="154" y="133"/>
                      <a:pt x="154" y="133"/>
                      <a:pt x="154" y="133"/>
                    </a:cubicBezTo>
                    <a:cubicBezTo>
                      <a:pt x="153" y="138"/>
                      <a:pt x="153" y="138"/>
                      <a:pt x="153" y="138"/>
                    </a:cubicBezTo>
                    <a:cubicBezTo>
                      <a:pt x="154" y="140"/>
                      <a:pt x="154" y="140"/>
                      <a:pt x="154" y="140"/>
                    </a:cubicBezTo>
                    <a:cubicBezTo>
                      <a:pt x="153" y="142"/>
                      <a:pt x="153" y="142"/>
                      <a:pt x="153" y="142"/>
                    </a:cubicBezTo>
                    <a:cubicBezTo>
                      <a:pt x="146" y="142"/>
                      <a:pt x="146" y="142"/>
                      <a:pt x="146" y="142"/>
                    </a:cubicBezTo>
                    <a:cubicBezTo>
                      <a:pt x="135" y="148"/>
                      <a:pt x="135" y="148"/>
                      <a:pt x="135" y="148"/>
                    </a:cubicBezTo>
                    <a:cubicBezTo>
                      <a:pt x="135" y="151"/>
                      <a:pt x="135" y="151"/>
                      <a:pt x="135" y="151"/>
                    </a:cubicBezTo>
                    <a:cubicBezTo>
                      <a:pt x="130" y="158"/>
                      <a:pt x="130" y="158"/>
                      <a:pt x="130" y="158"/>
                    </a:cubicBezTo>
                    <a:cubicBezTo>
                      <a:pt x="126" y="157"/>
                      <a:pt x="126" y="157"/>
                      <a:pt x="126" y="157"/>
                    </a:cubicBezTo>
                    <a:cubicBezTo>
                      <a:pt x="122" y="153"/>
                      <a:pt x="122" y="153"/>
                      <a:pt x="122" y="153"/>
                    </a:cubicBezTo>
                    <a:cubicBezTo>
                      <a:pt x="121" y="157"/>
                      <a:pt x="121" y="157"/>
                      <a:pt x="121" y="157"/>
                    </a:cubicBezTo>
                    <a:cubicBezTo>
                      <a:pt x="117" y="159"/>
                      <a:pt x="117" y="159"/>
                      <a:pt x="117" y="159"/>
                    </a:cubicBezTo>
                    <a:cubicBezTo>
                      <a:pt x="114" y="157"/>
                      <a:pt x="114" y="157"/>
                      <a:pt x="114" y="157"/>
                    </a:cubicBezTo>
                    <a:cubicBezTo>
                      <a:pt x="111" y="157"/>
                      <a:pt x="111" y="157"/>
                      <a:pt x="111" y="157"/>
                    </a:cubicBezTo>
                    <a:cubicBezTo>
                      <a:pt x="110" y="158"/>
                      <a:pt x="110" y="158"/>
                      <a:pt x="110" y="158"/>
                    </a:cubicBezTo>
                    <a:cubicBezTo>
                      <a:pt x="104" y="158"/>
                      <a:pt x="104" y="158"/>
                      <a:pt x="104" y="158"/>
                    </a:cubicBezTo>
                    <a:cubicBezTo>
                      <a:pt x="96" y="156"/>
                      <a:pt x="96" y="156"/>
                      <a:pt x="96" y="156"/>
                    </a:cubicBezTo>
                    <a:cubicBezTo>
                      <a:pt x="93" y="157"/>
                      <a:pt x="93" y="157"/>
                      <a:pt x="93" y="157"/>
                    </a:cubicBezTo>
                    <a:cubicBezTo>
                      <a:pt x="86" y="158"/>
                      <a:pt x="86" y="158"/>
                      <a:pt x="86" y="158"/>
                    </a:cubicBezTo>
                    <a:cubicBezTo>
                      <a:pt x="80" y="164"/>
                      <a:pt x="80" y="164"/>
                      <a:pt x="80" y="164"/>
                    </a:cubicBezTo>
                    <a:cubicBezTo>
                      <a:pt x="73" y="165"/>
                      <a:pt x="73" y="165"/>
                      <a:pt x="73" y="165"/>
                    </a:cubicBezTo>
                    <a:cubicBezTo>
                      <a:pt x="71" y="167"/>
                      <a:pt x="71" y="167"/>
                      <a:pt x="71" y="167"/>
                    </a:cubicBezTo>
                    <a:cubicBezTo>
                      <a:pt x="70" y="170"/>
                      <a:pt x="70" y="170"/>
                      <a:pt x="70" y="170"/>
                    </a:cubicBezTo>
                    <a:cubicBezTo>
                      <a:pt x="65" y="173"/>
                      <a:pt x="65" y="173"/>
                      <a:pt x="65" y="173"/>
                    </a:cubicBezTo>
                    <a:cubicBezTo>
                      <a:pt x="59" y="172"/>
                      <a:pt x="59" y="172"/>
                      <a:pt x="59" y="172"/>
                    </a:cubicBezTo>
                    <a:cubicBezTo>
                      <a:pt x="52" y="166"/>
                      <a:pt x="52" y="166"/>
                      <a:pt x="52" y="166"/>
                    </a:cubicBezTo>
                    <a:cubicBezTo>
                      <a:pt x="49" y="157"/>
                      <a:pt x="49" y="157"/>
                      <a:pt x="49" y="157"/>
                    </a:cubicBezTo>
                    <a:cubicBezTo>
                      <a:pt x="49" y="156"/>
                      <a:pt x="49" y="156"/>
                      <a:pt x="49" y="156"/>
                    </a:cubicBezTo>
                    <a:cubicBezTo>
                      <a:pt x="41" y="149"/>
                      <a:pt x="41" y="149"/>
                      <a:pt x="41" y="149"/>
                    </a:cubicBezTo>
                    <a:cubicBezTo>
                      <a:pt x="36" y="148"/>
                      <a:pt x="36" y="148"/>
                      <a:pt x="36" y="148"/>
                    </a:cubicBezTo>
                    <a:cubicBezTo>
                      <a:pt x="33" y="147"/>
                      <a:pt x="33" y="147"/>
                      <a:pt x="33" y="147"/>
                    </a:cubicBezTo>
                    <a:cubicBezTo>
                      <a:pt x="33" y="143"/>
                      <a:pt x="33" y="143"/>
                      <a:pt x="33" y="143"/>
                    </a:cubicBezTo>
                    <a:cubicBezTo>
                      <a:pt x="30" y="139"/>
                      <a:pt x="30" y="139"/>
                      <a:pt x="30" y="139"/>
                    </a:cubicBezTo>
                    <a:cubicBezTo>
                      <a:pt x="34" y="131"/>
                      <a:pt x="34" y="131"/>
                      <a:pt x="34" y="131"/>
                    </a:cubicBezTo>
                    <a:cubicBezTo>
                      <a:pt x="39" y="127"/>
                      <a:pt x="39" y="127"/>
                      <a:pt x="39" y="127"/>
                    </a:cubicBezTo>
                    <a:cubicBezTo>
                      <a:pt x="39" y="124"/>
                      <a:pt x="39" y="124"/>
                      <a:pt x="39" y="124"/>
                    </a:cubicBezTo>
                    <a:cubicBezTo>
                      <a:pt x="35" y="123"/>
                      <a:pt x="35" y="123"/>
                      <a:pt x="35" y="123"/>
                    </a:cubicBezTo>
                    <a:cubicBezTo>
                      <a:pt x="33" y="118"/>
                      <a:pt x="33" y="118"/>
                      <a:pt x="33" y="118"/>
                    </a:cubicBezTo>
                    <a:cubicBezTo>
                      <a:pt x="39" y="112"/>
                      <a:pt x="39" y="112"/>
                      <a:pt x="39" y="112"/>
                    </a:cubicBezTo>
                    <a:cubicBezTo>
                      <a:pt x="38" y="105"/>
                      <a:pt x="38" y="105"/>
                      <a:pt x="38" y="105"/>
                    </a:cubicBezTo>
                    <a:cubicBezTo>
                      <a:pt x="34" y="102"/>
                      <a:pt x="34" y="102"/>
                      <a:pt x="34" y="102"/>
                    </a:cubicBezTo>
                    <a:cubicBezTo>
                      <a:pt x="29" y="93"/>
                      <a:pt x="29" y="93"/>
                      <a:pt x="29" y="93"/>
                    </a:cubicBezTo>
                    <a:cubicBezTo>
                      <a:pt x="34" y="92"/>
                      <a:pt x="34" y="92"/>
                      <a:pt x="34" y="92"/>
                    </a:cubicBezTo>
                    <a:cubicBezTo>
                      <a:pt x="37" y="92"/>
                      <a:pt x="37" y="92"/>
                      <a:pt x="37" y="92"/>
                    </a:cubicBezTo>
                    <a:cubicBezTo>
                      <a:pt x="42" y="86"/>
                      <a:pt x="42" y="86"/>
                      <a:pt x="42" y="86"/>
                    </a:cubicBezTo>
                    <a:cubicBezTo>
                      <a:pt x="39" y="82"/>
                      <a:pt x="39" y="82"/>
                      <a:pt x="39" y="82"/>
                    </a:cubicBezTo>
                    <a:cubicBezTo>
                      <a:pt x="43" y="78"/>
                      <a:pt x="43" y="78"/>
                      <a:pt x="43" y="78"/>
                    </a:cubicBezTo>
                    <a:cubicBezTo>
                      <a:pt x="43" y="67"/>
                      <a:pt x="43" y="67"/>
                      <a:pt x="43" y="67"/>
                    </a:cubicBezTo>
                    <a:cubicBezTo>
                      <a:pt x="42" y="62"/>
                      <a:pt x="42" y="62"/>
                      <a:pt x="42" y="62"/>
                    </a:cubicBezTo>
                    <a:cubicBezTo>
                      <a:pt x="50" y="55"/>
                      <a:pt x="50" y="55"/>
                      <a:pt x="50" y="55"/>
                    </a:cubicBezTo>
                    <a:cubicBezTo>
                      <a:pt x="52" y="55"/>
                      <a:pt x="52" y="55"/>
                      <a:pt x="52" y="55"/>
                    </a:cubicBezTo>
                    <a:cubicBezTo>
                      <a:pt x="54" y="51"/>
                      <a:pt x="54" y="51"/>
                      <a:pt x="54" y="51"/>
                    </a:cubicBezTo>
                    <a:cubicBezTo>
                      <a:pt x="50" y="46"/>
                      <a:pt x="50" y="46"/>
                      <a:pt x="50" y="46"/>
                    </a:cubicBezTo>
                    <a:cubicBezTo>
                      <a:pt x="49" y="41"/>
                      <a:pt x="49" y="41"/>
                      <a:pt x="49" y="41"/>
                    </a:cubicBezTo>
                    <a:cubicBezTo>
                      <a:pt x="40" y="40"/>
                      <a:pt x="40" y="40"/>
                      <a:pt x="40" y="40"/>
                    </a:cubicBezTo>
                    <a:cubicBezTo>
                      <a:pt x="36" y="44"/>
                      <a:pt x="36" y="44"/>
                      <a:pt x="36" y="44"/>
                    </a:cubicBezTo>
                    <a:cubicBezTo>
                      <a:pt x="26" y="42"/>
                      <a:pt x="26" y="42"/>
                      <a:pt x="26" y="42"/>
                    </a:cubicBezTo>
                    <a:cubicBezTo>
                      <a:pt x="19" y="45"/>
                      <a:pt x="19" y="45"/>
                      <a:pt x="19" y="45"/>
                    </a:cubicBezTo>
                    <a:cubicBezTo>
                      <a:pt x="18" y="42"/>
                      <a:pt x="18" y="42"/>
                      <a:pt x="18" y="42"/>
                    </a:cubicBezTo>
                    <a:cubicBezTo>
                      <a:pt x="18" y="38"/>
                      <a:pt x="18" y="38"/>
                      <a:pt x="18" y="38"/>
                    </a:cubicBezTo>
                    <a:cubicBezTo>
                      <a:pt x="15" y="37"/>
                      <a:pt x="15" y="37"/>
                      <a:pt x="15" y="37"/>
                    </a:cubicBezTo>
                    <a:cubicBezTo>
                      <a:pt x="7" y="39"/>
                      <a:pt x="7" y="39"/>
                      <a:pt x="7" y="39"/>
                    </a:cubicBezTo>
                    <a:cubicBezTo>
                      <a:pt x="6" y="38"/>
                      <a:pt x="6" y="38"/>
                      <a:pt x="6" y="38"/>
                    </a:cubicBezTo>
                    <a:cubicBezTo>
                      <a:pt x="11" y="34"/>
                      <a:pt x="11" y="34"/>
                      <a:pt x="11" y="34"/>
                    </a:cubicBezTo>
                    <a:cubicBezTo>
                      <a:pt x="8" y="33"/>
                      <a:pt x="8" y="33"/>
                      <a:pt x="8" y="33"/>
                    </a:cubicBezTo>
                    <a:cubicBezTo>
                      <a:pt x="10" y="31"/>
                      <a:pt x="10" y="31"/>
                      <a:pt x="10" y="31"/>
                    </a:cubicBezTo>
                    <a:cubicBezTo>
                      <a:pt x="9" y="30"/>
                      <a:pt x="9" y="30"/>
                      <a:pt x="9" y="30"/>
                    </a:cubicBezTo>
                    <a:cubicBezTo>
                      <a:pt x="9" y="26"/>
                      <a:pt x="9" y="26"/>
                      <a:pt x="9" y="26"/>
                    </a:cubicBezTo>
                    <a:cubicBezTo>
                      <a:pt x="6" y="29"/>
                      <a:pt x="6" y="29"/>
                      <a:pt x="6" y="29"/>
                    </a:cubicBezTo>
                    <a:cubicBezTo>
                      <a:pt x="5" y="28"/>
                      <a:pt x="5" y="28"/>
                      <a:pt x="5" y="28"/>
                    </a:cubicBezTo>
                    <a:cubicBezTo>
                      <a:pt x="6" y="23"/>
                      <a:pt x="6" y="23"/>
                      <a:pt x="6" y="23"/>
                    </a:cubicBezTo>
                    <a:cubicBezTo>
                      <a:pt x="4" y="22"/>
                      <a:pt x="4" y="22"/>
                      <a:pt x="4" y="22"/>
                    </a:cubicBezTo>
                    <a:cubicBezTo>
                      <a:pt x="4" y="20"/>
                      <a:pt x="4" y="20"/>
                      <a:pt x="4" y="20"/>
                    </a:cubicBezTo>
                    <a:cubicBezTo>
                      <a:pt x="2" y="21"/>
                      <a:pt x="2" y="21"/>
                      <a:pt x="2" y="21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10" y="10"/>
                      <a:pt x="10" y="10"/>
                      <a:pt x="10" y="10"/>
                    </a:cubicBezTo>
                    <a:cubicBezTo>
                      <a:pt x="12" y="11"/>
                      <a:pt x="12" y="11"/>
                      <a:pt x="12" y="11"/>
                    </a:cubicBezTo>
                    <a:cubicBezTo>
                      <a:pt x="18" y="11"/>
                      <a:pt x="18" y="11"/>
                      <a:pt x="18" y="11"/>
                    </a:cubicBezTo>
                    <a:cubicBezTo>
                      <a:pt x="21" y="9"/>
                      <a:pt x="21" y="9"/>
                      <a:pt x="21" y="9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8" y="5"/>
                      <a:pt x="18" y="5"/>
                      <a:pt x="18" y="5"/>
                    </a:cubicBezTo>
                    <a:cubicBezTo>
                      <a:pt x="25" y="1"/>
                      <a:pt x="25" y="1"/>
                      <a:pt x="25" y="1"/>
                    </a:cubicBezTo>
                    <a:cubicBezTo>
                      <a:pt x="26" y="2"/>
                      <a:pt x="26" y="2"/>
                      <a:pt x="26" y="2"/>
                    </a:cubicBezTo>
                    <a:cubicBezTo>
                      <a:pt x="29" y="0"/>
                      <a:pt x="29" y="0"/>
                      <a:pt x="29" y="0"/>
                    </a:cubicBezTo>
                    <a:cubicBezTo>
                      <a:pt x="34" y="1"/>
                      <a:pt x="34" y="1"/>
                      <a:pt x="34" y="1"/>
                    </a:cubicBezTo>
                    <a:cubicBezTo>
                      <a:pt x="38" y="6"/>
                      <a:pt x="38" y="6"/>
                      <a:pt x="38" y="6"/>
                    </a:cubicBezTo>
                    <a:cubicBezTo>
                      <a:pt x="42" y="3"/>
                      <a:pt x="42" y="3"/>
                      <a:pt x="42" y="3"/>
                    </a:cubicBezTo>
                    <a:cubicBezTo>
                      <a:pt x="45" y="3"/>
                      <a:pt x="45" y="3"/>
                      <a:pt x="45" y="3"/>
                    </a:cubicBezTo>
                    <a:cubicBezTo>
                      <a:pt x="50" y="5"/>
                      <a:pt x="50" y="5"/>
                      <a:pt x="50" y="5"/>
                    </a:cubicBezTo>
                    <a:cubicBezTo>
                      <a:pt x="55" y="3"/>
                      <a:pt x="55" y="3"/>
                      <a:pt x="55" y="3"/>
                    </a:cubicBezTo>
                    <a:cubicBezTo>
                      <a:pt x="61" y="1"/>
                      <a:pt x="61" y="1"/>
                      <a:pt x="61" y="1"/>
                    </a:cubicBezTo>
                    <a:cubicBezTo>
                      <a:pt x="62" y="3"/>
                      <a:pt x="62" y="3"/>
                      <a:pt x="62" y="3"/>
                    </a:cubicBezTo>
                    <a:cubicBezTo>
                      <a:pt x="67" y="6"/>
                      <a:pt x="67" y="6"/>
                      <a:pt x="67" y="6"/>
                    </a:cubicBezTo>
                    <a:cubicBezTo>
                      <a:pt x="81" y="8"/>
                      <a:pt x="81" y="8"/>
                      <a:pt x="81" y="8"/>
                    </a:cubicBezTo>
                    <a:cubicBezTo>
                      <a:pt x="87" y="9"/>
                      <a:pt x="87" y="9"/>
                      <a:pt x="87" y="9"/>
                    </a:cubicBezTo>
                    <a:cubicBezTo>
                      <a:pt x="97" y="5"/>
                      <a:pt x="97" y="5"/>
                      <a:pt x="97" y="5"/>
                    </a:cubicBezTo>
                    <a:cubicBezTo>
                      <a:pt x="103" y="6"/>
                      <a:pt x="103" y="6"/>
                      <a:pt x="103" y="6"/>
                    </a:cubicBezTo>
                    <a:cubicBezTo>
                      <a:pt x="105" y="9"/>
                      <a:pt x="105" y="9"/>
                      <a:pt x="105" y="9"/>
                    </a:cubicBezTo>
                    <a:cubicBezTo>
                      <a:pt x="112" y="10"/>
                      <a:pt x="112" y="10"/>
                      <a:pt x="112" y="10"/>
                    </a:cubicBezTo>
                    <a:cubicBezTo>
                      <a:pt x="115" y="7"/>
                      <a:pt x="115" y="7"/>
                      <a:pt x="115" y="7"/>
                    </a:cubicBezTo>
                    <a:cubicBezTo>
                      <a:pt x="118" y="7"/>
                      <a:pt x="118" y="7"/>
                      <a:pt x="118" y="7"/>
                    </a:cubicBezTo>
                    <a:cubicBezTo>
                      <a:pt x="129" y="13"/>
                      <a:pt x="129" y="13"/>
                      <a:pt x="129" y="13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3" y="10"/>
                      <a:pt x="133" y="10"/>
                      <a:pt x="133" y="10"/>
                    </a:cubicBezTo>
                    <a:cubicBezTo>
                      <a:pt x="135" y="9"/>
                      <a:pt x="135" y="9"/>
                      <a:pt x="135" y="9"/>
                    </a:cubicBezTo>
                    <a:close/>
                    <a:moveTo>
                      <a:pt x="228" y="90"/>
                    </a:moveTo>
                    <a:cubicBezTo>
                      <a:pt x="234" y="90"/>
                      <a:pt x="234" y="90"/>
                      <a:pt x="234" y="90"/>
                    </a:cubicBezTo>
                    <a:cubicBezTo>
                      <a:pt x="237" y="92"/>
                      <a:pt x="237" y="92"/>
                      <a:pt x="237" y="92"/>
                    </a:cubicBezTo>
                    <a:cubicBezTo>
                      <a:pt x="238" y="90"/>
                      <a:pt x="238" y="90"/>
                      <a:pt x="238" y="90"/>
                    </a:cubicBezTo>
                    <a:cubicBezTo>
                      <a:pt x="234" y="86"/>
                      <a:pt x="234" y="86"/>
                      <a:pt x="234" y="86"/>
                    </a:cubicBezTo>
                    <a:cubicBezTo>
                      <a:pt x="229" y="87"/>
                      <a:pt x="229" y="87"/>
                      <a:pt x="229" y="87"/>
                    </a:cubicBezTo>
                    <a:cubicBezTo>
                      <a:pt x="228" y="90"/>
                      <a:pt x="228" y="90"/>
                      <a:pt x="228" y="90"/>
                    </a:cubicBezTo>
                    <a:close/>
                    <a:moveTo>
                      <a:pt x="217" y="102"/>
                    </a:moveTo>
                    <a:cubicBezTo>
                      <a:pt x="218" y="97"/>
                      <a:pt x="218" y="97"/>
                      <a:pt x="218" y="97"/>
                    </a:cubicBezTo>
                    <a:cubicBezTo>
                      <a:pt x="223" y="94"/>
                      <a:pt x="223" y="94"/>
                      <a:pt x="223" y="94"/>
                    </a:cubicBezTo>
                    <a:cubicBezTo>
                      <a:pt x="219" y="93"/>
                      <a:pt x="219" y="93"/>
                      <a:pt x="219" y="93"/>
                    </a:cubicBezTo>
                    <a:cubicBezTo>
                      <a:pt x="214" y="93"/>
                      <a:pt x="214" y="93"/>
                      <a:pt x="214" y="93"/>
                    </a:cubicBezTo>
                    <a:cubicBezTo>
                      <a:pt x="211" y="95"/>
                      <a:pt x="211" y="95"/>
                      <a:pt x="211" y="95"/>
                    </a:cubicBezTo>
                    <a:cubicBezTo>
                      <a:pt x="210" y="98"/>
                      <a:pt x="210" y="98"/>
                      <a:pt x="210" y="98"/>
                    </a:cubicBezTo>
                    <a:cubicBezTo>
                      <a:pt x="214" y="100"/>
                      <a:pt x="214" y="100"/>
                      <a:pt x="214" y="100"/>
                    </a:cubicBezTo>
                    <a:cubicBezTo>
                      <a:pt x="217" y="102"/>
                      <a:pt x="217" y="102"/>
                      <a:pt x="217" y="102"/>
                    </a:cubicBezTo>
                    <a:close/>
                    <a:moveTo>
                      <a:pt x="193" y="115"/>
                    </a:moveTo>
                    <a:cubicBezTo>
                      <a:pt x="195" y="112"/>
                      <a:pt x="195" y="112"/>
                      <a:pt x="195" y="112"/>
                    </a:cubicBezTo>
                    <a:cubicBezTo>
                      <a:pt x="198" y="110"/>
                      <a:pt x="198" y="110"/>
                      <a:pt x="198" y="110"/>
                    </a:cubicBezTo>
                    <a:cubicBezTo>
                      <a:pt x="196" y="107"/>
                      <a:pt x="196" y="107"/>
                      <a:pt x="196" y="107"/>
                    </a:cubicBezTo>
                    <a:cubicBezTo>
                      <a:pt x="191" y="109"/>
                      <a:pt x="191" y="109"/>
                      <a:pt x="191" y="109"/>
                    </a:cubicBezTo>
                    <a:cubicBezTo>
                      <a:pt x="190" y="112"/>
                      <a:pt x="190" y="112"/>
                      <a:pt x="190" y="112"/>
                    </a:cubicBezTo>
                    <a:lnTo>
                      <a:pt x="193" y="115"/>
                    </a:lnTo>
                    <a:close/>
                  </a:path>
                </a:pathLst>
              </a:custGeom>
              <a:solidFill>
                <a:srgbClr val="65625E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994" name="Freeform 397"/>
              <p:cNvSpPr>
                <a:spLocks/>
              </p:cNvSpPr>
              <p:nvPr userDrawn="1"/>
            </p:nvSpPr>
            <p:spPr bwMode="auto">
              <a:xfrm>
                <a:off x="4157" y="2226"/>
                <a:ext cx="178" cy="165"/>
              </a:xfrm>
              <a:custGeom>
                <a:avLst/>
                <a:gdLst>
                  <a:gd name="T0" fmla="*/ 177 w 178"/>
                  <a:gd name="T1" fmla="*/ 141 h 165"/>
                  <a:gd name="T2" fmla="*/ 170 w 178"/>
                  <a:gd name="T3" fmla="*/ 137 h 165"/>
                  <a:gd name="T4" fmla="*/ 163 w 178"/>
                  <a:gd name="T5" fmla="*/ 126 h 165"/>
                  <a:gd name="T6" fmla="*/ 162 w 178"/>
                  <a:gd name="T7" fmla="*/ 116 h 165"/>
                  <a:gd name="T8" fmla="*/ 162 w 178"/>
                  <a:gd name="T9" fmla="*/ 105 h 165"/>
                  <a:gd name="T10" fmla="*/ 155 w 178"/>
                  <a:gd name="T11" fmla="*/ 97 h 165"/>
                  <a:gd name="T12" fmla="*/ 151 w 178"/>
                  <a:gd name="T13" fmla="*/ 96 h 165"/>
                  <a:gd name="T14" fmla="*/ 134 w 178"/>
                  <a:gd name="T15" fmla="*/ 88 h 165"/>
                  <a:gd name="T16" fmla="*/ 129 w 178"/>
                  <a:gd name="T17" fmla="*/ 86 h 165"/>
                  <a:gd name="T18" fmla="*/ 128 w 178"/>
                  <a:gd name="T19" fmla="*/ 82 h 165"/>
                  <a:gd name="T20" fmla="*/ 126 w 178"/>
                  <a:gd name="T21" fmla="*/ 76 h 165"/>
                  <a:gd name="T22" fmla="*/ 121 w 178"/>
                  <a:gd name="T23" fmla="*/ 73 h 165"/>
                  <a:gd name="T24" fmla="*/ 116 w 178"/>
                  <a:gd name="T25" fmla="*/ 70 h 165"/>
                  <a:gd name="T26" fmla="*/ 117 w 178"/>
                  <a:gd name="T27" fmla="*/ 65 h 165"/>
                  <a:gd name="T28" fmla="*/ 117 w 178"/>
                  <a:gd name="T29" fmla="*/ 61 h 165"/>
                  <a:gd name="T30" fmla="*/ 120 w 178"/>
                  <a:gd name="T31" fmla="*/ 53 h 165"/>
                  <a:gd name="T32" fmla="*/ 123 w 178"/>
                  <a:gd name="T33" fmla="*/ 48 h 165"/>
                  <a:gd name="T34" fmla="*/ 125 w 178"/>
                  <a:gd name="T35" fmla="*/ 40 h 165"/>
                  <a:gd name="T36" fmla="*/ 123 w 178"/>
                  <a:gd name="T37" fmla="*/ 35 h 165"/>
                  <a:gd name="T38" fmla="*/ 129 w 178"/>
                  <a:gd name="T39" fmla="*/ 34 h 165"/>
                  <a:gd name="T40" fmla="*/ 129 w 178"/>
                  <a:gd name="T41" fmla="*/ 32 h 165"/>
                  <a:gd name="T42" fmla="*/ 122 w 178"/>
                  <a:gd name="T43" fmla="*/ 31 h 165"/>
                  <a:gd name="T44" fmla="*/ 113 w 178"/>
                  <a:gd name="T45" fmla="*/ 27 h 165"/>
                  <a:gd name="T46" fmla="*/ 107 w 178"/>
                  <a:gd name="T47" fmla="*/ 24 h 165"/>
                  <a:gd name="T48" fmla="*/ 104 w 178"/>
                  <a:gd name="T49" fmla="*/ 17 h 165"/>
                  <a:gd name="T50" fmla="*/ 99 w 178"/>
                  <a:gd name="T51" fmla="*/ 14 h 165"/>
                  <a:gd name="T52" fmla="*/ 97 w 178"/>
                  <a:gd name="T53" fmla="*/ 6 h 165"/>
                  <a:gd name="T54" fmla="*/ 89 w 178"/>
                  <a:gd name="T55" fmla="*/ 7 h 165"/>
                  <a:gd name="T56" fmla="*/ 86 w 178"/>
                  <a:gd name="T57" fmla="*/ 2 h 165"/>
                  <a:gd name="T58" fmla="*/ 79 w 178"/>
                  <a:gd name="T59" fmla="*/ 1 h 165"/>
                  <a:gd name="T60" fmla="*/ 65 w 178"/>
                  <a:gd name="T61" fmla="*/ 0 h 165"/>
                  <a:gd name="T62" fmla="*/ 59 w 178"/>
                  <a:gd name="T63" fmla="*/ 1 h 165"/>
                  <a:gd name="T64" fmla="*/ 55 w 178"/>
                  <a:gd name="T65" fmla="*/ 6 h 165"/>
                  <a:gd name="T66" fmla="*/ 50 w 178"/>
                  <a:gd name="T67" fmla="*/ 10 h 165"/>
                  <a:gd name="T68" fmla="*/ 40 w 178"/>
                  <a:gd name="T69" fmla="*/ 15 h 165"/>
                  <a:gd name="T70" fmla="*/ 36 w 178"/>
                  <a:gd name="T71" fmla="*/ 26 h 165"/>
                  <a:gd name="T72" fmla="*/ 40 w 178"/>
                  <a:gd name="T73" fmla="*/ 38 h 165"/>
                  <a:gd name="T74" fmla="*/ 37 w 178"/>
                  <a:gd name="T75" fmla="*/ 47 h 165"/>
                  <a:gd name="T76" fmla="*/ 34 w 178"/>
                  <a:gd name="T77" fmla="*/ 57 h 165"/>
                  <a:gd name="T78" fmla="*/ 0 w 178"/>
                  <a:gd name="T79" fmla="*/ 81 h 165"/>
                  <a:gd name="T80" fmla="*/ 0 w 178"/>
                  <a:gd name="T81" fmla="*/ 81 h 165"/>
                  <a:gd name="T82" fmla="*/ 25 w 178"/>
                  <a:gd name="T83" fmla="*/ 107 h 165"/>
                  <a:gd name="T84" fmla="*/ 146 w 178"/>
                  <a:gd name="T85" fmla="*/ 165 h 165"/>
                  <a:gd name="T86" fmla="*/ 154 w 178"/>
                  <a:gd name="T87" fmla="*/ 148 h 165"/>
                  <a:gd name="T88" fmla="*/ 169 w 178"/>
                  <a:gd name="T89" fmla="*/ 147 h 165"/>
                  <a:gd name="T90" fmla="*/ 174 w 178"/>
                  <a:gd name="T91" fmla="*/ 146 h 165"/>
                  <a:gd name="T92" fmla="*/ 178 w 178"/>
                  <a:gd name="T93" fmla="*/ 142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78" h="165">
                    <a:moveTo>
                      <a:pt x="178" y="142"/>
                    </a:moveTo>
                    <a:lnTo>
                      <a:pt x="177" y="141"/>
                    </a:lnTo>
                    <a:lnTo>
                      <a:pt x="173" y="140"/>
                    </a:lnTo>
                    <a:lnTo>
                      <a:pt x="170" y="137"/>
                    </a:lnTo>
                    <a:lnTo>
                      <a:pt x="169" y="126"/>
                    </a:lnTo>
                    <a:lnTo>
                      <a:pt x="163" y="126"/>
                    </a:lnTo>
                    <a:lnTo>
                      <a:pt x="161" y="122"/>
                    </a:lnTo>
                    <a:lnTo>
                      <a:pt x="162" y="116"/>
                    </a:lnTo>
                    <a:lnTo>
                      <a:pt x="166" y="113"/>
                    </a:lnTo>
                    <a:lnTo>
                      <a:pt x="162" y="105"/>
                    </a:lnTo>
                    <a:lnTo>
                      <a:pt x="158" y="103"/>
                    </a:lnTo>
                    <a:lnTo>
                      <a:pt x="155" y="97"/>
                    </a:lnTo>
                    <a:lnTo>
                      <a:pt x="152" y="96"/>
                    </a:lnTo>
                    <a:lnTo>
                      <a:pt x="151" y="96"/>
                    </a:lnTo>
                    <a:lnTo>
                      <a:pt x="137" y="87"/>
                    </a:lnTo>
                    <a:lnTo>
                      <a:pt x="134" y="88"/>
                    </a:lnTo>
                    <a:lnTo>
                      <a:pt x="132" y="89"/>
                    </a:lnTo>
                    <a:lnTo>
                      <a:pt x="129" y="86"/>
                    </a:lnTo>
                    <a:lnTo>
                      <a:pt x="129" y="84"/>
                    </a:lnTo>
                    <a:lnTo>
                      <a:pt x="128" y="82"/>
                    </a:lnTo>
                    <a:lnTo>
                      <a:pt x="129" y="80"/>
                    </a:lnTo>
                    <a:lnTo>
                      <a:pt x="126" y="76"/>
                    </a:lnTo>
                    <a:lnTo>
                      <a:pt x="125" y="73"/>
                    </a:lnTo>
                    <a:lnTo>
                      <a:pt x="121" y="73"/>
                    </a:lnTo>
                    <a:lnTo>
                      <a:pt x="119" y="70"/>
                    </a:lnTo>
                    <a:lnTo>
                      <a:pt x="116" y="70"/>
                    </a:lnTo>
                    <a:lnTo>
                      <a:pt x="116" y="67"/>
                    </a:lnTo>
                    <a:lnTo>
                      <a:pt x="117" y="65"/>
                    </a:lnTo>
                    <a:lnTo>
                      <a:pt x="116" y="63"/>
                    </a:lnTo>
                    <a:lnTo>
                      <a:pt x="117" y="61"/>
                    </a:lnTo>
                    <a:lnTo>
                      <a:pt x="117" y="55"/>
                    </a:lnTo>
                    <a:lnTo>
                      <a:pt x="120" y="53"/>
                    </a:lnTo>
                    <a:lnTo>
                      <a:pt x="120" y="48"/>
                    </a:lnTo>
                    <a:lnTo>
                      <a:pt x="123" y="48"/>
                    </a:lnTo>
                    <a:lnTo>
                      <a:pt x="125" y="47"/>
                    </a:lnTo>
                    <a:lnTo>
                      <a:pt x="125" y="40"/>
                    </a:lnTo>
                    <a:lnTo>
                      <a:pt x="124" y="39"/>
                    </a:lnTo>
                    <a:lnTo>
                      <a:pt x="123" y="35"/>
                    </a:lnTo>
                    <a:lnTo>
                      <a:pt x="125" y="35"/>
                    </a:lnTo>
                    <a:lnTo>
                      <a:pt x="129" y="34"/>
                    </a:lnTo>
                    <a:lnTo>
                      <a:pt x="129" y="33"/>
                    </a:lnTo>
                    <a:lnTo>
                      <a:pt x="129" y="32"/>
                    </a:lnTo>
                    <a:lnTo>
                      <a:pt x="126" y="31"/>
                    </a:lnTo>
                    <a:lnTo>
                      <a:pt x="122" y="31"/>
                    </a:lnTo>
                    <a:lnTo>
                      <a:pt x="119" y="30"/>
                    </a:lnTo>
                    <a:lnTo>
                      <a:pt x="113" y="27"/>
                    </a:lnTo>
                    <a:lnTo>
                      <a:pt x="110" y="26"/>
                    </a:lnTo>
                    <a:lnTo>
                      <a:pt x="107" y="24"/>
                    </a:lnTo>
                    <a:lnTo>
                      <a:pt x="105" y="20"/>
                    </a:lnTo>
                    <a:lnTo>
                      <a:pt x="104" y="17"/>
                    </a:lnTo>
                    <a:lnTo>
                      <a:pt x="101" y="16"/>
                    </a:lnTo>
                    <a:lnTo>
                      <a:pt x="99" y="14"/>
                    </a:lnTo>
                    <a:lnTo>
                      <a:pt x="99" y="10"/>
                    </a:lnTo>
                    <a:lnTo>
                      <a:pt x="97" y="6"/>
                    </a:lnTo>
                    <a:lnTo>
                      <a:pt x="94" y="5"/>
                    </a:lnTo>
                    <a:lnTo>
                      <a:pt x="89" y="7"/>
                    </a:lnTo>
                    <a:lnTo>
                      <a:pt x="86" y="5"/>
                    </a:lnTo>
                    <a:lnTo>
                      <a:pt x="86" y="2"/>
                    </a:lnTo>
                    <a:lnTo>
                      <a:pt x="84" y="0"/>
                    </a:lnTo>
                    <a:lnTo>
                      <a:pt x="79" y="1"/>
                    </a:lnTo>
                    <a:lnTo>
                      <a:pt x="73" y="0"/>
                    </a:lnTo>
                    <a:lnTo>
                      <a:pt x="65" y="0"/>
                    </a:lnTo>
                    <a:lnTo>
                      <a:pt x="64" y="1"/>
                    </a:lnTo>
                    <a:lnTo>
                      <a:pt x="59" y="1"/>
                    </a:lnTo>
                    <a:lnTo>
                      <a:pt x="54" y="6"/>
                    </a:lnTo>
                    <a:lnTo>
                      <a:pt x="55" y="6"/>
                    </a:lnTo>
                    <a:lnTo>
                      <a:pt x="52" y="10"/>
                    </a:lnTo>
                    <a:lnTo>
                      <a:pt x="50" y="10"/>
                    </a:lnTo>
                    <a:lnTo>
                      <a:pt x="46" y="13"/>
                    </a:lnTo>
                    <a:lnTo>
                      <a:pt x="40" y="15"/>
                    </a:lnTo>
                    <a:lnTo>
                      <a:pt x="36" y="20"/>
                    </a:lnTo>
                    <a:lnTo>
                      <a:pt x="36" y="26"/>
                    </a:lnTo>
                    <a:lnTo>
                      <a:pt x="40" y="33"/>
                    </a:lnTo>
                    <a:lnTo>
                      <a:pt x="40" y="38"/>
                    </a:lnTo>
                    <a:lnTo>
                      <a:pt x="36" y="44"/>
                    </a:lnTo>
                    <a:lnTo>
                      <a:pt x="37" y="47"/>
                    </a:lnTo>
                    <a:lnTo>
                      <a:pt x="37" y="53"/>
                    </a:lnTo>
                    <a:lnTo>
                      <a:pt x="34" y="57"/>
                    </a:lnTo>
                    <a:lnTo>
                      <a:pt x="32" y="59"/>
                    </a:lnTo>
                    <a:lnTo>
                      <a:pt x="0" y="81"/>
                    </a:lnTo>
                    <a:lnTo>
                      <a:pt x="0" y="81"/>
                    </a:lnTo>
                    <a:lnTo>
                      <a:pt x="0" y="81"/>
                    </a:lnTo>
                    <a:lnTo>
                      <a:pt x="9" y="104"/>
                    </a:lnTo>
                    <a:lnTo>
                      <a:pt x="25" y="107"/>
                    </a:lnTo>
                    <a:lnTo>
                      <a:pt x="111" y="165"/>
                    </a:lnTo>
                    <a:lnTo>
                      <a:pt x="146" y="165"/>
                    </a:lnTo>
                    <a:lnTo>
                      <a:pt x="150" y="157"/>
                    </a:lnTo>
                    <a:lnTo>
                      <a:pt x="154" y="148"/>
                    </a:lnTo>
                    <a:lnTo>
                      <a:pt x="162" y="145"/>
                    </a:lnTo>
                    <a:lnTo>
                      <a:pt x="169" y="147"/>
                    </a:lnTo>
                    <a:lnTo>
                      <a:pt x="172" y="146"/>
                    </a:lnTo>
                    <a:lnTo>
                      <a:pt x="174" y="146"/>
                    </a:lnTo>
                    <a:lnTo>
                      <a:pt x="176" y="143"/>
                    </a:lnTo>
                    <a:lnTo>
                      <a:pt x="178" y="142"/>
                    </a:lnTo>
                    <a:lnTo>
                      <a:pt x="178" y="142"/>
                    </a:lnTo>
                    <a:close/>
                  </a:path>
                </a:pathLst>
              </a:custGeom>
              <a:solidFill>
                <a:srgbClr val="65625E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995" name="Freeform 398"/>
              <p:cNvSpPr>
                <a:spLocks/>
              </p:cNvSpPr>
              <p:nvPr userDrawn="1"/>
            </p:nvSpPr>
            <p:spPr bwMode="auto">
              <a:xfrm>
                <a:off x="4090" y="2330"/>
                <a:ext cx="382" cy="312"/>
              </a:xfrm>
              <a:custGeom>
                <a:avLst/>
                <a:gdLst>
                  <a:gd name="T0" fmla="*/ 232 w 382"/>
                  <a:gd name="T1" fmla="*/ 66 h 312"/>
                  <a:gd name="T2" fmla="*/ 92 w 382"/>
                  <a:gd name="T3" fmla="*/ 3 h 312"/>
                  <a:gd name="T4" fmla="*/ 41 w 382"/>
                  <a:gd name="T5" fmla="*/ 16 h 312"/>
                  <a:gd name="T6" fmla="*/ 54 w 382"/>
                  <a:gd name="T7" fmla="*/ 51 h 312"/>
                  <a:gd name="T8" fmla="*/ 8 w 382"/>
                  <a:gd name="T9" fmla="*/ 61 h 312"/>
                  <a:gd name="T10" fmla="*/ 2 w 382"/>
                  <a:gd name="T11" fmla="*/ 75 h 312"/>
                  <a:gd name="T12" fmla="*/ 2 w 382"/>
                  <a:gd name="T13" fmla="*/ 81 h 312"/>
                  <a:gd name="T14" fmla="*/ 10 w 382"/>
                  <a:gd name="T15" fmla="*/ 84 h 312"/>
                  <a:gd name="T16" fmla="*/ 18 w 382"/>
                  <a:gd name="T17" fmla="*/ 96 h 312"/>
                  <a:gd name="T18" fmla="*/ 24 w 382"/>
                  <a:gd name="T19" fmla="*/ 105 h 312"/>
                  <a:gd name="T20" fmla="*/ 32 w 382"/>
                  <a:gd name="T21" fmla="*/ 116 h 312"/>
                  <a:gd name="T22" fmla="*/ 37 w 382"/>
                  <a:gd name="T23" fmla="*/ 124 h 312"/>
                  <a:gd name="T24" fmla="*/ 46 w 382"/>
                  <a:gd name="T25" fmla="*/ 136 h 312"/>
                  <a:gd name="T26" fmla="*/ 49 w 382"/>
                  <a:gd name="T27" fmla="*/ 146 h 312"/>
                  <a:gd name="T28" fmla="*/ 53 w 382"/>
                  <a:gd name="T29" fmla="*/ 154 h 312"/>
                  <a:gd name="T30" fmla="*/ 63 w 382"/>
                  <a:gd name="T31" fmla="*/ 156 h 312"/>
                  <a:gd name="T32" fmla="*/ 74 w 382"/>
                  <a:gd name="T33" fmla="*/ 167 h 312"/>
                  <a:gd name="T34" fmla="*/ 78 w 382"/>
                  <a:gd name="T35" fmla="*/ 173 h 312"/>
                  <a:gd name="T36" fmla="*/ 84 w 382"/>
                  <a:gd name="T37" fmla="*/ 189 h 312"/>
                  <a:gd name="T38" fmla="*/ 83 w 382"/>
                  <a:gd name="T39" fmla="*/ 197 h 312"/>
                  <a:gd name="T40" fmla="*/ 87 w 382"/>
                  <a:gd name="T41" fmla="*/ 214 h 312"/>
                  <a:gd name="T42" fmla="*/ 100 w 382"/>
                  <a:gd name="T43" fmla="*/ 228 h 312"/>
                  <a:gd name="T44" fmla="*/ 109 w 382"/>
                  <a:gd name="T45" fmla="*/ 234 h 312"/>
                  <a:gd name="T46" fmla="*/ 116 w 382"/>
                  <a:gd name="T47" fmla="*/ 240 h 312"/>
                  <a:gd name="T48" fmla="*/ 123 w 382"/>
                  <a:gd name="T49" fmla="*/ 245 h 312"/>
                  <a:gd name="T50" fmla="*/ 131 w 382"/>
                  <a:gd name="T51" fmla="*/ 267 h 312"/>
                  <a:gd name="T52" fmla="*/ 149 w 382"/>
                  <a:gd name="T53" fmla="*/ 288 h 312"/>
                  <a:gd name="T54" fmla="*/ 161 w 382"/>
                  <a:gd name="T55" fmla="*/ 299 h 312"/>
                  <a:gd name="T56" fmla="*/ 171 w 382"/>
                  <a:gd name="T57" fmla="*/ 294 h 312"/>
                  <a:gd name="T58" fmla="*/ 175 w 382"/>
                  <a:gd name="T59" fmla="*/ 277 h 312"/>
                  <a:gd name="T60" fmla="*/ 207 w 382"/>
                  <a:gd name="T61" fmla="*/ 288 h 312"/>
                  <a:gd name="T62" fmla="*/ 258 w 382"/>
                  <a:gd name="T63" fmla="*/ 268 h 312"/>
                  <a:gd name="T64" fmla="*/ 378 w 382"/>
                  <a:gd name="T65" fmla="*/ 180 h 312"/>
                  <a:gd name="T66" fmla="*/ 318 w 382"/>
                  <a:gd name="T67" fmla="*/ 177 h 312"/>
                  <a:gd name="T68" fmla="*/ 310 w 382"/>
                  <a:gd name="T69" fmla="*/ 152 h 312"/>
                  <a:gd name="T70" fmla="*/ 307 w 382"/>
                  <a:gd name="T71" fmla="*/ 150 h 312"/>
                  <a:gd name="T72" fmla="*/ 305 w 382"/>
                  <a:gd name="T73" fmla="*/ 147 h 312"/>
                  <a:gd name="T74" fmla="*/ 296 w 382"/>
                  <a:gd name="T75" fmla="*/ 143 h 312"/>
                  <a:gd name="T76" fmla="*/ 291 w 382"/>
                  <a:gd name="T77" fmla="*/ 137 h 312"/>
                  <a:gd name="T78" fmla="*/ 279 w 382"/>
                  <a:gd name="T79" fmla="*/ 117 h 312"/>
                  <a:gd name="T80" fmla="*/ 278 w 382"/>
                  <a:gd name="T81" fmla="*/ 107 h 312"/>
                  <a:gd name="T82" fmla="*/ 274 w 382"/>
                  <a:gd name="T83" fmla="*/ 102 h 312"/>
                  <a:gd name="T84" fmla="*/ 262 w 382"/>
                  <a:gd name="T85" fmla="*/ 90 h 312"/>
                  <a:gd name="T86" fmla="*/ 265 w 382"/>
                  <a:gd name="T87" fmla="*/ 90 h 312"/>
                  <a:gd name="T88" fmla="*/ 255 w 382"/>
                  <a:gd name="T89" fmla="*/ 85 h 312"/>
                  <a:gd name="T90" fmla="*/ 247 w 382"/>
                  <a:gd name="T91" fmla="*/ 71 h 312"/>
                  <a:gd name="T92" fmla="*/ 244 w 382"/>
                  <a:gd name="T93" fmla="*/ 67 h 3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382" h="312">
                    <a:moveTo>
                      <a:pt x="244" y="67"/>
                    </a:moveTo>
                    <a:lnTo>
                      <a:pt x="233" y="72"/>
                    </a:lnTo>
                    <a:lnTo>
                      <a:pt x="232" y="66"/>
                    </a:lnTo>
                    <a:lnTo>
                      <a:pt x="216" y="61"/>
                    </a:lnTo>
                    <a:lnTo>
                      <a:pt x="178" y="61"/>
                    </a:lnTo>
                    <a:lnTo>
                      <a:pt x="92" y="3"/>
                    </a:lnTo>
                    <a:lnTo>
                      <a:pt x="75" y="0"/>
                    </a:lnTo>
                    <a:lnTo>
                      <a:pt x="68" y="7"/>
                    </a:lnTo>
                    <a:lnTo>
                      <a:pt x="41" y="16"/>
                    </a:lnTo>
                    <a:lnTo>
                      <a:pt x="62" y="38"/>
                    </a:lnTo>
                    <a:lnTo>
                      <a:pt x="54" y="46"/>
                    </a:lnTo>
                    <a:lnTo>
                      <a:pt x="54" y="51"/>
                    </a:lnTo>
                    <a:lnTo>
                      <a:pt x="40" y="53"/>
                    </a:lnTo>
                    <a:lnTo>
                      <a:pt x="26" y="66"/>
                    </a:lnTo>
                    <a:lnTo>
                      <a:pt x="8" y="61"/>
                    </a:lnTo>
                    <a:lnTo>
                      <a:pt x="2" y="61"/>
                    </a:lnTo>
                    <a:lnTo>
                      <a:pt x="2" y="67"/>
                    </a:lnTo>
                    <a:lnTo>
                      <a:pt x="2" y="75"/>
                    </a:lnTo>
                    <a:lnTo>
                      <a:pt x="0" y="80"/>
                    </a:lnTo>
                    <a:lnTo>
                      <a:pt x="1" y="82"/>
                    </a:lnTo>
                    <a:lnTo>
                      <a:pt x="2" y="81"/>
                    </a:lnTo>
                    <a:lnTo>
                      <a:pt x="3" y="83"/>
                    </a:lnTo>
                    <a:lnTo>
                      <a:pt x="6" y="81"/>
                    </a:lnTo>
                    <a:lnTo>
                      <a:pt x="10" y="84"/>
                    </a:lnTo>
                    <a:lnTo>
                      <a:pt x="9" y="84"/>
                    </a:lnTo>
                    <a:lnTo>
                      <a:pt x="17" y="92"/>
                    </a:lnTo>
                    <a:lnTo>
                      <a:pt x="18" y="96"/>
                    </a:lnTo>
                    <a:lnTo>
                      <a:pt x="20" y="97"/>
                    </a:lnTo>
                    <a:lnTo>
                      <a:pt x="21" y="101"/>
                    </a:lnTo>
                    <a:lnTo>
                      <a:pt x="24" y="105"/>
                    </a:lnTo>
                    <a:lnTo>
                      <a:pt x="26" y="105"/>
                    </a:lnTo>
                    <a:lnTo>
                      <a:pt x="32" y="113"/>
                    </a:lnTo>
                    <a:lnTo>
                      <a:pt x="32" y="116"/>
                    </a:lnTo>
                    <a:lnTo>
                      <a:pt x="33" y="119"/>
                    </a:lnTo>
                    <a:lnTo>
                      <a:pt x="36" y="120"/>
                    </a:lnTo>
                    <a:lnTo>
                      <a:pt x="37" y="124"/>
                    </a:lnTo>
                    <a:lnTo>
                      <a:pt x="39" y="127"/>
                    </a:lnTo>
                    <a:lnTo>
                      <a:pt x="44" y="128"/>
                    </a:lnTo>
                    <a:lnTo>
                      <a:pt x="46" y="136"/>
                    </a:lnTo>
                    <a:lnTo>
                      <a:pt x="49" y="138"/>
                    </a:lnTo>
                    <a:lnTo>
                      <a:pt x="50" y="144"/>
                    </a:lnTo>
                    <a:lnTo>
                      <a:pt x="49" y="146"/>
                    </a:lnTo>
                    <a:lnTo>
                      <a:pt x="49" y="149"/>
                    </a:lnTo>
                    <a:lnTo>
                      <a:pt x="53" y="151"/>
                    </a:lnTo>
                    <a:lnTo>
                      <a:pt x="53" y="154"/>
                    </a:lnTo>
                    <a:lnTo>
                      <a:pt x="56" y="155"/>
                    </a:lnTo>
                    <a:lnTo>
                      <a:pt x="59" y="152"/>
                    </a:lnTo>
                    <a:lnTo>
                      <a:pt x="63" y="156"/>
                    </a:lnTo>
                    <a:lnTo>
                      <a:pt x="68" y="158"/>
                    </a:lnTo>
                    <a:lnTo>
                      <a:pt x="72" y="163"/>
                    </a:lnTo>
                    <a:lnTo>
                      <a:pt x="74" y="167"/>
                    </a:lnTo>
                    <a:lnTo>
                      <a:pt x="75" y="167"/>
                    </a:lnTo>
                    <a:lnTo>
                      <a:pt x="76" y="171"/>
                    </a:lnTo>
                    <a:lnTo>
                      <a:pt x="78" y="173"/>
                    </a:lnTo>
                    <a:lnTo>
                      <a:pt x="79" y="179"/>
                    </a:lnTo>
                    <a:lnTo>
                      <a:pt x="83" y="182"/>
                    </a:lnTo>
                    <a:lnTo>
                      <a:pt x="84" y="189"/>
                    </a:lnTo>
                    <a:lnTo>
                      <a:pt x="86" y="191"/>
                    </a:lnTo>
                    <a:lnTo>
                      <a:pt x="84" y="196"/>
                    </a:lnTo>
                    <a:lnTo>
                      <a:pt x="83" y="197"/>
                    </a:lnTo>
                    <a:lnTo>
                      <a:pt x="84" y="200"/>
                    </a:lnTo>
                    <a:lnTo>
                      <a:pt x="86" y="207"/>
                    </a:lnTo>
                    <a:lnTo>
                      <a:pt x="87" y="214"/>
                    </a:lnTo>
                    <a:lnTo>
                      <a:pt x="89" y="216"/>
                    </a:lnTo>
                    <a:lnTo>
                      <a:pt x="90" y="218"/>
                    </a:lnTo>
                    <a:lnTo>
                      <a:pt x="100" y="228"/>
                    </a:lnTo>
                    <a:lnTo>
                      <a:pt x="103" y="230"/>
                    </a:lnTo>
                    <a:lnTo>
                      <a:pt x="107" y="230"/>
                    </a:lnTo>
                    <a:lnTo>
                      <a:pt x="109" y="234"/>
                    </a:lnTo>
                    <a:lnTo>
                      <a:pt x="110" y="234"/>
                    </a:lnTo>
                    <a:lnTo>
                      <a:pt x="116" y="237"/>
                    </a:lnTo>
                    <a:lnTo>
                      <a:pt x="116" y="240"/>
                    </a:lnTo>
                    <a:lnTo>
                      <a:pt x="121" y="241"/>
                    </a:lnTo>
                    <a:lnTo>
                      <a:pt x="120" y="244"/>
                    </a:lnTo>
                    <a:lnTo>
                      <a:pt x="123" y="245"/>
                    </a:lnTo>
                    <a:lnTo>
                      <a:pt x="127" y="260"/>
                    </a:lnTo>
                    <a:lnTo>
                      <a:pt x="131" y="262"/>
                    </a:lnTo>
                    <a:lnTo>
                      <a:pt x="131" y="267"/>
                    </a:lnTo>
                    <a:lnTo>
                      <a:pt x="145" y="280"/>
                    </a:lnTo>
                    <a:lnTo>
                      <a:pt x="147" y="280"/>
                    </a:lnTo>
                    <a:lnTo>
                      <a:pt x="149" y="288"/>
                    </a:lnTo>
                    <a:lnTo>
                      <a:pt x="154" y="290"/>
                    </a:lnTo>
                    <a:lnTo>
                      <a:pt x="157" y="299"/>
                    </a:lnTo>
                    <a:lnTo>
                      <a:pt x="161" y="299"/>
                    </a:lnTo>
                    <a:lnTo>
                      <a:pt x="164" y="301"/>
                    </a:lnTo>
                    <a:lnTo>
                      <a:pt x="166" y="297"/>
                    </a:lnTo>
                    <a:lnTo>
                      <a:pt x="171" y="294"/>
                    </a:lnTo>
                    <a:lnTo>
                      <a:pt x="167" y="287"/>
                    </a:lnTo>
                    <a:lnTo>
                      <a:pt x="170" y="279"/>
                    </a:lnTo>
                    <a:lnTo>
                      <a:pt x="175" y="277"/>
                    </a:lnTo>
                    <a:lnTo>
                      <a:pt x="180" y="281"/>
                    </a:lnTo>
                    <a:lnTo>
                      <a:pt x="192" y="281"/>
                    </a:lnTo>
                    <a:lnTo>
                      <a:pt x="207" y="288"/>
                    </a:lnTo>
                    <a:lnTo>
                      <a:pt x="223" y="296"/>
                    </a:lnTo>
                    <a:lnTo>
                      <a:pt x="224" y="312"/>
                    </a:lnTo>
                    <a:lnTo>
                      <a:pt x="258" y="268"/>
                    </a:lnTo>
                    <a:lnTo>
                      <a:pt x="380" y="233"/>
                    </a:lnTo>
                    <a:lnTo>
                      <a:pt x="382" y="194"/>
                    </a:lnTo>
                    <a:lnTo>
                      <a:pt x="378" y="180"/>
                    </a:lnTo>
                    <a:lnTo>
                      <a:pt x="378" y="180"/>
                    </a:lnTo>
                    <a:lnTo>
                      <a:pt x="372" y="186"/>
                    </a:lnTo>
                    <a:lnTo>
                      <a:pt x="318" y="177"/>
                    </a:lnTo>
                    <a:lnTo>
                      <a:pt x="314" y="164"/>
                    </a:lnTo>
                    <a:lnTo>
                      <a:pt x="309" y="159"/>
                    </a:lnTo>
                    <a:lnTo>
                      <a:pt x="310" y="152"/>
                    </a:lnTo>
                    <a:lnTo>
                      <a:pt x="309" y="152"/>
                    </a:lnTo>
                    <a:lnTo>
                      <a:pt x="308" y="152"/>
                    </a:lnTo>
                    <a:lnTo>
                      <a:pt x="307" y="150"/>
                    </a:lnTo>
                    <a:lnTo>
                      <a:pt x="307" y="149"/>
                    </a:lnTo>
                    <a:lnTo>
                      <a:pt x="309" y="147"/>
                    </a:lnTo>
                    <a:lnTo>
                      <a:pt x="305" y="147"/>
                    </a:lnTo>
                    <a:lnTo>
                      <a:pt x="305" y="146"/>
                    </a:lnTo>
                    <a:lnTo>
                      <a:pt x="303" y="146"/>
                    </a:lnTo>
                    <a:lnTo>
                      <a:pt x="296" y="143"/>
                    </a:lnTo>
                    <a:lnTo>
                      <a:pt x="296" y="141"/>
                    </a:lnTo>
                    <a:lnTo>
                      <a:pt x="295" y="142"/>
                    </a:lnTo>
                    <a:lnTo>
                      <a:pt x="291" y="137"/>
                    </a:lnTo>
                    <a:lnTo>
                      <a:pt x="290" y="133"/>
                    </a:lnTo>
                    <a:lnTo>
                      <a:pt x="282" y="122"/>
                    </a:lnTo>
                    <a:lnTo>
                      <a:pt x="279" y="117"/>
                    </a:lnTo>
                    <a:lnTo>
                      <a:pt x="281" y="118"/>
                    </a:lnTo>
                    <a:lnTo>
                      <a:pt x="281" y="116"/>
                    </a:lnTo>
                    <a:lnTo>
                      <a:pt x="278" y="107"/>
                    </a:lnTo>
                    <a:lnTo>
                      <a:pt x="278" y="106"/>
                    </a:lnTo>
                    <a:lnTo>
                      <a:pt x="276" y="102"/>
                    </a:lnTo>
                    <a:lnTo>
                      <a:pt x="274" y="102"/>
                    </a:lnTo>
                    <a:lnTo>
                      <a:pt x="268" y="93"/>
                    </a:lnTo>
                    <a:lnTo>
                      <a:pt x="265" y="93"/>
                    </a:lnTo>
                    <a:lnTo>
                      <a:pt x="262" y="90"/>
                    </a:lnTo>
                    <a:lnTo>
                      <a:pt x="263" y="89"/>
                    </a:lnTo>
                    <a:lnTo>
                      <a:pt x="264" y="89"/>
                    </a:lnTo>
                    <a:lnTo>
                      <a:pt x="265" y="90"/>
                    </a:lnTo>
                    <a:lnTo>
                      <a:pt x="264" y="87"/>
                    </a:lnTo>
                    <a:lnTo>
                      <a:pt x="261" y="87"/>
                    </a:lnTo>
                    <a:lnTo>
                      <a:pt x="255" y="85"/>
                    </a:lnTo>
                    <a:lnTo>
                      <a:pt x="251" y="77"/>
                    </a:lnTo>
                    <a:lnTo>
                      <a:pt x="249" y="73"/>
                    </a:lnTo>
                    <a:lnTo>
                      <a:pt x="247" y="71"/>
                    </a:lnTo>
                    <a:lnTo>
                      <a:pt x="247" y="68"/>
                    </a:lnTo>
                    <a:lnTo>
                      <a:pt x="246" y="69"/>
                    </a:lnTo>
                    <a:lnTo>
                      <a:pt x="244" y="67"/>
                    </a:lnTo>
                    <a:lnTo>
                      <a:pt x="244" y="67"/>
                    </a:lnTo>
                    <a:close/>
                  </a:path>
                </a:pathLst>
              </a:custGeom>
              <a:solidFill>
                <a:srgbClr val="65625E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996" name="Freeform 399"/>
              <p:cNvSpPr>
                <a:spLocks/>
              </p:cNvSpPr>
              <p:nvPr userDrawn="1"/>
            </p:nvSpPr>
            <p:spPr bwMode="auto">
              <a:xfrm>
                <a:off x="3907" y="2344"/>
                <a:ext cx="230" cy="186"/>
              </a:xfrm>
              <a:custGeom>
                <a:avLst/>
                <a:gdLst>
                  <a:gd name="T0" fmla="*/ 184 w 230"/>
                  <a:gd name="T1" fmla="*/ 33 h 186"/>
                  <a:gd name="T2" fmla="*/ 172 w 230"/>
                  <a:gd name="T3" fmla="*/ 10 h 186"/>
                  <a:gd name="T4" fmla="*/ 164 w 230"/>
                  <a:gd name="T5" fmla="*/ 7 h 186"/>
                  <a:gd name="T6" fmla="*/ 139 w 230"/>
                  <a:gd name="T7" fmla="*/ 9 h 186"/>
                  <a:gd name="T8" fmla="*/ 134 w 230"/>
                  <a:gd name="T9" fmla="*/ 11 h 186"/>
                  <a:gd name="T10" fmla="*/ 127 w 230"/>
                  <a:gd name="T11" fmla="*/ 8 h 186"/>
                  <a:gd name="T12" fmla="*/ 126 w 230"/>
                  <a:gd name="T13" fmla="*/ 3 h 186"/>
                  <a:gd name="T14" fmla="*/ 114 w 230"/>
                  <a:gd name="T15" fmla="*/ 1 h 186"/>
                  <a:gd name="T16" fmla="*/ 116 w 230"/>
                  <a:gd name="T17" fmla="*/ 4 h 186"/>
                  <a:gd name="T18" fmla="*/ 104 w 230"/>
                  <a:gd name="T19" fmla="*/ 5 h 186"/>
                  <a:gd name="T20" fmla="*/ 107 w 230"/>
                  <a:gd name="T21" fmla="*/ 3 h 186"/>
                  <a:gd name="T22" fmla="*/ 101 w 230"/>
                  <a:gd name="T23" fmla="*/ 2 h 186"/>
                  <a:gd name="T24" fmla="*/ 92 w 230"/>
                  <a:gd name="T25" fmla="*/ 7 h 186"/>
                  <a:gd name="T26" fmla="*/ 82 w 230"/>
                  <a:gd name="T27" fmla="*/ 14 h 186"/>
                  <a:gd name="T28" fmla="*/ 65 w 230"/>
                  <a:gd name="T29" fmla="*/ 9 h 186"/>
                  <a:gd name="T30" fmla="*/ 52 w 230"/>
                  <a:gd name="T31" fmla="*/ 6 h 186"/>
                  <a:gd name="T32" fmla="*/ 38 w 230"/>
                  <a:gd name="T33" fmla="*/ 4 h 186"/>
                  <a:gd name="T34" fmla="*/ 8 w 230"/>
                  <a:gd name="T35" fmla="*/ 1 h 186"/>
                  <a:gd name="T36" fmla="*/ 5 w 230"/>
                  <a:gd name="T37" fmla="*/ 4 h 186"/>
                  <a:gd name="T38" fmla="*/ 5 w 230"/>
                  <a:gd name="T39" fmla="*/ 20 h 186"/>
                  <a:gd name="T40" fmla="*/ 3 w 230"/>
                  <a:gd name="T41" fmla="*/ 36 h 186"/>
                  <a:gd name="T42" fmla="*/ 230 w 230"/>
                  <a:gd name="T43" fmla="*/ 184 h 186"/>
                  <a:gd name="T44" fmla="*/ 223 w 230"/>
                  <a:gd name="T45" fmla="*/ 179 h 186"/>
                  <a:gd name="T46" fmla="*/ 216 w 230"/>
                  <a:gd name="T47" fmla="*/ 171 h 186"/>
                  <a:gd name="T48" fmla="*/ 205 w 230"/>
                  <a:gd name="T49" fmla="*/ 168 h 186"/>
                  <a:gd name="T50" fmla="*/ 202 w 230"/>
                  <a:gd name="T51" fmla="*/ 152 h 186"/>
                  <a:gd name="T52" fmla="*/ 203 w 230"/>
                  <a:gd name="T53" fmla="*/ 149 h 186"/>
                  <a:gd name="T54" fmla="*/ 205 w 230"/>
                  <a:gd name="T55" fmla="*/ 147 h 186"/>
                  <a:gd name="T56" fmla="*/ 200 w 230"/>
                  <a:gd name="T57" fmla="*/ 143 h 186"/>
                  <a:gd name="T58" fmla="*/ 189 w 230"/>
                  <a:gd name="T59" fmla="*/ 125 h 186"/>
                  <a:gd name="T60" fmla="*/ 173 w 230"/>
                  <a:gd name="T61" fmla="*/ 102 h 186"/>
                  <a:gd name="T62" fmla="*/ 171 w 230"/>
                  <a:gd name="T63" fmla="*/ 89 h 186"/>
                  <a:gd name="T64" fmla="*/ 163 w 230"/>
                  <a:gd name="T65" fmla="*/ 78 h 186"/>
                  <a:gd name="T66" fmla="*/ 162 w 230"/>
                  <a:gd name="T67" fmla="*/ 70 h 186"/>
                  <a:gd name="T68" fmla="*/ 143 w 230"/>
                  <a:gd name="T69" fmla="*/ 50 h 186"/>
                  <a:gd name="T70" fmla="*/ 140 w 230"/>
                  <a:gd name="T71" fmla="*/ 39 h 186"/>
                  <a:gd name="T72" fmla="*/ 142 w 230"/>
                  <a:gd name="T73" fmla="*/ 36 h 186"/>
                  <a:gd name="T74" fmla="*/ 145 w 230"/>
                  <a:gd name="T75" fmla="*/ 43 h 186"/>
                  <a:gd name="T76" fmla="*/ 153 w 230"/>
                  <a:gd name="T77" fmla="*/ 54 h 186"/>
                  <a:gd name="T78" fmla="*/ 161 w 230"/>
                  <a:gd name="T79" fmla="*/ 64 h 186"/>
                  <a:gd name="T80" fmla="*/ 175 w 230"/>
                  <a:gd name="T81" fmla="*/ 76 h 186"/>
                  <a:gd name="T82" fmla="*/ 180 w 230"/>
                  <a:gd name="T83" fmla="*/ 66 h 186"/>
                  <a:gd name="T84" fmla="*/ 181 w 230"/>
                  <a:gd name="T85" fmla="*/ 54 h 186"/>
                  <a:gd name="T86" fmla="*/ 185 w 230"/>
                  <a:gd name="T87" fmla="*/ 44 h 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230" h="186">
                    <a:moveTo>
                      <a:pt x="185" y="44"/>
                    </a:moveTo>
                    <a:lnTo>
                      <a:pt x="182" y="38"/>
                    </a:lnTo>
                    <a:lnTo>
                      <a:pt x="184" y="33"/>
                    </a:lnTo>
                    <a:lnTo>
                      <a:pt x="180" y="24"/>
                    </a:lnTo>
                    <a:lnTo>
                      <a:pt x="174" y="17"/>
                    </a:lnTo>
                    <a:lnTo>
                      <a:pt x="172" y="10"/>
                    </a:lnTo>
                    <a:lnTo>
                      <a:pt x="168" y="5"/>
                    </a:lnTo>
                    <a:lnTo>
                      <a:pt x="166" y="4"/>
                    </a:lnTo>
                    <a:lnTo>
                      <a:pt x="164" y="7"/>
                    </a:lnTo>
                    <a:lnTo>
                      <a:pt x="160" y="9"/>
                    </a:lnTo>
                    <a:lnTo>
                      <a:pt x="147" y="7"/>
                    </a:lnTo>
                    <a:lnTo>
                      <a:pt x="139" y="9"/>
                    </a:lnTo>
                    <a:lnTo>
                      <a:pt x="132" y="5"/>
                    </a:lnTo>
                    <a:lnTo>
                      <a:pt x="131" y="8"/>
                    </a:lnTo>
                    <a:lnTo>
                      <a:pt x="134" y="11"/>
                    </a:lnTo>
                    <a:lnTo>
                      <a:pt x="133" y="14"/>
                    </a:lnTo>
                    <a:lnTo>
                      <a:pt x="131" y="10"/>
                    </a:lnTo>
                    <a:lnTo>
                      <a:pt x="127" y="8"/>
                    </a:lnTo>
                    <a:lnTo>
                      <a:pt x="126" y="6"/>
                    </a:lnTo>
                    <a:lnTo>
                      <a:pt x="128" y="5"/>
                    </a:lnTo>
                    <a:lnTo>
                      <a:pt x="126" y="3"/>
                    </a:lnTo>
                    <a:lnTo>
                      <a:pt x="123" y="4"/>
                    </a:lnTo>
                    <a:lnTo>
                      <a:pt x="120" y="2"/>
                    </a:lnTo>
                    <a:lnTo>
                      <a:pt x="114" y="1"/>
                    </a:lnTo>
                    <a:lnTo>
                      <a:pt x="113" y="2"/>
                    </a:lnTo>
                    <a:lnTo>
                      <a:pt x="115" y="2"/>
                    </a:lnTo>
                    <a:lnTo>
                      <a:pt x="116" y="4"/>
                    </a:lnTo>
                    <a:lnTo>
                      <a:pt x="112" y="4"/>
                    </a:lnTo>
                    <a:lnTo>
                      <a:pt x="109" y="4"/>
                    </a:lnTo>
                    <a:lnTo>
                      <a:pt x="104" y="5"/>
                    </a:lnTo>
                    <a:lnTo>
                      <a:pt x="103" y="4"/>
                    </a:lnTo>
                    <a:lnTo>
                      <a:pt x="103" y="3"/>
                    </a:lnTo>
                    <a:lnTo>
                      <a:pt x="107" y="3"/>
                    </a:lnTo>
                    <a:lnTo>
                      <a:pt x="110" y="2"/>
                    </a:lnTo>
                    <a:lnTo>
                      <a:pt x="106" y="2"/>
                    </a:lnTo>
                    <a:lnTo>
                      <a:pt x="101" y="2"/>
                    </a:lnTo>
                    <a:lnTo>
                      <a:pt x="99" y="4"/>
                    </a:lnTo>
                    <a:lnTo>
                      <a:pt x="94" y="6"/>
                    </a:lnTo>
                    <a:lnTo>
                      <a:pt x="92" y="7"/>
                    </a:lnTo>
                    <a:lnTo>
                      <a:pt x="87" y="8"/>
                    </a:lnTo>
                    <a:lnTo>
                      <a:pt x="83" y="12"/>
                    </a:lnTo>
                    <a:lnTo>
                      <a:pt x="82" y="14"/>
                    </a:lnTo>
                    <a:lnTo>
                      <a:pt x="77" y="14"/>
                    </a:lnTo>
                    <a:lnTo>
                      <a:pt x="70" y="10"/>
                    </a:lnTo>
                    <a:lnTo>
                      <a:pt x="65" y="9"/>
                    </a:lnTo>
                    <a:lnTo>
                      <a:pt x="59" y="10"/>
                    </a:lnTo>
                    <a:lnTo>
                      <a:pt x="54" y="6"/>
                    </a:lnTo>
                    <a:lnTo>
                      <a:pt x="52" y="6"/>
                    </a:lnTo>
                    <a:lnTo>
                      <a:pt x="50" y="8"/>
                    </a:lnTo>
                    <a:lnTo>
                      <a:pt x="44" y="5"/>
                    </a:lnTo>
                    <a:lnTo>
                      <a:pt x="38" y="4"/>
                    </a:lnTo>
                    <a:lnTo>
                      <a:pt x="24" y="3"/>
                    </a:lnTo>
                    <a:lnTo>
                      <a:pt x="17" y="0"/>
                    </a:lnTo>
                    <a:lnTo>
                      <a:pt x="8" y="1"/>
                    </a:lnTo>
                    <a:lnTo>
                      <a:pt x="6" y="1"/>
                    </a:lnTo>
                    <a:lnTo>
                      <a:pt x="6" y="1"/>
                    </a:lnTo>
                    <a:lnTo>
                      <a:pt x="5" y="4"/>
                    </a:lnTo>
                    <a:lnTo>
                      <a:pt x="3" y="11"/>
                    </a:lnTo>
                    <a:lnTo>
                      <a:pt x="5" y="16"/>
                    </a:lnTo>
                    <a:lnTo>
                      <a:pt x="5" y="20"/>
                    </a:lnTo>
                    <a:lnTo>
                      <a:pt x="3" y="27"/>
                    </a:lnTo>
                    <a:lnTo>
                      <a:pt x="0" y="31"/>
                    </a:lnTo>
                    <a:lnTo>
                      <a:pt x="3" y="36"/>
                    </a:lnTo>
                    <a:lnTo>
                      <a:pt x="5" y="46"/>
                    </a:lnTo>
                    <a:lnTo>
                      <a:pt x="11" y="186"/>
                    </a:lnTo>
                    <a:lnTo>
                      <a:pt x="230" y="184"/>
                    </a:lnTo>
                    <a:lnTo>
                      <a:pt x="230" y="184"/>
                    </a:lnTo>
                    <a:lnTo>
                      <a:pt x="228" y="182"/>
                    </a:lnTo>
                    <a:lnTo>
                      <a:pt x="223" y="179"/>
                    </a:lnTo>
                    <a:lnTo>
                      <a:pt x="222" y="177"/>
                    </a:lnTo>
                    <a:lnTo>
                      <a:pt x="218" y="176"/>
                    </a:lnTo>
                    <a:lnTo>
                      <a:pt x="216" y="171"/>
                    </a:lnTo>
                    <a:lnTo>
                      <a:pt x="214" y="172"/>
                    </a:lnTo>
                    <a:lnTo>
                      <a:pt x="210" y="172"/>
                    </a:lnTo>
                    <a:lnTo>
                      <a:pt x="205" y="168"/>
                    </a:lnTo>
                    <a:lnTo>
                      <a:pt x="202" y="158"/>
                    </a:lnTo>
                    <a:lnTo>
                      <a:pt x="203" y="157"/>
                    </a:lnTo>
                    <a:lnTo>
                      <a:pt x="202" y="152"/>
                    </a:lnTo>
                    <a:lnTo>
                      <a:pt x="201" y="150"/>
                    </a:lnTo>
                    <a:lnTo>
                      <a:pt x="202" y="148"/>
                    </a:lnTo>
                    <a:lnTo>
                      <a:pt x="203" y="149"/>
                    </a:lnTo>
                    <a:lnTo>
                      <a:pt x="208" y="150"/>
                    </a:lnTo>
                    <a:lnTo>
                      <a:pt x="206" y="147"/>
                    </a:lnTo>
                    <a:lnTo>
                      <a:pt x="205" y="147"/>
                    </a:lnTo>
                    <a:lnTo>
                      <a:pt x="202" y="142"/>
                    </a:lnTo>
                    <a:lnTo>
                      <a:pt x="200" y="141"/>
                    </a:lnTo>
                    <a:lnTo>
                      <a:pt x="200" y="143"/>
                    </a:lnTo>
                    <a:lnTo>
                      <a:pt x="198" y="140"/>
                    </a:lnTo>
                    <a:lnTo>
                      <a:pt x="196" y="136"/>
                    </a:lnTo>
                    <a:lnTo>
                      <a:pt x="189" y="125"/>
                    </a:lnTo>
                    <a:lnTo>
                      <a:pt x="185" y="123"/>
                    </a:lnTo>
                    <a:lnTo>
                      <a:pt x="185" y="118"/>
                    </a:lnTo>
                    <a:lnTo>
                      <a:pt x="173" y="102"/>
                    </a:lnTo>
                    <a:lnTo>
                      <a:pt x="174" y="98"/>
                    </a:lnTo>
                    <a:lnTo>
                      <a:pt x="172" y="95"/>
                    </a:lnTo>
                    <a:lnTo>
                      <a:pt x="171" y="89"/>
                    </a:lnTo>
                    <a:lnTo>
                      <a:pt x="169" y="87"/>
                    </a:lnTo>
                    <a:lnTo>
                      <a:pt x="169" y="84"/>
                    </a:lnTo>
                    <a:lnTo>
                      <a:pt x="163" y="78"/>
                    </a:lnTo>
                    <a:lnTo>
                      <a:pt x="163" y="75"/>
                    </a:lnTo>
                    <a:lnTo>
                      <a:pt x="164" y="72"/>
                    </a:lnTo>
                    <a:lnTo>
                      <a:pt x="162" y="70"/>
                    </a:lnTo>
                    <a:lnTo>
                      <a:pt x="151" y="61"/>
                    </a:lnTo>
                    <a:lnTo>
                      <a:pt x="150" y="58"/>
                    </a:lnTo>
                    <a:lnTo>
                      <a:pt x="143" y="50"/>
                    </a:lnTo>
                    <a:lnTo>
                      <a:pt x="143" y="47"/>
                    </a:lnTo>
                    <a:lnTo>
                      <a:pt x="140" y="42"/>
                    </a:lnTo>
                    <a:lnTo>
                      <a:pt x="140" y="39"/>
                    </a:lnTo>
                    <a:lnTo>
                      <a:pt x="140" y="37"/>
                    </a:lnTo>
                    <a:lnTo>
                      <a:pt x="141" y="35"/>
                    </a:lnTo>
                    <a:lnTo>
                      <a:pt x="142" y="36"/>
                    </a:lnTo>
                    <a:lnTo>
                      <a:pt x="142" y="36"/>
                    </a:lnTo>
                    <a:lnTo>
                      <a:pt x="144" y="41"/>
                    </a:lnTo>
                    <a:lnTo>
                      <a:pt x="145" y="43"/>
                    </a:lnTo>
                    <a:lnTo>
                      <a:pt x="146" y="45"/>
                    </a:lnTo>
                    <a:lnTo>
                      <a:pt x="153" y="51"/>
                    </a:lnTo>
                    <a:lnTo>
                      <a:pt x="153" y="54"/>
                    </a:lnTo>
                    <a:lnTo>
                      <a:pt x="155" y="58"/>
                    </a:lnTo>
                    <a:lnTo>
                      <a:pt x="160" y="60"/>
                    </a:lnTo>
                    <a:lnTo>
                      <a:pt x="161" y="64"/>
                    </a:lnTo>
                    <a:lnTo>
                      <a:pt x="170" y="72"/>
                    </a:lnTo>
                    <a:lnTo>
                      <a:pt x="175" y="75"/>
                    </a:lnTo>
                    <a:lnTo>
                      <a:pt x="175" y="76"/>
                    </a:lnTo>
                    <a:lnTo>
                      <a:pt x="176" y="73"/>
                    </a:lnTo>
                    <a:lnTo>
                      <a:pt x="179" y="71"/>
                    </a:lnTo>
                    <a:lnTo>
                      <a:pt x="180" y="66"/>
                    </a:lnTo>
                    <a:lnTo>
                      <a:pt x="178" y="64"/>
                    </a:lnTo>
                    <a:lnTo>
                      <a:pt x="181" y="58"/>
                    </a:lnTo>
                    <a:lnTo>
                      <a:pt x="181" y="54"/>
                    </a:lnTo>
                    <a:lnTo>
                      <a:pt x="184" y="45"/>
                    </a:lnTo>
                    <a:lnTo>
                      <a:pt x="185" y="44"/>
                    </a:lnTo>
                    <a:lnTo>
                      <a:pt x="185" y="44"/>
                    </a:lnTo>
                    <a:close/>
                  </a:path>
                </a:pathLst>
              </a:custGeom>
              <a:solidFill>
                <a:srgbClr val="65625E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997" name="Freeform 400"/>
              <p:cNvSpPr>
                <a:spLocks/>
              </p:cNvSpPr>
              <p:nvPr userDrawn="1"/>
            </p:nvSpPr>
            <p:spPr bwMode="auto">
              <a:xfrm>
                <a:off x="3867" y="2528"/>
                <a:ext cx="304" cy="337"/>
              </a:xfrm>
              <a:custGeom>
                <a:avLst/>
                <a:gdLst>
                  <a:gd name="T0" fmla="*/ 271 w 304"/>
                  <a:gd name="T1" fmla="*/ 5 h 337"/>
                  <a:gd name="T2" fmla="*/ 273 w 304"/>
                  <a:gd name="T3" fmla="*/ 14 h 337"/>
                  <a:gd name="T4" fmla="*/ 274 w 304"/>
                  <a:gd name="T5" fmla="*/ 16 h 337"/>
                  <a:gd name="T6" fmla="*/ 278 w 304"/>
                  <a:gd name="T7" fmla="*/ 46 h 337"/>
                  <a:gd name="T8" fmla="*/ 295 w 304"/>
                  <a:gd name="T9" fmla="*/ 69 h 337"/>
                  <a:gd name="T10" fmla="*/ 301 w 304"/>
                  <a:gd name="T11" fmla="*/ 78 h 337"/>
                  <a:gd name="T12" fmla="*/ 288 w 304"/>
                  <a:gd name="T13" fmla="*/ 83 h 337"/>
                  <a:gd name="T14" fmla="*/ 279 w 304"/>
                  <a:gd name="T15" fmla="*/ 89 h 337"/>
                  <a:gd name="T16" fmla="*/ 278 w 304"/>
                  <a:gd name="T17" fmla="*/ 102 h 337"/>
                  <a:gd name="T18" fmla="*/ 269 w 304"/>
                  <a:gd name="T19" fmla="*/ 125 h 337"/>
                  <a:gd name="T20" fmla="*/ 271 w 304"/>
                  <a:gd name="T21" fmla="*/ 143 h 337"/>
                  <a:gd name="T22" fmla="*/ 262 w 304"/>
                  <a:gd name="T23" fmla="*/ 168 h 337"/>
                  <a:gd name="T24" fmla="*/ 251 w 304"/>
                  <a:gd name="T25" fmla="*/ 182 h 337"/>
                  <a:gd name="T26" fmla="*/ 237 w 304"/>
                  <a:gd name="T27" fmla="*/ 204 h 337"/>
                  <a:gd name="T28" fmla="*/ 232 w 304"/>
                  <a:gd name="T29" fmla="*/ 221 h 337"/>
                  <a:gd name="T30" fmla="*/ 225 w 304"/>
                  <a:gd name="T31" fmla="*/ 247 h 337"/>
                  <a:gd name="T32" fmla="*/ 212 w 304"/>
                  <a:gd name="T33" fmla="*/ 248 h 337"/>
                  <a:gd name="T34" fmla="*/ 212 w 304"/>
                  <a:gd name="T35" fmla="*/ 260 h 337"/>
                  <a:gd name="T36" fmla="*/ 226 w 304"/>
                  <a:gd name="T37" fmla="*/ 268 h 337"/>
                  <a:gd name="T38" fmla="*/ 238 w 304"/>
                  <a:gd name="T39" fmla="*/ 278 h 337"/>
                  <a:gd name="T40" fmla="*/ 247 w 304"/>
                  <a:gd name="T41" fmla="*/ 296 h 337"/>
                  <a:gd name="T42" fmla="*/ 233 w 304"/>
                  <a:gd name="T43" fmla="*/ 318 h 337"/>
                  <a:gd name="T44" fmla="*/ 224 w 304"/>
                  <a:gd name="T45" fmla="*/ 326 h 337"/>
                  <a:gd name="T46" fmla="*/ 203 w 304"/>
                  <a:gd name="T47" fmla="*/ 332 h 337"/>
                  <a:gd name="T48" fmla="*/ 193 w 304"/>
                  <a:gd name="T49" fmla="*/ 337 h 337"/>
                  <a:gd name="T50" fmla="*/ 181 w 304"/>
                  <a:gd name="T51" fmla="*/ 333 h 337"/>
                  <a:gd name="T52" fmla="*/ 170 w 304"/>
                  <a:gd name="T53" fmla="*/ 336 h 337"/>
                  <a:gd name="T54" fmla="*/ 163 w 304"/>
                  <a:gd name="T55" fmla="*/ 334 h 337"/>
                  <a:gd name="T56" fmla="*/ 153 w 304"/>
                  <a:gd name="T57" fmla="*/ 323 h 337"/>
                  <a:gd name="T58" fmla="*/ 142 w 304"/>
                  <a:gd name="T59" fmla="*/ 315 h 337"/>
                  <a:gd name="T60" fmla="*/ 133 w 304"/>
                  <a:gd name="T61" fmla="*/ 319 h 337"/>
                  <a:gd name="T62" fmla="*/ 120 w 304"/>
                  <a:gd name="T63" fmla="*/ 322 h 337"/>
                  <a:gd name="T64" fmla="*/ 107 w 304"/>
                  <a:gd name="T65" fmla="*/ 313 h 337"/>
                  <a:gd name="T66" fmla="*/ 100 w 304"/>
                  <a:gd name="T67" fmla="*/ 305 h 337"/>
                  <a:gd name="T68" fmla="*/ 90 w 304"/>
                  <a:gd name="T69" fmla="*/ 293 h 337"/>
                  <a:gd name="T70" fmla="*/ 81 w 304"/>
                  <a:gd name="T71" fmla="*/ 283 h 337"/>
                  <a:gd name="T72" fmla="*/ 70 w 304"/>
                  <a:gd name="T73" fmla="*/ 272 h 337"/>
                  <a:gd name="T74" fmla="*/ 63 w 304"/>
                  <a:gd name="T75" fmla="*/ 265 h 337"/>
                  <a:gd name="T76" fmla="*/ 58 w 304"/>
                  <a:gd name="T77" fmla="*/ 257 h 337"/>
                  <a:gd name="T78" fmla="*/ 44 w 304"/>
                  <a:gd name="T79" fmla="*/ 249 h 337"/>
                  <a:gd name="T80" fmla="*/ 36 w 304"/>
                  <a:gd name="T81" fmla="*/ 243 h 337"/>
                  <a:gd name="T82" fmla="*/ 31 w 304"/>
                  <a:gd name="T83" fmla="*/ 231 h 337"/>
                  <a:gd name="T84" fmla="*/ 22 w 304"/>
                  <a:gd name="T85" fmla="*/ 210 h 337"/>
                  <a:gd name="T86" fmla="*/ 17 w 304"/>
                  <a:gd name="T87" fmla="*/ 199 h 337"/>
                  <a:gd name="T88" fmla="*/ 10 w 304"/>
                  <a:gd name="T89" fmla="*/ 187 h 337"/>
                  <a:gd name="T90" fmla="*/ 9 w 304"/>
                  <a:gd name="T91" fmla="*/ 173 h 337"/>
                  <a:gd name="T92" fmla="*/ 0 w 304"/>
                  <a:gd name="T93" fmla="*/ 168 h 337"/>
                  <a:gd name="T94" fmla="*/ 5 w 304"/>
                  <a:gd name="T95" fmla="*/ 150 h 337"/>
                  <a:gd name="T96" fmla="*/ 10 w 304"/>
                  <a:gd name="T97" fmla="*/ 137 h 337"/>
                  <a:gd name="T98" fmla="*/ 19 w 304"/>
                  <a:gd name="T99" fmla="*/ 119 h 337"/>
                  <a:gd name="T100" fmla="*/ 36 w 304"/>
                  <a:gd name="T101" fmla="*/ 115 h 337"/>
                  <a:gd name="T102" fmla="*/ 51 w 304"/>
                  <a:gd name="T103" fmla="*/ 2 h 3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304" h="337">
                    <a:moveTo>
                      <a:pt x="51" y="2"/>
                    </a:moveTo>
                    <a:lnTo>
                      <a:pt x="270" y="0"/>
                    </a:lnTo>
                    <a:lnTo>
                      <a:pt x="270" y="2"/>
                    </a:lnTo>
                    <a:lnTo>
                      <a:pt x="270" y="3"/>
                    </a:lnTo>
                    <a:lnTo>
                      <a:pt x="271" y="5"/>
                    </a:lnTo>
                    <a:lnTo>
                      <a:pt x="270" y="6"/>
                    </a:lnTo>
                    <a:lnTo>
                      <a:pt x="271" y="7"/>
                    </a:lnTo>
                    <a:lnTo>
                      <a:pt x="271" y="7"/>
                    </a:lnTo>
                    <a:lnTo>
                      <a:pt x="272" y="8"/>
                    </a:lnTo>
                    <a:lnTo>
                      <a:pt x="273" y="14"/>
                    </a:lnTo>
                    <a:lnTo>
                      <a:pt x="277" y="17"/>
                    </a:lnTo>
                    <a:lnTo>
                      <a:pt x="276" y="19"/>
                    </a:lnTo>
                    <a:lnTo>
                      <a:pt x="276" y="19"/>
                    </a:lnTo>
                    <a:lnTo>
                      <a:pt x="275" y="17"/>
                    </a:lnTo>
                    <a:lnTo>
                      <a:pt x="274" y="16"/>
                    </a:lnTo>
                    <a:lnTo>
                      <a:pt x="273" y="16"/>
                    </a:lnTo>
                    <a:lnTo>
                      <a:pt x="273" y="20"/>
                    </a:lnTo>
                    <a:lnTo>
                      <a:pt x="278" y="33"/>
                    </a:lnTo>
                    <a:lnTo>
                      <a:pt x="279" y="39"/>
                    </a:lnTo>
                    <a:lnTo>
                      <a:pt x="278" y="46"/>
                    </a:lnTo>
                    <a:lnTo>
                      <a:pt x="281" y="54"/>
                    </a:lnTo>
                    <a:lnTo>
                      <a:pt x="284" y="60"/>
                    </a:lnTo>
                    <a:lnTo>
                      <a:pt x="287" y="60"/>
                    </a:lnTo>
                    <a:lnTo>
                      <a:pt x="295" y="66"/>
                    </a:lnTo>
                    <a:lnTo>
                      <a:pt x="295" y="69"/>
                    </a:lnTo>
                    <a:lnTo>
                      <a:pt x="299" y="69"/>
                    </a:lnTo>
                    <a:lnTo>
                      <a:pt x="303" y="71"/>
                    </a:lnTo>
                    <a:lnTo>
                      <a:pt x="303" y="74"/>
                    </a:lnTo>
                    <a:lnTo>
                      <a:pt x="304" y="74"/>
                    </a:lnTo>
                    <a:lnTo>
                      <a:pt x="301" y="78"/>
                    </a:lnTo>
                    <a:lnTo>
                      <a:pt x="298" y="79"/>
                    </a:lnTo>
                    <a:lnTo>
                      <a:pt x="295" y="80"/>
                    </a:lnTo>
                    <a:lnTo>
                      <a:pt x="294" y="81"/>
                    </a:lnTo>
                    <a:lnTo>
                      <a:pt x="290" y="81"/>
                    </a:lnTo>
                    <a:lnTo>
                      <a:pt x="288" y="83"/>
                    </a:lnTo>
                    <a:lnTo>
                      <a:pt x="284" y="84"/>
                    </a:lnTo>
                    <a:lnTo>
                      <a:pt x="284" y="86"/>
                    </a:lnTo>
                    <a:lnTo>
                      <a:pt x="285" y="87"/>
                    </a:lnTo>
                    <a:lnTo>
                      <a:pt x="284" y="89"/>
                    </a:lnTo>
                    <a:lnTo>
                      <a:pt x="279" y="89"/>
                    </a:lnTo>
                    <a:lnTo>
                      <a:pt x="277" y="91"/>
                    </a:lnTo>
                    <a:lnTo>
                      <a:pt x="277" y="95"/>
                    </a:lnTo>
                    <a:lnTo>
                      <a:pt x="275" y="99"/>
                    </a:lnTo>
                    <a:lnTo>
                      <a:pt x="277" y="100"/>
                    </a:lnTo>
                    <a:lnTo>
                      <a:pt x="278" y="102"/>
                    </a:lnTo>
                    <a:lnTo>
                      <a:pt x="277" y="103"/>
                    </a:lnTo>
                    <a:lnTo>
                      <a:pt x="274" y="108"/>
                    </a:lnTo>
                    <a:lnTo>
                      <a:pt x="273" y="117"/>
                    </a:lnTo>
                    <a:lnTo>
                      <a:pt x="270" y="122"/>
                    </a:lnTo>
                    <a:lnTo>
                      <a:pt x="269" y="125"/>
                    </a:lnTo>
                    <a:lnTo>
                      <a:pt x="268" y="126"/>
                    </a:lnTo>
                    <a:lnTo>
                      <a:pt x="268" y="131"/>
                    </a:lnTo>
                    <a:lnTo>
                      <a:pt x="269" y="138"/>
                    </a:lnTo>
                    <a:lnTo>
                      <a:pt x="270" y="142"/>
                    </a:lnTo>
                    <a:lnTo>
                      <a:pt x="271" y="143"/>
                    </a:lnTo>
                    <a:lnTo>
                      <a:pt x="270" y="144"/>
                    </a:lnTo>
                    <a:lnTo>
                      <a:pt x="268" y="149"/>
                    </a:lnTo>
                    <a:lnTo>
                      <a:pt x="268" y="155"/>
                    </a:lnTo>
                    <a:lnTo>
                      <a:pt x="264" y="164"/>
                    </a:lnTo>
                    <a:lnTo>
                      <a:pt x="262" y="168"/>
                    </a:lnTo>
                    <a:lnTo>
                      <a:pt x="260" y="168"/>
                    </a:lnTo>
                    <a:lnTo>
                      <a:pt x="256" y="169"/>
                    </a:lnTo>
                    <a:lnTo>
                      <a:pt x="256" y="172"/>
                    </a:lnTo>
                    <a:lnTo>
                      <a:pt x="251" y="180"/>
                    </a:lnTo>
                    <a:lnTo>
                      <a:pt x="251" y="182"/>
                    </a:lnTo>
                    <a:lnTo>
                      <a:pt x="247" y="186"/>
                    </a:lnTo>
                    <a:lnTo>
                      <a:pt x="244" y="191"/>
                    </a:lnTo>
                    <a:lnTo>
                      <a:pt x="241" y="205"/>
                    </a:lnTo>
                    <a:lnTo>
                      <a:pt x="238" y="204"/>
                    </a:lnTo>
                    <a:lnTo>
                      <a:pt x="237" y="204"/>
                    </a:lnTo>
                    <a:lnTo>
                      <a:pt x="236" y="207"/>
                    </a:lnTo>
                    <a:lnTo>
                      <a:pt x="232" y="211"/>
                    </a:lnTo>
                    <a:lnTo>
                      <a:pt x="231" y="215"/>
                    </a:lnTo>
                    <a:lnTo>
                      <a:pt x="232" y="217"/>
                    </a:lnTo>
                    <a:lnTo>
                      <a:pt x="232" y="221"/>
                    </a:lnTo>
                    <a:lnTo>
                      <a:pt x="229" y="225"/>
                    </a:lnTo>
                    <a:lnTo>
                      <a:pt x="227" y="231"/>
                    </a:lnTo>
                    <a:lnTo>
                      <a:pt x="228" y="237"/>
                    </a:lnTo>
                    <a:lnTo>
                      <a:pt x="227" y="246"/>
                    </a:lnTo>
                    <a:lnTo>
                      <a:pt x="225" y="247"/>
                    </a:lnTo>
                    <a:lnTo>
                      <a:pt x="224" y="249"/>
                    </a:lnTo>
                    <a:lnTo>
                      <a:pt x="222" y="249"/>
                    </a:lnTo>
                    <a:lnTo>
                      <a:pt x="220" y="248"/>
                    </a:lnTo>
                    <a:lnTo>
                      <a:pt x="216" y="249"/>
                    </a:lnTo>
                    <a:lnTo>
                      <a:pt x="212" y="248"/>
                    </a:lnTo>
                    <a:lnTo>
                      <a:pt x="212" y="252"/>
                    </a:lnTo>
                    <a:lnTo>
                      <a:pt x="210" y="253"/>
                    </a:lnTo>
                    <a:lnTo>
                      <a:pt x="207" y="256"/>
                    </a:lnTo>
                    <a:lnTo>
                      <a:pt x="208" y="258"/>
                    </a:lnTo>
                    <a:lnTo>
                      <a:pt x="212" y="260"/>
                    </a:lnTo>
                    <a:lnTo>
                      <a:pt x="220" y="259"/>
                    </a:lnTo>
                    <a:lnTo>
                      <a:pt x="222" y="262"/>
                    </a:lnTo>
                    <a:lnTo>
                      <a:pt x="225" y="265"/>
                    </a:lnTo>
                    <a:lnTo>
                      <a:pt x="225" y="268"/>
                    </a:lnTo>
                    <a:lnTo>
                      <a:pt x="226" y="268"/>
                    </a:lnTo>
                    <a:lnTo>
                      <a:pt x="230" y="275"/>
                    </a:lnTo>
                    <a:lnTo>
                      <a:pt x="233" y="276"/>
                    </a:lnTo>
                    <a:lnTo>
                      <a:pt x="233" y="277"/>
                    </a:lnTo>
                    <a:lnTo>
                      <a:pt x="235" y="278"/>
                    </a:lnTo>
                    <a:lnTo>
                      <a:pt x="238" y="278"/>
                    </a:lnTo>
                    <a:lnTo>
                      <a:pt x="241" y="281"/>
                    </a:lnTo>
                    <a:lnTo>
                      <a:pt x="242" y="284"/>
                    </a:lnTo>
                    <a:lnTo>
                      <a:pt x="246" y="287"/>
                    </a:lnTo>
                    <a:lnTo>
                      <a:pt x="246" y="294"/>
                    </a:lnTo>
                    <a:lnTo>
                      <a:pt x="247" y="296"/>
                    </a:lnTo>
                    <a:lnTo>
                      <a:pt x="249" y="302"/>
                    </a:lnTo>
                    <a:lnTo>
                      <a:pt x="243" y="309"/>
                    </a:lnTo>
                    <a:lnTo>
                      <a:pt x="238" y="316"/>
                    </a:lnTo>
                    <a:lnTo>
                      <a:pt x="236" y="315"/>
                    </a:lnTo>
                    <a:lnTo>
                      <a:pt x="233" y="318"/>
                    </a:lnTo>
                    <a:lnTo>
                      <a:pt x="231" y="320"/>
                    </a:lnTo>
                    <a:lnTo>
                      <a:pt x="230" y="320"/>
                    </a:lnTo>
                    <a:lnTo>
                      <a:pt x="227" y="323"/>
                    </a:lnTo>
                    <a:lnTo>
                      <a:pt x="227" y="323"/>
                    </a:lnTo>
                    <a:lnTo>
                      <a:pt x="224" y="326"/>
                    </a:lnTo>
                    <a:lnTo>
                      <a:pt x="222" y="329"/>
                    </a:lnTo>
                    <a:lnTo>
                      <a:pt x="217" y="331"/>
                    </a:lnTo>
                    <a:lnTo>
                      <a:pt x="213" y="330"/>
                    </a:lnTo>
                    <a:lnTo>
                      <a:pt x="206" y="330"/>
                    </a:lnTo>
                    <a:lnTo>
                      <a:pt x="203" y="332"/>
                    </a:lnTo>
                    <a:lnTo>
                      <a:pt x="200" y="332"/>
                    </a:lnTo>
                    <a:lnTo>
                      <a:pt x="198" y="333"/>
                    </a:lnTo>
                    <a:lnTo>
                      <a:pt x="196" y="332"/>
                    </a:lnTo>
                    <a:lnTo>
                      <a:pt x="193" y="334"/>
                    </a:lnTo>
                    <a:lnTo>
                      <a:pt x="193" y="337"/>
                    </a:lnTo>
                    <a:lnTo>
                      <a:pt x="191" y="337"/>
                    </a:lnTo>
                    <a:lnTo>
                      <a:pt x="187" y="336"/>
                    </a:lnTo>
                    <a:lnTo>
                      <a:pt x="186" y="333"/>
                    </a:lnTo>
                    <a:lnTo>
                      <a:pt x="183" y="332"/>
                    </a:lnTo>
                    <a:lnTo>
                      <a:pt x="181" y="333"/>
                    </a:lnTo>
                    <a:lnTo>
                      <a:pt x="176" y="331"/>
                    </a:lnTo>
                    <a:lnTo>
                      <a:pt x="172" y="330"/>
                    </a:lnTo>
                    <a:lnTo>
                      <a:pt x="170" y="332"/>
                    </a:lnTo>
                    <a:lnTo>
                      <a:pt x="170" y="335"/>
                    </a:lnTo>
                    <a:lnTo>
                      <a:pt x="170" y="336"/>
                    </a:lnTo>
                    <a:lnTo>
                      <a:pt x="170" y="337"/>
                    </a:lnTo>
                    <a:lnTo>
                      <a:pt x="169" y="336"/>
                    </a:lnTo>
                    <a:lnTo>
                      <a:pt x="164" y="336"/>
                    </a:lnTo>
                    <a:lnTo>
                      <a:pt x="163" y="336"/>
                    </a:lnTo>
                    <a:lnTo>
                      <a:pt x="163" y="334"/>
                    </a:lnTo>
                    <a:lnTo>
                      <a:pt x="162" y="331"/>
                    </a:lnTo>
                    <a:lnTo>
                      <a:pt x="161" y="330"/>
                    </a:lnTo>
                    <a:lnTo>
                      <a:pt x="160" y="327"/>
                    </a:lnTo>
                    <a:lnTo>
                      <a:pt x="158" y="325"/>
                    </a:lnTo>
                    <a:lnTo>
                      <a:pt x="153" y="323"/>
                    </a:lnTo>
                    <a:lnTo>
                      <a:pt x="152" y="322"/>
                    </a:lnTo>
                    <a:lnTo>
                      <a:pt x="150" y="319"/>
                    </a:lnTo>
                    <a:lnTo>
                      <a:pt x="147" y="316"/>
                    </a:lnTo>
                    <a:lnTo>
                      <a:pt x="146" y="315"/>
                    </a:lnTo>
                    <a:lnTo>
                      <a:pt x="142" y="315"/>
                    </a:lnTo>
                    <a:lnTo>
                      <a:pt x="140" y="317"/>
                    </a:lnTo>
                    <a:lnTo>
                      <a:pt x="139" y="319"/>
                    </a:lnTo>
                    <a:lnTo>
                      <a:pt x="135" y="319"/>
                    </a:lnTo>
                    <a:lnTo>
                      <a:pt x="133" y="319"/>
                    </a:lnTo>
                    <a:lnTo>
                      <a:pt x="133" y="319"/>
                    </a:lnTo>
                    <a:lnTo>
                      <a:pt x="130" y="319"/>
                    </a:lnTo>
                    <a:lnTo>
                      <a:pt x="126" y="319"/>
                    </a:lnTo>
                    <a:lnTo>
                      <a:pt x="123" y="319"/>
                    </a:lnTo>
                    <a:lnTo>
                      <a:pt x="122" y="321"/>
                    </a:lnTo>
                    <a:lnTo>
                      <a:pt x="120" y="322"/>
                    </a:lnTo>
                    <a:lnTo>
                      <a:pt x="117" y="321"/>
                    </a:lnTo>
                    <a:lnTo>
                      <a:pt x="113" y="319"/>
                    </a:lnTo>
                    <a:lnTo>
                      <a:pt x="111" y="316"/>
                    </a:lnTo>
                    <a:lnTo>
                      <a:pt x="109" y="316"/>
                    </a:lnTo>
                    <a:lnTo>
                      <a:pt x="107" y="313"/>
                    </a:lnTo>
                    <a:lnTo>
                      <a:pt x="106" y="310"/>
                    </a:lnTo>
                    <a:lnTo>
                      <a:pt x="105" y="310"/>
                    </a:lnTo>
                    <a:lnTo>
                      <a:pt x="105" y="309"/>
                    </a:lnTo>
                    <a:lnTo>
                      <a:pt x="104" y="307"/>
                    </a:lnTo>
                    <a:lnTo>
                      <a:pt x="100" y="305"/>
                    </a:lnTo>
                    <a:lnTo>
                      <a:pt x="98" y="304"/>
                    </a:lnTo>
                    <a:lnTo>
                      <a:pt x="97" y="298"/>
                    </a:lnTo>
                    <a:lnTo>
                      <a:pt x="98" y="297"/>
                    </a:lnTo>
                    <a:lnTo>
                      <a:pt x="96" y="295"/>
                    </a:lnTo>
                    <a:lnTo>
                      <a:pt x="90" y="293"/>
                    </a:lnTo>
                    <a:lnTo>
                      <a:pt x="88" y="292"/>
                    </a:lnTo>
                    <a:lnTo>
                      <a:pt x="88" y="288"/>
                    </a:lnTo>
                    <a:lnTo>
                      <a:pt x="87" y="287"/>
                    </a:lnTo>
                    <a:lnTo>
                      <a:pt x="83" y="285"/>
                    </a:lnTo>
                    <a:lnTo>
                      <a:pt x="81" y="283"/>
                    </a:lnTo>
                    <a:lnTo>
                      <a:pt x="81" y="278"/>
                    </a:lnTo>
                    <a:lnTo>
                      <a:pt x="79" y="276"/>
                    </a:lnTo>
                    <a:lnTo>
                      <a:pt x="74" y="273"/>
                    </a:lnTo>
                    <a:lnTo>
                      <a:pt x="73" y="273"/>
                    </a:lnTo>
                    <a:lnTo>
                      <a:pt x="70" y="272"/>
                    </a:lnTo>
                    <a:lnTo>
                      <a:pt x="68" y="273"/>
                    </a:lnTo>
                    <a:lnTo>
                      <a:pt x="65" y="272"/>
                    </a:lnTo>
                    <a:lnTo>
                      <a:pt x="61" y="268"/>
                    </a:lnTo>
                    <a:lnTo>
                      <a:pt x="62" y="267"/>
                    </a:lnTo>
                    <a:lnTo>
                      <a:pt x="63" y="265"/>
                    </a:lnTo>
                    <a:lnTo>
                      <a:pt x="65" y="263"/>
                    </a:lnTo>
                    <a:lnTo>
                      <a:pt x="66" y="261"/>
                    </a:lnTo>
                    <a:lnTo>
                      <a:pt x="65" y="259"/>
                    </a:lnTo>
                    <a:lnTo>
                      <a:pt x="61" y="258"/>
                    </a:lnTo>
                    <a:lnTo>
                      <a:pt x="58" y="257"/>
                    </a:lnTo>
                    <a:lnTo>
                      <a:pt x="57" y="255"/>
                    </a:lnTo>
                    <a:lnTo>
                      <a:pt x="54" y="253"/>
                    </a:lnTo>
                    <a:lnTo>
                      <a:pt x="51" y="253"/>
                    </a:lnTo>
                    <a:lnTo>
                      <a:pt x="47" y="252"/>
                    </a:lnTo>
                    <a:lnTo>
                      <a:pt x="44" y="249"/>
                    </a:lnTo>
                    <a:lnTo>
                      <a:pt x="43" y="246"/>
                    </a:lnTo>
                    <a:lnTo>
                      <a:pt x="45" y="243"/>
                    </a:lnTo>
                    <a:lnTo>
                      <a:pt x="43" y="242"/>
                    </a:lnTo>
                    <a:lnTo>
                      <a:pt x="37" y="242"/>
                    </a:lnTo>
                    <a:lnTo>
                      <a:pt x="36" y="243"/>
                    </a:lnTo>
                    <a:lnTo>
                      <a:pt x="31" y="243"/>
                    </a:lnTo>
                    <a:lnTo>
                      <a:pt x="29" y="241"/>
                    </a:lnTo>
                    <a:lnTo>
                      <a:pt x="29" y="235"/>
                    </a:lnTo>
                    <a:lnTo>
                      <a:pt x="30" y="233"/>
                    </a:lnTo>
                    <a:lnTo>
                      <a:pt x="31" y="231"/>
                    </a:lnTo>
                    <a:lnTo>
                      <a:pt x="31" y="227"/>
                    </a:lnTo>
                    <a:lnTo>
                      <a:pt x="31" y="224"/>
                    </a:lnTo>
                    <a:lnTo>
                      <a:pt x="28" y="217"/>
                    </a:lnTo>
                    <a:lnTo>
                      <a:pt x="22" y="211"/>
                    </a:lnTo>
                    <a:lnTo>
                      <a:pt x="22" y="210"/>
                    </a:lnTo>
                    <a:lnTo>
                      <a:pt x="18" y="206"/>
                    </a:lnTo>
                    <a:lnTo>
                      <a:pt x="19" y="205"/>
                    </a:lnTo>
                    <a:lnTo>
                      <a:pt x="19" y="202"/>
                    </a:lnTo>
                    <a:lnTo>
                      <a:pt x="17" y="200"/>
                    </a:lnTo>
                    <a:lnTo>
                      <a:pt x="17" y="199"/>
                    </a:lnTo>
                    <a:lnTo>
                      <a:pt x="17" y="197"/>
                    </a:lnTo>
                    <a:lnTo>
                      <a:pt x="19" y="194"/>
                    </a:lnTo>
                    <a:lnTo>
                      <a:pt x="17" y="191"/>
                    </a:lnTo>
                    <a:lnTo>
                      <a:pt x="10" y="190"/>
                    </a:lnTo>
                    <a:lnTo>
                      <a:pt x="10" y="187"/>
                    </a:lnTo>
                    <a:lnTo>
                      <a:pt x="10" y="182"/>
                    </a:lnTo>
                    <a:lnTo>
                      <a:pt x="8" y="179"/>
                    </a:lnTo>
                    <a:lnTo>
                      <a:pt x="9" y="177"/>
                    </a:lnTo>
                    <a:lnTo>
                      <a:pt x="7" y="175"/>
                    </a:lnTo>
                    <a:lnTo>
                      <a:pt x="9" y="173"/>
                    </a:lnTo>
                    <a:lnTo>
                      <a:pt x="9" y="171"/>
                    </a:lnTo>
                    <a:lnTo>
                      <a:pt x="7" y="170"/>
                    </a:lnTo>
                    <a:lnTo>
                      <a:pt x="2" y="173"/>
                    </a:lnTo>
                    <a:lnTo>
                      <a:pt x="0" y="171"/>
                    </a:lnTo>
                    <a:lnTo>
                      <a:pt x="0" y="168"/>
                    </a:lnTo>
                    <a:lnTo>
                      <a:pt x="6" y="162"/>
                    </a:lnTo>
                    <a:lnTo>
                      <a:pt x="8" y="159"/>
                    </a:lnTo>
                    <a:lnTo>
                      <a:pt x="7" y="155"/>
                    </a:lnTo>
                    <a:lnTo>
                      <a:pt x="4" y="153"/>
                    </a:lnTo>
                    <a:lnTo>
                      <a:pt x="5" y="150"/>
                    </a:lnTo>
                    <a:lnTo>
                      <a:pt x="8" y="148"/>
                    </a:lnTo>
                    <a:lnTo>
                      <a:pt x="10" y="145"/>
                    </a:lnTo>
                    <a:lnTo>
                      <a:pt x="8" y="143"/>
                    </a:lnTo>
                    <a:lnTo>
                      <a:pt x="8" y="140"/>
                    </a:lnTo>
                    <a:lnTo>
                      <a:pt x="10" y="137"/>
                    </a:lnTo>
                    <a:lnTo>
                      <a:pt x="12" y="137"/>
                    </a:lnTo>
                    <a:lnTo>
                      <a:pt x="19" y="129"/>
                    </a:lnTo>
                    <a:lnTo>
                      <a:pt x="21" y="125"/>
                    </a:lnTo>
                    <a:lnTo>
                      <a:pt x="19" y="124"/>
                    </a:lnTo>
                    <a:lnTo>
                      <a:pt x="19" y="119"/>
                    </a:lnTo>
                    <a:lnTo>
                      <a:pt x="22" y="116"/>
                    </a:lnTo>
                    <a:lnTo>
                      <a:pt x="27" y="116"/>
                    </a:lnTo>
                    <a:lnTo>
                      <a:pt x="30" y="118"/>
                    </a:lnTo>
                    <a:lnTo>
                      <a:pt x="33" y="116"/>
                    </a:lnTo>
                    <a:lnTo>
                      <a:pt x="36" y="115"/>
                    </a:lnTo>
                    <a:lnTo>
                      <a:pt x="35" y="45"/>
                    </a:lnTo>
                    <a:lnTo>
                      <a:pt x="35" y="45"/>
                    </a:lnTo>
                    <a:lnTo>
                      <a:pt x="35" y="38"/>
                    </a:lnTo>
                    <a:lnTo>
                      <a:pt x="53" y="37"/>
                    </a:lnTo>
                    <a:lnTo>
                      <a:pt x="51" y="2"/>
                    </a:lnTo>
                    <a:lnTo>
                      <a:pt x="51" y="2"/>
                    </a:lnTo>
                    <a:close/>
                  </a:path>
                </a:pathLst>
              </a:custGeom>
              <a:solidFill>
                <a:srgbClr val="65625E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998" name="Freeform 401"/>
              <p:cNvSpPr>
                <a:spLocks/>
              </p:cNvSpPr>
              <p:nvPr userDrawn="1"/>
            </p:nvSpPr>
            <p:spPr bwMode="auto">
              <a:xfrm>
                <a:off x="4223" y="2713"/>
                <a:ext cx="189" cy="241"/>
              </a:xfrm>
              <a:custGeom>
                <a:avLst/>
                <a:gdLst>
                  <a:gd name="T0" fmla="*/ 20 w 189"/>
                  <a:gd name="T1" fmla="*/ 141 h 241"/>
                  <a:gd name="T2" fmla="*/ 36 w 189"/>
                  <a:gd name="T3" fmla="*/ 134 h 241"/>
                  <a:gd name="T4" fmla="*/ 45 w 189"/>
                  <a:gd name="T5" fmla="*/ 127 h 241"/>
                  <a:gd name="T6" fmla="*/ 63 w 189"/>
                  <a:gd name="T7" fmla="*/ 124 h 241"/>
                  <a:gd name="T8" fmla="*/ 108 w 189"/>
                  <a:gd name="T9" fmla="*/ 70 h 241"/>
                  <a:gd name="T10" fmla="*/ 43 w 189"/>
                  <a:gd name="T11" fmla="*/ 48 h 241"/>
                  <a:gd name="T12" fmla="*/ 36 w 189"/>
                  <a:gd name="T13" fmla="*/ 36 h 241"/>
                  <a:gd name="T14" fmla="*/ 34 w 189"/>
                  <a:gd name="T15" fmla="*/ 17 h 241"/>
                  <a:gd name="T16" fmla="*/ 41 w 189"/>
                  <a:gd name="T17" fmla="*/ 11 h 241"/>
                  <a:gd name="T18" fmla="*/ 54 w 189"/>
                  <a:gd name="T19" fmla="*/ 26 h 241"/>
                  <a:gd name="T20" fmla="*/ 69 w 189"/>
                  <a:gd name="T21" fmla="*/ 31 h 241"/>
                  <a:gd name="T22" fmla="*/ 78 w 189"/>
                  <a:gd name="T23" fmla="*/ 26 h 241"/>
                  <a:gd name="T24" fmla="*/ 87 w 189"/>
                  <a:gd name="T25" fmla="*/ 23 h 241"/>
                  <a:gd name="T26" fmla="*/ 98 w 189"/>
                  <a:gd name="T27" fmla="*/ 24 h 241"/>
                  <a:gd name="T28" fmla="*/ 118 w 189"/>
                  <a:gd name="T29" fmla="*/ 15 h 241"/>
                  <a:gd name="T30" fmla="*/ 129 w 189"/>
                  <a:gd name="T31" fmla="*/ 16 h 241"/>
                  <a:gd name="T32" fmla="*/ 142 w 189"/>
                  <a:gd name="T33" fmla="*/ 14 h 241"/>
                  <a:gd name="T34" fmla="*/ 156 w 189"/>
                  <a:gd name="T35" fmla="*/ 10 h 241"/>
                  <a:gd name="T36" fmla="*/ 164 w 189"/>
                  <a:gd name="T37" fmla="*/ 9 h 241"/>
                  <a:gd name="T38" fmla="*/ 173 w 189"/>
                  <a:gd name="T39" fmla="*/ 5 h 241"/>
                  <a:gd name="T40" fmla="*/ 176 w 189"/>
                  <a:gd name="T41" fmla="*/ 1 h 241"/>
                  <a:gd name="T42" fmla="*/ 180 w 189"/>
                  <a:gd name="T43" fmla="*/ 2 h 241"/>
                  <a:gd name="T44" fmla="*/ 188 w 189"/>
                  <a:gd name="T45" fmla="*/ 4 h 241"/>
                  <a:gd name="T46" fmla="*/ 184 w 189"/>
                  <a:gd name="T47" fmla="*/ 12 h 241"/>
                  <a:gd name="T48" fmla="*/ 187 w 189"/>
                  <a:gd name="T49" fmla="*/ 15 h 241"/>
                  <a:gd name="T50" fmla="*/ 183 w 189"/>
                  <a:gd name="T51" fmla="*/ 22 h 241"/>
                  <a:gd name="T52" fmla="*/ 184 w 189"/>
                  <a:gd name="T53" fmla="*/ 29 h 241"/>
                  <a:gd name="T54" fmla="*/ 187 w 189"/>
                  <a:gd name="T55" fmla="*/ 28 h 241"/>
                  <a:gd name="T56" fmla="*/ 187 w 189"/>
                  <a:gd name="T57" fmla="*/ 30 h 241"/>
                  <a:gd name="T58" fmla="*/ 180 w 189"/>
                  <a:gd name="T59" fmla="*/ 36 h 241"/>
                  <a:gd name="T60" fmla="*/ 180 w 189"/>
                  <a:gd name="T61" fmla="*/ 44 h 241"/>
                  <a:gd name="T62" fmla="*/ 170 w 189"/>
                  <a:gd name="T63" fmla="*/ 66 h 241"/>
                  <a:gd name="T64" fmla="*/ 161 w 189"/>
                  <a:gd name="T65" fmla="*/ 73 h 241"/>
                  <a:gd name="T66" fmla="*/ 160 w 189"/>
                  <a:gd name="T67" fmla="*/ 80 h 241"/>
                  <a:gd name="T68" fmla="*/ 143 w 189"/>
                  <a:gd name="T69" fmla="*/ 113 h 241"/>
                  <a:gd name="T70" fmla="*/ 128 w 189"/>
                  <a:gd name="T71" fmla="*/ 136 h 241"/>
                  <a:gd name="T72" fmla="*/ 93 w 189"/>
                  <a:gd name="T73" fmla="*/ 171 h 241"/>
                  <a:gd name="T74" fmla="*/ 73 w 189"/>
                  <a:gd name="T75" fmla="*/ 182 h 241"/>
                  <a:gd name="T76" fmla="*/ 51 w 189"/>
                  <a:gd name="T77" fmla="*/ 201 h 241"/>
                  <a:gd name="T78" fmla="*/ 38 w 189"/>
                  <a:gd name="T79" fmla="*/ 216 h 241"/>
                  <a:gd name="T80" fmla="*/ 28 w 189"/>
                  <a:gd name="T81" fmla="*/ 223 h 241"/>
                  <a:gd name="T82" fmla="*/ 0 w 189"/>
                  <a:gd name="T83" fmla="*/ 229 h 241"/>
                  <a:gd name="T84" fmla="*/ 18 w 189"/>
                  <a:gd name="T85" fmla="*/ 144 h 2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89" h="241">
                    <a:moveTo>
                      <a:pt x="18" y="144"/>
                    </a:moveTo>
                    <a:lnTo>
                      <a:pt x="18" y="143"/>
                    </a:lnTo>
                    <a:lnTo>
                      <a:pt x="20" y="141"/>
                    </a:lnTo>
                    <a:lnTo>
                      <a:pt x="25" y="138"/>
                    </a:lnTo>
                    <a:lnTo>
                      <a:pt x="31" y="137"/>
                    </a:lnTo>
                    <a:lnTo>
                      <a:pt x="36" y="134"/>
                    </a:lnTo>
                    <a:lnTo>
                      <a:pt x="39" y="133"/>
                    </a:lnTo>
                    <a:lnTo>
                      <a:pt x="41" y="129"/>
                    </a:lnTo>
                    <a:lnTo>
                      <a:pt x="45" y="127"/>
                    </a:lnTo>
                    <a:lnTo>
                      <a:pt x="48" y="127"/>
                    </a:lnTo>
                    <a:lnTo>
                      <a:pt x="52" y="125"/>
                    </a:lnTo>
                    <a:lnTo>
                      <a:pt x="63" y="124"/>
                    </a:lnTo>
                    <a:lnTo>
                      <a:pt x="75" y="124"/>
                    </a:lnTo>
                    <a:lnTo>
                      <a:pt x="132" y="70"/>
                    </a:lnTo>
                    <a:lnTo>
                      <a:pt x="108" y="70"/>
                    </a:lnTo>
                    <a:lnTo>
                      <a:pt x="54" y="54"/>
                    </a:lnTo>
                    <a:lnTo>
                      <a:pt x="50" y="50"/>
                    </a:lnTo>
                    <a:lnTo>
                      <a:pt x="43" y="48"/>
                    </a:lnTo>
                    <a:lnTo>
                      <a:pt x="41" y="43"/>
                    </a:lnTo>
                    <a:lnTo>
                      <a:pt x="42" y="38"/>
                    </a:lnTo>
                    <a:lnTo>
                      <a:pt x="36" y="36"/>
                    </a:lnTo>
                    <a:lnTo>
                      <a:pt x="33" y="26"/>
                    </a:lnTo>
                    <a:lnTo>
                      <a:pt x="32" y="20"/>
                    </a:lnTo>
                    <a:lnTo>
                      <a:pt x="34" y="17"/>
                    </a:lnTo>
                    <a:lnTo>
                      <a:pt x="38" y="9"/>
                    </a:lnTo>
                    <a:lnTo>
                      <a:pt x="39" y="11"/>
                    </a:lnTo>
                    <a:lnTo>
                      <a:pt x="41" y="11"/>
                    </a:lnTo>
                    <a:lnTo>
                      <a:pt x="51" y="24"/>
                    </a:lnTo>
                    <a:lnTo>
                      <a:pt x="53" y="26"/>
                    </a:lnTo>
                    <a:lnTo>
                      <a:pt x="54" y="26"/>
                    </a:lnTo>
                    <a:lnTo>
                      <a:pt x="59" y="30"/>
                    </a:lnTo>
                    <a:lnTo>
                      <a:pt x="63" y="31"/>
                    </a:lnTo>
                    <a:lnTo>
                      <a:pt x="69" y="31"/>
                    </a:lnTo>
                    <a:lnTo>
                      <a:pt x="70" y="29"/>
                    </a:lnTo>
                    <a:lnTo>
                      <a:pt x="75" y="26"/>
                    </a:lnTo>
                    <a:lnTo>
                      <a:pt x="78" y="26"/>
                    </a:lnTo>
                    <a:lnTo>
                      <a:pt x="85" y="22"/>
                    </a:lnTo>
                    <a:lnTo>
                      <a:pt x="86" y="22"/>
                    </a:lnTo>
                    <a:lnTo>
                      <a:pt x="87" y="23"/>
                    </a:lnTo>
                    <a:lnTo>
                      <a:pt x="92" y="22"/>
                    </a:lnTo>
                    <a:lnTo>
                      <a:pt x="94" y="22"/>
                    </a:lnTo>
                    <a:lnTo>
                      <a:pt x="98" y="24"/>
                    </a:lnTo>
                    <a:lnTo>
                      <a:pt x="103" y="23"/>
                    </a:lnTo>
                    <a:lnTo>
                      <a:pt x="114" y="16"/>
                    </a:lnTo>
                    <a:lnTo>
                      <a:pt x="118" y="15"/>
                    </a:lnTo>
                    <a:lnTo>
                      <a:pt x="122" y="17"/>
                    </a:lnTo>
                    <a:lnTo>
                      <a:pt x="124" y="16"/>
                    </a:lnTo>
                    <a:lnTo>
                      <a:pt x="129" y="16"/>
                    </a:lnTo>
                    <a:lnTo>
                      <a:pt x="134" y="14"/>
                    </a:lnTo>
                    <a:lnTo>
                      <a:pt x="140" y="13"/>
                    </a:lnTo>
                    <a:lnTo>
                      <a:pt x="142" y="14"/>
                    </a:lnTo>
                    <a:lnTo>
                      <a:pt x="144" y="14"/>
                    </a:lnTo>
                    <a:lnTo>
                      <a:pt x="152" y="13"/>
                    </a:lnTo>
                    <a:lnTo>
                      <a:pt x="156" y="10"/>
                    </a:lnTo>
                    <a:lnTo>
                      <a:pt x="161" y="9"/>
                    </a:lnTo>
                    <a:lnTo>
                      <a:pt x="163" y="10"/>
                    </a:lnTo>
                    <a:lnTo>
                      <a:pt x="164" y="9"/>
                    </a:lnTo>
                    <a:lnTo>
                      <a:pt x="170" y="8"/>
                    </a:lnTo>
                    <a:lnTo>
                      <a:pt x="172" y="5"/>
                    </a:lnTo>
                    <a:lnTo>
                      <a:pt x="173" y="5"/>
                    </a:lnTo>
                    <a:lnTo>
                      <a:pt x="174" y="4"/>
                    </a:lnTo>
                    <a:lnTo>
                      <a:pt x="174" y="3"/>
                    </a:lnTo>
                    <a:lnTo>
                      <a:pt x="176" y="1"/>
                    </a:lnTo>
                    <a:lnTo>
                      <a:pt x="178" y="1"/>
                    </a:lnTo>
                    <a:lnTo>
                      <a:pt x="177" y="0"/>
                    </a:lnTo>
                    <a:lnTo>
                      <a:pt x="180" y="2"/>
                    </a:lnTo>
                    <a:lnTo>
                      <a:pt x="185" y="4"/>
                    </a:lnTo>
                    <a:lnTo>
                      <a:pt x="187" y="4"/>
                    </a:lnTo>
                    <a:lnTo>
                      <a:pt x="188" y="4"/>
                    </a:lnTo>
                    <a:lnTo>
                      <a:pt x="186" y="6"/>
                    </a:lnTo>
                    <a:lnTo>
                      <a:pt x="184" y="9"/>
                    </a:lnTo>
                    <a:lnTo>
                      <a:pt x="184" y="12"/>
                    </a:lnTo>
                    <a:lnTo>
                      <a:pt x="183" y="14"/>
                    </a:lnTo>
                    <a:lnTo>
                      <a:pt x="184" y="15"/>
                    </a:lnTo>
                    <a:lnTo>
                      <a:pt x="187" y="15"/>
                    </a:lnTo>
                    <a:lnTo>
                      <a:pt x="187" y="16"/>
                    </a:lnTo>
                    <a:lnTo>
                      <a:pt x="185" y="18"/>
                    </a:lnTo>
                    <a:lnTo>
                      <a:pt x="183" y="22"/>
                    </a:lnTo>
                    <a:lnTo>
                      <a:pt x="185" y="24"/>
                    </a:lnTo>
                    <a:lnTo>
                      <a:pt x="185" y="26"/>
                    </a:lnTo>
                    <a:lnTo>
                      <a:pt x="184" y="29"/>
                    </a:lnTo>
                    <a:lnTo>
                      <a:pt x="187" y="29"/>
                    </a:lnTo>
                    <a:lnTo>
                      <a:pt x="186" y="28"/>
                    </a:lnTo>
                    <a:lnTo>
                      <a:pt x="187" y="28"/>
                    </a:lnTo>
                    <a:lnTo>
                      <a:pt x="189" y="31"/>
                    </a:lnTo>
                    <a:lnTo>
                      <a:pt x="187" y="31"/>
                    </a:lnTo>
                    <a:lnTo>
                      <a:pt x="187" y="30"/>
                    </a:lnTo>
                    <a:lnTo>
                      <a:pt x="184" y="30"/>
                    </a:lnTo>
                    <a:lnTo>
                      <a:pt x="183" y="31"/>
                    </a:lnTo>
                    <a:lnTo>
                      <a:pt x="180" y="36"/>
                    </a:lnTo>
                    <a:lnTo>
                      <a:pt x="182" y="38"/>
                    </a:lnTo>
                    <a:lnTo>
                      <a:pt x="181" y="42"/>
                    </a:lnTo>
                    <a:lnTo>
                      <a:pt x="180" y="44"/>
                    </a:lnTo>
                    <a:lnTo>
                      <a:pt x="180" y="48"/>
                    </a:lnTo>
                    <a:lnTo>
                      <a:pt x="173" y="57"/>
                    </a:lnTo>
                    <a:lnTo>
                      <a:pt x="170" y="66"/>
                    </a:lnTo>
                    <a:lnTo>
                      <a:pt x="167" y="70"/>
                    </a:lnTo>
                    <a:lnTo>
                      <a:pt x="165" y="69"/>
                    </a:lnTo>
                    <a:lnTo>
                      <a:pt x="161" y="73"/>
                    </a:lnTo>
                    <a:lnTo>
                      <a:pt x="161" y="75"/>
                    </a:lnTo>
                    <a:lnTo>
                      <a:pt x="163" y="78"/>
                    </a:lnTo>
                    <a:lnTo>
                      <a:pt x="160" y="80"/>
                    </a:lnTo>
                    <a:lnTo>
                      <a:pt x="149" y="99"/>
                    </a:lnTo>
                    <a:lnTo>
                      <a:pt x="149" y="105"/>
                    </a:lnTo>
                    <a:lnTo>
                      <a:pt x="143" y="113"/>
                    </a:lnTo>
                    <a:lnTo>
                      <a:pt x="143" y="116"/>
                    </a:lnTo>
                    <a:lnTo>
                      <a:pt x="130" y="133"/>
                    </a:lnTo>
                    <a:lnTo>
                      <a:pt x="128" y="136"/>
                    </a:lnTo>
                    <a:lnTo>
                      <a:pt x="123" y="142"/>
                    </a:lnTo>
                    <a:lnTo>
                      <a:pt x="113" y="154"/>
                    </a:lnTo>
                    <a:lnTo>
                      <a:pt x="93" y="171"/>
                    </a:lnTo>
                    <a:lnTo>
                      <a:pt x="85" y="178"/>
                    </a:lnTo>
                    <a:lnTo>
                      <a:pt x="78" y="179"/>
                    </a:lnTo>
                    <a:lnTo>
                      <a:pt x="73" y="182"/>
                    </a:lnTo>
                    <a:lnTo>
                      <a:pt x="66" y="187"/>
                    </a:lnTo>
                    <a:lnTo>
                      <a:pt x="54" y="200"/>
                    </a:lnTo>
                    <a:lnTo>
                      <a:pt x="51" y="201"/>
                    </a:lnTo>
                    <a:lnTo>
                      <a:pt x="41" y="212"/>
                    </a:lnTo>
                    <a:lnTo>
                      <a:pt x="39" y="213"/>
                    </a:lnTo>
                    <a:lnTo>
                      <a:pt x="38" y="216"/>
                    </a:lnTo>
                    <a:lnTo>
                      <a:pt x="34" y="217"/>
                    </a:lnTo>
                    <a:lnTo>
                      <a:pt x="30" y="220"/>
                    </a:lnTo>
                    <a:lnTo>
                      <a:pt x="28" y="223"/>
                    </a:lnTo>
                    <a:lnTo>
                      <a:pt x="13" y="240"/>
                    </a:lnTo>
                    <a:lnTo>
                      <a:pt x="13" y="241"/>
                    </a:lnTo>
                    <a:lnTo>
                      <a:pt x="0" y="229"/>
                    </a:lnTo>
                    <a:lnTo>
                      <a:pt x="0" y="159"/>
                    </a:lnTo>
                    <a:lnTo>
                      <a:pt x="18" y="144"/>
                    </a:lnTo>
                    <a:lnTo>
                      <a:pt x="18" y="144"/>
                    </a:lnTo>
                    <a:lnTo>
                      <a:pt x="18" y="144"/>
                    </a:lnTo>
                    <a:close/>
                  </a:path>
                </a:pathLst>
              </a:custGeom>
              <a:solidFill>
                <a:srgbClr val="65625E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999" name="Freeform 402"/>
              <p:cNvSpPr>
                <a:spLocks/>
              </p:cNvSpPr>
              <p:nvPr userDrawn="1"/>
            </p:nvSpPr>
            <p:spPr bwMode="auto">
              <a:xfrm>
                <a:off x="3313" y="2239"/>
                <a:ext cx="369" cy="345"/>
              </a:xfrm>
              <a:custGeom>
                <a:avLst/>
                <a:gdLst>
                  <a:gd name="T0" fmla="*/ 364 w 369"/>
                  <a:gd name="T1" fmla="*/ 261 h 345"/>
                  <a:gd name="T2" fmla="*/ 356 w 369"/>
                  <a:gd name="T3" fmla="*/ 248 h 345"/>
                  <a:gd name="T4" fmla="*/ 339 w 369"/>
                  <a:gd name="T5" fmla="*/ 245 h 345"/>
                  <a:gd name="T6" fmla="*/ 333 w 369"/>
                  <a:gd name="T7" fmla="*/ 238 h 345"/>
                  <a:gd name="T8" fmla="*/ 332 w 369"/>
                  <a:gd name="T9" fmla="*/ 226 h 345"/>
                  <a:gd name="T10" fmla="*/ 324 w 369"/>
                  <a:gd name="T11" fmla="*/ 213 h 345"/>
                  <a:gd name="T12" fmla="*/ 324 w 369"/>
                  <a:gd name="T13" fmla="*/ 207 h 345"/>
                  <a:gd name="T14" fmla="*/ 329 w 369"/>
                  <a:gd name="T15" fmla="*/ 196 h 345"/>
                  <a:gd name="T16" fmla="*/ 329 w 369"/>
                  <a:gd name="T17" fmla="*/ 179 h 345"/>
                  <a:gd name="T18" fmla="*/ 327 w 369"/>
                  <a:gd name="T19" fmla="*/ 163 h 345"/>
                  <a:gd name="T20" fmla="*/ 324 w 369"/>
                  <a:gd name="T21" fmla="*/ 141 h 345"/>
                  <a:gd name="T22" fmla="*/ 324 w 369"/>
                  <a:gd name="T23" fmla="*/ 132 h 345"/>
                  <a:gd name="T24" fmla="*/ 305 w 369"/>
                  <a:gd name="T25" fmla="*/ 91 h 345"/>
                  <a:gd name="T26" fmla="*/ 298 w 369"/>
                  <a:gd name="T27" fmla="*/ 84 h 345"/>
                  <a:gd name="T28" fmla="*/ 288 w 369"/>
                  <a:gd name="T29" fmla="*/ 75 h 345"/>
                  <a:gd name="T30" fmla="*/ 285 w 369"/>
                  <a:gd name="T31" fmla="*/ 67 h 345"/>
                  <a:gd name="T32" fmla="*/ 295 w 369"/>
                  <a:gd name="T33" fmla="*/ 54 h 345"/>
                  <a:gd name="T34" fmla="*/ 300 w 369"/>
                  <a:gd name="T35" fmla="*/ 44 h 345"/>
                  <a:gd name="T36" fmla="*/ 301 w 369"/>
                  <a:gd name="T37" fmla="*/ 37 h 345"/>
                  <a:gd name="T38" fmla="*/ 299 w 369"/>
                  <a:gd name="T39" fmla="*/ 32 h 345"/>
                  <a:gd name="T40" fmla="*/ 302 w 369"/>
                  <a:gd name="T41" fmla="*/ 13 h 345"/>
                  <a:gd name="T42" fmla="*/ 302 w 369"/>
                  <a:gd name="T43" fmla="*/ 3 h 345"/>
                  <a:gd name="T44" fmla="*/ 293 w 369"/>
                  <a:gd name="T45" fmla="*/ 3 h 345"/>
                  <a:gd name="T46" fmla="*/ 276 w 369"/>
                  <a:gd name="T47" fmla="*/ 0 h 345"/>
                  <a:gd name="T48" fmla="*/ 266 w 369"/>
                  <a:gd name="T49" fmla="*/ 4 h 345"/>
                  <a:gd name="T50" fmla="*/ 260 w 369"/>
                  <a:gd name="T51" fmla="*/ 1 h 345"/>
                  <a:gd name="T52" fmla="*/ 254 w 369"/>
                  <a:gd name="T53" fmla="*/ 6 h 345"/>
                  <a:gd name="T54" fmla="*/ 244 w 369"/>
                  <a:gd name="T55" fmla="*/ 8 h 345"/>
                  <a:gd name="T56" fmla="*/ 233 w 369"/>
                  <a:gd name="T57" fmla="*/ 4 h 345"/>
                  <a:gd name="T58" fmla="*/ 222 w 369"/>
                  <a:gd name="T59" fmla="*/ 3 h 345"/>
                  <a:gd name="T60" fmla="*/ 215 w 369"/>
                  <a:gd name="T61" fmla="*/ 3 h 345"/>
                  <a:gd name="T62" fmla="*/ 205 w 369"/>
                  <a:gd name="T63" fmla="*/ 5 h 345"/>
                  <a:gd name="T64" fmla="*/ 194 w 369"/>
                  <a:gd name="T65" fmla="*/ 7 h 345"/>
                  <a:gd name="T66" fmla="*/ 178 w 369"/>
                  <a:gd name="T67" fmla="*/ 9 h 345"/>
                  <a:gd name="T68" fmla="*/ 162 w 369"/>
                  <a:gd name="T69" fmla="*/ 16 h 345"/>
                  <a:gd name="T70" fmla="*/ 154 w 369"/>
                  <a:gd name="T71" fmla="*/ 24 h 345"/>
                  <a:gd name="T72" fmla="*/ 149 w 369"/>
                  <a:gd name="T73" fmla="*/ 24 h 345"/>
                  <a:gd name="T74" fmla="*/ 141 w 369"/>
                  <a:gd name="T75" fmla="*/ 26 h 345"/>
                  <a:gd name="T76" fmla="*/ 133 w 369"/>
                  <a:gd name="T77" fmla="*/ 33 h 345"/>
                  <a:gd name="T78" fmla="*/ 119 w 369"/>
                  <a:gd name="T79" fmla="*/ 39 h 345"/>
                  <a:gd name="T80" fmla="*/ 124 w 369"/>
                  <a:gd name="T81" fmla="*/ 45 h 345"/>
                  <a:gd name="T82" fmla="*/ 125 w 369"/>
                  <a:gd name="T83" fmla="*/ 55 h 345"/>
                  <a:gd name="T84" fmla="*/ 128 w 369"/>
                  <a:gd name="T85" fmla="*/ 78 h 345"/>
                  <a:gd name="T86" fmla="*/ 133 w 369"/>
                  <a:gd name="T87" fmla="*/ 88 h 345"/>
                  <a:gd name="T88" fmla="*/ 139 w 369"/>
                  <a:gd name="T89" fmla="*/ 90 h 345"/>
                  <a:gd name="T90" fmla="*/ 135 w 369"/>
                  <a:gd name="T91" fmla="*/ 100 h 345"/>
                  <a:gd name="T92" fmla="*/ 105 w 369"/>
                  <a:gd name="T93" fmla="*/ 108 h 345"/>
                  <a:gd name="T94" fmla="*/ 99 w 369"/>
                  <a:gd name="T95" fmla="*/ 120 h 345"/>
                  <a:gd name="T96" fmla="*/ 66 w 369"/>
                  <a:gd name="T97" fmla="*/ 143 h 345"/>
                  <a:gd name="T98" fmla="*/ 36 w 369"/>
                  <a:gd name="T99" fmla="*/ 154 h 345"/>
                  <a:gd name="T100" fmla="*/ 18 w 369"/>
                  <a:gd name="T101" fmla="*/ 156 h 345"/>
                  <a:gd name="T102" fmla="*/ 0 w 369"/>
                  <a:gd name="T103" fmla="*/ 170 h 345"/>
                  <a:gd name="T104" fmla="*/ 0 w 369"/>
                  <a:gd name="T105" fmla="*/ 190 h 345"/>
                  <a:gd name="T106" fmla="*/ 67 w 369"/>
                  <a:gd name="T107" fmla="*/ 233 h 345"/>
                  <a:gd name="T108" fmla="*/ 189 w 369"/>
                  <a:gd name="T109" fmla="*/ 319 h 345"/>
                  <a:gd name="T110" fmla="*/ 205 w 369"/>
                  <a:gd name="T111" fmla="*/ 324 h 345"/>
                  <a:gd name="T112" fmla="*/ 216 w 369"/>
                  <a:gd name="T113" fmla="*/ 331 h 345"/>
                  <a:gd name="T114" fmla="*/ 216 w 369"/>
                  <a:gd name="T115" fmla="*/ 343 h 345"/>
                  <a:gd name="T116" fmla="*/ 235 w 369"/>
                  <a:gd name="T117" fmla="*/ 341 h 345"/>
                  <a:gd name="T118" fmla="*/ 263 w 369"/>
                  <a:gd name="T119" fmla="*/ 335 h 345"/>
                  <a:gd name="T120" fmla="*/ 369 w 369"/>
                  <a:gd name="T121" fmla="*/ 265 h 3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369" h="345">
                    <a:moveTo>
                      <a:pt x="369" y="265"/>
                    </a:moveTo>
                    <a:lnTo>
                      <a:pt x="366" y="263"/>
                    </a:lnTo>
                    <a:lnTo>
                      <a:pt x="364" y="261"/>
                    </a:lnTo>
                    <a:lnTo>
                      <a:pt x="362" y="259"/>
                    </a:lnTo>
                    <a:lnTo>
                      <a:pt x="358" y="252"/>
                    </a:lnTo>
                    <a:lnTo>
                      <a:pt x="356" y="248"/>
                    </a:lnTo>
                    <a:lnTo>
                      <a:pt x="352" y="245"/>
                    </a:lnTo>
                    <a:lnTo>
                      <a:pt x="346" y="245"/>
                    </a:lnTo>
                    <a:lnTo>
                      <a:pt x="339" y="245"/>
                    </a:lnTo>
                    <a:lnTo>
                      <a:pt x="336" y="243"/>
                    </a:lnTo>
                    <a:lnTo>
                      <a:pt x="336" y="241"/>
                    </a:lnTo>
                    <a:lnTo>
                      <a:pt x="333" y="238"/>
                    </a:lnTo>
                    <a:lnTo>
                      <a:pt x="333" y="233"/>
                    </a:lnTo>
                    <a:lnTo>
                      <a:pt x="334" y="231"/>
                    </a:lnTo>
                    <a:lnTo>
                      <a:pt x="332" y="226"/>
                    </a:lnTo>
                    <a:lnTo>
                      <a:pt x="331" y="225"/>
                    </a:lnTo>
                    <a:lnTo>
                      <a:pt x="328" y="219"/>
                    </a:lnTo>
                    <a:lnTo>
                      <a:pt x="324" y="213"/>
                    </a:lnTo>
                    <a:lnTo>
                      <a:pt x="321" y="210"/>
                    </a:lnTo>
                    <a:lnTo>
                      <a:pt x="323" y="209"/>
                    </a:lnTo>
                    <a:lnTo>
                      <a:pt x="324" y="207"/>
                    </a:lnTo>
                    <a:lnTo>
                      <a:pt x="328" y="204"/>
                    </a:lnTo>
                    <a:lnTo>
                      <a:pt x="329" y="201"/>
                    </a:lnTo>
                    <a:lnTo>
                      <a:pt x="329" y="196"/>
                    </a:lnTo>
                    <a:lnTo>
                      <a:pt x="327" y="191"/>
                    </a:lnTo>
                    <a:lnTo>
                      <a:pt x="328" y="189"/>
                    </a:lnTo>
                    <a:lnTo>
                      <a:pt x="329" y="179"/>
                    </a:lnTo>
                    <a:lnTo>
                      <a:pt x="327" y="175"/>
                    </a:lnTo>
                    <a:lnTo>
                      <a:pt x="327" y="165"/>
                    </a:lnTo>
                    <a:lnTo>
                      <a:pt x="327" y="163"/>
                    </a:lnTo>
                    <a:lnTo>
                      <a:pt x="327" y="157"/>
                    </a:lnTo>
                    <a:lnTo>
                      <a:pt x="327" y="145"/>
                    </a:lnTo>
                    <a:lnTo>
                      <a:pt x="324" y="141"/>
                    </a:lnTo>
                    <a:lnTo>
                      <a:pt x="323" y="140"/>
                    </a:lnTo>
                    <a:lnTo>
                      <a:pt x="322" y="133"/>
                    </a:lnTo>
                    <a:lnTo>
                      <a:pt x="324" y="132"/>
                    </a:lnTo>
                    <a:lnTo>
                      <a:pt x="312" y="97"/>
                    </a:lnTo>
                    <a:lnTo>
                      <a:pt x="307" y="92"/>
                    </a:lnTo>
                    <a:lnTo>
                      <a:pt x="305" y="91"/>
                    </a:lnTo>
                    <a:lnTo>
                      <a:pt x="304" y="89"/>
                    </a:lnTo>
                    <a:lnTo>
                      <a:pt x="299" y="88"/>
                    </a:lnTo>
                    <a:lnTo>
                      <a:pt x="298" y="84"/>
                    </a:lnTo>
                    <a:lnTo>
                      <a:pt x="292" y="79"/>
                    </a:lnTo>
                    <a:lnTo>
                      <a:pt x="290" y="79"/>
                    </a:lnTo>
                    <a:lnTo>
                      <a:pt x="288" y="75"/>
                    </a:lnTo>
                    <a:lnTo>
                      <a:pt x="289" y="73"/>
                    </a:lnTo>
                    <a:lnTo>
                      <a:pt x="286" y="68"/>
                    </a:lnTo>
                    <a:lnTo>
                      <a:pt x="285" y="67"/>
                    </a:lnTo>
                    <a:lnTo>
                      <a:pt x="287" y="59"/>
                    </a:lnTo>
                    <a:lnTo>
                      <a:pt x="292" y="54"/>
                    </a:lnTo>
                    <a:lnTo>
                      <a:pt x="295" y="54"/>
                    </a:lnTo>
                    <a:lnTo>
                      <a:pt x="296" y="51"/>
                    </a:lnTo>
                    <a:lnTo>
                      <a:pt x="298" y="50"/>
                    </a:lnTo>
                    <a:lnTo>
                      <a:pt x="300" y="44"/>
                    </a:lnTo>
                    <a:lnTo>
                      <a:pt x="302" y="42"/>
                    </a:lnTo>
                    <a:lnTo>
                      <a:pt x="299" y="40"/>
                    </a:lnTo>
                    <a:lnTo>
                      <a:pt x="301" y="37"/>
                    </a:lnTo>
                    <a:lnTo>
                      <a:pt x="302" y="36"/>
                    </a:lnTo>
                    <a:lnTo>
                      <a:pt x="302" y="35"/>
                    </a:lnTo>
                    <a:lnTo>
                      <a:pt x="299" y="32"/>
                    </a:lnTo>
                    <a:lnTo>
                      <a:pt x="298" y="27"/>
                    </a:lnTo>
                    <a:lnTo>
                      <a:pt x="302" y="19"/>
                    </a:lnTo>
                    <a:lnTo>
                      <a:pt x="302" y="13"/>
                    </a:lnTo>
                    <a:lnTo>
                      <a:pt x="302" y="8"/>
                    </a:lnTo>
                    <a:lnTo>
                      <a:pt x="302" y="6"/>
                    </a:lnTo>
                    <a:lnTo>
                      <a:pt x="302" y="3"/>
                    </a:lnTo>
                    <a:lnTo>
                      <a:pt x="301" y="3"/>
                    </a:lnTo>
                    <a:lnTo>
                      <a:pt x="296" y="3"/>
                    </a:lnTo>
                    <a:lnTo>
                      <a:pt x="293" y="3"/>
                    </a:lnTo>
                    <a:lnTo>
                      <a:pt x="285" y="5"/>
                    </a:lnTo>
                    <a:lnTo>
                      <a:pt x="281" y="2"/>
                    </a:lnTo>
                    <a:lnTo>
                      <a:pt x="276" y="0"/>
                    </a:lnTo>
                    <a:lnTo>
                      <a:pt x="276" y="2"/>
                    </a:lnTo>
                    <a:lnTo>
                      <a:pt x="273" y="4"/>
                    </a:lnTo>
                    <a:lnTo>
                      <a:pt x="266" y="4"/>
                    </a:lnTo>
                    <a:lnTo>
                      <a:pt x="266" y="2"/>
                    </a:lnTo>
                    <a:lnTo>
                      <a:pt x="263" y="0"/>
                    </a:lnTo>
                    <a:lnTo>
                      <a:pt x="260" y="1"/>
                    </a:lnTo>
                    <a:lnTo>
                      <a:pt x="259" y="3"/>
                    </a:lnTo>
                    <a:lnTo>
                      <a:pt x="255" y="3"/>
                    </a:lnTo>
                    <a:lnTo>
                      <a:pt x="254" y="6"/>
                    </a:lnTo>
                    <a:lnTo>
                      <a:pt x="251" y="5"/>
                    </a:lnTo>
                    <a:lnTo>
                      <a:pt x="248" y="5"/>
                    </a:lnTo>
                    <a:lnTo>
                      <a:pt x="244" y="8"/>
                    </a:lnTo>
                    <a:lnTo>
                      <a:pt x="240" y="8"/>
                    </a:lnTo>
                    <a:lnTo>
                      <a:pt x="238" y="4"/>
                    </a:lnTo>
                    <a:lnTo>
                      <a:pt x="233" y="4"/>
                    </a:lnTo>
                    <a:lnTo>
                      <a:pt x="231" y="3"/>
                    </a:lnTo>
                    <a:lnTo>
                      <a:pt x="226" y="4"/>
                    </a:lnTo>
                    <a:lnTo>
                      <a:pt x="222" y="3"/>
                    </a:lnTo>
                    <a:lnTo>
                      <a:pt x="220" y="4"/>
                    </a:lnTo>
                    <a:lnTo>
                      <a:pt x="217" y="3"/>
                    </a:lnTo>
                    <a:lnTo>
                      <a:pt x="215" y="3"/>
                    </a:lnTo>
                    <a:lnTo>
                      <a:pt x="213" y="7"/>
                    </a:lnTo>
                    <a:lnTo>
                      <a:pt x="209" y="7"/>
                    </a:lnTo>
                    <a:lnTo>
                      <a:pt x="205" y="5"/>
                    </a:lnTo>
                    <a:lnTo>
                      <a:pt x="200" y="10"/>
                    </a:lnTo>
                    <a:lnTo>
                      <a:pt x="197" y="10"/>
                    </a:lnTo>
                    <a:lnTo>
                      <a:pt x="194" y="7"/>
                    </a:lnTo>
                    <a:lnTo>
                      <a:pt x="190" y="9"/>
                    </a:lnTo>
                    <a:lnTo>
                      <a:pt x="182" y="9"/>
                    </a:lnTo>
                    <a:lnTo>
                      <a:pt x="178" y="9"/>
                    </a:lnTo>
                    <a:lnTo>
                      <a:pt x="170" y="15"/>
                    </a:lnTo>
                    <a:lnTo>
                      <a:pt x="164" y="16"/>
                    </a:lnTo>
                    <a:lnTo>
                      <a:pt x="162" y="16"/>
                    </a:lnTo>
                    <a:lnTo>
                      <a:pt x="157" y="19"/>
                    </a:lnTo>
                    <a:lnTo>
                      <a:pt x="157" y="22"/>
                    </a:lnTo>
                    <a:lnTo>
                      <a:pt x="154" y="24"/>
                    </a:lnTo>
                    <a:lnTo>
                      <a:pt x="153" y="24"/>
                    </a:lnTo>
                    <a:lnTo>
                      <a:pt x="152" y="24"/>
                    </a:lnTo>
                    <a:lnTo>
                      <a:pt x="149" y="24"/>
                    </a:lnTo>
                    <a:lnTo>
                      <a:pt x="147" y="24"/>
                    </a:lnTo>
                    <a:lnTo>
                      <a:pt x="146" y="26"/>
                    </a:lnTo>
                    <a:lnTo>
                      <a:pt x="141" y="26"/>
                    </a:lnTo>
                    <a:lnTo>
                      <a:pt x="136" y="28"/>
                    </a:lnTo>
                    <a:lnTo>
                      <a:pt x="134" y="30"/>
                    </a:lnTo>
                    <a:lnTo>
                      <a:pt x="133" y="33"/>
                    </a:lnTo>
                    <a:lnTo>
                      <a:pt x="131" y="36"/>
                    </a:lnTo>
                    <a:lnTo>
                      <a:pt x="125" y="38"/>
                    </a:lnTo>
                    <a:lnTo>
                      <a:pt x="119" y="39"/>
                    </a:lnTo>
                    <a:lnTo>
                      <a:pt x="121" y="40"/>
                    </a:lnTo>
                    <a:lnTo>
                      <a:pt x="122" y="43"/>
                    </a:lnTo>
                    <a:lnTo>
                      <a:pt x="124" y="45"/>
                    </a:lnTo>
                    <a:lnTo>
                      <a:pt x="124" y="48"/>
                    </a:lnTo>
                    <a:lnTo>
                      <a:pt x="125" y="49"/>
                    </a:lnTo>
                    <a:lnTo>
                      <a:pt x="125" y="55"/>
                    </a:lnTo>
                    <a:lnTo>
                      <a:pt x="125" y="62"/>
                    </a:lnTo>
                    <a:lnTo>
                      <a:pt x="126" y="65"/>
                    </a:lnTo>
                    <a:lnTo>
                      <a:pt x="128" y="78"/>
                    </a:lnTo>
                    <a:lnTo>
                      <a:pt x="130" y="83"/>
                    </a:lnTo>
                    <a:lnTo>
                      <a:pt x="131" y="87"/>
                    </a:lnTo>
                    <a:lnTo>
                      <a:pt x="133" y="88"/>
                    </a:lnTo>
                    <a:lnTo>
                      <a:pt x="135" y="89"/>
                    </a:lnTo>
                    <a:lnTo>
                      <a:pt x="137" y="89"/>
                    </a:lnTo>
                    <a:lnTo>
                      <a:pt x="139" y="90"/>
                    </a:lnTo>
                    <a:lnTo>
                      <a:pt x="137" y="95"/>
                    </a:lnTo>
                    <a:lnTo>
                      <a:pt x="137" y="96"/>
                    </a:lnTo>
                    <a:lnTo>
                      <a:pt x="135" y="100"/>
                    </a:lnTo>
                    <a:lnTo>
                      <a:pt x="113" y="100"/>
                    </a:lnTo>
                    <a:lnTo>
                      <a:pt x="109" y="101"/>
                    </a:lnTo>
                    <a:lnTo>
                      <a:pt x="105" y="108"/>
                    </a:lnTo>
                    <a:lnTo>
                      <a:pt x="101" y="111"/>
                    </a:lnTo>
                    <a:lnTo>
                      <a:pt x="99" y="114"/>
                    </a:lnTo>
                    <a:lnTo>
                      <a:pt x="99" y="120"/>
                    </a:lnTo>
                    <a:lnTo>
                      <a:pt x="97" y="124"/>
                    </a:lnTo>
                    <a:lnTo>
                      <a:pt x="85" y="132"/>
                    </a:lnTo>
                    <a:lnTo>
                      <a:pt x="66" y="143"/>
                    </a:lnTo>
                    <a:lnTo>
                      <a:pt x="50" y="152"/>
                    </a:lnTo>
                    <a:lnTo>
                      <a:pt x="43" y="154"/>
                    </a:lnTo>
                    <a:lnTo>
                      <a:pt x="36" y="154"/>
                    </a:lnTo>
                    <a:lnTo>
                      <a:pt x="33" y="154"/>
                    </a:lnTo>
                    <a:lnTo>
                      <a:pt x="27" y="154"/>
                    </a:lnTo>
                    <a:lnTo>
                      <a:pt x="18" y="156"/>
                    </a:lnTo>
                    <a:lnTo>
                      <a:pt x="12" y="159"/>
                    </a:lnTo>
                    <a:lnTo>
                      <a:pt x="8" y="164"/>
                    </a:lnTo>
                    <a:lnTo>
                      <a:pt x="0" y="170"/>
                    </a:lnTo>
                    <a:lnTo>
                      <a:pt x="0" y="185"/>
                    </a:lnTo>
                    <a:lnTo>
                      <a:pt x="0" y="185"/>
                    </a:lnTo>
                    <a:lnTo>
                      <a:pt x="0" y="190"/>
                    </a:lnTo>
                    <a:lnTo>
                      <a:pt x="0" y="190"/>
                    </a:lnTo>
                    <a:lnTo>
                      <a:pt x="0" y="190"/>
                    </a:lnTo>
                    <a:lnTo>
                      <a:pt x="67" y="233"/>
                    </a:lnTo>
                    <a:lnTo>
                      <a:pt x="67" y="234"/>
                    </a:lnTo>
                    <a:lnTo>
                      <a:pt x="187" y="310"/>
                    </a:lnTo>
                    <a:lnTo>
                      <a:pt x="189" y="319"/>
                    </a:lnTo>
                    <a:lnTo>
                      <a:pt x="193" y="323"/>
                    </a:lnTo>
                    <a:lnTo>
                      <a:pt x="199" y="322"/>
                    </a:lnTo>
                    <a:lnTo>
                      <a:pt x="205" y="324"/>
                    </a:lnTo>
                    <a:lnTo>
                      <a:pt x="208" y="327"/>
                    </a:lnTo>
                    <a:lnTo>
                      <a:pt x="213" y="328"/>
                    </a:lnTo>
                    <a:lnTo>
                      <a:pt x="216" y="331"/>
                    </a:lnTo>
                    <a:lnTo>
                      <a:pt x="216" y="334"/>
                    </a:lnTo>
                    <a:lnTo>
                      <a:pt x="214" y="340"/>
                    </a:lnTo>
                    <a:lnTo>
                      <a:pt x="216" y="343"/>
                    </a:lnTo>
                    <a:lnTo>
                      <a:pt x="219" y="345"/>
                    </a:lnTo>
                    <a:lnTo>
                      <a:pt x="228" y="343"/>
                    </a:lnTo>
                    <a:lnTo>
                      <a:pt x="235" y="341"/>
                    </a:lnTo>
                    <a:lnTo>
                      <a:pt x="235" y="341"/>
                    </a:lnTo>
                    <a:lnTo>
                      <a:pt x="235" y="341"/>
                    </a:lnTo>
                    <a:lnTo>
                      <a:pt x="263" y="335"/>
                    </a:lnTo>
                    <a:lnTo>
                      <a:pt x="286" y="315"/>
                    </a:lnTo>
                    <a:lnTo>
                      <a:pt x="369" y="265"/>
                    </a:lnTo>
                    <a:lnTo>
                      <a:pt x="369" y="265"/>
                    </a:lnTo>
                    <a:lnTo>
                      <a:pt x="369" y="265"/>
                    </a:lnTo>
                    <a:close/>
                  </a:path>
                </a:pathLst>
              </a:custGeom>
              <a:solidFill>
                <a:schemeClr val="accent4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000" name="Freeform 403"/>
              <p:cNvSpPr>
                <a:spLocks/>
              </p:cNvSpPr>
              <p:nvPr userDrawn="1"/>
            </p:nvSpPr>
            <p:spPr bwMode="auto">
              <a:xfrm>
                <a:off x="3239" y="2262"/>
                <a:ext cx="213" cy="162"/>
              </a:xfrm>
              <a:custGeom>
                <a:avLst/>
                <a:gdLst>
                  <a:gd name="T0" fmla="*/ 74 w 213"/>
                  <a:gd name="T1" fmla="*/ 147 h 162"/>
                  <a:gd name="T2" fmla="*/ 86 w 213"/>
                  <a:gd name="T3" fmla="*/ 136 h 162"/>
                  <a:gd name="T4" fmla="*/ 101 w 213"/>
                  <a:gd name="T5" fmla="*/ 131 h 162"/>
                  <a:gd name="T6" fmla="*/ 110 w 213"/>
                  <a:gd name="T7" fmla="*/ 131 h 162"/>
                  <a:gd name="T8" fmla="*/ 124 w 213"/>
                  <a:gd name="T9" fmla="*/ 129 h 162"/>
                  <a:gd name="T10" fmla="*/ 159 w 213"/>
                  <a:gd name="T11" fmla="*/ 109 h 162"/>
                  <a:gd name="T12" fmla="*/ 173 w 213"/>
                  <a:gd name="T13" fmla="*/ 97 h 162"/>
                  <a:gd name="T14" fmla="*/ 175 w 213"/>
                  <a:gd name="T15" fmla="*/ 88 h 162"/>
                  <a:gd name="T16" fmla="*/ 183 w 213"/>
                  <a:gd name="T17" fmla="*/ 78 h 162"/>
                  <a:gd name="T18" fmla="*/ 209 w 213"/>
                  <a:gd name="T19" fmla="*/ 77 h 162"/>
                  <a:gd name="T20" fmla="*/ 211 w 213"/>
                  <a:gd name="T21" fmla="*/ 72 h 162"/>
                  <a:gd name="T22" fmla="*/ 211 w 213"/>
                  <a:gd name="T23" fmla="*/ 66 h 162"/>
                  <a:gd name="T24" fmla="*/ 207 w 213"/>
                  <a:gd name="T25" fmla="*/ 65 h 162"/>
                  <a:gd name="T26" fmla="*/ 204 w 213"/>
                  <a:gd name="T27" fmla="*/ 60 h 162"/>
                  <a:gd name="T28" fmla="*/ 200 w 213"/>
                  <a:gd name="T29" fmla="*/ 42 h 162"/>
                  <a:gd name="T30" fmla="*/ 199 w 213"/>
                  <a:gd name="T31" fmla="*/ 32 h 162"/>
                  <a:gd name="T32" fmla="*/ 198 w 213"/>
                  <a:gd name="T33" fmla="*/ 25 h 162"/>
                  <a:gd name="T34" fmla="*/ 196 w 213"/>
                  <a:gd name="T35" fmla="*/ 20 h 162"/>
                  <a:gd name="T36" fmla="*/ 193 w 213"/>
                  <a:gd name="T37" fmla="*/ 16 h 162"/>
                  <a:gd name="T38" fmla="*/ 181 w 213"/>
                  <a:gd name="T39" fmla="*/ 15 h 162"/>
                  <a:gd name="T40" fmla="*/ 177 w 213"/>
                  <a:gd name="T41" fmla="*/ 9 h 162"/>
                  <a:gd name="T42" fmla="*/ 176 w 213"/>
                  <a:gd name="T43" fmla="*/ 8 h 162"/>
                  <a:gd name="T44" fmla="*/ 166 w 213"/>
                  <a:gd name="T45" fmla="*/ 13 h 162"/>
                  <a:gd name="T46" fmla="*/ 158 w 213"/>
                  <a:gd name="T47" fmla="*/ 11 h 162"/>
                  <a:gd name="T48" fmla="*/ 148 w 213"/>
                  <a:gd name="T49" fmla="*/ 14 h 162"/>
                  <a:gd name="T50" fmla="*/ 140 w 213"/>
                  <a:gd name="T51" fmla="*/ 8 h 162"/>
                  <a:gd name="T52" fmla="*/ 137 w 213"/>
                  <a:gd name="T53" fmla="*/ 4 h 162"/>
                  <a:gd name="T54" fmla="*/ 137 w 213"/>
                  <a:gd name="T55" fmla="*/ 1 h 162"/>
                  <a:gd name="T56" fmla="*/ 133 w 213"/>
                  <a:gd name="T57" fmla="*/ 1 h 162"/>
                  <a:gd name="T58" fmla="*/ 128 w 213"/>
                  <a:gd name="T59" fmla="*/ 1 h 162"/>
                  <a:gd name="T60" fmla="*/ 123 w 213"/>
                  <a:gd name="T61" fmla="*/ 15 h 162"/>
                  <a:gd name="T62" fmla="*/ 119 w 213"/>
                  <a:gd name="T63" fmla="*/ 27 h 162"/>
                  <a:gd name="T64" fmla="*/ 108 w 213"/>
                  <a:gd name="T65" fmla="*/ 40 h 162"/>
                  <a:gd name="T66" fmla="*/ 102 w 213"/>
                  <a:gd name="T67" fmla="*/ 43 h 162"/>
                  <a:gd name="T68" fmla="*/ 90 w 213"/>
                  <a:gd name="T69" fmla="*/ 50 h 162"/>
                  <a:gd name="T70" fmla="*/ 81 w 213"/>
                  <a:gd name="T71" fmla="*/ 55 h 162"/>
                  <a:gd name="T72" fmla="*/ 74 w 213"/>
                  <a:gd name="T73" fmla="*/ 60 h 162"/>
                  <a:gd name="T74" fmla="*/ 69 w 213"/>
                  <a:gd name="T75" fmla="*/ 72 h 162"/>
                  <a:gd name="T76" fmla="*/ 60 w 213"/>
                  <a:gd name="T77" fmla="*/ 83 h 162"/>
                  <a:gd name="T78" fmla="*/ 56 w 213"/>
                  <a:gd name="T79" fmla="*/ 96 h 162"/>
                  <a:gd name="T80" fmla="*/ 56 w 213"/>
                  <a:gd name="T81" fmla="*/ 109 h 162"/>
                  <a:gd name="T82" fmla="*/ 60 w 213"/>
                  <a:gd name="T83" fmla="*/ 112 h 162"/>
                  <a:gd name="T84" fmla="*/ 47 w 213"/>
                  <a:gd name="T85" fmla="*/ 130 h 162"/>
                  <a:gd name="T86" fmla="*/ 41 w 213"/>
                  <a:gd name="T87" fmla="*/ 140 h 162"/>
                  <a:gd name="T88" fmla="*/ 22 w 213"/>
                  <a:gd name="T89" fmla="*/ 153 h 162"/>
                  <a:gd name="T90" fmla="*/ 0 w 213"/>
                  <a:gd name="T91" fmla="*/ 161 h 162"/>
                  <a:gd name="T92" fmla="*/ 74 w 213"/>
                  <a:gd name="T93" fmla="*/ 162 h 162"/>
                  <a:gd name="T94" fmla="*/ 74 w 213"/>
                  <a:gd name="T95" fmla="*/ 162 h 1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13" h="162">
                    <a:moveTo>
                      <a:pt x="74" y="162"/>
                    </a:moveTo>
                    <a:lnTo>
                      <a:pt x="74" y="147"/>
                    </a:lnTo>
                    <a:lnTo>
                      <a:pt x="82" y="141"/>
                    </a:lnTo>
                    <a:lnTo>
                      <a:pt x="86" y="136"/>
                    </a:lnTo>
                    <a:lnTo>
                      <a:pt x="92" y="133"/>
                    </a:lnTo>
                    <a:lnTo>
                      <a:pt x="101" y="131"/>
                    </a:lnTo>
                    <a:lnTo>
                      <a:pt x="107" y="131"/>
                    </a:lnTo>
                    <a:lnTo>
                      <a:pt x="110" y="131"/>
                    </a:lnTo>
                    <a:lnTo>
                      <a:pt x="117" y="131"/>
                    </a:lnTo>
                    <a:lnTo>
                      <a:pt x="124" y="129"/>
                    </a:lnTo>
                    <a:lnTo>
                      <a:pt x="140" y="120"/>
                    </a:lnTo>
                    <a:lnTo>
                      <a:pt x="159" y="109"/>
                    </a:lnTo>
                    <a:lnTo>
                      <a:pt x="171" y="101"/>
                    </a:lnTo>
                    <a:lnTo>
                      <a:pt x="173" y="97"/>
                    </a:lnTo>
                    <a:lnTo>
                      <a:pt x="173" y="91"/>
                    </a:lnTo>
                    <a:lnTo>
                      <a:pt x="175" y="88"/>
                    </a:lnTo>
                    <a:lnTo>
                      <a:pt x="179" y="85"/>
                    </a:lnTo>
                    <a:lnTo>
                      <a:pt x="183" y="78"/>
                    </a:lnTo>
                    <a:lnTo>
                      <a:pt x="187" y="77"/>
                    </a:lnTo>
                    <a:lnTo>
                      <a:pt x="209" y="77"/>
                    </a:lnTo>
                    <a:lnTo>
                      <a:pt x="211" y="73"/>
                    </a:lnTo>
                    <a:lnTo>
                      <a:pt x="211" y="72"/>
                    </a:lnTo>
                    <a:lnTo>
                      <a:pt x="213" y="67"/>
                    </a:lnTo>
                    <a:lnTo>
                      <a:pt x="211" y="66"/>
                    </a:lnTo>
                    <a:lnTo>
                      <a:pt x="209" y="66"/>
                    </a:lnTo>
                    <a:lnTo>
                      <a:pt x="207" y="65"/>
                    </a:lnTo>
                    <a:lnTo>
                      <a:pt x="205" y="64"/>
                    </a:lnTo>
                    <a:lnTo>
                      <a:pt x="204" y="60"/>
                    </a:lnTo>
                    <a:lnTo>
                      <a:pt x="202" y="55"/>
                    </a:lnTo>
                    <a:lnTo>
                      <a:pt x="200" y="42"/>
                    </a:lnTo>
                    <a:lnTo>
                      <a:pt x="199" y="39"/>
                    </a:lnTo>
                    <a:lnTo>
                      <a:pt x="199" y="32"/>
                    </a:lnTo>
                    <a:lnTo>
                      <a:pt x="199" y="26"/>
                    </a:lnTo>
                    <a:lnTo>
                      <a:pt x="198" y="25"/>
                    </a:lnTo>
                    <a:lnTo>
                      <a:pt x="198" y="22"/>
                    </a:lnTo>
                    <a:lnTo>
                      <a:pt x="196" y="20"/>
                    </a:lnTo>
                    <a:lnTo>
                      <a:pt x="195" y="17"/>
                    </a:lnTo>
                    <a:lnTo>
                      <a:pt x="193" y="16"/>
                    </a:lnTo>
                    <a:lnTo>
                      <a:pt x="191" y="16"/>
                    </a:lnTo>
                    <a:lnTo>
                      <a:pt x="181" y="15"/>
                    </a:lnTo>
                    <a:lnTo>
                      <a:pt x="178" y="12"/>
                    </a:lnTo>
                    <a:lnTo>
                      <a:pt x="177" y="9"/>
                    </a:lnTo>
                    <a:lnTo>
                      <a:pt x="176" y="8"/>
                    </a:lnTo>
                    <a:lnTo>
                      <a:pt x="176" y="8"/>
                    </a:lnTo>
                    <a:lnTo>
                      <a:pt x="173" y="12"/>
                    </a:lnTo>
                    <a:lnTo>
                      <a:pt x="166" y="13"/>
                    </a:lnTo>
                    <a:lnTo>
                      <a:pt x="161" y="12"/>
                    </a:lnTo>
                    <a:lnTo>
                      <a:pt x="158" y="11"/>
                    </a:lnTo>
                    <a:lnTo>
                      <a:pt x="154" y="13"/>
                    </a:lnTo>
                    <a:lnTo>
                      <a:pt x="148" y="14"/>
                    </a:lnTo>
                    <a:lnTo>
                      <a:pt x="144" y="13"/>
                    </a:lnTo>
                    <a:lnTo>
                      <a:pt x="140" y="8"/>
                    </a:lnTo>
                    <a:lnTo>
                      <a:pt x="138" y="6"/>
                    </a:lnTo>
                    <a:lnTo>
                      <a:pt x="137" y="4"/>
                    </a:lnTo>
                    <a:lnTo>
                      <a:pt x="137" y="1"/>
                    </a:lnTo>
                    <a:lnTo>
                      <a:pt x="137" y="1"/>
                    </a:lnTo>
                    <a:lnTo>
                      <a:pt x="136" y="0"/>
                    </a:lnTo>
                    <a:lnTo>
                      <a:pt x="133" y="1"/>
                    </a:lnTo>
                    <a:lnTo>
                      <a:pt x="131" y="2"/>
                    </a:lnTo>
                    <a:lnTo>
                      <a:pt x="128" y="1"/>
                    </a:lnTo>
                    <a:lnTo>
                      <a:pt x="124" y="5"/>
                    </a:lnTo>
                    <a:lnTo>
                      <a:pt x="123" y="15"/>
                    </a:lnTo>
                    <a:lnTo>
                      <a:pt x="120" y="21"/>
                    </a:lnTo>
                    <a:lnTo>
                      <a:pt x="119" y="27"/>
                    </a:lnTo>
                    <a:lnTo>
                      <a:pt x="117" y="32"/>
                    </a:lnTo>
                    <a:lnTo>
                      <a:pt x="108" y="40"/>
                    </a:lnTo>
                    <a:lnTo>
                      <a:pt x="106" y="40"/>
                    </a:lnTo>
                    <a:lnTo>
                      <a:pt x="102" y="43"/>
                    </a:lnTo>
                    <a:lnTo>
                      <a:pt x="96" y="44"/>
                    </a:lnTo>
                    <a:lnTo>
                      <a:pt x="90" y="50"/>
                    </a:lnTo>
                    <a:lnTo>
                      <a:pt x="88" y="50"/>
                    </a:lnTo>
                    <a:lnTo>
                      <a:pt x="81" y="55"/>
                    </a:lnTo>
                    <a:lnTo>
                      <a:pt x="77" y="56"/>
                    </a:lnTo>
                    <a:lnTo>
                      <a:pt x="74" y="60"/>
                    </a:lnTo>
                    <a:lnTo>
                      <a:pt x="66" y="66"/>
                    </a:lnTo>
                    <a:lnTo>
                      <a:pt x="69" y="72"/>
                    </a:lnTo>
                    <a:lnTo>
                      <a:pt x="68" y="76"/>
                    </a:lnTo>
                    <a:lnTo>
                      <a:pt x="60" y="83"/>
                    </a:lnTo>
                    <a:lnTo>
                      <a:pt x="56" y="92"/>
                    </a:lnTo>
                    <a:lnTo>
                      <a:pt x="56" y="96"/>
                    </a:lnTo>
                    <a:lnTo>
                      <a:pt x="58" y="102"/>
                    </a:lnTo>
                    <a:lnTo>
                      <a:pt x="56" y="109"/>
                    </a:lnTo>
                    <a:lnTo>
                      <a:pt x="58" y="109"/>
                    </a:lnTo>
                    <a:lnTo>
                      <a:pt x="60" y="112"/>
                    </a:lnTo>
                    <a:lnTo>
                      <a:pt x="58" y="117"/>
                    </a:lnTo>
                    <a:lnTo>
                      <a:pt x="47" y="130"/>
                    </a:lnTo>
                    <a:lnTo>
                      <a:pt x="46" y="135"/>
                    </a:lnTo>
                    <a:lnTo>
                      <a:pt x="41" y="140"/>
                    </a:lnTo>
                    <a:lnTo>
                      <a:pt x="34" y="141"/>
                    </a:lnTo>
                    <a:lnTo>
                      <a:pt x="22" y="153"/>
                    </a:lnTo>
                    <a:lnTo>
                      <a:pt x="4" y="155"/>
                    </a:lnTo>
                    <a:lnTo>
                      <a:pt x="0" y="161"/>
                    </a:lnTo>
                    <a:lnTo>
                      <a:pt x="74" y="162"/>
                    </a:lnTo>
                    <a:lnTo>
                      <a:pt x="74" y="162"/>
                    </a:lnTo>
                    <a:lnTo>
                      <a:pt x="74" y="162"/>
                    </a:lnTo>
                    <a:lnTo>
                      <a:pt x="74" y="162"/>
                    </a:lnTo>
                    <a:close/>
                  </a:path>
                </a:pathLst>
              </a:custGeom>
              <a:solidFill>
                <a:srgbClr val="65625E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001" name="Freeform 404"/>
              <p:cNvSpPr>
                <a:spLocks/>
              </p:cNvSpPr>
              <p:nvPr userDrawn="1"/>
            </p:nvSpPr>
            <p:spPr bwMode="auto">
              <a:xfrm>
                <a:off x="3248" y="2472"/>
                <a:ext cx="300" cy="269"/>
              </a:xfrm>
              <a:custGeom>
                <a:avLst/>
                <a:gdLst>
                  <a:gd name="T0" fmla="*/ 10 w 300"/>
                  <a:gd name="T1" fmla="*/ 184 h 269"/>
                  <a:gd name="T2" fmla="*/ 12 w 300"/>
                  <a:gd name="T3" fmla="*/ 170 h 269"/>
                  <a:gd name="T4" fmla="*/ 23 w 300"/>
                  <a:gd name="T5" fmla="*/ 173 h 269"/>
                  <a:gd name="T6" fmla="*/ 32 w 300"/>
                  <a:gd name="T7" fmla="*/ 172 h 269"/>
                  <a:gd name="T8" fmla="*/ 46 w 300"/>
                  <a:gd name="T9" fmla="*/ 175 h 269"/>
                  <a:gd name="T10" fmla="*/ 53 w 300"/>
                  <a:gd name="T11" fmla="*/ 173 h 269"/>
                  <a:gd name="T12" fmla="*/ 123 w 300"/>
                  <a:gd name="T13" fmla="*/ 177 h 269"/>
                  <a:gd name="T14" fmla="*/ 109 w 300"/>
                  <a:gd name="T15" fmla="*/ 1 h 269"/>
                  <a:gd name="T16" fmla="*/ 254 w 300"/>
                  <a:gd name="T17" fmla="*/ 86 h 269"/>
                  <a:gd name="T18" fmla="*/ 270 w 300"/>
                  <a:gd name="T19" fmla="*/ 91 h 269"/>
                  <a:gd name="T20" fmla="*/ 281 w 300"/>
                  <a:gd name="T21" fmla="*/ 98 h 269"/>
                  <a:gd name="T22" fmla="*/ 281 w 300"/>
                  <a:gd name="T23" fmla="*/ 110 h 269"/>
                  <a:gd name="T24" fmla="*/ 300 w 300"/>
                  <a:gd name="T25" fmla="*/ 108 h 269"/>
                  <a:gd name="T26" fmla="*/ 298 w 300"/>
                  <a:gd name="T27" fmla="*/ 159 h 269"/>
                  <a:gd name="T28" fmla="*/ 293 w 300"/>
                  <a:gd name="T29" fmla="*/ 170 h 269"/>
                  <a:gd name="T30" fmla="*/ 273 w 300"/>
                  <a:gd name="T31" fmla="*/ 179 h 269"/>
                  <a:gd name="T32" fmla="*/ 256 w 300"/>
                  <a:gd name="T33" fmla="*/ 181 h 269"/>
                  <a:gd name="T34" fmla="*/ 235 w 300"/>
                  <a:gd name="T35" fmla="*/ 184 h 269"/>
                  <a:gd name="T36" fmla="*/ 228 w 300"/>
                  <a:gd name="T37" fmla="*/ 183 h 269"/>
                  <a:gd name="T38" fmla="*/ 215 w 300"/>
                  <a:gd name="T39" fmla="*/ 181 h 269"/>
                  <a:gd name="T40" fmla="*/ 197 w 300"/>
                  <a:gd name="T41" fmla="*/ 190 h 269"/>
                  <a:gd name="T42" fmla="*/ 171 w 300"/>
                  <a:gd name="T43" fmla="*/ 207 h 269"/>
                  <a:gd name="T44" fmla="*/ 154 w 300"/>
                  <a:gd name="T45" fmla="*/ 210 h 269"/>
                  <a:gd name="T46" fmla="*/ 146 w 300"/>
                  <a:gd name="T47" fmla="*/ 221 h 269"/>
                  <a:gd name="T48" fmla="*/ 136 w 300"/>
                  <a:gd name="T49" fmla="*/ 237 h 269"/>
                  <a:gd name="T50" fmla="*/ 130 w 300"/>
                  <a:gd name="T51" fmla="*/ 246 h 269"/>
                  <a:gd name="T52" fmla="*/ 127 w 300"/>
                  <a:gd name="T53" fmla="*/ 256 h 269"/>
                  <a:gd name="T54" fmla="*/ 125 w 300"/>
                  <a:gd name="T55" fmla="*/ 265 h 269"/>
                  <a:gd name="T56" fmla="*/ 114 w 300"/>
                  <a:gd name="T57" fmla="*/ 266 h 269"/>
                  <a:gd name="T58" fmla="*/ 104 w 300"/>
                  <a:gd name="T59" fmla="*/ 265 h 269"/>
                  <a:gd name="T60" fmla="*/ 95 w 300"/>
                  <a:gd name="T61" fmla="*/ 267 h 269"/>
                  <a:gd name="T62" fmla="*/ 83 w 300"/>
                  <a:gd name="T63" fmla="*/ 268 h 269"/>
                  <a:gd name="T64" fmla="*/ 76 w 300"/>
                  <a:gd name="T65" fmla="*/ 264 h 269"/>
                  <a:gd name="T66" fmla="*/ 75 w 300"/>
                  <a:gd name="T67" fmla="*/ 256 h 269"/>
                  <a:gd name="T68" fmla="*/ 68 w 300"/>
                  <a:gd name="T69" fmla="*/ 259 h 269"/>
                  <a:gd name="T70" fmla="*/ 72 w 300"/>
                  <a:gd name="T71" fmla="*/ 248 h 269"/>
                  <a:gd name="T72" fmla="*/ 68 w 300"/>
                  <a:gd name="T73" fmla="*/ 241 h 269"/>
                  <a:gd name="T74" fmla="*/ 62 w 300"/>
                  <a:gd name="T75" fmla="*/ 232 h 269"/>
                  <a:gd name="T76" fmla="*/ 51 w 300"/>
                  <a:gd name="T77" fmla="*/ 232 h 269"/>
                  <a:gd name="T78" fmla="*/ 42 w 300"/>
                  <a:gd name="T79" fmla="*/ 237 h 269"/>
                  <a:gd name="T80" fmla="*/ 29 w 300"/>
                  <a:gd name="T81" fmla="*/ 237 h 269"/>
                  <a:gd name="T82" fmla="*/ 21 w 300"/>
                  <a:gd name="T83" fmla="*/ 237 h 269"/>
                  <a:gd name="T84" fmla="*/ 22 w 300"/>
                  <a:gd name="T85" fmla="*/ 231 h 269"/>
                  <a:gd name="T86" fmla="*/ 18 w 300"/>
                  <a:gd name="T87" fmla="*/ 224 h 269"/>
                  <a:gd name="T88" fmla="*/ 15 w 300"/>
                  <a:gd name="T89" fmla="*/ 217 h 269"/>
                  <a:gd name="T90" fmla="*/ 8 w 300"/>
                  <a:gd name="T91" fmla="*/ 214 h 269"/>
                  <a:gd name="T92" fmla="*/ 2 w 300"/>
                  <a:gd name="T93" fmla="*/ 203 h 269"/>
                  <a:gd name="T94" fmla="*/ 3 w 300"/>
                  <a:gd name="T95" fmla="*/ 190 h 2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300" h="269">
                    <a:moveTo>
                      <a:pt x="0" y="188"/>
                    </a:moveTo>
                    <a:lnTo>
                      <a:pt x="4" y="184"/>
                    </a:lnTo>
                    <a:lnTo>
                      <a:pt x="10" y="184"/>
                    </a:lnTo>
                    <a:lnTo>
                      <a:pt x="12" y="180"/>
                    </a:lnTo>
                    <a:lnTo>
                      <a:pt x="12" y="177"/>
                    </a:lnTo>
                    <a:lnTo>
                      <a:pt x="12" y="170"/>
                    </a:lnTo>
                    <a:lnTo>
                      <a:pt x="18" y="169"/>
                    </a:lnTo>
                    <a:lnTo>
                      <a:pt x="22" y="169"/>
                    </a:lnTo>
                    <a:lnTo>
                      <a:pt x="23" y="173"/>
                    </a:lnTo>
                    <a:lnTo>
                      <a:pt x="25" y="179"/>
                    </a:lnTo>
                    <a:lnTo>
                      <a:pt x="27" y="181"/>
                    </a:lnTo>
                    <a:lnTo>
                      <a:pt x="32" y="172"/>
                    </a:lnTo>
                    <a:lnTo>
                      <a:pt x="42" y="168"/>
                    </a:lnTo>
                    <a:lnTo>
                      <a:pt x="46" y="169"/>
                    </a:lnTo>
                    <a:lnTo>
                      <a:pt x="46" y="175"/>
                    </a:lnTo>
                    <a:lnTo>
                      <a:pt x="47" y="177"/>
                    </a:lnTo>
                    <a:lnTo>
                      <a:pt x="51" y="173"/>
                    </a:lnTo>
                    <a:lnTo>
                      <a:pt x="53" y="173"/>
                    </a:lnTo>
                    <a:lnTo>
                      <a:pt x="55" y="176"/>
                    </a:lnTo>
                    <a:lnTo>
                      <a:pt x="57" y="177"/>
                    </a:lnTo>
                    <a:lnTo>
                      <a:pt x="123" y="177"/>
                    </a:lnTo>
                    <a:lnTo>
                      <a:pt x="129" y="160"/>
                    </a:lnTo>
                    <a:lnTo>
                      <a:pt x="123" y="157"/>
                    </a:lnTo>
                    <a:lnTo>
                      <a:pt x="109" y="1"/>
                    </a:lnTo>
                    <a:lnTo>
                      <a:pt x="132" y="0"/>
                    </a:lnTo>
                    <a:lnTo>
                      <a:pt x="252" y="77"/>
                    </a:lnTo>
                    <a:lnTo>
                      <a:pt x="254" y="86"/>
                    </a:lnTo>
                    <a:lnTo>
                      <a:pt x="258" y="90"/>
                    </a:lnTo>
                    <a:lnTo>
                      <a:pt x="264" y="89"/>
                    </a:lnTo>
                    <a:lnTo>
                      <a:pt x="270" y="91"/>
                    </a:lnTo>
                    <a:lnTo>
                      <a:pt x="273" y="94"/>
                    </a:lnTo>
                    <a:lnTo>
                      <a:pt x="278" y="95"/>
                    </a:lnTo>
                    <a:lnTo>
                      <a:pt x="281" y="98"/>
                    </a:lnTo>
                    <a:lnTo>
                      <a:pt x="281" y="101"/>
                    </a:lnTo>
                    <a:lnTo>
                      <a:pt x="279" y="107"/>
                    </a:lnTo>
                    <a:lnTo>
                      <a:pt x="281" y="110"/>
                    </a:lnTo>
                    <a:lnTo>
                      <a:pt x="284" y="112"/>
                    </a:lnTo>
                    <a:lnTo>
                      <a:pt x="293" y="110"/>
                    </a:lnTo>
                    <a:lnTo>
                      <a:pt x="300" y="108"/>
                    </a:lnTo>
                    <a:lnTo>
                      <a:pt x="300" y="108"/>
                    </a:lnTo>
                    <a:lnTo>
                      <a:pt x="299" y="142"/>
                    </a:lnTo>
                    <a:lnTo>
                      <a:pt x="298" y="159"/>
                    </a:lnTo>
                    <a:lnTo>
                      <a:pt x="295" y="160"/>
                    </a:lnTo>
                    <a:lnTo>
                      <a:pt x="294" y="166"/>
                    </a:lnTo>
                    <a:lnTo>
                      <a:pt x="293" y="170"/>
                    </a:lnTo>
                    <a:lnTo>
                      <a:pt x="284" y="175"/>
                    </a:lnTo>
                    <a:lnTo>
                      <a:pt x="279" y="178"/>
                    </a:lnTo>
                    <a:lnTo>
                      <a:pt x="273" y="179"/>
                    </a:lnTo>
                    <a:lnTo>
                      <a:pt x="268" y="181"/>
                    </a:lnTo>
                    <a:lnTo>
                      <a:pt x="264" y="181"/>
                    </a:lnTo>
                    <a:lnTo>
                      <a:pt x="256" y="181"/>
                    </a:lnTo>
                    <a:lnTo>
                      <a:pt x="251" y="183"/>
                    </a:lnTo>
                    <a:lnTo>
                      <a:pt x="247" y="183"/>
                    </a:lnTo>
                    <a:lnTo>
                      <a:pt x="235" y="184"/>
                    </a:lnTo>
                    <a:lnTo>
                      <a:pt x="230" y="183"/>
                    </a:lnTo>
                    <a:lnTo>
                      <a:pt x="230" y="184"/>
                    </a:lnTo>
                    <a:lnTo>
                      <a:pt x="228" y="183"/>
                    </a:lnTo>
                    <a:lnTo>
                      <a:pt x="225" y="183"/>
                    </a:lnTo>
                    <a:lnTo>
                      <a:pt x="219" y="181"/>
                    </a:lnTo>
                    <a:lnTo>
                      <a:pt x="215" y="181"/>
                    </a:lnTo>
                    <a:lnTo>
                      <a:pt x="206" y="183"/>
                    </a:lnTo>
                    <a:lnTo>
                      <a:pt x="200" y="186"/>
                    </a:lnTo>
                    <a:lnTo>
                      <a:pt x="197" y="190"/>
                    </a:lnTo>
                    <a:lnTo>
                      <a:pt x="182" y="198"/>
                    </a:lnTo>
                    <a:lnTo>
                      <a:pt x="172" y="204"/>
                    </a:lnTo>
                    <a:lnTo>
                      <a:pt x="171" y="207"/>
                    </a:lnTo>
                    <a:lnTo>
                      <a:pt x="161" y="210"/>
                    </a:lnTo>
                    <a:lnTo>
                      <a:pt x="158" y="210"/>
                    </a:lnTo>
                    <a:lnTo>
                      <a:pt x="154" y="210"/>
                    </a:lnTo>
                    <a:lnTo>
                      <a:pt x="153" y="212"/>
                    </a:lnTo>
                    <a:lnTo>
                      <a:pt x="150" y="213"/>
                    </a:lnTo>
                    <a:lnTo>
                      <a:pt x="146" y="221"/>
                    </a:lnTo>
                    <a:lnTo>
                      <a:pt x="146" y="223"/>
                    </a:lnTo>
                    <a:lnTo>
                      <a:pt x="142" y="228"/>
                    </a:lnTo>
                    <a:lnTo>
                      <a:pt x="136" y="237"/>
                    </a:lnTo>
                    <a:lnTo>
                      <a:pt x="132" y="241"/>
                    </a:lnTo>
                    <a:lnTo>
                      <a:pt x="129" y="244"/>
                    </a:lnTo>
                    <a:lnTo>
                      <a:pt x="130" y="246"/>
                    </a:lnTo>
                    <a:lnTo>
                      <a:pt x="131" y="251"/>
                    </a:lnTo>
                    <a:lnTo>
                      <a:pt x="127" y="252"/>
                    </a:lnTo>
                    <a:lnTo>
                      <a:pt x="127" y="256"/>
                    </a:lnTo>
                    <a:lnTo>
                      <a:pt x="128" y="259"/>
                    </a:lnTo>
                    <a:lnTo>
                      <a:pt x="127" y="263"/>
                    </a:lnTo>
                    <a:lnTo>
                      <a:pt x="125" y="265"/>
                    </a:lnTo>
                    <a:lnTo>
                      <a:pt x="121" y="269"/>
                    </a:lnTo>
                    <a:lnTo>
                      <a:pt x="115" y="267"/>
                    </a:lnTo>
                    <a:lnTo>
                      <a:pt x="114" y="266"/>
                    </a:lnTo>
                    <a:lnTo>
                      <a:pt x="115" y="265"/>
                    </a:lnTo>
                    <a:lnTo>
                      <a:pt x="111" y="264"/>
                    </a:lnTo>
                    <a:lnTo>
                      <a:pt x="104" y="265"/>
                    </a:lnTo>
                    <a:lnTo>
                      <a:pt x="104" y="267"/>
                    </a:lnTo>
                    <a:lnTo>
                      <a:pt x="103" y="267"/>
                    </a:lnTo>
                    <a:lnTo>
                      <a:pt x="95" y="267"/>
                    </a:lnTo>
                    <a:lnTo>
                      <a:pt x="90" y="266"/>
                    </a:lnTo>
                    <a:lnTo>
                      <a:pt x="89" y="266"/>
                    </a:lnTo>
                    <a:lnTo>
                      <a:pt x="83" y="268"/>
                    </a:lnTo>
                    <a:lnTo>
                      <a:pt x="83" y="266"/>
                    </a:lnTo>
                    <a:lnTo>
                      <a:pt x="81" y="264"/>
                    </a:lnTo>
                    <a:lnTo>
                      <a:pt x="76" y="264"/>
                    </a:lnTo>
                    <a:lnTo>
                      <a:pt x="76" y="262"/>
                    </a:lnTo>
                    <a:lnTo>
                      <a:pt x="75" y="260"/>
                    </a:lnTo>
                    <a:lnTo>
                      <a:pt x="75" y="256"/>
                    </a:lnTo>
                    <a:lnTo>
                      <a:pt x="72" y="256"/>
                    </a:lnTo>
                    <a:lnTo>
                      <a:pt x="70" y="259"/>
                    </a:lnTo>
                    <a:lnTo>
                      <a:pt x="68" y="259"/>
                    </a:lnTo>
                    <a:lnTo>
                      <a:pt x="69" y="254"/>
                    </a:lnTo>
                    <a:lnTo>
                      <a:pt x="72" y="250"/>
                    </a:lnTo>
                    <a:lnTo>
                      <a:pt x="72" y="248"/>
                    </a:lnTo>
                    <a:lnTo>
                      <a:pt x="68" y="246"/>
                    </a:lnTo>
                    <a:lnTo>
                      <a:pt x="67" y="246"/>
                    </a:lnTo>
                    <a:lnTo>
                      <a:pt x="68" y="241"/>
                    </a:lnTo>
                    <a:lnTo>
                      <a:pt x="66" y="237"/>
                    </a:lnTo>
                    <a:lnTo>
                      <a:pt x="62" y="234"/>
                    </a:lnTo>
                    <a:lnTo>
                      <a:pt x="62" y="232"/>
                    </a:lnTo>
                    <a:lnTo>
                      <a:pt x="58" y="233"/>
                    </a:lnTo>
                    <a:lnTo>
                      <a:pt x="56" y="234"/>
                    </a:lnTo>
                    <a:lnTo>
                      <a:pt x="51" y="232"/>
                    </a:lnTo>
                    <a:lnTo>
                      <a:pt x="48" y="232"/>
                    </a:lnTo>
                    <a:lnTo>
                      <a:pt x="45" y="237"/>
                    </a:lnTo>
                    <a:lnTo>
                      <a:pt x="42" y="237"/>
                    </a:lnTo>
                    <a:lnTo>
                      <a:pt x="38" y="240"/>
                    </a:lnTo>
                    <a:lnTo>
                      <a:pt x="34" y="240"/>
                    </a:lnTo>
                    <a:lnTo>
                      <a:pt x="29" y="237"/>
                    </a:lnTo>
                    <a:lnTo>
                      <a:pt x="27" y="236"/>
                    </a:lnTo>
                    <a:lnTo>
                      <a:pt x="23" y="238"/>
                    </a:lnTo>
                    <a:lnTo>
                      <a:pt x="21" y="237"/>
                    </a:lnTo>
                    <a:lnTo>
                      <a:pt x="21" y="237"/>
                    </a:lnTo>
                    <a:lnTo>
                      <a:pt x="22" y="234"/>
                    </a:lnTo>
                    <a:lnTo>
                      <a:pt x="22" y="231"/>
                    </a:lnTo>
                    <a:lnTo>
                      <a:pt x="17" y="229"/>
                    </a:lnTo>
                    <a:lnTo>
                      <a:pt x="17" y="226"/>
                    </a:lnTo>
                    <a:lnTo>
                      <a:pt x="18" y="224"/>
                    </a:lnTo>
                    <a:lnTo>
                      <a:pt x="19" y="222"/>
                    </a:lnTo>
                    <a:lnTo>
                      <a:pt x="16" y="220"/>
                    </a:lnTo>
                    <a:lnTo>
                      <a:pt x="15" y="217"/>
                    </a:lnTo>
                    <a:lnTo>
                      <a:pt x="13" y="215"/>
                    </a:lnTo>
                    <a:lnTo>
                      <a:pt x="11" y="216"/>
                    </a:lnTo>
                    <a:lnTo>
                      <a:pt x="8" y="214"/>
                    </a:lnTo>
                    <a:lnTo>
                      <a:pt x="6" y="209"/>
                    </a:lnTo>
                    <a:lnTo>
                      <a:pt x="3" y="205"/>
                    </a:lnTo>
                    <a:lnTo>
                      <a:pt x="2" y="203"/>
                    </a:lnTo>
                    <a:lnTo>
                      <a:pt x="4" y="196"/>
                    </a:lnTo>
                    <a:lnTo>
                      <a:pt x="3" y="193"/>
                    </a:lnTo>
                    <a:lnTo>
                      <a:pt x="3" y="190"/>
                    </a:lnTo>
                    <a:lnTo>
                      <a:pt x="0" y="188"/>
                    </a:lnTo>
                    <a:lnTo>
                      <a:pt x="0" y="188"/>
                    </a:lnTo>
                    <a:close/>
                  </a:path>
                </a:pathLst>
              </a:custGeom>
              <a:solidFill>
                <a:srgbClr val="65625E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2002" name="Freeform 405"/>
              <p:cNvSpPr>
                <a:spLocks/>
              </p:cNvSpPr>
              <p:nvPr userDrawn="1"/>
            </p:nvSpPr>
            <p:spPr bwMode="auto">
              <a:xfrm>
                <a:off x="3314" y="2735"/>
                <a:ext cx="114" cy="115"/>
              </a:xfrm>
              <a:custGeom>
                <a:avLst/>
                <a:gdLst>
                  <a:gd name="T0" fmla="*/ 21 w 114"/>
                  <a:gd name="T1" fmla="*/ 111 h 115"/>
                  <a:gd name="T2" fmla="*/ 20 w 114"/>
                  <a:gd name="T3" fmla="*/ 103 h 115"/>
                  <a:gd name="T4" fmla="*/ 20 w 114"/>
                  <a:gd name="T5" fmla="*/ 97 h 115"/>
                  <a:gd name="T6" fmla="*/ 20 w 114"/>
                  <a:gd name="T7" fmla="*/ 93 h 115"/>
                  <a:gd name="T8" fmla="*/ 22 w 114"/>
                  <a:gd name="T9" fmla="*/ 88 h 115"/>
                  <a:gd name="T10" fmla="*/ 17 w 114"/>
                  <a:gd name="T11" fmla="*/ 86 h 115"/>
                  <a:gd name="T12" fmla="*/ 13 w 114"/>
                  <a:gd name="T13" fmla="*/ 81 h 115"/>
                  <a:gd name="T14" fmla="*/ 8 w 114"/>
                  <a:gd name="T15" fmla="*/ 79 h 115"/>
                  <a:gd name="T16" fmla="*/ 3 w 114"/>
                  <a:gd name="T17" fmla="*/ 80 h 115"/>
                  <a:gd name="T18" fmla="*/ 0 w 114"/>
                  <a:gd name="T19" fmla="*/ 75 h 115"/>
                  <a:gd name="T20" fmla="*/ 5 w 114"/>
                  <a:gd name="T21" fmla="*/ 67 h 115"/>
                  <a:gd name="T22" fmla="*/ 5 w 114"/>
                  <a:gd name="T23" fmla="*/ 61 h 115"/>
                  <a:gd name="T24" fmla="*/ 13 w 114"/>
                  <a:gd name="T25" fmla="*/ 49 h 115"/>
                  <a:gd name="T26" fmla="*/ 12 w 114"/>
                  <a:gd name="T27" fmla="*/ 45 h 115"/>
                  <a:gd name="T28" fmla="*/ 9 w 114"/>
                  <a:gd name="T29" fmla="*/ 38 h 115"/>
                  <a:gd name="T30" fmla="*/ 14 w 114"/>
                  <a:gd name="T31" fmla="*/ 37 h 115"/>
                  <a:gd name="T32" fmla="*/ 12 w 114"/>
                  <a:gd name="T33" fmla="*/ 31 h 115"/>
                  <a:gd name="T34" fmla="*/ 10 w 114"/>
                  <a:gd name="T35" fmla="*/ 24 h 115"/>
                  <a:gd name="T36" fmla="*/ 10 w 114"/>
                  <a:gd name="T37" fmla="*/ 13 h 115"/>
                  <a:gd name="T38" fmla="*/ 8 w 114"/>
                  <a:gd name="T39" fmla="*/ 8 h 115"/>
                  <a:gd name="T40" fmla="*/ 23 w 114"/>
                  <a:gd name="T41" fmla="*/ 3 h 115"/>
                  <a:gd name="T42" fmla="*/ 29 w 114"/>
                  <a:gd name="T43" fmla="*/ 4 h 115"/>
                  <a:gd name="T44" fmla="*/ 38 w 114"/>
                  <a:gd name="T45" fmla="*/ 4 h 115"/>
                  <a:gd name="T46" fmla="*/ 45 w 114"/>
                  <a:gd name="T47" fmla="*/ 1 h 115"/>
                  <a:gd name="T48" fmla="*/ 48 w 114"/>
                  <a:gd name="T49" fmla="*/ 3 h 115"/>
                  <a:gd name="T50" fmla="*/ 55 w 114"/>
                  <a:gd name="T51" fmla="*/ 6 h 115"/>
                  <a:gd name="T52" fmla="*/ 62 w 114"/>
                  <a:gd name="T53" fmla="*/ 0 h 115"/>
                  <a:gd name="T54" fmla="*/ 74 w 114"/>
                  <a:gd name="T55" fmla="*/ 7 h 115"/>
                  <a:gd name="T56" fmla="*/ 79 w 114"/>
                  <a:gd name="T57" fmla="*/ 8 h 115"/>
                  <a:gd name="T58" fmla="*/ 86 w 114"/>
                  <a:gd name="T59" fmla="*/ 10 h 115"/>
                  <a:gd name="T60" fmla="*/ 93 w 114"/>
                  <a:gd name="T61" fmla="*/ 16 h 115"/>
                  <a:gd name="T62" fmla="*/ 101 w 114"/>
                  <a:gd name="T63" fmla="*/ 12 h 115"/>
                  <a:gd name="T64" fmla="*/ 106 w 114"/>
                  <a:gd name="T65" fmla="*/ 14 h 115"/>
                  <a:gd name="T66" fmla="*/ 110 w 114"/>
                  <a:gd name="T67" fmla="*/ 16 h 115"/>
                  <a:gd name="T68" fmla="*/ 110 w 114"/>
                  <a:gd name="T69" fmla="*/ 26 h 115"/>
                  <a:gd name="T70" fmla="*/ 112 w 114"/>
                  <a:gd name="T71" fmla="*/ 31 h 115"/>
                  <a:gd name="T72" fmla="*/ 112 w 114"/>
                  <a:gd name="T73" fmla="*/ 40 h 115"/>
                  <a:gd name="T74" fmla="*/ 110 w 114"/>
                  <a:gd name="T75" fmla="*/ 46 h 115"/>
                  <a:gd name="T76" fmla="*/ 104 w 114"/>
                  <a:gd name="T77" fmla="*/ 57 h 115"/>
                  <a:gd name="T78" fmla="*/ 102 w 114"/>
                  <a:gd name="T79" fmla="*/ 64 h 115"/>
                  <a:gd name="T80" fmla="*/ 101 w 114"/>
                  <a:gd name="T81" fmla="*/ 74 h 115"/>
                  <a:gd name="T82" fmla="*/ 99 w 114"/>
                  <a:gd name="T83" fmla="*/ 77 h 115"/>
                  <a:gd name="T84" fmla="*/ 104 w 114"/>
                  <a:gd name="T85" fmla="*/ 86 h 115"/>
                  <a:gd name="T86" fmla="*/ 109 w 114"/>
                  <a:gd name="T87" fmla="*/ 91 h 115"/>
                  <a:gd name="T88" fmla="*/ 110 w 114"/>
                  <a:gd name="T89" fmla="*/ 99 h 115"/>
                  <a:gd name="T90" fmla="*/ 104 w 114"/>
                  <a:gd name="T91" fmla="*/ 100 h 115"/>
                  <a:gd name="T92" fmla="*/ 100 w 114"/>
                  <a:gd name="T93" fmla="*/ 96 h 115"/>
                  <a:gd name="T94" fmla="*/ 96 w 114"/>
                  <a:gd name="T95" fmla="*/ 102 h 115"/>
                  <a:gd name="T96" fmla="*/ 78 w 114"/>
                  <a:gd name="T97" fmla="*/ 101 h 115"/>
                  <a:gd name="T98" fmla="*/ 46 w 114"/>
                  <a:gd name="T99" fmla="*/ 102 h 115"/>
                  <a:gd name="T100" fmla="*/ 34 w 114"/>
                  <a:gd name="T101" fmla="*/ 108 h 115"/>
                  <a:gd name="T102" fmla="*/ 28 w 114"/>
                  <a:gd name="T103" fmla="*/ 110 h 115"/>
                  <a:gd name="T104" fmla="*/ 21 w 114"/>
                  <a:gd name="T105" fmla="*/ 114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14" h="115">
                    <a:moveTo>
                      <a:pt x="21" y="114"/>
                    </a:moveTo>
                    <a:lnTo>
                      <a:pt x="21" y="111"/>
                    </a:lnTo>
                    <a:lnTo>
                      <a:pt x="19" y="108"/>
                    </a:lnTo>
                    <a:lnTo>
                      <a:pt x="20" y="103"/>
                    </a:lnTo>
                    <a:lnTo>
                      <a:pt x="19" y="101"/>
                    </a:lnTo>
                    <a:lnTo>
                      <a:pt x="20" y="97"/>
                    </a:lnTo>
                    <a:lnTo>
                      <a:pt x="22" y="95"/>
                    </a:lnTo>
                    <a:lnTo>
                      <a:pt x="20" y="93"/>
                    </a:lnTo>
                    <a:lnTo>
                      <a:pt x="23" y="91"/>
                    </a:lnTo>
                    <a:lnTo>
                      <a:pt x="22" y="88"/>
                    </a:lnTo>
                    <a:lnTo>
                      <a:pt x="19" y="88"/>
                    </a:lnTo>
                    <a:lnTo>
                      <a:pt x="17" y="86"/>
                    </a:lnTo>
                    <a:lnTo>
                      <a:pt x="15" y="82"/>
                    </a:lnTo>
                    <a:lnTo>
                      <a:pt x="13" y="81"/>
                    </a:lnTo>
                    <a:lnTo>
                      <a:pt x="10" y="82"/>
                    </a:lnTo>
                    <a:lnTo>
                      <a:pt x="8" y="79"/>
                    </a:lnTo>
                    <a:lnTo>
                      <a:pt x="5" y="79"/>
                    </a:lnTo>
                    <a:lnTo>
                      <a:pt x="3" y="80"/>
                    </a:lnTo>
                    <a:lnTo>
                      <a:pt x="1" y="79"/>
                    </a:lnTo>
                    <a:lnTo>
                      <a:pt x="0" y="75"/>
                    </a:lnTo>
                    <a:lnTo>
                      <a:pt x="2" y="73"/>
                    </a:lnTo>
                    <a:lnTo>
                      <a:pt x="5" y="67"/>
                    </a:lnTo>
                    <a:lnTo>
                      <a:pt x="4" y="63"/>
                    </a:lnTo>
                    <a:lnTo>
                      <a:pt x="5" y="61"/>
                    </a:lnTo>
                    <a:lnTo>
                      <a:pt x="8" y="60"/>
                    </a:lnTo>
                    <a:lnTo>
                      <a:pt x="13" y="49"/>
                    </a:lnTo>
                    <a:lnTo>
                      <a:pt x="14" y="46"/>
                    </a:lnTo>
                    <a:lnTo>
                      <a:pt x="12" y="45"/>
                    </a:lnTo>
                    <a:lnTo>
                      <a:pt x="9" y="41"/>
                    </a:lnTo>
                    <a:lnTo>
                      <a:pt x="9" y="38"/>
                    </a:lnTo>
                    <a:lnTo>
                      <a:pt x="11" y="37"/>
                    </a:lnTo>
                    <a:lnTo>
                      <a:pt x="14" y="37"/>
                    </a:lnTo>
                    <a:lnTo>
                      <a:pt x="15" y="35"/>
                    </a:lnTo>
                    <a:lnTo>
                      <a:pt x="12" y="31"/>
                    </a:lnTo>
                    <a:lnTo>
                      <a:pt x="10" y="30"/>
                    </a:lnTo>
                    <a:lnTo>
                      <a:pt x="10" y="24"/>
                    </a:lnTo>
                    <a:lnTo>
                      <a:pt x="11" y="21"/>
                    </a:lnTo>
                    <a:lnTo>
                      <a:pt x="10" y="13"/>
                    </a:lnTo>
                    <a:lnTo>
                      <a:pt x="8" y="11"/>
                    </a:lnTo>
                    <a:lnTo>
                      <a:pt x="8" y="8"/>
                    </a:lnTo>
                    <a:lnTo>
                      <a:pt x="16" y="6"/>
                    </a:lnTo>
                    <a:lnTo>
                      <a:pt x="23" y="3"/>
                    </a:lnTo>
                    <a:lnTo>
                      <a:pt x="24" y="3"/>
                    </a:lnTo>
                    <a:lnTo>
                      <a:pt x="29" y="4"/>
                    </a:lnTo>
                    <a:lnTo>
                      <a:pt x="37" y="4"/>
                    </a:lnTo>
                    <a:lnTo>
                      <a:pt x="38" y="4"/>
                    </a:lnTo>
                    <a:lnTo>
                      <a:pt x="38" y="2"/>
                    </a:lnTo>
                    <a:lnTo>
                      <a:pt x="45" y="1"/>
                    </a:lnTo>
                    <a:lnTo>
                      <a:pt x="49" y="2"/>
                    </a:lnTo>
                    <a:lnTo>
                      <a:pt x="48" y="3"/>
                    </a:lnTo>
                    <a:lnTo>
                      <a:pt x="49" y="4"/>
                    </a:lnTo>
                    <a:lnTo>
                      <a:pt x="55" y="6"/>
                    </a:lnTo>
                    <a:lnTo>
                      <a:pt x="59" y="2"/>
                    </a:lnTo>
                    <a:lnTo>
                      <a:pt x="62" y="0"/>
                    </a:lnTo>
                    <a:lnTo>
                      <a:pt x="67" y="4"/>
                    </a:lnTo>
                    <a:lnTo>
                      <a:pt x="74" y="7"/>
                    </a:lnTo>
                    <a:lnTo>
                      <a:pt x="76" y="7"/>
                    </a:lnTo>
                    <a:lnTo>
                      <a:pt x="79" y="8"/>
                    </a:lnTo>
                    <a:lnTo>
                      <a:pt x="82" y="8"/>
                    </a:lnTo>
                    <a:lnTo>
                      <a:pt x="86" y="10"/>
                    </a:lnTo>
                    <a:lnTo>
                      <a:pt x="88" y="13"/>
                    </a:lnTo>
                    <a:lnTo>
                      <a:pt x="93" y="16"/>
                    </a:lnTo>
                    <a:lnTo>
                      <a:pt x="97" y="15"/>
                    </a:lnTo>
                    <a:lnTo>
                      <a:pt x="101" y="12"/>
                    </a:lnTo>
                    <a:lnTo>
                      <a:pt x="103" y="13"/>
                    </a:lnTo>
                    <a:lnTo>
                      <a:pt x="106" y="14"/>
                    </a:lnTo>
                    <a:lnTo>
                      <a:pt x="110" y="15"/>
                    </a:lnTo>
                    <a:lnTo>
                      <a:pt x="110" y="16"/>
                    </a:lnTo>
                    <a:lnTo>
                      <a:pt x="109" y="22"/>
                    </a:lnTo>
                    <a:lnTo>
                      <a:pt x="110" y="26"/>
                    </a:lnTo>
                    <a:lnTo>
                      <a:pt x="110" y="28"/>
                    </a:lnTo>
                    <a:lnTo>
                      <a:pt x="112" y="31"/>
                    </a:lnTo>
                    <a:lnTo>
                      <a:pt x="114" y="36"/>
                    </a:lnTo>
                    <a:lnTo>
                      <a:pt x="112" y="40"/>
                    </a:lnTo>
                    <a:lnTo>
                      <a:pt x="112" y="43"/>
                    </a:lnTo>
                    <a:lnTo>
                      <a:pt x="110" y="46"/>
                    </a:lnTo>
                    <a:lnTo>
                      <a:pt x="103" y="53"/>
                    </a:lnTo>
                    <a:lnTo>
                      <a:pt x="104" y="57"/>
                    </a:lnTo>
                    <a:lnTo>
                      <a:pt x="102" y="60"/>
                    </a:lnTo>
                    <a:lnTo>
                      <a:pt x="102" y="64"/>
                    </a:lnTo>
                    <a:lnTo>
                      <a:pt x="100" y="67"/>
                    </a:lnTo>
                    <a:lnTo>
                      <a:pt x="101" y="74"/>
                    </a:lnTo>
                    <a:lnTo>
                      <a:pt x="99" y="75"/>
                    </a:lnTo>
                    <a:lnTo>
                      <a:pt x="99" y="77"/>
                    </a:lnTo>
                    <a:lnTo>
                      <a:pt x="101" y="79"/>
                    </a:lnTo>
                    <a:lnTo>
                      <a:pt x="104" y="86"/>
                    </a:lnTo>
                    <a:lnTo>
                      <a:pt x="104" y="91"/>
                    </a:lnTo>
                    <a:lnTo>
                      <a:pt x="109" y="91"/>
                    </a:lnTo>
                    <a:lnTo>
                      <a:pt x="110" y="94"/>
                    </a:lnTo>
                    <a:lnTo>
                      <a:pt x="110" y="99"/>
                    </a:lnTo>
                    <a:lnTo>
                      <a:pt x="107" y="100"/>
                    </a:lnTo>
                    <a:lnTo>
                      <a:pt x="104" y="100"/>
                    </a:lnTo>
                    <a:lnTo>
                      <a:pt x="103" y="101"/>
                    </a:lnTo>
                    <a:lnTo>
                      <a:pt x="100" y="96"/>
                    </a:lnTo>
                    <a:lnTo>
                      <a:pt x="96" y="97"/>
                    </a:lnTo>
                    <a:lnTo>
                      <a:pt x="96" y="102"/>
                    </a:lnTo>
                    <a:lnTo>
                      <a:pt x="88" y="98"/>
                    </a:lnTo>
                    <a:lnTo>
                      <a:pt x="78" y="101"/>
                    </a:lnTo>
                    <a:lnTo>
                      <a:pt x="54" y="101"/>
                    </a:lnTo>
                    <a:lnTo>
                      <a:pt x="46" y="102"/>
                    </a:lnTo>
                    <a:lnTo>
                      <a:pt x="46" y="104"/>
                    </a:lnTo>
                    <a:lnTo>
                      <a:pt x="34" y="108"/>
                    </a:lnTo>
                    <a:lnTo>
                      <a:pt x="32" y="110"/>
                    </a:lnTo>
                    <a:lnTo>
                      <a:pt x="28" y="110"/>
                    </a:lnTo>
                    <a:lnTo>
                      <a:pt x="23" y="115"/>
                    </a:lnTo>
                    <a:lnTo>
                      <a:pt x="21" y="114"/>
                    </a:lnTo>
                    <a:lnTo>
                      <a:pt x="21" y="114"/>
                    </a:lnTo>
                    <a:close/>
                  </a:path>
                </a:pathLst>
              </a:custGeom>
              <a:solidFill>
                <a:srgbClr val="65625E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</p:grpSp>
        <p:grpSp>
          <p:nvGrpSpPr>
            <p:cNvPr id="1060" name="Group 607"/>
            <p:cNvGrpSpPr>
              <a:grpSpLocks/>
            </p:cNvGrpSpPr>
            <p:nvPr userDrawn="1"/>
          </p:nvGrpSpPr>
          <p:grpSpPr bwMode="auto">
            <a:xfrm>
              <a:off x="1214" y="673"/>
              <a:ext cx="5077" cy="3219"/>
              <a:chOff x="1214" y="673"/>
              <a:chExt cx="5077" cy="3219"/>
            </a:xfrm>
          </p:grpSpPr>
          <p:sp>
            <p:nvSpPr>
              <p:cNvPr id="1603" name="Freeform 407"/>
              <p:cNvSpPr>
                <a:spLocks/>
              </p:cNvSpPr>
              <p:nvPr userDrawn="1"/>
            </p:nvSpPr>
            <p:spPr bwMode="auto">
              <a:xfrm>
                <a:off x="3675" y="3034"/>
                <a:ext cx="230" cy="219"/>
              </a:xfrm>
              <a:custGeom>
                <a:avLst/>
                <a:gdLst>
                  <a:gd name="T0" fmla="*/ 208 w 230"/>
                  <a:gd name="T1" fmla="*/ 206 h 219"/>
                  <a:gd name="T2" fmla="*/ 198 w 230"/>
                  <a:gd name="T3" fmla="*/ 197 h 219"/>
                  <a:gd name="T4" fmla="*/ 189 w 230"/>
                  <a:gd name="T5" fmla="*/ 189 h 219"/>
                  <a:gd name="T6" fmla="*/ 228 w 230"/>
                  <a:gd name="T7" fmla="*/ 126 h 219"/>
                  <a:gd name="T8" fmla="*/ 228 w 230"/>
                  <a:gd name="T9" fmla="*/ 114 h 219"/>
                  <a:gd name="T10" fmla="*/ 228 w 230"/>
                  <a:gd name="T11" fmla="*/ 95 h 219"/>
                  <a:gd name="T12" fmla="*/ 223 w 230"/>
                  <a:gd name="T13" fmla="*/ 94 h 219"/>
                  <a:gd name="T14" fmla="*/ 214 w 230"/>
                  <a:gd name="T15" fmla="*/ 95 h 219"/>
                  <a:gd name="T16" fmla="*/ 202 w 230"/>
                  <a:gd name="T17" fmla="*/ 93 h 219"/>
                  <a:gd name="T18" fmla="*/ 197 w 230"/>
                  <a:gd name="T19" fmla="*/ 95 h 219"/>
                  <a:gd name="T20" fmla="*/ 198 w 230"/>
                  <a:gd name="T21" fmla="*/ 89 h 219"/>
                  <a:gd name="T22" fmla="*/ 197 w 230"/>
                  <a:gd name="T23" fmla="*/ 80 h 219"/>
                  <a:gd name="T24" fmla="*/ 195 w 230"/>
                  <a:gd name="T25" fmla="*/ 72 h 219"/>
                  <a:gd name="T26" fmla="*/ 191 w 230"/>
                  <a:gd name="T27" fmla="*/ 66 h 219"/>
                  <a:gd name="T28" fmla="*/ 188 w 230"/>
                  <a:gd name="T29" fmla="*/ 59 h 219"/>
                  <a:gd name="T30" fmla="*/ 188 w 230"/>
                  <a:gd name="T31" fmla="*/ 46 h 219"/>
                  <a:gd name="T32" fmla="*/ 188 w 230"/>
                  <a:gd name="T33" fmla="*/ 36 h 219"/>
                  <a:gd name="T34" fmla="*/ 190 w 230"/>
                  <a:gd name="T35" fmla="*/ 26 h 219"/>
                  <a:gd name="T36" fmla="*/ 169 w 230"/>
                  <a:gd name="T37" fmla="*/ 18 h 219"/>
                  <a:gd name="T38" fmla="*/ 145 w 230"/>
                  <a:gd name="T39" fmla="*/ 25 h 219"/>
                  <a:gd name="T40" fmla="*/ 142 w 230"/>
                  <a:gd name="T41" fmla="*/ 36 h 219"/>
                  <a:gd name="T42" fmla="*/ 118 w 230"/>
                  <a:gd name="T43" fmla="*/ 38 h 219"/>
                  <a:gd name="T44" fmla="*/ 107 w 230"/>
                  <a:gd name="T45" fmla="*/ 31 h 219"/>
                  <a:gd name="T46" fmla="*/ 101 w 230"/>
                  <a:gd name="T47" fmla="*/ 23 h 219"/>
                  <a:gd name="T48" fmla="*/ 97 w 230"/>
                  <a:gd name="T49" fmla="*/ 11 h 219"/>
                  <a:gd name="T50" fmla="*/ 95 w 230"/>
                  <a:gd name="T51" fmla="*/ 3 h 219"/>
                  <a:gd name="T52" fmla="*/ 64 w 230"/>
                  <a:gd name="T53" fmla="*/ 0 h 219"/>
                  <a:gd name="T54" fmla="*/ 44 w 230"/>
                  <a:gd name="T55" fmla="*/ 0 h 219"/>
                  <a:gd name="T56" fmla="*/ 30 w 230"/>
                  <a:gd name="T57" fmla="*/ 0 h 219"/>
                  <a:gd name="T58" fmla="*/ 22 w 230"/>
                  <a:gd name="T59" fmla="*/ 2 h 219"/>
                  <a:gd name="T60" fmla="*/ 15 w 230"/>
                  <a:gd name="T61" fmla="*/ 6 h 219"/>
                  <a:gd name="T62" fmla="*/ 28 w 230"/>
                  <a:gd name="T63" fmla="*/ 35 h 219"/>
                  <a:gd name="T64" fmla="*/ 29 w 230"/>
                  <a:gd name="T65" fmla="*/ 58 h 219"/>
                  <a:gd name="T66" fmla="*/ 39 w 230"/>
                  <a:gd name="T67" fmla="*/ 85 h 219"/>
                  <a:gd name="T68" fmla="*/ 34 w 230"/>
                  <a:gd name="T69" fmla="*/ 119 h 219"/>
                  <a:gd name="T70" fmla="*/ 13 w 230"/>
                  <a:gd name="T71" fmla="*/ 138 h 219"/>
                  <a:gd name="T72" fmla="*/ 8 w 230"/>
                  <a:gd name="T73" fmla="*/ 165 h 219"/>
                  <a:gd name="T74" fmla="*/ 0 w 230"/>
                  <a:gd name="T75" fmla="*/ 190 h 219"/>
                  <a:gd name="T76" fmla="*/ 0 w 230"/>
                  <a:gd name="T77" fmla="*/ 205 h 219"/>
                  <a:gd name="T78" fmla="*/ 6 w 230"/>
                  <a:gd name="T79" fmla="*/ 204 h 219"/>
                  <a:gd name="T80" fmla="*/ 15 w 230"/>
                  <a:gd name="T81" fmla="*/ 204 h 219"/>
                  <a:gd name="T82" fmla="*/ 27 w 230"/>
                  <a:gd name="T83" fmla="*/ 200 h 219"/>
                  <a:gd name="T84" fmla="*/ 32 w 230"/>
                  <a:gd name="T85" fmla="*/ 200 h 219"/>
                  <a:gd name="T86" fmla="*/ 35 w 230"/>
                  <a:gd name="T87" fmla="*/ 204 h 219"/>
                  <a:gd name="T88" fmla="*/ 48 w 230"/>
                  <a:gd name="T89" fmla="*/ 207 h 219"/>
                  <a:gd name="T90" fmla="*/ 121 w 230"/>
                  <a:gd name="T91" fmla="*/ 206 h 219"/>
                  <a:gd name="T92" fmla="*/ 130 w 230"/>
                  <a:gd name="T93" fmla="*/ 213 h 219"/>
                  <a:gd name="T94" fmla="*/ 139 w 230"/>
                  <a:gd name="T95" fmla="*/ 216 h 219"/>
                  <a:gd name="T96" fmla="*/ 152 w 230"/>
                  <a:gd name="T97" fmla="*/ 216 h 219"/>
                  <a:gd name="T98" fmla="*/ 159 w 230"/>
                  <a:gd name="T99" fmla="*/ 214 h 219"/>
                  <a:gd name="T100" fmla="*/ 170 w 230"/>
                  <a:gd name="T101" fmla="*/ 218 h 219"/>
                  <a:gd name="T102" fmla="*/ 176 w 230"/>
                  <a:gd name="T103" fmla="*/ 218 h 219"/>
                  <a:gd name="T104" fmla="*/ 180 w 230"/>
                  <a:gd name="T105" fmla="*/ 219 h 219"/>
                  <a:gd name="T106" fmla="*/ 214 w 230"/>
                  <a:gd name="T107" fmla="*/ 213 h 2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30" h="219">
                    <a:moveTo>
                      <a:pt x="214" y="213"/>
                    </a:moveTo>
                    <a:lnTo>
                      <a:pt x="213" y="210"/>
                    </a:lnTo>
                    <a:lnTo>
                      <a:pt x="210" y="209"/>
                    </a:lnTo>
                    <a:lnTo>
                      <a:pt x="208" y="206"/>
                    </a:lnTo>
                    <a:lnTo>
                      <a:pt x="207" y="204"/>
                    </a:lnTo>
                    <a:lnTo>
                      <a:pt x="204" y="203"/>
                    </a:lnTo>
                    <a:lnTo>
                      <a:pt x="202" y="202"/>
                    </a:lnTo>
                    <a:lnTo>
                      <a:pt x="198" y="197"/>
                    </a:lnTo>
                    <a:lnTo>
                      <a:pt x="196" y="196"/>
                    </a:lnTo>
                    <a:lnTo>
                      <a:pt x="194" y="194"/>
                    </a:lnTo>
                    <a:lnTo>
                      <a:pt x="192" y="192"/>
                    </a:lnTo>
                    <a:lnTo>
                      <a:pt x="189" y="189"/>
                    </a:lnTo>
                    <a:lnTo>
                      <a:pt x="189" y="186"/>
                    </a:lnTo>
                    <a:lnTo>
                      <a:pt x="190" y="128"/>
                    </a:lnTo>
                    <a:lnTo>
                      <a:pt x="229" y="128"/>
                    </a:lnTo>
                    <a:lnTo>
                      <a:pt x="228" y="126"/>
                    </a:lnTo>
                    <a:lnTo>
                      <a:pt x="229" y="121"/>
                    </a:lnTo>
                    <a:lnTo>
                      <a:pt x="230" y="119"/>
                    </a:lnTo>
                    <a:lnTo>
                      <a:pt x="230" y="116"/>
                    </a:lnTo>
                    <a:lnTo>
                      <a:pt x="228" y="114"/>
                    </a:lnTo>
                    <a:lnTo>
                      <a:pt x="228" y="110"/>
                    </a:lnTo>
                    <a:lnTo>
                      <a:pt x="228" y="103"/>
                    </a:lnTo>
                    <a:lnTo>
                      <a:pt x="227" y="95"/>
                    </a:lnTo>
                    <a:lnTo>
                      <a:pt x="228" y="95"/>
                    </a:lnTo>
                    <a:lnTo>
                      <a:pt x="228" y="93"/>
                    </a:lnTo>
                    <a:lnTo>
                      <a:pt x="228" y="92"/>
                    </a:lnTo>
                    <a:lnTo>
                      <a:pt x="225" y="93"/>
                    </a:lnTo>
                    <a:lnTo>
                      <a:pt x="223" y="94"/>
                    </a:lnTo>
                    <a:lnTo>
                      <a:pt x="219" y="95"/>
                    </a:lnTo>
                    <a:lnTo>
                      <a:pt x="217" y="95"/>
                    </a:lnTo>
                    <a:lnTo>
                      <a:pt x="215" y="95"/>
                    </a:lnTo>
                    <a:lnTo>
                      <a:pt x="214" y="95"/>
                    </a:lnTo>
                    <a:lnTo>
                      <a:pt x="209" y="95"/>
                    </a:lnTo>
                    <a:lnTo>
                      <a:pt x="207" y="95"/>
                    </a:lnTo>
                    <a:lnTo>
                      <a:pt x="204" y="93"/>
                    </a:lnTo>
                    <a:lnTo>
                      <a:pt x="202" y="93"/>
                    </a:lnTo>
                    <a:lnTo>
                      <a:pt x="202" y="94"/>
                    </a:lnTo>
                    <a:lnTo>
                      <a:pt x="200" y="95"/>
                    </a:lnTo>
                    <a:lnTo>
                      <a:pt x="199" y="95"/>
                    </a:lnTo>
                    <a:lnTo>
                      <a:pt x="197" y="95"/>
                    </a:lnTo>
                    <a:lnTo>
                      <a:pt x="196" y="95"/>
                    </a:lnTo>
                    <a:lnTo>
                      <a:pt x="196" y="91"/>
                    </a:lnTo>
                    <a:lnTo>
                      <a:pt x="198" y="90"/>
                    </a:lnTo>
                    <a:lnTo>
                      <a:pt x="198" y="89"/>
                    </a:lnTo>
                    <a:lnTo>
                      <a:pt x="199" y="86"/>
                    </a:lnTo>
                    <a:lnTo>
                      <a:pt x="197" y="85"/>
                    </a:lnTo>
                    <a:lnTo>
                      <a:pt x="196" y="81"/>
                    </a:lnTo>
                    <a:lnTo>
                      <a:pt x="197" y="80"/>
                    </a:lnTo>
                    <a:lnTo>
                      <a:pt x="197" y="78"/>
                    </a:lnTo>
                    <a:lnTo>
                      <a:pt x="194" y="75"/>
                    </a:lnTo>
                    <a:lnTo>
                      <a:pt x="194" y="73"/>
                    </a:lnTo>
                    <a:lnTo>
                      <a:pt x="195" y="72"/>
                    </a:lnTo>
                    <a:lnTo>
                      <a:pt x="195" y="70"/>
                    </a:lnTo>
                    <a:lnTo>
                      <a:pt x="193" y="69"/>
                    </a:lnTo>
                    <a:lnTo>
                      <a:pt x="192" y="67"/>
                    </a:lnTo>
                    <a:lnTo>
                      <a:pt x="191" y="66"/>
                    </a:lnTo>
                    <a:lnTo>
                      <a:pt x="191" y="64"/>
                    </a:lnTo>
                    <a:lnTo>
                      <a:pt x="189" y="62"/>
                    </a:lnTo>
                    <a:lnTo>
                      <a:pt x="189" y="60"/>
                    </a:lnTo>
                    <a:lnTo>
                      <a:pt x="188" y="59"/>
                    </a:lnTo>
                    <a:lnTo>
                      <a:pt x="189" y="55"/>
                    </a:lnTo>
                    <a:lnTo>
                      <a:pt x="189" y="49"/>
                    </a:lnTo>
                    <a:lnTo>
                      <a:pt x="188" y="47"/>
                    </a:lnTo>
                    <a:lnTo>
                      <a:pt x="188" y="46"/>
                    </a:lnTo>
                    <a:lnTo>
                      <a:pt x="189" y="44"/>
                    </a:lnTo>
                    <a:lnTo>
                      <a:pt x="189" y="42"/>
                    </a:lnTo>
                    <a:lnTo>
                      <a:pt x="187" y="39"/>
                    </a:lnTo>
                    <a:lnTo>
                      <a:pt x="188" y="36"/>
                    </a:lnTo>
                    <a:lnTo>
                      <a:pt x="190" y="33"/>
                    </a:lnTo>
                    <a:lnTo>
                      <a:pt x="190" y="30"/>
                    </a:lnTo>
                    <a:lnTo>
                      <a:pt x="190" y="28"/>
                    </a:lnTo>
                    <a:lnTo>
                      <a:pt x="190" y="26"/>
                    </a:lnTo>
                    <a:lnTo>
                      <a:pt x="168" y="24"/>
                    </a:lnTo>
                    <a:lnTo>
                      <a:pt x="168" y="22"/>
                    </a:lnTo>
                    <a:lnTo>
                      <a:pt x="169" y="20"/>
                    </a:lnTo>
                    <a:lnTo>
                      <a:pt x="169" y="18"/>
                    </a:lnTo>
                    <a:lnTo>
                      <a:pt x="163" y="18"/>
                    </a:lnTo>
                    <a:lnTo>
                      <a:pt x="163" y="19"/>
                    </a:lnTo>
                    <a:lnTo>
                      <a:pt x="145" y="20"/>
                    </a:lnTo>
                    <a:lnTo>
                      <a:pt x="145" y="25"/>
                    </a:lnTo>
                    <a:lnTo>
                      <a:pt x="143" y="28"/>
                    </a:lnTo>
                    <a:lnTo>
                      <a:pt x="142" y="29"/>
                    </a:lnTo>
                    <a:lnTo>
                      <a:pt x="142" y="31"/>
                    </a:lnTo>
                    <a:lnTo>
                      <a:pt x="142" y="36"/>
                    </a:lnTo>
                    <a:lnTo>
                      <a:pt x="129" y="37"/>
                    </a:lnTo>
                    <a:lnTo>
                      <a:pt x="126" y="39"/>
                    </a:lnTo>
                    <a:lnTo>
                      <a:pt x="120" y="38"/>
                    </a:lnTo>
                    <a:lnTo>
                      <a:pt x="118" y="38"/>
                    </a:lnTo>
                    <a:lnTo>
                      <a:pt x="115" y="38"/>
                    </a:lnTo>
                    <a:lnTo>
                      <a:pt x="110" y="39"/>
                    </a:lnTo>
                    <a:lnTo>
                      <a:pt x="108" y="37"/>
                    </a:lnTo>
                    <a:lnTo>
                      <a:pt x="107" y="31"/>
                    </a:lnTo>
                    <a:lnTo>
                      <a:pt x="104" y="28"/>
                    </a:lnTo>
                    <a:lnTo>
                      <a:pt x="103" y="26"/>
                    </a:lnTo>
                    <a:lnTo>
                      <a:pt x="101" y="25"/>
                    </a:lnTo>
                    <a:lnTo>
                      <a:pt x="101" y="23"/>
                    </a:lnTo>
                    <a:lnTo>
                      <a:pt x="100" y="21"/>
                    </a:lnTo>
                    <a:lnTo>
                      <a:pt x="99" y="17"/>
                    </a:lnTo>
                    <a:lnTo>
                      <a:pt x="97" y="13"/>
                    </a:lnTo>
                    <a:lnTo>
                      <a:pt x="97" y="11"/>
                    </a:lnTo>
                    <a:lnTo>
                      <a:pt x="98" y="9"/>
                    </a:lnTo>
                    <a:lnTo>
                      <a:pt x="97" y="8"/>
                    </a:lnTo>
                    <a:lnTo>
                      <a:pt x="96" y="6"/>
                    </a:lnTo>
                    <a:lnTo>
                      <a:pt x="95" y="3"/>
                    </a:lnTo>
                    <a:lnTo>
                      <a:pt x="96" y="3"/>
                    </a:lnTo>
                    <a:lnTo>
                      <a:pt x="96" y="0"/>
                    </a:lnTo>
                    <a:lnTo>
                      <a:pt x="77" y="0"/>
                    </a:lnTo>
                    <a:lnTo>
                      <a:pt x="64" y="0"/>
                    </a:lnTo>
                    <a:lnTo>
                      <a:pt x="57" y="0"/>
                    </a:lnTo>
                    <a:lnTo>
                      <a:pt x="51" y="0"/>
                    </a:lnTo>
                    <a:lnTo>
                      <a:pt x="49" y="0"/>
                    </a:lnTo>
                    <a:lnTo>
                      <a:pt x="44" y="0"/>
                    </a:lnTo>
                    <a:lnTo>
                      <a:pt x="39" y="0"/>
                    </a:lnTo>
                    <a:lnTo>
                      <a:pt x="35" y="0"/>
                    </a:lnTo>
                    <a:lnTo>
                      <a:pt x="33" y="0"/>
                    </a:lnTo>
                    <a:lnTo>
                      <a:pt x="30" y="0"/>
                    </a:lnTo>
                    <a:lnTo>
                      <a:pt x="28" y="0"/>
                    </a:lnTo>
                    <a:lnTo>
                      <a:pt x="24" y="1"/>
                    </a:lnTo>
                    <a:lnTo>
                      <a:pt x="23" y="2"/>
                    </a:lnTo>
                    <a:lnTo>
                      <a:pt x="22" y="2"/>
                    </a:lnTo>
                    <a:lnTo>
                      <a:pt x="21" y="3"/>
                    </a:lnTo>
                    <a:lnTo>
                      <a:pt x="21" y="3"/>
                    </a:lnTo>
                    <a:lnTo>
                      <a:pt x="20" y="3"/>
                    </a:lnTo>
                    <a:lnTo>
                      <a:pt x="15" y="6"/>
                    </a:lnTo>
                    <a:lnTo>
                      <a:pt x="17" y="8"/>
                    </a:lnTo>
                    <a:lnTo>
                      <a:pt x="17" y="10"/>
                    </a:lnTo>
                    <a:lnTo>
                      <a:pt x="27" y="21"/>
                    </a:lnTo>
                    <a:lnTo>
                      <a:pt x="28" y="35"/>
                    </a:lnTo>
                    <a:lnTo>
                      <a:pt x="33" y="43"/>
                    </a:lnTo>
                    <a:lnTo>
                      <a:pt x="32" y="50"/>
                    </a:lnTo>
                    <a:lnTo>
                      <a:pt x="27" y="57"/>
                    </a:lnTo>
                    <a:lnTo>
                      <a:pt x="29" y="58"/>
                    </a:lnTo>
                    <a:lnTo>
                      <a:pt x="29" y="65"/>
                    </a:lnTo>
                    <a:lnTo>
                      <a:pt x="32" y="69"/>
                    </a:lnTo>
                    <a:lnTo>
                      <a:pt x="32" y="73"/>
                    </a:lnTo>
                    <a:lnTo>
                      <a:pt x="39" y="85"/>
                    </a:lnTo>
                    <a:lnTo>
                      <a:pt x="39" y="88"/>
                    </a:lnTo>
                    <a:lnTo>
                      <a:pt x="41" y="91"/>
                    </a:lnTo>
                    <a:lnTo>
                      <a:pt x="41" y="106"/>
                    </a:lnTo>
                    <a:lnTo>
                      <a:pt x="34" y="119"/>
                    </a:lnTo>
                    <a:lnTo>
                      <a:pt x="31" y="119"/>
                    </a:lnTo>
                    <a:lnTo>
                      <a:pt x="24" y="125"/>
                    </a:lnTo>
                    <a:lnTo>
                      <a:pt x="24" y="129"/>
                    </a:lnTo>
                    <a:lnTo>
                      <a:pt x="13" y="138"/>
                    </a:lnTo>
                    <a:lnTo>
                      <a:pt x="13" y="144"/>
                    </a:lnTo>
                    <a:lnTo>
                      <a:pt x="11" y="145"/>
                    </a:lnTo>
                    <a:lnTo>
                      <a:pt x="11" y="160"/>
                    </a:lnTo>
                    <a:lnTo>
                      <a:pt x="8" y="165"/>
                    </a:lnTo>
                    <a:lnTo>
                      <a:pt x="6" y="172"/>
                    </a:lnTo>
                    <a:lnTo>
                      <a:pt x="1" y="178"/>
                    </a:lnTo>
                    <a:lnTo>
                      <a:pt x="1" y="184"/>
                    </a:lnTo>
                    <a:lnTo>
                      <a:pt x="0" y="190"/>
                    </a:lnTo>
                    <a:lnTo>
                      <a:pt x="1" y="199"/>
                    </a:lnTo>
                    <a:lnTo>
                      <a:pt x="0" y="203"/>
                    </a:lnTo>
                    <a:lnTo>
                      <a:pt x="0" y="205"/>
                    </a:lnTo>
                    <a:lnTo>
                      <a:pt x="0" y="205"/>
                    </a:lnTo>
                    <a:lnTo>
                      <a:pt x="3" y="206"/>
                    </a:lnTo>
                    <a:lnTo>
                      <a:pt x="4" y="207"/>
                    </a:lnTo>
                    <a:lnTo>
                      <a:pt x="6" y="206"/>
                    </a:lnTo>
                    <a:lnTo>
                      <a:pt x="6" y="204"/>
                    </a:lnTo>
                    <a:lnTo>
                      <a:pt x="7" y="203"/>
                    </a:lnTo>
                    <a:lnTo>
                      <a:pt x="11" y="204"/>
                    </a:lnTo>
                    <a:lnTo>
                      <a:pt x="14" y="205"/>
                    </a:lnTo>
                    <a:lnTo>
                      <a:pt x="15" y="204"/>
                    </a:lnTo>
                    <a:lnTo>
                      <a:pt x="16" y="202"/>
                    </a:lnTo>
                    <a:lnTo>
                      <a:pt x="21" y="199"/>
                    </a:lnTo>
                    <a:lnTo>
                      <a:pt x="24" y="199"/>
                    </a:lnTo>
                    <a:lnTo>
                      <a:pt x="27" y="200"/>
                    </a:lnTo>
                    <a:lnTo>
                      <a:pt x="28" y="201"/>
                    </a:lnTo>
                    <a:lnTo>
                      <a:pt x="29" y="199"/>
                    </a:lnTo>
                    <a:lnTo>
                      <a:pt x="30" y="199"/>
                    </a:lnTo>
                    <a:lnTo>
                      <a:pt x="32" y="200"/>
                    </a:lnTo>
                    <a:lnTo>
                      <a:pt x="32" y="201"/>
                    </a:lnTo>
                    <a:lnTo>
                      <a:pt x="35" y="202"/>
                    </a:lnTo>
                    <a:lnTo>
                      <a:pt x="34" y="203"/>
                    </a:lnTo>
                    <a:lnTo>
                      <a:pt x="35" y="204"/>
                    </a:lnTo>
                    <a:lnTo>
                      <a:pt x="40" y="207"/>
                    </a:lnTo>
                    <a:lnTo>
                      <a:pt x="44" y="209"/>
                    </a:lnTo>
                    <a:lnTo>
                      <a:pt x="47" y="207"/>
                    </a:lnTo>
                    <a:lnTo>
                      <a:pt x="48" y="207"/>
                    </a:lnTo>
                    <a:lnTo>
                      <a:pt x="50" y="205"/>
                    </a:lnTo>
                    <a:lnTo>
                      <a:pt x="51" y="205"/>
                    </a:lnTo>
                    <a:lnTo>
                      <a:pt x="52" y="206"/>
                    </a:lnTo>
                    <a:lnTo>
                      <a:pt x="121" y="206"/>
                    </a:lnTo>
                    <a:lnTo>
                      <a:pt x="123" y="207"/>
                    </a:lnTo>
                    <a:lnTo>
                      <a:pt x="125" y="210"/>
                    </a:lnTo>
                    <a:lnTo>
                      <a:pt x="126" y="212"/>
                    </a:lnTo>
                    <a:lnTo>
                      <a:pt x="130" y="213"/>
                    </a:lnTo>
                    <a:lnTo>
                      <a:pt x="134" y="214"/>
                    </a:lnTo>
                    <a:lnTo>
                      <a:pt x="137" y="214"/>
                    </a:lnTo>
                    <a:lnTo>
                      <a:pt x="138" y="215"/>
                    </a:lnTo>
                    <a:lnTo>
                      <a:pt x="139" y="216"/>
                    </a:lnTo>
                    <a:lnTo>
                      <a:pt x="141" y="217"/>
                    </a:lnTo>
                    <a:lnTo>
                      <a:pt x="144" y="215"/>
                    </a:lnTo>
                    <a:lnTo>
                      <a:pt x="147" y="214"/>
                    </a:lnTo>
                    <a:lnTo>
                      <a:pt x="152" y="216"/>
                    </a:lnTo>
                    <a:lnTo>
                      <a:pt x="155" y="215"/>
                    </a:lnTo>
                    <a:lnTo>
                      <a:pt x="155" y="213"/>
                    </a:lnTo>
                    <a:lnTo>
                      <a:pt x="156" y="214"/>
                    </a:lnTo>
                    <a:lnTo>
                      <a:pt x="159" y="214"/>
                    </a:lnTo>
                    <a:lnTo>
                      <a:pt x="162" y="217"/>
                    </a:lnTo>
                    <a:lnTo>
                      <a:pt x="165" y="219"/>
                    </a:lnTo>
                    <a:lnTo>
                      <a:pt x="169" y="219"/>
                    </a:lnTo>
                    <a:lnTo>
                      <a:pt x="170" y="218"/>
                    </a:lnTo>
                    <a:lnTo>
                      <a:pt x="171" y="217"/>
                    </a:lnTo>
                    <a:lnTo>
                      <a:pt x="173" y="216"/>
                    </a:lnTo>
                    <a:lnTo>
                      <a:pt x="175" y="217"/>
                    </a:lnTo>
                    <a:lnTo>
                      <a:pt x="176" y="218"/>
                    </a:lnTo>
                    <a:lnTo>
                      <a:pt x="178" y="217"/>
                    </a:lnTo>
                    <a:lnTo>
                      <a:pt x="179" y="219"/>
                    </a:lnTo>
                    <a:lnTo>
                      <a:pt x="180" y="219"/>
                    </a:lnTo>
                    <a:lnTo>
                      <a:pt x="180" y="219"/>
                    </a:lnTo>
                    <a:lnTo>
                      <a:pt x="182" y="219"/>
                    </a:lnTo>
                    <a:lnTo>
                      <a:pt x="184" y="219"/>
                    </a:lnTo>
                    <a:lnTo>
                      <a:pt x="185" y="219"/>
                    </a:lnTo>
                    <a:lnTo>
                      <a:pt x="214" y="213"/>
                    </a:lnTo>
                    <a:lnTo>
                      <a:pt x="214" y="213"/>
                    </a:lnTo>
                    <a:close/>
                  </a:path>
                </a:pathLst>
              </a:custGeom>
              <a:solidFill>
                <a:srgbClr val="65625E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604" name="Freeform 408"/>
              <p:cNvSpPr>
                <a:spLocks/>
              </p:cNvSpPr>
              <p:nvPr userDrawn="1"/>
            </p:nvSpPr>
            <p:spPr bwMode="auto">
              <a:xfrm>
                <a:off x="3823" y="3248"/>
                <a:ext cx="172" cy="165"/>
              </a:xfrm>
              <a:custGeom>
                <a:avLst/>
                <a:gdLst>
                  <a:gd name="T0" fmla="*/ 99 w 172"/>
                  <a:gd name="T1" fmla="*/ 3 h 165"/>
                  <a:gd name="T2" fmla="*/ 102 w 172"/>
                  <a:gd name="T3" fmla="*/ 8 h 165"/>
                  <a:gd name="T4" fmla="*/ 108 w 172"/>
                  <a:gd name="T5" fmla="*/ 12 h 165"/>
                  <a:gd name="T6" fmla="*/ 111 w 172"/>
                  <a:gd name="T7" fmla="*/ 18 h 165"/>
                  <a:gd name="T8" fmla="*/ 115 w 172"/>
                  <a:gd name="T9" fmla="*/ 26 h 165"/>
                  <a:gd name="T10" fmla="*/ 118 w 172"/>
                  <a:gd name="T11" fmla="*/ 30 h 165"/>
                  <a:gd name="T12" fmla="*/ 131 w 172"/>
                  <a:gd name="T13" fmla="*/ 42 h 165"/>
                  <a:gd name="T14" fmla="*/ 135 w 172"/>
                  <a:gd name="T15" fmla="*/ 46 h 165"/>
                  <a:gd name="T16" fmla="*/ 139 w 172"/>
                  <a:gd name="T17" fmla="*/ 50 h 165"/>
                  <a:gd name="T18" fmla="*/ 141 w 172"/>
                  <a:gd name="T19" fmla="*/ 58 h 165"/>
                  <a:gd name="T20" fmla="*/ 146 w 172"/>
                  <a:gd name="T21" fmla="*/ 67 h 165"/>
                  <a:gd name="T22" fmla="*/ 155 w 172"/>
                  <a:gd name="T23" fmla="*/ 70 h 165"/>
                  <a:gd name="T24" fmla="*/ 165 w 172"/>
                  <a:gd name="T25" fmla="*/ 74 h 165"/>
                  <a:gd name="T26" fmla="*/ 169 w 172"/>
                  <a:gd name="T27" fmla="*/ 76 h 165"/>
                  <a:gd name="T28" fmla="*/ 170 w 172"/>
                  <a:gd name="T29" fmla="*/ 80 h 165"/>
                  <a:gd name="T30" fmla="*/ 163 w 172"/>
                  <a:gd name="T31" fmla="*/ 83 h 165"/>
                  <a:gd name="T32" fmla="*/ 160 w 172"/>
                  <a:gd name="T33" fmla="*/ 89 h 165"/>
                  <a:gd name="T34" fmla="*/ 153 w 172"/>
                  <a:gd name="T35" fmla="*/ 91 h 165"/>
                  <a:gd name="T36" fmla="*/ 143 w 172"/>
                  <a:gd name="T37" fmla="*/ 95 h 165"/>
                  <a:gd name="T38" fmla="*/ 139 w 172"/>
                  <a:gd name="T39" fmla="*/ 99 h 165"/>
                  <a:gd name="T40" fmla="*/ 133 w 172"/>
                  <a:gd name="T41" fmla="*/ 102 h 165"/>
                  <a:gd name="T42" fmla="*/ 124 w 172"/>
                  <a:gd name="T43" fmla="*/ 114 h 165"/>
                  <a:gd name="T44" fmla="*/ 123 w 172"/>
                  <a:gd name="T45" fmla="*/ 119 h 165"/>
                  <a:gd name="T46" fmla="*/ 118 w 172"/>
                  <a:gd name="T47" fmla="*/ 122 h 165"/>
                  <a:gd name="T48" fmla="*/ 114 w 172"/>
                  <a:gd name="T49" fmla="*/ 127 h 165"/>
                  <a:gd name="T50" fmla="*/ 105 w 172"/>
                  <a:gd name="T51" fmla="*/ 130 h 165"/>
                  <a:gd name="T52" fmla="*/ 102 w 172"/>
                  <a:gd name="T53" fmla="*/ 140 h 165"/>
                  <a:gd name="T54" fmla="*/ 102 w 172"/>
                  <a:gd name="T55" fmla="*/ 146 h 165"/>
                  <a:gd name="T56" fmla="*/ 95 w 172"/>
                  <a:gd name="T57" fmla="*/ 146 h 165"/>
                  <a:gd name="T58" fmla="*/ 83 w 172"/>
                  <a:gd name="T59" fmla="*/ 147 h 165"/>
                  <a:gd name="T60" fmla="*/ 71 w 172"/>
                  <a:gd name="T61" fmla="*/ 143 h 165"/>
                  <a:gd name="T62" fmla="*/ 60 w 172"/>
                  <a:gd name="T63" fmla="*/ 140 h 165"/>
                  <a:gd name="T64" fmla="*/ 48 w 172"/>
                  <a:gd name="T65" fmla="*/ 152 h 165"/>
                  <a:gd name="T66" fmla="*/ 37 w 172"/>
                  <a:gd name="T67" fmla="*/ 160 h 165"/>
                  <a:gd name="T68" fmla="*/ 27 w 172"/>
                  <a:gd name="T69" fmla="*/ 165 h 165"/>
                  <a:gd name="T70" fmla="*/ 14 w 172"/>
                  <a:gd name="T71" fmla="*/ 164 h 165"/>
                  <a:gd name="T72" fmla="*/ 12 w 172"/>
                  <a:gd name="T73" fmla="*/ 157 h 165"/>
                  <a:gd name="T74" fmla="*/ 6 w 172"/>
                  <a:gd name="T75" fmla="*/ 137 h 165"/>
                  <a:gd name="T76" fmla="*/ 0 w 172"/>
                  <a:gd name="T77" fmla="*/ 132 h 165"/>
                  <a:gd name="T78" fmla="*/ 19 w 172"/>
                  <a:gd name="T79" fmla="*/ 76 h 165"/>
                  <a:gd name="T80" fmla="*/ 54 w 172"/>
                  <a:gd name="T81" fmla="*/ 9 h 165"/>
                  <a:gd name="T82" fmla="*/ 63 w 172"/>
                  <a:gd name="T83" fmla="*/ 7 h 165"/>
                  <a:gd name="T84" fmla="*/ 66 w 172"/>
                  <a:gd name="T85" fmla="*/ 11 h 165"/>
                  <a:gd name="T86" fmla="*/ 67 w 172"/>
                  <a:gd name="T87" fmla="*/ 15 h 165"/>
                  <a:gd name="T88" fmla="*/ 79 w 172"/>
                  <a:gd name="T89" fmla="*/ 3 h 165"/>
                  <a:gd name="T90" fmla="*/ 87 w 172"/>
                  <a:gd name="T91" fmla="*/ 5 h 165"/>
                  <a:gd name="T92" fmla="*/ 99 w 172"/>
                  <a:gd name="T93" fmla="*/ 0 h 165"/>
                  <a:gd name="T94" fmla="*/ 99 w 172"/>
                  <a:gd name="T95" fmla="*/ 0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72" h="165">
                    <a:moveTo>
                      <a:pt x="99" y="0"/>
                    </a:moveTo>
                    <a:lnTo>
                      <a:pt x="100" y="1"/>
                    </a:lnTo>
                    <a:lnTo>
                      <a:pt x="99" y="3"/>
                    </a:lnTo>
                    <a:lnTo>
                      <a:pt x="99" y="4"/>
                    </a:lnTo>
                    <a:lnTo>
                      <a:pt x="100" y="6"/>
                    </a:lnTo>
                    <a:lnTo>
                      <a:pt x="102" y="8"/>
                    </a:lnTo>
                    <a:lnTo>
                      <a:pt x="104" y="10"/>
                    </a:lnTo>
                    <a:lnTo>
                      <a:pt x="106" y="11"/>
                    </a:lnTo>
                    <a:lnTo>
                      <a:pt x="108" y="12"/>
                    </a:lnTo>
                    <a:lnTo>
                      <a:pt x="108" y="14"/>
                    </a:lnTo>
                    <a:lnTo>
                      <a:pt x="109" y="15"/>
                    </a:lnTo>
                    <a:lnTo>
                      <a:pt x="111" y="18"/>
                    </a:lnTo>
                    <a:lnTo>
                      <a:pt x="112" y="21"/>
                    </a:lnTo>
                    <a:lnTo>
                      <a:pt x="114" y="23"/>
                    </a:lnTo>
                    <a:lnTo>
                      <a:pt x="115" y="26"/>
                    </a:lnTo>
                    <a:lnTo>
                      <a:pt x="117" y="28"/>
                    </a:lnTo>
                    <a:lnTo>
                      <a:pt x="118" y="27"/>
                    </a:lnTo>
                    <a:lnTo>
                      <a:pt x="118" y="30"/>
                    </a:lnTo>
                    <a:lnTo>
                      <a:pt x="124" y="37"/>
                    </a:lnTo>
                    <a:lnTo>
                      <a:pt x="127" y="39"/>
                    </a:lnTo>
                    <a:lnTo>
                      <a:pt x="131" y="42"/>
                    </a:lnTo>
                    <a:lnTo>
                      <a:pt x="133" y="43"/>
                    </a:lnTo>
                    <a:lnTo>
                      <a:pt x="135" y="45"/>
                    </a:lnTo>
                    <a:lnTo>
                      <a:pt x="135" y="46"/>
                    </a:lnTo>
                    <a:lnTo>
                      <a:pt x="135" y="47"/>
                    </a:lnTo>
                    <a:lnTo>
                      <a:pt x="136" y="49"/>
                    </a:lnTo>
                    <a:lnTo>
                      <a:pt x="139" y="50"/>
                    </a:lnTo>
                    <a:lnTo>
                      <a:pt x="141" y="52"/>
                    </a:lnTo>
                    <a:lnTo>
                      <a:pt x="140" y="54"/>
                    </a:lnTo>
                    <a:lnTo>
                      <a:pt x="141" y="58"/>
                    </a:lnTo>
                    <a:lnTo>
                      <a:pt x="141" y="61"/>
                    </a:lnTo>
                    <a:lnTo>
                      <a:pt x="143" y="64"/>
                    </a:lnTo>
                    <a:lnTo>
                      <a:pt x="146" y="67"/>
                    </a:lnTo>
                    <a:lnTo>
                      <a:pt x="148" y="70"/>
                    </a:lnTo>
                    <a:lnTo>
                      <a:pt x="152" y="71"/>
                    </a:lnTo>
                    <a:lnTo>
                      <a:pt x="155" y="70"/>
                    </a:lnTo>
                    <a:lnTo>
                      <a:pt x="160" y="71"/>
                    </a:lnTo>
                    <a:lnTo>
                      <a:pt x="161" y="71"/>
                    </a:lnTo>
                    <a:lnTo>
                      <a:pt x="165" y="74"/>
                    </a:lnTo>
                    <a:lnTo>
                      <a:pt x="167" y="74"/>
                    </a:lnTo>
                    <a:lnTo>
                      <a:pt x="169" y="75"/>
                    </a:lnTo>
                    <a:lnTo>
                      <a:pt x="169" y="76"/>
                    </a:lnTo>
                    <a:lnTo>
                      <a:pt x="171" y="78"/>
                    </a:lnTo>
                    <a:lnTo>
                      <a:pt x="172" y="80"/>
                    </a:lnTo>
                    <a:lnTo>
                      <a:pt x="170" y="80"/>
                    </a:lnTo>
                    <a:lnTo>
                      <a:pt x="168" y="81"/>
                    </a:lnTo>
                    <a:lnTo>
                      <a:pt x="165" y="82"/>
                    </a:lnTo>
                    <a:lnTo>
                      <a:pt x="163" y="83"/>
                    </a:lnTo>
                    <a:lnTo>
                      <a:pt x="163" y="85"/>
                    </a:lnTo>
                    <a:lnTo>
                      <a:pt x="162" y="88"/>
                    </a:lnTo>
                    <a:lnTo>
                      <a:pt x="160" y="89"/>
                    </a:lnTo>
                    <a:lnTo>
                      <a:pt x="158" y="91"/>
                    </a:lnTo>
                    <a:lnTo>
                      <a:pt x="154" y="91"/>
                    </a:lnTo>
                    <a:lnTo>
                      <a:pt x="153" y="91"/>
                    </a:lnTo>
                    <a:lnTo>
                      <a:pt x="151" y="91"/>
                    </a:lnTo>
                    <a:lnTo>
                      <a:pt x="147" y="91"/>
                    </a:lnTo>
                    <a:lnTo>
                      <a:pt x="143" y="95"/>
                    </a:lnTo>
                    <a:lnTo>
                      <a:pt x="141" y="97"/>
                    </a:lnTo>
                    <a:lnTo>
                      <a:pt x="140" y="97"/>
                    </a:lnTo>
                    <a:lnTo>
                      <a:pt x="139" y="99"/>
                    </a:lnTo>
                    <a:lnTo>
                      <a:pt x="136" y="100"/>
                    </a:lnTo>
                    <a:lnTo>
                      <a:pt x="135" y="101"/>
                    </a:lnTo>
                    <a:lnTo>
                      <a:pt x="133" y="102"/>
                    </a:lnTo>
                    <a:lnTo>
                      <a:pt x="130" y="103"/>
                    </a:lnTo>
                    <a:lnTo>
                      <a:pt x="125" y="110"/>
                    </a:lnTo>
                    <a:lnTo>
                      <a:pt x="124" y="114"/>
                    </a:lnTo>
                    <a:lnTo>
                      <a:pt x="125" y="116"/>
                    </a:lnTo>
                    <a:lnTo>
                      <a:pt x="125" y="119"/>
                    </a:lnTo>
                    <a:lnTo>
                      <a:pt x="123" y="119"/>
                    </a:lnTo>
                    <a:lnTo>
                      <a:pt x="122" y="120"/>
                    </a:lnTo>
                    <a:lnTo>
                      <a:pt x="119" y="120"/>
                    </a:lnTo>
                    <a:lnTo>
                      <a:pt x="118" y="122"/>
                    </a:lnTo>
                    <a:lnTo>
                      <a:pt x="117" y="125"/>
                    </a:lnTo>
                    <a:lnTo>
                      <a:pt x="116" y="126"/>
                    </a:lnTo>
                    <a:lnTo>
                      <a:pt x="114" y="127"/>
                    </a:lnTo>
                    <a:lnTo>
                      <a:pt x="112" y="128"/>
                    </a:lnTo>
                    <a:lnTo>
                      <a:pt x="109" y="129"/>
                    </a:lnTo>
                    <a:lnTo>
                      <a:pt x="105" y="130"/>
                    </a:lnTo>
                    <a:lnTo>
                      <a:pt x="103" y="133"/>
                    </a:lnTo>
                    <a:lnTo>
                      <a:pt x="104" y="138"/>
                    </a:lnTo>
                    <a:lnTo>
                      <a:pt x="102" y="140"/>
                    </a:lnTo>
                    <a:lnTo>
                      <a:pt x="102" y="141"/>
                    </a:lnTo>
                    <a:lnTo>
                      <a:pt x="101" y="145"/>
                    </a:lnTo>
                    <a:lnTo>
                      <a:pt x="102" y="146"/>
                    </a:lnTo>
                    <a:lnTo>
                      <a:pt x="98" y="149"/>
                    </a:lnTo>
                    <a:lnTo>
                      <a:pt x="96" y="148"/>
                    </a:lnTo>
                    <a:lnTo>
                      <a:pt x="95" y="146"/>
                    </a:lnTo>
                    <a:lnTo>
                      <a:pt x="92" y="146"/>
                    </a:lnTo>
                    <a:lnTo>
                      <a:pt x="87" y="146"/>
                    </a:lnTo>
                    <a:lnTo>
                      <a:pt x="83" y="147"/>
                    </a:lnTo>
                    <a:lnTo>
                      <a:pt x="80" y="146"/>
                    </a:lnTo>
                    <a:lnTo>
                      <a:pt x="77" y="147"/>
                    </a:lnTo>
                    <a:lnTo>
                      <a:pt x="71" y="143"/>
                    </a:lnTo>
                    <a:lnTo>
                      <a:pt x="68" y="143"/>
                    </a:lnTo>
                    <a:lnTo>
                      <a:pt x="66" y="140"/>
                    </a:lnTo>
                    <a:lnTo>
                      <a:pt x="60" y="140"/>
                    </a:lnTo>
                    <a:lnTo>
                      <a:pt x="55" y="140"/>
                    </a:lnTo>
                    <a:lnTo>
                      <a:pt x="51" y="144"/>
                    </a:lnTo>
                    <a:lnTo>
                      <a:pt x="48" y="152"/>
                    </a:lnTo>
                    <a:lnTo>
                      <a:pt x="45" y="155"/>
                    </a:lnTo>
                    <a:lnTo>
                      <a:pt x="38" y="158"/>
                    </a:lnTo>
                    <a:lnTo>
                      <a:pt x="37" y="160"/>
                    </a:lnTo>
                    <a:lnTo>
                      <a:pt x="33" y="162"/>
                    </a:lnTo>
                    <a:lnTo>
                      <a:pt x="30" y="163"/>
                    </a:lnTo>
                    <a:lnTo>
                      <a:pt x="27" y="165"/>
                    </a:lnTo>
                    <a:lnTo>
                      <a:pt x="23" y="164"/>
                    </a:lnTo>
                    <a:lnTo>
                      <a:pt x="19" y="165"/>
                    </a:lnTo>
                    <a:lnTo>
                      <a:pt x="14" y="164"/>
                    </a:lnTo>
                    <a:lnTo>
                      <a:pt x="10" y="165"/>
                    </a:lnTo>
                    <a:lnTo>
                      <a:pt x="10" y="162"/>
                    </a:lnTo>
                    <a:lnTo>
                      <a:pt x="12" y="157"/>
                    </a:lnTo>
                    <a:lnTo>
                      <a:pt x="12" y="151"/>
                    </a:lnTo>
                    <a:lnTo>
                      <a:pt x="8" y="141"/>
                    </a:lnTo>
                    <a:lnTo>
                      <a:pt x="6" y="137"/>
                    </a:lnTo>
                    <a:lnTo>
                      <a:pt x="0" y="132"/>
                    </a:lnTo>
                    <a:lnTo>
                      <a:pt x="0" y="133"/>
                    </a:lnTo>
                    <a:lnTo>
                      <a:pt x="0" y="132"/>
                    </a:lnTo>
                    <a:lnTo>
                      <a:pt x="0" y="132"/>
                    </a:lnTo>
                    <a:lnTo>
                      <a:pt x="3" y="76"/>
                    </a:lnTo>
                    <a:lnTo>
                      <a:pt x="19" y="76"/>
                    </a:lnTo>
                    <a:lnTo>
                      <a:pt x="23" y="12"/>
                    </a:lnTo>
                    <a:lnTo>
                      <a:pt x="36" y="12"/>
                    </a:lnTo>
                    <a:lnTo>
                      <a:pt x="54" y="9"/>
                    </a:lnTo>
                    <a:lnTo>
                      <a:pt x="59" y="8"/>
                    </a:lnTo>
                    <a:lnTo>
                      <a:pt x="62" y="7"/>
                    </a:lnTo>
                    <a:lnTo>
                      <a:pt x="63" y="7"/>
                    </a:lnTo>
                    <a:lnTo>
                      <a:pt x="64" y="8"/>
                    </a:lnTo>
                    <a:lnTo>
                      <a:pt x="65" y="10"/>
                    </a:lnTo>
                    <a:lnTo>
                      <a:pt x="66" y="11"/>
                    </a:lnTo>
                    <a:lnTo>
                      <a:pt x="65" y="12"/>
                    </a:lnTo>
                    <a:lnTo>
                      <a:pt x="65" y="14"/>
                    </a:lnTo>
                    <a:lnTo>
                      <a:pt x="67" y="15"/>
                    </a:lnTo>
                    <a:lnTo>
                      <a:pt x="73" y="11"/>
                    </a:lnTo>
                    <a:lnTo>
                      <a:pt x="76" y="7"/>
                    </a:lnTo>
                    <a:lnTo>
                      <a:pt x="79" y="3"/>
                    </a:lnTo>
                    <a:lnTo>
                      <a:pt x="84" y="3"/>
                    </a:lnTo>
                    <a:lnTo>
                      <a:pt x="85" y="4"/>
                    </a:lnTo>
                    <a:lnTo>
                      <a:pt x="87" y="5"/>
                    </a:lnTo>
                    <a:lnTo>
                      <a:pt x="89" y="3"/>
                    </a:lnTo>
                    <a:lnTo>
                      <a:pt x="96" y="1"/>
                    </a:lnTo>
                    <a:lnTo>
                      <a:pt x="99" y="0"/>
                    </a:lnTo>
                    <a:lnTo>
                      <a:pt x="99" y="0"/>
                    </a:lnTo>
                    <a:lnTo>
                      <a:pt x="99" y="0"/>
                    </a:lnTo>
                    <a:lnTo>
                      <a:pt x="99" y="0"/>
                    </a:lnTo>
                    <a:close/>
                  </a:path>
                </a:pathLst>
              </a:custGeom>
              <a:solidFill>
                <a:srgbClr val="65625E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605" name="Freeform 409"/>
              <p:cNvSpPr>
                <a:spLocks/>
              </p:cNvSpPr>
              <p:nvPr userDrawn="1"/>
            </p:nvSpPr>
            <p:spPr bwMode="auto">
              <a:xfrm>
                <a:off x="3675" y="3233"/>
                <a:ext cx="247" cy="223"/>
              </a:xfrm>
              <a:custGeom>
                <a:avLst/>
                <a:gdLst>
                  <a:gd name="T0" fmla="*/ 151 w 247"/>
                  <a:gd name="T1" fmla="*/ 91 h 223"/>
                  <a:gd name="T2" fmla="*/ 184 w 247"/>
                  <a:gd name="T3" fmla="*/ 27 h 223"/>
                  <a:gd name="T4" fmla="*/ 210 w 247"/>
                  <a:gd name="T5" fmla="*/ 22 h 223"/>
                  <a:gd name="T6" fmla="*/ 213 w 247"/>
                  <a:gd name="T7" fmla="*/ 25 h 223"/>
                  <a:gd name="T8" fmla="*/ 213 w 247"/>
                  <a:gd name="T9" fmla="*/ 29 h 223"/>
                  <a:gd name="T10" fmla="*/ 224 w 247"/>
                  <a:gd name="T11" fmla="*/ 22 h 223"/>
                  <a:gd name="T12" fmla="*/ 233 w 247"/>
                  <a:gd name="T13" fmla="*/ 19 h 223"/>
                  <a:gd name="T14" fmla="*/ 244 w 247"/>
                  <a:gd name="T15" fmla="*/ 16 h 223"/>
                  <a:gd name="T16" fmla="*/ 244 w 247"/>
                  <a:gd name="T17" fmla="*/ 11 h 223"/>
                  <a:gd name="T18" fmla="*/ 240 w 247"/>
                  <a:gd name="T19" fmla="*/ 10 h 223"/>
                  <a:gd name="T20" fmla="*/ 233 w 247"/>
                  <a:gd name="T21" fmla="*/ 10 h 223"/>
                  <a:gd name="T22" fmla="*/ 184 w 247"/>
                  <a:gd name="T23" fmla="*/ 20 h 223"/>
                  <a:gd name="T24" fmla="*/ 180 w 247"/>
                  <a:gd name="T25" fmla="*/ 20 h 223"/>
                  <a:gd name="T26" fmla="*/ 176 w 247"/>
                  <a:gd name="T27" fmla="*/ 19 h 223"/>
                  <a:gd name="T28" fmla="*/ 171 w 247"/>
                  <a:gd name="T29" fmla="*/ 18 h 223"/>
                  <a:gd name="T30" fmla="*/ 165 w 247"/>
                  <a:gd name="T31" fmla="*/ 20 h 223"/>
                  <a:gd name="T32" fmla="*/ 156 w 247"/>
                  <a:gd name="T33" fmla="*/ 15 h 223"/>
                  <a:gd name="T34" fmla="*/ 152 w 247"/>
                  <a:gd name="T35" fmla="*/ 17 h 223"/>
                  <a:gd name="T36" fmla="*/ 141 w 247"/>
                  <a:gd name="T37" fmla="*/ 18 h 223"/>
                  <a:gd name="T38" fmla="*/ 137 w 247"/>
                  <a:gd name="T39" fmla="*/ 15 h 223"/>
                  <a:gd name="T40" fmla="*/ 126 w 247"/>
                  <a:gd name="T41" fmla="*/ 13 h 223"/>
                  <a:gd name="T42" fmla="*/ 121 w 247"/>
                  <a:gd name="T43" fmla="*/ 7 h 223"/>
                  <a:gd name="T44" fmla="*/ 50 w 247"/>
                  <a:gd name="T45" fmla="*/ 6 h 223"/>
                  <a:gd name="T46" fmla="*/ 44 w 247"/>
                  <a:gd name="T47" fmla="*/ 10 h 223"/>
                  <a:gd name="T48" fmla="*/ 34 w 247"/>
                  <a:gd name="T49" fmla="*/ 4 h 223"/>
                  <a:gd name="T50" fmla="*/ 32 w 247"/>
                  <a:gd name="T51" fmla="*/ 1 h 223"/>
                  <a:gd name="T52" fmla="*/ 28 w 247"/>
                  <a:gd name="T53" fmla="*/ 2 h 223"/>
                  <a:gd name="T54" fmla="*/ 21 w 247"/>
                  <a:gd name="T55" fmla="*/ 0 h 223"/>
                  <a:gd name="T56" fmla="*/ 14 w 247"/>
                  <a:gd name="T57" fmla="*/ 6 h 223"/>
                  <a:gd name="T58" fmla="*/ 6 w 247"/>
                  <a:gd name="T59" fmla="*/ 5 h 223"/>
                  <a:gd name="T60" fmla="*/ 3 w 247"/>
                  <a:gd name="T61" fmla="*/ 7 h 223"/>
                  <a:gd name="T62" fmla="*/ 1 w 247"/>
                  <a:gd name="T63" fmla="*/ 22 h 223"/>
                  <a:gd name="T64" fmla="*/ 27 w 247"/>
                  <a:gd name="T65" fmla="*/ 62 h 223"/>
                  <a:gd name="T66" fmla="*/ 37 w 247"/>
                  <a:gd name="T67" fmla="*/ 88 h 223"/>
                  <a:gd name="T68" fmla="*/ 45 w 247"/>
                  <a:gd name="T69" fmla="*/ 110 h 223"/>
                  <a:gd name="T70" fmla="*/ 53 w 247"/>
                  <a:gd name="T71" fmla="*/ 146 h 223"/>
                  <a:gd name="T72" fmla="*/ 51 w 247"/>
                  <a:gd name="T73" fmla="*/ 160 h 223"/>
                  <a:gd name="T74" fmla="*/ 57 w 247"/>
                  <a:gd name="T75" fmla="*/ 174 h 223"/>
                  <a:gd name="T76" fmla="*/ 57 w 247"/>
                  <a:gd name="T77" fmla="*/ 181 h 223"/>
                  <a:gd name="T78" fmla="*/ 64 w 247"/>
                  <a:gd name="T79" fmla="*/ 196 h 223"/>
                  <a:gd name="T80" fmla="*/ 73 w 247"/>
                  <a:gd name="T81" fmla="*/ 211 h 223"/>
                  <a:gd name="T82" fmla="*/ 87 w 247"/>
                  <a:gd name="T83" fmla="*/ 213 h 223"/>
                  <a:gd name="T84" fmla="*/ 87 w 247"/>
                  <a:gd name="T85" fmla="*/ 207 h 223"/>
                  <a:gd name="T86" fmla="*/ 97 w 247"/>
                  <a:gd name="T87" fmla="*/ 209 h 223"/>
                  <a:gd name="T88" fmla="*/ 105 w 247"/>
                  <a:gd name="T89" fmla="*/ 220 h 223"/>
                  <a:gd name="T90" fmla="*/ 114 w 247"/>
                  <a:gd name="T91" fmla="*/ 221 h 223"/>
                  <a:gd name="T92" fmla="*/ 121 w 247"/>
                  <a:gd name="T93" fmla="*/ 220 h 223"/>
                  <a:gd name="T94" fmla="*/ 127 w 247"/>
                  <a:gd name="T95" fmla="*/ 223 h 223"/>
                  <a:gd name="T96" fmla="*/ 131 w 247"/>
                  <a:gd name="T97" fmla="*/ 217 h 223"/>
                  <a:gd name="T98" fmla="*/ 143 w 247"/>
                  <a:gd name="T99" fmla="*/ 212 h 223"/>
                  <a:gd name="T100" fmla="*/ 148 w 247"/>
                  <a:gd name="T101" fmla="*/ 147 h 2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247" h="223">
                    <a:moveTo>
                      <a:pt x="148" y="147"/>
                    </a:moveTo>
                    <a:lnTo>
                      <a:pt x="148" y="147"/>
                    </a:lnTo>
                    <a:lnTo>
                      <a:pt x="151" y="91"/>
                    </a:lnTo>
                    <a:lnTo>
                      <a:pt x="167" y="91"/>
                    </a:lnTo>
                    <a:lnTo>
                      <a:pt x="171" y="27"/>
                    </a:lnTo>
                    <a:lnTo>
                      <a:pt x="184" y="27"/>
                    </a:lnTo>
                    <a:lnTo>
                      <a:pt x="202" y="24"/>
                    </a:lnTo>
                    <a:lnTo>
                      <a:pt x="207" y="23"/>
                    </a:lnTo>
                    <a:lnTo>
                      <a:pt x="210" y="22"/>
                    </a:lnTo>
                    <a:lnTo>
                      <a:pt x="211" y="22"/>
                    </a:lnTo>
                    <a:lnTo>
                      <a:pt x="212" y="23"/>
                    </a:lnTo>
                    <a:lnTo>
                      <a:pt x="213" y="25"/>
                    </a:lnTo>
                    <a:lnTo>
                      <a:pt x="214" y="26"/>
                    </a:lnTo>
                    <a:lnTo>
                      <a:pt x="213" y="27"/>
                    </a:lnTo>
                    <a:lnTo>
                      <a:pt x="213" y="29"/>
                    </a:lnTo>
                    <a:lnTo>
                      <a:pt x="215" y="30"/>
                    </a:lnTo>
                    <a:lnTo>
                      <a:pt x="221" y="26"/>
                    </a:lnTo>
                    <a:lnTo>
                      <a:pt x="224" y="22"/>
                    </a:lnTo>
                    <a:lnTo>
                      <a:pt x="227" y="18"/>
                    </a:lnTo>
                    <a:lnTo>
                      <a:pt x="232" y="18"/>
                    </a:lnTo>
                    <a:lnTo>
                      <a:pt x="233" y="19"/>
                    </a:lnTo>
                    <a:lnTo>
                      <a:pt x="235" y="20"/>
                    </a:lnTo>
                    <a:lnTo>
                      <a:pt x="237" y="18"/>
                    </a:lnTo>
                    <a:lnTo>
                      <a:pt x="244" y="16"/>
                    </a:lnTo>
                    <a:lnTo>
                      <a:pt x="247" y="15"/>
                    </a:lnTo>
                    <a:lnTo>
                      <a:pt x="245" y="11"/>
                    </a:lnTo>
                    <a:lnTo>
                      <a:pt x="244" y="11"/>
                    </a:lnTo>
                    <a:lnTo>
                      <a:pt x="243" y="10"/>
                    </a:lnTo>
                    <a:lnTo>
                      <a:pt x="241" y="11"/>
                    </a:lnTo>
                    <a:lnTo>
                      <a:pt x="240" y="10"/>
                    </a:lnTo>
                    <a:lnTo>
                      <a:pt x="239" y="10"/>
                    </a:lnTo>
                    <a:lnTo>
                      <a:pt x="237" y="9"/>
                    </a:lnTo>
                    <a:lnTo>
                      <a:pt x="233" y="10"/>
                    </a:lnTo>
                    <a:lnTo>
                      <a:pt x="231" y="10"/>
                    </a:lnTo>
                    <a:lnTo>
                      <a:pt x="185" y="20"/>
                    </a:lnTo>
                    <a:lnTo>
                      <a:pt x="184" y="20"/>
                    </a:lnTo>
                    <a:lnTo>
                      <a:pt x="182" y="20"/>
                    </a:lnTo>
                    <a:lnTo>
                      <a:pt x="180" y="20"/>
                    </a:lnTo>
                    <a:lnTo>
                      <a:pt x="180" y="20"/>
                    </a:lnTo>
                    <a:lnTo>
                      <a:pt x="179" y="20"/>
                    </a:lnTo>
                    <a:lnTo>
                      <a:pt x="178" y="18"/>
                    </a:lnTo>
                    <a:lnTo>
                      <a:pt x="176" y="19"/>
                    </a:lnTo>
                    <a:lnTo>
                      <a:pt x="175" y="18"/>
                    </a:lnTo>
                    <a:lnTo>
                      <a:pt x="173" y="17"/>
                    </a:lnTo>
                    <a:lnTo>
                      <a:pt x="171" y="18"/>
                    </a:lnTo>
                    <a:lnTo>
                      <a:pt x="170" y="19"/>
                    </a:lnTo>
                    <a:lnTo>
                      <a:pt x="169" y="20"/>
                    </a:lnTo>
                    <a:lnTo>
                      <a:pt x="165" y="20"/>
                    </a:lnTo>
                    <a:lnTo>
                      <a:pt x="162" y="18"/>
                    </a:lnTo>
                    <a:lnTo>
                      <a:pt x="159" y="15"/>
                    </a:lnTo>
                    <a:lnTo>
                      <a:pt x="156" y="15"/>
                    </a:lnTo>
                    <a:lnTo>
                      <a:pt x="155" y="14"/>
                    </a:lnTo>
                    <a:lnTo>
                      <a:pt x="155" y="16"/>
                    </a:lnTo>
                    <a:lnTo>
                      <a:pt x="152" y="17"/>
                    </a:lnTo>
                    <a:lnTo>
                      <a:pt x="147" y="15"/>
                    </a:lnTo>
                    <a:lnTo>
                      <a:pt x="144" y="16"/>
                    </a:lnTo>
                    <a:lnTo>
                      <a:pt x="141" y="18"/>
                    </a:lnTo>
                    <a:lnTo>
                      <a:pt x="139" y="17"/>
                    </a:lnTo>
                    <a:lnTo>
                      <a:pt x="138" y="16"/>
                    </a:lnTo>
                    <a:lnTo>
                      <a:pt x="137" y="15"/>
                    </a:lnTo>
                    <a:lnTo>
                      <a:pt x="134" y="15"/>
                    </a:lnTo>
                    <a:lnTo>
                      <a:pt x="130" y="14"/>
                    </a:lnTo>
                    <a:lnTo>
                      <a:pt x="126" y="13"/>
                    </a:lnTo>
                    <a:lnTo>
                      <a:pt x="125" y="11"/>
                    </a:lnTo>
                    <a:lnTo>
                      <a:pt x="123" y="8"/>
                    </a:lnTo>
                    <a:lnTo>
                      <a:pt x="121" y="7"/>
                    </a:lnTo>
                    <a:lnTo>
                      <a:pt x="52" y="7"/>
                    </a:lnTo>
                    <a:lnTo>
                      <a:pt x="51" y="6"/>
                    </a:lnTo>
                    <a:lnTo>
                      <a:pt x="50" y="6"/>
                    </a:lnTo>
                    <a:lnTo>
                      <a:pt x="48" y="8"/>
                    </a:lnTo>
                    <a:lnTo>
                      <a:pt x="47" y="8"/>
                    </a:lnTo>
                    <a:lnTo>
                      <a:pt x="44" y="10"/>
                    </a:lnTo>
                    <a:lnTo>
                      <a:pt x="40" y="8"/>
                    </a:lnTo>
                    <a:lnTo>
                      <a:pt x="35" y="5"/>
                    </a:lnTo>
                    <a:lnTo>
                      <a:pt x="34" y="4"/>
                    </a:lnTo>
                    <a:lnTo>
                      <a:pt x="35" y="3"/>
                    </a:lnTo>
                    <a:lnTo>
                      <a:pt x="32" y="2"/>
                    </a:lnTo>
                    <a:lnTo>
                      <a:pt x="32" y="1"/>
                    </a:lnTo>
                    <a:lnTo>
                      <a:pt x="30" y="0"/>
                    </a:lnTo>
                    <a:lnTo>
                      <a:pt x="29" y="0"/>
                    </a:lnTo>
                    <a:lnTo>
                      <a:pt x="28" y="2"/>
                    </a:lnTo>
                    <a:lnTo>
                      <a:pt x="27" y="1"/>
                    </a:lnTo>
                    <a:lnTo>
                      <a:pt x="24" y="0"/>
                    </a:lnTo>
                    <a:lnTo>
                      <a:pt x="21" y="0"/>
                    </a:lnTo>
                    <a:lnTo>
                      <a:pt x="16" y="3"/>
                    </a:lnTo>
                    <a:lnTo>
                      <a:pt x="15" y="5"/>
                    </a:lnTo>
                    <a:lnTo>
                      <a:pt x="14" y="6"/>
                    </a:lnTo>
                    <a:lnTo>
                      <a:pt x="11" y="5"/>
                    </a:lnTo>
                    <a:lnTo>
                      <a:pt x="7" y="4"/>
                    </a:lnTo>
                    <a:lnTo>
                      <a:pt x="6" y="5"/>
                    </a:lnTo>
                    <a:lnTo>
                      <a:pt x="6" y="7"/>
                    </a:lnTo>
                    <a:lnTo>
                      <a:pt x="4" y="8"/>
                    </a:lnTo>
                    <a:lnTo>
                      <a:pt x="3" y="7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1" y="22"/>
                    </a:lnTo>
                    <a:lnTo>
                      <a:pt x="11" y="32"/>
                    </a:lnTo>
                    <a:lnTo>
                      <a:pt x="17" y="42"/>
                    </a:lnTo>
                    <a:lnTo>
                      <a:pt x="27" y="62"/>
                    </a:lnTo>
                    <a:lnTo>
                      <a:pt x="28" y="69"/>
                    </a:lnTo>
                    <a:lnTo>
                      <a:pt x="37" y="83"/>
                    </a:lnTo>
                    <a:lnTo>
                      <a:pt x="37" y="88"/>
                    </a:lnTo>
                    <a:lnTo>
                      <a:pt x="47" y="101"/>
                    </a:lnTo>
                    <a:lnTo>
                      <a:pt x="47" y="109"/>
                    </a:lnTo>
                    <a:lnTo>
                      <a:pt x="45" y="110"/>
                    </a:lnTo>
                    <a:lnTo>
                      <a:pt x="47" y="118"/>
                    </a:lnTo>
                    <a:lnTo>
                      <a:pt x="48" y="132"/>
                    </a:lnTo>
                    <a:lnTo>
                      <a:pt x="53" y="146"/>
                    </a:lnTo>
                    <a:lnTo>
                      <a:pt x="52" y="154"/>
                    </a:lnTo>
                    <a:lnTo>
                      <a:pt x="54" y="158"/>
                    </a:lnTo>
                    <a:lnTo>
                      <a:pt x="51" y="160"/>
                    </a:lnTo>
                    <a:lnTo>
                      <a:pt x="53" y="163"/>
                    </a:lnTo>
                    <a:lnTo>
                      <a:pt x="55" y="172"/>
                    </a:lnTo>
                    <a:lnTo>
                      <a:pt x="57" y="174"/>
                    </a:lnTo>
                    <a:lnTo>
                      <a:pt x="59" y="177"/>
                    </a:lnTo>
                    <a:lnTo>
                      <a:pt x="57" y="177"/>
                    </a:lnTo>
                    <a:lnTo>
                      <a:pt x="57" y="181"/>
                    </a:lnTo>
                    <a:lnTo>
                      <a:pt x="60" y="184"/>
                    </a:lnTo>
                    <a:lnTo>
                      <a:pt x="60" y="192"/>
                    </a:lnTo>
                    <a:lnTo>
                      <a:pt x="64" y="196"/>
                    </a:lnTo>
                    <a:lnTo>
                      <a:pt x="69" y="204"/>
                    </a:lnTo>
                    <a:lnTo>
                      <a:pt x="72" y="209"/>
                    </a:lnTo>
                    <a:lnTo>
                      <a:pt x="73" y="211"/>
                    </a:lnTo>
                    <a:lnTo>
                      <a:pt x="80" y="216"/>
                    </a:lnTo>
                    <a:lnTo>
                      <a:pt x="83" y="214"/>
                    </a:lnTo>
                    <a:lnTo>
                      <a:pt x="87" y="213"/>
                    </a:lnTo>
                    <a:lnTo>
                      <a:pt x="87" y="211"/>
                    </a:lnTo>
                    <a:lnTo>
                      <a:pt x="85" y="210"/>
                    </a:lnTo>
                    <a:lnTo>
                      <a:pt x="87" y="207"/>
                    </a:lnTo>
                    <a:lnTo>
                      <a:pt x="92" y="205"/>
                    </a:lnTo>
                    <a:lnTo>
                      <a:pt x="94" y="209"/>
                    </a:lnTo>
                    <a:lnTo>
                      <a:pt x="97" y="209"/>
                    </a:lnTo>
                    <a:lnTo>
                      <a:pt x="95" y="213"/>
                    </a:lnTo>
                    <a:lnTo>
                      <a:pt x="98" y="218"/>
                    </a:lnTo>
                    <a:lnTo>
                      <a:pt x="105" y="220"/>
                    </a:lnTo>
                    <a:lnTo>
                      <a:pt x="109" y="221"/>
                    </a:lnTo>
                    <a:lnTo>
                      <a:pt x="112" y="220"/>
                    </a:lnTo>
                    <a:lnTo>
                      <a:pt x="114" y="221"/>
                    </a:lnTo>
                    <a:lnTo>
                      <a:pt x="116" y="221"/>
                    </a:lnTo>
                    <a:lnTo>
                      <a:pt x="118" y="220"/>
                    </a:lnTo>
                    <a:lnTo>
                      <a:pt x="121" y="220"/>
                    </a:lnTo>
                    <a:lnTo>
                      <a:pt x="122" y="223"/>
                    </a:lnTo>
                    <a:lnTo>
                      <a:pt x="125" y="222"/>
                    </a:lnTo>
                    <a:lnTo>
                      <a:pt x="127" y="223"/>
                    </a:lnTo>
                    <a:lnTo>
                      <a:pt x="127" y="220"/>
                    </a:lnTo>
                    <a:lnTo>
                      <a:pt x="129" y="218"/>
                    </a:lnTo>
                    <a:lnTo>
                      <a:pt x="131" y="217"/>
                    </a:lnTo>
                    <a:lnTo>
                      <a:pt x="133" y="214"/>
                    </a:lnTo>
                    <a:lnTo>
                      <a:pt x="137" y="211"/>
                    </a:lnTo>
                    <a:lnTo>
                      <a:pt x="143" y="212"/>
                    </a:lnTo>
                    <a:lnTo>
                      <a:pt x="145" y="212"/>
                    </a:lnTo>
                    <a:lnTo>
                      <a:pt x="148" y="148"/>
                    </a:lnTo>
                    <a:lnTo>
                      <a:pt x="148" y="147"/>
                    </a:lnTo>
                    <a:lnTo>
                      <a:pt x="148" y="147"/>
                    </a:lnTo>
                    <a:close/>
                  </a:path>
                </a:pathLst>
              </a:custGeom>
              <a:solidFill>
                <a:srgbClr val="65625E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606" name="Freeform 410"/>
              <p:cNvSpPr>
                <a:spLocks noEditPoints="1"/>
              </p:cNvSpPr>
              <p:nvPr userDrawn="1"/>
            </p:nvSpPr>
            <p:spPr bwMode="auto">
              <a:xfrm>
                <a:off x="4246" y="3144"/>
                <a:ext cx="140" cy="251"/>
              </a:xfrm>
              <a:custGeom>
                <a:avLst/>
                <a:gdLst>
                  <a:gd name="T0" fmla="*/ 40 w 140"/>
                  <a:gd name="T1" fmla="*/ 247 h 251"/>
                  <a:gd name="T2" fmla="*/ 64 w 140"/>
                  <a:gd name="T3" fmla="*/ 241 h 251"/>
                  <a:gd name="T4" fmla="*/ 74 w 140"/>
                  <a:gd name="T5" fmla="*/ 227 h 251"/>
                  <a:gd name="T6" fmla="*/ 77 w 140"/>
                  <a:gd name="T7" fmla="*/ 216 h 251"/>
                  <a:gd name="T8" fmla="*/ 82 w 140"/>
                  <a:gd name="T9" fmla="*/ 207 h 251"/>
                  <a:gd name="T10" fmla="*/ 93 w 140"/>
                  <a:gd name="T11" fmla="*/ 180 h 251"/>
                  <a:gd name="T12" fmla="*/ 107 w 140"/>
                  <a:gd name="T13" fmla="*/ 146 h 251"/>
                  <a:gd name="T14" fmla="*/ 116 w 140"/>
                  <a:gd name="T15" fmla="*/ 124 h 251"/>
                  <a:gd name="T16" fmla="*/ 123 w 140"/>
                  <a:gd name="T17" fmla="*/ 100 h 251"/>
                  <a:gd name="T18" fmla="*/ 125 w 140"/>
                  <a:gd name="T19" fmla="*/ 85 h 251"/>
                  <a:gd name="T20" fmla="*/ 127 w 140"/>
                  <a:gd name="T21" fmla="*/ 73 h 251"/>
                  <a:gd name="T22" fmla="*/ 127 w 140"/>
                  <a:gd name="T23" fmla="*/ 63 h 251"/>
                  <a:gd name="T24" fmla="*/ 136 w 140"/>
                  <a:gd name="T25" fmla="*/ 72 h 251"/>
                  <a:gd name="T26" fmla="*/ 139 w 140"/>
                  <a:gd name="T27" fmla="*/ 63 h 251"/>
                  <a:gd name="T28" fmla="*/ 135 w 140"/>
                  <a:gd name="T29" fmla="*/ 50 h 251"/>
                  <a:gd name="T30" fmla="*/ 136 w 140"/>
                  <a:gd name="T31" fmla="*/ 38 h 251"/>
                  <a:gd name="T32" fmla="*/ 132 w 140"/>
                  <a:gd name="T33" fmla="*/ 15 h 251"/>
                  <a:gd name="T34" fmla="*/ 124 w 140"/>
                  <a:gd name="T35" fmla="*/ 6 h 251"/>
                  <a:gd name="T36" fmla="*/ 121 w 140"/>
                  <a:gd name="T37" fmla="*/ 6 h 251"/>
                  <a:gd name="T38" fmla="*/ 115 w 140"/>
                  <a:gd name="T39" fmla="*/ 10 h 251"/>
                  <a:gd name="T40" fmla="*/ 114 w 140"/>
                  <a:gd name="T41" fmla="*/ 19 h 251"/>
                  <a:gd name="T42" fmla="*/ 106 w 140"/>
                  <a:gd name="T43" fmla="*/ 30 h 251"/>
                  <a:gd name="T44" fmla="*/ 101 w 140"/>
                  <a:gd name="T45" fmla="*/ 29 h 251"/>
                  <a:gd name="T46" fmla="*/ 101 w 140"/>
                  <a:gd name="T47" fmla="*/ 39 h 251"/>
                  <a:gd name="T48" fmla="*/ 94 w 140"/>
                  <a:gd name="T49" fmla="*/ 42 h 251"/>
                  <a:gd name="T50" fmla="*/ 98 w 140"/>
                  <a:gd name="T51" fmla="*/ 50 h 251"/>
                  <a:gd name="T52" fmla="*/ 87 w 140"/>
                  <a:gd name="T53" fmla="*/ 55 h 251"/>
                  <a:gd name="T54" fmla="*/ 83 w 140"/>
                  <a:gd name="T55" fmla="*/ 51 h 251"/>
                  <a:gd name="T56" fmla="*/ 82 w 140"/>
                  <a:gd name="T57" fmla="*/ 60 h 251"/>
                  <a:gd name="T58" fmla="*/ 79 w 140"/>
                  <a:gd name="T59" fmla="*/ 65 h 251"/>
                  <a:gd name="T60" fmla="*/ 77 w 140"/>
                  <a:gd name="T61" fmla="*/ 58 h 251"/>
                  <a:gd name="T62" fmla="*/ 69 w 140"/>
                  <a:gd name="T63" fmla="*/ 73 h 251"/>
                  <a:gd name="T64" fmla="*/ 63 w 140"/>
                  <a:gd name="T65" fmla="*/ 67 h 251"/>
                  <a:gd name="T66" fmla="*/ 52 w 140"/>
                  <a:gd name="T67" fmla="*/ 70 h 251"/>
                  <a:gd name="T68" fmla="*/ 50 w 140"/>
                  <a:gd name="T69" fmla="*/ 71 h 251"/>
                  <a:gd name="T70" fmla="*/ 37 w 140"/>
                  <a:gd name="T71" fmla="*/ 77 h 251"/>
                  <a:gd name="T72" fmla="*/ 28 w 140"/>
                  <a:gd name="T73" fmla="*/ 78 h 251"/>
                  <a:gd name="T74" fmla="*/ 19 w 140"/>
                  <a:gd name="T75" fmla="*/ 99 h 251"/>
                  <a:gd name="T76" fmla="*/ 20 w 140"/>
                  <a:gd name="T77" fmla="*/ 113 h 251"/>
                  <a:gd name="T78" fmla="*/ 28 w 140"/>
                  <a:gd name="T79" fmla="*/ 132 h 251"/>
                  <a:gd name="T80" fmla="*/ 25 w 140"/>
                  <a:gd name="T81" fmla="*/ 147 h 251"/>
                  <a:gd name="T82" fmla="*/ 17 w 140"/>
                  <a:gd name="T83" fmla="*/ 157 h 251"/>
                  <a:gd name="T84" fmla="*/ 5 w 140"/>
                  <a:gd name="T85" fmla="*/ 170 h 251"/>
                  <a:gd name="T86" fmla="*/ 1 w 140"/>
                  <a:gd name="T87" fmla="*/ 186 h 251"/>
                  <a:gd name="T88" fmla="*/ 6 w 140"/>
                  <a:gd name="T89" fmla="*/ 202 h 251"/>
                  <a:gd name="T90" fmla="*/ 9 w 140"/>
                  <a:gd name="T91" fmla="*/ 209 h 251"/>
                  <a:gd name="T92" fmla="*/ 5 w 140"/>
                  <a:gd name="T93" fmla="*/ 221 h 251"/>
                  <a:gd name="T94" fmla="*/ 8 w 140"/>
                  <a:gd name="T95" fmla="*/ 234 h 251"/>
                  <a:gd name="T96" fmla="*/ 17 w 140"/>
                  <a:gd name="T97" fmla="*/ 244 h 251"/>
                  <a:gd name="T98" fmla="*/ 26 w 140"/>
                  <a:gd name="T99" fmla="*/ 248 h 251"/>
                  <a:gd name="T100" fmla="*/ 30 w 140"/>
                  <a:gd name="T101" fmla="*/ 251 h 251"/>
                  <a:gd name="T102" fmla="*/ 112 w 140"/>
                  <a:gd name="T103" fmla="*/ 13 h 251"/>
                  <a:gd name="T104" fmla="*/ 109 w 140"/>
                  <a:gd name="T105" fmla="*/ 18 h 251"/>
                  <a:gd name="T106" fmla="*/ 109 w 140"/>
                  <a:gd name="T107" fmla="*/ 25 h 251"/>
                  <a:gd name="T108" fmla="*/ 103 w 140"/>
                  <a:gd name="T109" fmla="*/ 22 h 251"/>
                  <a:gd name="T110" fmla="*/ 105 w 140"/>
                  <a:gd name="T111" fmla="*/ 27 h 251"/>
                  <a:gd name="T112" fmla="*/ 103 w 140"/>
                  <a:gd name="T113" fmla="*/ 22 h 251"/>
                  <a:gd name="T114" fmla="*/ 127 w 140"/>
                  <a:gd name="T115" fmla="*/ 89 h 251"/>
                  <a:gd name="T116" fmla="*/ 130 w 140"/>
                  <a:gd name="T117" fmla="*/ 88 h 2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40" h="251">
                    <a:moveTo>
                      <a:pt x="30" y="251"/>
                    </a:moveTo>
                    <a:lnTo>
                      <a:pt x="32" y="249"/>
                    </a:lnTo>
                    <a:lnTo>
                      <a:pt x="36" y="250"/>
                    </a:lnTo>
                    <a:lnTo>
                      <a:pt x="40" y="247"/>
                    </a:lnTo>
                    <a:lnTo>
                      <a:pt x="43" y="244"/>
                    </a:lnTo>
                    <a:lnTo>
                      <a:pt x="55" y="243"/>
                    </a:lnTo>
                    <a:lnTo>
                      <a:pt x="59" y="244"/>
                    </a:lnTo>
                    <a:lnTo>
                      <a:pt x="64" y="241"/>
                    </a:lnTo>
                    <a:lnTo>
                      <a:pt x="66" y="238"/>
                    </a:lnTo>
                    <a:lnTo>
                      <a:pt x="69" y="238"/>
                    </a:lnTo>
                    <a:lnTo>
                      <a:pt x="71" y="232"/>
                    </a:lnTo>
                    <a:lnTo>
                      <a:pt x="74" y="227"/>
                    </a:lnTo>
                    <a:lnTo>
                      <a:pt x="74" y="224"/>
                    </a:lnTo>
                    <a:lnTo>
                      <a:pt x="78" y="223"/>
                    </a:lnTo>
                    <a:lnTo>
                      <a:pt x="78" y="217"/>
                    </a:lnTo>
                    <a:lnTo>
                      <a:pt x="77" y="216"/>
                    </a:lnTo>
                    <a:lnTo>
                      <a:pt x="80" y="214"/>
                    </a:lnTo>
                    <a:lnTo>
                      <a:pt x="81" y="208"/>
                    </a:lnTo>
                    <a:lnTo>
                      <a:pt x="81" y="207"/>
                    </a:lnTo>
                    <a:lnTo>
                      <a:pt x="82" y="207"/>
                    </a:lnTo>
                    <a:lnTo>
                      <a:pt x="85" y="202"/>
                    </a:lnTo>
                    <a:lnTo>
                      <a:pt x="88" y="190"/>
                    </a:lnTo>
                    <a:lnTo>
                      <a:pt x="90" y="183"/>
                    </a:lnTo>
                    <a:lnTo>
                      <a:pt x="93" y="180"/>
                    </a:lnTo>
                    <a:lnTo>
                      <a:pt x="94" y="174"/>
                    </a:lnTo>
                    <a:lnTo>
                      <a:pt x="100" y="165"/>
                    </a:lnTo>
                    <a:lnTo>
                      <a:pt x="105" y="151"/>
                    </a:lnTo>
                    <a:lnTo>
                      <a:pt x="107" y="146"/>
                    </a:lnTo>
                    <a:lnTo>
                      <a:pt x="107" y="139"/>
                    </a:lnTo>
                    <a:lnTo>
                      <a:pt x="111" y="133"/>
                    </a:lnTo>
                    <a:lnTo>
                      <a:pt x="111" y="131"/>
                    </a:lnTo>
                    <a:lnTo>
                      <a:pt x="116" y="124"/>
                    </a:lnTo>
                    <a:lnTo>
                      <a:pt x="118" y="115"/>
                    </a:lnTo>
                    <a:lnTo>
                      <a:pt x="120" y="107"/>
                    </a:lnTo>
                    <a:lnTo>
                      <a:pt x="122" y="105"/>
                    </a:lnTo>
                    <a:lnTo>
                      <a:pt x="123" y="100"/>
                    </a:lnTo>
                    <a:lnTo>
                      <a:pt x="121" y="97"/>
                    </a:lnTo>
                    <a:lnTo>
                      <a:pt x="122" y="93"/>
                    </a:lnTo>
                    <a:lnTo>
                      <a:pt x="126" y="88"/>
                    </a:lnTo>
                    <a:lnTo>
                      <a:pt x="125" y="85"/>
                    </a:lnTo>
                    <a:lnTo>
                      <a:pt x="127" y="82"/>
                    </a:lnTo>
                    <a:lnTo>
                      <a:pt x="127" y="78"/>
                    </a:lnTo>
                    <a:lnTo>
                      <a:pt x="126" y="76"/>
                    </a:lnTo>
                    <a:lnTo>
                      <a:pt x="127" y="73"/>
                    </a:lnTo>
                    <a:lnTo>
                      <a:pt x="126" y="70"/>
                    </a:lnTo>
                    <a:lnTo>
                      <a:pt x="126" y="69"/>
                    </a:lnTo>
                    <a:lnTo>
                      <a:pt x="126" y="64"/>
                    </a:lnTo>
                    <a:lnTo>
                      <a:pt x="127" y="63"/>
                    </a:lnTo>
                    <a:lnTo>
                      <a:pt x="129" y="64"/>
                    </a:lnTo>
                    <a:lnTo>
                      <a:pt x="130" y="68"/>
                    </a:lnTo>
                    <a:lnTo>
                      <a:pt x="133" y="71"/>
                    </a:lnTo>
                    <a:lnTo>
                      <a:pt x="136" y="72"/>
                    </a:lnTo>
                    <a:lnTo>
                      <a:pt x="137" y="71"/>
                    </a:lnTo>
                    <a:lnTo>
                      <a:pt x="137" y="67"/>
                    </a:lnTo>
                    <a:lnTo>
                      <a:pt x="138" y="66"/>
                    </a:lnTo>
                    <a:lnTo>
                      <a:pt x="139" y="63"/>
                    </a:lnTo>
                    <a:lnTo>
                      <a:pt x="140" y="62"/>
                    </a:lnTo>
                    <a:lnTo>
                      <a:pt x="140" y="58"/>
                    </a:lnTo>
                    <a:lnTo>
                      <a:pt x="136" y="53"/>
                    </a:lnTo>
                    <a:lnTo>
                      <a:pt x="135" y="50"/>
                    </a:lnTo>
                    <a:lnTo>
                      <a:pt x="136" y="49"/>
                    </a:lnTo>
                    <a:lnTo>
                      <a:pt x="136" y="45"/>
                    </a:lnTo>
                    <a:lnTo>
                      <a:pt x="135" y="40"/>
                    </a:lnTo>
                    <a:lnTo>
                      <a:pt x="136" y="38"/>
                    </a:lnTo>
                    <a:lnTo>
                      <a:pt x="136" y="28"/>
                    </a:lnTo>
                    <a:lnTo>
                      <a:pt x="134" y="26"/>
                    </a:lnTo>
                    <a:lnTo>
                      <a:pt x="133" y="18"/>
                    </a:lnTo>
                    <a:lnTo>
                      <a:pt x="132" y="15"/>
                    </a:lnTo>
                    <a:lnTo>
                      <a:pt x="130" y="15"/>
                    </a:lnTo>
                    <a:lnTo>
                      <a:pt x="127" y="11"/>
                    </a:lnTo>
                    <a:lnTo>
                      <a:pt x="126" y="7"/>
                    </a:lnTo>
                    <a:lnTo>
                      <a:pt x="124" y="6"/>
                    </a:lnTo>
                    <a:lnTo>
                      <a:pt x="126" y="3"/>
                    </a:lnTo>
                    <a:lnTo>
                      <a:pt x="125" y="0"/>
                    </a:lnTo>
                    <a:lnTo>
                      <a:pt x="120" y="4"/>
                    </a:lnTo>
                    <a:lnTo>
                      <a:pt x="121" y="6"/>
                    </a:lnTo>
                    <a:lnTo>
                      <a:pt x="118" y="8"/>
                    </a:lnTo>
                    <a:lnTo>
                      <a:pt x="114" y="6"/>
                    </a:lnTo>
                    <a:lnTo>
                      <a:pt x="112" y="6"/>
                    </a:lnTo>
                    <a:lnTo>
                      <a:pt x="115" y="10"/>
                    </a:lnTo>
                    <a:lnTo>
                      <a:pt x="115" y="12"/>
                    </a:lnTo>
                    <a:lnTo>
                      <a:pt x="118" y="14"/>
                    </a:lnTo>
                    <a:lnTo>
                      <a:pt x="118" y="15"/>
                    </a:lnTo>
                    <a:lnTo>
                      <a:pt x="114" y="19"/>
                    </a:lnTo>
                    <a:lnTo>
                      <a:pt x="114" y="24"/>
                    </a:lnTo>
                    <a:lnTo>
                      <a:pt x="112" y="28"/>
                    </a:lnTo>
                    <a:lnTo>
                      <a:pt x="109" y="27"/>
                    </a:lnTo>
                    <a:lnTo>
                      <a:pt x="106" y="30"/>
                    </a:lnTo>
                    <a:lnTo>
                      <a:pt x="105" y="33"/>
                    </a:lnTo>
                    <a:lnTo>
                      <a:pt x="104" y="34"/>
                    </a:lnTo>
                    <a:lnTo>
                      <a:pt x="102" y="33"/>
                    </a:lnTo>
                    <a:lnTo>
                      <a:pt x="101" y="29"/>
                    </a:lnTo>
                    <a:lnTo>
                      <a:pt x="100" y="28"/>
                    </a:lnTo>
                    <a:lnTo>
                      <a:pt x="97" y="31"/>
                    </a:lnTo>
                    <a:lnTo>
                      <a:pt x="97" y="35"/>
                    </a:lnTo>
                    <a:lnTo>
                      <a:pt x="101" y="39"/>
                    </a:lnTo>
                    <a:lnTo>
                      <a:pt x="102" y="40"/>
                    </a:lnTo>
                    <a:lnTo>
                      <a:pt x="100" y="42"/>
                    </a:lnTo>
                    <a:lnTo>
                      <a:pt x="98" y="41"/>
                    </a:lnTo>
                    <a:lnTo>
                      <a:pt x="94" y="42"/>
                    </a:lnTo>
                    <a:lnTo>
                      <a:pt x="95" y="46"/>
                    </a:lnTo>
                    <a:lnTo>
                      <a:pt x="99" y="47"/>
                    </a:lnTo>
                    <a:lnTo>
                      <a:pt x="99" y="49"/>
                    </a:lnTo>
                    <a:lnTo>
                      <a:pt x="98" y="50"/>
                    </a:lnTo>
                    <a:lnTo>
                      <a:pt x="96" y="49"/>
                    </a:lnTo>
                    <a:lnTo>
                      <a:pt x="93" y="50"/>
                    </a:lnTo>
                    <a:lnTo>
                      <a:pt x="92" y="51"/>
                    </a:lnTo>
                    <a:lnTo>
                      <a:pt x="87" y="55"/>
                    </a:lnTo>
                    <a:lnTo>
                      <a:pt x="87" y="51"/>
                    </a:lnTo>
                    <a:lnTo>
                      <a:pt x="88" y="50"/>
                    </a:lnTo>
                    <a:lnTo>
                      <a:pt x="86" y="49"/>
                    </a:lnTo>
                    <a:lnTo>
                      <a:pt x="83" y="51"/>
                    </a:lnTo>
                    <a:lnTo>
                      <a:pt x="85" y="52"/>
                    </a:lnTo>
                    <a:lnTo>
                      <a:pt x="84" y="54"/>
                    </a:lnTo>
                    <a:lnTo>
                      <a:pt x="81" y="56"/>
                    </a:lnTo>
                    <a:lnTo>
                      <a:pt x="82" y="60"/>
                    </a:lnTo>
                    <a:lnTo>
                      <a:pt x="84" y="61"/>
                    </a:lnTo>
                    <a:lnTo>
                      <a:pt x="84" y="63"/>
                    </a:lnTo>
                    <a:lnTo>
                      <a:pt x="82" y="63"/>
                    </a:lnTo>
                    <a:lnTo>
                      <a:pt x="79" y="65"/>
                    </a:lnTo>
                    <a:lnTo>
                      <a:pt x="79" y="63"/>
                    </a:lnTo>
                    <a:lnTo>
                      <a:pt x="77" y="62"/>
                    </a:lnTo>
                    <a:lnTo>
                      <a:pt x="79" y="60"/>
                    </a:lnTo>
                    <a:lnTo>
                      <a:pt x="77" y="58"/>
                    </a:lnTo>
                    <a:lnTo>
                      <a:pt x="70" y="64"/>
                    </a:lnTo>
                    <a:lnTo>
                      <a:pt x="69" y="69"/>
                    </a:lnTo>
                    <a:lnTo>
                      <a:pt x="70" y="71"/>
                    </a:lnTo>
                    <a:lnTo>
                      <a:pt x="69" y="73"/>
                    </a:lnTo>
                    <a:lnTo>
                      <a:pt x="66" y="72"/>
                    </a:lnTo>
                    <a:lnTo>
                      <a:pt x="65" y="71"/>
                    </a:lnTo>
                    <a:lnTo>
                      <a:pt x="65" y="67"/>
                    </a:lnTo>
                    <a:lnTo>
                      <a:pt x="63" y="67"/>
                    </a:lnTo>
                    <a:lnTo>
                      <a:pt x="60" y="71"/>
                    </a:lnTo>
                    <a:lnTo>
                      <a:pt x="55" y="68"/>
                    </a:lnTo>
                    <a:lnTo>
                      <a:pt x="54" y="69"/>
                    </a:lnTo>
                    <a:lnTo>
                      <a:pt x="52" y="70"/>
                    </a:lnTo>
                    <a:lnTo>
                      <a:pt x="53" y="74"/>
                    </a:lnTo>
                    <a:lnTo>
                      <a:pt x="51" y="73"/>
                    </a:lnTo>
                    <a:lnTo>
                      <a:pt x="50" y="74"/>
                    </a:lnTo>
                    <a:lnTo>
                      <a:pt x="50" y="71"/>
                    </a:lnTo>
                    <a:lnTo>
                      <a:pt x="48" y="71"/>
                    </a:lnTo>
                    <a:lnTo>
                      <a:pt x="46" y="73"/>
                    </a:lnTo>
                    <a:lnTo>
                      <a:pt x="44" y="71"/>
                    </a:lnTo>
                    <a:lnTo>
                      <a:pt x="37" y="77"/>
                    </a:lnTo>
                    <a:lnTo>
                      <a:pt x="35" y="77"/>
                    </a:lnTo>
                    <a:lnTo>
                      <a:pt x="34" y="76"/>
                    </a:lnTo>
                    <a:lnTo>
                      <a:pt x="30" y="76"/>
                    </a:lnTo>
                    <a:lnTo>
                      <a:pt x="28" y="78"/>
                    </a:lnTo>
                    <a:lnTo>
                      <a:pt x="29" y="84"/>
                    </a:lnTo>
                    <a:lnTo>
                      <a:pt x="23" y="93"/>
                    </a:lnTo>
                    <a:lnTo>
                      <a:pt x="23" y="93"/>
                    </a:lnTo>
                    <a:lnTo>
                      <a:pt x="19" y="99"/>
                    </a:lnTo>
                    <a:lnTo>
                      <a:pt x="19" y="101"/>
                    </a:lnTo>
                    <a:lnTo>
                      <a:pt x="21" y="104"/>
                    </a:lnTo>
                    <a:lnTo>
                      <a:pt x="19" y="107"/>
                    </a:lnTo>
                    <a:lnTo>
                      <a:pt x="20" y="113"/>
                    </a:lnTo>
                    <a:lnTo>
                      <a:pt x="20" y="116"/>
                    </a:lnTo>
                    <a:lnTo>
                      <a:pt x="25" y="126"/>
                    </a:lnTo>
                    <a:lnTo>
                      <a:pt x="25" y="129"/>
                    </a:lnTo>
                    <a:lnTo>
                      <a:pt x="28" y="132"/>
                    </a:lnTo>
                    <a:lnTo>
                      <a:pt x="28" y="134"/>
                    </a:lnTo>
                    <a:lnTo>
                      <a:pt x="25" y="136"/>
                    </a:lnTo>
                    <a:lnTo>
                      <a:pt x="26" y="138"/>
                    </a:lnTo>
                    <a:lnTo>
                      <a:pt x="25" y="147"/>
                    </a:lnTo>
                    <a:lnTo>
                      <a:pt x="21" y="149"/>
                    </a:lnTo>
                    <a:lnTo>
                      <a:pt x="20" y="154"/>
                    </a:lnTo>
                    <a:lnTo>
                      <a:pt x="18" y="154"/>
                    </a:lnTo>
                    <a:lnTo>
                      <a:pt x="17" y="157"/>
                    </a:lnTo>
                    <a:lnTo>
                      <a:pt x="14" y="159"/>
                    </a:lnTo>
                    <a:lnTo>
                      <a:pt x="13" y="166"/>
                    </a:lnTo>
                    <a:lnTo>
                      <a:pt x="11" y="169"/>
                    </a:lnTo>
                    <a:lnTo>
                      <a:pt x="5" y="170"/>
                    </a:lnTo>
                    <a:lnTo>
                      <a:pt x="4" y="172"/>
                    </a:lnTo>
                    <a:lnTo>
                      <a:pt x="5" y="178"/>
                    </a:lnTo>
                    <a:lnTo>
                      <a:pt x="0" y="181"/>
                    </a:lnTo>
                    <a:lnTo>
                      <a:pt x="1" y="186"/>
                    </a:lnTo>
                    <a:lnTo>
                      <a:pt x="0" y="189"/>
                    </a:lnTo>
                    <a:lnTo>
                      <a:pt x="0" y="191"/>
                    </a:lnTo>
                    <a:lnTo>
                      <a:pt x="1" y="197"/>
                    </a:lnTo>
                    <a:lnTo>
                      <a:pt x="6" y="202"/>
                    </a:lnTo>
                    <a:lnTo>
                      <a:pt x="5" y="206"/>
                    </a:lnTo>
                    <a:lnTo>
                      <a:pt x="6" y="208"/>
                    </a:lnTo>
                    <a:lnTo>
                      <a:pt x="8" y="210"/>
                    </a:lnTo>
                    <a:lnTo>
                      <a:pt x="9" y="209"/>
                    </a:lnTo>
                    <a:lnTo>
                      <a:pt x="8" y="211"/>
                    </a:lnTo>
                    <a:lnTo>
                      <a:pt x="4" y="212"/>
                    </a:lnTo>
                    <a:lnTo>
                      <a:pt x="5" y="215"/>
                    </a:lnTo>
                    <a:lnTo>
                      <a:pt x="5" y="221"/>
                    </a:lnTo>
                    <a:lnTo>
                      <a:pt x="5" y="228"/>
                    </a:lnTo>
                    <a:lnTo>
                      <a:pt x="6" y="230"/>
                    </a:lnTo>
                    <a:lnTo>
                      <a:pt x="6" y="232"/>
                    </a:lnTo>
                    <a:lnTo>
                      <a:pt x="8" y="234"/>
                    </a:lnTo>
                    <a:lnTo>
                      <a:pt x="11" y="237"/>
                    </a:lnTo>
                    <a:lnTo>
                      <a:pt x="13" y="238"/>
                    </a:lnTo>
                    <a:lnTo>
                      <a:pt x="15" y="241"/>
                    </a:lnTo>
                    <a:lnTo>
                      <a:pt x="17" y="244"/>
                    </a:lnTo>
                    <a:lnTo>
                      <a:pt x="19" y="243"/>
                    </a:lnTo>
                    <a:lnTo>
                      <a:pt x="20" y="244"/>
                    </a:lnTo>
                    <a:lnTo>
                      <a:pt x="23" y="244"/>
                    </a:lnTo>
                    <a:lnTo>
                      <a:pt x="26" y="248"/>
                    </a:lnTo>
                    <a:lnTo>
                      <a:pt x="29" y="248"/>
                    </a:lnTo>
                    <a:lnTo>
                      <a:pt x="29" y="250"/>
                    </a:lnTo>
                    <a:lnTo>
                      <a:pt x="30" y="251"/>
                    </a:lnTo>
                    <a:lnTo>
                      <a:pt x="30" y="251"/>
                    </a:lnTo>
                    <a:lnTo>
                      <a:pt x="30" y="251"/>
                    </a:lnTo>
                    <a:close/>
                    <a:moveTo>
                      <a:pt x="109" y="18"/>
                    </a:moveTo>
                    <a:lnTo>
                      <a:pt x="109" y="16"/>
                    </a:lnTo>
                    <a:lnTo>
                      <a:pt x="112" y="13"/>
                    </a:lnTo>
                    <a:lnTo>
                      <a:pt x="112" y="14"/>
                    </a:lnTo>
                    <a:lnTo>
                      <a:pt x="109" y="18"/>
                    </a:lnTo>
                    <a:lnTo>
                      <a:pt x="109" y="18"/>
                    </a:lnTo>
                    <a:lnTo>
                      <a:pt x="109" y="18"/>
                    </a:lnTo>
                    <a:close/>
                    <a:moveTo>
                      <a:pt x="108" y="23"/>
                    </a:moveTo>
                    <a:lnTo>
                      <a:pt x="109" y="22"/>
                    </a:lnTo>
                    <a:lnTo>
                      <a:pt x="109" y="24"/>
                    </a:lnTo>
                    <a:lnTo>
                      <a:pt x="109" y="25"/>
                    </a:lnTo>
                    <a:lnTo>
                      <a:pt x="108" y="23"/>
                    </a:lnTo>
                    <a:lnTo>
                      <a:pt x="108" y="23"/>
                    </a:lnTo>
                    <a:lnTo>
                      <a:pt x="108" y="23"/>
                    </a:lnTo>
                    <a:close/>
                    <a:moveTo>
                      <a:pt x="103" y="22"/>
                    </a:moveTo>
                    <a:lnTo>
                      <a:pt x="104" y="22"/>
                    </a:lnTo>
                    <a:lnTo>
                      <a:pt x="104" y="22"/>
                    </a:lnTo>
                    <a:lnTo>
                      <a:pt x="105" y="24"/>
                    </a:lnTo>
                    <a:lnTo>
                      <a:pt x="105" y="27"/>
                    </a:lnTo>
                    <a:lnTo>
                      <a:pt x="104" y="25"/>
                    </a:lnTo>
                    <a:lnTo>
                      <a:pt x="101" y="25"/>
                    </a:lnTo>
                    <a:lnTo>
                      <a:pt x="103" y="22"/>
                    </a:lnTo>
                    <a:lnTo>
                      <a:pt x="103" y="22"/>
                    </a:lnTo>
                    <a:lnTo>
                      <a:pt x="103" y="22"/>
                    </a:lnTo>
                    <a:close/>
                    <a:moveTo>
                      <a:pt x="127" y="93"/>
                    </a:moveTo>
                    <a:lnTo>
                      <a:pt x="127" y="91"/>
                    </a:lnTo>
                    <a:lnTo>
                      <a:pt x="127" y="89"/>
                    </a:lnTo>
                    <a:lnTo>
                      <a:pt x="129" y="87"/>
                    </a:lnTo>
                    <a:lnTo>
                      <a:pt x="130" y="87"/>
                    </a:lnTo>
                    <a:lnTo>
                      <a:pt x="131" y="85"/>
                    </a:lnTo>
                    <a:lnTo>
                      <a:pt x="130" y="88"/>
                    </a:lnTo>
                    <a:lnTo>
                      <a:pt x="129" y="90"/>
                    </a:lnTo>
                    <a:lnTo>
                      <a:pt x="127" y="93"/>
                    </a:lnTo>
                    <a:lnTo>
                      <a:pt x="127" y="93"/>
                    </a:lnTo>
                    <a:close/>
                  </a:path>
                </a:pathLst>
              </a:custGeom>
              <a:solidFill>
                <a:schemeClr val="accent4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607" name="Freeform 411"/>
              <p:cNvSpPr>
                <a:spLocks noEditPoints="1"/>
              </p:cNvSpPr>
              <p:nvPr userDrawn="1"/>
            </p:nvSpPr>
            <p:spPr bwMode="auto">
              <a:xfrm>
                <a:off x="3755" y="3327"/>
                <a:ext cx="298" cy="245"/>
              </a:xfrm>
              <a:custGeom>
                <a:avLst/>
                <a:gdLst>
                  <a:gd name="T0" fmla="*/ 5 w 298"/>
                  <a:gd name="T1" fmla="*/ 116 h 245"/>
                  <a:gd name="T2" fmla="*/ 15 w 298"/>
                  <a:gd name="T3" fmla="*/ 119 h 245"/>
                  <a:gd name="T4" fmla="*/ 34 w 298"/>
                  <a:gd name="T5" fmla="*/ 127 h 245"/>
                  <a:gd name="T6" fmla="*/ 45 w 298"/>
                  <a:gd name="T7" fmla="*/ 128 h 245"/>
                  <a:gd name="T8" fmla="*/ 53 w 298"/>
                  <a:gd name="T9" fmla="*/ 120 h 245"/>
                  <a:gd name="T10" fmla="*/ 74 w 298"/>
                  <a:gd name="T11" fmla="*/ 58 h 245"/>
                  <a:gd name="T12" fmla="*/ 78 w 298"/>
                  <a:gd name="T13" fmla="*/ 86 h 245"/>
                  <a:gd name="T14" fmla="*/ 98 w 298"/>
                  <a:gd name="T15" fmla="*/ 84 h 245"/>
                  <a:gd name="T16" fmla="*/ 116 w 298"/>
                  <a:gd name="T17" fmla="*/ 73 h 245"/>
                  <a:gd name="T18" fmla="*/ 136 w 298"/>
                  <a:gd name="T19" fmla="*/ 64 h 245"/>
                  <a:gd name="T20" fmla="*/ 155 w 298"/>
                  <a:gd name="T21" fmla="*/ 67 h 245"/>
                  <a:gd name="T22" fmla="*/ 170 w 298"/>
                  <a:gd name="T23" fmla="*/ 67 h 245"/>
                  <a:gd name="T24" fmla="*/ 171 w 298"/>
                  <a:gd name="T25" fmla="*/ 54 h 245"/>
                  <a:gd name="T26" fmla="*/ 184 w 298"/>
                  <a:gd name="T27" fmla="*/ 47 h 245"/>
                  <a:gd name="T28" fmla="*/ 191 w 298"/>
                  <a:gd name="T29" fmla="*/ 40 h 245"/>
                  <a:gd name="T30" fmla="*/ 198 w 298"/>
                  <a:gd name="T31" fmla="*/ 24 h 245"/>
                  <a:gd name="T32" fmla="*/ 208 w 298"/>
                  <a:gd name="T33" fmla="*/ 18 h 245"/>
                  <a:gd name="T34" fmla="*/ 221 w 298"/>
                  <a:gd name="T35" fmla="*/ 12 h 245"/>
                  <a:gd name="T36" fmla="*/ 231 w 298"/>
                  <a:gd name="T37" fmla="*/ 6 h 245"/>
                  <a:gd name="T38" fmla="*/ 247 w 298"/>
                  <a:gd name="T39" fmla="*/ 0 h 245"/>
                  <a:gd name="T40" fmla="*/ 260 w 298"/>
                  <a:gd name="T41" fmla="*/ 6 h 245"/>
                  <a:gd name="T42" fmla="*/ 278 w 298"/>
                  <a:gd name="T43" fmla="*/ 14 h 245"/>
                  <a:gd name="T44" fmla="*/ 281 w 298"/>
                  <a:gd name="T45" fmla="*/ 35 h 245"/>
                  <a:gd name="T46" fmla="*/ 282 w 298"/>
                  <a:gd name="T47" fmla="*/ 66 h 245"/>
                  <a:gd name="T48" fmla="*/ 268 w 298"/>
                  <a:gd name="T49" fmla="*/ 68 h 245"/>
                  <a:gd name="T50" fmla="*/ 264 w 298"/>
                  <a:gd name="T51" fmla="*/ 87 h 245"/>
                  <a:gd name="T52" fmla="*/ 283 w 298"/>
                  <a:gd name="T53" fmla="*/ 91 h 245"/>
                  <a:gd name="T54" fmla="*/ 298 w 298"/>
                  <a:gd name="T55" fmla="*/ 87 h 245"/>
                  <a:gd name="T56" fmla="*/ 294 w 298"/>
                  <a:gd name="T57" fmla="*/ 104 h 245"/>
                  <a:gd name="T58" fmla="*/ 281 w 298"/>
                  <a:gd name="T59" fmla="*/ 127 h 245"/>
                  <a:gd name="T60" fmla="*/ 269 w 298"/>
                  <a:gd name="T61" fmla="*/ 136 h 245"/>
                  <a:gd name="T62" fmla="*/ 257 w 298"/>
                  <a:gd name="T63" fmla="*/ 149 h 245"/>
                  <a:gd name="T64" fmla="*/ 236 w 298"/>
                  <a:gd name="T65" fmla="*/ 179 h 245"/>
                  <a:gd name="T66" fmla="*/ 208 w 298"/>
                  <a:gd name="T67" fmla="*/ 203 h 245"/>
                  <a:gd name="T68" fmla="*/ 186 w 298"/>
                  <a:gd name="T69" fmla="*/ 219 h 245"/>
                  <a:gd name="T70" fmla="*/ 169 w 298"/>
                  <a:gd name="T71" fmla="*/ 223 h 245"/>
                  <a:gd name="T72" fmla="*/ 159 w 298"/>
                  <a:gd name="T73" fmla="*/ 231 h 245"/>
                  <a:gd name="T74" fmla="*/ 144 w 298"/>
                  <a:gd name="T75" fmla="*/ 234 h 245"/>
                  <a:gd name="T76" fmla="*/ 118 w 298"/>
                  <a:gd name="T77" fmla="*/ 231 h 245"/>
                  <a:gd name="T78" fmla="*/ 98 w 298"/>
                  <a:gd name="T79" fmla="*/ 232 h 245"/>
                  <a:gd name="T80" fmla="*/ 90 w 298"/>
                  <a:gd name="T81" fmla="*/ 237 h 245"/>
                  <a:gd name="T82" fmla="*/ 72 w 298"/>
                  <a:gd name="T83" fmla="*/ 238 h 245"/>
                  <a:gd name="T84" fmla="*/ 57 w 298"/>
                  <a:gd name="T85" fmla="*/ 244 h 245"/>
                  <a:gd name="T86" fmla="*/ 40 w 298"/>
                  <a:gd name="T87" fmla="*/ 235 h 245"/>
                  <a:gd name="T88" fmla="*/ 33 w 298"/>
                  <a:gd name="T89" fmla="*/ 231 h 245"/>
                  <a:gd name="T90" fmla="*/ 28 w 298"/>
                  <a:gd name="T91" fmla="*/ 229 h 245"/>
                  <a:gd name="T92" fmla="*/ 20 w 298"/>
                  <a:gd name="T93" fmla="*/ 207 h 245"/>
                  <a:gd name="T94" fmla="*/ 28 w 298"/>
                  <a:gd name="T95" fmla="*/ 200 h 245"/>
                  <a:gd name="T96" fmla="*/ 22 w 298"/>
                  <a:gd name="T97" fmla="*/ 173 h 245"/>
                  <a:gd name="T98" fmla="*/ 7 w 298"/>
                  <a:gd name="T99" fmla="*/ 131 h 245"/>
                  <a:gd name="T100" fmla="*/ 0 w 298"/>
                  <a:gd name="T101" fmla="*/ 122 h 245"/>
                  <a:gd name="T102" fmla="*/ 208 w 298"/>
                  <a:gd name="T103" fmla="*/ 162 h 245"/>
                  <a:gd name="T104" fmla="*/ 218 w 298"/>
                  <a:gd name="T105" fmla="*/ 152 h 245"/>
                  <a:gd name="T106" fmla="*/ 226 w 298"/>
                  <a:gd name="T107" fmla="*/ 146 h 245"/>
                  <a:gd name="T108" fmla="*/ 229 w 298"/>
                  <a:gd name="T109" fmla="*/ 128 h 245"/>
                  <a:gd name="T110" fmla="*/ 217 w 298"/>
                  <a:gd name="T111" fmla="*/ 124 h 245"/>
                  <a:gd name="T112" fmla="*/ 203 w 298"/>
                  <a:gd name="T113" fmla="*/ 129 h 245"/>
                  <a:gd name="T114" fmla="*/ 191 w 298"/>
                  <a:gd name="T115" fmla="*/ 146 h 245"/>
                  <a:gd name="T116" fmla="*/ 196 w 298"/>
                  <a:gd name="T117" fmla="*/ 156 h 2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8" h="245">
                    <a:moveTo>
                      <a:pt x="0" y="122"/>
                    </a:moveTo>
                    <a:lnTo>
                      <a:pt x="3" y="120"/>
                    </a:lnTo>
                    <a:lnTo>
                      <a:pt x="7" y="119"/>
                    </a:lnTo>
                    <a:lnTo>
                      <a:pt x="7" y="117"/>
                    </a:lnTo>
                    <a:lnTo>
                      <a:pt x="5" y="116"/>
                    </a:lnTo>
                    <a:lnTo>
                      <a:pt x="7" y="113"/>
                    </a:lnTo>
                    <a:lnTo>
                      <a:pt x="12" y="111"/>
                    </a:lnTo>
                    <a:lnTo>
                      <a:pt x="14" y="115"/>
                    </a:lnTo>
                    <a:lnTo>
                      <a:pt x="17" y="115"/>
                    </a:lnTo>
                    <a:lnTo>
                      <a:pt x="15" y="119"/>
                    </a:lnTo>
                    <a:lnTo>
                      <a:pt x="18" y="124"/>
                    </a:lnTo>
                    <a:lnTo>
                      <a:pt x="25" y="126"/>
                    </a:lnTo>
                    <a:lnTo>
                      <a:pt x="29" y="127"/>
                    </a:lnTo>
                    <a:lnTo>
                      <a:pt x="32" y="126"/>
                    </a:lnTo>
                    <a:lnTo>
                      <a:pt x="34" y="127"/>
                    </a:lnTo>
                    <a:lnTo>
                      <a:pt x="36" y="127"/>
                    </a:lnTo>
                    <a:lnTo>
                      <a:pt x="38" y="126"/>
                    </a:lnTo>
                    <a:lnTo>
                      <a:pt x="41" y="126"/>
                    </a:lnTo>
                    <a:lnTo>
                      <a:pt x="42" y="129"/>
                    </a:lnTo>
                    <a:lnTo>
                      <a:pt x="45" y="128"/>
                    </a:lnTo>
                    <a:lnTo>
                      <a:pt x="47" y="129"/>
                    </a:lnTo>
                    <a:lnTo>
                      <a:pt x="47" y="126"/>
                    </a:lnTo>
                    <a:lnTo>
                      <a:pt x="49" y="124"/>
                    </a:lnTo>
                    <a:lnTo>
                      <a:pt x="51" y="123"/>
                    </a:lnTo>
                    <a:lnTo>
                      <a:pt x="53" y="120"/>
                    </a:lnTo>
                    <a:lnTo>
                      <a:pt x="57" y="117"/>
                    </a:lnTo>
                    <a:lnTo>
                      <a:pt x="63" y="118"/>
                    </a:lnTo>
                    <a:lnTo>
                      <a:pt x="65" y="118"/>
                    </a:lnTo>
                    <a:lnTo>
                      <a:pt x="68" y="53"/>
                    </a:lnTo>
                    <a:lnTo>
                      <a:pt x="74" y="58"/>
                    </a:lnTo>
                    <a:lnTo>
                      <a:pt x="76" y="62"/>
                    </a:lnTo>
                    <a:lnTo>
                      <a:pt x="80" y="72"/>
                    </a:lnTo>
                    <a:lnTo>
                      <a:pt x="80" y="78"/>
                    </a:lnTo>
                    <a:lnTo>
                      <a:pt x="78" y="83"/>
                    </a:lnTo>
                    <a:lnTo>
                      <a:pt x="78" y="86"/>
                    </a:lnTo>
                    <a:lnTo>
                      <a:pt x="82" y="85"/>
                    </a:lnTo>
                    <a:lnTo>
                      <a:pt x="87" y="86"/>
                    </a:lnTo>
                    <a:lnTo>
                      <a:pt x="91" y="85"/>
                    </a:lnTo>
                    <a:lnTo>
                      <a:pt x="95" y="86"/>
                    </a:lnTo>
                    <a:lnTo>
                      <a:pt x="98" y="84"/>
                    </a:lnTo>
                    <a:lnTo>
                      <a:pt x="101" y="83"/>
                    </a:lnTo>
                    <a:lnTo>
                      <a:pt x="105" y="81"/>
                    </a:lnTo>
                    <a:lnTo>
                      <a:pt x="106" y="79"/>
                    </a:lnTo>
                    <a:lnTo>
                      <a:pt x="113" y="76"/>
                    </a:lnTo>
                    <a:lnTo>
                      <a:pt x="116" y="73"/>
                    </a:lnTo>
                    <a:lnTo>
                      <a:pt x="119" y="65"/>
                    </a:lnTo>
                    <a:lnTo>
                      <a:pt x="123" y="61"/>
                    </a:lnTo>
                    <a:lnTo>
                      <a:pt x="128" y="61"/>
                    </a:lnTo>
                    <a:lnTo>
                      <a:pt x="134" y="61"/>
                    </a:lnTo>
                    <a:lnTo>
                      <a:pt x="136" y="64"/>
                    </a:lnTo>
                    <a:lnTo>
                      <a:pt x="139" y="64"/>
                    </a:lnTo>
                    <a:lnTo>
                      <a:pt x="145" y="68"/>
                    </a:lnTo>
                    <a:lnTo>
                      <a:pt x="148" y="67"/>
                    </a:lnTo>
                    <a:lnTo>
                      <a:pt x="151" y="68"/>
                    </a:lnTo>
                    <a:lnTo>
                      <a:pt x="155" y="67"/>
                    </a:lnTo>
                    <a:lnTo>
                      <a:pt x="160" y="67"/>
                    </a:lnTo>
                    <a:lnTo>
                      <a:pt x="163" y="67"/>
                    </a:lnTo>
                    <a:lnTo>
                      <a:pt x="164" y="69"/>
                    </a:lnTo>
                    <a:lnTo>
                      <a:pt x="166" y="70"/>
                    </a:lnTo>
                    <a:lnTo>
                      <a:pt x="170" y="67"/>
                    </a:lnTo>
                    <a:lnTo>
                      <a:pt x="169" y="66"/>
                    </a:lnTo>
                    <a:lnTo>
                      <a:pt x="170" y="62"/>
                    </a:lnTo>
                    <a:lnTo>
                      <a:pt x="170" y="61"/>
                    </a:lnTo>
                    <a:lnTo>
                      <a:pt x="172" y="59"/>
                    </a:lnTo>
                    <a:lnTo>
                      <a:pt x="171" y="54"/>
                    </a:lnTo>
                    <a:lnTo>
                      <a:pt x="173" y="51"/>
                    </a:lnTo>
                    <a:lnTo>
                      <a:pt x="177" y="50"/>
                    </a:lnTo>
                    <a:lnTo>
                      <a:pt x="180" y="49"/>
                    </a:lnTo>
                    <a:lnTo>
                      <a:pt x="182" y="48"/>
                    </a:lnTo>
                    <a:lnTo>
                      <a:pt x="184" y="47"/>
                    </a:lnTo>
                    <a:lnTo>
                      <a:pt x="185" y="46"/>
                    </a:lnTo>
                    <a:lnTo>
                      <a:pt x="186" y="43"/>
                    </a:lnTo>
                    <a:lnTo>
                      <a:pt x="187" y="41"/>
                    </a:lnTo>
                    <a:lnTo>
                      <a:pt x="190" y="41"/>
                    </a:lnTo>
                    <a:lnTo>
                      <a:pt x="191" y="40"/>
                    </a:lnTo>
                    <a:lnTo>
                      <a:pt x="193" y="40"/>
                    </a:lnTo>
                    <a:lnTo>
                      <a:pt x="193" y="37"/>
                    </a:lnTo>
                    <a:lnTo>
                      <a:pt x="192" y="35"/>
                    </a:lnTo>
                    <a:lnTo>
                      <a:pt x="193" y="31"/>
                    </a:lnTo>
                    <a:lnTo>
                      <a:pt x="198" y="24"/>
                    </a:lnTo>
                    <a:lnTo>
                      <a:pt x="201" y="23"/>
                    </a:lnTo>
                    <a:lnTo>
                      <a:pt x="203" y="22"/>
                    </a:lnTo>
                    <a:lnTo>
                      <a:pt x="204" y="21"/>
                    </a:lnTo>
                    <a:lnTo>
                      <a:pt x="207" y="20"/>
                    </a:lnTo>
                    <a:lnTo>
                      <a:pt x="208" y="18"/>
                    </a:lnTo>
                    <a:lnTo>
                      <a:pt x="209" y="18"/>
                    </a:lnTo>
                    <a:lnTo>
                      <a:pt x="211" y="16"/>
                    </a:lnTo>
                    <a:lnTo>
                      <a:pt x="215" y="12"/>
                    </a:lnTo>
                    <a:lnTo>
                      <a:pt x="219" y="12"/>
                    </a:lnTo>
                    <a:lnTo>
                      <a:pt x="221" y="12"/>
                    </a:lnTo>
                    <a:lnTo>
                      <a:pt x="222" y="12"/>
                    </a:lnTo>
                    <a:lnTo>
                      <a:pt x="226" y="12"/>
                    </a:lnTo>
                    <a:lnTo>
                      <a:pt x="228" y="10"/>
                    </a:lnTo>
                    <a:lnTo>
                      <a:pt x="230" y="9"/>
                    </a:lnTo>
                    <a:lnTo>
                      <a:pt x="231" y="6"/>
                    </a:lnTo>
                    <a:lnTo>
                      <a:pt x="231" y="4"/>
                    </a:lnTo>
                    <a:lnTo>
                      <a:pt x="233" y="3"/>
                    </a:lnTo>
                    <a:lnTo>
                      <a:pt x="236" y="2"/>
                    </a:lnTo>
                    <a:lnTo>
                      <a:pt x="238" y="1"/>
                    </a:lnTo>
                    <a:lnTo>
                      <a:pt x="247" y="0"/>
                    </a:lnTo>
                    <a:lnTo>
                      <a:pt x="251" y="1"/>
                    </a:lnTo>
                    <a:lnTo>
                      <a:pt x="251" y="3"/>
                    </a:lnTo>
                    <a:lnTo>
                      <a:pt x="254" y="3"/>
                    </a:lnTo>
                    <a:lnTo>
                      <a:pt x="258" y="5"/>
                    </a:lnTo>
                    <a:lnTo>
                      <a:pt x="260" y="6"/>
                    </a:lnTo>
                    <a:lnTo>
                      <a:pt x="263" y="5"/>
                    </a:lnTo>
                    <a:lnTo>
                      <a:pt x="268" y="4"/>
                    </a:lnTo>
                    <a:lnTo>
                      <a:pt x="273" y="5"/>
                    </a:lnTo>
                    <a:lnTo>
                      <a:pt x="277" y="8"/>
                    </a:lnTo>
                    <a:lnTo>
                      <a:pt x="278" y="14"/>
                    </a:lnTo>
                    <a:lnTo>
                      <a:pt x="279" y="18"/>
                    </a:lnTo>
                    <a:lnTo>
                      <a:pt x="281" y="22"/>
                    </a:lnTo>
                    <a:lnTo>
                      <a:pt x="282" y="31"/>
                    </a:lnTo>
                    <a:lnTo>
                      <a:pt x="281" y="32"/>
                    </a:lnTo>
                    <a:lnTo>
                      <a:pt x="281" y="35"/>
                    </a:lnTo>
                    <a:lnTo>
                      <a:pt x="283" y="39"/>
                    </a:lnTo>
                    <a:lnTo>
                      <a:pt x="284" y="42"/>
                    </a:lnTo>
                    <a:lnTo>
                      <a:pt x="284" y="56"/>
                    </a:lnTo>
                    <a:lnTo>
                      <a:pt x="282" y="61"/>
                    </a:lnTo>
                    <a:lnTo>
                      <a:pt x="282" y="66"/>
                    </a:lnTo>
                    <a:lnTo>
                      <a:pt x="282" y="73"/>
                    </a:lnTo>
                    <a:lnTo>
                      <a:pt x="279" y="71"/>
                    </a:lnTo>
                    <a:lnTo>
                      <a:pt x="276" y="69"/>
                    </a:lnTo>
                    <a:lnTo>
                      <a:pt x="272" y="66"/>
                    </a:lnTo>
                    <a:lnTo>
                      <a:pt x="268" y="68"/>
                    </a:lnTo>
                    <a:lnTo>
                      <a:pt x="268" y="71"/>
                    </a:lnTo>
                    <a:lnTo>
                      <a:pt x="263" y="80"/>
                    </a:lnTo>
                    <a:lnTo>
                      <a:pt x="261" y="83"/>
                    </a:lnTo>
                    <a:lnTo>
                      <a:pt x="262" y="86"/>
                    </a:lnTo>
                    <a:lnTo>
                      <a:pt x="264" y="87"/>
                    </a:lnTo>
                    <a:lnTo>
                      <a:pt x="267" y="91"/>
                    </a:lnTo>
                    <a:lnTo>
                      <a:pt x="272" y="95"/>
                    </a:lnTo>
                    <a:lnTo>
                      <a:pt x="279" y="95"/>
                    </a:lnTo>
                    <a:lnTo>
                      <a:pt x="282" y="94"/>
                    </a:lnTo>
                    <a:lnTo>
                      <a:pt x="283" y="91"/>
                    </a:lnTo>
                    <a:lnTo>
                      <a:pt x="283" y="88"/>
                    </a:lnTo>
                    <a:lnTo>
                      <a:pt x="285" y="86"/>
                    </a:lnTo>
                    <a:lnTo>
                      <a:pt x="288" y="86"/>
                    </a:lnTo>
                    <a:lnTo>
                      <a:pt x="294" y="87"/>
                    </a:lnTo>
                    <a:lnTo>
                      <a:pt x="298" y="87"/>
                    </a:lnTo>
                    <a:lnTo>
                      <a:pt x="298" y="88"/>
                    </a:lnTo>
                    <a:lnTo>
                      <a:pt x="295" y="91"/>
                    </a:lnTo>
                    <a:lnTo>
                      <a:pt x="297" y="91"/>
                    </a:lnTo>
                    <a:lnTo>
                      <a:pt x="294" y="98"/>
                    </a:lnTo>
                    <a:lnTo>
                      <a:pt x="294" y="104"/>
                    </a:lnTo>
                    <a:lnTo>
                      <a:pt x="292" y="108"/>
                    </a:lnTo>
                    <a:lnTo>
                      <a:pt x="290" y="116"/>
                    </a:lnTo>
                    <a:lnTo>
                      <a:pt x="287" y="119"/>
                    </a:lnTo>
                    <a:lnTo>
                      <a:pt x="286" y="122"/>
                    </a:lnTo>
                    <a:lnTo>
                      <a:pt x="281" y="127"/>
                    </a:lnTo>
                    <a:lnTo>
                      <a:pt x="279" y="127"/>
                    </a:lnTo>
                    <a:lnTo>
                      <a:pt x="278" y="129"/>
                    </a:lnTo>
                    <a:lnTo>
                      <a:pt x="274" y="131"/>
                    </a:lnTo>
                    <a:lnTo>
                      <a:pt x="272" y="133"/>
                    </a:lnTo>
                    <a:lnTo>
                      <a:pt x="269" y="136"/>
                    </a:lnTo>
                    <a:lnTo>
                      <a:pt x="266" y="140"/>
                    </a:lnTo>
                    <a:lnTo>
                      <a:pt x="263" y="144"/>
                    </a:lnTo>
                    <a:lnTo>
                      <a:pt x="263" y="146"/>
                    </a:lnTo>
                    <a:lnTo>
                      <a:pt x="261" y="149"/>
                    </a:lnTo>
                    <a:lnTo>
                      <a:pt x="257" y="149"/>
                    </a:lnTo>
                    <a:lnTo>
                      <a:pt x="254" y="155"/>
                    </a:lnTo>
                    <a:lnTo>
                      <a:pt x="247" y="167"/>
                    </a:lnTo>
                    <a:lnTo>
                      <a:pt x="241" y="172"/>
                    </a:lnTo>
                    <a:lnTo>
                      <a:pt x="240" y="177"/>
                    </a:lnTo>
                    <a:lnTo>
                      <a:pt x="236" y="179"/>
                    </a:lnTo>
                    <a:lnTo>
                      <a:pt x="233" y="183"/>
                    </a:lnTo>
                    <a:lnTo>
                      <a:pt x="231" y="183"/>
                    </a:lnTo>
                    <a:lnTo>
                      <a:pt x="230" y="184"/>
                    </a:lnTo>
                    <a:lnTo>
                      <a:pt x="211" y="202"/>
                    </a:lnTo>
                    <a:lnTo>
                      <a:pt x="208" y="203"/>
                    </a:lnTo>
                    <a:lnTo>
                      <a:pt x="209" y="204"/>
                    </a:lnTo>
                    <a:lnTo>
                      <a:pt x="206" y="207"/>
                    </a:lnTo>
                    <a:lnTo>
                      <a:pt x="193" y="214"/>
                    </a:lnTo>
                    <a:lnTo>
                      <a:pt x="190" y="217"/>
                    </a:lnTo>
                    <a:lnTo>
                      <a:pt x="186" y="219"/>
                    </a:lnTo>
                    <a:lnTo>
                      <a:pt x="186" y="220"/>
                    </a:lnTo>
                    <a:lnTo>
                      <a:pt x="179" y="222"/>
                    </a:lnTo>
                    <a:lnTo>
                      <a:pt x="175" y="224"/>
                    </a:lnTo>
                    <a:lnTo>
                      <a:pt x="171" y="225"/>
                    </a:lnTo>
                    <a:lnTo>
                      <a:pt x="169" y="223"/>
                    </a:lnTo>
                    <a:lnTo>
                      <a:pt x="164" y="223"/>
                    </a:lnTo>
                    <a:lnTo>
                      <a:pt x="159" y="225"/>
                    </a:lnTo>
                    <a:lnTo>
                      <a:pt x="157" y="228"/>
                    </a:lnTo>
                    <a:lnTo>
                      <a:pt x="160" y="230"/>
                    </a:lnTo>
                    <a:lnTo>
                      <a:pt x="159" y="231"/>
                    </a:lnTo>
                    <a:lnTo>
                      <a:pt x="153" y="232"/>
                    </a:lnTo>
                    <a:lnTo>
                      <a:pt x="149" y="230"/>
                    </a:lnTo>
                    <a:lnTo>
                      <a:pt x="146" y="229"/>
                    </a:lnTo>
                    <a:lnTo>
                      <a:pt x="143" y="232"/>
                    </a:lnTo>
                    <a:lnTo>
                      <a:pt x="144" y="234"/>
                    </a:lnTo>
                    <a:lnTo>
                      <a:pt x="143" y="235"/>
                    </a:lnTo>
                    <a:lnTo>
                      <a:pt x="135" y="233"/>
                    </a:lnTo>
                    <a:lnTo>
                      <a:pt x="132" y="232"/>
                    </a:lnTo>
                    <a:lnTo>
                      <a:pt x="123" y="229"/>
                    </a:lnTo>
                    <a:lnTo>
                      <a:pt x="118" y="231"/>
                    </a:lnTo>
                    <a:lnTo>
                      <a:pt x="118" y="232"/>
                    </a:lnTo>
                    <a:lnTo>
                      <a:pt x="115" y="233"/>
                    </a:lnTo>
                    <a:lnTo>
                      <a:pt x="111" y="231"/>
                    </a:lnTo>
                    <a:lnTo>
                      <a:pt x="101" y="231"/>
                    </a:lnTo>
                    <a:lnTo>
                      <a:pt x="98" y="232"/>
                    </a:lnTo>
                    <a:lnTo>
                      <a:pt x="98" y="235"/>
                    </a:lnTo>
                    <a:lnTo>
                      <a:pt x="95" y="234"/>
                    </a:lnTo>
                    <a:lnTo>
                      <a:pt x="93" y="235"/>
                    </a:lnTo>
                    <a:lnTo>
                      <a:pt x="91" y="235"/>
                    </a:lnTo>
                    <a:lnTo>
                      <a:pt x="90" y="237"/>
                    </a:lnTo>
                    <a:lnTo>
                      <a:pt x="85" y="237"/>
                    </a:lnTo>
                    <a:lnTo>
                      <a:pt x="82" y="238"/>
                    </a:lnTo>
                    <a:lnTo>
                      <a:pt x="78" y="236"/>
                    </a:lnTo>
                    <a:lnTo>
                      <a:pt x="73" y="237"/>
                    </a:lnTo>
                    <a:lnTo>
                      <a:pt x="72" y="238"/>
                    </a:lnTo>
                    <a:lnTo>
                      <a:pt x="67" y="237"/>
                    </a:lnTo>
                    <a:lnTo>
                      <a:pt x="63" y="242"/>
                    </a:lnTo>
                    <a:lnTo>
                      <a:pt x="60" y="242"/>
                    </a:lnTo>
                    <a:lnTo>
                      <a:pt x="58" y="245"/>
                    </a:lnTo>
                    <a:lnTo>
                      <a:pt x="57" y="244"/>
                    </a:lnTo>
                    <a:lnTo>
                      <a:pt x="56" y="245"/>
                    </a:lnTo>
                    <a:lnTo>
                      <a:pt x="46" y="241"/>
                    </a:lnTo>
                    <a:lnTo>
                      <a:pt x="44" y="242"/>
                    </a:lnTo>
                    <a:lnTo>
                      <a:pt x="44" y="237"/>
                    </a:lnTo>
                    <a:lnTo>
                      <a:pt x="40" y="235"/>
                    </a:lnTo>
                    <a:lnTo>
                      <a:pt x="37" y="237"/>
                    </a:lnTo>
                    <a:lnTo>
                      <a:pt x="36" y="236"/>
                    </a:lnTo>
                    <a:lnTo>
                      <a:pt x="37" y="235"/>
                    </a:lnTo>
                    <a:lnTo>
                      <a:pt x="36" y="232"/>
                    </a:lnTo>
                    <a:lnTo>
                      <a:pt x="33" y="231"/>
                    </a:lnTo>
                    <a:lnTo>
                      <a:pt x="30" y="234"/>
                    </a:lnTo>
                    <a:lnTo>
                      <a:pt x="30" y="236"/>
                    </a:lnTo>
                    <a:lnTo>
                      <a:pt x="27" y="235"/>
                    </a:lnTo>
                    <a:lnTo>
                      <a:pt x="27" y="232"/>
                    </a:lnTo>
                    <a:lnTo>
                      <a:pt x="28" y="229"/>
                    </a:lnTo>
                    <a:lnTo>
                      <a:pt x="28" y="224"/>
                    </a:lnTo>
                    <a:lnTo>
                      <a:pt x="30" y="220"/>
                    </a:lnTo>
                    <a:lnTo>
                      <a:pt x="27" y="214"/>
                    </a:lnTo>
                    <a:lnTo>
                      <a:pt x="23" y="212"/>
                    </a:lnTo>
                    <a:lnTo>
                      <a:pt x="20" y="207"/>
                    </a:lnTo>
                    <a:lnTo>
                      <a:pt x="20" y="202"/>
                    </a:lnTo>
                    <a:lnTo>
                      <a:pt x="22" y="201"/>
                    </a:lnTo>
                    <a:lnTo>
                      <a:pt x="24" y="202"/>
                    </a:lnTo>
                    <a:lnTo>
                      <a:pt x="26" y="202"/>
                    </a:lnTo>
                    <a:lnTo>
                      <a:pt x="28" y="200"/>
                    </a:lnTo>
                    <a:lnTo>
                      <a:pt x="30" y="194"/>
                    </a:lnTo>
                    <a:lnTo>
                      <a:pt x="27" y="189"/>
                    </a:lnTo>
                    <a:lnTo>
                      <a:pt x="28" y="186"/>
                    </a:lnTo>
                    <a:lnTo>
                      <a:pt x="22" y="177"/>
                    </a:lnTo>
                    <a:lnTo>
                      <a:pt x="22" y="173"/>
                    </a:lnTo>
                    <a:lnTo>
                      <a:pt x="17" y="168"/>
                    </a:lnTo>
                    <a:lnTo>
                      <a:pt x="14" y="157"/>
                    </a:lnTo>
                    <a:lnTo>
                      <a:pt x="11" y="148"/>
                    </a:lnTo>
                    <a:lnTo>
                      <a:pt x="11" y="142"/>
                    </a:lnTo>
                    <a:lnTo>
                      <a:pt x="7" y="131"/>
                    </a:lnTo>
                    <a:lnTo>
                      <a:pt x="1" y="127"/>
                    </a:lnTo>
                    <a:lnTo>
                      <a:pt x="0" y="122"/>
                    </a:lnTo>
                    <a:lnTo>
                      <a:pt x="0" y="122"/>
                    </a:lnTo>
                    <a:lnTo>
                      <a:pt x="0" y="122"/>
                    </a:lnTo>
                    <a:lnTo>
                      <a:pt x="0" y="122"/>
                    </a:lnTo>
                    <a:close/>
                    <a:moveTo>
                      <a:pt x="196" y="156"/>
                    </a:moveTo>
                    <a:lnTo>
                      <a:pt x="199" y="158"/>
                    </a:lnTo>
                    <a:lnTo>
                      <a:pt x="201" y="161"/>
                    </a:lnTo>
                    <a:lnTo>
                      <a:pt x="205" y="162"/>
                    </a:lnTo>
                    <a:lnTo>
                      <a:pt x="208" y="162"/>
                    </a:lnTo>
                    <a:lnTo>
                      <a:pt x="209" y="160"/>
                    </a:lnTo>
                    <a:lnTo>
                      <a:pt x="210" y="159"/>
                    </a:lnTo>
                    <a:lnTo>
                      <a:pt x="212" y="154"/>
                    </a:lnTo>
                    <a:lnTo>
                      <a:pt x="215" y="153"/>
                    </a:lnTo>
                    <a:lnTo>
                      <a:pt x="218" y="152"/>
                    </a:lnTo>
                    <a:lnTo>
                      <a:pt x="221" y="151"/>
                    </a:lnTo>
                    <a:lnTo>
                      <a:pt x="223" y="152"/>
                    </a:lnTo>
                    <a:lnTo>
                      <a:pt x="227" y="150"/>
                    </a:lnTo>
                    <a:lnTo>
                      <a:pt x="228" y="148"/>
                    </a:lnTo>
                    <a:lnTo>
                      <a:pt x="226" y="146"/>
                    </a:lnTo>
                    <a:lnTo>
                      <a:pt x="226" y="144"/>
                    </a:lnTo>
                    <a:lnTo>
                      <a:pt x="229" y="142"/>
                    </a:lnTo>
                    <a:lnTo>
                      <a:pt x="232" y="139"/>
                    </a:lnTo>
                    <a:lnTo>
                      <a:pt x="232" y="135"/>
                    </a:lnTo>
                    <a:lnTo>
                      <a:pt x="229" y="128"/>
                    </a:lnTo>
                    <a:lnTo>
                      <a:pt x="225" y="126"/>
                    </a:lnTo>
                    <a:lnTo>
                      <a:pt x="222" y="126"/>
                    </a:lnTo>
                    <a:lnTo>
                      <a:pt x="220" y="125"/>
                    </a:lnTo>
                    <a:lnTo>
                      <a:pt x="219" y="125"/>
                    </a:lnTo>
                    <a:lnTo>
                      <a:pt x="217" y="124"/>
                    </a:lnTo>
                    <a:lnTo>
                      <a:pt x="214" y="124"/>
                    </a:lnTo>
                    <a:lnTo>
                      <a:pt x="213" y="125"/>
                    </a:lnTo>
                    <a:lnTo>
                      <a:pt x="211" y="126"/>
                    </a:lnTo>
                    <a:lnTo>
                      <a:pt x="209" y="128"/>
                    </a:lnTo>
                    <a:lnTo>
                      <a:pt x="203" y="129"/>
                    </a:lnTo>
                    <a:lnTo>
                      <a:pt x="199" y="132"/>
                    </a:lnTo>
                    <a:lnTo>
                      <a:pt x="197" y="137"/>
                    </a:lnTo>
                    <a:lnTo>
                      <a:pt x="192" y="141"/>
                    </a:lnTo>
                    <a:lnTo>
                      <a:pt x="189" y="143"/>
                    </a:lnTo>
                    <a:lnTo>
                      <a:pt x="191" y="146"/>
                    </a:lnTo>
                    <a:lnTo>
                      <a:pt x="193" y="148"/>
                    </a:lnTo>
                    <a:lnTo>
                      <a:pt x="194" y="149"/>
                    </a:lnTo>
                    <a:lnTo>
                      <a:pt x="196" y="152"/>
                    </a:lnTo>
                    <a:lnTo>
                      <a:pt x="196" y="156"/>
                    </a:lnTo>
                    <a:lnTo>
                      <a:pt x="196" y="156"/>
                    </a:lnTo>
                    <a:close/>
                  </a:path>
                </a:pathLst>
              </a:custGeom>
              <a:solidFill>
                <a:srgbClr val="65625E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608" name="Freeform 412"/>
              <p:cNvSpPr>
                <a:spLocks/>
              </p:cNvSpPr>
              <p:nvPr userDrawn="1"/>
            </p:nvSpPr>
            <p:spPr bwMode="auto">
              <a:xfrm>
                <a:off x="3244" y="1559"/>
                <a:ext cx="5" cy="2"/>
              </a:xfrm>
              <a:custGeom>
                <a:avLst/>
                <a:gdLst>
                  <a:gd name="T0" fmla="*/ 0 w 5"/>
                  <a:gd name="T1" fmla="*/ 2 h 2"/>
                  <a:gd name="T2" fmla="*/ 2 w 5"/>
                  <a:gd name="T3" fmla="*/ 0 h 2"/>
                  <a:gd name="T4" fmla="*/ 5 w 5"/>
                  <a:gd name="T5" fmla="*/ 2 h 2"/>
                  <a:gd name="T6" fmla="*/ 0 w 5"/>
                  <a:gd name="T7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" h="2">
                    <a:moveTo>
                      <a:pt x="0" y="2"/>
                    </a:moveTo>
                    <a:lnTo>
                      <a:pt x="2" y="0"/>
                    </a:lnTo>
                    <a:lnTo>
                      <a:pt x="5" y="2"/>
                    </a:lnTo>
                    <a:lnTo>
                      <a:pt x="0" y="2"/>
                    </a:lnTo>
                    <a:close/>
                  </a:path>
                </a:pathLst>
              </a:custGeom>
              <a:solidFill>
                <a:srgbClr val="65625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609" name="Freeform 413"/>
              <p:cNvSpPr>
                <a:spLocks/>
              </p:cNvSpPr>
              <p:nvPr userDrawn="1"/>
            </p:nvSpPr>
            <p:spPr bwMode="auto">
              <a:xfrm>
                <a:off x="3244" y="1559"/>
                <a:ext cx="5" cy="2"/>
              </a:xfrm>
              <a:custGeom>
                <a:avLst/>
                <a:gdLst>
                  <a:gd name="T0" fmla="*/ 0 w 5"/>
                  <a:gd name="T1" fmla="*/ 2 h 2"/>
                  <a:gd name="T2" fmla="*/ 2 w 5"/>
                  <a:gd name="T3" fmla="*/ 0 h 2"/>
                  <a:gd name="T4" fmla="*/ 5 w 5"/>
                  <a:gd name="T5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" h="2">
                    <a:moveTo>
                      <a:pt x="0" y="2"/>
                    </a:moveTo>
                    <a:lnTo>
                      <a:pt x="2" y="0"/>
                    </a:lnTo>
                    <a:lnTo>
                      <a:pt x="5" y="2"/>
                    </a:lnTo>
                  </a:path>
                </a:pathLst>
              </a:custGeom>
              <a:noFill/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610" name="Freeform 414"/>
              <p:cNvSpPr>
                <a:spLocks noEditPoints="1"/>
              </p:cNvSpPr>
              <p:nvPr userDrawn="1"/>
            </p:nvSpPr>
            <p:spPr bwMode="auto">
              <a:xfrm>
                <a:off x="1214" y="673"/>
                <a:ext cx="1597" cy="1428"/>
              </a:xfrm>
              <a:custGeom>
                <a:avLst/>
                <a:gdLst>
                  <a:gd name="T0" fmla="*/ 1222 w 1671"/>
                  <a:gd name="T1" fmla="*/ 104 h 1494"/>
                  <a:gd name="T2" fmla="*/ 1224 w 1671"/>
                  <a:gd name="T3" fmla="*/ 253 h 1494"/>
                  <a:gd name="T4" fmla="*/ 1220 w 1671"/>
                  <a:gd name="T5" fmla="*/ 279 h 1494"/>
                  <a:gd name="T6" fmla="*/ 1304 w 1671"/>
                  <a:gd name="T7" fmla="*/ 174 h 1494"/>
                  <a:gd name="T8" fmla="*/ 1308 w 1671"/>
                  <a:gd name="T9" fmla="*/ 100 h 1494"/>
                  <a:gd name="T10" fmla="*/ 1412 w 1671"/>
                  <a:gd name="T11" fmla="*/ 44 h 1494"/>
                  <a:gd name="T12" fmla="*/ 1643 w 1671"/>
                  <a:gd name="T13" fmla="*/ 57 h 1494"/>
                  <a:gd name="T14" fmla="*/ 1432 w 1671"/>
                  <a:gd name="T15" fmla="*/ 214 h 1494"/>
                  <a:gd name="T16" fmla="*/ 1286 w 1671"/>
                  <a:gd name="T17" fmla="*/ 311 h 1494"/>
                  <a:gd name="T18" fmla="*/ 1335 w 1671"/>
                  <a:gd name="T19" fmla="*/ 697 h 1494"/>
                  <a:gd name="T20" fmla="*/ 1171 w 1671"/>
                  <a:gd name="T21" fmla="*/ 290 h 1494"/>
                  <a:gd name="T22" fmla="*/ 1046 w 1671"/>
                  <a:gd name="T23" fmla="*/ 198 h 1494"/>
                  <a:gd name="T24" fmla="*/ 872 w 1671"/>
                  <a:gd name="T25" fmla="*/ 182 h 1494"/>
                  <a:gd name="T26" fmla="*/ 1140 w 1671"/>
                  <a:gd name="T27" fmla="*/ 330 h 1494"/>
                  <a:gd name="T28" fmla="*/ 1184 w 1671"/>
                  <a:gd name="T29" fmla="*/ 452 h 1494"/>
                  <a:gd name="T30" fmla="*/ 719 w 1671"/>
                  <a:gd name="T31" fmla="*/ 240 h 1494"/>
                  <a:gd name="T32" fmla="*/ 1038 w 1671"/>
                  <a:gd name="T33" fmla="*/ 373 h 1494"/>
                  <a:gd name="T34" fmla="*/ 963 w 1671"/>
                  <a:gd name="T35" fmla="*/ 329 h 1494"/>
                  <a:gd name="T36" fmla="*/ 927 w 1671"/>
                  <a:gd name="T37" fmla="*/ 341 h 1494"/>
                  <a:gd name="T38" fmla="*/ 874 w 1671"/>
                  <a:gd name="T39" fmla="*/ 291 h 1494"/>
                  <a:gd name="T40" fmla="*/ 631 w 1671"/>
                  <a:gd name="T41" fmla="*/ 323 h 1494"/>
                  <a:gd name="T42" fmla="*/ 899 w 1671"/>
                  <a:gd name="T43" fmla="*/ 467 h 1494"/>
                  <a:gd name="T44" fmla="*/ 961 w 1671"/>
                  <a:gd name="T45" fmla="*/ 488 h 1494"/>
                  <a:gd name="T46" fmla="*/ 1204 w 1671"/>
                  <a:gd name="T47" fmla="*/ 519 h 1494"/>
                  <a:gd name="T48" fmla="*/ 1154 w 1671"/>
                  <a:gd name="T49" fmla="*/ 671 h 1494"/>
                  <a:gd name="T50" fmla="*/ 829 w 1671"/>
                  <a:gd name="T51" fmla="*/ 682 h 1494"/>
                  <a:gd name="T52" fmla="*/ 816 w 1671"/>
                  <a:gd name="T53" fmla="*/ 503 h 1494"/>
                  <a:gd name="T54" fmla="*/ 702 w 1671"/>
                  <a:gd name="T55" fmla="*/ 402 h 1494"/>
                  <a:gd name="T56" fmla="*/ 615 w 1671"/>
                  <a:gd name="T57" fmla="*/ 599 h 1494"/>
                  <a:gd name="T58" fmla="*/ 791 w 1671"/>
                  <a:gd name="T59" fmla="*/ 642 h 1494"/>
                  <a:gd name="T60" fmla="*/ 1202 w 1671"/>
                  <a:gd name="T61" fmla="*/ 898 h 1494"/>
                  <a:gd name="T62" fmla="*/ 1217 w 1671"/>
                  <a:gd name="T63" fmla="*/ 710 h 1494"/>
                  <a:gd name="T64" fmla="*/ 1049 w 1671"/>
                  <a:gd name="T65" fmla="*/ 624 h 1494"/>
                  <a:gd name="T66" fmla="*/ 1121 w 1671"/>
                  <a:gd name="T67" fmla="*/ 553 h 1494"/>
                  <a:gd name="T68" fmla="*/ 1247 w 1671"/>
                  <a:gd name="T69" fmla="*/ 555 h 1494"/>
                  <a:gd name="T70" fmla="*/ 1285 w 1671"/>
                  <a:gd name="T71" fmla="*/ 661 h 1494"/>
                  <a:gd name="T72" fmla="*/ 1324 w 1671"/>
                  <a:gd name="T73" fmla="*/ 729 h 1494"/>
                  <a:gd name="T74" fmla="*/ 1388 w 1671"/>
                  <a:gd name="T75" fmla="*/ 818 h 1494"/>
                  <a:gd name="T76" fmla="*/ 1329 w 1671"/>
                  <a:gd name="T77" fmla="*/ 823 h 1494"/>
                  <a:gd name="T78" fmla="*/ 1294 w 1671"/>
                  <a:gd name="T79" fmla="*/ 936 h 1494"/>
                  <a:gd name="T80" fmla="*/ 1048 w 1671"/>
                  <a:gd name="T81" fmla="*/ 856 h 1494"/>
                  <a:gd name="T82" fmla="*/ 1227 w 1671"/>
                  <a:gd name="T83" fmla="*/ 1017 h 1494"/>
                  <a:gd name="T84" fmla="*/ 994 w 1671"/>
                  <a:gd name="T85" fmla="*/ 1131 h 1494"/>
                  <a:gd name="T86" fmla="*/ 1323 w 1671"/>
                  <a:gd name="T87" fmla="*/ 1371 h 1494"/>
                  <a:gd name="T88" fmla="*/ 1413 w 1671"/>
                  <a:gd name="T89" fmla="*/ 1372 h 1494"/>
                  <a:gd name="T90" fmla="*/ 1379 w 1671"/>
                  <a:gd name="T91" fmla="*/ 1284 h 1494"/>
                  <a:gd name="T92" fmla="*/ 154 w 1671"/>
                  <a:gd name="T93" fmla="*/ 1237 h 1494"/>
                  <a:gd name="T94" fmla="*/ 89 w 1671"/>
                  <a:gd name="T95" fmla="*/ 1109 h 1494"/>
                  <a:gd name="T96" fmla="*/ 284 w 1671"/>
                  <a:gd name="T97" fmla="*/ 516 h 1494"/>
                  <a:gd name="T98" fmla="*/ 120 w 1671"/>
                  <a:gd name="T99" fmla="*/ 1131 h 1494"/>
                  <a:gd name="T100" fmla="*/ 294 w 1671"/>
                  <a:gd name="T101" fmla="*/ 534 h 1494"/>
                  <a:gd name="T102" fmla="*/ 486 w 1671"/>
                  <a:gd name="T103" fmla="*/ 539 h 1494"/>
                  <a:gd name="T104" fmla="*/ 734 w 1671"/>
                  <a:gd name="T105" fmla="*/ 633 h 1494"/>
                  <a:gd name="T106" fmla="*/ 872 w 1671"/>
                  <a:gd name="T107" fmla="*/ 723 h 1494"/>
                  <a:gd name="T108" fmla="*/ 978 w 1671"/>
                  <a:gd name="T109" fmla="*/ 611 h 1494"/>
                  <a:gd name="T110" fmla="*/ 1119 w 1671"/>
                  <a:gd name="T111" fmla="*/ 684 h 1494"/>
                  <a:gd name="T112" fmla="*/ 938 w 1671"/>
                  <a:gd name="T113" fmla="*/ 853 h 1494"/>
                  <a:gd name="T114" fmla="*/ 775 w 1671"/>
                  <a:gd name="T115" fmla="*/ 1081 h 1494"/>
                  <a:gd name="T116" fmla="*/ 1067 w 1671"/>
                  <a:gd name="T117" fmla="*/ 1024 h 1494"/>
                  <a:gd name="T118" fmla="*/ 1273 w 1671"/>
                  <a:gd name="T119" fmla="*/ 1034 h 1494"/>
                  <a:gd name="T120" fmla="*/ 1356 w 1671"/>
                  <a:gd name="T121" fmla="*/ 1191 h 1494"/>
                  <a:gd name="T122" fmla="*/ 1192 w 1671"/>
                  <a:gd name="T123" fmla="*/ 1300 h 1494"/>
                  <a:gd name="T124" fmla="*/ 1218 w 1671"/>
                  <a:gd name="T125" fmla="*/ 1426 h 14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671" h="1494">
                    <a:moveTo>
                      <a:pt x="1209" y="263"/>
                    </a:moveTo>
                    <a:cubicBezTo>
                      <a:pt x="1211" y="260"/>
                      <a:pt x="1211" y="260"/>
                      <a:pt x="1211" y="260"/>
                    </a:cubicBezTo>
                    <a:cubicBezTo>
                      <a:pt x="1213" y="256"/>
                      <a:pt x="1213" y="256"/>
                      <a:pt x="1213" y="256"/>
                    </a:cubicBezTo>
                    <a:cubicBezTo>
                      <a:pt x="1219" y="250"/>
                      <a:pt x="1219" y="250"/>
                      <a:pt x="1219" y="250"/>
                    </a:cubicBezTo>
                    <a:cubicBezTo>
                      <a:pt x="1222" y="241"/>
                      <a:pt x="1222" y="241"/>
                      <a:pt x="1222" y="241"/>
                    </a:cubicBezTo>
                    <a:cubicBezTo>
                      <a:pt x="1224" y="240"/>
                      <a:pt x="1224" y="240"/>
                      <a:pt x="1224" y="240"/>
                    </a:cubicBezTo>
                    <a:cubicBezTo>
                      <a:pt x="1225" y="243"/>
                      <a:pt x="1225" y="243"/>
                      <a:pt x="1225" y="243"/>
                    </a:cubicBezTo>
                    <a:cubicBezTo>
                      <a:pt x="1223" y="247"/>
                      <a:pt x="1223" y="247"/>
                      <a:pt x="1223" y="247"/>
                    </a:cubicBezTo>
                    <a:cubicBezTo>
                      <a:pt x="1223" y="249"/>
                      <a:pt x="1223" y="249"/>
                      <a:pt x="1223" y="249"/>
                    </a:cubicBezTo>
                    <a:cubicBezTo>
                      <a:pt x="1226" y="250"/>
                      <a:pt x="1226" y="250"/>
                      <a:pt x="1226" y="250"/>
                    </a:cubicBezTo>
                    <a:cubicBezTo>
                      <a:pt x="1230" y="246"/>
                      <a:pt x="1230" y="246"/>
                      <a:pt x="1230" y="246"/>
                    </a:cubicBezTo>
                    <a:cubicBezTo>
                      <a:pt x="1234" y="244"/>
                      <a:pt x="1234" y="244"/>
                      <a:pt x="1234" y="244"/>
                    </a:cubicBezTo>
                    <a:cubicBezTo>
                      <a:pt x="1233" y="240"/>
                      <a:pt x="1233" y="240"/>
                      <a:pt x="1233" y="240"/>
                    </a:cubicBezTo>
                    <a:cubicBezTo>
                      <a:pt x="1230" y="240"/>
                      <a:pt x="1230" y="240"/>
                      <a:pt x="1230" y="240"/>
                    </a:cubicBezTo>
                    <a:cubicBezTo>
                      <a:pt x="1230" y="238"/>
                      <a:pt x="1230" y="238"/>
                      <a:pt x="1230" y="238"/>
                    </a:cubicBezTo>
                    <a:cubicBezTo>
                      <a:pt x="1234" y="237"/>
                      <a:pt x="1234" y="237"/>
                      <a:pt x="1234" y="237"/>
                    </a:cubicBezTo>
                    <a:cubicBezTo>
                      <a:pt x="1234" y="232"/>
                      <a:pt x="1234" y="232"/>
                      <a:pt x="1234" y="232"/>
                    </a:cubicBezTo>
                    <a:cubicBezTo>
                      <a:pt x="1232" y="230"/>
                      <a:pt x="1232" y="230"/>
                      <a:pt x="1232" y="230"/>
                    </a:cubicBezTo>
                    <a:cubicBezTo>
                      <a:pt x="1232" y="226"/>
                      <a:pt x="1232" y="226"/>
                      <a:pt x="1232" y="226"/>
                    </a:cubicBezTo>
                    <a:cubicBezTo>
                      <a:pt x="1237" y="223"/>
                      <a:pt x="1237" y="223"/>
                      <a:pt x="1237" y="223"/>
                    </a:cubicBezTo>
                    <a:cubicBezTo>
                      <a:pt x="1239" y="216"/>
                      <a:pt x="1239" y="216"/>
                      <a:pt x="1239" y="216"/>
                    </a:cubicBezTo>
                    <a:cubicBezTo>
                      <a:pt x="1243" y="215"/>
                      <a:pt x="1243" y="215"/>
                      <a:pt x="1243" y="215"/>
                    </a:cubicBezTo>
                    <a:cubicBezTo>
                      <a:pt x="1245" y="212"/>
                      <a:pt x="1245" y="212"/>
                      <a:pt x="1245" y="212"/>
                    </a:cubicBezTo>
                    <a:cubicBezTo>
                      <a:pt x="1244" y="216"/>
                      <a:pt x="1244" y="216"/>
                      <a:pt x="1244" y="216"/>
                    </a:cubicBezTo>
                    <a:cubicBezTo>
                      <a:pt x="1245" y="218"/>
                      <a:pt x="1245" y="218"/>
                      <a:pt x="1245" y="218"/>
                    </a:cubicBezTo>
                    <a:cubicBezTo>
                      <a:pt x="1242" y="218"/>
                      <a:pt x="1242" y="218"/>
                      <a:pt x="1242" y="218"/>
                    </a:cubicBezTo>
                    <a:cubicBezTo>
                      <a:pt x="1240" y="224"/>
                      <a:pt x="1240" y="224"/>
                      <a:pt x="1240" y="224"/>
                    </a:cubicBezTo>
                    <a:cubicBezTo>
                      <a:pt x="1236" y="229"/>
                      <a:pt x="1236" y="229"/>
                      <a:pt x="1236" y="229"/>
                    </a:cubicBezTo>
                    <a:cubicBezTo>
                      <a:pt x="1236" y="234"/>
                      <a:pt x="1236" y="234"/>
                      <a:pt x="1236" y="234"/>
                    </a:cubicBezTo>
                    <a:cubicBezTo>
                      <a:pt x="1237" y="237"/>
                      <a:pt x="1237" y="237"/>
                      <a:pt x="1237" y="237"/>
                    </a:cubicBezTo>
                    <a:cubicBezTo>
                      <a:pt x="1239" y="241"/>
                      <a:pt x="1239" y="241"/>
                      <a:pt x="1239" y="241"/>
                    </a:cubicBezTo>
                    <a:cubicBezTo>
                      <a:pt x="1241" y="239"/>
                      <a:pt x="1241" y="239"/>
                      <a:pt x="1241" y="239"/>
                    </a:cubicBezTo>
                    <a:cubicBezTo>
                      <a:pt x="1244" y="233"/>
                      <a:pt x="1244" y="233"/>
                      <a:pt x="1244" y="233"/>
                    </a:cubicBezTo>
                    <a:cubicBezTo>
                      <a:pt x="1251" y="227"/>
                      <a:pt x="1251" y="227"/>
                      <a:pt x="1251" y="227"/>
                    </a:cubicBezTo>
                    <a:cubicBezTo>
                      <a:pt x="1253" y="223"/>
                      <a:pt x="1253" y="223"/>
                      <a:pt x="1253" y="223"/>
                    </a:cubicBezTo>
                    <a:cubicBezTo>
                      <a:pt x="1253" y="219"/>
                      <a:pt x="1253" y="219"/>
                      <a:pt x="1253" y="219"/>
                    </a:cubicBezTo>
                    <a:cubicBezTo>
                      <a:pt x="1256" y="215"/>
                      <a:pt x="1256" y="215"/>
                      <a:pt x="1256" y="215"/>
                    </a:cubicBezTo>
                    <a:cubicBezTo>
                      <a:pt x="1258" y="214"/>
                      <a:pt x="1258" y="214"/>
                      <a:pt x="1258" y="214"/>
                    </a:cubicBezTo>
                    <a:cubicBezTo>
                      <a:pt x="1259" y="216"/>
                      <a:pt x="1259" y="216"/>
                      <a:pt x="1259" y="216"/>
                    </a:cubicBezTo>
                    <a:cubicBezTo>
                      <a:pt x="1258" y="217"/>
                      <a:pt x="1258" y="217"/>
                      <a:pt x="1258" y="217"/>
                    </a:cubicBezTo>
                    <a:cubicBezTo>
                      <a:pt x="1258" y="222"/>
                      <a:pt x="1258" y="222"/>
                      <a:pt x="1258" y="222"/>
                    </a:cubicBezTo>
                    <a:cubicBezTo>
                      <a:pt x="1261" y="221"/>
                      <a:pt x="1261" y="221"/>
                      <a:pt x="1261" y="221"/>
                    </a:cubicBezTo>
                    <a:cubicBezTo>
                      <a:pt x="1265" y="215"/>
                      <a:pt x="1265" y="215"/>
                      <a:pt x="1265" y="215"/>
                    </a:cubicBezTo>
                    <a:cubicBezTo>
                      <a:pt x="1268" y="215"/>
                      <a:pt x="1268" y="215"/>
                      <a:pt x="1268" y="215"/>
                    </a:cubicBezTo>
                    <a:cubicBezTo>
                      <a:pt x="1274" y="216"/>
                      <a:pt x="1274" y="216"/>
                      <a:pt x="1274" y="216"/>
                    </a:cubicBezTo>
                    <a:cubicBezTo>
                      <a:pt x="1280" y="214"/>
                      <a:pt x="1280" y="214"/>
                      <a:pt x="1280" y="214"/>
                    </a:cubicBezTo>
                    <a:cubicBezTo>
                      <a:pt x="1283" y="214"/>
                      <a:pt x="1283" y="214"/>
                      <a:pt x="1283" y="214"/>
                    </a:cubicBezTo>
                    <a:cubicBezTo>
                      <a:pt x="1286" y="211"/>
                      <a:pt x="1286" y="211"/>
                      <a:pt x="1286" y="211"/>
                    </a:cubicBezTo>
                    <a:cubicBezTo>
                      <a:pt x="1290" y="210"/>
                      <a:pt x="1290" y="210"/>
                      <a:pt x="1290" y="210"/>
                    </a:cubicBezTo>
                    <a:cubicBezTo>
                      <a:pt x="1291" y="206"/>
                      <a:pt x="1291" y="206"/>
                      <a:pt x="1291" y="206"/>
                    </a:cubicBezTo>
                    <a:cubicBezTo>
                      <a:pt x="1291" y="204"/>
                      <a:pt x="1291" y="204"/>
                      <a:pt x="1291" y="204"/>
                    </a:cubicBezTo>
                    <a:cubicBezTo>
                      <a:pt x="1292" y="201"/>
                      <a:pt x="1292" y="201"/>
                      <a:pt x="1292" y="201"/>
                    </a:cubicBezTo>
                    <a:cubicBezTo>
                      <a:pt x="1289" y="199"/>
                      <a:pt x="1289" y="199"/>
                      <a:pt x="1289" y="199"/>
                    </a:cubicBezTo>
                    <a:cubicBezTo>
                      <a:pt x="1291" y="194"/>
                      <a:pt x="1291" y="194"/>
                      <a:pt x="1291" y="194"/>
                    </a:cubicBezTo>
                    <a:cubicBezTo>
                      <a:pt x="1291" y="185"/>
                      <a:pt x="1291" y="185"/>
                      <a:pt x="1291" y="185"/>
                    </a:cubicBezTo>
                    <a:cubicBezTo>
                      <a:pt x="1289" y="186"/>
                      <a:pt x="1289" y="186"/>
                      <a:pt x="1289" y="186"/>
                    </a:cubicBezTo>
                    <a:cubicBezTo>
                      <a:pt x="1287" y="191"/>
                      <a:pt x="1287" y="191"/>
                      <a:pt x="1287" y="191"/>
                    </a:cubicBezTo>
                    <a:cubicBezTo>
                      <a:pt x="1282" y="196"/>
                      <a:pt x="1282" y="196"/>
                      <a:pt x="1282" y="196"/>
                    </a:cubicBezTo>
                    <a:cubicBezTo>
                      <a:pt x="1280" y="196"/>
                      <a:pt x="1280" y="196"/>
                      <a:pt x="1280" y="196"/>
                    </a:cubicBezTo>
                    <a:cubicBezTo>
                      <a:pt x="1280" y="193"/>
                      <a:pt x="1280" y="193"/>
                      <a:pt x="1280" y="193"/>
                    </a:cubicBezTo>
                    <a:cubicBezTo>
                      <a:pt x="1283" y="190"/>
                      <a:pt x="1283" y="190"/>
                      <a:pt x="1283" y="190"/>
                    </a:cubicBezTo>
                    <a:cubicBezTo>
                      <a:pt x="1287" y="188"/>
                      <a:pt x="1287" y="188"/>
                      <a:pt x="1287" y="188"/>
                    </a:cubicBezTo>
                    <a:cubicBezTo>
                      <a:pt x="1287" y="185"/>
                      <a:pt x="1287" y="185"/>
                      <a:pt x="1287" y="185"/>
                    </a:cubicBezTo>
                    <a:cubicBezTo>
                      <a:pt x="1283" y="181"/>
                      <a:pt x="1283" y="181"/>
                      <a:pt x="1283" y="181"/>
                    </a:cubicBezTo>
                    <a:cubicBezTo>
                      <a:pt x="1282" y="178"/>
                      <a:pt x="1282" y="178"/>
                      <a:pt x="1282" y="178"/>
                    </a:cubicBezTo>
                    <a:cubicBezTo>
                      <a:pt x="1280" y="178"/>
                      <a:pt x="1280" y="178"/>
                      <a:pt x="1280" y="178"/>
                    </a:cubicBezTo>
                    <a:cubicBezTo>
                      <a:pt x="1278" y="179"/>
                      <a:pt x="1278" y="179"/>
                      <a:pt x="1278" y="179"/>
                    </a:cubicBezTo>
                    <a:cubicBezTo>
                      <a:pt x="1278" y="182"/>
                      <a:pt x="1278" y="182"/>
                      <a:pt x="1278" y="182"/>
                    </a:cubicBezTo>
                    <a:cubicBezTo>
                      <a:pt x="1275" y="180"/>
                      <a:pt x="1275" y="180"/>
                      <a:pt x="1275" y="180"/>
                    </a:cubicBezTo>
                    <a:cubicBezTo>
                      <a:pt x="1272" y="180"/>
                      <a:pt x="1272" y="180"/>
                      <a:pt x="1272" y="180"/>
                    </a:cubicBezTo>
                    <a:cubicBezTo>
                      <a:pt x="1269" y="182"/>
                      <a:pt x="1269" y="182"/>
                      <a:pt x="1269" y="182"/>
                    </a:cubicBezTo>
                    <a:cubicBezTo>
                      <a:pt x="1266" y="182"/>
                      <a:pt x="1266" y="182"/>
                      <a:pt x="1266" y="182"/>
                    </a:cubicBezTo>
                    <a:cubicBezTo>
                      <a:pt x="1267" y="180"/>
                      <a:pt x="1267" y="180"/>
                      <a:pt x="1267" y="180"/>
                    </a:cubicBezTo>
                    <a:cubicBezTo>
                      <a:pt x="1276" y="176"/>
                      <a:pt x="1276" y="176"/>
                      <a:pt x="1276" y="176"/>
                    </a:cubicBezTo>
                    <a:cubicBezTo>
                      <a:pt x="1280" y="175"/>
                      <a:pt x="1280" y="175"/>
                      <a:pt x="1280" y="175"/>
                    </a:cubicBezTo>
                    <a:cubicBezTo>
                      <a:pt x="1286" y="169"/>
                      <a:pt x="1286" y="169"/>
                      <a:pt x="1286" y="169"/>
                    </a:cubicBezTo>
                    <a:cubicBezTo>
                      <a:pt x="1288" y="167"/>
                      <a:pt x="1288" y="167"/>
                      <a:pt x="1288" y="167"/>
                    </a:cubicBezTo>
                    <a:cubicBezTo>
                      <a:pt x="1292" y="160"/>
                      <a:pt x="1292" y="160"/>
                      <a:pt x="1292" y="160"/>
                    </a:cubicBezTo>
                    <a:cubicBezTo>
                      <a:pt x="1294" y="154"/>
                      <a:pt x="1294" y="154"/>
                      <a:pt x="1294" y="154"/>
                    </a:cubicBezTo>
                    <a:cubicBezTo>
                      <a:pt x="1293" y="153"/>
                      <a:pt x="1293" y="153"/>
                      <a:pt x="1293" y="153"/>
                    </a:cubicBezTo>
                    <a:cubicBezTo>
                      <a:pt x="1290" y="154"/>
                      <a:pt x="1290" y="154"/>
                      <a:pt x="1290" y="154"/>
                    </a:cubicBezTo>
                    <a:cubicBezTo>
                      <a:pt x="1288" y="155"/>
                      <a:pt x="1288" y="155"/>
                      <a:pt x="1288" y="155"/>
                    </a:cubicBezTo>
                    <a:cubicBezTo>
                      <a:pt x="1286" y="153"/>
                      <a:pt x="1286" y="153"/>
                      <a:pt x="1286" y="153"/>
                    </a:cubicBezTo>
                    <a:cubicBezTo>
                      <a:pt x="1288" y="151"/>
                      <a:pt x="1288" y="151"/>
                      <a:pt x="1288" y="151"/>
                    </a:cubicBezTo>
                    <a:cubicBezTo>
                      <a:pt x="1290" y="150"/>
                      <a:pt x="1290" y="150"/>
                      <a:pt x="1290" y="150"/>
                    </a:cubicBezTo>
                    <a:cubicBezTo>
                      <a:pt x="1293" y="150"/>
                      <a:pt x="1293" y="150"/>
                      <a:pt x="1293" y="150"/>
                    </a:cubicBezTo>
                    <a:cubicBezTo>
                      <a:pt x="1295" y="148"/>
                      <a:pt x="1295" y="148"/>
                      <a:pt x="1295" y="148"/>
                    </a:cubicBezTo>
                    <a:cubicBezTo>
                      <a:pt x="1294" y="144"/>
                      <a:pt x="1294" y="144"/>
                      <a:pt x="1294" y="144"/>
                    </a:cubicBezTo>
                    <a:cubicBezTo>
                      <a:pt x="1298" y="140"/>
                      <a:pt x="1298" y="140"/>
                      <a:pt x="1298" y="140"/>
                    </a:cubicBezTo>
                    <a:cubicBezTo>
                      <a:pt x="1298" y="136"/>
                      <a:pt x="1298" y="136"/>
                      <a:pt x="1298" y="136"/>
                    </a:cubicBezTo>
                    <a:cubicBezTo>
                      <a:pt x="1297" y="135"/>
                      <a:pt x="1297" y="135"/>
                      <a:pt x="1297" y="135"/>
                    </a:cubicBezTo>
                    <a:cubicBezTo>
                      <a:pt x="1297" y="132"/>
                      <a:pt x="1297" y="132"/>
                      <a:pt x="1297" y="132"/>
                    </a:cubicBezTo>
                    <a:cubicBezTo>
                      <a:pt x="1294" y="131"/>
                      <a:pt x="1294" y="131"/>
                      <a:pt x="1294" y="131"/>
                    </a:cubicBezTo>
                    <a:cubicBezTo>
                      <a:pt x="1290" y="132"/>
                      <a:pt x="1290" y="132"/>
                      <a:pt x="1290" y="132"/>
                    </a:cubicBezTo>
                    <a:cubicBezTo>
                      <a:pt x="1286" y="140"/>
                      <a:pt x="1286" y="140"/>
                      <a:pt x="1286" y="140"/>
                    </a:cubicBezTo>
                    <a:cubicBezTo>
                      <a:pt x="1285" y="144"/>
                      <a:pt x="1285" y="144"/>
                      <a:pt x="1285" y="144"/>
                    </a:cubicBezTo>
                    <a:cubicBezTo>
                      <a:pt x="1287" y="147"/>
                      <a:pt x="1287" y="147"/>
                      <a:pt x="1287" y="147"/>
                    </a:cubicBezTo>
                    <a:cubicBezTo>
                      <a:pt x="1285" y="150"/>
                      <a:pt x="1285" y="150"/>
                      <a:pt x="1285" y="150"/>
                    </a:cubicBezTo>
                    <a:cubicBezTo>
                      <a:pt x="1283" y="151"/>
                      <a:pt x="1283" y="151"/>
                      <a:pt x="1283" y="151"/>
                    </a:cubicBezTo>
                    <a:cubicBezTo>
                      <a:pt x="1282" y="150"/>
                      <a:pt x="1282" y="150"/>
                      <a:pt x="1282" y="150"/>
                    </a:cubicBezTo>
                    <a:cubicBezTo>
                      <a:pt x="1282" y="148"/>
                      <a:pt x="1282" y="148"/>
                      <a:pt x="1282" y="148"/>
                    </a:cubicBezTo>
                    <a:cubicBezTo>
                      <a:pt x="1281" y="147"/>
                      <a:pt x="1281" y="147"/>
                      <a:pt x="1281" y="147"/>
                    </a:cubicBezTo>
                    <a:cubicBezTo>
                      <a:pt x="1280" y="143"/>
                      <a:pt x="1280" y="143"/>
                      <a:pt x="1280" y="143"/>
                    </a:cubicBezTo>
                    <a:cubicBezTo>
                      <a:pt x="1284" y="137"/>
                      <a:pt x="1284" y="137"/>
                      <a:pt x="1284" y="137"/>
                    </a:cubicBezTo>
                    <a:cubicBezTo>
                      <a:pt x="1283" y="134"/>
                      <a:pt x="1283" y="134"/>
                      <a:pt x="1283" y="134"/>
                    </a:cubicBezTo>
                    <a:cubicBezTo>
                      <a:pt x="1283" y="132"/>
                      <a:pt x="1283" y="132"/>
                      <a:pt x="1283" y="132"/>
                    </a:cubicBezTo>
                    <a:cubicBezTo>
                      <a:pt x="1285" y="133"/>
                      <a:pt x="1285" y="133"/>
                      <a:pt x="1285" y="133"/>
                    </a:cubicBezTo>
                    <a:cubicBezTo>
                      <a:pt x="1288" y="132"/>
                      <a:pt x="1288" y="132"/>
                      <a:pt x="1288" y="132"/>
                    </a:cubicBezTo>
                    <a:cubicBezTo>
                      <a:pt x="1286" y="127"/>
                      <a:pt x="1286" y="127"/>
                      <a:pt x="1286" y="127"/>
                    </a:cubicBezTo>
                    <a:cubicBezTo>
                      <a:pt x="1284" y="123"/>
                      <a:pt x="1284" y="123"/>
                      <a:pt x="1284" y="123"/>
                    </a:cubicBezTo>
                    <a:cubicBezTo>
                      <a:pt x="1281" y="123"/>
                      <a:pt x="1281" y="123"/>
                      <a:pt x="1281" y="123"/>
                    </a:cubicBezTo>
                    <a:cubicBezTo>
                      <a:pt x="1276" y="124"/>
                      <a:pt x="1276" y="124"/>
                      <a:pt x="1276" y="124"/>
                    </a:cubicBezTo>
                    <a:cubicBezTo>
                      <a:pt x="1275" y="128"/>
                      <a:pt x="1275" y="128"/>
                      <a:pt x="1275" y="128"/>
                    </a:cubicBezTo>
                    <a:cubicBezTo>
                      <a:pt x="1274" y="126"/>
                      <a:pt x="1274" y="126"/>
                      <a:pt x="1274" y="126"/>
                    </a:cubicBezTo>
                    <a:cubicBezTo>
                      <a:pt x="1273" y="125"/>
                      <a:pt x="1273" y="125"/>
                      <a:pt x="1273" y="125"/>
                    </a:cubicBezTo>
                    <a:cubicBezTo>
                      <a:pt x="1273" y="119"/>
                      <a:pt x="1273" y="119"/>
                      <a:pt x="1273" y="119"/>
                    </a:cubicBezTo>
                    <a:cubicBezTo>
                      <a:pt x="1271" y="114"/>
                      <a:pt x="1271" y="114"/>
                      <a:pt x="1271" y="114"/>
                    </a:cubicBezTo>
                    <a:cubicBezTo>
                      <a:pt x="1272" y="106"/>
                      <a:pt x="1272" y="106"/>
                      <a:pt x="1272" y="106"/>
                    </a:cubicBezTo>
                    <a:cubicBezTo>
                      <a:pt x="1272" y="101"/>
                      <a:pt x="1272" y="101"/>
                      <a:pt x="1272" y="101"/>
                    </a:cubicBezTo>
                    <a:cubicBezTo>
                      <a:pt x="1274" y="96"/>
                      <a:pt x="1274" y="96"/>
                      <a:pt x="1274" y="96"/>
                    </a:cubicBezTo>
                    <a:cubicBezTo>
                      <a:pt x="1274" y="90"/>
                      <a:pt x="1274" y="90"/>
                      <a:pt x="1274" y="90"/>
                    </a:cubicBezTo>
                    <a:cubicBezTo>
                      <a:pt x="1274" y="86"/>
                      <a:pt x="1274" y="86"/>
                      <a:pt x="1274" y="86"/>
                    </a:cubicBezTo>
                    <a:cubicBezTo>
                      <a:pt x="1277" y="80"/>
                      <a:pt x="1277" y="80"/>
                      <a:pt x="1277" y="80"/>
                    </a:cubicBezTo>
                    <a:cubicBezTo>
                      <a:pt x="1277" y="75"/>
                      <a:pt x="1277" y="75"/>
                      <a:pt x="1277" y="75"/>
                    </a:cubicBezTo>
                    <a:cubicBezTo>
                      <a:pt x="1274" y="71"/>
                      <a:pt x="1274" y="71"/>
                      <a:pt x="1274" y="71"/>
                    </a:cubicBezTo>
                    <a:cubicBezTo>
                      <a:pt x="1273" y="67"/>
                      <a:pt x="1273" y="67"/>
                      <a:pt x="1273" y="67"/>
                    </a:cubicBezTo>
                    <a:cubicBezTo>
                      <a:pt x="1267" y="63"/>
                      <a:pt x="1267" y="63"/>
                      <a:pt x="1267" y="63"/>
                    </a:cubicBezTo>
                    <a:cubicBezTo>
                      <a:pt x="1266" y="60"/>
                      <a:pt x="1266" y="60"/>
                      <a:pt x="1266" y="60"/>
                    </a:cubicBezTo>
                    <a:cubicBezTo>
                      <a:pt x="1261" y="58"/>
                      <a:pt x="1261" y="58"/>
                      <a:pt x="1261" y="58"/>
                    </a:cubicBezTo>
                    <a:cubicBezTo>
                      <a:pt x="1259" y="59"/>
                      <a:pt x="1259" y="59"/>
                      <a:pt x="1259" y="59"/>
                    </a:cubicBezTo>
                    <a:cubicBezTo>
                      <a:pt x="1259" y="61"/>
                      <a:pt x="1259" y="61"/>
                      <a:pt x="1259" y="61"/>
                    </a:cubicBezTo>
                    <a:cubicBezTo>
                      <a:pt x="1258" y="62"/>
                      <a:pt x="1258" y="62"/>
                      <a:pt x="1258" y="62"/>
                    </a:cubicBezTo>
                    <a:cubicBezTo>
                      <a:pt x="1252" y="57"/>
                      <a:pt x="1252" y="57"/>
                      <a:pt x="1252" y="57"/>
                    </a:cubicBezTo>
                    <a:cubicBezTo>
                      <a:pt x="1248" y="58"/>
                      <a:pt x="1248" y="58"/>
                      <a:pt x="1248" y="58"/>
                    </a:cubicBezTo>
                    <a:cubicBezTo>
                      <a:pt x="1248" y="62"/>
                      <a:pt x="1248" y="62"/>
                      <a:pt x="1248" y="62"/>
                    </a:cubicBezTo>
                    <a:cubicBezTo>
                      <a:pt x="1246" y="67"/>
                      <a:pt x="1246" y="67"/>
                      <a:pt x="1246" y="67"/>
                    </a:cubicBezTo>
                    <a:cubicBezTo>
                      <a:pt x="1248" y="69"/>
                      <a:pt x="1248" y="69"/>
                      <a:pt x="1248" y="69"/>
                    </a:cubicBezTo>
                    <a:cubicBezTo>
                      <a:pt x="1252" y="69"/>
                      <a:pt x="1252" y="69"/>
                      <a:pt x="1252" y="69"/>
                    </a:cubicBezTo>
                    <a:cubicBezTo>
                      <a:pt x="1255" y="68"/>
                      <a:pt x="1255" y="68"/>
                      <a:pt x="1255" y="68"/>
                    </a:cubicBezTo>
                    <a:cubicBezTo>
                      <a:pt x="1260" y="70"/>
                      <a:pt x="1260" y="70"/>
                      <a:pt x="1260" y="70"/>
                    </a:cubicBezTo>
                    <a:cubicBezTo>
                      <a:pt x="1261" y="73"/>
                      <a:pt x="1261" y="73"/>
                      <a:pt x="1261" y="73"/>
                    </a:cubicBezTo>
                    <a:cubicBezTo>
                      <a:pt x="1264" y="74"/>
                      <a:pt x="1264" y="74"/>
                      <a:pt x="1264" y="74"/>
                    </a:cubicBezTo>
                    <a:cubicBezTo>
                      <a:pt x="1264" y="76"/>
                      <a:pt x="1264" y="76"/>
                      <a:pt x="1264" y="76"/>
                    </a:cubicBezTo>
                    <a:cubicBezTo>
                      <a:pt x="1259" y="82"/>
                      <a:pt x="1259" y="82"/>
                      <a:pt x="1259" y="82"/>
                    </a:cubicBezTo>
                    <a:cubicBezTo>
                      <a:pt x="1256" y="82"/>
                      <a:pt x="1256" y="82"/>
                      <a:pt x="1256" y="82"/>
                    </a:cubicBezTo>
                    <a:cubicBezTo>
                      <a:pt x="1252" y="79"/>
                      <a:pt x="1252" y="79"/>
                      <a:pt x="1252" y="79"/>
                    </a:cubicBezTo>
                    <a:cubicBezTo>
                      <a:pt x="1248" y="79"/>
                      <a:pt x="1248" y="79"/>
                      <a:pt x="1248" y="79"/>
                    </a:cubicBezTo>
                    <a:cubicBezTo>
                      <a:pt x="1245" y="78"/>
                      <a:pt x="1245" y="78"/>
                      <a:pt x="1245" y="78"/>
                    </a:cubicBezTo>
                    <a:cubicBezTo>
                      <a:pt x="1246" y="82"/>
                      <a:pt x="1246" y="82"/>
                      <a:pt x="1246" y="82"/>
                    </a:cubicBezTo>
                    <a:cubicBezTo>
                      <a:pt x="1249" y="82"/>
                      <a:pt x="1249" y="82"/>
                      <a:pt x="1249" y="82"/>
                    </a:cubicBezTo>
                    <a:cubicBezTo>
                      <a:pt x="1246" y="85"/>
                      <a:pt x="1246" y="85"/>
                      <a:pt x="1246" y="85"/>
                    </a:cubicBezTo>
                    <a:cubicBezTo>
                      <a:pt x="1243" y="86"/>
                      <a:pt x="1243" y="86"/>
                      <a:pt x="1243" y="86"/>
                    </a:cubicBezTo>
                    <a:cubicBezTo>
                      <a:pt x="1238" y="80"/>
                      <a:pt x="1238" y="80"/>
                      <a:pt x="1238" y="80"/>
                    </a:cubicBezTo>
                    <a:cubicBezTo>
                      <a:pt x="1232" y="83"/>
                      <a:pt x="1232" y="83"/>
                      <a:pt x="1232" y="83"/>
                    </a:cubicBezTo>
                    <a:cubicBezTo>
                      <a:pt x="1230" y="88"/>
                      <a:pt x="1230" y="88"/>
                      <a:pt x="1230" y="88"/>
                    </a:cubicBezTo>
                    <a:cubicBezTo>
                      <a:pt x="1228" y="90"/>
                      <a:pt x="1228" y="90"/>
                      <a:pt x="1228" y="90"/>
                    </a:cubicBezTo>
                    <a:cubicBezTo>
                      <a:pt x="1228" y="93"/>
                      <a:pt x="1228" y="93"/>
                      <a:pt x="1228" y="93"/>
                    </a:cubicBezTo>
                    <a:cubicBezTo>
                      <a:pt x="1231" y="94"/>
                      <a:pt x="1231" y="94"/>
                      <a:pt x="1231" y="94"/>
                    </a:cubicBezTo>
                    <a:cubicBezTo>
                      <a:pt x="1232" y="98"/>
                      <a:pt x="1232" y="98"/>
                      <a:pt x="1232" y="98"/>
                    </a:cubicBezTo>
                    <a:cubicBezTo>
                      <a:pt x="1237" y="100"/>
                      <a:pt x="1237" y="100"/>
                      <a:pt x="1237" y="100"/>
                    </a:cubicBezTo>
                    <a:cubicBezTo>
                      <a:pt x="1237" y="102"/>
                      <a:pt x="1237" y="102"/>
                      <a:pt x="1237" y="102"/>
                    </a:cubicBezTo>
                    <a:cubicBezTo>
                      <a:pt x="1234" y="102"/>
                      <a:pt x="1234" y="102"/>
                      <a:pt x="1234" y="102"/>
                    </a:cubicBezTo>
                    <a:cubicBezTo>
                      <a:pt x="1233" y="105"/>
                      <a:pt x="1233" y="105"/>
                      <a:pt x="1233" y="105"/>
                    </a:cubicBezTo>
                    <a:cubicBezTo>
                      <a:pt x="1235" y="107"/>
                      <a:pt x="1235" y="107"/>
                      <a:pt x="1235" y="107"/>
                    </a:cubicBezTo>
                    <a:cubicBezTo>
                      <a:pt x="1235" y="110"/>
                      <a:pt x="1235" y="110"/>
                      <a:pt x="1235" y="110"/>
                    </a:cubicBezTo>
                    <a:cubicBezTo>
                      <a:pt x="1232" y="109"/>
                      <a:pt x="1232" y="109"/>
                      <a:pt x="1232" y="109"/>
                    </a:cubicBezTo>
                    <a:cubicBezTo>
                      <a:pt x="1230" y="107"/>
                      <a:pt x="1230" y="107"/>
                      <a:pt x="1230" y="107"/>
                    </a:cubicBezTo>
                    <a:cubicBezTo>
                      <a:pt x="1226" y="107"/>
                      <a:pt x="1226" y="107"/>
                      <a:pt x="1226" y="107"/>
                    </a:cubicBezTo>
                    <a:cubicBezTo>
                      <a:pt x="1222" y="104"/>
                      <a:pt x="1222" y="104"/>
                      <a:pt x="1222" y="104"/>
                    </a:cubicBezTo>
                    <a:cubicBezTo>
                      <a:pt x="1219" y="103"/>
                      <a:pt x="1219" y="103"/>
                      <a:pt x="1219" y="103"/>
                    </a:cubicBezTo>
                    <a:cubicBezTo>
                      <a:pt x="1216" y="105"/>
                      <a:pt x="1216" y="105"/>
                      <a:pt x="1216" y="105"/>
                    </a:cubicBezTo>
                    <a:cubicBezTo>
                      <a:pt x="1215" y="109"/>
                      <a:pt x="1215" y="109"/>
                      <a:pt x="1215" y="109"/>
                    </a:cubicBezTo>
                    <a:cubicBezTo>
                      <a:pt x="1217" y="112"/>
                      <a:pt x="1217" y="112"/>
                      <a:pt x="1217" y="112"/>
                    </a:cubicBezTo>
                    <a:cubicBezTo>
                      <a:pt x="1216" y="115"/>
                      <a:pt x="1216" y="115"/>
                      <a:pt x="1216" y="115"/>
                    </a:cubicBezTo>
                    <a:cubicBezTo>
                      <a:pt x="1214" y="114"/>
                      <a:pt x="1214" y="114"/>
                      <a:pt x="1214" y="114"/>
                    </a:cubicBezTo>
                    <a:cubicBezTo>
                      <a:pt x="1214" y="111"/>
                      <a:pt x="1214" y="111"/>
                      <a:pt x="1214" y="111"/>
                    </a:cubicBezTo>
                    <a:cubicBezTo>
                      <a:pt x="1211" y="110"/>
                      <a:pt x="1211" y="110"/>
                      <a:pt x="1211" y="110"/>
                    </a:cubicBezTo>
                    <a:cubicBezTo>
                      <a:pt x="1207" y="108"/>
                      <a:pt x="1207" y="108"/>
                      <a:pt x="1207" y="108"/>
                    </a:cubicBezTo>
                    <a:cubicBezTo>
                      <a:pt x="1205" y="109"/>
                      <a:pt x="1205" y="109"/>
                      <a:pt x="1205" y="109"/>
                    </a:cubicBezTo>
                    <a:cubicBezTo>
                      <a:pt x="1203" y="106"/>
                      <a:pt x="1203" y="106"/>
                      <a:pt x="1203" y="106"/>
                    </a:cubicBezTo>
                    <a:cubicBezTo>
                      <a:pt x="1200" y="105"/>
                      <a:pt x="1200" y="105"/>
                      <a:pt x="1200" y="105"/>
                    </a:cubicBezTo>
                    <a:cubicBezTo>
                      <a:pt x="1199" y="107"/>
                      <a:pt x="1199" y="107"/>
                      <a:pt x="1199" y="107"/>
                    </a:cubicBezTo>
                    <a:cubicBezTo>
                      <a:pt x="1201" y="112"/>
                      <a:pt x="1201" y="112"/>
                      <a:pt x="1201" y="112"/>
                    </a:cubicBezTo>
                    <a:cubicBezTo>
                      <a:pt x="1201" y="116"/>
                      <a:pt x="1201" y="116"/>
                      <a:pt x="1201" y="116"/>
                    </a:cubicBezTo>
                    <a:cubicBezTo>
                      <a:pt x="1202" y="120"/>
                      <a:pt x="1202" y="120"/>
                      <a:pt x="1202" y="120"/>
                    </a:cubicBezTo>
                    <a:cubicBezTo>
                      <a:pt x="1205" y="123"/>
                      <a:pt x="1205" y="123"/>
                      <a:pt x="1205" y="123"/>
                    </a:cubicBezTo>
                    <a:cubicBezTo>
                      <a:pt x="1210" y="123"/>
                      <a:pt x="1210" y="123"/>
                      <a:pt x="1210" y="123"/>
                    </a:cubicBezTo>
                    <a:cubicBezTo>
                      <a:pt x="1212" y="125"/>
                      <a:pt x="1212" y="125"/>
                      <a:pt x="1212" y="125"/>
                    </a:cubicBezTo>
                    <a:cubicBezTo>
                      <a:pt x="1210" y="126"/>
                      <a:pt x="1210" y="126"/>
                      <a:pt x="1210" y="126"/>
                    </a:cubicBezTo>
                    <a:cubicBezTo>
                      <a:pt x="1206" y="126"/>
                      <a:pt x="1206" y="126"/>
                      <a:pt x="1206" y="126"/>
                    </a:cubicBezTo>
                    <a:cubicBezTo>
                      <a:pt x="1211" y="128"/>
                      <a:pt x="1211" y="128"/>
                      <a:pt x="1211" y="128"/>
                    </a:cubicBezTo>
                    <a:cubicBezTo>
                      <a:pt x="1212" y="131"/>
                      <a:pt x="1212" y="131"/>
                      <a:pt x="1212" y="131"/>
                    </a:cubicBezTo>
                    <a:cubicBezTo>
                      <a:pt x="1215" y="133"/>
                      <a:pt x="1215" y="133"/>
                      <a:pt x="1215" y="133"/>
                    </a:cubicBezTo>
                    <a:cubicBezTo>
                      <a:pt x="1221" y="133"/>
                      <a:pt x="1221" y="133"/>
                      <a:pt x="1221" y="133"/>
                    </a:cubicBezTo>
                    <a:cubicBezTo>
                      <a:pt x="1223" y="131"/>
                      <a:pt x="1223" y="131"/>
                      <a:pt x="1223" y="131"/>
                    </a:cubicBezTo>
                    <a:cubicBezTo>
                      <a:pt x="1225" y="131"/>
                      <a:pt x="1225" y="131"/>
                      <a:pt x="1225" y="131"/>
                    </a:cubicBezTo>
                    <a:cubicBezTo>
                      <a:pt x="1225" y="134"/>
                      <a:pt x="1225" y="134"/>
                      <a:pt x="1225" y="134"/>
                    </a:cubicBezTo>
                    <a:cubicBezTo>
                      <a:pt x="1222" y="136"/>
                      <a:pt x="1222" y="136"/>
                      <a:pt x="1222" y="136"/>
                    </a:cubicBezTo>
                    <a:cubicBezTo>
                      <a:pt x="1220" y="142"/>
                      <a:pt x="1220" y="142"/>
                      <a:pt x="1220" y="142"/>
                    </a:cubicBezTo>
                    <a:cubicBezTo>
                      <a:pt x="1218" y="142"/>
                      <a:pt x="1218" y="142"/>
                      <a:pt x="1218" y="142"/>
                    </a:cubicBezTo>
                    <a:cubicBezTo>
                      <a:pt x="1213" y="138"/>
                      <a:pt x="1213" y="138"/>
                      <a:pt x="1213" y="138"/>
                    </a:cubicBezTo>
                    <a:cubicBezTo>
                      <a:pt x="1203" y="136"/>
                      <a:pt x="1203" y="136"/>
                      <a:pt x="1203" y="136"/>
                    </a:cubicBezTo>
                    <a:cubicBezTo>
                      <a:pt x="1199" y="131"/>
                      <a:pt x="1199" y="131"/>
                      <a:pt x="1199" y="131"/>
                    </a:cubicBezTo>
                    <a:cubicBezTo>
                      <a:pt x="1196" y="130"/>
                      <a:pt x="1196" y="130"/>
                      <a:pt x="1196" y="130"/>
                    </a:cubicBezTo>
                    <a:cubicBezTo>
                      <a:pt x="1195" y="128"/>
                      <a:pt x="1195" y="128"/>
                      <a:pt x="1195" y="128"/>
                    </a:cubicBezTo>
                    <a:cubicBezTo>
                      <a:pt x="1194" y="128"/>
                      <a:pt x="1194" y="128"/>
                      <a:pt x="1194" y="128"/>
                    </a:cubicBezTo>
                    <a:cubicBezTo>
                      <a:pt x="1192" y="132"/>
                      <a:pt x="1192" y="132"/>
                      <a:pt x="1192" y="132"/>
                    </a:cubicBezTo>
                    <a:cubicBezTo>
                      <a:pt x="1193" y="133"/>
                      <a:pt x="1193" y="133"/>
                      <a:pt x="1193" y="133"/>
                    </a:cubicBezTo>
                    <a:cubicBezTo>
                      <a:pt x="1191" y="135"/>
                      <a:pt x="1191" y="135"/>
                      <a:pt x="1191" y="135"/>
                    </a:cubicBezTo>
                    <a:cubicBezTo>
                      <a:pt x="1193" y="141"/>
                      <a:pt x="1193" y="141"/>
                      <a:pt x="1193" y="141"/>
                    </a:cubicBezTo>
                    <a:cubicBezTo>
                      <a:pt x="1190" y="143"/>
                      <a:pt x="1190" y="143"/>
                      <a:pt x="1190" y="143"/>
                    </a:cubicBezTo>
                    <a:cubicBezTo>
                      <a:pt x="1187" y="142"/>
                      <a:pt x="1187" y="142"/>
                      <a:pt x="1187" y="142"/>
                    </a:cubicBezTo>
                    <a:cubicBezTo>
                      <a:pt x="1187" y="147"/>
                      <a:pt x="1187" y="147"/>
                      <a:pt x="1187" y="147"/>
                    </a:cubicBezTo>
                    <a:cubicBezTo>
                      <a:pt x="1185" y="148"/>
                      <a:pt x="1185" y="148"/>
                      <a:pt x="1185" y="148"/>
                    </a:cubicBezTo>
                    <a:cubicBezTo>
                      <a:pt x="1185" y="156"/>
                      <a:pt x="1185" y="156"/>
                      <a:pt x="1185" y="156"/>
                    </a:cubicBezTo>
                    <a:cubicBezTo>
                      <a:pt x="1188" y="158"/>
                      <a:pt x="1188" y="158"/>
                      <a:pt x="1188" y="158"/>
                    </a:cubicBezTo>
                    <a:cubicBezTo>
                      <a:pt x="1194" y="158"/>
                      <a:pt x="1194" y="158"/>
                      <a:pt x="1194" y="158"/>
                    </a:cubicBezTo>
                    <a:cubicBezTo>
                      <a:pt x="1197" y="160"/>
                      <a:pt x="1197" y="160"/>
                      <a:pt x="1197" y="160"/>
                    </a:cubicBezTo>
                    <a:cubicBezTo>
                      <a:pt x="1200" y="159"/>
                      <a:pt x="1200" y="159"/>
                      <a:pt x="1200" y="159"/>
                    </a:cubicBezTo>
                    <a:cubicBezTo>
                      <a:pt x="1200" y="160"/>
                      <a:pt x="1200" y="160"/>
                      <a:pt x="1200" y="160"/>
                    </a:cubicBezTo>
                    <a:cubicBezTo>
                      <a:pt x="1198" y="162"/>
                      <a:pt x="1198" y="162"/>
                      <a:pt x="1198" y="162"/>
                    </a:cubicBezTo>
                    <a:cubicBezTo>
                      <a:pt x="1194" y="161"/>
                      <a:pt x="1194" y="161"/>
                      <a:pt x="1194" y="161"/>
                    </a:cubicBezTo>
                    <a:cubicBezTo>
                      <a:pt x="1188" y="161"/>
                      <a:pt x="1188" y="161"/>
                      <a:pt x="1188" y="161"/>
                    </a:cubicBezTo>
                    <a:cubicBezTo>
                      <a:pt x="1186" y="160"/>
                      <a:pt x="1186" y="160"/>
                      <a:pt x="1186" y="160"/>
                    </a:cubicBezTo>
                    <a:cubicBezTo>
                      <a:pt x="1182" y="160"/>
                      <a:pt x="1182" y="160"/>
                      <a:pt x="1182" y="160"/>
                    </a:cubicBezTo>
                    <a:cubicBezTo>
                      <a:pt x="1177" y="166"/>
                      <a:pt x="1177" y="166"/>
                      <a:pt x="1177" y="166"/>
                    </a:cubicBezTo>
                    <a:cubicBezTo>
                      <a:pt x="1177" y="169"/>
                      <a:pt x="1177" y="169"/>
                      <a:pt x="1177" y="169"/>
                    </a:cubicBezTo>
                    <a:cubicBezTo>
                      <a:pt x="1179" y="172"/>
                      <a:pt x="1179" y="172"/>
                      <a:pt x="1179" y="172"/>
                    </a:cubicBezTo>
                    <a:cubicBezTo>
                      <a:pt x="1178" y="174"/>
                      <a:pt x="1178" y="174"/>
                      <a:pt x="1178" y="174"/>
                    </a:cubicBezTo>
                    <a:cubicBezTo>
                      <a:pt x="1176" y="175"/>
                      <a:pt x="1176" y="175"/>
                      <a:pt x="1176" y="175"/>
                    </a:cubicBezTo>
                    <a:cubicBezTo>
                      <a:pt x="1176" y="178"/>
                      <a:pt x="1176" y="178"/>
                      <a:pt x="1176" y="178"/>
                    </a:cubicBezTo>
                    <a:cubicBezTo>
                      <a:pt x="1178" y="180"/>
                      <a:pt x="1178" y="180"/>
                      <a:pt x="1178" y="180"/>
                    </a:cubicBezTo>
                    <a:cubicBezTo>
                      <a:pt x="1180" y="178"/>
                      <a:pt x="1180" y="178"/>
                      <a:pt x="1180" y="178"/>
                    </a:cubicBezTo>
                    <a:cubicBezTo>
                      <a:pt x="1185" y="178"/>
                      <a:pt x="1185" y="178"/>
                      <a:pt x="1185" y="178"/>
                    </a:cubicBezTo>
                    <a:cubicBezTo>
                      <a:pt x="1188" y="175"/>
                      <a:pt x="1188" y="175"/>
                      <a:pt x="1188" y="175"/>
                    </a:cubicBezTo>
                    <a:cubicBezTo>
                      <a:pt x="1190" y="177"/>
                      <a:pt x="1190" y="177"/>
                      <a:pt x="1190" y="177"/>
                    </a:cubicBezTo>
                    <a:cubicBezTo>
                      <a:pt x="1190" y="180"/>
                      <a:pt x="1190" y="180"/>
                      <a:pt x="1190" y="180"/>
                    </a:cubicBezTo>
                    <a:cubicBezTo>
                      <a:pt x="1186" y="180"/>
                      <a:pt x="1186" y="180"/>
                      <a:pt x="1186" y="180"/>
                    </a:cubicBezTo>
                    <a:cubicBezTo>
                      <a:pt x="1184" y="184"/>
                      <a:pt x="1184" y="184"/>
                      <a:pt x="1184" y="184"/>
                    </a:cubicBezTo>
                    <a:cubicBezTo>
                      <a:pt x="1186" y="186"/>
                      <a:pt x="1186" y="186"/>
                      <a:pt x="1186" y="186"/>
                    </a:cubicBezTo>
                    <a:cubicBezTo>
                      <a:pt x="1188" y="186"/>
                      <a:pt x="1188" y="186"/>
                      <a:pt x="1188" y="186"/>
                    </a:cubicBezTo>
                    <a:cubicBezTo>
                      <a:pt x="1191" y="183"/>
                      <a:pt x="1191" y="183"/>
                      <a:pt x="1191" y="183"/>
                    </a:cubicBezTo>
                    <a:cubicBezTo>
                      <a:pt x="1194" y="183"/>
                      <a:pt x="1194" y="183"/>
                      <a:pt x="1194" y="183"/>
                    </a:cubicBezTo>
                    <a:cubicBezTo>
                      <a:pt x="1197" y="180"/>
                      <a:pt x="1197" y="180"/>
                      <a:pt x="1197" y="180"/>
                    </a:cubicBezTo>
                    <a:cubicBezTo>
                      <a:pt x="1197" y="183"/>
                      <a:pt x="1197" y="183"/>
                      <a:pt x="1197" y="183"/>
                    </a:cubicBezTo>
                    <a:cubicBezTo>
                      <a:pt x="1196" y="185"/>
                      <a:pt x="1196" y="185"/>
                      <a:pt x="1196" y="185"/>
                    </a:cubicBezTo>
                    <a:cubicBezTo>
                      <a:pt x="1198" y="186"/>
                      <a:pt x="1198" y="186"/>
                      <a:pt x="1198" y="186"/>
                    </a:cubicBezTo>
                    <a:cubicBezTo>
                      <a:pt x="1203" y="185"/>
                      <a:pt x="1203" y="185"/>
                      <a:pt x="1203" y="185"/>
                    </a:cubicBezTo>
                    <a:cubicBezTo>
                      <a:pt x="1205" y="188"/>
                      <a:pt x="1205" y="188"/>
                      <a:pt x="1205" y="188"/>
                    </a:cubicBezTo>
                    <a:cubicBezTo>
                      <a:pt x="1201" y="188"/>
                      <a:pt x="1201" y="188"/>
                      <a:pt x="1201" y="188"/>
                    </a:cubicBezTo>
                    <a:cubicBezTo>
                      <a:pt x="1201" y="191"/>
                      <a:pt x="1201" y="191"/>
                      <a:pt x="1201" y="191"/>
                    </a:cubicBezTo>
                    <a:cubicBezTo>
                      <a:pt x="1204" y="191"/>
                      <a:pt x="1204" y="191"/>
                      <a:pt x="1204" y="191"/>
                    </a:cubicBezTo>
                    <a:cubicBezTo>
                      <a:pt x="1208" y="190"/>
                      <a:pt x="1208" y="190"/>
                      <a:pt x="1208" y="190"/>
                    </a:cubicBezTo>
                    <a:cubicBezTo>
                      <a:pt x="1213" y="193"/>
                      <a:pt x="1213" y="193"/>
                      <a:pt x="1213" y="193"/>
                    </a:cubicBezTo>
                    <a:cubicBezTo>
                      <a:pt x="1222" y="196"/>
                      <a:pt x="1222" y="196"/>
                      <a:pt x="1222" y="196"/>
                    </a:cubicBezTo>
                    <a:cubicBezTo>
                      <a:pt x="1223" y="197"/>
                      <a:pt x="1223" y="197"/>
                      <a:pt x="1223" y="197"/>
                    </a:cubicBezTo>
                    <a:cubicBezTo>
                      <a:pt x="1215" y="197"/>
                      <a:pt x="1215" y="197"/>
                      <a:pt x="1215" y="197"/>
                    </a:cubicBezTo>
                    <a:cubicBezTo>
                      <a:pt x="1211" y="197"/>
                      <a:pt x="1211" y="197"/>
                      <a:pt x="1211" y="197"/>
                    </a:cubicBezTo>
                    <a:cubicBezTo>
                      <a:pt x="1206" y="194"/>
                      <a:pt x="1206" y="194"/>
                      <a:pt x="1206" y="194"/>
                    </a:cubicBezTo>
                    <a:cubicBezTo>
                      <a:pt x="1201" y="196"/>
                      <a:pt x="1201" y="196"/>
                      <a:pt x="1201" y="196"/>
                    </a:cubicBezTo>
                    <a:cubicBezTo>
                      <a:pt x="1201" y="198"/>
                      <a:pt x="1201" y="198"/>
                      <a:pt x="1201" y="198"/>
                    </a:cubicBezTo>
                    <a:cubicBezTo>
                      <a:pt x="1206" y="200"/>
                      <a:pt x="1206" y="200"/>
                      <a:pt x="1206" y="200"/>
                    </a:cubicBezTo>
                    <a:cubicBezTo>
                      <a:pt x="1214" y="201"/>
                      <a:pt x="1214" y="201"/>
                      <a:pt x="1214" y="201"/>
                    </a:cubicBezTo>
                    <a:cubicBezTo>
                      <a:pt x="1221" y="201"/>
                      <a:pt x="1221" y="201"/>
                      <a:pt x="1221" y="201"/>
                    </a:cubicBezTo>
                    <a:cubicBezTo>
                      <a:pt x="1224" y="203"/>
                      <a:pt x="1224" y="203"/>
                      <a:pt x="1224" y="203"/>
                    </a:cubicBezTo>
                    <a:cubicBezTo>
                      <a:pt x="1215" y="204"/>
                      <a:pt x="1215" y="204"/>
                      <a:pt x="1215" y="204"/>
                    </a:cubicBezTo>
                    <a:cubicBezTo>
                      <a:pt x="1213" y="203"/>
                      <a:pt x="1213" y="203"/>
                      <a:pt x="1213" y="203"/>
                    </a:cubicBezTo>
                    <a:cubicBezTo>
                      <a:pt x="1205" y="202"/>
                      <a:pt x="1205" y="202"/>
                      <a:pt x="1205" y="202"/>
                    </a:cubicBezTo>
                    <a:cubicBezTo>
                      <a:pt x="1200" y="202"/>
                      <a:pt x="1200" y="202"/>
                      <a:pt x="1200" y="202"/>
                    </a:cubicBezTo>
                    <a:cubicBezTo>
                      <a:pt x="1198" y="199"/>
                      <a:pt x="1198" y="199"/>
                      <a:pt x="1198" y="199"/>
                    </a:cubicBezTo>
                    <a:cubicBezTo>
                      <a:pt x="1194" y="198"/>
                      <a:pt x="1194" y="198"/>
                      <a:pt x="1194" y="198"/>
                    </a:cubicBezTo>
                    <a:cubicBezTo>
                      <a:pt x="1189" y="193"/>
                      <a:pt x="1189" y="193"/>
                      <a:pt x="1189" y="193"/>
                    </a:cubicBezTo>
                    <a:cubicBezTo>
                      <a:pt x="1187" y="195"/>
                      <a:pt x="1187" y="195"/>
                      <a:pt x="1187" y="195"/>
                    </a:cubicBezTo>
                    <a:cubicBezTo>
                      <a:pt x="1184" y="198"/>
                      <a:pt x="1184" y="198"/>
                      <a:pt x="1184" y="198"/>
                    </a:cubicBezTo>
                    <a:cubicBezTo>
                      <a:pt x="1178" y="198"/>
                      <a:pt x="1178" y="198"/>
                      <a:pt x="1178" y="198"/>
                    </a:cubicBezTo>
                    <a:cubicBezTo>
                      <a:pt x="1176" y="200"/>
                      <a:pt x="1176" y="200"/>
                      <a:pt x="1176" y="200"/>
                    </a:cubicBezTo>
                    <a:cubicBezTo>
                      <a:pt x="1175" y="207"/>
                      <a:pt x="1175" y="207"/>
                      <a:pt x="1175" y="207"/>
                    </a:cubicBezTo>
                    <a:cubicBezTo>
                      <a:pt x="1179" y="210"/>
                      <a:pt x="1179" y="210"/>
                      <a:pt x="1179" y="210"/>
                    </a:cubicBezTo>
                    <a:cubicBezTo>
                      <a:pt x="1179" y="215"/>
                      <a:pt x="1179" y="215"/>
                      <a:pt x="1179" y="215"/>
                    </a:cubicBezTo>
                    <a:cubicBezTo>
                      <a:pt x="1177" y="216"/>
                      <a:pt x="1177" y="216"/>
                      <a:pt x="1177" y="216"/>
                    </a:cubicBezTo>
                    <a:cubicBezTo>
                      <a:pt x="1175" y="210"/>
                      <a:pt x="1175" y="210"/>
                      <a:pt x="1175" y="210"/>
                    </a:cubicBezTo>
                    <a:cubicBezTo>
                      <a:pt x="1173" y="210"/>
                      <a:pt x="1173" y="210"/>
                      <a:pt x="1173" y="210"/>
                    </a:cubicBezTo>
                    <a:cubicBezTo>
                      <a:pt x="1171" y="218"/>
                      <a:pt x="1171" y="218"/>
                      <a:pt x="1171" y="218"/>
                    </a:cubicBezTo>
                    <a:cubicBezTo>
                      <a:pt x="1171" y="223"/>
                      <a:pt x="1171" y="223"/>
                      <a:pt x="1171" y="223"/>
                    </a:cubicBezTo>
                    <a:cubicBezTo>
                      <a:pt x="1174" y="224"/>
                      <a:pt x="1174" y="224"/>
                      <a:pt x="1174" y="224"/>
                    </a:cubicBezTo>
                    <a:cubicBezTo>
                      <a:pt x="1175" y="222"/>
                      <a:pt x="1175" y="222"/>
                      <a:pt x="1175" y="222"/>
                    </a:cubicBezTo>
                    <a:cubicBezTo>
                      <a:pt x="1177" y="223"/>
                      <a:pt x="1177" y="223"/>
                      <a:pt x="1177" y="223"/>
                    </a:cubicBezTo>
                    <a:cubicBezTo>
                      <a:pt x="1180" y="227"/>
                      <a:pt x="1180" y="227"/>
                      <a:pt x="1180" y="227"/>
                    </a:cubicBezTo>
                    <a:cubicBezTo>
                      <a:pt x="1183" y="228"/>
                      <a:pt x="1183" y="228"/>
                      <a:pt x="1183" y="228"/>
                    </a:cubicBezTo>
                    <a:cubicBezTo>
                      <a:pt x="1180" y="228"/>
                      <a:pt x="1180" y="228"/>
                      <a:pt x="1180" y="228"/>
                    </a:cubicBezTo>
                    <a:cubicBezTo>
                      <a:pt x="1178" y="230"/>
                      <a:pt x="1178" y="230"/>
                      <a:pt x="1178" y="230"/>
                    </a:cubicBezTo>
                    <a:cubicBezTo>
                      <a:pt x="1175" y="226"/>
                      <a:pt x="1175" y="226"/>
                      <a:pt x="1175" y="226"/>
                    </a:cubicBezTo>
                    <a:cubicBezTo>
                      <a:pt x="1170" y="227"/>
                      <a:pt x="1170" y="227"/>
                      <a:pt x="1170" y="227"/>
                    </a:cubicBezTo>
                    <a:cubicBezTo>
                      <a:pt x="1169" y="233"/>
                      <a:pt x="1169" y="233"/>
                      <a:pt x="1169" y="233"/>
                    </a:cubicBezTo>
                    <a:cubicBezTo>
                      <a:pt x="1171" y="236"/>
                      <a:pt x="1171" y="236"/>
                      <a:pt x="1171" y="236"/>
                    </a:cubicBezTo>
                    <a:cubicBezTo>
                      <a:pt x="1173" y="234"/>
                      <a:pt x="1173" y="234"/>
                      <a:pt x="1173" y="234"/>
                    </a:cubicBezTo>
                    <a:cubicBezTo>
                      <a:pt x="1171" y="237"/>
                      <a:pt x="1171" y="237"/>
                      <a:pt x="1171" y="237"/>
                    </a:cubicBezTo>
                    <a:cubicBezTo>
                      <a:pt x="1172" y="245"/>
                      <a:pt x="1172" y="245"/>
                      <a:pt x="1172" y="245"/>
                    </a:cubicBezTo>
                    <a:cubicBezTo>
                      <a:pt x="1174" y="243"/>
                      <a:pt x="1174" y="243"/>
                      <a:pt x="1174" y="243"/>
                    </a:cubicBezTo>
                    <a:cubicBezTo>
                      <a:pt x="1177" y="244"/>
                      <a:pt x="1177" y="244"/>
                      <a:pt x="1177" y="244"/>
                    </a:cubicBezTo>
                    <a:cubicBezTo>
                      <a:pt x="1177" y="250"/>
                      <a:pt x="1177" y="250"/>
                      <a:pt x="1177" y="250"/>
                    </a:cubicBezTo>
                    <a:cubicBezTo>
                      <a:pt x="1182" y="251"/>
                      <a:pt x="1182" y="251"/>
                      <a:pt x="1182" y="251"/>
                    </a:cubicBezTo>
                    <a:cubicBezTo>
                      <a:pt x="1190" y="256"/>
                      <a:pt x="1190" y="256"/>
                      <a:pt x="1190" y="256"/>
                    </a:cubicBezTo>
                    <a:cubicBezTo>
                      <a:pt x="1193" y="255"/>
                      <a:pt x="1193" y="255"/>
                      <a:pt x="1193" y="255"/>
                    </a:cubicBezTo>
                    <a:cubicBezTo>
                      <a:pt x="1195" y="252"/>
                      <a:pt x="1195" y="252"/>
                      <a:pt x="1195" y="252"/>
                    </a:cubicBezTo>
                    <a:cubicBezTo>
                      <a:pt x="1194" y="248"/>
                      <a:pt x="1194" y="248"/>
                      <a:pt x="1194" y="248"/>
                    </a:cubicBezTo>
                    <a:cubicBezTo>
                      <a:pt x="1199" y="249"/>
                      <a:pt x="1199" y="249"/>
                      <a:pt x="1199" y="249"/>
                    </a:cubicBezTo>
                    <a:cubicBezTo>
                      <a:pt x="1200" y="252"/>
                      <a:pt x="1200" y="252"/>
                      <a:pt x="1200" y="252"/>
                    </a:cubicBezTo>
                    <a:cubicBezTo>
                      <a:pt x="1199" y="255"/>
                      <a:pt x="1199" y="255"/>
                      <a:pt x="1199" y="255"/>
                    </a:cubicBezTo>
                    <a:cubicBezTo>
                      <a:pt x="1200" y="259"/>
                      <a:pt x="1200" y="259"/>
                      <a:pt x="1200" y="259"/>
                    </a:cubicBezTo>
                    <a:cubicBezTo>
                      <a:pt x="1202" y="258"/>
                      <a:pt x="1202" y="258"/>
                      <a:pt x="1202" y="258"/>
                    </a:cubicBezTo>
                    <a:cubicBezTo>
                      <a:pt x="1205" y="249"/>
                      <a:pt x="1205" y="249"/>
                      <a:pt x="1205" y="249"/>
                    </a:cubicBezTo>
                    <a:cubicBezTo>
                      <a:pt x="1205" y="242"/>
                      <a:pt x="1205" y="242"/>
                      <a:pt x="1205" y="242"/>
                    </a:cubicBezTo>
                    <a:cubicBezTo>
                      <a:pt x="1206" y="237"/>
                      <a:pt x="1206" y="237"/>
                      <a:pt x="1206" y="237"/>
                    </a:cubicBezTo>
                    <a:cubicBezTo>
                      <a:pt x="1210" y="232"/>
                      <a:pt x="1210" y="232"/>
                      <a:pt x="1210" y="232"/>
                    </a:cubicBezTo>
                    <a:cubicBezTo>
                      <a:pt x="1212" y="228"/>
                      <a:pt x="1212" y="228"/>
                      <a:pt x="1212" y="228"/>
                    </a:cubicBezTo>
                    <a:cubicBezTo>
                      <a:pt x="1212" y="233"/>
                      <a:pt x="1212" y="233"/>
                      <a:pt x="1212" y="233"/>
                    </a:cubicBezTo>
                    <a:cubicBezTo>
                      <a:pt x="1208" y="240"/>
                      <a:pt x="1208" y="240"/>
                      <a:pt x="1208" y="240"/>
                    </a:cubicBezTo>
                    <a:cubicBezTo>
                      <a:pt x="1207" y="245"/>
                      <a:pt x="1207" y="245"/>
                      <a:pt x="1207" y="245"/>
                    </a:cubicBezTo>
                    <a:cubicBezTo>
                      <a:pt x="1208" y="248"/>
                      <a:pt x="1208" y="248"/>
                      <a:pt x="1208" y="248"/>
                    </a:cubicBezTo>
                    <a:cubicBezTo>
                      <a:pt x="1206" y="255"/>
                      <a:pt x="1206" y="255"/>
                      <a:pt x="1206" y="255"/>
                    </a:cubicBezTo>
                    <a:cubicBezTo>
                      <a:pt x="1208" y="259"/>
                      <a:pt x="1208" y="259"/>
                      <a:pt x="1208" y="259"/>
                    </a:cubicBezTo>
                    <a:cubicBezTo>
                      <a:pt x="1208" y="261"/>
                      <a:pt x="1208" y="261"/>
                      <a:pt x="1208" y="261"/>
                    </a:cubicBezTo>
                    <a:cubicBezTo>
                      <a:pt x="1209" y="263"/>
                      <a:pt x="1209" y="263"/>
                      <a:pt x="1209" y="263"/>
                    </a:cubicBezTo>
                    <a:close/>
                    <a:moveTo>
                      <a:pt x="1218" y="99"/>
                    </a:moveTo>
                    <a:cubicBezTo>
                      <a:pt x="1219" y="98"/>
                      <a:pt x="1219" y="98"/>
                      <a:pt x="1219" y="98"/>
                    </a:cubicBezTo>
                    <a:cubicBezTo>
                      <a:pt x="1221" y="98"/>
                      <a:pt x="1221" y="98"/>
                      <a:pt x="1221" y="98"/>
                    </a:cubicBezTo>
                    <a:cubicBezTo>
                      <a:pt x="1223" y="99"/>
                      <a:pt x="1223" y="99"/>
                      <a:pt x="1223" y="99"/>
                    </a:cubicBezTo>
                    <a:cubicBezTo>
                      <a:pt x="1226" y="99"/>
                      <a:pt x="1226" y="99"/>
                      <a:pt x="1226" y="99"/>
                    </a:cubicBezTo>
                    <a:cubicBezTo>
                      <a:pt x="1226" y="102"/>
                      <a:pt x="1226" y="102"/>
                      <a:pt x="1226" y="102"/>
                    </a:cubicBezTo>
                    <a:cubicBezTo>
                      <a:pt x="1224" y="103"/>
                      <a:pt x="1224" y="103"/>
                      <a:pt x="1224" y="103"/>
                    </a:cubicBezTo>
                    <a:cubicBezTo>
                      <a:pt x="1223" y="101"/>
                      <a:pt x="1223" y="101"/>
                      <a:pt x="1223" y="101"/>
                    </a:cubicBezTo>
                    <a:cubicBezTo>
                      <a:pt x="1219" y="101"/>
                      <a:pt x="1219" y="101"/>
                      <a:pt x="1219" y="101"/>
                    </a:cubicBezTo>
                    <a:cubicBezTo>
                      <a:pt x="1218" y="99"/>
                      <a:pt x="1218" y="99"/>
                      <a:pt x="1218" y="99"/>
                    </a:cubicBezTo>
                    <a:close/>
                    <a:moveTo>
                      <a:pt x="1221" y="261"/>
                    </a:moveTo>
                    <a:cubicBezTo>
                      <a:pt x="1221" y="258"/>
                      <a:pt x="1221" y="258"/>
                      <a:pt x="1221" y="258"/>
                    </a:cubicBezTo>
                    <a:cubicBezTo>
                      <a:pt x="1224" y="255"/>
                      <a:pt x="1224" y="255"/>
                      <a:pt x="1224" y="255"/>
                    </a:cubicBezTo>
                    <a:cubicBezTo>
                      <a:pt x="1224" y="253"/>
                      <a:pt x="1224" y="253"/>
                      <a:pt x="1224" y="253"/>
                    </a:cubicBezTo>
                    <a:cubicBezTo>
                      <a:pt x="1226" y="252"/>
                      <a:pt x="1226" y="252"/>
                      <a:pt x="1226" y="252"/>
                    </a:cubicBezTo>
                    <a:cubicBezTo>
                      <a:pt x="1228" y="253"/>
                      <a:pt x="1228" y="253"/>
                      <a:pt x="1228" y="253"/>
                    </a:cubicBezTo>
                    <a:cubicBezTo>
                      <a:pt x="1226" y="255"/>
                      <a:pt x="1226" y="255"/>
                      <a:pt x="1226" y="255"/>
                    </a:cubicBezTo>
                    <a:cubicBezTo>
                      <a:pt x="1226" y="257"/>
                      <a:pt x="1226" y="257"/>
                      <a:pt x="1226" y="257"/>
                    </a:cubicBezTo>
                    <a:cubicBezTo>
                      <a:pt x="1222" y="261"/>
                      <a:pt x="1222" y="261"/>
                      <a:pt x="1222" y="261"/>
                    </a:cubicBezTo>
                    <a:cubicBezTo>
                      <a:pt x="1221" y="261"/>
                      <a:pt x="1221" y="261"/>
                      <a:pt x="1221" y="261"/>
                    </a:cubicBezTo>
                    <a:close/>
                    <a:moveTo>
                      <a:pt x="1260" y="226"/>
                    </a:moveTo>
                    <a:cubicBezTo>
                      <a:pt x="1265" y="220"/>
                      <a:pt x="1265" y="220"/>
                      <a:pt x="1265" y="220"/>
                    </a:cubicBezTo>
                    <a:cubicBezTo>
                      <a:pt x="1268" y="220"/>
                      <a:pt x="1268" y="220"/>
                      <a:pt x="1268" y="220"/>
                    </a:cubicBezTo>
                    <a:cubicBezTo>
                      <a:pt x="1271" y="218"/>
                      <a:pt x="1271" y="218"/>
                      <a:pt x="1271" y="218"/>
                    </a:cubicBezTo>
                    <a:cubicBezTo>
                      <a:pt x="1275" y="219"/>
                      <a:pt x="1275" y="219"/>
                      <a:pt x="1275" y="219"/>
                    </a:cubicBezTo>
                    <a:cubicBezTo>
                      <a:pt x="1279" y="222"/>
                      <a:pt x="1279" y="222"/>
                      <a:pt x="1279" y="222"/>
                    </a:cubicBezTo>
                    <a:cubicBezTo>
                      <a:pt x="1277" y="225"/>
                      <a:pt x="1277" y="225"/>
                      <a:pt x="1277" y="225"/>
                    </a:cubicBezTo>
                    <a:cubicBezTo>
                      <a:pt x="1272" y="225"/>
                      <a:pt x="1272" y="225"/>
                      <a:pt x="1272" y="225"/>
                    </a:cubicBezTo>
                    <a:cubicBezTo>
                      <a:pt x="1269" y="228"/>
                      <a:pt x="1269" y="228"/>
                      <a:pt x="1269" y="228"/>
                    </a:cubicBezTo>
                    <a:cubicBezTo>
                      <a:pt x="1264" y="228"/>
                      <a:pt x="1264" y="228"/>
                      <a:pt x="1264" y="228"/>
                    </a:cubicBezTo>
                    <a:cubicBezTo>
                      <a:pt x="1261" y="227"/>
                      <a:pt x="1261" y="227"/>
                      <a:pt x="1261" y="227"/>
                    </a:cubicBezTo>
                    <a:cubicBezTo>
                      <a:pt x="1260" y="226"/>
                      <a:pt x="1260" y="226"/>
                      <a:pt x="1260" y="226"/>
                    </a:cubicBezTo>
                    <a:close/>
                    <a:moveTo>
                      <a:pt x="1550" y="7"/>
                    </a:moveTo>
                    <a:cubicBezTo>
                      <a:pt x="1551" y="4"/>
                      <a:pt x="1551" y="4"/>
                      <a:pt x="1551" y="4"/>
                    </a:cubicBezTo>
                    <a:cubicBezTo>
                      <a:pt x="1554" y="4"/>
                      <a:pt x="1554" y="4"/>
                      <a:pt x="1554" y="4"/>
                    </a:cubicBezTo>
                    <a:cubicBezTo>
                      <a:pt x="1556" y="7"/>
                      <a:pt x="1556" y="7"/>
                      <a:pt x="1556" y="7"/>
                    </a:cubicBezTo>
                    <a:cubicBezTo>
                      <a:pt x="1552" y="8"/>
                      <a:pt x="1552" y="8"/>
                      <a:pt x="1552" y="8"/>
                    </a:cubicBezTo>
                    <a:cubicBezTo>
                      <a:pt x="1550" y="7"/>
                      <a:pt x="1550" y="7"/>
                      <a:pt x="1550" y="7"/>
                    </a:cubicBezTo>
                    <a:close/>
                    <a:moveTo>
                      <a:pt x="1411" y="269"/>
                    </a:moveTo>
                    <a:cubicBezTo>
                      <a:pt x="1409" y="270"/>
                      <a:pt x="1409" y="270"/>
                      <a:pt x="1409" y="270"/>
                    </a:cubicBezTo>
                    <a:cubicBezTo>
                      <a:pt x="1411" y="273"/>
                      <a:pt x="1411" y="273"/>
                      <a:pt x="1411" y="273"/>
                    </a:cubicBezTo>
                    <a:cubicBezTo>
                      <a:pt x="1415" y="273"/>
                      <a:pt x="1415" y="273"/>
                      <a:pt x="1415" y="273"/>
                    </a:cubicBezTo>
                    <a:cubicBezTo>
                      <a:pt x="1415" y="270"/>
                      <a:pt x="1415" y="270"/>
                      <a:pt x="1415" y="270"/>
                    </a:cubicBezTo>
                    <a:cubicBezTo>
                      <a:pt x="1412" y="269"/>
                      <a:pt x="1412" y="269"/>
                      <a:pt x="1412" y="269"/>
                    </a:cubicBezTo>
                    <a:cubicBezTo>
                      <a:pt x="1411" y="269"/>
                      <a:pt x="1411" y="269"/>
                      <a:pt x="1411" y="269"/>
                    </a:cubicBezTo>
                    <a:close/>
                    <a:moveTo>
                      <a:pt x="1342" y="310"/>
                    </a:moveTo>
                    <a:cubicBezTo>
                      <a:pt x="1343" y="312"/>
                      <a:pt x="1343" y="312"/>
                      <a:pt x="1343" y="312"/>
                    </a:cubicBezTo>
                    <a:cubicBezTo>
                      <a:pt x="1347" y="312"/>
                      <a:pt x="1347" y="312"/>
                      <a:pt x="1347" y="312"/>
                    </a:cubicBezTo>
                    <a:cubicBezTo>
                      <a:pt x="1345" y="309"/>
                      <a:pt x="1345" y="309"/>
                      <a:pt x="1345" y="309"/>
                    </a:cubicBezTo>
                    <a:cubicBezTo>
                      <a:pt x="1342" y="310"/>
                      <a:pt x="1342" y="310"/>
                      <a:pt x="1342" y="310"/>
                    </a:cubicBezTo>
                    <a:close/>
                    <a:moveTo>
                      <a:pt x="1244" y="308"/>
                    </a:moveTo>
                    <a:cubicBezTo>
                      <a:pt x="1242" y="304"/>
                      <a:pt x="1242" y="304"/>
                      <a:pt x="1242" y="304"/>
                    </a:cubicBezTo>
                    <a:cubicBezTo>
                      <a:pt x="1242" y="302"/>
                      <a:pt x="1242" y="302"/>
                      <a:pt x="1242" y="302"/>
                    </a:cubicBezTo>
                    <a:cubicBezTo>
                      <a:pt x="1245" y="301"/>
                      <a:pt x="1245" y="301"/>
                      <a:pt x="1245" y="301"/>
                    </a:cubicBezTo>
                    <a:cubicBezTo>
                      <a:pt x="1246" y="304"/>
                      <a:pt x="1246" y="304"/>
                      <a:pt x="1246" y="304"/>
                    </a:cubicBezTo>
                    <a:cubicBezTo>
                      <a:pt x="1246" y="307"/>
                      <a:pt x="1246" y="307"/>
                      <a:pt x="1246" y="307"/>
                    </a:cubicBezTo>
                    <a:cubicBezTo>
                      <a:pt x="1245" y="308"/>
                      <a:pt x="1245" y="308"/>
                      <a:pt x="1245" y="308"/>
                    </a:cubicBezTo>
                    <a:cubicBezTo>
                      <a:pt x="1244" y="308"/>
                      <a:pt x="1244" y="308"/>
                      <a:pt x="1244" y="308"/>
                    </a:cubicBezTo>
                    <a:close/>
                    <a:moveTo>
                      <a:pt x="1217" y="364"/>
                    </a:moveTo>
                    <a:cubicBezTo>
                      <a:pt x="1216" y="362"/>
                      <a:pt x="1216" y="362"/>
                      <a:pt x="1216" y="362"/>
                    </a:cubicBezTo>
                    <a:cubicBezTo>
                      <a:pt x="1216" y="359"/>
                      <a:pt x="1216" y="359"/>
                      <a:pt x="1216" y="359"/>
                    </a:cubicBezTo>
                    <a:cubicBezTo>
                      <a:pt x="1215" y="354"/>
                      <a:pt x="1215" y="354"/>
                      <a:pt x="1215" y="354"/>
                    </a:cubicBezTo>
                    <a:cubicBezTo>
                      <a:pt x="1214" y="353"/>
                      <a:pt x="1214" y="353"/>
                      <a:pt x="1214" y="353"/>
                    </a:cubicBezTo>
                    <a:cubicBezTo>
                      <a:pt x="1212" y="355"/>
                      <a:pt x="1212" y="355"/>
                      <a:pt x="1212" y="355"/>
                    </a:cubicBezTo>
                    <a:cubicBezTo>
                      <a:pt x="1211" y="359"/>
                      <a:pt x="1211" y="359"/>
                      <a:pt x="1211" y="359"/>
                    </a:cubicBezTo>
                    <a:cubicBezTo>
                      <a:pt x="1212" y="365"/>
                      <a:pt x="1212" y="365"/>
                      <a:pt x="1212" y="365"/>
                    </a:cubicBezTo>
                    <a:cubicBezTo>
                      <a:pt x="1215" y="369"/>
                      <a:pt x="1215" y="369"/>
                      <a:pt x="1215" y="369"/>
                    </a:cubicBezTo>
                    <a:cubicBezTo>
                      <a:pt x="1214" y="372"/>
                      <a:pt x="1214" y="372"/>
                      <a:pt x="1214" y="372"/>
                    </a:cubicBezTo>
                    <a:cubicBezTo>
                      <a:pt x="1212" y="372"/>
                      <a:pt x="1212" y="372"/>
                      <a:pt x="1212" y="372"/>
                    </a:cubicBezTo>
                    <a:cubicBezTo>
                      <a:pt x="1209" y="371"/>
                      <a:pt x="1209" y="371"/>
                      <a:pt x="1209" y="371"/>
                    </a:cubicBezTo>
                    <a:cubicBezTo>
                      <a:pt x="1202" y="371"/>
                      <a:pt x="1202" y="371"/>
                      <a:pt x="1202" y="371"/>
                    </a:cubicBezTo>
                    <a:cubicBezTo>
                      <a:pt x="1202" y="368"/>
                      <a:pt x="1202" y="368"/>
                      <a:pt x="1202" y="368"/>
                    </a:cubicBezTo>
                    <a:cubicBezTo>
                      <a:pt x="1200" y="367"/>
                      <a:pt x="1200" y="367"/>
                      <a:pt x="1200" y="367"/>
                    </a:cubicBezTo>
                    <a:cubicBezTo>
                      <a:pt x="1194" y="364"/>
                      <a:pt x="1194" y="364"/>
                      <a:pt x="1194" y="364"/>
                    </a:cubicBezTo>
                    <a:cubicBezTo>
                      <a:pt x="1192" y="364"/>
                      <a:pt x="1192" y="364"/>
                      <a:pt x="1192" y="364"/>
                    </a:cubicBezTo>
                    <a:cubicBezTo>
                      <a:pt x="1191" y="363"/>
                      <a:pt x="1191" y="363"/>
                      <a:pt x="1191" y="363"/>
                    </a:cubicBezTo>
                    <a:cubicBezTo>
                      <a:pt x="1190" y="361"/>
                      <a:pt x="1190" y="361"/>
                      <a:pt x="1190" y="361"/>
                    </a:cubicBezTo>
                    <a:cubicBezTo>
                      <a:pt x="1188" y="361"/>
                      <a:pt x="1188" y="361"/>
                      <a:pt x="1188" y="361"/>
                    </a:cubicBezTo>
                    <a:cubicBezTo>
                      <a:pt x="1187" y="359"/>
                      <a:pt x="1187" y="359"/>
                      <a:pt x="1187" y="359"/>
                    </a:cubicBezTo>
                    <a:cubicBezTo>
                      <a:pt x="1189" y="357"/>
                      <a:pt x="1189" y="357"/>
                      <a:pt x="1189" y="357"/>
                    </a:cubicBezTo>
                    <a:cubicBezTo>
                      <a:pt x="1191" y="356"/>
                      <a:pt x="1191" y="356"/>
                      <a:pt x="1191" y="356"/>
                    </a:cubicBezTo>
                    <a:cubicBezTo>
                      <a:pt x="1193" y="353"/>
                      <a:pt x="1193" y="353"/>
                      <a:pt x="1193" y="353"/>
                    </a:cubicBezTo>
                    <a:cubicBezTo>
                      <a:pt x="1192" y="351"/>
                      <a:pt x="1192" y="351"/>
                      <a:pt x="1192" y="351"/>
                    </a:cubicBezTo>
                    <a:cubicBezTo>
                      <a:pt x="1190" y="346"/>
                      <a:pt x="1190" y="346"/>
                      <a:pt x="1190" y="346"/>
                    </a:cubicBezTo>
                    <a:cubicBezTo>
                      <a:pt x="1188" y="345"/>
                      <a:pt x="1188" y="345"/>
                      <a:pt x="1188" y="345"/>
                    </a:cubicBezTo>
                    <a:cubicBezTo>
                      <a:pt x="1188" y="347"/>
                      <a:pt x="1188" y="347"/>
                      <a:pt x="1188" y="347"/>
                    </a:cubicBezTo>
                    <a:cubicBezTo>
                      <a:pt x="1190" y="349"/>
                      <a:pt x="1190" y="349"/>
                      <a:pt x="1190" y="349"/>
                    </a:cubicBezTo>
                    <a:cubicBezTo>
                      <a:pt x="1190" y="352"/>
                      <a:pt x="1190" y="352"/>
                      <a:pt x="1190" y="352"/>
                    </a:cubicBezTo>
                    <a:cubicBezTo>
                      <a:pt x="1189" y="354"/>
                      <a:pt x="1189" y="354"/>
                      <a:pt x="1189" y="354"/>
                    </a:cubicBezTo>
                    <a:cubicBezTo>
                      <a:pt x="1186" y="354"/>
                      <a:pt x="1186" y="354"/>
                      <a:pt x="1186" y="354"/>
                    </a:cubicBezTo>
                    <a:cubicBezTo>
                      <a:pt x="1185" y="355"/>
                      <a:pt x="1185" y="355"/>
                      <a:pt x="1185" y="355"/>
                    </a:cubicBezTo>
                    <a:cubicBezTo>
                      <a:pt x="1186" y="356"/>
                      <a:pt x="1186" y="356"/>
                      <a:pt x="1186" y="356"/>
                    </a:cubicBezTo>
                    <a:cubicBezTo>
                      <a:pt x="1186" y="358"/>
                      <a:pt x="1186" y="358"/>
                      <a:pt x="1186" y="358"/>
                    </a:cubicBezTo>
                    <a:cubicBezTo>
                      <a:pt x="1184" y="360"/>
                      <a:pt x="1184" y="360"/>
                      <a:pt x="1184" y="360"/>
                    </a:cubicBezTo>
                    <a:cubicBezTo>
                      <a:pt x="1182" y="360"/>
                      <a:pt x="1182" y="360"/>
                      <a:pt x="1182" y="360"/>
                    </a:cubicBezTo>
                    <a:cubicBezTo>
                      <a:pt x="1179" y="356"/>
                      <a:pt x="1179" y="356"/>
                      <a:pt x="1179" y="356"/>
                    </a:cubicBezTo>
                    <a:cubicBezTo>
                      <a:pt x="1180" y="354"/>
                      <a:pt x="1180" y="354"/>
                      <a:pt x="1180" y="354"/>
                    </a:cubicBezTo>
                    <a:cubicBezTo>
                      <a:pt x="1179" y="352"/>
                      <a:pt x="1179" y="352"/>
                      <a:pt x="1179" y="352"/>
                    </a:cubicBezTo>
                    <a:cubicBezTo>
                      <a:pt x="1181" y="347"/>
                      <a:pt x="1181" y="347"/>
                      <a:pt x="1181" y="347"/>
                    </a:cubicBezTo>
                    <a:cubicBezTo>
                      <a:pt x="1180" y="346"/>
                      <a:pt x="1180" y="346"/>
                      <a:pt x="1180" y="346"/>
                    </a:cubicBezTo>
                    <a:cubicBezTo>
                      <a:pt x="1180" y="343"/>
                      <a:pt x="1180" y="343"/>
                      <a:pt x="1180" y="343"/>
                    </a:cubicBezTo>
                    <a:cubicBezTo>
                      <a:pt x="1179" y="345"/>
                      <a:pt x="1179" y="345"/>
                      <a:pt x="1179" y="345"/>
                    </a:cubicBezTo>
                    <a:cubicBezTo>
                      <a:pt x="1178" y="348"/>
                      <a:pt x="1178" y="348"/>
                      <a:pt x="1178" y="348"/>
                    </a:cubicBezTo>
                    <a:cubicBezTo>
                      <a:pt x="1176" y="351"/>
                      <a:pt x="1176" y="351"/>
                      <a:pt x="1176" y="351"/>
                    </a:cubicBezTo>
                    <a:cubicBezTo>
                      <a:pt x="1176" y="352"/>
                      <a:pt x="1176" y="352"/>
                      <a:pt x="1176" y="352"/>
                    </a:cubicBezTo>
                    <a:cubicBezTo>
                      <a:pt x="1176" y="355"/>
                      <a:pt x="1176" y="355"/>
                      <a:pt x="1176" y="355"/>
                    </a:cubicBezTo>
                    <a:cubicBezTo>
                      <a:pt x="1172" y="355"/>
                      <a:pt x="1172" y="355"/>
                      <a:pt x="1172" y="355"/>
                    </a:cubicBezTo>
                    <a:cubicBezTo>
                      <a:pt x="1170" y="353"/>
                      <a:pt x="1170" y="353"/>
                      <a:pt x="1170" y="353"/>
                    </a:cubicBezTo>
                    <a:cubicBezTo>
                      <a:pt x="1167" y="353"/>
                      <a:pt x="1167" y="353"/>
                      <a:pt x="1167" y="353"/>
                    </a:cubicBezTo>
                    <a:cubicBezTo>
                      <a:pt x="1166" y="351"/>
                      <a:pt x="1166" y="351"/>
                      <a:pt x="1166" y="351"/>
                    </a:cubicBezTo>
                    <a:cubicBezTo>
                      <a:pt x="1168" y="348"/>
                      <a:pt x="1168" y="348"/>
                      <a:pt x="1168" y="348"/>
                    </a:cubicBezTo>
                    <a:cubicBezTo>
                      <a:pt x="1169" y="344"/>
                      <a:pt x="1169" y="344"/>
                      <a:pt x="1169" y="344"/>
                    </a:cubicBezTo>
                    <a:cubicBezTo>
                      <a:pt x="1170" y="343"/>
                      <a:pt x="1170" y="343"/>
                      <a:pt x="1170" y="343"/>
                    </a:cubicBezTo>
                    <a:cubicBezTo>
                      <a:pt x="1170" y="340"/>
                      <a:pt x="1170" y="340"/>
                      <a:pt x="1170" y="340"/>
                    </a:cubicBezTo>
                    <a:cubicBezTo>
                      <a:pt x="1174" y="332"/>
                      <a:pt x="1174" y="332"/>
                      <a:pt x="1174" y="332"/>
                    </a:cubicBezTo>
                    <a:cubicBezTo>
                      <a:pt x="1171" y="334"/>
                      <a:pt x="1171" y="334"/>
                      <a:pt x="1171" y="334"/>
                    </a:cubicBezTo>
                    <a:cubicBezTo>
                      <a:pt x="1169" y="335"/>
                      <a:pt x="1169" y="335"/>
                      <a:pt x="1169" y="335"/>
                    </a:cubicBezTo>
                    <a:cubicBezTo>
                      <a:pt x="1167" y="342"/>
                      <a:pt x="1167" y="342"/>
                      <a:pt x="1167" y="342"/>
                    </a:cubicBezTo>
                    <a:cubicBezTo>
                      <a:pt x="1167" y="347"/>
                      <a:pt x="1167" y="347"/>
                      <a:pt x="1167" y="347"/>
                    </a:cubicBezTo>
                    <a:cubicBezTo>
                      <a:pt x="1164" y="350"/>
                      <a:pt x="1164" y="350"/>
                      <a:pt x="1164" y="350"/>
                    </a:cubicBezTo>
                    <a:cubicBezTo>
                      <a:pt x="1163" y="349"/>
                      <a:pt x="1163" y="349"/>
                      <a:pt x="1163" y="349"/>
                    </a:cubicBezTo>
                    <a:cubicBezTo>
                      <a:pt x="1165" y="346"/>
                      <a:pt x="1165" y="346"/>
                      <a:pt x="1165" y="346"/>
                    </a:cubicBezTo>
                    <a:cubicBezTo>
                      <a:pt x="1165" y="345"/>
                      <a:pt x="1165" y="345"/>
                      <a:pt x="1165" y="345"/>
                    </a:cubicBezTo>
                    <a:cubicBezTo>
                      <a:pt x="1164" y="344"/>
                      <a:pt x="1164" y="344"/>
                      <a:pt x="1164" y="344"/>
                    </a:cubicBezTo>
                    <a:cubicBezTo>
                      <a:pt x="1161" y="349"/>
                      <a:pt x="1161" y="349"/>
                      <a:pt x="1161" y="349"/>
                    </a:cubicBezTo>
                    <a:cubicBezTo>
                      <a:pt x="1157" y="349"/>
                      <a:pt x="1157" y="349"/>
                      <a:pt x="1157" y="349"/>
                    </a:cubicBezTo>
                    <a:cubicBezTo>
                      <a:pt x="1156" y="347"/>
                      <a:pt x="1156" y="347"/>
                      <a:pt x="1156" y="347"/>
                    </a:cubicBezTo>
                    <a:cubicBezTo>
                      <a:pt x="1156" y="342"/>
                      <a:pt x="1156" y="342"/>
                      <a:pt x="1156" y="342"/>
                    </a:cubicBezTo>
                    <a:cubicBezTo>
                      <a:pt x="1155" y="340"/>
                      <a:pt x="1155" y="340"/>
                      <a:pt x="1155" y="340"/>
                    </a:cubicBezTo>
                    <a:cubicBezTo>
                      <a:pt x="1156" y="338"/>
                      <a:pt x="1156" y="338"/>
                      <a:pt x="1156" y="338"/>
                    </a:cubicBezTo>
                    <a:cubicBezTo>
                      <a:pt x="1160" y="335"/>
                      <a:pt x="1160" y="335"/>
                      <a:pt x="1160" y="335"/>
                    </a:cubicBezTo>
                    <a:cubicBezTo>
                      <a:pt x="1161" y="333"/>
                      <a:pt x="1161" y="333"/>
                      <a:pt x="1161" y="333"/>
                    </a:cubicBezTo>
                    <a:cubicBezTo>
                      <a:pt x="1161" y="331"/>
                      <a:pt x="1161" y="331"/>
                      <a:pt x="1161" y="331"/>
                    </a:cubicBezTo>
                    <a:cubicBezTo>
                      <a:pt x="1162" y="328"/>
                      <a:pt x="1162" y="328"/>
                      <a:pt x="1162" y="328"/>
                    </a:cubicBezTo>
                    <a:cubicBezTo>
                      <a:pt x="1165" y="325"/>
                      <a:pt x="1165" y="325"/>
                      <a:pt x="1165" y="325"/>
                    </a:cubicBezTo>
                    <a:cubicBezTo>
                      <a:pt x="1167" y="325"/>
                      <a:pt x="1167" y="325"/>
                      <a:pt x="1167" y="325"/>
                    </a:cubicBezTo>
                    <a:cubicBezTo>
                      <a:pt x="1169" y="323"/>
                      <a:pt x="1169" y="323"/>
                      <a:pt x="1169" y="323"/>
                    </a:cubicBezTo>
                    <a:cubicBezTo>
                      <a:pt x="1175" y="323"/>
                      <a:pt x="1175" y="323"/>
                      <a:pt x="1175" y="323"/>
                    </a:cubicBezTo>
                    <a:cubicBezTo>
                      <a:pt x="1177" y="320"/>
                      <a:pt x="1177" y="320"/>
                      <a:pt x="1177" y="320"/>
                    </a:cubicBezTo>
                    <a:cubicBezTo>
                      <a:pt x="1180" y="319"/>
                      <a:pt x="1180" y="319"/>
                      <a:pt x="1180" y="319"/>
                    </a:cubicBezTo>
                    <a:cubicBezTo>
                      <a:pt x="1183" y="318"/>
                      <a:pt x="1183" y="318"/>
                      <a:pt x="1183" y="318"/>
                    </a:cubicBezTo>
                    <a:cubicBezTo>
                      <a:pt x="1183" y="316"/>
                      <a:pt x="1183" y="316"/>
                      <a:pt x="1183" y="316"/>
                    </a:cubicBezTo>
                    <a:cubicBezTo>
                      <a:pt x="1184" y="315"/>
                      <a:pt x="1184" y="315"/>
                      <a:pt x="1184" y="315"/>
                    </a:cubicBezTo>
                    <a:cubicBezTo>
                      <a:pt x="1188" y="315"/>
                      <a:pt x="1188" y="315"/>
                      <a:pt x="1188" y="315"/>
                    </a:cubicBezTo>
                    <a:cubicBezTo>
                      <a:pt x="1193" y="317"/>
                      <a:pt x="1193" y="317"/>
                      <a:pt x="1193" y="317"/>
                    </a:cubicBezTo>
                    <a:cubicBezTo>
                      <a:pt x="1199" y="317"/>
                      <a:pt x="1199" y="317"/>
                      <a:pt x="1199" y="317"/>
                    </a:cubicBezTo>
                    <a:cubicBezTo>
                      <a:pt x="1201" y="315"/>
                      <a:pt x="1201" y="315"/>
                      <a:pt x="1201" y="315"/>
                    </a:cubicBezTo>
                    <a:cubicBezTo>
                      <a:pt x="1204" y="316"/>
                      <a:pt x="1204" y="316"/>
                      <a:pt x="1204" y="316"/>
                    </a:cubicBezTo>
                    <a:cubicBezTo>
                      <a:pt x="1206" y="320"/>
                      <a:pt x="1206" y="320"/>
                      <a:pt x="1206" y="320"/>
                    </a:cubicBezTo>
                    <a:cubicBezTo>
                      <a:pt x="1208" y="320"/>
                      <a:pt x="1208" y="320"/>
                      <a:pt x="1208" y="320"/>
                    </a:cubicBezTo>
                    <a:cubicBezTo>
                      <a:pt x="1209" y="318"/>
                      <a:pt x="1209" y="318"/>
                      <a:pt x="1209" y="318"/>
                    </a:cubicBezTo>
                    <a:cubicBezTo>
                      <a:pt x="1211" y="317"/>
                      <a:pt x="1211" y="317"/>
                      <a:pt x="1211" y="317"/>
                    </a:cubicBezTo>
                    <a:cubicBezTo>
                      <a:pt x="1215" y="320"/>
                      <a:pt x="1215" y="320"/>
                      <a:pt x="1215" y="320"/>
                    </a:cubicBezTo>
                    <a:cubicBezTo>
                      <a:pt x="1216" y="319"/>
                      <a:pt x="1216" y="319"/>
                      <a:pt x="1216" y="319"/>
                    </a:cubicBezTo>
                    <a:cubicBezTo>
                      <a:pt x="1220" y="320"/>
                      <a:pt x="1220" y="320"/>
                      <a:pt x="1220" y="320"/>
                    </a:cubicBezTo>
                    <a:cubicBezTo>
                      <a:pt x="1221" y="318"/>
                      <a:pt x="1221" y="318"/>
                      <a:pt x="1221" y="318"/>
                    </a:cubicBezTo>
                    <a:cubicBezTo>
                      <a:pt x="1220" y="317"/>
                      <a:pt x="1220" y="317"/>
                      <a:pt x="1220" y="317"/>
                    </a:cubicBezTo>
                    <a:cubicBezTo>
                      <a:pt x="1217" y="317"/>
                      <a:pt x="1217" y="317"/>
                      <a:pt x="1217" y="317"/>
                    </a:cubicBezTo>
                    <a:cubicBezTo>
                      <a:pt x="1215" y="315"/>
                      <a:pt x="1215" y="315"/>
                      <a:pt x="1215" y="315"/>
                    </a:cubicBezTo>
                    <a:cubicBezTo>
                      <a:pt x="1213" y="315"/>
                      <a:pt x="1213" y="315"/>
                      <a:pt x="1213" y="315"/>
                    </a:cubicBezTo>
                    <a:cubicBezTo>
                      <a:pt x="1213" y="313"/>
                      <a:pt x="1213" y="313"/>
                      <a:pt x="1213" y="313"/>
                    </a:cubicBezTo>
                    <a:cubicBezTo>
                      <a:pt x="1216" y="312"/>
                      <a:pt x="1216" y="312"/>
                      <a:pt x="1216" y="312"/>
                    </a:cubicBezTo>
                    <a:cubicBezTo>
                      <a:pt x="1216" y="310"/>
                      <a:pt x="1216" y="310"/>
                      <a:pt x="1216" y="310"/>
                    </a:cubicBezTo>
                    <a:cubicBezTo>
                      <a:pt x="1213" y="309"/>
                      <a:pt x="1213" y="309"/>
                      <a:pt x="1213" y="309"/>
                    </a:cubicBezTo>
                    <a:cubicBezTo>
                      <a:pt x="1213" y="308"/>
                      <a:pt x="1213" y="308"/>
                      <a:pt x="1213" y="308"/>
                    </a:cubicBezTo>
                    <a:cubicBezTo>
                      <a:pt x="1217" y="308"/>
                      <a:pt x="1217" y="308"/>
                      <a:pt x="1217" y="308"/>
                    </a:cubicBezTo>
                    <a:cubicBezTo>
                      <a:pt x="1218" y="307"/>
                      <a:pt x="1218" y="307"/>
                      <a:pt x="1218" y="307"/>
                    </a:cubicBezTo>
                    <a:cubicBezTo>
                      <a:pt x="1214" y="305"/>
                      <a:pt x="1214" y="305"/>
                      <a:pt x="1214" y="305"/>
                    </a:cubicBezTo>
                    <a:cubicBezTo>
                      <a:pt x="1213" y="306"/>
                      <a:pt x="1213" y="306"/>
                      <a:pt x="1213" y="306"/>
                    </a:cubicBezTo>
                    <a:cubicBezTo>
                      <a:pt x="1210" y="307"/>
                      <a:pt x="1210" y="307"/>
                      <a:pt x="1210" y="307"/>
                    </a:cubicBezTo>
                    <a:cubicBezTo>
                      <a:pt x="1208" y="304"/>
                      <a:pt x="1208" y="304"/>
                      <a:pt x="1208" y="304"/>
                    </a:cubicBezTo>
                    <a:cubicBezTo>
                      <a:pt x="1209" y="302"/>
                      <a:pt x="1209" y="302"/>
                      <a:pt x="1209" y="302"/>
                    </a:cubicBezTo>
                    <a:cubicBezTo>
                      <a:pt x="1212" y="299"/>
                      <a:pt x="1212" y="299"/>
                      <a:pt x="1212" y="299"/>
                    </a:cubicBezTo>
                    <a:cubicBezTo>
                      <a:pt x="1212" y="297"/>
                      <a:pt x="1212" y="297"/>
                      <a:pt x="1212" y="297"/>
                    </a:cubicBezTo>
                    <a:cubicBezTo>
                      <a:pt x="1211" y="297"/>
                      <a:pt x="1211" y="297"/>
                      <a:pt x="1211" y="297"/>
                    </a:cubicBezTo>
                    <a:cubicBezTo>
                      <a:pt x="1209" y="294"/>
                      <a:pt x="1209" y="294"/>
                      <a:pt x="1209" y="294"/>
                    </a:cubicBezTo>
                    <a:cubicBezTo>
                      <a:pt x="1209" y="288"/>
                      <a:pt x="1209" y="288"/>
                      <a:pt x="1209" y="288"/>
                    </a:cubicBezTo>
                    <a:cubicBezTo>
                      <a:pt x="1210" y="287"/>
                      <a:pt x="1210" y="287"/>
                      <a:pt x="1210" y="287"/>
                    </a:cubicBezTo>
                    <a:cubicBezTo>
                      <a:pt x="1210" y="284"/>
                      <a:pt x="1210" y="284"/>
                      <a:pt x="1210" y="284"/>
                    </a:cubicBezTo>
                    <a:cubicBezTo>
                      <a:pt x="1210" y="280"/>
                      <a:pt x="1210" y="280"/>
                      <a:pt x="1210" y="280"/>
                    </a:cubicBezTo>
                    <a:cubicBezTo>
                      <a:pt x="1213" y="280"/>
                      <a:pt x="1213" y="280"/>
                      <a:pt x="1213" y="280"/>
                    </a:cubicBezTo>
                    <a:cubicBezTo>
                      <a:pt x="1216" y="279"/>
                      <a:pt x="1216" y="279"/>
                      <a:pt x="1216" y="279"/>
                    </a:cubicBezTo>
                    <a:cubicBezTo>
                      <a:pt x="1220" y="279"/>
                      <a:pt x="1220" y="279"/>
                      <a:pt x="1220" y="279"/>
                    </a:cubicBezTo>
                    <a:cubicBezTo>
                      <a:pt x="1223" y="279"/>
                      <a:pt x="1223" y="279"/>
                      <a:pt x="1223" y="279"/>
                    </a:cubicBezTo>
                    <a:cubicBezTo>
                      <a:pt x="1227" y="280"/>
                      <a:pt x="1227" y="280"/>
                      <a:pt x="1227" y="280"/>
                    </a:cubicBezTo>
                    <a:cubicBezTo>
                      <a:pt x="1230" y="280"/>
                      <a:pt x="1230" y="280"/>
                      <a:pt x="1230" y="280"/>
                    </a:cubicBezTo>
                    <a:cubicBezTo>
                      <a:pt x="1234" y="285"/>
                      <a:pt x="1234" y="285"/>
                      <a:pt x="1234" y="285"/>
                    </a:cubicBezTo>
                    <a:cubicBezTo>
                      <a:pt x="1236" y="292"/>
                      <a:pt x="1236" y="292"/>
                      <a:pt x="1236" y="292"/>
                    </a:cubicBezTo>
                    <a:cubicBezTo>
                      <a:pt x="1236" y="302"/>
                      <a:pt x="1236" y="302"/>
                      <a:pt x="1236" y="302"/>
                    </a:cubicBezTo>
                    <a:cubicBezTo>
                      <a:pt x="1234" y="307"/>
                      <a:pt x="1234" y="307"/>
                      <a:pt x="1234" y="307"/>
                    </a:cubicBezTo>
                    <a:cubicBezTo>
                      <a:pt x="1236" y="309"/>
                      <a:pt x="1236" y="309"/>
                      <a:pt x="1236" y="309"/>
                    </a:cubicBezTo>
                    <a:cubicBezTo>
                      <a:pt x="1238" y="308"/>
                      <a:pt x="1238" y="308"/>
                      <a:pt x="1238" y="308"/>
                    </a:cubicBezTo>
                    <a:cubicBezTo>
                      <a:pt x="1245" y="311"/>
                      <a:pt x="1245" y="311"/>
                      <a:pt x="1245" y="311"/>
                    </a:cubicBezTo>
                    <a:cubicBezTo>
                      <a:pt x="1248" y="316"/>
                      <a:pt x="1248" y="316"/>
                      <a:pt x="1248" y="316"/>
                    </a:cubicBezTo>
                    <a:cubicBezTo>
                      <a:pt x="1250" y="316"/>
                      <a:pt x="1250" y="316"/>
                      <a:pt x="1250" y="316"/>
                    </a:cubicBezTo>
                    <a:cubicBezTo>
                      <a:pt x="1250" y="314"/>
                      <a:pt x="1250" y="314"/>
                      <a:pt x="1250" y="314"/>
                    </a:cubicBezTo>
                    <a:cubicBezTo>
                      <a:pt x="1258" y="314"/>
                      <a:pt x="1258" y="314"/>
                      <a:pt x="1258" y="314"/>
                    </a:cubicBezTo>
                    <a:cubicBezTo>
                      <a:pt x="1263" y="318"/>
                      <a:pt x="1263" y="318"/>
                      <a:pt x="1263" y="318"/>
                    </a:cubicBezTo>
                    <a:cubicBezTo>
                      <a:pt x="1265" y="317"/>
                      <a:pt x="1265" y="317"/>
                      <a:pt x="1265" y="317"/>
                    </a:cubicBezTo>
                    <a:cubicBezTo>
                      <a:pt x="1263" y="314"/>
                      <a:pt x="1263" y="314"/>
                      <a:pt x="1263" y="314"/>
                    </a:cubicBezTo>
                    <a:cubicBezTo>
                      <a:pt x="1265" y="312"/>
                      <a:pt x="1265" y="312"/>
                      <a:pt x="1265" y="312"/>
                    </a:cubicBezTo>
                    <a:cubicBezTo>
                      <a:pt x="1271" y="310"/>
                      <a:pt x="1271" y="310"/>
                      <a:pt x="1271" y="310"/>
                    </a:cubicBezTo>
                    <a:cubicBezTo>
                      <a:pt x="1275" y="304"/>
                      <a:pt x="1275" y="304"/>
                      <a:pt x="1275" y="304"/>
                    </a:cubicBezTo>
                    <a:cubicBezTo>
                      <a:pt x="1282" y="300"/>
                      <a:pt x="1282" y="300"/>
                      <a:pt x="1282" y="300"/>
                    </a:cubicBezTo>
                    <a:cubicBezTo>
                      <a:pt x="1289" y="293"/>
                      <a:pt x="1289" y="293"/>
                      <a:pt x="1289" y="293"/>
                    </a:cubicBezTo>
                    <a:cubicBezTo>
                      <a:pt x="1289" y="290"/>
                      <a:pt x="1289" y="290"/>
                      <a:pt x="1289" y="290"/>
                    </a:cubicBezTo>
                    <a:cubicBezTo>
                      <a:pt x="1291" y="288"/>
                      <a:pt x="1291" y="288"/>
                      <a:pt x="1291" y="288"/>
                    </a:cubicBezTo>
                    <a:cubicBezTo>
                      <a:pt x="1289" y="288"/>
                      <a:pt x="1289" y="288"/>
                      <a:pt x="1289" y="288"/>
                    </a:cubicBezTo>
                    <a:cubicBezTo>
                      <a:pt x="1286" y="290"/>
                      <a:pt x="1286" y="290"/>
                      <a:pt x="1286" y="290"/>
                    </a:cubicBezTo>
                    <a:cubicBezTo>
                      <a:pt x="1286" y="293"/>
                      <a:pt x="1286" y="293"/>
                      <a:pt x="1286" y="293"/>
                    </a:cubicBezTo>
                    <a:cubicBezTo>
                      <a:pt x="1280" y="299"/>
                      <a:pt x="1280" y="299"/>
                      <a:pt x="1280" y="299"/>
                    </a:cubicBezTo>
                    <a:cubicBezTo>
                      <a:pt x="1276" y="302"/>
                      <a:pt x="1276" y="302"/>
                      <a:pt x="1276" y="302"/>
                    </a:cubicBezTo>
                    <a:cubicBezTo>
                      <a:pt x="1276" y="303"/>
                      <a:pt x="1276" y="303"/>
                      <a:pt x="1276" y="303"/>
                    </a:cubicBezTo>
                    <a:cubicBezTo>
                      <a:pt x="1270" y="308"/>
                      <a:pt x="1270" y="308"/>
                      <a:pt x="1270" y="308"/>
                    </a:cubicBezTo>
                    <a:cubicBezTo>
                      <a:pt x="1264" y="310"/>
                      <a:pt x="1264" y="310"/>
                      <a:pt x="1264" y="310"/>
                    </a:cubicBezTo>
                    <a:cubicBezTo>
                      <a:pt x="1261" y="308"/>
                      <a:pt x="1261" y="308"/>
                      <a:pt x="1261" y="308"/>
                    </a:cubicBezTo>
                    <a:cubicBezTo>
                      <a:pt x="1259" y="308"/>
                      <a:pt x="1259" y="308"/>
                      <a:pt x="1259" y="308"/>
                    </a:cubicBezTo>
                    <a:cubicBezTo>
                      <a:pt x="1259" y="309"/>
                      <a:pt x="1259" y="309"/>
                      <a:pt x="1259" y="309"/>
                    </a:cubicBezTo>
                    <a:cubicBezTo>
                      <a:pt x="1254" y="309"/>
                      <a:pt x="1254" y="309"/>
                      <a:pt x="1254" y="309"/>
                    </a:cubicBezTo>
                    <a:cubicBezTo>
                      <a:pt x="1249" y="307"/>
                      <a:pt x="1249" y="307"/>
                      <a:pt x="1249" y="307"/>
                    </a:cubicBezTo>
                    <a:cubicBezTo>
                      <a:pt x="1250" y="304"/>
                      <a:pt x="1250" y="304"/>
                      <a:pt x="1250" y="304"/>
                    </a:cubicBezTo>
                    <a:cubicBezTo>
                      <a:pt x="1253" y="302"/>
                      <a:pt x="1253" y="302"/>
                      <a:pt x="1253" y="302"/>
                    </a:cubicBezTo>
                    <a:cubicBezTo>
                      <a:pt x="1256" y="300"/>
                      <a:pt x="1256" y="300"/>
                      <a:pt x="1256" y="300"/>
                    </a:cubicBezTo>
                    <a:cubicBezTo>
                      <a:pt x="1257" y="296"/>
                      <a:pt x="1257" y="296"/>
                      <a:pt x="1257" y="296"/>
                    </a:cubicBezTo>
                    <a:cubicBezTo>
                      <a:pt x="1252" y="299"/>
                      <a:pt x="1252" y="299"/>
                      <a:pt x="1252" y="299"/>
                    </a:cubicBezTo>
                    <a:cubicBezTo>
                      <a:pt x="1251" y="302"/>
                      <a:pt x="1251" y="302"/>
                      <a:pt x="1251" y="302"/>
                    </a:cubicBezTo>
                    <a:cubicBezTo>
                      <a:pt x="1248" y="301"/>
                      <a:pt x="1248" y="301"/>
                      <a:pt x="1248" y="301"/>
                    </a:cubicBezTo>
                    <a:cubicBezTo>
                      <a:pt x="1245" y="297"/>
                      <a:pt x="1245" y="297"/>
                      <a:pt x="1245" y="297"/>
                    </a:cubicBezTo>
                    <a:cubicBezTo>
                      <a:pt x="1245" y="295"/>
                      <a:pt x="1245" y="295"/>
                      <a:pt x="1245" y="295"/>
                    </a:cubicBezTo>
                    <a:cubicBezTo>
                      <a:pt x="1248" y="295"/>
                      <a:pt x="1248" y="295"/>
                      <a:pt x="1248" y="295"/>
                    </a:cubicBezTo>
                    <a:cubicBezTo>
                      <a:pt x="1251" y="293"/>
                      <a:pt x="1251" y="293"/>
                      <a:pt x="1251" y="293"/>
                    </a:cubicBezTo>
                    <a:cubicBezTo>
                      <a:pt x="1252" y="292"/>
                      <a:pt x="1252" y="292"/>
                      <a:pt x="1252" y="292"/>
                    </a:cubicBezTo>
                    <a:cubicBezTo>
                      <a:pt x="1248" y="292"/>
                      <a:pt x="1248" y="292"/>
                      <a:pt x="1248" y="292"/>
                    </a:cubicBezTo>
                    <a:cubicBezTo>
                      <a:pt x="1248" y="290"/>
                      <a:pt x="1248" y="290"/>
                      <a:pt x="1248" y="290"/>
                    </a:cubicBezTo>
                    <a:cubicBezTo>
                      <a:pt x="1250" y="289"/>
                      <a:pt x="1250" y="289"/>
                      <a:pt x="1250" y="289"/>
                    </a:cubicBezTo>
                    <a:cubicBezTo>
                      <a:pt x="1253" y="290"/>
                      <a:pt x="1253" y="290"/>
                      <a:pt x="1253" y="290"/>
                    </a:cubicBezTo>
                    <a:cubicBezTo>
                      <a:pt x="1256" y="290"/>
                      <a:pt x="1256" y="290"/>
                      <a:pt x="1256" y="290"/>
                    </a:cubicBezTo>
                    <a:cubicBezTo>
                      <a:pt x="1256" y="288"/>
                      <a:pt x="1256" y="288"/>
                      <a:pt x="1256" y="288"/>
                    </a:cubicBezTo>
                    <a:cubicBezTo>
                      <a:pt x="1253" y="288"/>
                      <a:pt x="1253" y="288"/>
                      <a:pt x="1253" y="288"/>
                    </a:cubicBezTo>
                    <a:cubicBezTo>
                      <a:pt x="1251" y="286"/>
                      <a:pt x="1251" y="286"/>
                      <a:pt x="1251" y="286"/>
                    </a:cubicBezTo>
                    <a:cubicBezTo>
                      <a:pt x="1249" y="288"/>
                      <a:pt x="1249" y="288"/>
                      <a:pt x="1249" y="288"/>
                    </a:cubicBezTo>
                    <a:cubicBezTo>
                      <a:pt x="1246" y="288"/>
                      <a:pt x="1246" y="288"/>
                      <a:pt x="1246" y="288"/>
                    </a:cubicBezTo>
                    <a:cubicBezTo>
                      <a:pt x="1245" y="285"/>
                      <a:pt x="1245" y="285"/>
                      <a:pt x="1245" y="285"/>
                    </a:cubicBezTo>
                    <a:cubicBezTo>
                      <a:pt x="1246" y="283"/>
                      <a:pt x="1246" y="283"/>
                      <a:pt x="1246" y="283"/>
                    </a:cubicBezTo>
                    <a:cubicBezTo>
                      <a:pt x="1249" y="282"/>
                      <a:pt x="1249" y="282"/>
                      <a:pt x="1249" y="282"/>
                    </a:cubicBezTo>
                    <a:cubicBezTo>
                      <a:pt x="1252" y="281"/>
                      <a:pt x="1252" y="281"/>
                      <a:pt x="1252" y="281"/>
                    </a:cubicBezTo>
                    <a:cubicBezTo>
                      <a:pt x="1255" y="281"/>
                      <a:pt x="1255" y="281"/>
                      <a:pt x="1255" y="281"/>
                    </a:cubicBezTo>
                    <a:cubicBezTo>
                      <a:pt x="1259" y="283"/>
                      <a:pt x="1259" y="283"/>
                      <a:pt x="1259" y="283"/>
                    </a:cubicBezTo>
                    <a:cubicBezTo>
                      <a:pt x="1262" y="281"/>
                      <a:pt x="1262" y="281"/>
                      <a:pt x="1262" y="281"/>
                    </a:cubicBezTo>
                    <a:cubicBezTo>
                      <a:pt x="1258" y="281"/>
                      <a:pt x="1258" y="281"/>
                      <a:pt x="1258" y="281"/>
                    </a:cubicBezTo>
                    <a:cubicBezTo>
                      <a:pt x="1257" y="279"/>
                      <a:pt x="1257" y="279"/>
                      <a:pt x="1257" y="279"/>
                    </a:cubicBezTo>
                    <a:cubicBezTo>
                      <a:pt x="1261" y="275"/>
                      <a:pt x="1261" y="275"/>
                      <a:pt x="1261" y="275"/>
                    </a:cubicBezTo>
                    <a:cubicBezTo>
                      <a:pt x="1263" y="275"/>
                      <a:pt x="1263" y="275"/>
                      <a:pt x="1263" y="275"/>
                    </a:cubicBezTo>
                    <a:cubicBezTo>
                      <a:pt x="1265" y="274"/>
                      <a:pt x="1265" y="274"/>
                      <a:pt x="1265" y="274"/>
                    </a:cubicBezTo>
                    <a:cubicBezTo>
                      <a:pt x="1262" y="274"/>
                      <a:pt x="1262" y="274"/>
                      <a:pt x="1262" y="274"/>
                    </a:cubicBezTo>
                    <a:cubicBezTo>
                      <a:pt x="1262" y="272"/>
                      <a:pt x="1262" y="272"/>
                      <a:pt x="1262" y="272"/>
                    </a:cubicBezTo>
                    <a:cubicBezTo>
                      <a:pt x="1264" y="268"/>
                      <a:pt x="1264" y="268"/>
                      <a:pt x="1264" y="268"/>
                    </a:cubicBezTo>
                    <a:cubicBezTo>
                      <a:pt x="1267" y="268"/>
                      <a:pt x="1267" y="268"/>
                      <a:pt x="1267" y="268"/>
                    </a:cubicBezTo>
                    <a:cubicBezTo>
                      <a:pt x="1266" y="265"/>
                      <a:pt x="1266" y="265"/>
                      <a:pt x="1266" y="265"/>
                    </a:cubicBezTo>
                    <a:cubicBezTo>
                      <a:pt x="1270" y="258"/>
                      <a:pt x="1270" y="258"/>
                      <a:pt x="1270" y="258"/>
                    </a:cubicBezTo>
                    <a:cubicBezTo>
                      <a:pt x="1274" y="256"/>
                      <a:pt x="1274" y="256"/>
                      <a:pt x="1274" y="256"/>
                    </a:cubicBezTo>
                    <a:cubicBezTo>
                      <a:pt x="1274" y="254"/>
                      <a:pt x="1274" y="254"/>
                      <a:pt x="1274" y="254"/>
                    </a:cubicBezTo>
                    <a:cubicBezTo>
                      <a:pt x="1271" y="254"/>
                      <a:pt x="1271" y="254"/>
                      <a:pt x="1271" y="254"/>
                    </a:cubicBezTo>
                    <a:cubicBezTo>
                      <a:pt x="1266" y="261"/>
                      <a:pt x="1266" y="261"/>
                      <a:pt x="1266" y="261"/>
                    </a:cubicBezTo>
                    <a:cubicBezTo>
                      <a:pt x="1262" y="268"/>
                      <a:pt x="1262" y="268"/>
                      <a:pt x="1262" y="268"/>
                    </a:cubicBezTo>
                    <a:cubicBezTo>
                      <a:pt x="1256" y="273"/>
                      <a:pt x="1256" y="273"/>
                      <a:pt x="1256" y="273"/>
                    </a:cubicBezTo>
                    <a:cubicBezTo>
                      <a:pt x="1251" y="277"/>
                      <a:pt x="1251" y="277"/>
                      <a:pt x="1251" y="277"/>
                    </a:cubicBezTo>
                    <a:cubicBezTo>
                      <a:pt x="1248" y="276"/>
                      <a:pt x="1248" y="276"/>
                      <a:pt x="1248" y="276"/>
                    </a:cubicBezTo>
                    <a:cubicBezTo>
                      <a:pt x="1243" y="276"/>
                      <a:pt x="1243" y="276"/>
                      <a:pt x="1243" y="276"/>
                    </a:cubicBezTo>
                    <a:cubicBezTo>
                      <a:pt x="1243" y="274"/>
                      <a:pt x="1243" y="274"/>
                      <a:pt x="1243" y="274"/>
                    </a:cubicBezTo>
                    <a:cubicBezTo>
                      <a:pt x="1246" y="270"/>
                      <a:pt x="1246" y="270"/>
                      <a:pt x="1246" y="270"/>
                    </a:cubicBezTo>
                    <a:cubicBezTo>
                      <a:pt x="1250" y="268"/>
                      <a:pt x="1250" y="268"/>
                      <a:pt x="1250" y="268"/>
                    </a:cubicBezTo>
                    <a:cubicBezTo>
                      <a:pt x="1250" y="265"/>
                      <a:pt x="1250" y="265"/>
                      <a:pt x="1250" y="265"/>
                    </a:cubicBezTo>
                    <a:cubicBezTo>
                      <a:pt x="1244" y="269"/>
                      <a:pt x="1244" y="269"/>
                      <a:pt x="1244" y="269"/>
                    </a:cubicBezTo>
                    <a:cubicBezTo>
                      <a:pt x="1239" y="268"/>
                      <a:pt x="1239" y="268"/>
                      <a:pt x="1239" y="268"/>
                    </a:cubicBezTo>
                    <a:cubicBezTo>
                      <a:pt x="1239" y="271"/>
                      <a:pt x="1239" y="271"/>
                      <a:pt x="1239" y="271"/>
                    </a:cubicBezTo>
                    <a:cubicBezTo>
                      <a:pt x="1236" y="273"/>
                      <a:pt x="1236" y="273"/>
                      <a:pt x="1236" y="273"/>
                    </a:cubicBezTo>
                    <a:cubicBezTo>
                      <a:pt x="1231" y="273"/>
                      <a:pt x="1231" y="273"/>
                      <a:pt x="1231" y="273"/>
                    </a:cubicBezTo>
                    <a:cubicBezTo>
                      <a:pt x="1226" y="268"/>
                      <a:pt x="1226" y="268"/>
                      <a:pt x="1226" y="268"/>
                    </a:cubicBezTo>
                    <a:cubicBezTo>
                      <a:pt x="1228" y="266"/>
                      <a:pt x="1228" y="266"/>
                      <a:pt x="1228" y="266"/>
                    </a:cubicBezTo>
                    <a:cubicBezTo>
                      <a:pt x="1232" y="266"/>
                      <a:pt x="1232" y="266"/>
                      <a:pt x="1232" y="266"/>
                    </a:cubicBezTo>
                    <a:cubicBezTo>
                      <a:pt x="1231" y="264"/>
                      <a:pt x="1231" y="264"/>
                      <a:pt x="1231" y="264"/>
                    </a:cubicBezTo>
                    <a:cubicBezTo>
                      <a:pt x="1228" y="264"/>
                      <a:pt x="1228" y="264"/>
                      <a:pt x="1228" y="264"/>
                    </a:cubicBezTo>
                    <a:cubicBezTo>
                      <a:pt x="1229" y="260"/>
                      <a:pt x="1229" y="260"/>
                      <a:pt x="1229" y="260"/>
                    </a:cubicBezTo>
                    <a:cubicBezTo>
                      <a:pt x="1234" y="256"/>
                      <a:pt x="1234" y="256"/>
                      <a:pt x="1234" y="256"/>
                    </a:cubicBezTo>
                    <a:cubicBezTo>
                      <a:pt x="1234" y="254"/>
                      <a:pt x="1234" y="254"/>
                      <a:pt x="1234" y="254"/>
                    </a:cubicBezTo>
                    <a:cubicBezTo>
                      <a:pt x="1238" y="252"/>
                      <a:pt x="1238" y="252"/>
                      <a:pt x="1238" y="252"/>
                    </a:cubicBezTo>
                    <a:cubicBezTo>
                      <a:pt x="1242" y="250"/>
                      <a:pt x="1242" y="250"/>
                      <a:pt x="1242" y="250"/>
                    </a:cubicBezTo>
                    <a:cubicBezTo>
                      <a:pt x="1246" y="249"/>
                      <a:pt x="1246" y="249"/>
                      <a:pt x="1246" y="249"/>
                    </a:cubicBezTo>
                    <a:cubicBezTo>
                      <a:pt x="1246" y="245"/>
                      <a:pt x="1246" y="245"/>
                      <a:pt x="1246" y="245"/>
                    </a:cubicBezTo>
                    <a:cubicBezTo>
                      <a:pt x="1249" y="240"/>
                      <a:pt x="1249" y="240"/>
                      <a:pt x="1249" y="240"/>
                    </a:cubicBezTo>
                    <a:cubicBezTo>
                      <a:pt x="1254" y="234"/>
                      <a:pt x="1254" y="234"/>
                      <a:pt x="1254" y="234"/>
                    </a:cubicBezTo>
                    <a:cubicBezTo>
                      <a:pt x="1257" y="235"/>
                      <a:pt x="1257" y="235"/>
                      <a:pt x="1257" y="235"/>
                    </a:cubicBezTo>
                    <a:cubicBezTo>
                      <a:pt x="1264" y="233"/>
                      <a:pt x="1264" y="233"/>
                      <a:pt x="1264" y="233"/>
                    </a:cubicBezTo>
                    <a:cubicBezTo>
                      <a:pt x="1270" y="234"/>
                      <a:pt x="1270" y="234"/>
                      <a:pt x="1270" y="234"/>
                    </a:cubicBezTo>
                    <a:cubicBezTo>
                      <a:pt x="1273" y="233"/>
                      <a:pt x="1273" y="233"/>
                      <a:pt x="1273" y="233"/>
                    </a:cubicBezTo>
                    <a:cubicBezTo>
                      <a:pt x="1276" y="233"/>
                      <a:pt x="1276" y="233"/>
                      <a:pt x="1276" y="233"/>
                    </a:cubicBezTo>
                    <a:cubicBezTo>
                      <a:pt x="1280" y="230"/>
                      <a:pt x="1280" y="230"/>
                      <a:pt x="1280" y="230"/>
                    </a:cubicBezTo>
                    <a:cubicBezTo>
                      <a:pt x="1283" y="230"/>
                      <a:pt x="1283" y="230"/>
                      <a:pt x="1283" y="230"/>
                    </a:cubicBezTo>
                    <a:cubicBezTo>
                      <a:pt x="1283" y="231"/>
                      <a:pt x="1283" y="231"/>
                      <a:pt x="1283" y="231"/>
                    </a:cubicBezTo>
                    <a:cubicBezTo>
                      <a:pt x="1288" y="236"/>
                      <a:pt x="1288" y="236"/>
                      <a:pt x="1288" y="236"/>
                    </a:cubicBezTo>
                    <a:cubicBezTo>
                      <a:pt x="1290" y="236"/>
                      <a:pt x="1290" y="236"/>
                      <a:pt x="1290" y="236"/>
                    </a:cubicBezTo>
                    <a:cubicBezTo>
                      <a:pt x="1299" y="242"/>
                      <a:pt x="1299" y="242"/>
                      <a:pt x="1299" y="242"/>
                    </a:cubicBezTo>
                    <a:cubicBezTo>
                      <a:pt x="1300" y="245"/>
                      <a:pt x="1300" y="245"/>
                      <a:pt x="1300" y="245"/>
                    </a:cubicBezTo>
                    <a:cubicBezTo>
                      <a:pt x="1302" y="248"/>
                      <a:pt x="1302" y="248"/>
                      <a:pt x="1302" y="248"/>
                    </a:cubicBezTo>
                    <a:cubicBezTo>
                      <a:pt x="1305" y="248"/>
                      <a:pt x="1305" y="248"/>
                      <a:pt x="1305" y="248"/>
                    </a:cubicBezTo>
                    <a:cubicBezTo>
                      <a:pt x="1310" y="255"/>
                      <a:pt x="1310" y="255"/>
                      <a:pt x="1310" y="255"/>
                    </a:cubicBezTo>
                    <a:cubicBezTo>
                      <a:pt x="1310" y="250"/>
                      <a:pt x="1310" y="250"/>
                      <a:pt x="1310" y="250"/>
                    </a:cubicBezTo>
                    <a:cubicBezTo>
                      <a:pt x="1313" y="250"/>
                      <a:pt x="1313" y="250"/>
                      <a:pt x="1313" y="250"/>
                    </a:cubicBezTo>
                    <a:cubicBezTo>
                      <a:pt x="1313" y="247"/>
                      <a:pt x="1313" y="247"/>
                      <a:pt x="1313" y="247"/>
                    </a:cubicBezTo>
                    <a:cubicBezTo>
                      <a:pt x="1308" y="247"/>
                      <a:pt x="1308" y="247"/>
                      <a:pt x="1308" y="247"/>
                    </a:cubicBezTo>
                    <a:cubicBezTo>
                      <a:pt x="1306" y="246"/>
                      <a:pt x="1306" y="246"/>
                      <a:pt x="1306" y="246"/>
                    </a:cubicBezTo>
                    <a:cubicBezTo>
                      <a:pt x="1306" y="243"/>
                      <a:pt x="1306" y="243"/>
                      <a:pt x="1306" y="243"/>
                    </a:cubicBezTo>
                    <a:cubicBezTo>
                      <a:pt x="1310" y="242"/>
                      <a:pt x="1310" y="242"/>
                      <a:pt x="1310" y="242"/>
                    </a:cubicBezTo>
                    <a:cubicBezTo>
                      <a:pt x="1318" y="242"/>
                      <a:pt x="1318" y="242"/>
                      <a:pt x="1318" y="242"/>
                    </a:cubicBezTo>
                    <a:cubicBezTo>
                      <a:pt x="1322" y="244"/>
                      <a:pt x="1322" y="244"/>
                      <a:pt x="1322" y="244"/>
                    </a:cubicBezTo>
                    <a:cubicBezTo>
                      <a:pt x="1323" y="242"/>
                      <a:pt x="1323" y="242"/>
                      <a:pt x="1323" y="242"/>
                    </a:cubicBezTo>
                    <a:cubicBezTo>
                      <a:pt x="1323" y="238"/>
                      <a:pt x="1323" y="238"/>
                      <a:pt x="1323" y="238"/>
                    </a:cubicBezTo>
                    <a:cubicBezTo>
                      <a:pt x="1325" y="234"/>
                      <a:pt x="1325" y="234"/>
                      <a:pt x="1325" y="234"/>
                    </a:cubicBezTo>
                    <a:cubicBezTo>
                      <a:pt x="1325" y="232"/>
                      <a:pt x="1325" y="232"/>
                      <a:pt x="1325" y="232"/>
                    </a:cubicBezTo>
                    <a:cubicBezTo>
                      <a:pt x="1323" y="233"/>
                      <a:pt x="1323" y="233"/>
                      <a:pt x="1323" y="233"/>
                    </a:cubicBezTo>
                    <a:cubicBezTo>
                      <a:pt x="1322" y="236"/>
                      <a:pt x="1322" y="236"/>
                      <a:pt x="1322" y="236"/>
                    </a:cubicBezTo>
                    <a:cubicBezTo>
                      <a:pt x="1318" y="238"/>
                      <a:pt x="1318" y="238"/>
                      <a:pt x="1318" y="238"/>
                    </a:cubicBezTo>
                    <a:cubicBezTo>
                      <a:pt x="1315" y="241"/>
                      <a:pt x="1315" y="241"/>
                      <a:pt x="1315" y="241"/>
                    </a:cubicBezTo>
                    <a:cubicBezTo>
                      <a:pt x="1308" y="238"/>
                      <a:pt x="1308" y="238"/>
                      <a:pt x="1308" y="238"/>
                    </a:cubicBezTo>
                    <a:cubicBezTo>
                      <a:pt x="1302" y="238"/>
                      <a:pt x="1302" y="238"/>
                      <a:pt x="1302" y="238"/>
                    </a:cubicBezTo>
                    <a:cubicBezTo>
                      <a:pt x="1300" y="235"/>
                      <a:pt x="1300" y="235"/>
                      <a:pt x="1300" y="235"/>
                    </a:cubicBezTo>
                    <a:cubicBezTo>
                      <a:pt x="1297" y="234"/>
                      <a:pt x="1297" y="234"/>
                      <a:pt x="1297" y="234"/>
                    </a:cubicBezTo>
                    <a:cubicBezTo>
                      <a:pt x="1291" y="234"/>
                      <a:pt x="1291" y="234"/>
                      <a:pt x="1291" y="234"/>
                    </a:cubicBezTo>
                    <a:cubicBezTo>
                      <a:pt x="1287" y="226"/>
                      <a:pt x="1287" y="226"/>
                      <a:pt x="1287" y="226"/>
                    </a:cubicBezTo>
                    <a:cubicBezTo>
                      <a:pt x="1287" y="220"/>
                      <a:pt x="1287" y="220"/>
                      <a:pt x="1287" y="220"/>
                    </a:cubicBezTo>
                    <a:cubicBezTo>
                      <a:pt x="1289" y="218"/>
                      <a:pt x="1289" y="218"/>
                      <a:pt x="1289" y="218"/>
                    </a:cubicBezTo>
                    <a:cubicBezTo>
                      <a:pt x="1293" y="220"/>
                      <a:pt x="1293" y="220"/>
                      <a:pt x="1293" y="220"/>
                    </a:cubicBezTo>
                    <a:cubicBezTo>
                      <a:pt x="1294" y="224"/>
                      <a:pt x="1294" y="224"/>
                      <a:pt x="1294" y="224"/>
                    </a:cubicBezTo>
                    <a:cubicBezTo>
                      <a:pt x="1295" y="226"/>
                      <a:pt x="1295" y="226"/>
                      <a:pt x="1295" y="226"/>
                    </a:cubicBezTo>
                    <a:cubicBezTo>
                      <a:pt x="1298" y="222"/>
                      <a:pt x="1298" y="222"/>
                      <a:pt x="1298" y="222"/>
                    </a:cubicBezTo>
                    <a:cubicBezTo>
                      <a:pt x="1299" y="217"/>
                      <a:pt x="1299" y="217"/>
                      <a:pt x="1299" y="217"/>
                    </a:cubicBezTo>
                    <a:cubicBezTo>
                      <a:pt x="1296" y="218"/>
                      <a:pt x="1296" y="218"/>
                      <a:pt x="1296" y="218"/>
                    </a:cubicBezTo>
                    <a:cubicBezTo>
                      <a:pt x="1295" y="216"/>
                      <a:pt x="1295" y="216"/>
                      <a:pt x="1295" y="216"/>
                    </a:cubicBezTo>
                    <a:cubicBezTo>
                      <a:pt x="1295" y="213"/>
                      <a:pt x="1295" y="213"/>
                      <a:pt x="1295" y="213"/>
                    </a:cubicBezTo>
                    <a:cubicBezTo>
                      <a:pt x="1298" y="207"/>
                      <a:pt x="1298" y="207"/>
                      <a:pt x="1298" y="207"/>
                    </a:cubicBezTo>
                    <a:cubicBezTo>
                      <a:pt x="1298" y="202"/>
                      <a:pt x="1298" y="202"/>
                      <a:pt x="1298" y="202"/>
                    </a:cubicBezTo>
                    <a:cubicBezTo>
                      <a:pt x="1301" y="196"/>
                      <a:pt x="1301" y="196"/>
                      <a:pt x="1301" y="196"/>
                    </a:cubicBezTo>
                    <a:cubicBezTo>
                      <a:pt x="1299" y="186"/>
                      <a:pt x="1299" y="186"/>
                      <a:pt x="1299" y="186"/>
                    </a:cubicBezTo>
                    <a:cubicBezTo>
                      <a:pt x="1298" y="181"/>
                      <a:pt x="1298" y="181"/>
                      <a:pt x="1298" y="181"/>
                    </a:cubicBezTo>
                    <a:cubicBezTo>
                      <a:pt x="1296" y="179"/>
                      <a:pt x="1296" y="179"/>
                      <a:pt x="1296" y="179"/>
                    </a:cubicBezTo>
                    <a:cubicBezTo>
                      <a:pt x="1294" y="176"/>
                      <a:pt x="1294" y="176"/>
                      <a:pt x="1294" y="176"/>
                    </a:cubicBezTo>
                    <a:cubicBezTo>
                      <a:pt x="1295" y="173"/>
                      <a:pt x="1295" y="173"/>
                      <a:pt x="1295" y="173"/>
                    </a:cubicBezTo>
                    <a:cubicBezTo>
                      <a:pt x="1297" y="172"/>
                      <a:pt x="1297" y="172"/>
                      <a:pt x="1297" y="172"/>
                    </a:cubicBezTo>
                    <a:cubicBezTo>
                      <a:pt x="1299" y="171"/>
                      <a:pt x="1299" y="171"/>
                      <a:pt x="1299" y="171"/>
                    </a:cubicBezTo>
                    <a:cubicBezTo>
                      <a:pt x="1301" y="173"/>
                      <a:pt x="1301" y="173"/>
                      <a:pt x="1301" y="173"/>
                    </a:cubicBezTo>
                    <a:cubicBezTo>
                      <a:pt x="1304" y="174"/>
                      <a:pt x="1304" y="174"/>
                      <a:pt x="1304" y="174"/>
                    </a:cubicBezTo>
                    <a:cubicBezTo>
                      <a:pt x="1306" y="178"/>
                      <a:pt x="1306" y="178"/>
                      <a:pt x="1306" y="178"/>
                    </a:cubicBezTo>
                    <a:cubicBezTo>
                      <a:pt x="1308" y="177"/>
                      <a:pt x="1308" y="177"/>
                      <a:pt x="1308" y="177"/>
                    </a:cubicBezTo>
                    <a:cubicBezTo>
                      <a:pt x="1307" y="174"/>
                      <a:pt x="1307" y="174"/>
                      <a:pt x="1307" y="174"/>
                    </a:cubicBezTo>
                    <a:cubicBezTo>
                      <a:pt x="1306" y="170"/>
                      <a:pt x="1306" y="170"/>
                      <a:pt x="1306" y="170"/>
                    </a:cubicBezTo>
                    <a:cubicBezTo>
                      <a:pt x="1302" y="169"/>
                      <a:pt x="1302" y="169"/>
                      <a:pt x="1302" y="169"/>
                    </a:cubicBezTo>
                    <a:cubicBezTo>
                      <a:pt x="1299" y="167"/>
                      <a:pt x="1299" y="167"/>
                      <a:pt x="1299" y="167"/>
                    </a:cubicBezTo>
                    <a:cubicBezTo>
                      <a:pt x="1299" y="164"/>
                      <a:pt x="1299" y="164"/>
                      <a:pt x="1299" y="164"/>
                    </a:cubicBezTo>
                    <a:cubicBezTo>
                      <a:pt x="1300" y="159"/>
                      <a:pt x="1300" y="159"/>
                      <a:pt x="1300" y="159"/>
                    </a:cubicBezTo>
                    <a:cubicBezTo>
                      <a:pt x="1312" y="147"/>
                      <a:pt x="1312" y="147"/>
                      <a:pt x="1312" y="147"/>
                    </a:cubicBezTo>
                    <a:cubicBezTo>
                      <a:pt x="1318" y="146"/>
                      <a:pt x="1318" y="146"/>
                      <a:pt x="1318" y="146"/>
                    </a:cubicBezTo>
                    <a:cubicBezTo>
                      <a:pt x="1321" y="147"/>
                      <a:pt x="1321" y="147"/>
                      <a:pt x="1321" y="147"/>
                    </a:cubicBezTo>
                    <a:cubicBezTo>
                      <a:pt x="1323" y="151"/>
                      <a:pt x="1323" y="151"/>
                      <a:pt x="1323" y="151"/>
                    </a:cubicBezTo>
                    <a:cubicBezTo>
                      <a:pt x="1327" y="154"/>
                      <a:pt x="1327" y="154"/>
                      <a:pt x="1327" y="154"/>
                    </a:cubicBezTo>
                    <a:cubicBezTo>
                      <a:pt x="1330" y="154"/>
                      <a:pt x="1330" y="154"/>
                      <a:pt x="1330" y="154"/>
                    </a:cubicBezTo>
                    <a:cubicBezTo>
                      <a:pt x="1339" y="159"/>
                      <a:pt x="1339" y="159"/>
                      <a:pt x="1339" y="159"/>
                    </a:cubicBezTo>
                    <a:cubicBezTo>
                      <a:pt x="1339" y="163"/>
                      <a:pt x="1339" y="163"/>
                      <a:pt x="1339" y="163"/>
                    </a:cubicBezTo>
                    <a:cubicBezTo>
                      <a:pt x="1343" y="168"/>
                      <a:pt x="1343" y="168"/>
                      <a:pt x="1343" y="168"/>
                    </a:cubicBezTo>
                    <a:cubicBezTo>
                      <a:pt x="1345" y="177"/>
                      <a:pt x="1345" y="177"/>
                      <a:pt x="1345" y="177"/>
                    </a:cubicBezTo>
                    <a:cubicBezTo>
                      <a:pt x="1345" y="184"/>
                      <a:pt x="1345" y="184"/>
                      <a:pt x="1345" y="184"/>
                    </a:cubicBezTo>
                    <a:cubicBezTo>
                      <a:pt x="1346" y="190"/>
                      <a:pt x="1346" y="190"/>
                      <a:pt x="1346" y="190"/>
                    </a:cubicBezTo>
                    <a:cubicBezTo>
                      <a:pt x="1348" y="194"/>
                      <a:pt x="1348" y="194"/>
                      <a:pt x="1348" y="194"/>
                    </a:cubicBezTo>
                    <a:cubicBezTo>
                      <a:pt x="1350" y="192"/>
                      <a:pt x="1350" y="192"/>
                      <a:pt x="1350" y="192"/>
                    </a:cubicBezTo>
                    <a:cubicBezTo>
                      <a:pt x="1351" y="191"/>
                      <a:pt x="1351" y="191"/>
                      <a:pt x="1351" y="191"/>
                    </a:cubicBezTo>
                    <a:cubicBezTo>
                      <a:pt x="1355" y="195"/>
                      <a:pt x="1355" y="195"/>
                      <a:pt x="1355" y="195"/>
                    </a:cubicBezTo>
                    <a:cubicBezTo>
                      <a:pt x="1355" y="198"/>
                      <a:pt x="1355" y="198"/>
                      <a:pt x="1355" y="198"/>
                    </a:cubicBezTo>
                    <a:cubicBezTo>
                      <a:pt x="1356" y="196"/>
                      <a:pt x="1356" y="196"/>
                      <a:pt x="1356" y="196"/>
                    </a:cubicBezTo>
                    <a:cubicBezTo>
                      <a:pt x="1359" y="194"/>
                      <a:pt x="1359" y="194"/>
                      <a:pt x="1359" y="194"/>
                    </a:cubicBezTo>
                    <a:cubicBezTo>
                      <a:pt x="1363" y="195"/>
                      <a:pt x="1363" y="195"/>
                      <a:pt x="1363" y="195"/>
                    </a:cubicBezTo>
                    <a:cubicBezTo>
                      <a:pt x="1360" y="193"/>
                      <a:pt x="1360" y="193"/>
                      <a:pt x="1360" y="193"/>
                    </a:cubicBezTo>
                    <a:cubicBezTo>
                      <a:pt x="1355" y="192"/>
                      <a:pt x="1355" y="192"/>
                      <a:pt x="1355" y="192"/>
                    </a:cubicBezTo>
                    <a:cubicBezTo>
                      <a:pt x="1353" y="189"/>
                      <a:pt x="1353" y="189"/>
                      <a:pt x="1353" y="189"/>
                    </a:cubicBezTo>
                    <a:cubicBezTo>
                      <a:pt x="1350" y="187"/>
                      <a:pt x="1350" y="187"/>
                      <a:pt x="1350" y="187"/>
                    </a:cubicBezTo>
                    <a:cubicBezTo>
                      <a:pt x="1350" y="185"/>
                      <a:pt x="1350" y="185"/>
                      <a:pt x="1350" y="185"/>
                    </a:cubicBezTo>
                    <a:cubicBezTo>
                      <a:pt x="1354" y="181"/>
                      <a:pt x="1354" y="181"/>
                      <a:pt x="1354" y="181"/>
                    </a:cubicBezTo>
                    <a:cubicBezTo>
                      <a:pt x="1353" y="179"/>
                      <a:pt x="1353" y="179"/>
                      <a:pt x="1353" y="179"/>
                    </a:cubicBezTo>
                    <a:cubicBezTo>
                      <a:pt x="1353" y="165"/>
                      <a:pt x="1353" y="165"/>
                      <a:pt x="1353" y="165"/>
                    </a:cubicBezTo>
                    <a:cubicBezTo>
                      <a:pt x="1351" y="162"/>
                      <a:pt x="1351" y="162"/>
                      <a:pt x="1351" y="162"/>
                    </a:cubicBezTo>
                    <a:cubicBezTo>
                      <a:pt x="1353" y="158"/>
                      <a:pt x="1353" y="158"/>
                      <a:pt x="1353" y="158"/>
                    </a:cubicBezTo>
                    <a:cubicBezTo>
                      <a:pt x="1360" y="157"/>
                      <a:pt x="1360" y="157"/>
                      <a:pt x="1360" y="157"/>
                    </a:cubicBezTo>
                    <a:cubicBezTo>
                      <a:pt x="1362" y="159"/>
                      <a:pt x="1362" y="159"/>
                      <a:pt x="1362" y="159"/>
                    </a:cubicBezTo>
                    <a:cubicBezTo>
                      <a:pt x="1368" y="160"/>
                      <a:pt x="1368" y="160"/>
                      <a:pt x="1368" y="160"/>
                    </a:cubicBezTo>
                    <a:cubicBezTo>
                      <a:pt x="1373" y="161"/>
                      <a:pt x="1373" y="161"/>
                      <a:pt x="1373" y="161"/>
                    </a:cubicBezTo>
                    <a:cubicBezTo>
                      <a:pt x="1379" y="163"/>
                      <a:pt x="1379" y="163"/>
                      <a:pt x="1379" y="163"/>
                    </a:cubicBezTo>
                    <a:cubicBezTo>
                      <a:pt x="1387" y="162"/>
                      <a:pt x="1387" y="162"/>
                      <a:pt x="1387" y="162"/>
                    </a:cubicBezTo>
                    <a:cubicBezTo>
                      <a:pt x="1393" y="160"/>
                      <a:pt x="1393" y="160"/>
                      <a:pt x="1393" y="160"/>
                    </a:cubicBezTo>
                    <a:cubicBezTo>
                      <a:pt x="1396" y="160"/>
                      <a:pt x="1396" y="160"/>
                      <a:pt x="1396" y="160"/>
                    </a:cubicBezTo>
                    <a:cubicBezTo>
                      <a:pt x="1400" y="163"/>
                      <a:pt x="1400" y="163"/>
                      <a:pt x="1400" y="163"/>
                    </a:cubicBezTo>
                    <a:cubicBezTo>
                      <a:pt x="1407" y="164"/>
                      <a:pt x="1407" y="164"/>
                      <a:pt x="1407" y="164"/>
                    </a:cubicBezTo>
                    <a:cubicBezTo>
                      <a:pt x="1411" y="166"/>
                      <a:pt x="1411" y="166"/>
                      <a:pt x="1411" y="166"/>
                    </a:cubicBezTo>
                    <a:cubicBezTo>
                      <a:pt x="1415" y="165"/>
                      <a:pt x="1415" y="165"/>
                      <a:pt x="1415" y="165"/>
                    </a:cubicBezTo>
                    <a:cubicBezTo>
                      <a:pt x="1415" y="163"/>
                      <a:pt x="1415" y="163"/>
                      <a:pt x="1415" y="163"/>
                    </a:cubicBezTo>
                    <a:cubicBezTo>
                      <a:pt x="1411" y="161"/>
                      <a:pt x="1411" y="161"/>
                      <a:pt x="1411" y="161"/>
                    </a:cubicBezTo>
                    <a:cubicBezTo>
                      <a:pt x="1406" y="161"/>
                      <a:pt x="1406" y="161"/>
                      <a:pt x="1406" y="161"/>
                    </a:cubicBezTo>
                    <a:cubicBezTo>
                      <a:pt x="1400" y="160"/>
                      <a:pt x="1400" y="160"/>
                      <a:pt x="1400" y="160"/>
                    </a:cubicBezTo>
                    <a:cubicBezTo>
                      <a:pt x="1399" y="158"/>
                      <a:pt x="1399" y="158"/>
                      <a:pt x="1399" y="158"/>
                    </a:cubicBezTo>
                    <a:cubicBezTo>
                      <a:pt x="1399" y="157"/>
                      <a:pt x="1399" y="157"/>
                      <a:pt x="1399" y="157"/>
                    </a:cubicBezTo>
                    <a:cubicBezTo>
                      <a:pt x="1402" y="156"/>
                      <a:pt x="1402" y="156"/>
                      <a:pt x="1402" y="156"/>
                    </a:cubicBezTo>
                    <a:cubicBezTo>
                      <a:pt x="1408" y="154"/>
                      <a:pt x="1408" y="154"/>
                      <a:pt x="1408" y="154"/>
                    </a:cubicBezTo>
                    <a:cubicBezTo>
                      <a:pt x="1421" y="153"/>
                      <a:pt x="1421" y="153"/>
                      <a:pt x="1421" y="153"/>
                    </a:cubicBezTo>
                    <a:cubicBezTo>
                      <a:pt x="1430" y="152"/>
                      <a:pt x="1430" y="152"/>
                      <a:pt x="1430" y="152"/>
                    </a:cubicBezTo>
                    <a:cubicBezTo>
                      <a:pt x="1437" y="155"/>
                      <a:pt x="1437" y="155"/>
                      <a:pt x="1437" y="155"/>
                    </a:cubicBezTo>
                    <a:cubicBezTo>
                      <a:pt x="1441" y="158"/>
                      <a:pt x="1441" y="158"/>
                      <a:pt x="1441" y="158"/>
                    </a:cubicBezTo>
                    <a:cubicBezTo>
                      <a:pt x="1444" y="157"/>
                      <a:pt x="1444" y="157"/>
                      <a:pt x="1444" y="157"/>
                    </a:cubicBezTo>
                    <a:cubicBezTo>
                      <a:pt x="1449" y="156"/>
                      <a:pt x="1449" y="156"/>
                      <a:pt x="1449" y="156"/>
                    </a:cubicBezTo>
                    <a:cubicBezTo>
                      <a:pt x="1447" y="153"/>
                      <a:pt x="1447" y="153"/>
                      <a:pt x="1447" y="153"/>
                    </a:cubicBezTo>
                    <a:cubicBezTo>
                      <a:pt x="1445" y="154"/>
                      <a:pt x="1445" y="154"/>
                      <a:pt x="1445" y="154"/>
                    </a:cubicBezTo>
                    <a:cubicBezTo>
                      <a:pt x="1441" y="152"/>
                      <a:pt x="1441" y="152"/>
                      <a:pt x="1441" y="152"/>
                    </a:cubicBezTo>
                    <a:cubicBezTo>
                      <a:pt x="1442" y="150"/>
                      <a:pt x="1442" y="150"/>
                      <a:pt x="1442" y="150"/>
                    </a:cubicBezTo>
                    <a:cubicBezTo>
                      <a:pt x="1438" y="148"/>
                      <a:pt x="1438" y="148"/>
                      <a:pt x="1438" y="148"/>
                    </a:cubicBezTo>
                    <a:cubicBezTo>
                      <a:pt x="1433" y="148"/>
                      <a:pt x="1433" y="148"/>
                      <a:pt x="1433" y="148"/>
                    </a:cubicBezTo>
                    <a:cubicBezTo>
                      <a:pt x="1431" y="146"/>
                      <a:pt x="1431" y="146"/>
                      <a:pt x="1431" y="146"/>
                    </a:cubicBezTo>
                    <a:cubicBezTo>
                      <a:pt x="1421" y="147"/>
                      <a:pt x="1421" y="147"/>
                      <a:pt x="1421" y="147"/>
                    </a:cubicBezTo>
                    <a:cubicBezTo>
                      <a:pt x="1420" y="146"/>
                      <a:pt x="1420" y="146"/>
                      <a:pt x="1420" y="146"/>
                    </a:cubicBezTo>
                    <a:cubicBezTo>
                      <a:pt x="1422" y="144"/>
                      <a:pt x="1422" y="144"/>
                      <a:pt x="1422" y="144"/>
                    </a:cubicBezTo>
                    <a:cubicBezTo>
                      <a:pt x="1425" y="139"/>
                      <a:pt x="1425" y="139"/>
                      <a:pt x="1425" y="139"/>
                    </a:cubicBezTo>
                    <a:cubicBezTo>
                      <a:pt x="1429" y="138"/>
                      <a:pt x="1429" y="138"/>
                      <a:pt x="1429" y="138"/>
                    </a:cubicBezTo>
                    <a:cubicBezTo>
                      <a:pt x="1433" y="135"/>
                      <a:pt x="1433" y="135"/>
                      <a:pt x="1433" y="135"/>
                    </a:cubicBezTo>
                    <a:cubicBezTo>
                      <a:pt x="1435" y="130"/>
                      <a:pt x="1435" y="130"/>
                      <a:pt x="1435" y="130"/>
                    </a:cubicBezTo>
                    <a:cubicBezTo>
                      <a:pt x="1445" y="124"/>
                      <a:pt x="1445" y="124"/>
                      <a:pt x="1445" y="124"/>
                    </a:cubicBezTo>
                    <a:cubicBezTo>
                      <a:pt x="1451" y="124"/>
                      <a:pt x="1451" y="124"/>
                      <a:pt x="1451" y="124"/>
                    </a:cubicBezTo>
                    <a:cubicBezTo>
                      <a:pt x="1460" y="120"/>
                      <a:pt x="1460" y="120"/>
                      <a:pt x="1460" y="120"/>
                    </a:cubicBezTo>
                    <a:cubicBezTo>
                      <a:pt x="1460" y="117"/>
                      <a:pt x="1460" y="117"/>
                      <a:pt x="1460" y="117"/>
                    </a:cubicBezTo>
                    <a:cubicBezTo>
                      <a:pt x="1449" y="122"/>
                      <a:pt x="1449" y="122"/>
                      <a:pt x="1449" y="122"/>
                    </a:cubicBezTo>
                    <a:cubicBezTo>
                      <a:pt x="1442" y="122"/>
                      <a:pt x="1442" y="122"/>
                      <a:pt x="1442" y="122"/>
                    </a:cubicBezTo>
                    <a:cubicBezTo>
                      <a:pt x="1432" y="130"/>
                      <a:pt x="1432" y="130"/>
                      <a:pt x="1432" y="130"/>
                    </a:cubicBezTo>
                    <a:cubicBezTo>
                      <a:pt x="1432" y="134"/>
                      <a:pt x="1432" y="134"/>
                      <a:pt x="1432" y="134"/>
                    </a:cubicBezTo>
                    <a:cubicBezTo>
                      <a:pt x="1430" y="134"/>
                      <a:pt x="1430" y="134"/>
                      <a:pt x="1430" y="134"/>
                    </a:cubicBezTo>
                    <a:cubicBezTo>
                      <a:pt x="1428" y="130"/>
                      <a:pt x="1428" y="130"/>
                      <a:pt x="1428" y="130"/>
                    </a:cubicBezTo>
                    <a:cubicBezTo>
                      <a:pt x="1427" y="130"/>
                      <a:pt x="1427" y="130"/>
                      <a:pt x="1427" y="130"/>
                    </a:cubicBezTo>
                    <a:cubicBezTo>
                      <a:pt x="1424" y="133"/>
                      <a:pt x="1424" y="133"/>
                      <a:pt x="1424" y="133"/>
                    </a:cubicBezTo>
                    <a:cubicBezTo>
                      <a:pt x="1421" y="134"/>
                      <a:pt x="1421" y="134"/>
                      <a:pt x="1421" y="134"/>
                    </a:cubicBezTo>
                    <a:cubicBezTo>
                      <a:pt x="1416" y="139"/>
                      <a:pt x="1416" y="139"/>
                      <a:pt x="1416" y="139"/>
                    </a:cubicBezTo>
                    <a:cubicBezTo>
                      <a:pt x="1418" y="139"/>
                      <a:pt x="1418" y="139"/>
                      <a:pt x="1418" y="139"/>
                    </a:cubicBezTo>
                    <a:cubicBezTo>
                      <a:pt x="1419" y="141"/>
                      <a:pt x="1419" y="141"/>
                      <a:pt x="1419" y="141"/>
                    </a:cubicBezTo>
                    <a:cubicBezTo>
                      <a:pt x="1412" y="146"/>
                      <a:pt x="1412" y="146"/>
                      <a:pt x="1412" y="146"/>
                    </a:cubicBezTo>
                    <a:cubicBezTo>
                      <a:pt x="1408" y="147"/>
                      <a:pt x="1408" y="147"/>
                      <a:pt x="1408" y="147"/>
                    </a:cubicBezTo>
                    <a:cubicBezTo>
                      <a:pt x="1394" y="152"/>
                      <a:pt x="1394" y="152"/>
                      <a:pt x="1394" y="152"/>
                    </a:cubicBezTo>
                    <a:cubicBezTo>
                      <a:pt x="1390" y="153"/>
                      <a:pt x="1390" y="153"/>
                      <a:pt x="1390" y="153"/>
                    </a:cubicBezTo>
                    <a:cubicBezTo>
                      <a:pt x="1386" y="152"/>
                      <a:pt x="1386" y="152"/>
                      <a:pt x="1386" y="152"/>
                    </a:cubicBezTo>
                    <a:cubicBezTo>
                      <a:pt x="1375" y="153"/>
                      <a:pt x="1375" y="153"/>
                      <a:pt x="1375" y="153"/>
                    </a:cubicBezTo>
                    <a:cubicBezTo>
                      <a:pt x="1370" y="148"/>
                      <a:pt x="1370" y="148"/>
                      <a:pt x="1370" y="148"/>
                    </a:cubicBezTo>
                    <a:cubicBezTo>
                      <a:pt x="1365" y="149"/>
                      <a:pt x="1365" y="149"/>
                      <a:pt x="1365" y="149"/>
                    </a:cubicBezTo>
                    <a:cubicBezTo>
                      <a:pt x="1361" y="148"/>
                      <a:pt x="1361" y="148"/>
                      <a:pt x="1361" y="148"/>
                    </a:cubicBezTo>
                    <a:cubicBezTo>
                      <a:pt x="1361" y="145"/>
                      <a:pt x="1361" y="145"/>
                      <a:pt x="1361" y="145"/>
                    </a:cubicBezTo>
                    <a:cubicBezTo>
                      <a:pt x="1366" y="140"/>
                      <a:pt x="1366" y="140"/>
                      <a:pt x="1366" y="140"/>
                    </a:cubicBezTo>
                    <a:cubicBezTo>
                      <a:pt x="1371" y="140"/>
                      <a:pt x="1371" y="140"/>
                      <a:pt x="1371" y="140"/>
                    </a:cubicBezTo>
                    <a:cubicBezTo>
                      <a:pt x="1374" y="139"/>
                      <a:pt x="1374" y="139"/>
                      <a:pt x="1374" y="139"/>
                    </a:cubicBezTo>
                    <a:cubicBezTo>
                      <a:pt x="1381" y="138"/>
                      <a:pt x="1381" y="138"/>
                      <a:pt x="1381" y="138"/>
                    </a:cubicBezTo>
                    <a:cubicBezTo>
                      <a:pt x="1385" y="135"/>
                      <a:pt x="1385" y="135"/>
                      <a:pt x="1385" y="135"/>
                    </a:cubicBezTo>
                    <a:cubicBezTo>
                      <a:pt x="1382" y="135"/>
                      <a:pt x="1382" y="135"/>
                      <a:pt x="1382" y="135"/>
                    </a:cubicBezTo>
                    <a:cubicBezTo>
                      <a:pt x="1377" y="136"/>
                      <a:pt x="1377" y="136"/>
                      <a:pt x="1377" y="136"/>
                    </a:cubicBezTo>
                    <a:cubicBezTo>
                      <a:pt x="1373" y="136"/>
                      <a:pt x="1373" y="136"/>
                      <a:pt x="1373" y="136"/>
                    </a:cubicBezTo>
                    <a:cubicBezTo>
                      <a:pt x="1368" y="138"/>
                      <a:pt x="1368" y="138"/>
                      <a:pt x="1368" y="138"/>
                    </a:cubicBezTo>
                    <a:cubicBezTo>
                      <a:pt x="1364" y="137"/>
                      <a:pt x="1364" y="137"/>
                      <a:pt x="1364" y="137"/>
                    </a:cubicBezTo>
                    <a:cubicBezTo>
                      <a:pt x="1364" y="134"/>
                      <a:pt x="1364" y="134"/>
                      <a:pt x="1364" y="134"/>
                    </a:cubicBezTo>
                    <a:cubicBezTo>
                      <a:pt x="1369" y="132"/>
                      <a:pt x="1369" y="132"/>
                      <a:pt x="1369" y="132"/>
                    </a:cubicBezTo>
                    <a:cubicBezTo>
                      <a:pt x="1365" y="131"/>
                      <a:pt x="1365" y="131"/>
                      <a:pt x="1365" y="131"/>
                    </a:cubicBezTo>
                    <a:cubicBezTo>
                      <a:pt x="1359" y="133"/>
                      <a:pt x="1359" y="133"/>
                      <a:pt x="1359" y="133"/>
                    </a:cubicBezTo>
                    <a:cubicBezTo>
                      <a:pt x="1359" y="138"/>
                      <a:pt x="1359" y="138"/>
                      <a:pt x="1359" y="138"/>
                    </a:cubicBezTo>
                    <a:cubicBezTo>
                      <a:pt x="1353" y="144"/>
                      <a:pt x="1353" y="144"/>
                      <a:pt x="1353" y="144"/>
                    </a:cubicBezTo>
                    <a:cubicBezTo>
                      <a:pt x="1347" y="144"/>
                      <a:pt x="1347" y="144"/>
                      <a:pt x="1347" y="144"/>
                    </a:cubicBezTo>
                    <a:cubicBezTo>
                      <a:pt x="1339" y="141"/>
                      <a:pt x="1339" y="141"/>
                      <a:pt x="1339" y="141"/>
                    </a:cubicBezTo>
                    <a:cubicBezTo>
                      <a:pt x="1332" y="141"/>
                      <a:pt x="1332" y="141"/>
                      <a:pt x="1332" y="141"/>
                    </a:cubicBezTo>
                    <a:cubicBezTo>
                      <a:pt x="1328" y="137"/>
                      <a:pt x="1328" y="137"/>
                      <a:pt x="1328" y="137"/>
                    </a:cubicBezTo>
                    <a:cubicBezTo>
                      <a:pt x="1328" y="135"/>
                      <a:pt x="1328" y="135"/>
                      <a:pt x="1328" y="135"/>
                    </a:cubicBezTo>
                    <a:cubicBezTo>
                      <a:pt x="1324" y="135"/>
                      <a:pt x="1324" y="135"/>
                      <a:pt x="1324" y="135"/>
                    </a:cubicBezTo>
                    <a:cubicBezTo>
                      <a:pt x="1320" y="132"/>
                      <a:pt x="1320" y="132"/>
                      <a:pt x="1320" y="132"/>
                    </a:cubicBezTo>
                    <a:cubicBezTo>
                      <a:pt x="1320" y="130"/>
                      <a:pt x="1320" y="130"/>
                      <a:pt x="1320" y="130"/>
                    </a:cubicBezTo>
                    <a:cubicBezTo>
                      <a:pt x="1323" y="127"/>
                      <a:pt x="1323" y="127"/>
                      <a:pt x="1323" y="127"/>
                    </a:cubicBezTo>
                    <a:cubicBezTo>
                      <a:pt x="1326" y="123"/>
                      <a:pt x="1326" y="123"/>
                      <a:pt x="1326" y="123"/>
                    </a:cubicBezTo>
                    <a:cubicBezTo>
                      <a:pt x="1332" y="120"/>
                      <a:pt x="1332" y="120"/>
                      <a:pt x="1332" y="120"/>
                    </a:cubicBezTo>
                    <a:cubicBezTo>
                      <a:pt x="1335" y="115"/>
                      <a:pt x="1335" y="115"/>
                      <a:pt x="1335" y="115"/>
                    </a:cubicBezTo>
                    <a:cubicBezTo>
                      <a:pt x="1341" y="112"/>
                      <a:pt x="1341" y="112"/>
                      <a:pt x="1341" y="112"/>
                    </a:cubicBezTo>
                    <a:cubicBezTo>
                      <a:pt x="1343" y="110"/>
                      <a:pt x="1343" y="110"/>
                      <a:pt x="1343" y="110"/>
                    </a:cubicBezTo>
                    <a:cubicBezTo>
                      <a:pt x="1347" y="111"/>
                      <a:pt x="1347" y="111"/>
                      <a:pt x="1347" y="111"/>
                    </a:cubicBezTo>
                    <a:cubicBezTo>
                      <a:pt x="1354" y="112"/>
                      <a:pt x="1354" y="112"/>
                      <a:pt x="1354" y="112"/>
                    </a:cubicBezTo>
                    <a:cubicBezTo>
                      <a:pt x="1357" y="110"/>
                      <a:pt x="1357" y="110"/>
                      <a:pt x="1357" y="110"/>
                    </a:cubicBezTo>
                    <a:cubicBezTo>
                      <a:pt x="1361" y="111"/>
                      <a:pt x="1361" y="111"/>
                      <a:pt x="1361" y="111"/>
                    </a:cubicBezTo>
                    <a:cubicBezTo>
                      <a:pt x="1368" y="115"/>
                      <a:pt x="1368" y="115"/>
                      <a:pt x="1368" y="115"/>
                    </a:cubicBezTo>
                    <a:cubicBezTo>
                      <a:pt x="1374" y="115"/>
                      <a:pt x="1374" y="115"/>
                      <a:pt x="1374" y="115"/>
                    </a:cubicBezTo>
                    <a:cubicBezTo>
                      <a:pt x="1378" y="116"/>
                      <a:pt x="1378" y="116"/>
                      <a:pt x="1378" y="116"/>
                    </a:cubicBezTo>
                    <a:cubicBezTo>
                      <a:pt x="1384" y="115"/>
                      <a:pt x="1384" y="115"/>
                      <a:pt x="1384" y="115"/>
                    </a:cubicBezTo>
                    <a:cubicBezTo>
                      <a:pt x="1385" y="114"/>
                      <a:pt x="1385" y="114"/>
                      <a:pt x="1385" y="114"/>
                    </a:cubicBezTo>
                    <a:cubicBezTo>
                      <a:pt x="1382" y="112"/>
                      <a:pt x="1382" y="112"/>
                      <a:pt x="1382" y="112"/>
                    </a:cubicBezTo>
                    <a:cubicBezTo>
                      <a:pt x="1374" y="113"/>
                      <a:pt x="1374" y="113"/>
                      <a:pt x="1374" y="113"/>
                    </a:cubicBezTo>
                    <a:cubicBezTo>
                      <a:pt x="1366" y="111"/>
                      <a:pt x="1366" y="111"/>
                      <a:pt x="1366" y="111"/>
                    </a:cubicBezTo>
                    <a:cubicBezTo>
                      <a:pt x="1362" y="108"/>
                      <a:pt x="1362" y="108"/>
                      <a:pt x="1362" y="108"/>
                    </a:cubicBezTo>
                    <a:cubicBezTo>
                      <a:pt x="1356" y="108"/>
                      <a:pt x="1356" y="108"/>
                      <a:pt x="1356" y="108"/>
                    </a:cubicBezTo>
                    <a:cubicBezTo>
                      <a:pt x="1349" y="109"/>
                      <a:pt x="1349" y="109"/>
                      <a:pt x="1349" y="109"/>
                    </a:cubicBezTo>
                    <a:cubicBezTo>
                      <a:pt x="1341" y="107"/>
                      <a:pt x="1341" y="107"/>
                      <a:pt x="1341" y="107"/>
                    </a:cubicBezTo>
                    <a:cubicBezTo>
                      <a:pt x="1339" y="107"/>
                      <a:pt x="1339" y="107"/>
                      <a:pt x="1339" y="107"/>
                    </a:cubicBezTo>
                    <a:cubicBezTo>
                      <a:pt x="1337" y="110"/>
                      <a:pt x="1337" y="110"/>
                      <a:pt x="1337" y="110"/>
                    </a:cubicBezTo>
                    <a:cubicBezTo>
                      <a:pt x="1333" y="114"/>
                      <a:pt x="1333" y="114"/>
                      <a:pt x="1333" y="114"/>
                    </a:cubicBezTo>
                    <a:cubicBezTo>
                      <a:pt x="1326" y="118"/>
                      <a:pt x="1326" y="118"/>
                      <a:pt x="1326" y="118"/>
                    </a:cubicBezTo>
                    <a:cubicBezTo>
                      <a:pt x="1319" y="121"/>
                      <a:pt x="1319" y="121"/>
                      <a:pt x="1319" y="121"/>
                    </a:cubicBezTo>
                    <a:cubicBezTo>
                      <a:pt x="1315" y="127"/>
                      <a:pt x="1315" y="127"/>
                      <a:pt x="1315" y="127"/>
                    </a:cubicBezTo>
                    <a:cubicBezTo>
                      <a:pt x="1313" y="127"/>
                      <a:pt x="1313" y="127"/>
                      <a:pt x="1313" y="127"/>
                    </a:cubicBezTo>
                    <a:cubicBezTo>
                      <a:pt x="1310" y="126"/>
                      <a:pt x="1310" y="126"/>
                      <a:pt x="1310" y="126"/>
                    </a:cubicBezTo>
                    <a:cubicBezTo>
                      <a:pt x="1305" y="119"/>
                      <a:pt x="1305" y="119"/>
                      <a:pt x="1305" y="119"/>
                    </a:cubicBezTo>
                    <a:cubicBezTo>
                      <a:pt x="1302" y="119"/>
                      <a:pt x="1302" y="119"/>
                      <a:pt x="1302" y="119"/>
                    </a:cubicBezTo>
                    <a:cubicBezTo>
                      <a:pt x="1300" y="117"/>
                      <a:pt x="1300" y="117"/>
                      <a:pt x="1300" y="117"/>
                    </a:cubicBezTo>
                    <a:cubicBezTo>
                      <a:pt x="1299" y="112"/>
                      <a:pt x="1299" y="112"/>
                      <a:pt x="1299" y="112"/>
                    </a:cubicBezTo>
                    <a:cubicBezTo>
                      <a:pt x="1299" y="107"/>
                      <a:pt x="1299" y="107"/>
                      <a:pt x="1299" y="107"/>
                    </a:cubicBezTo>
                    <a:cubicBezTo>
                      <a:pt x="1297" y="105"/>
                      <a:pt x="1297" y="105"/>
                      <a:pt x="1297" y="105"/>
                    </a:cubicBezTo>
                    <a:cubicBezTo>
                      <a:pt x="1296" y="100"/>
                      <a:pt x="1296" y="100"/>
                      <a:pt x="1296" y="100"/>
                    </a:cubicBezTo>
                    <a:cubicBezTo>
                      <a:pt x="1298" y="98"/>
                      <a:pt x="1298" y="98"/>
                      <a:pt x="1298" y="98"/>
                    </a:cubicBezTo>
                    <a:cubicBezTo>
                      <a:pt x="1301" y="99"/>
                      <a:pt x="1301" y="99"/>
                      <a:pt x="1301" y="99"/>
                    </a:cubicBezTo>
                    <a:cubicBezTo>
                      <a:pt x="1305" y="98"/>
                      <a:pt x="1305" y="98"/>
                      <a:pt x="1305" y="98"/>
                    </a:cubicBezTo>
                    <a:cubicBezTo>
                      <a:pt x="1308" y="100"/>
                      <a:pt x="1308" y="100"/>
                      <a:pt x="1308" y="100"/>
                    </a:cubicBezTo>
                    <a:cubicBezTo>
                      <a:pt x="1319" y="100"/>
                      <a:pt x="1319" y="100"/>
                      <a:pt x="1319" y="100"/>
                    </a:cubicBezTo>
                    <a:cubicBezTo>
                      <a:pt x="1325" y="104"/>
                      <a:pt x="1325" y="104"/>
                      <a:pt x="1325" y="104"/>
                    </a:cubicBezTo>
                    <a:cubicBezTo>
                      <a:pt x="1328" y="104"/>
                      <a:pt x="1328" y="104"/>
                      <a:pt x="1328" y="104"/>
                    </a:cubicBezTo>
                    <a:cubicBezTo>
                      <a:pt x="1330" y="105"/>
                      <a:pt x="1330" y="105"/>
                      <a:pt x="1330" y="105"/>
                    </a:cubicBezTo>
                    <a:cubicBezTo>
                      <a:pt x="1334" y="105"/>
                      <a:pt x="1334" y="105"/>
                      <a:pt x="1334" y="105"/>
                    </a:cubicBezTo>
                    <a:cubicBezTo>
                      <a:pt x="1338" y="103"/>
                      <a:pt x="1338" y="103"/>
                      <a:pt x="1338" y="103"/>
                    </a:cubicBezTo>
                    <a:cubicBezTo>
                      <a:pt x="1343" y="104"/>
                      <a:pt x="1343" y="104"/>
                      <a:pt x="1343" y="104"/>
                    </a:cubicBezTo>
                    <a:cubicBezTo>
                      <a:pt x="1344" y="103"/>
                      <a:pt x="1344" y="103"/>
                      <a:pt x="1344" y="103"/>
                    </a:cubicBezTo>
                    <a:cubicBezTo>
                      <a:pt x="1348" y="102"/>
                      <a:pt x="1348" y="102"/>
                      <a:pt x="1348" y="102"/>
                    </a:cubicBezTo>
                    <a:cubicBezTo>
                      <a:pt x="1350" y="101"/>
                      <a:pt x="1350" y="101"/>
                      <a:pt x="1350" y="101"/>
                    </a:cubicBezTo>
                    <a:cubicBezTo>
                      <a:pt x="1358" y="99"/>
                      <a:pt x="1358" y="99"/>
                      <a:pt x="1358" y="99"/>
                    </a:cubicBezTo>
                    <a:cubicBezTo>
                      <a:pt x="1365" y="98"/>
                      <a:pt x="1365" y="98"/>
                      <a:pt x="1365" y="98"/>
                    </a:cubicBezTo>
                    <a:cubicBezTo>
                      <a:pt x="1366" y="96"/>
                      <a:pt x="1366" y="96"/>
                      <a:pt x="1366" y="96"/>
                    </a:cubicBezTo>
                    <a:cubicBezTo>
                      <a:pt x="1366" y="94"/>
                      <a:pt x="1366" y="94"/>
                      <a:pt x="1366" y="94"/>
                    </a:cubicBezTo>
                    <a:cubicBezTo>
                      <a:pt x="1363" y="94"/>
                      <a:pt x="1363" y="94"/>
                      <a:pt x="1363" y="94"/>
                    </a:cubicBezTo>
                    <a:cubicBezTo>
                      <a:pt x="1361" y="95"/>
                      <a:pt x="1361" y="95"/>
                      <a:pt x="1361" y="95"/>
                    </a:cubicBezTo>
                    <a:cubicBezTo>
                      <a:pt x="1359" y="96"/>
                      <a:pt x="1359" y="96"/>
                      <a:pt x="1359" y="96"/>
                    </a:cubicBezTo>
                    <a:cubicBezTo>
                      <a:pt x="1354" y="97"/>
                      <a:pt x="1354" y="97"/>
                      <a:pt x="1354" y="97"/>
                    </a:cubicBezTo>
                    <a:cubicBezTo>
                      <a:pt x="1346" y="97"/>
                      <a:pt x="1346" y="97"/>
                      <a:pt x="1346" y="97"/>
                    </a:cubicBezTo>
                    <a:cubicBezTo>
                      <a:pt x="1340" y="100"/>
                      <a:pt x="1340" y="100"/>
                      <a:pt x="1340" y="100"/>
                    </a:cubicBezTo>
                    <a:cubicBezTo>
                      <a:pt x="1338" y="101"/>
                      <a:pt x="1338" y="101"/>
                      <a:pt x="1338" y="101"/>
                    </a:cubicBezTo>
                    <a:cubicBezTo>
                      <a:pt x="1332" y="100"/>
                      <a:pt x="1332" y="100"/>
                      <a:pt x="1332" y="100"/>
                    </a:cubicBezTo>
                    <a:cubicBezTo>
                      <a:pt x="1330" y="101"/>
                      <a:pt x="1330" y="101"/>
                      <a:pt x="1330" y="101"/>
                    </a:cubicBezTo>
                    <a:cubicBezTo>
                      <a:pt x="1327" y="101"/>
                      <a:pt x="1327" y="101"/>
                      <a:pt x="1327" y="101"/>
                    </a:cubicBezTo>
                    <a:cubicBezTo>
                      <a:pt x="1323" y="97"/>
                      <a:pt x="1323" y="97"/>
                      <a:pt x="1323" y="97"/>
                    </a:cubicBezTo>
                    <a:cubicBezTo>
                      <a:pt x="1320" y="97"/>
                      <a:pt x="1320" y="97"/>
                      <a:pt x="1320" y="97"/>
                    </a:cubicBezTo>
                    <a:cubicBezTo>
                      <a:pt x="1318" y="96"/>
                      <a:pt x="1318" y="96"/>
                      <a:pt x="1318" y="96"/>
                    </a:cubicBezTo>
                    <a:cubicBezTo>
                      <a:pt x="1314" y="96"/>
                      <a:pt x="1314" y="96"/>
                      <a:pt x="1314" y="96"/>
                    </a:cubicBezTo>
                    <a:cubicBezTo>
                      <a:pt x="1308" y="93"/>
                      <a:pt x="1308" y="93"/>
                      <a:pt x="1308" y="93"/>
                    </a:cubicBezTo>
                    <a:cubicBezTo>
                      <a:pt x="1303" y="95"/>
                      <a:pt x="1303" y="95"/>
                      <a:pt x="1303" y="95"/>
                    </a:cubicBezTo>
                    <a:cubicBezTo>
                      <a:pt x="1300" y="93"/>
                      <a:pt x="1300" y="93"/>
                      <a:pt x="1300" y="93"/>
                    </a:cubicBezTo>
                    <a:cubicBezTo>
                      <a:pt x="1298" y="90"/>
                      <a:pt x="1298" y="90"/>
                      <a:pt x="1298" y="90"/>
                    </a:cubicBezTo>
                    <a:cubicBezTo>
                      <a:pt x="1300" y="88"/>
                      <a:pt x="1300" y="88"/>
                      <a:pt x="1300" y="88"/>
                    </a:cubicBezTo>
                    <a:cubicBezTo>
                      <a:pt x="1300" y="84"/>
                      <a:pt x="1300" y="84"/>
                      <a:pt x="1300" y="84"/>
                    </a:cubicBezTo>
                    <a:cubicBezTo>
                      <a:pt x="1303" y="82"/>
                      <a:pt x="1303" y="82"/>
                      <a:pt x="1303" y="82"/>
                    </a:cubicBezTo>
                    <a:cubicBezTo>
                      <a:pt x="1305" y="82"/>
                      <a:pt x="1305" y="82"/>
                      <a:pt x="1305" y="82"/>
                    </a:cubicBezTo>
                    <a:cubicBezTo>
                      <a:pt x="1308" y="85"/>
                      <a:pt x="1308" y="85"/>
                      <a:pt x="1308" y="85"/>
                    </a:cubicBezTo>
                    <a:cubicBezTo>
                      <a:pt x="1313" y="85"/>
                      <a:pt x="1313" y="85"/>
                      <a:pt x="1313" y="85"/>
                    </a:cubicBezTo>
                    <a:cubicBezTo>
                      <a:pt x="1316" y="84"/>
                      <a:pt x="1316" y="84"/>
                      <a:pt x="1316" y="84"/>
                    </a:cubicBezTo>
                    <a:cubicBezTo>
                      <a:pt x="1312" y="81"/>
                      <a:pt x="1312" y="81"/>
                      <a:pt x="1312" y="81"/>
                    </a:cubicBezTo>
                    <a:cubicBezTo>
                      <a:pt x="1309" y="81"/>
                      <a:pt x="1309" y="81"/>
                      <a:pt x="1309" y="81"/>
                    </a:cubicBezTo>
                    <a:cubicBezTo>
                      <a:pt x="1307" y="78"/>
                      <a:pt x="1307" y="78"/>
                      <a:pt x="1307" y="78"/>
                    </a:cubicBezTo>
                    <a:cubicBezTo>
                      <a:pt x="1308" y="76"/>
                      <a:pt x="1308" y="76"/>
                      <a:pt x="1308" y="76"/>
                    </a:cubicBezTo>
                    <a:cubicBezTo>
                      <a:pt x="1313" y="76"/>
                      <a:pt x="1313" y="76"/>
                      <a:pt x="1313" y="76"/>
                    </a:cubicBezTo>
                    <a:cubicBezTo>
                      <a:pt x="1318" y="72"/>
                      <a:pt x="1318" y="72"/>
                      <a:pt x="1318" y="72"/>
                    </a:cubicBezTo>
                    <a:cubicBezTo>
                      <a:pt x="1324" y="72"/>
                      <a:pt x="1324" y="72"/>
                      <a:pt x="1324" y="72"/>
                    </a:cubicBezTo>
                    <a:cubicBezTo>
                      <a:pt x="1327" y="70"/>
                      <a:pt x="1327" y="70"/>
                      <a:pt x="1327" y="70"/>
                    </a:cubicBezTo>
                    <a:cubicBezTo>
                      <a:pt x="1331" y="70"/>
                      <a:pt x="1331" y="70"/>
                      <a:pt x="1331" y="70"/>
                    </a:cubicBezTo>
                    <a:cubicBezTo>
                      <a:pt x="1333" y="71"/>
                      <a:pt x="1333" y="71"/>
                      <a:pt x="1333" y="71"/>
                    </a:cubicBezTo>
                    <a:cubicBezTo>
                      <a:pt x="1337" y="70"/>
                      <a:pt x="1337" y="70"/>
                      <a:pt x="1337" y="70"/>
                    </a:cubicBezTo>
                    <a:cubicBezTo>
                      <a:pt x="1337" y="68"/>
                      <a:pt x="1337" y="68"/>
                      <a:pt x="1337" y="68"/>
                    </a:cubicBezTo>
                    <a:cubicBezTo>
                      <a:pt x="1335" y="67"/>
                      <a:pt x="1335" y="67"/>
                      <a:pt x="1335" y="67"/>
                    </a:cubicBezTo>
                    <a:cubicBezTo>
                      <a:pt x="1326" y="68"/>
                      <a:pt x="1326" y="68"/>
                      <a:pt x="1326" y="68"/>
                    </a:cubicBezTo>
                    <a:cubicBezTo>
                      <a:pt x="1320" y="68"/>
                      <a:pt x="1320" y="68"/>
                      <a:pt x="1320" y="68"/>
                    </a:cubicBezTo>
                    <a:cubicBezTo>
                      <a:pt x="1315" y="70"/>
                      <a:pt x="1315" y="70"/>
                      <a:pt x="1315" y="70"/>
                    </a:cubicBezTo>
                    <a:cubicBezTo>
                      <a:pt x="1311" y="71"/>
                      <a:pt x="1311" y="71"/>
                      <a:pt x="1311" y="71"/>
                    </a:cubicBezTo>
                    <a:cubicBezTo>
                      <a:pt x="1309" y="73"/>
                      <a:pt x="1309" y="73"/>
                      <a:pt x="1309" y="73"/>
                    </a:cubicBezTo>
                    <a:cubicBezTo>
                      <a:pt x="1306" y="73"/>
                      <a:pt x="1306" y="73"/>
                      <a:pt x="1306" y="73"/>
                    </a:cubicBezTo>
                    <a:cubicBezTo>
                      <a:pt x="1306" y="70"/>
                      <a:pt x="1306" y="70"/>
                      <a:pt x="1306" y="70"/>
                    </a:cubicBezTo>
                    <a:cubicBezTo>
                      <a:pt x="1305" y="67"/>
                      <a:pt x="1305" y="67"/>
                      <a:pt x="1305" y="67"/>
                    </a:cubicBezTo>
                    <a:cubicBezTo>
                      <a:pt x="1309" y="65"/>
                      <a:pt x="1309" y="65"/>
                      <a:pt x="1309" y="65"/>
                    </a:cubicBezTo>
                    <a:cubicBezTo>
                      <a:pt x="1315" y="61"/>
                      <a:pt x="1315" y="61"/>
                      <a:pt x="1315" y="61"/>
                    </a:cubicBezTo>
                    <a:cubicBezTo>
                      <a:pt x="1321" y="60"/>
                      <a:pt x="1321" y="60"/>
                      <a:pt x="1321" y="60"/>
                    </a:cubicBezTo>
                    <a:cubicBezTo>
                      <a:pt x="1324" y="59"/>
                      <a:pt x="1324" y="59"/>
                      <a:pt x="1324" y="59"/>
                    </a:cubicBezTo>
                    <a:cubicBezTo>
                      <a:pt x="1320" y="59"/>
                      <a:pt x="1320" y="59"/>
                      <a:pt x="1320" y="59"/>
                    </a:cubicBezTo>
                    <a:cubicBezTo>
                      <a:pt x="1318" y="57"/>
                      <a:pt x="1318" y="57"/>
                      <a:pt x="1318" y="57"/>
                    </a:cubicBezTo>
                    <a:cubicBezTo>
                      <a:pt x="1319" y="52"/>
                      <a:pt x="1319" y="52"/>
                      <a:pt x="1319" y="52"/>
                    </a:cubicBezTo>
                    <a:cubicBezTo>
                      <a:pt x="1317" y="53"/>
                      <a:pt x="1317" y="53"/>
                      <a:pt x="1317" y="53"/>
                    </a:cubicBezTo>
                    <a:cubicBezTo>
                      <a:pt x="1316" y="56"/>
                      <a:pt x="1316" y="56"/>
                      <a:pt x="1316" y="56"/>
                    </a:cubicBezTo>
                    <a:cubicBezTo>
                      <a:pt x="1314" y="57"/>
                      <a:pt x="1314" y="57"/>
                      <a:pt x="1314" y="57"/>
                    </a:cubicBezTo>
                    <a:cubicBezTo>
                      <a:pt x="1313" y="54"/>
                      <a:pt x="1313" y="54"/>
                      <a:pt x="1313" y="54"/>
                    </a:cubicBezTo>
                    <a:cubicBezTo>
                      <a:pt x="1311" y="54"/>
                      <a:pt x="1311" y="54"/>
                      <a:pt x="1311" y="54"/>
                    </a:cubicBezTo>
                    <a:cubicBezTo>
                      <a:pt x="1309" y="56"/>
                      <a:pt x="1309" y="56"/>
                      <a:pt x="1309" y="56"/>
                    </a:cubicBezTo>
                    <a:cubicBezTo>
                      <a:pt x="1305" y="57"/>
                      <a:pt x="1305" y="57"/>
                      <a:pt x="1305" y="57"/>
                    </a:cubicBezTo>
                    <a:cubicBezTo>
                      <a:pt x="1305" y="60"/>
                      <a:pt x="1305" y="60"/>
                      <a:pt x="1305" y="60"/>
                    </a:cubicBezTo>
                    <a:cubicBezTo>
                      <a:pt x="1303" y="62"/>
                      <a:pt x="1303" y="62"/>
                      <a:pt x="1303" y="62"/>
                    </a:cubicBezTo>
                    <a:cubicBezTo>
                      <a:pt x="1299" y="63"/>
                      <a:pt x="1299" y="63"/>
                      <a:pt x="1299" y="63"/>
                    </a:cubicBezTo>
                    <a:cubicBezTo>
                      <a:pt x="1298" y="60"/>
                      <a:pt x="1298" y="60"/>
                      <a:pt x="1298" y="60"/>
                    </a:cubicBezTo>
                    <a:cubicBezTo>
                      <a:pt x="1299" y="56"/>
                      <a:pt x="1299" y="56"/>
                      <a:pt x="1299" y="56"/>
                    </a:cubicBezTo>
                    <a:cubicBezTo>
                      <a:pt x="1297" y="56"/>
                      <a:pt x="1297" y="56"/>
                      <a:pt x="1297" y="56"/>
                    </a:cubicBezTo>
                    <a:cubicBezTo>
                      <a:pt x="1296" y="52"/>
                      <a:pt x="1296" y="52"/>
                      <a:pt x="1296" y="52"/>
                    </a:cubicBezTo>
                    <a:cubicBezTo>
                      <a:pt x="1297" y="51"/>
                      <a:pt x="1297" y="51"/>
                      <a:pt x="1297" y="51"/>
                    </a:cubicBezTo>
                    <a:cubicBezTo>
                      <a:pt x="1300" y="52"/>
                      <a:pt x="1300" y="52"/>
                      <a:pt x="1300" y="52"/>
                    </a:cubicBezTo>
                    <a:cubicBezTo>
                      <a:pt x="1301" y="48"/>
                      <a:pt x="1301" y="48"/>
                      <a:pt x="1301" y="48"/>
                    </a:cubicBezTo>
                    <a:cubicBezTo>
                      <a:pt x="1304" y="47"/>
                      <a:pt x="1304" y="47"/>
                      <a:pt x="1304" y="47"/>
                    </a:cubicBezTo>
                    <a:cubicBezTo>
                      <a:pt x="1308" y="47"/>
                      <a:pt x="1308" y="47"/>
                      <a:pt x="1308" y="47"/>
                    </a:cubicBezTo>
                    <a:cubicBezTo>
                      <a:pt x="1310" y="43"/>
                      <a:pt x="1310" y="43"/>
                      <a:pt x="1310" y="43"/>
                    </a:cubicBezTo>
                    <a:cubicBezTo>
                      <a:pt x="1315" y="41"/>
                      <a:pt x="1315" y="41"/>
                      <a:pt x="1315" y="41"/>
                    </a:cubicBezTo>
                    <a:cubicBezTo>
                      <a:pt x="1318" y="42"/>
                      <a:pt x="1318" y="42"/>
                      <a:pt x="1318" y="42"/>
                    </a:cubicBezTo>
                    <a:cubicBezTo>
                      <a:pt x="1323" y="39"/>
                      <a:pt x="1323" y="39"/>
                      <a:pt x="1323" y="39"/>
                    </a:cubicBezTo>
                    <a:cubicBezTo>
                      <a:pt x="1331" y="38"/>
                      <a:pt x="1331" y="38"/>
                      <a:pt x="1331" y="38"/>
                    </a:cubicBezTo>
                    <a:cubicBezTo>
                      <a:pt x="1333" y="37"/>
                      <a:pt x="1333" y="37"/>
                      <a:pt x="1333" y="37"/>
                    </a:cubicBezTo>
                    <a:cubicBezTo>
                      <a:pt x="1336" y="38"/>
                      <a:pt x="1336" y="38"/>
                      <a:pt x="1336" y="38"/>
                    </a:cubicBezTo>
                    <a:cubicBezTo>
                      <a:pt x="1337" y="41"/>
                      <a:pt x="1337" y="41"/>
                      <a:pt x="1337" y="41"/>
                    </a:cubicBezTo>
                    <a:cubicBezTo>
                      <a:pt x="1335" y="42"/>
                      <a:pt x="1335" y="42"/>
                      <a:pt x="1335" y="42"/>
                    </a:cubicBezTo>
                    <a:cubicBezTo>
                      <a:pt x="1335" y="51"/>
                      <a:pt x="1335" y="51"/>
                      <a:pt x="1335" y="51"/>
                    </a:cubicBezTo>
                    <a:cubicBezTo>
                      <a:pt x="1338" y="50"/>
                      <a:pt x="1338" y="50"/>
                      <a:pt x="1338" y="50"/>
                    </a:cubicBezTo>
                    <a:cubicBezTo>
                      <a:pt x="1340" y="45"/>
                      <a:pt x="1340" y="45"/>
                      <a:pt x="1340" y="45"/>
                    </a:cubicBezTo>
                    <a:cubicBezTo>
                      <a:pt x="1342" y="43"/>
                      <a:pt x="1342" y="43"/>
                      <a:pt x="1342" y="43"/>
                    </a:cubicBezTo>
                    <a:cubicBezTo>
                      <a:pt x="1343" y="44"/>
                      <a:pt x="1343" y="44"/>
                      <a:pt x="1343" y="44"/>
                    </a:cubicBezTo>
                    <a:cubicBezTo>
                      <a:pt x="1342" y="46"/>
                      <a:pt x="1342" y="46"/>
                      <a:pt x="1342" y="46"/>
                    </a:cubicBezTo>
                    <a:cubicBezTo>
                      <a:pt x="1343" y="49"/>
                      <a:pt x="1343" y="49"/>
                      <a:pt x="1343" y="49"/>
                    </a:cubicBezTo>
                    <a:cubicBezTo>
                      <a:pt x="1345" y="47"/>
                      <a:pt x="1345" y="47"/>
                      <a:pt x="1345" y="47"/>
                    </a:cubicBezTo>
                    <a:cubicBezTo>
                      <a:pt x="1345" y="44"/>
                      <a:pt x="1345" y="44"/>
                      <a:pt x="1345" y="44"/>
                    </a:cubicBezTo>
                    <a:cubicBezTo>
                      <a:pt x="1346" y="42"/>
                      <a:pt x="1346" y="42"/>
                      <a:pt x="1346" y="42"/>
                    </a:cubicBezTo>
                    <a:cubicBezTo>
                      <a:pt x="1345" y="40"/>
                      <a:pt x="1345" y="40"/>
                      <a:pt x="1345" y="40"/>
                    </a:cubicBezTo>
                    <a:cubicBezTo>
                      <a:pt x="1346" y="35"/>
                      <a:pt x="1346" y="35"/>
                      <a:pt x="1346" y="35"/>
                    </a:cubicBezTo>
                    <a:cubicBezTo>
                      <a:pt x="1349" y="35"/>
                      <a:pt x="1349" y="35"/>
                      <a:pt x="1349" y="35"/>
                    </a:cubicBezTo>
                    <a:cubicBezTo>
                      <a:pt x="1353" y="31"/>
                      <a:pt x="1353" y="31"/>
                      <a:pt x="1353" y="31"/>
                    </a:cubicBezTo>
                    <a:cubicBezTo>
                      <a:pt x="1355" y="31"/>
                      <a:pt x="1355" y="31"/>
                      <a:pt x="1355" y="31"/>
                    </a:cubicBezTo>
                    <a:cubicBezTo>
                      <a:pt x="1356" y="34"/>
                      <a:pt x="1356" y="34"/>
                      <a:pt x="1356" y="34"/>
                    </a:cubicBezTo>
                    <a:cubicBezTo>
                      <a:pt x="1356" y="39"/>
                      <a:pt x="1356" y="39"/>
                      <a:pt x="1356" y="39"/>
                    </a:cubicBezTo>
                    <a:cubicBezTo>
                      <a:pt x="1359" y="41"/>
                      <a:pt x="1359" y="41"/>
                      <a:pt x="1359" y="41"/>
                    </a:cubicBezTo>
                    <a:cubicBezTo>
                      <a:pt x="1360" y="45"/>
                      <a:pt x="1360" y="45"/>
                      <a:pt x="1360" y="45"/>
                    </a:cubicBezTo>
                    <a:cubicBezTo>
                      <a:pt x="1359" y="48"/>
                      <a:pt x="1359" y="48"/>
                      <a:pt x="1359" y="48"/>
                    </a:cubicBezTo>
                    <a:cubicBezTo>
                      <a:pt x="1360" y="51"/>
                      <a:pt x="1360" y="51"/>
                      <a:pt x="1360" y="51"/>
                    </a:cubicBezTo>
                    <a:cubicBezTo>
                      <a:pt x="1360" y="54"/>
                      <a:pt x="1360" y="54"/>
                      <a:pt x="1360" y="54"/>
                    </a:cubicBezTo>
                    <a:cubicBezTo>
                      <a:pt x="1362" y="56"/>
                      <a:pt x="1362" y="56"/>
                      <a:pt x="1362" y="56"/>
                    </a:cubicBezTo>
                    <a:cubicBezTo>
                      <a:pt x="1364" y="55"/>
                      <a:pt x="1364" y="55"/>
                      <a:pt x="1364" y="55"/>
                    </a:cubicBezTo>
                    <a:cubicBezTo>
                      <a:pt x="1362" y="52"/>
                      <a:pt x="1362" y="52"/>
                      <a:pt x="1362" y="52"/>
                    </a:cubicBezTo>
                    <a:cubicBezTo>
                      <a:pt x="1362" y="48"/>
                      <a:pt x="1362" y="48"/>
                      <a:pt x="1362" y="48"/>
                    </a:cubicBezTo>
                    <a:cubicBezTo>
                      <a:pt x="1364" y="47"/>
                      <a:pt x="1364" y="47"/>
                      <a:pt x="1364" y="47"/>
                    </a:cubicBezTo>
                    <a:cubicBezTo>
                      <a:pt x="1368" y="41"/>
                      <a:pt x="1368" y="41"/>
                      <a:pt x="1368" y="41"/>
                    </a:cubicBezTo>
                    <a:cubicBezTo>
                      <a:pt x="1371" y="41"/>
                      <a:pt x="1371" y="41"/>
                      <a:pt x="1371" y="41"/>
                    </a:cubicBezTo>
                    <a:cubicBezTo>
                      <a:pt x="1374" y="46"/>
                      <a:pt x="1374" y="46"/>
                      <a:pt x="1374" y="46"/>
                    </a:cubicBezTo>
                    <a:cubicBezTo>
                      <a:pt x="1374" y="50"/>
                      <a:pt x="1374" y="50"/>
                      <a:pt x="1374" y="50"/>
                    </a:cubicBezTo>
                    <a:cubicBezTo>
                      <a:pt x="1373" y="54"/>
                      <a:pt x="1373" y="54"/>
                      <a:pt x="1373" y="54"/>
                    </a:cubicBezTo>
                    <a:cubicBezTo>
                      <a:pt x="1375" y="56"/>
                      <a:pt x="1375" y="56"/>
                      <a:pt x="1375" y="56"/>
                    </a:cubicBezTo>
                    <a:cubicBezTo>
                      <a:pt x="1376" y="58"/>
                      <a:pt x="1376" y="58"/>
                      <a:pt x="1376" y="58"/>
                    </a:cubicBezTo>
                    <a:cubicBezTo>
                      <a:pt x="1378" y="56"/>
                      <a:pt x="1378" y="56"/>
                      <a:pt x="1378" y="56"/>
                    </a:cubicBezTo>
                    <a:cubicBezTo>
                      <a:pt x="1377" y="51"/>
                      <a:pt x="1377" y="51"/>
                      <a:pt x="1377" y="51"/>
                    </a:cubicBezTo>
                    <a:cubicBezTo>
                      <a:pt x="1380" y="51"/>
                      <a:pt x="1380" y="51"/>
                      <a:pt x="1380" y="51"/>
                    </a:cubicBezTo>
                    <a:cubicBezTo>
                      <a:pt x="1382" y="49"/>
                      <a:pt x="1382" y="49"/>
                      <a:pt x="1382" y="49"/>
                    </a:cubicBezTo>
                    <a:cubicBezTo>
                      <a:pt x="1383" y="52"/>
                      <a:pt x="1383" y="52"/>
                      <a:pt x="1383" y="52"/>
                    </a:cubicBezTo>
                    <a:cubicBezTo>
                      <a:pt x="1382" y="53"/>
                      <a:pt x="1382" y="53"/>
                      <a:pt x="1382" y="53"/>
                    </a:cubicBezTo>
                    <a:cubicBezTo>
                      <a:pt x="1382" y="56"/>
                      <a:pt x="1382" y="56"/>
                      <a:pt x="1382" y="56"/>
                    </a:cubicBezTo>
                    <a:cubicBezTo>
                      <a:pt x="1384" y="58"/>
                      <a:pt x="1384" y="58"/>
                      <a:pt x="1384" y="58"/>
                    </a:cubicBezTo>
                    <a:cubicBezTo>
                      <a:pt x="1387" y="55"/>
                      <a:pt x="1387" y="55"/>
                      <a:pt x="1387" y="55"/>
                    </a:cubicBezTo>
                    <a:cubicBezTo>
                      <a:pt x="1388" y="55"/>
                      <a:pt x="1388" y="55"/>
                      <a:pt x="1388" y="55"/>
                    </a:cubicBezTo>
                    <a:cubicBezTo>
                      <a:pt x="1388" y="59"/>
                      <a:pt x="1388" y="59"/>
                      <a:pt x="1388" y="59"/>
                    </a:cubicBezTo>
                    <a:cubicBezTo>
                      <a:pt x="1390" y="57"/>
                      <a:pt x="1390" y="57"/>
                      <a:pt x="1390" y="57"/>
                    </a:cubicBezTo>
                    <a:cubicBezTo>
                      <a:pt x="1390" y="52"/>
                      <a:pt x="1390" y="52"/>
                      <a:pt x="1390" y="52"/>
                    </a:cubicBezTo>
                    <a:cubicBezTo>
                      <a:pt x="1386" y="47"/>
                      <a:pt x="1386" y="47"/>
                      <a:pt x="1386" y="47"/>
                    </a:cubicBezTo>
                    <a:cubicBezTo>
                      <a:pt x="1385" y="47"/>
                      <a:pt x="1385" y="47"/>
                      <a:pt x="1385" y="47"/>
                    </a:cubicBezTo>
                    <a:cubicBezTo>
                      <a:pt x="1383" y="44"/>
                      <a:pt x="1383" y="44"/>
                      <a:pt x="1383" y="44"/>
                    </a:cubicBezTo>
                    <a:cubicBezTo>
                      <a:pt x="1383" y="40"/>
                      <a:pt x="1383" y="40"/>
                      <a:pt x="1383" y="40"/>
                    </a:cubicBezTo>
                    <a:cubicBezTo>
                      <a:pt x="1380" y="38"/>
                      <a:pt x="1380" y="38"/>
                      <a:pt x="1380" y="38"/>
                    </a:cubicBezTo>
                    <a:cubicBezTo>
                      <a:pt x="1379" y="34"/>
                      <a:pt x="1379" y="34"/>
                      <a:pt x="1379" y="34"/>
                    </a:cubicBezTo>
                    <a:cubicBezTo>
                      <a:pt x="1377" y="33"/>
                      <a:pt x="1377" y="33"/>
                      <a:pt x="1377" y="33"/>
                    </a:cubicBezTo>
                    <a:cubicBezTo>
                      <a:pt x="1377" y="28"/>
                      <a:pt x="1377" y="28"/>
                      <a:pt x="1377" y="28"/>
                    </a:cubicBezTo>
                    <a:cubicBezTo>
                      <a:pt x="1381" y="29"/>
                      <a:pt x="1381" y="29"/>
                      <a:pt x="1381" y="29"/>
                    </a:cubicBezTo>
                    <a:cubicBezTo>
                      <a:pt x="1384" y="31"/>
                      <a:pt x="1384" y="31"/>
                      <a:pt x="1384" y="31"/>
                    </a:cubicBezTo>
                    <a:cubicBezTo>
                      <a:pt x="1388" y="30"/>
                      <a:pt x="1388" y="30"/>
                      <a:pt x="1388" y="30"/>
                    </a:cubicBezTo>
                    <a:cubicBezTo>
                      <a:pt x="1391" y="31"/>
                      <a:pt x="1391" y="31"/>
                      <a:pt x="1391" y="31"/>
                    </a:cubicBezTo>
                    <a:cubicBezTo>
                      <a:pt x="1393" y="29"/>
                      <a:pt x="1393" y="29"/>
                      <a:pt x="1393" y="29"/>
                    </a:cubicBezTo>
                    <a:cubicBezTo>
                      <a:pt x="1393" y="22"/>
                      <a:pt x="1393" y="22"/>
                      <a:pt x="1393" y="22"/>
                    </a:cubicBezTo>
                    <a:cubicBezTo>
                      <a:pt x="1390" y="20"/>
                      <a:pt x="1390" y="20"/>
                      <a:pt x="1390" y="20"/>
                    </a:cubicBezTo>
                    <a:cubicBezTo>
                      <a:pt x="1391" y="16"/>
                      <a:pt x="1391" y="16"/>
                      <a:pt x="1391" y="16"/>
                    </a:cubicBezTo>
                    <a:cubicBezTo>
                      <a:pt x="1396" y="15"/>
                      <a:pt x="1396" y="15"/>
                      <a:pt x="1396" y="15"/>
                    </a:cubicBezTo>
                    <a:cubicBezTo>
                      <a:pt x="1398" y="16"/>
                      <a:pt x="1398" y="16"/>
                      <a:pt x="1398" y="16"/>
                    </a:cubicBezTo>
                    <a:cubicBezTo>
                      <a:pt x="1404" y="17"/>
                      <a:pt x="1404" y="17"/>
                      <a:pt x="1404" y="17"/>
                    </a:cubicBezTo>
                    <a:cubicBezTo>
                      <a:pt x="1407" y="19"/>
                      <a:pt x="1407" y="19"/>
                      <a:pt x="1407" y="19"/>
                    </a:cubicBezTo>
                    <a:cubicBezTo>
                      <a:pt x="1407" y="22"/>
                      <a:pt x="1407" y="22"/>
                      <a:pt x="1407" y="22"/>
                    </a:cubicBezTo>
                    <a:cubicBezTo>
                      <a:pt x="1404" y="24"/>
                      <a:pt x="1404" y="24"/>
                      <a:pt x="1404" y="24"/>
                    </a:cubicBezTo>
                    <a:cubicBezTo>
                      <a:pt x="1405" y="26"/>
                      <a:pt x="1405" y="26"/>
                      <a:pt x="1405" y="26"/>
                    </a:cubicBezTo>
                    <a:cubicBezTo>
                      <a:pt x="1412" y="29"/>
                      <a:pt x="1412" y="29"/>
                      <a:pt x="1412" y="29"/>
                    </a:cubicBezTo>
                    <a:cubicBezTo>
                      <a:pt x="1413" y="31"/>
                      <a:pt x="1413" y="31"/>
                      <a:pt x="1413" y="31"/>
                    </a:cubicBezTo>
                    <a:cubicBezTo>
                      <a:pt x="1411" y="36"/>
                      <a:pt x="1411" y="36"/>
                      <a:pt x="1411" y="36"/>
                    </a:cubicBezTo>
                    <a:cubicBezTo>
                      <a:pt x="1412" y="44"/>
                      <a:pt x="1412" y="44"/>
                      <a:pt x="1412" y="44"/>
                    </a:cubicBezTo>
                    <a:cubicBezTo>
                      <a:pt x="1415" y="43"/>
                      <a:pt x="1415" y="43"/>
                      <a:pt x="1415" y="43"/>
                    </a:cubicBezTo>
                    <a:cubicBezTo>
                      <a:pt x="1417" y="39"/>
                      <a:pt x="1417" y="39"/>
                      <a:pt x="1417" y="39"/>
                    </a:cubicBezTo>
                    <a:cubicBezTo>
                      <a:pt x="1419" y="39"/>
                      <a:pt x="1419" y="39"/>
                      <a:pt x="1419" y="39"/>
                    </a:cubicBezTo>
                    <a:cubicBezTo>
                      <a:pt x="1419" y="42"/>
                      <a:pt x="1419" y="42"/>
                      <a:pt x="1419" y="42"/>
                    </a:cubicBezTo>
                    <a:cubicBezTo>
                      <a:pt x="1421" y="44"/>
                      <a:pt x="1421" y="44"/>
                      <a:pt x="1421" y="44"/>
                    </a:cubicBezTo>
                    <a:cubicBezTo>
                      <a:pt x="1424" y="42"/>
                      <a:pt x="1424" y="42"/>
                      <a:pt x="1424" y="42"/>
                    </a:cubicBezTo>
                    <a:cubicBezTo>
                      <a:pt x="1425" y="40"/>
                      <a:pt x="1425" y="40"/>
                      <a:pt x="1425" y="40"/>
                    </a:cubicBezTo>
                    <a:cubicBezTo>
                      <a:pt x="1429" y="38"/>
                      <a:pt x="1429" y="38"/>
                      <a:pt x="1429" y="38"/>
                    </a:cubicBezTo>
                    <a:cubicBezTo>
                      <a:pt x="1430" y="36"/>
                      <a:pt x="1430" y="36"/>
                      <a:pt x="1430" y="36"/>
                    </a:cubicBezTo>
                    <a:cubicBezTo>
                      <a:pt x="1428" y="29"/>
                      <a:pt x="1428" y="29"/>
                      <a:pt x="1428" y="29"/>
                    </a:cubicBezTo>
                    <a:cubicBezTo>
                      <a:pt x="1430" y="26"/>
                      <a:pt x="1430" y="26"/>
                      <a:pt x="1430" y="26"/>
                    </a:cubicBezTo>
                    <a:cubicBezTo>
                      <a:pt x="1433" y="26"/>
                      <a:pt x="1433" y="26"/>
                      <a:pt x="1433" y="26"/>
                    </a:cubicBezTo>
                    <a:cubicBezTo>
                      <a:pt x="1435" y="28"/>
                      <a:pt x="1435" y="28"/>
                      <a:pt x="1435" y="28"/>
                    </a:cubicBezTo>
                    <a:cubicBezTo>
                      <a:pt x="1441" y="28"/>
                      <a:pt x="1441" y="28"/>
                      <a:pt x="1441" y="28"/>
                    </a:cubicBezTo>
                    <a:cubicBezTo>
                      <a:pt x="1441" y="25"/>
                      <a:pt x="1441" y="25"/>
                      <a:pt x="1441" y="25"/>
                    </a:cubicBezTo>
                    <a:cubicBezTo>
                      <a:pt x="1435" y="21"/>
                      <a:pt x="1435" y="21"/>
                      <a:pt x="1435" y="21"/>
                    </a:cubicBezTo>
                    <a:cubicBezTo>
                      <a:pt x="1434" y="17"/>
                      <a:pt x="1434" y="17"/>
                      <a:pt x="1434" y="17"/>
                    </a:cubicBezTo>
                    <a:cubicBezTo>
                      <a:pt x="1435" y="15"/>
                      <a:pt x="1435" y="15"/>
                      <a:pt x="1435" y="15"/>
                    </a:cubicBezTo>
                    <a:cubicBezTo>
                      <a:pt x="1436" y="11"/>
                      <a:pt x="1436" y="11"/>
                      <a:pt x="1436" y="11"/>
                    </a:cubicBezTo>
                    <a:cubicBezTo>
                      <a:pt x="1438" y="11"/>
                      <a:pt x="1438" y="11"/>
                      <a:pt x="1438" y="11"/>
                    </a:cubicBezTo>
                    <a:cubicBezTo>
                      <a:pt x="1446" y="15"/>
                      <a:pt x="1446" y="15"/>
                      <a:pt x="1446" y="15"/>
                    </a:cubicBezTo>
                    <a:cubicBezTo>
                      <a:pt x="1446" y="20"/>
                      <a:pt x="1446" y="20"/>
                      <a:pt x="1446" y="20"/>
                    </a:cubicBezTo>
                    <a:cubicBezTo>
                      <a:pt x="1447" y="24"/>
                      <a:pt x="1447" y="24"/>
                      <a:pt x="1447" y="24"/>
                    </a:cubicBezTo>
                    <a:cubicBezTo>
                      <a:pt x="1447" y="28"/>
                      <a:pt x="1447" y="28"/>
                      <a:pt x="1447" y="28"/>
                    </a:cubicBezTo>
                    <a:cubicBezTo>
                      <a:pt x="1449" y="31"/>
                      <a:pt x="1449" y="31"/>
                      <a:pt x="1449" y="31"/>
                    </a:cubicBezTo>
                    <a:cubicBezTo>
                      <a:pt x="1450" y="36"/>
                      <a:pt x="1450" y="36"/>
                      <a:pt x="1450" y="36"/>
                    </a:cubicBezTo>
                    <a:cubicBezTo>
                      <a:pt x="1452" y="39"/>
                      <a:pt x="1452" y="39"/>
                      <a:pt x="1452" y="39"/>
                    </a:cubicBezTo>
                    <a:cubicBezTo>
                      <a:pt x="1453" y="38"/>
                      <a:pt x="1453" y="38"/>
                      <a:pt x="1453" y="38"/>
                    </a:cubicBezTo>
                    <a:cubicBezTo>
                      <a:pt x="1453" y="33"/>
                      <a:pt x="1453" y="33"/>
                      <a:pt x="1453" y="33"/>
                    </a:cubicBezTo>
                    <a:cubicBezTo>
                      <a:pt x="1453" y="30"/>
                      <a:pt x="1453" y="30"/>
                      <a:pt x="1453" y="30"/>
                    </a:cubicBezTo>
                    <a:cubicBezTo>
                      <a:pt x="1452" y="26"/>
                      <a:pt x="1452" y="26"/>
                      <a:pt x="1452" y="26"/>
                    </a:cubicBezTo>
                    <a:cubicBezTo>
                      <a:pt x="1450" y="20"/>
                      <a:pt x="1450" y="20"/>
                      <a:pt x="1450" y="20"/>
                    </a:cubicBezTo>
                    <a:cubicBezTo>
                      <a:pt x="1451" y="14"/>
                      <a:pt x="1451" y="14"/>
                      <a:pt x="1451" y="14"/>
                    </a:cubicBezTo>
                    <a:cubicBezTo>
                      <a:pt x="1451" y="7"/>
                      <a:pt x="1451" y="7"/>
                      <a:pt x="1451" y="7"/>
                    </a:cubicBezTo>
                    <a:cubicBezTo>
                      <a:pt x="1452" y="3"/>
                      <a:pt x="1452" y="3"/>
                      <a:pt x="1452" y="3"/>
                    </a:cubicBezTo>
                    <a:cubicBezTo>
                      <a:pt x="1454" y="4"/>
                      <a:pt x="1454" y="4"/>
                      <a:pt x="1454" y="4"/>
                    </a:cubicBezTo>
                    <a:cubicBezTo>
                      <a:pt x="1458" y="7"/>
                      <a:pt x="1458" y="7"/>
                      <a:pt x="1458" y="7"/>
                    </a:cubicBezTo>
                    <a:cubicBezTo>
                      <a:pt x="1460" y="7"/>
                      <a:pt x="1460" y="7"/>
                      <a:pt x="1460" y="7"/>
                    </a:cubicBezTo>
                    <a:cubicBezTo>
                      <a:pt x="1462" y="8"/>
                      <a:pt x="1462" y="8"/>
                      <a:pt x="1462" y="8"/>
                    </a:cubicBezTo>
                    <a:cubicBezTo>
                      <a:pt x="1462" y="13"/>
                      <a:pt x="1462" y="13"/>
                      <a:pt x="1462" y="13"/>
                    </a:cubicBezTo>
                    <a:cubicBezTo>
                      <a:pt x="1464" y="17"/>
                      <a:pt x="1464" y="17"/>
                      <a:pt x="1464" y="17"/>
                    </a:cubicBezTo>
                    <a:cubicBezTo>
                      <a:pt x="1464" y="21"/>
                      <a:pt x="1464" y="21"/>
                      <a:pt x="1464" y="21"/>
                    </a:cubicBezTo>
                    <a:cubicBezTo>
                      <a:pt x="1464" y="27"/>
                      <a:pt x="1464" y="27"/>
                      <a:pt x="1464" y="27"/>
                    </a:cubicBezTo>
                    <a:cubicBezTo>
                      <a:pt x="1466" y="28"/>
                      <a:pt x="1466" y="28"/>
                      <a:pt x="1466" y="28"/>
                    </a:cubicBezTo>
                    <a:cubicBezTo>
                      <a:pt x="1466" y="25"/>
                      <a:pt x="1466" y="25"/>
                      <a:pt x="1466" y="25"/>
                    </a:cubicBezTo>
                    <a:cubicBezTo>
                      <a:pt x="1467" y="22"/>
                      <a:pt x="1467" y="22"/>
                      <a:pt x="1467" y="22"/>
                    </a:cubicBezTo>
                    <a:cubicBezTo>
                      <a:pt x="1469" y="22"/>
                      <a:pt x="1469" y="22"/>
                      <a:pt x="1469" y="22"/>
                    </a:cubicBezTo>
                    <a:cubicBezTo>
                      <a:pt x="1475" y="30"/>
                      <a:pt x="1475" y="30"/>
                      <a:pt x="1475" y="30"/>
                    </a:cubicBezTo>
                    <a:cubicBezTo>
                      <a:pt x="1476" y="28"/>
                      <a:pt x="1476" y="28"/>
                      <a:pt x="1476" y="28"/>
                    </a:cubicBezTo>
                    <a:cubicBezTo>
                      <a:pt x="1479" y="28"/>
                      <a:pt x="1479" y="28"/>
                      <a:pt x="1479" y="28"/>
                    </a:cubicBezTo>
                    <a:cubicBezTo>
                      <a:pt x="1479" y="26"/>
                      <a:pt x="1479" y="26"/>
                      <a:pt x="1479" y="26"/>
                    </a:cubicBezTo>
                    <a:cubicBezTo>
                      <a:pt x="1477" y="25"/>
                      <a:pt x="1477" y="25"/>
                      <a:pt x="1477" y="25"/>
                    </a:cubicBezTo>
                    <a:cubicBezTo>
                      <a:pt x="1473" y="21"/>
                      <a:pt x="1473" y="21"/>
                      <a:pt x="1473" y="21"/>
                    </a:cubicBezTo>
                    <a:cubicBezTo>
                      <a:pt x="1474" y="20"/>
                      <a:pt x="1474" y="20"/>
                      <a:pt x="1474" y="20"/>
                    </a:cubicBezTo>
                    <a:cubicBezTo>
                      <a:pt x="1475" y="18"/>
                      <a:pt x="1475" y="18"/>
                      <a:pt x="1475" y="18"/>
                    </a:cubicBezTo>
                    <a:cubicBezTo>
                      <a:pt x="1471" y="14"/>
                      <a:pt x="1471" y="14"/>
                      <a:pt x="1471" y="14"/>
                    </a:cubicBezTo>
                    <a:cubicBezTo>
                      <a:pt x="1469" y="11"/>
                      <a:pt x="1469" y="11"/>
                      <a:pt x="1469" y="11"/>
                    </a:cubicBezTo>
                    <a:cubicBezTo>
                      <a:pt x="1470" y="10"/>
                      <a:pt x="1470" y="10"/>
                      <a:pt x="1470" y="10"/>
                    </a:cubicBezTo>
                    <a:cubicBezTo>
                      <a:pt x="1475" y="10"/>
                      <a:pt x="1475" y="10"/>
                      <a:pt x="1475" y="10"/>
                    </a:cubicBezTo>
                    <a:cubicBezTo>
                      <a:pt x="1473" y="8"/>
                      <a:pt x="1473" y="8"/>
                      <a:pt x="1473" y="8"/>
                    </a:cubicBezTo>
                    <a:cubicBezTo>
                      <a:pt x="1470" y="7"/>
                      <a:pt x="1470" y="7"/>
                      <a:pt x="1470" y="7"/>
                    </a:cubicBezTo>
                    <a:cubicBezTo>
                      <a:pt x="1468" y="5"/>
                      <a:pt x="1468" y="5"/>
                      <a:pt x="1468" y="5"/>
                    </a:cubicBezTo>
                    <a:cubicBezTo>
                      <a:pt x="1470" y="3"/>
                      <a:pt x="1470" y="3"/>
                      <a:pt x="1470" y="3"/>
                    </a:cubicBezTo>
                    <a:cubicBezTo>
                      <a:pt x="1473" y="3"/>
                      <a:pt x="1473" y="3"/>
                      <a:pt x="1473" y="3"/>
                    </a:cubicBezTo>
                    <a:cubicBezTo>
                      <a:pt x="1477" y="0"/>
                      <a:pt x="1477" y="0"/>
                      <a:pt x="1477" y="0"/>
                    </a:cubicBezTo>
                    <a:cubicBezTo>
                      <a:pt x="1485" y="1"/>
                      <a:pt x="1485" y="1"/>
                      <a:pt x="1485" y="1"/>
                    </a:cubicBezTo>
                    <a:cubicBezTo>
                      <a:pt x="1487" y="3"/>
                      <a:pt x="1487" y="3"/>
                      <a:pt x="1487" y="3"/>
                    </a:cubicBezTo>
                    <a:cubicBezTo>
                      <a:pt x="1487" y="7"/>
                      <a:pt x="1487" y="7"/>
                      <a:pt x="1487" y="7"/>
                    </a:cubicBezTo>
                    <a:cubicBezTo>
                      <a:pt x="1484" y="11"/>
                      <a:pt x="1484" y="11"/>
                      <a:pt x="1484" y="11"/>
                    </a:cubicBezTo>
                    <a:cubicBezTo>
                      <a:pt x="1485" y="12"/>
                      <a:pt x="1485" y="12"/>
                      <a:pt x="1485" y="12"/>
                    </a:cubicBezTo>
                    <a:cubicBezTo>
                      <a:pt x="1488" y="12"/>
                      <a:pt x="1488" y="12"/>
                      <a:pt x="1488" y="12"/>
                    </a:cubicBezTo>
                    <a:cubicBezTo>
                      <a:pt x="1491" y="7"/>
                      <a:pt x="1491" y="7"/>
                      <a:pt x="1491" y="7"/>
                    </a:cubicBezTo>
                    <a:cubicBezTo>
                      <a:pt x="1492" y="6"/>
                      <a:pt x="1492" y="6"/>
                      <a:pt x="1492" y="6"/>
                    </a:cubicBezTo>
                    <a:cubicBezTo>
                      <a:pt x="1494" y="8"/>
                      <a:pt x="1494" y="8"/>
                      <a:pt x="1494" y="8"/>
                    </a:cubicBezTo>
                    <a:cubicBezTo>
                      <a:pt x="1492" y="13"/>
                      <a:pt x="1492" y="13"/>
                      <a:pt x="1492" y="13"/>
                    </a:cubicBezTo>
                    <a:cubicBezTo>
                      <a:pt x="1494" y="15"/>
                      <a:pt x="1494" y="15"/>
                      <a:pt x="1494" y="15"/>
                    </a:cubicBezTo>
                    <a:cubicBezTo>
                      <a:pt x="1496" y="14"/>
                      <a:pt x="1496" y="14"/>
                      <a:pt x="1496" y="14"/>
                    </a:cubicBezTo>
                    <a:cubicBezTo>
                      <a:pt x="1497" y="12"/>
                      <a:pt x="1497" y="12"/>
                      <a:pt x="1497" y="12"/>
                    </a:cubicBezTo>
                    <a:cubicBezTo>
                      <a:pt x="1502" y="8"/>
                      <a:pt x="1502" y="8"/>
                      <a:pt x="1502" y="8"/>
                    </a:cubicBezTo>
                    <a:cubicBezTo>
                      <a:pt x="1503" y="10"/>
                      <a:pt x="1503" y="10"/>
                      <a:pt x="1503" y="10"/>
                    </a:cubicBezTo>
                    <a:cubicBezTo>
                      <a:pt x="1503" y="14"/>
                      <a:pt x="1503" y="14"/>
                      <a:pt x="1503" y="14"/>
                    </a:cubicBezTo>
                    <a:cubicBezTo>
                      <a:pt x="1501" y="17"/>
                      <a:pt x="1501" y="17"/>
                      <a:pt x="1501" y="17"/>
                    </a:cubicBezTo>
                    <a:cubicBezTo>
                      <a:pt x="1503" y="23"/>
                      <a:pt x="1503" y="23"/>
                      <a:pt x="1503" y="23"/>
                    </a:cubicBezTo>
                    <a:cubicBezTo>
                      <a:pt x="1500" y="26"/>
                      <a:pt x="1500" y="26"/>
                      <a:pt x="1500" y="26"/>
                    </a:cubicBezTo>
                    <a:cubicBezTo>
                      <a:pt x="1502" y="28"/>
                      <a:pt x="1502" y="28"/>
                      <a:pt x="1502" y="28"/>
                    </a:cubicBezTo>
                    <a:cubicBezTo>
                      <a:pt x="1506" y="27"/>
                      <a:pt x="1506" y="27"/>
                      <a:pt x="1506" y="27"/>
                    </a:cubicBezTo>
                    <a:cubicBezTo>
                      <a:pt x="1509" y="28"/>
                      <a:pt x="1509" y="28"/>
                      <a:pt x="1509" y="28"/>
                    </a:cubicBezTo>
                    <a:cubicBezTo>
                      <a:pt x="1511" y="26"/>
                      <a:pt x="1511" y="26"/>
                      <a:pt x="1511" y="26"/>
                    </a:cubicBezTo>
                    <a:cubicBezTo>
                      <a:pt x="1511" y="21"/>
                      <a:pt x="1511" y="21"/>
                      <a:pt x="1511" y="21"/>
                    </a:cubicBezTo>
                    <a:cubicBezTo>
                      <a:pt x="1513" y="14"/>
                      <a:pt x="1513" y="14"/>
                      <a:pt x="1513" y="14"/>
                    </a:cubicBezTo>
                    <a:cubicBezTo>
                      <a:pt x="1510" y="6"/>
                      <a:pt x="1510" y="6"/>
                      <a:pt x="1510" y="6"/>
                    </a:cubicBezTo>
                    <a:cubicBezTo>
                      <a:pt x="1511" y="1"/>
                      <a:pt x="1511" y="1"/>
                      <a:pt x="1511" y="1"/>
                    </a:cubicBezTo>
                    <a:cubicBezTo>
                      <a:pt x="1513" y="0"/>
                      <a:pt x="1513" y="0"/>
                      <a:pt x="1513" y="0"/>
                    </a:cubicBezTo>
                    <a:cubicBezTo>
                      <a:pt x="1516" y="2"/>
                      <a:pt x="1516" y="2"/>
                      <a:pt x="1516" y="2"/>
                    </a:cubicBezTo>
                    <a:cubicBezTo>
                      <a:pt x="1519" y="2"/>
                      <a:pt x="1519" y="2"/>
                      <a:pt x="1519" y="2"/>
                    </a:cubicBezTo>
                    <a:cubicBezTo>
                      <a:pt x="1522" y="3"/>
                      <a:pt x="1522" y="3"/>
                      <a:pt x="1522" y="3"/>
                    </a:cubicBezTo>
                    <a:cubicBezTo>
                      <a:pt x="1527" y="1"/>
                      <a:pt x="1527" y="1"/>
                      <a:pt x="1527" y="1"/>
                    </a:cubicBezTo>
                    <a:cubicBezTo>
                      <a:pt x="1532" y="2"/>
                      <a:pt x="1532" y="2"/>
                      <a:pt x="1532" y="2"/>
                    </a:cubicBezTo>
                    <a:cubicBezTo>
                      <a:pt x="1533" y="5"/>
                      <a:pt x="1533" y="5"/>
                      <a:pt x="1533" y="5"/>
                    </a:cubicBezTo>
                    <a:cubicBezTo>
                      <a:pt x="1538" y="7"/>
                      <a:pt x="1538" y="7"/>
                      <a:pt x="1538" y="7"/>
                    </a:cubicBezTo>
                    <a:cubicBezTo>
                      <a:pt x="1543" y="5"/>
                      <a:pt x="1543" y="5"/>
                      <a:pt x="1543" y="5"/>
                    </a:cubicBezTo>
                    <a:cubicBezTo>
                      <a:pt x="1547" y="9"/>
                      <a:pt x="1547" y="9"/>
                      <a:pt x="1547" y="9"/>
                    </a:cubicBezTo>
                    <a:cubicBezTo>
                      <a:pt x="1548" y="11"/>
                      <a:pt x="1548" y="11"/>
                      <a:pt x="1548" y="11"/>
                    </a:cubicBezTo>
                    <a:cubicBezTo>
                      <a:pt x="1550" y="13"/>
                      <a:pt x="1550" y="13"/>
                      <a:pt x="1550" y="13"/>
                    </a:cubicBezTo>
                    <a:cubicBezTo>
                      <a:pt x="1550" y="18"/>
                      <a:pt x="1550" y="18"/>
                      <a:pt x="1550" y="18"/>
                    </a:cubicBezTo>
                    <a:cubicBezTo>
                      <a:pt x="1548" y="22"/>
                      <a:pt x="1548" y="22"/>
                      <a:pt x="1548" y="22"/>
                    </a:cubicBezTo>
                    <a:cubicBezTo>
                      <a:pt x="1549" y="24"/>
                      <a:pt x="1549" y="24"/>
                      <a:pt x="1549" y="24"/>
                    </a:cubicBezTo>
                    <a:cubicBezTo>
                      <a:pt x="1552" y="23"/>
                      <a:pt x="1552" y="23"/>
                      <a:pt x="1552" y="23"/>
                    </a:cubicBezTo>
                    <a:cubicBezTo>
                      <a:pt x="1556" y="19"/>
                      <a:pt x="1556" y="19"/>
                      <a:pt x="1556" y="19"/>
                    </a:cubicBezTo>
                    <a:cubicBezTo>
                      <a:pt x="1562" y="15"/>
                      <a:pt x="1562" y="15"/>
                      <a:pt x="1562" y="15"/>
                    </a:cubicBezTo>
                    <a:cubicBezTo>
                      <a:pt x="1565" y="12"/>
                      <a:pt x="1565" y="12"/>
                      <a:pt x="1565" y="12"/>
                    </a:cubicBezTo>
                    <a:cubicBezTo>
                      <a:pt x="1568" y="12"/>
                      <a:pt x="1568" y="12"/>
                      <a:pt x="1568" y="12"/>
                    </a:cubicBezTo>
                    <a:cubicBezTo>
                      <a:pt x="1573" y="14"/>
                      <a:pt x="1573" y="14"/>
                      <a:pt x="1573" y="14"/>
                    </a:cubicBezTo>
                    <a:cubicBezTo>
                      <a:pt x="1578" y="14"/>
                      <a:pt x="1578" y="14"/>
                      <a:pt x="1578" y="14"/>
                    </a:cubicBezTo>
                    <a:cubicBezTo>
                      <a:pt x="1577" y="17"/>
                      <a:pt x="1577" y="17"/>
                      <a:pt x="1577" y="17"/>
                    </a:cubicBezTo>
                    <a:cubicBezTo>
                      <a:pt x="1573" y="21"/>
                      <a:pt x="1573" y="21"/>
                      <a:pt x="1573" y="21"/>
                    </a:cubicBezTo>
                    <a:cubicBezTo>
                      <a:pt x="1575" y="24"/>
                      <a:pt x="1575" y="24"/>
                      <a:pt x="1575" y="24"/>
                    </a:cubicBezTo>
                    <a:cubicBezTo>
                      <a:pt x="1577" y="23"/>
                      <a:pt x="1577" y="23"/>
                      <a:pt x="1577" y="23"/>
                    </a:cubicBezTo>
                    <a:cubicBezTo>
                      <a:pt x="1578" y="20"/>
                      <a:pt x="1578" y="20"/>
                      <a:pt x="1578" y="20"/>
                    </a:cubicBezTo>
                    <a:cubicBezTo>
                      <a:pt x="1582" y="17"/>
                      <a:pt x="1582" y="17"/>
                      <a:pt x="1582" y="17"/>
                    </a:cubicBezTo>
                    <a:cubicBezTo>
                      <a:pt x="1586" y="15"/>
                      <a:pt x="1586" y="15"/>
                      <a:pt x="1586" y="15"/>
                    </a:cubicBezTo>
                    <a:cubicBezTo>
                      <a:pt x="1592" y="18"/>
                      <a:pt x="1592" y="18"/>
                      <a:pt x="1592" y="18"/>
                    </a:cubicBezTo>
                    <a:cubicBezTo>
                      <a:pt x="1599" y="19"/>
                      <a:pt x="1599" y="19"/>
                      <a:pt x="1599" y="19"/>
                    </a:cubicBezTo>
                    <a:cubicBezTo>
                      <a:pt x="1601" y="22"/>
                      <a:pt x="1601" y="22"/>
                      <a:pt x="1601" y="22"/>
                    </a:cubicBezTo>
                    <a:cubicBezTo>
                      <a:pt x="1599" y="24"/>
                      <a:pt x="1599" y="24"/>
                      <a:pt x="1599" y="24"/>
                    </a:cubicBezTo>
                    <a:cubicBezTo>
                      <a:pt x="1598" y="24"/>
                      <a:pt x="1598" y="24"/>
                      <a:pt x="1598" y="24"/>
                    </a:cubicBezTo>
                    <a:cubicBezTo>
                      <a:pt x="1599" y="27"/>
                      <a:pt x="1599" y="27"/>
                      <a:pt x="1599" y="27"/>
                    </a:cubicBezTo>
                    <a:cubicBezTo>
                      <a:pt x="1596" y="29"/>
                      <a:pt x="1596" y="29"/>
                      <a:pt x="1596" y="29"/>
                    </a:cubicBezTo>
                    <a:cubicBezTo>
                      <a:pt x="1598" y="32"/>
                      <a:pt x="1598" y="32"/>
                      <a:pt x="1598" y="32"/>
                    </a:cubicBezTo>
                    <a:cubicBezTo>
                      <a:pt x="1600" y="30"/>
                      <a:pt x="1600" y="30"/>
                      <a:pt x="1600" y="30"/>
                    </a:cubicBezTo>
                    <a:cubicBezTo>
                      <a:pt x="1604" y="28"/>
                      <a:pt x="1604" y="28"/>
                      <a:pt x="1604" y="28"/>
                    </a:cubicBezTo>
                    <a:cubicBezTo>
                      <a:pt x="1604" y="32"/>
                      <a:pt x="1604" y="32"/>
                      <a:pt x="1604" y="32"/>
                    </a:cubicBezTo>
                    <a:cubicBezTo>
                      <a:pt x="1607" y="33"/>
                      <a:pt x="1607" y="33"/>
                      <a:pt x="1607" y="33"/>
                    </a:cubicBezTo>
                    <a:cubicBezTo>
                      <a:pt x="1609" y="30"/>
                      <a:pt x="1609" y="30"/>
                      <a:pt x="1609" y="30"/>
                    </a:cubicBezTo>
                    <a:cubicBezTo>
                      <a:pt x="1615" y="29"/>
                      <a:pt x="1615" y="29"/>
                      <a:pt x="1615" y="29"/>
                    </a:cubicBezTo>
                    <a:cubicBezTo>
                      <a:pt x="1615" y="32"/>
                      <a:pt x="1615" y="32"/>
                      <a:pt x="1615" y="32"/>
                    </a:cubicBezTo>
                    <a:cubicBezTo>
                      <a:pt x="1613" y="34"/>
                      <a:pt x="1613" y="34"/>
                      <a:pt x="1613" y="34"/>
                    </a:cubicBezTo>
                    <a:cubicBezTo>
                      <a:pt x="1614" y="37"/>
                      <a:pt x="1614" y="37"/>
                      <a:pt x="1614" y="37"/>
                    </a:cubicBezTo>
                    <a:cubicBezTo>
                      <a:pt x="1616" y="38"/>
                      <a:pt x="1616" y="38"/>
                      <a:pt x="1616" y="38"/>
                    </a:cubicBezTo>
                    <a:cubicBezTo>
                      <a:pt x="1618" y="36"/>
                      <a:pt x="1618" y="36"/>
                      <a:pt x="1618" y="36"/>
                    </a:cubicBezTo>
                    <a:cubicBezTo>
                      <a:pt x="1621" y="34"/>
                      <a:pt x="1621" y="34"/>
                      <a:pt x="1621" y="34"/>
                    </a:cubicBezTo>
                    <a:cubicBezTo>
                      <a:pt x="1623" y="34"/>
                      <a:pt x="1623" y="34"/>
                      <a:pt x="1623" y="34"/>
                    </a:cubicBezTo>
                    <a:cubicBezTo>
                      <a:pt x="1624" y="37"/>
                      <a:pt x="1624" y="37"/>
                      <a:pt x="1624" y="37"/>
                    </a:cubicBezTo>
                    <a:cubicBezTo>
                      <a:pt x="1631" y="41"/>
                      <a:pt x="1631" y="41"/>
                      <a:pt x="1631" y="41"/>
                    </a:cubicBezTo>
                    <a:cubicBezTo>
                      <a:pt x="1635" y="41"/>
                      <a:pt x="1635" y="41"/>
                      <a:pt x="1635" y="41"/>
                    </a:cubicBezTo>
                    <a:cubicBezTo>
                      <a:pt x="1636" y="42"/>
                      <a:pt x="1636" y="42"/>
                      <a:pt x="1636" y="42"/>
                    </a:cubicBezTo>
                    <a:cubicBezTo>
                      <a:pt x="1634" y="44"/>
                      <a:pt x="1634" y="44"/>
                      <a:pt x="1634" y="44"/>
                    </a:cubicBezTo>
                    <a:cubicBezTo>
                      <a:pt x="1627" y="47"/>
                      <a:pt x="1627" y="47"/>
                      <a:pt x="1627" y="47"/>
                    </a:cubicBezTo>
                    <a:cubicBezTo>
                      <a:pt x="1623" y="52"/>
                      <a:pt x="1623" y="52"/>
                      <a:pt x="1623" y="52"/>
                    </a:cubicBezTo>
                    <a:cubicBezTo>
                      <a:pt x="1619" y="53"/>
                      <a:pt x="1619" y="53"/>
                      <a:pt x="1619" y="53"/>
                    </a:cubicBezTo>
                    <a:cubicBezTo>
                      <a:pt x="1613" y="55"/>
                      <a:pt x="1613" y="55"/>
                      <a:pt x="1613" y="55"/>
                    </a:cubicBezTo>
                    <a:cubicBezTo>
                      <a:pt x="1610" y="55"/>
                      <a:pt x="1610" y="55"/>
                      <a:pt x="1610" y="55"/>
                    </a:cubicBezTo>
                    <a:cubicBezTo>
                      <a:pt x="1607" y="54"/>
                      <a:pt x="1607" y="54"/>
                      <a:pt x="1607" y="54"/>
                    </a:cubicBezTo>
                    <a:cubicBezTo>
                      <a:pt x="1606" y="56"/>
                      <a:pt x="1606" y="56"/>
                      <a:pt x="1606" y="56"/>
                    </a:cubicBezTo>
                    <a:cubicBezTo>
                      <a:pt x="1600" y="58"/>
                      <a:pt x="1600" y="58"/>
                      <a:pt x="1600" y="58"/>
                    </a:cubicBezTo>
                    <a:cubicBezTo>
                      <a:pt x="1608" y="57"/>
                      <a:pt x="1608" y="57"/>
                      <a:pt x="1608" y="57"/>
                    </a:cubicBezTo>
                    <a:cubicBezTo>
                      <a:pt x="1616" y="58"/>
                      <a:pt x="1616" y="58"/>
                      <a:pt x="1616" y="58"/>
                    </a:cubicBezTo>
                    <a:cubicBezTo>
                      <a:pt x="1619" y="60"/>
                      <a:pt x="1619" y="60"/>
                      <a:pt x="1619" y="60"/>
                    </a:cubicBezTo>
                    <a:cubicBezTo>
                      <a:pt x="1621" y="60"/>
                      <a:pt x="1621" y="60"/>
                      <a:pt x="1621" y="60"/>
                    </a:cubicBezTo>
                    <a:cubicBezTo>
                      <a:pt x="1624" y="57"/>
                      <a:pt x="1624" y="57"/>
                      <a:pt x="1624" y="57"/>
                    </a:cubicBezTo>
                    <a:cubicBezTo>
                      <a:pt x="1625" y="55"/>
                      <a:pt x="1625" y="55"/>
                      <a:pt x="1625" y="55"/>
                    </a:cubicBezTo>
                    <a:cubicBezTo>
                      <a:pt x="1629" y="55"/>
                      <a:pt x="1629" y="55"/>
                      <a:pt x="1629" y="55"/>
                    </a:cubicBezTo>
                    <a:cubicBezTo>
                      <a:pt x="1631" y="52"/>
                      <a:pt x="1631" y="52"/>
                      <a:pt x="1631" y="52"/>
                    </a:cubicBezTo>
                    <a:cubicBezTo>
                      <a:pt x="1637" y="49"/>
                      <a:pt x="1637" y="49"/>
                      <a:pt x="1637" y="49"/>
                    </a:cubicBezTo>
                    <a:cubicBezTo>
                      <a:pt x="1641" y="49"/>
                      <a:pt x="1641" y="49"/>
                      <a:pt x="1641" y="49"/>
                    </a:cubicBezTo>
                    <a:cubicBezTo>
                      <a:pt x="1642" y="52"/>
                      <a:pt x="1642" y="52"/>
                      <a:pt x="1642" y="52"/>
                    </a:cubicBezTo>
                    <a:cubicBezTo>
                      <a:pt x="1640" y="56"/>
                      <a:pt x="1640" y="56"/>
                      <a:pt x="1640" y="56"/>
                    </a:cubicBezTo>
                    <a:cubicBezTo>
                      <a:pt x="1642" y="58"/>
                      <a:pt x="1642" y="58"/>
                      <a:pt x="1642" y="58"/>
                    </a:cubicBezTo>
                    <a:cubicBezTo>
                      <a:pt x="1643" y="57"/>
                      <a:pt x="1643" y="57"/>
                      <a:pt x="1643" y="57"/>
                    </a:cubicBezTo>
                    <a:cubicBezTo>
                      <a:pt x="1645" y="53"/>
                      <a:pt x="1645" y="53"/>
                      <a:pt x="1645" y="53"/>
                    </a:cubicBezTo>
                    <a:cubicBezTo>
                      <a:pt x="1649" y="50"/>
                      <a:pt x="1649" y="50"/>
                      <a:pt x="1649" y="50"/>
                    </a:cubicBezTo>
                    <a:cubicBezTo>
                      <a:pt x="1651" y="52"/>
                      <a:pt x="1651" y="52"/>
                      <a:pt x="1651" y="52"/>
                    </a:cubicBezTo>
                    <a:cubicBezTo>
                      <a:pt x="1649" y="55"/>
                      <a:pt x="1649" y="55"/>
                      <a:pt x="1649" y="55"/>
                    </a:cubicBezTo>
                    <a:cubicBezTo>
                      <a:pt x="1649" y="57"/>
                      <a:pt x="1649" y="57"/>
                      <a:pt x="1649" y="57"/>
                    </a:cubicBezTo>
                    <a:cubicBezTo>
                      <a:pt x="1647" y="59"/>
                      <a:pt x="1647" y="59"/>
                      <a:pt x="1647" y="59"/>
                    </a:cubicBezTo>
                    <a:cubicBezTo>
                      <a:pt x="1648" y="61"/>
                      <a:pt x="1648" y="61"/>
                      <a:pt x="1648" y="61"/>
                    </a:cubicBezTo>
                    <a:cubicBezTo>
                      <a:pt x="1651" y="60"/>
                      <a:pt x="1651" y="60"/>
                      <a:pt x="1651" y="60"/>
                    </a:cubicBezTo>
                    <a:cubicBezTo>
                      <a:pt x="1653" y="58"/>
                      <a:pt x="1653" y="58"/>
                      <a:pt x="1653" y="58"/>
                    </a:cubicBezTo>
                    <a:cubicBezTo>
                      <a:pt x="1654" y="55"/>
                      <a:pt x="1654" y="55"/>
                      <a:pt x="1654" y="55"/>
                    </a:cubicBezTo>
                    <a:cubicBezTo>
                      <a:pt x="1658" y="54"/>
                      <a:pt x="1658" y="54"/>
                      <a:pt x="1658" y="54"/>
                    </a:cubicBezTo>
                    <a:cubicBezTo>
                      <a:pt x="1661" y="55"/>
                      <a:pt x="1661" y="55"/>
                      <a:pt x="1661" y="55"/>
                    </a:cubicBezTo>
                    <a:cubicBezTo>
                      <a:pt x="1659" y="63"/>
                      <a:pt x="1659" y="63"/>
                      <a:pt x="1659" y="63"/>
                    </a:cubicBezTo>
                    <a:cubicBezTo>
                      <a:pt x="1657" y="64"/>
                      <a:pt x="1657" y="64"/>
                      <a:pt x="1657" y="64"/>
                    </a:cubicBezTo>
                    <a:cubicBezTo>
                      <a:pt x="1658" y="65"/>
                      <a:pt x="1658" y="65"/>
                      <a:pt x="1658" y="65"/>
                    </a:cubicBezTo>
                    <a:cubicBezTo>
                      <a:pt x="1660" y="69"/>
                      <a:pt x="1660" y="69"/>
                      <a:pt x="1660" y="69"/>
                    </a:cubicBezTo>
                    <a:cubicBezTo>
                      <a:pt x="1659" y="74"/>
                      <a:pt x="1659" y="74"/>
                      <a:pt x="1659" y="74"/>
                    </a:cubicBezTo>
                    <a:cubicBezTo>
                      <a:pt x="1656" y="76"/>
                      <a:pt x="1656" y="76"/>
                      <a:pt x="1656" y="76"/>
                    </a:cubicBezTo>
                    <a:cubicBezTo>
                      <a:pt x="1655" y="79"/>
                      <a:pt x="1655" y="79"/>
                      <a:pt x="1655" y="79"/>
                    </a:cubicBezTo>
                    <a:cubicBezTo>
                      <a:pt x="1650" y="85"/>
                      <a:pt x="1650" y="85"/>
                      <a:pt x="1650" y="85"/>
                    </a:cubicBezTo>
                    <a:cubicBezTo>
                      <a:pt x="1652" y="86"/>
                      <a:pt x="1652" y="86"/>
                      <a:pt x="1652" y="86"/>
                    </a:cubicBezTo>
                    <a:cubicBezTo>
                      <a:pt x="1654" y="85"/>
                      <a:pt x="1654" y="85"/>
                      <a:pt x="1654" y="85"/>
                    </a:cubicBezTo>
                    <a:cubicBezTo>
                      <a:pt x="1657" y="81"/>
                      <a:pt x="1657" y="81"/>
                      <a:pt x="1657" y="81"/>
                    </a:cubicBezTo>
                    <a:cubicBezTo>
                      <a:pt x="1660" y="81"/>
                      <a:pt x="1660" y="81"/>
                      <a:pt x="1660" y="81"/>
                    </a:cubicBezTo>
                    <a:cubicBezTo>
                      <a:pt x="1661" y="80"/>
                      <a:pt x="1661" y="80"/>
                      <a:pt x="1661" y="80"/>
                    </a:cubicBezTo>
                    <a:cubicBezTo>
                      <a:pt x="1664" y="80"/>
                      <a:pt x="1664" y="80"/>
                      <a:pt x="1664" y="80"/>
                    </a:cubicBezTo>
                    <a:cubicBezTo>
                      <a:pt x="1668" y="83"/>
                      <a:pt x="1668" y="83"/>
                      <a:pt x="1668" y="83"/>
                    </a:cubicBezTo>
                    <a:cubicBezTo>
                      <a:pt x="1670" y="87"/>
                      <a:pt x="1670" y="87"/>
                      <a:pt x="1670" y="87"/>
                    </a:cubicBezTo>
                    <a:cubicBezTo>
                      <a:pt x="1671" y="93"/>
                      <a:pt x="1671" y="93"/>
                      <a:pt x="1671" y="93"/>
                    </a:cubicBezTo>
                    <a:cubicBezTo>
                      <a:pt x="1669" y="102"/>
                      <a:pt x="1669" y="102"/>
                      <a:pt x="1669" y="102"/>
                    </a:cubicBezTo>
                    <a:cubicBezTo>
                      <a:pt x="1665" y="110"/>
                      <a:pt x="1665" y="110"/>
                      <a:pt x="1665" y="110"/>
                    </a:cubicBezTo>
                    <a:cubicBezTo>
                      <a:pt x="1658" y="114"/>
                      <a:pt x="1658" y="114"/>
                      <a:pt x="1658" y="114"/>
                    </a:cubicBezTo>
                    <a:cubicBezTo>
                      <a:pt x="1656" y="116"/>
                      <a:pt x="1656" y="116"/>
                      <a:pt x="1656" y="116"/>
                    </a:cubicBezTo>
                    <a:cubicBezTo>
                      <a:pt x="1652" y="115"/>
                      <a:pt x="1652" y="115"/>
                      <a:pt x="1652" y="115"/>
                    </a:cubicBezTo>
                    <a:cubicBezTo>
                      <a:pt x="1649" y="116"/>
                      <a:pt x="1649" y="116"/>
                      <a:pt x="1649" y="116"/>
                    </a:cubicBezTo>
                    <a:cubicBezTo>
                      <a:pt x="1649" y="118"/>
                      <a:pt x="1649" y="118"/>
                      <a:pt x="1649" y="118"/>
                    </a:cubicBezTo>
                    <a:cubicBezTo>
                      <a:pt x="1646" y="120"/>
                      <a:pt x="1646" y="120"/>
                      <a:pt x="1646" y="120"/>
                    </a:cubicBezTo>
                    <a:cubicBezTo>
                      <a:pt x="1635" y="125"/>
                      <a:pt x="1635" y="125"/>
                      <a:pt x="1635" y="125"/>
                    </a:cubicBezTo>
                    <a:cubicBezTo>
                      <a:pt x="1630" y="128"/>
                      <a:pt x="1630" y="128"/>
                      <a:pt x="1630" y="128"/>
                    </a:cubicBezTo>
                    <a:cubicBezTo>
                      <a:pt x="1627" y="129"/>
                      <a:pt x="1627" y="129"/>
                      <a:pt x="1627" y="129"/>
                    </a:cubicBezTo>
                    <a:cubicBezTo>
                      <a:pt x="1621" y="131"/>
                      <a:pt x="1621" y="131"/>
                      <a:pt x="1621" y="131"/>
                    </a:cubicBezTo>
                    <a:cubicBezTo>
                      <a:pt x="1616" y="131"/>
                      <a:pt x="1616" y="131"/>
                      <a:pt x="1616" y="131"/>
                    </a:cubicBezTo>
                    <a:cubicBezTo>
                      <a:pt x="1613" y="129"/>
                      <a:pt x="1613" y="129"/>
                      <a:pt x="1613" y="129"/>
                    </a:cubicBezTo>
                    <a:cubicBezTo>
                      <a:pt x="1611" y="132"/>
                      <a:pt x="1611" y="132"/>
                      <a:pt x="1611" y="132"/>
                    </a:cubicBezTo>
                    <a:cubicBezTo>
                      <a:pt x="1609" y="133"/>
                      <a:pt x="1609" y="133"/>
                      <a:pt x="1609" y="133"/>
                    </a:cubicBezTo>
                    <a:cubicBezTo>
                      <a:pt x="1605" y="130"/>
                      <a:pt x="1605" y="130"/>
                      <a:pt x="1605" y="130"/>
                    </a:cubicBezTo>
                    <a:cubicBezTo>
                      <a:pt x="1601" y="128"/>
                      <a:pt x="1601" y="128"/>
                      <a:pt x="1601" y="128"/>
                    </a:cubicBezTo>
                    <a:cubicBezTo>
                      <a:pt x="1595" y="127"/>
                      <a:pt x="1595" y="127"/>
                      <a:pt x="1595" y="127"/>
                    </a:cubicBezTo>
                    <a:cubicBezTo>
                      <a:pt x="1595" y="130"/>
                      <a:pt x="1595" y="130"/>
                      <a:pt x="1595" y="130"/>
                    </a:cubicBezTo>
                    <a:cubicBezTo>
                      <a:pt x="1599" y="131"/>
                      <a:pt x="1599" y="131"/>
                      <a:pt x="1599" y="131"/>
                    </a:cubicBezTo>
                    <a:cubicBezTo>
                      <a:pt x="1602" y="132"/>
                      <a:pt x="1602" y="132"/>
                      <a:pt x="1602" y="132"/>
                    </a:cubicBezTo>
                    <a:cubicBezTo>
                      <a:pt x="1599" y="134"/>
                      <a:pt x="1599" y="134"/>
                      <a:pt x="1599" y="134"/>
                    </a:cubicBezTo>
                    <a:cubicBezTo>
                      <a:pt x="1594" y="133"/>
                      <a:pt x="1594" y="133"/>
                      <a:pt x="1594" y="133"/>
                    </a:cubicBezTo>
                    <a:cubicBezTo>
                      <a:pt x="1591" y="133"/>
                      <a:pt x="1591" y="133"/>
                      <a:pt x="1591" y="133"/>
                    </a:cubicBezTo>
                    <a:cubicBezTo>
                      <a:pt x="1589" y="131"/>
                      <a:pt x="1589" y="131"/>
                      <a:pt x="1589" y="131"/>
                    </a:cubicBezTo>
                    <a:cubicBezTo>
                      <a:pt x="1582" y="131"/>
                      <a:pt x="1582" y="131"/>
                      <a:pt x="1582" y="131"/>
                    </a:cubicBezTo>
                    <a:cubicBezTo>
                      <a:pt x="1580" y="129"/>
                      <a:pt x="1580" y="129"/>
                      <a:pt x="1580" y="129"/>
                    </a:cubicBezTo>
                    <a:cubicBezTo>
                      <a:pt x="1577" y="130"/>
                      <a:pt x="1577" y="130"/>
                      <a:pt x="1577" y="130"/>
                    </a:cubicBezTo>
                    <a:cubicBezTo>
                      <a:pt x="1575" y="130"/>
                      <a:pt x="1575" y="130"/>
                      <a:pt x="1575" y="130"/>
                    </a:cubicBezTo>
                    <a:cubicBezTo>
                      <a:pt x="1569" y="123"/>
                      <a:pt x="1569" y="123"/>
                      <a:pt x="1569" y="123"/>
                    </a:cubicBezTo>
                    <a:cubicBezTo>
                      <a:pt x="1566" y="119"/>
                      <a:pt x="1566" y="119"/>
                      <a:pt x="1566" y="119"/>
                    </a:cubicBezTo>
                    <a:cubicBezTo>
                      <a:pt x="1566" y="123"/>
                      <a:pt x="1566" y="123"/>
                      <a:pt x="1566" y="123"/>
                    </a:cubicBezTo>
                    <a:cubicBezTo>
                      <a:pt x="1571" y="127"/>
                      <a:pt x="1571" y="127"/>
                      <a:pt x="1571" y="127"/>
                    </a:cubicBezTo>
                    <a:cubicBezTo>
                      <a:pt x="1571" y="130"/>
                      <a:pt x="1571" y="130"/>
                      <a:pt x="1571" y="130"/>
                    </a:cubicBezTo>
                    <a:cubicBezTo>
                      <a:pt x="1568" y="130"/>
                      <a:pt x="1568" y="130"/>
                      <a:pt x="1568" y="130"/>
                    </a:cubicBezTo>
                    <a:cubicBezTo>
                      <a:pt x="1562" y="128"/>
                      <a:pt x="1562" y="128"/>
                      <a:pt x="1562" y="128"/>
                    </a:cubicBezTo>
                    <a:cubicBezTo>
                      <a:pt x="1564" y="131"/>
                      <a:pt x="1564" y="131"/>
                      <a:pt x="1564" y="131"/>
                    </a:cubicBezTo>
                    <a:cubicBezTo>
                      <a:pt x="1577" y="133"/>
                      <a:pt x="1577" y="133"/>
                      <a:pt x="1577" y="133"/>
                    </a:cubicBezTo>
                    <a:cubicBezTo>
                      <a:pt x="1584" y="134"/>
                      <a:pt x="1584" y="134"/>
                      <a:pt x="1584" y="134"/>
                    </a:cubicBezTo>
                    <a:cubicBezTo>
                      <a:pt x="1587" y="136"/>
                      <a:pt x="1587" y="136"/>
                      <a:pt x="1587" y="136"/>
                    </a:cubicBezTo>
                    <a:cubicBezTo>
                      <a:pt x="1584" y="139"/>
                      <a:pt x="1584" y="139"/>
                      <a:pt x="1584" y="139"/>
                    </a:cubicBezTo>
                    <a:cubicBezTo>
                      <a:pt x="1567" y="145"/>
                      <a:pt x="1567" y="145"/>
                      <a:pt x="1567" y="145"/>
                    </a:cubicBezTo>
                    <a:cubicBezTo>
                      <a:pt x="1557" y="147"/>
                      <a:pt x="1557" y="147"/>
                      <a:pt x="1557" y="147"/>
                    </a:cubicBezTo>
                    <a:cubicBezTo>
                      <a:pt x="1552" y="147"/>
                      <a:pt x="1552" y="147"/>
                      <a:pt x="1552" y="147"/>
                    </a:cubicBezTo>
                    <a:cubicBezTo>
                      <a:pt x="1546" y="148"/>
                      <a:pt x="1546" y="148"/>
                      <a:pt x="1546" y="148"/>
                    </a:cubicBezTo>
                    <a:cubicBezTo>
                      <a:pt x="1541" y="147"/>
                      <a:pt x="1541" y="147"/>
                      <a:pt x="1541" y="147"/>
                    </a:cubicBezTo>
                    <a:cubicBezTo>
                      <a:pt x="1541" y="145"/>
                      <a:pt x="1541" y="145"/>
                      <a:pt x="1541" y="145"/>
                    </a:cubicBezTo>
                    <a:cubicBezTo>
                      <a:pt x="1537" y="147"/>
                      <a:pt x="1537" y="147"/>
                      <a:pt x="1537" y="147"/>
                    </a:cubicBezTo>
                    <a:cubicBezTo>
                      <a:pt x="1534" y="146"/>
                      <a:pt x="1534" y="146"/>
                      <a:pt x="1534" y="146"/>
                    </a:cubicBezTo>
                    <a:cubicBezTo>
                      <a:pt x="1530" y="146"/>
                      <a:pt x="1530" y="146"/>
                      <a:pt x="1530" y="146"/>
                    </a:cubicBezTo>
                    <a:cubicBezTo>
                      <a:pt x="1528" y="150"/>
                      <a:pt x="1528" y="150"/>
                      <a:pt x="1528" y="150"/>
                    </a:cubicBezTo>
                    <a:cubicBezTo>
                      <a:pt x="1532" y="149"/>
                      <a:pt x="1532" y="149"/>
                      <a:pt x="1532" y="149"/>
                    </a:cubicBezTo>
                    <a:cubicBezTo>
                      <a:pt x="1533" y="153"/>
                      <a:pt x="1533" y="153"/>
                      <a:pt x="1533" y="153"/>
                    </a:cubicBezTo>
                    <a:cubicBezTo>
                      <a:pt x="1538" y="150"/>
                      <a:pt x="1538" y="150"/>
                      <a:pt x="1538" y="150"/>
                    </a:cubicBezTo>
                    <a:cubicBezTo>
                      <a:pt x="1549" y="150"/>
                      <a:pt x="1549" y="150"/>
                      <a:pt x="1549" y="150"/>
                    </a:cubicBezTo>
                    <a:cubicBezTo>
                      <a:pt x="1554" y="151"/>
                      <a:pt x="1554" y="151"/>
                      <a:pt x="1554" y="151"/>
                    </a:cubicBezTo>
                    <a:cubicBezTo>
                      <a:pt x="1568" y="150"/>
                      <a:pt x="1568" y="150"/>
                      <a:pt x="1568" y="150"/>
                    </a:cubicBezTo>
                    <a:cubicBezTo>
                      <a:pt x="1578" y="148"/>
                      <a:pt x="1578" y="148"/>
                      <a:pt x="1578" y="148"/>
                    </a:cubicBezTo>
                    <a:cubicBezTo>
                      <a:pt x="1584" y="142"/>
                      <a:pt x="1584" y="142"/>
                      <a:pt x="1584" y="142"/>
                    </a:cubicBezTo>
                    <a:cubicBezTo>
                      <a:pt x="1588" y="142"/>
                      <a:pt x="1588" y="142"/>
                      <a:pt x="1588" y="142"/>
                    </a:cubicBezTo>
                    <a:cubicBezTo>
                      <a:pt x="1591" y="143"/>
                      <a:pt x="1591" y="143"/>
                      <a:pt x="1591" y="143"/>
                    </a:cubicBezTo>
                    <a:cubicBezTo>
                      <a:pt x="1596" y="143"/>
                      <a:pt x="1596" y="143"/>
                      <a:pt x="1596" y="143"/>
                    </a:cubicBezTo>
                    <a:cubicBezTo>
                      <a:pt x="1602" y="143"/>
                      <a:pt x="1602" y="143"/>
                      <a:pt x="1602" y="143"/>
                    </a:cubicBezTo>
                    <a:cubicBezTo>
                      <a:pt x="1599" y="148"/>
                      <a:pt x="1599" y="148"/>
                      <a:pt x="1599" y="148"/>
                    </a:cubicBezTo>
                    <a:cubicBezTo>
                      <a:pt x="1597" y="153"/>
                      <a:pt x="1597" y="153"/>
                      <a:pt x="1597" y="153"/>
                    </a:cubicBezTo>
                    <a:cubicBezTo>
                      <a:pt x="1590" y="156"/>
                      <a:pt x="1590" y="156"/>
                      <a:pt x="1590" y="156"/>
                    </a:cubicBezTo>
                    <a:cubicBezTo>
                      <a:pt x="1588" y="158"/>
                      <a:pt x="1588" y="158"/>
                      <a:pt x="1588" y="158"/>
                    </a:cubicBezTo>
                    <a:cubicBezTo>
                      <a:pt x="1581" y="159"/>
                      <a:pt x="1581" y="159"/>
                      <a:pt x="1581" y="159"/>
                    </a:cubicBezTo>
                    <a:cubicBezTo>
                      <a:pt x="1578" y="163"/>
                      <a:pt x="1578" y="163"/>
                      <a:pt x="1578" y="163"/>
                    </a:cubicBezTo>
                    <a:cubicBezTo>
                      <a:pt x="1575" y="163"/>
                      <a:pt x="1575" y="163"/>
                      <a:pt x="1575" y="163"/>
                    </a:cubicBezTo>
                    <a:cubicBezTo>
                      <a:pt x="1570" y="168"/>
                      <a:pt x="1570" y="168"/>
                      <a:pt x="1570" y="168"/>
                    </a:cubicBezTo>
                    <a:cubicBezTo>
                      <a:pt x="1564" y="170"/>
                      <a:pt x="1564" y="170"/>
                      <a:pt x="1564" y="170"/>
                    </a:cubicBezTo>
                    <a:cubicBezTo>
                      <a:pt x="1561" y="171"/>
                      <a:pt x="1561" y="171"/>
                      <a:pt x="1561" y="171"/>
                    </a:cubicBezTo>
                    <a:cubicBezTo>
                      <a:pt x="1558" y="172"/>
                      <a:pt x="1558" y="172"/>
                      <a:pt x="1558" y="172"/>
                    </a:cubicBezTo>
                    <a:cubicBezTo>
                      <a:pt x="1554" y="171"/>
                      <a:pt x="1554" y="171"/>
                      <a:pt x="1554" y="171"/>
                    </a:cubicBezTo>
                    <a:cubicBezTo>
                      <a:pt x="1550" y="174"/>
                      <a:pt x="1550" y="174"/>
                      <a:pt x="1550" y="174"/>
                    </a:cubicBezTo>
                    <a:cubicBezTo>
                      <a:pt x="1543" y="176"/>
                      <a:pt x="1543" y="176"/>
                      <a:pt x="1543" y="176"/>
                    </a:cubicBezTo>
                    <a:cubicBezTo>
                      <a:pt x="1541" y="179"/>
                      <a:pt x="1541" y="179"/>
                      <a:pt x="1541" y="179"/>
                    </a:cubicBezTo>
                    <a:cubicBezTo>
                      <a:pt x="1533" y="181"/>
                      <a:pt x="1533" y="181"/>
                      <a:pt x="1533" y="181"/>
                    </a:cubicBezTo>
                    <a:cubicBezTo>
                      <a:pt x="1530" y="183"/>
                      <a:pt x="1530" y="183"/>
                      <a:pt x="1530" y="183"/>
                    </a:cubicBezTo>
                    <a:cubicBezTo>
                      <a:pt x="1527" y="182"/>
                      <a:pt x="1527" y="182"/>
                      <a:pt x="1527" y="182"/>
                    </a:cubicBezTo>
                    <a:cubicBezTo>
                      <a:pt x="1524" y="185"/>
                      <a:pt x="1524" y="185"/>
                      <a:pt x="1524" y="185"/>
                    </a:cubicBezTo>
                    <a:cubicBezTo>
                      <a:pt x="1520" y="184"/>
                      <a:pt x="1520" y="184"/>
                      <a:pt x="1520" y="184"/>
                    </a:cubicBezTo>
                    <a:cubicBezTo>
                      <a:pt x="1519" y="186"/>
                      <a:pt x="1519" y="186"/>
                      <a:pt x="1519" y="186"/>
                    </a:cubicBezTo>
                    <a:cubicBezTo>
                      <a:pt x="1519" y="190"/>
                      <a:pt x="1519" y="190"/>
                      <a:pt x="1519" y="190"/>
                    </a:cubicBezTo>
                    <a:cubicBezTo>
                      <a:pt x="1515" y="193"/>
                      <a:pt x="1515" y="193"/>
                      <a:pt x="1515" y="193"/>
                    </a:cubicBezTo>
                    <a:cubicBezTo>
                      <a:pt x="1513" y="196"/>
                      <a:pt x="1513" y="196"/>
                      <a:pt x="1513" y="196"/>
                    </a:cubicBezTo>
                    <a:cubicBezTo>
                      <a:pt x="1504" y="196"/>
                      <a:pt x="1504" y="196"/>
                      <a:pt x="1504" y="196"/>
                    </a:cubicBezTo>
                    <a:cubicBezTo>
                      <a:pt x="1501" y="198"/>
                      <a:pt x="1501" y="198"/>
                      <a:pt x="1501" y="198"/>
                    </a:cubicBezTo>
                    <a:cubicBezTo>
                      <a:pt x="1498" y="197"/>
                      <a:pt x="1498" y="197"/>
                      <a:pt x="1498" y="197"/>
                    </a:cubicBezTo>
                    <a:cubicBezTo>
                      <a:pt x="1498" y="195"/>
                      <a:pt x="1498" y="195"/>
                      <a:pt x="1498" y="195"/>
                    </a:cubicBezTo>
                    <a:cubicBezTo>
                      <a:pt x="1500" y="193"/>
                      <a:pt x="1500" y="193"/>
                      <a:pt x="1500" y="193"/>
                    </a:cubicBezTo>
                    <a:cubicBezTo>
                      <a:pt x="1500" y="189"/>
                      <a:pt x="1500" y="189"/>
                      <a:pt x="1500" y="189"/>
                    </a:cubicBezTo>
                    <a:cubicBezTo>
                      <a:pt x="1497" y="187"/>
                      <a:pt x="1497" y="187"/>
                      <a:pt x="1497" y="187"/>
                    </a:cubicBezTo>
                    <a:cubicBezTo>
                      <a:pt x="1498" y="192"/>
                      <a:pt x="1498" y="192"/>
                      <a:pt x="1498" y="192"/>
                    </a:cubicBezTo>
                    <a:cubicBezTo>
                      <a:pt x="1496" y="194"/>
                      <a:pt x="1496" y="194"/>
                      <a:pt x="1496" y="194"/>
                    </a:cubicBezTo>
                    <a:cubicBezTo>
                      <a:pt x="1495" y="197"/>
                      <a:pt x="1495" y="197"/>
                      <a:pt x="1495" y="197"/>
                    </a:cubicBezTo>
                    <a:cubicBezTo>
                      <a:pt x="1499" y="200"/>
                      <a:pt x="1499" y="200"/>
                      <a:pt x="1499" y="200"/>
                    </a:cubicBezTo>
                    <a:cubicBezTo>
                      <a:pt x="1500" y="203"/>
                      <a:pt x="1500" y="203"/>
                      <a:pt x="1500" y="203"/>
                    </a:cubicBezTo>
                    <a:cubicBezTo>
                      <a:pt x="1496" y="206"/>
                      <a:pt x="1496" y="206"/>
                      <a:pt x="1496" y="206"/>
                    </a:cubicBezTo>
                    <a:cubicBezTo>
                      <a:pt x="1494" y="207"/>
                      <a:pt x="1494" y="207"/>
                      <a:pt x="1494" y="207"/>
                    </a:cubicBezTo>
                    <a:cubicBezTo>
                      <a:pt x="1490" y="204"/>
                      <a:pt x="1490" y="204"/>
                      <a:pt x="1490" y="204"/>
                    </a:cubicBezTo>
                    <a:cubicBezTo>
                      <a:pt x="1488" y="206"/>
                      <a:pt x="1488" y="206"/>
                      <a:pt x="1488" y="206"/>
                    </a:cubicBezTo>
                    <a:cubicBezTo>
                      <a:pt x="1481" y="203"/>
                      <a:pt x="1481" y="203"/>
                      <a:pt x="1481" y="203"/>
                    </a:cubicBezTo>
                    <a:cubicBezTo>
                      <a:pt x="1479" y="205"/>
                      <a:pt x="1479" y="205"/>
                      <a:pt x="1479" y="205"/>
                    </a:cubicBezTo>
                    <a:cubicBezTo>
                      <a:pt x="1477" y="205"/>
                      <a:pt x="1477" y="205"/>
                      <a:pt x="1477" y="205"/>
                    </a:cubicBezTo>
                    <a:cubicBezTo>
                      <a:pt x="1476" y="202"/>
                      <a:pt x="1476" y="202"/>
                      <a:pt x="1476" y="202"/>
                    </a:cubicBezTo>
                    <a:cubicBezTo>
                      <a:pt x="1475" y="201"/>
                      <a:pt x="1475" y="201"/>
                      <a:pt x="1475" y="201"/>
                    </a:cubicBezTo>
                    <a:cubicBezTo>
                      <a:pt x="1473" y="204"/>
                      <a:pt x="1473" y="204"/>
                      <a:pt x="1473" y="204"/>
                    </a:cubicBezTo>
                    <a:cubicBezTo>
                      <a:pt x="1470" y="204"/>
                      <a:pt x="1470" y="204"/>
                      <a:pt x="1470" y="204"/>
                    </a:cubicBezTo>
                    <a:cubicBezTo>
                      <a:pt x="1469" y="206"/>
                      <a:pt x="1469" y="206"/>
                      <a:pt x="1469" y="206"/>
                    </a:cubicBezTo>
                    <a:cubicBezTo>
                      <a:pt x="1476" y="208"/>
                      <a:pt x="1476" y="208"/>
                      <a:pt x="1476" y="208"/>
                    </a:cubicBezTo>
                    <a:cubicBezTo>
                      <a:pt x="1486" y="208"/>
                      <a:pt x="1486" y="208"/>
                      <a:pt x="1486" y="208"/>
                    </a:cubicBezTo>
                    <a:cubicBezTo>
                      <a:pt x="1489" y="211"/>
                      <a:pt x="1489" y="211"/>
                      <a:pt x="1489" y="211"/>
                    </a:cubicBezTo>
                    <a:cubicBezTo>
                      <a:pt x="1488" y="214"/>
                      <a:pt x="1488" y="214"/>
                      <a:pt x="1488" y="214"/>
                    </a:cubicBezTo>
                    <a:cubicBezTo>
                      <a:pt x="1484" y="216"/>
                      <a:pt x="1484" y="216"/>
                      <a:pt x="1484" y="216"/>
                    </a:cubicBezTo>
                    <a:cubicBezTo>
                      <a:pt x="1479" y="215"/>
                      <a:pt x="1479" y="215"/>
                      <a:pt x="1479" y="215"/>
                    </a:cubicBezTo>
                    <a:cubicBezTo>
                      <a:pt x="1474" y="217"/>
                      <a:pt x="1474" y="217"/>
                      <a:pt x="1474" y="217"/>
                    </a:cubicBezTo>
                    <a:cubicBezTo>
                      <a:pt x="1473" y="218"/>
                      <a:pt x="1473" y="218"/>
                      <a:pt x="1473" y="218"/>
                    </a:cubicBezTo>
                    <a:cubicBezTo>
                      <a:pt x="1474" y="219"/>
                      <a:pt x="1474" y="219"/>
                      <a:pt x="1474" y="219"/>
                    </a:cubicBezTo>
                    <a:cubicBezTo>
                      <a:pt x="1476" y="218"/>
                      <a:pt x="1476" y="218"/>
                      <a:pt x="1476" y="218"/>
                    </a:cubicBezTo>
                    <a:cubicBezTo>
                      <a:pt x="1479" y="220"/>
                      <a:pt x="1479" y="220"/>
                      <a:pt x="1479" y="220"/>
                    </a:cubicBezTo>
                    <a:cubicBezTo>
                      <a:pt x="1478" y="223"/>
                      <a:pt x="1478" y="223"/>
                      <a:pt x="1478" y="223"/>
                    </a:cubicBezTo>
                    <a:cubicBezTo>
                      <a:pt x="1472" y="229"/>
                      <a:pt x="1472" y="229"/>
                      <a:pt x="1472" y="229"/>
                    </a:cubicBezTo>
                    <a:cubicBezTo>
                      <a:pt x="1467" y="228"/>
                      <a:pt x="1467" y="228"/>
                      <a:pt x="1467" y="228"/>
                    </a:cubicBezTo>
                    <a:cubicBezTo>
                      <a:pt x="1457" y="228"/>
                      <a:pt x="1457" y="228"/>
                      <a:pt x="1457" y="228"/>
                    </a:cubicBezTo>
                    <a:cubicBezTo>
                      <a:pt x="1456" y="226"/>
                      <a:pt x="1456" y="226"/>
                      <a:pt x="1456" y="226"/>
                    </a:cubicBezTo>
                    <a:cubicBezTo>
                      <a:pt x="1452" y="226"/>
                      <a:pt x="1452" y="226"/>
                      <a:pt x="1452" y="226"/>
                    </a:cubicBezTo>
                    <a:cubicBezTo>
                      <a:pt x="1451" y="224"/>
                      <a:pt x="1451" y="224"/>
                      <a:pt x="1451" y="224"/>
                    </a:cubicBezTo>
                    <a:cubicBezTo>
                      <a:pt x="1450" y="218"/>
                      <a:pt x="1450" y="218"/>
                      <a:pt x="1450" y="218"/>
                    </a:cubicBezTo>
                    <a:cubicBezTo>
                      <a:pt x="1445" y="217"/>
                      <a:pt x="1445" y="217"/>
                      <a:pt x="1445" y="217"/>
                    </a:cubicBezTo>
                    <a:cubicBezTo>
                      <a:pt x="1443" y="215"/>
                      <a:pt x="1443" y="215"/>
                      <a:pt x="1443" y="215"/>
                    </a:cubicBezTo>
                    <a:cubicBezTo>
                      <a:pt x="1444" y="212"/>
                      <a:pt x="1444" y="212"/>
                      <a:pt x="1444" y="212"/>
                    </a:cubicBezTo>
                    <a:cubicBezTo>
                      <a:pt x="1441" y="210"/>
                      <a:pt x="1441" y="210"/>
                      <a:pt x="1441" y="210"/>
                    </a:cubicBezTo>
                    <a:cubicBezTo>
                      <a:pt x="1439" y="211"/>
                      <a:pt x="1439" y="211"/>
                      <a:pt x="1439" y="211"/>
                    </a:cubicBezTo>
                    <a:cubicBezTo>
                      <a:pt x="1436" y="210"/>
                      <a:pt x="1436" y="210"/>
                      <a:pt x="1436" y="210"/>
                    </a:cubicBezTo>
                    <a:cubicBezTo>
                      <a:pt x="1430" y="211"/>
                      <a:pt x="1430" y="211"/>
                      <a:pt x="1430" y="211"/>
                    </a:cubicBezTo>
                    <a:cubicBezTo>
                      <a:pt x="1430" y="212"/>
                      <a:pt x="1430" y="212"/>
                      <a:pt x="1430" y="212"/>
                    </a:cubicBezTo>
                    <a:cubicBezTo>
                      <a:pt x="1432" y="214"/>
                      <a:pt x="1432" y="214"/>
                      <a:pt x="1432" y="214"/>
                    </a:cubicBezTo>
                    <a:cubicBezTo>
                      <a:pt x="1434" y="213"/>
                      <a:pt x="1434" y="213"/>
                      <a:pt x="1434" y="213"/>
                    </a:cubicBezTo>
                    <a:cubicBezTo>
                      <a:pt x="1437" y="213"/>
                      <a:pt x="1437" y="213"/>
                      <a:pt x="1437" y="213"/>
                    </a:cubicBezTo>
                    <a:cubicBezTo>
                      <a:pt x="1445" y="221"/>
                      <a:pt x="1445" y="221"/>
                      <a:pt x="1445" y="221"/>
                    </a:cubicBezTo>
                    <a:cubicBezTo>
                      <a:pt x="1445" y="231"/>
                      <a:pt x="1445" y="231"/>
                      <a:pt x="1445" y="231"/>
                    </a:cubicBezTo>
                    <a:cubicBezTo>
                      <a:pt x="1444" y="233"/>
                      <a:pt x="1444" y="233"/>
                      <a:pt x="1444" y="233"/>
                    </a:cubicBezTo>
                    <a:cubicBezTo>
                      <a:pt x="1439" y="233"/>
                      <a:pt x="1439" y="233"/>
                      <a:pt x="1439" y="233"/>
                    </a:cubicBezTo>
                    <a:cubicBezTo>
                      <a:pt x="1436" y="229"/>
                      <a:pt x="1436" y="229"/>
                      <a:pt x="1436" y="229"/>
                    </a:cubicBezTo>
                    <a:cubicBezTo>
                      <a:pt x="1434" y="230"/>
                      <a:pt x="1434" y="230"/>
                      <a:pt x="1434" y="230"/>
                    </a:cubicBezTo>
                    <a:cubicBezTo>
                      <a:pt x="1434" y="233"/>
                      <a:pt x="1434" y="233"/>
                      <a:pt x="1434" y="233"/>
                    </a:cubicBezTo>
                    <a:cubicBezTo>
                      <a:pt x="1432" y="234"/>
                      <a:pt x="1432" y="234"/>
                      <a:pt x="1432" y="234"/>
                    </a:cubicBezTo>
                    <a:cubicBezTo>
                      <a:pt x="1429" y="230"/>
                      <a:pt x="1429" y="230"/>
                      <a:pt x="1429" y="230"/>
                    </a:cubicBezTo>
                    <a:cubicBezTo>
                      <a:pt x="1425" y="230"/>
                      <a:pt x="1425" y="230"/>
                      <a:pt x="1425" y="230"/>
                    </a:cubicBezTo>
                    <a:cubicBezTo>
                      <a:pt x="1423" y="233"/>
                      <a:pt x="1423" y="233"/>
                      <a:pt x="1423" y="233"/>
                    </a:cubicBezTo>
                    <a:cubicBezTo>
                      <a:pt x="1421" y="233"/>
                      <a:pt x="1421" y="233"/>
                      <a:pt x="1421" y="233"/>
                    </a:cubicBezTo>
                    <a:cubicBezTo>
                      <a:pt x="1419" y="231"/>
                      <a:pt x="1419" y="231"/>
                      <a:pt x="1419" y="231"/>
                    </a:cubicBezTo>
                    <a:cubicBezTo>
                      <a:pt x="1415" y="230"/>
                      <a:pt x="1415" y="230"/>
                      <a:pt x="1415" y="230"/>
                    </a:cubicBezTo>
                    <a:cubicBezTo>
                      <a:pt x="1413" y="226"/>
                      <a:pt x="1413" y="226"/>
                      <a:pt x="1413" y="226"/>
                    </a:cubicBezTo>
                    <a:cubicBezTo>
                      <a:pt x="1411" y="227"/>
                      <a:pt x="1411" y="227"/>
                      <a:pt x="1411" y="227"/>
                    </a:cubicBezTo>
                    <a:cubicBezTo>
                      <a:pt x="1410" y="223"/>
                      <a:pt x="1410" y="223"/>
                      <a:pt x="1410" y="223"/>
                    </a:cubicBezTo>
                    <a:cubicBezTo>
                      <a:pt x="1408" y="222"/>
                      <a:pt x="1408" y="222"/>
                      <a:pt x="1408" y="222"/>
                    </a:cubicBezTo>
                    <a:cubicBezTo>
                      <a:pt x="1402" y="221"/>
                      <a:pt x="1402" y="221"/>
                      <a:pt x="1402" y="221"/>
                    </a:cubicBezTo>
                    <a:cubicBezTo>
                      <a:pt x="1400" y="218"/>
                      <a:pt x="1400" y="218"/>
                      <a:pt x="1400" y="218"/>
                    </a:cubicBezTo>
                    <a:cubicBezTo>
                      <a:pt x="1399" y="220"/>
                      <a:pt x="1399" y="220"/>
                      <a:pt x="1399" y="220"/>
                    </a:cubicBezTo>
                    <a:cubicBezTo>
                      <a:pt x="1399" y="222"/>
                      <a:pt x="1399" y="222"/>
                      <a:pt x="1399" y="222"/>
                    </a:cubicBezTo>
                    <a:cubicBezTo>
                      <a:pt x="1403" y="225"/>
                      <a:pt x="1403" y="225"/>
                      <a:pt x="1403" y="225"/>
                    </a:cubicBezTo>
                    <a:cubicBezTo>
                      <a:pt x="1407" y="226"/>
                      <a:pt x="1407" y="226"/>
                      <a:pt x="1407" y="226"/>
                    </a:cubicBezTo>
                    <a:cubicBezTo>
                      <a:pt x="1412" y="233"/>
                      <a:pt x="1412" y="233"/>
                      <a:pt x="1412" y="233"/>
                    </a:cubicBezTo>
                    <a:cubicBezTo>
                      <a:pt x="1410" y="235"/>
                      <a:pt x="1410" y="235"/>
                      <a:pt x="1410" y="235"/>
                    </a:cubicBezTo>
                    <a:cubicBezTo>
                      <a:pt x="1400" y="232"/>
                      <a:pt x="1400" y="232"/>
                      <a:pt x="1400" y="232"/>
                    </a:cubicBezTo>
                    <a:cubicBezTo>
                      <a:pt x="1397" y="230"/>
                      <a:pt x="1397" y="230"/>
                      <a:pt x="1397" y="230"/>
                    </a:cubicBezTo>
                    <a:cubicBezTo>
                      <a:pt x="1397" y="226"/>
                      <a:pt x="1397" y="226"/>
                      <a:pt x="1397" y="226"/>
                    </a:cubicBezTo>
                    <a:cubicBezTo>
                      <a:pt x="1394" y="224"/>
                      <a:pt x="1394" y="224"/>
                      <a:pt x="1394" y="224"/>
                    </a:cubicBezTo>
                    <a:cubicBezTo>
                      <a:pt x="1393" y="225"/>
                      <a:pt x="1393" y="225"/>
                      <a:pt x="1393" y="225"/>
                    </a:cubicBezTo>
                    <a:cubicBezTo>
                      <a:pt x="1394" y="227"/>
                      <a:pt x="1394" y="227"/>
                      <a:pt x="1394" y="227"/>
                    </a:cubicBezTo>
                    <a:cubicBezTo>
                      <a:pt x="1392" y="230"/>
                      <a:pt x="1392" y="230"/>
                      <a:pt x="1392" y="230"/>
                    </a:cubicBezTo>
                    <a:cubicBezTo>
                      <a:pt x="1389" y="229"/>
                      <a:pt x="1389" y="229"/>
                      <a:pt x="1389" y="229"/>
                    </a:cubicBezTo>
                    <a:cubicBezTo>
                      <a:pt x="1387" y="227"/>
                      <a:pt x="1387" y="227"/>
                      <a:pt x="1387" y="227"/>
                    </a:cubicBezTo>
                    <a:cubicBezTo>
                      <a:pt x="1384" y="228"/>
                      <a:pt x="1384" y="228"/>
                      <a:pt x="1384" y="228"/>
                    </a:cubicBezTo>
                    <a:cubicBezTo>
                      <a:pt x="1384" y="230"/>
                      <a:pt x="1384" y="230"/>
                      <a:pt x="1384" y="230"/>
                    </a:cubicBezTo>
                    <a:cubicBezTo>
                      <a:pt x="1389" y="232"/>
                      <a:pt x="1389" y="232"/>
                      <a:pt x="1389" y="232"/>
                    </a:cubicBezTo>
                    <a:cubicBezTo>
                      <a:pt x="1389" y="235"/>
                      <a:pt x="1389" y="235"/>
                      <a:pt x="1389" y="235"/>
                    </a:cubicBezTo>
                    <a:cubicBezTo>
                      <a:pt x="1391" y="235"/>
                      <a:pt x="1391" y="235"/>
                      <a:pt x="1391" y="235"/>
                    </a:cubicBezTo>
                    <a:cubicBezTo>
                      <a:pt x="1393" y="234"/>
                      <a:pt x="1393" y="234"/>
                      <a:pt x="1393" y="234"/>
                    </a:cubicBezTo>
                    <a:cubicBezTo>
                      <a:pt x="1396" y="234"/>
                      <a:pt x="1396" y="234"/>
                      <a:pt x="1396" y="234"/>
                    </a:cubicBezTo>
                    <a:cubicBezTo>
                      <a:pt x="1398" y="237"/>
                      <a:pt x="1398" y="237"/>
                      <a:pt x="1398" y="237"/>
                    </a:cubicBezTo>
                    <a:cubicBezTo>
                      <a:pt x="1403" y="238"/>
                      <a:pt x="1403" y="238"/>
                      <a:pt x="1403" y="238"/>
                    </a:cubicBezTo>
                    <a:cubicBezTo>
                      <a:pt x="1406" y="241"/>
                      <a:pt x="1406" y="241"/>
                      <a:pt x="1406" y="241"/>
                    </a:cubicBezTo>
                    <a:cubicBezTo>
                      <a:pt x="1408" y="241"/>
                      <a:pt x="1408" y="241"/>
                      <a:pt x="1408" y="241"/>
                    </a:cubicBezTo>
                    <a:cubicBezTo>
                      <a:pt x="1411" y="240"/>
                      <a:pt x="1411" y="240"/>
                      <a:pt x="1411" y="240"/>
                    </a:cubicBezTo>
                    <a:cubicBezTo>
                      <a:pt x="1422" y="242"/>
                      <a:pt x="1422" y="242"/>
                      <a:pt x="1422" y="242"/>
                    </a:cubicBezTo>
                    <a:cubicBezTo>
                      <a:pt x="1424" y="245"/>
                      <a:pt x="1424" y="245"/>
                      <a:pt x="1424" y="245"/>
                    </a:cubicBezTo>
                    <a:cubicBezTo>
                      <a:pt x="1420" y="247"/>
                      <a:pt x="1420" y="247"/>
                      <a:pt x="1420" y="247"/>
                    </a:cubicBezTo>
                    <a:cubicBezTo>
                      <a:pt x="1422" y="249"/>
                      <a:pt x="1422" y="249"/>
                      <a:pt x="1422" y="249"/>
                    </a:cubicBezTo>
                    <a:cubicBezTo>
                      <a:pt x="1421" y="252"/>
                      <a:pt x="1421" y="252"/>
                      <a:pt x="1421" y="252"/>
                    </a:cubicBezTo>
                    <a:cubicBezTo>
                      <a:pt x="1422" y="256"/>
                      <a:pt x="1422" y="256"/>
                      <a:pt x="1422" y="256"/>
                    </a:cubicBezTo>
                    <a:cubicBezTo>
                      <a:pt x="1420" y="258"/>
                      <a:pt x="1420" y="258"/>
                      <a:pt x="1420" y="258"/>
                    </a:cubicBezTo>
                    <a:cubicBezTo>
                      <a:pt x="1418" y="258"/>
                      <a:pt x="1418" y="258"/>
                      <a:pt x="1418" y="258"/>
                    </a:cubicBezTo>
                    <a:cubicBezTo>
                      <a:pt x="1415" y="256"/>
                      <a:pt x="1415" y="256"/>
                      <a:pt x="1415" y="256"/>
                    </a:cubicBezTo>
                    <a:cubicBezTo>
                      <a:pt x="1410" y="254"/>
                      <a:pt x="1410" y="254"/>
                      <a:pt x="1410" y="254"/>
                    </a:cubicBezTo>
                    <a:cubicBezTo>
                      <a:pt x="1405" y="250"/>
                      <a:pt x="1405" y="250"/>
                      <a:pt x="1405" y="250"/>
                    </a:cubicBezTo>
                    <a:cubicBezTo>
                      <a:pt x="1404" y="248"/>
                      <a:pt x="1404" y="248"/>
                      <a:pt x="1404" y="248"/>
                    </a:cubicBezTo>
                    <a:cubicBezTo>
                      <a:pt x="1405" y="243"/>
                      <a:pt x="1405" y="243"/>
                      <a:pt x="1405" y="243"/>
                    </a:cubicBezTo>
                    <a:cubicBezTo>
                      <a:pt x="1403" y="240"/>
                      <a:pt x="1403" y="240"/>
                      <a:pt x="1403" y="240"/>
                    </a:cubicBezTo>
                    <a:cubicBezTo>
                      <a:pt x="1397" y="240"/>
                      <a:pt x="1397" y="240"/>
                      <a:pt x="1397" y="240"/>
                    </a:cubicBezTo>
                    <a:cubicBezTo>
                      <a:pt x="1388" y="239"/>
                      <a:pt x="1388" y="239"/>
                      <a:pt x="1388" y="239"/>
                    </a:cubicBezTo>
                    <a:cubicBezTo>
                      <a:pt x="1385" y="236"/>
                      <a:pt x="1385" y="236"/>
                      <a:pt x="1385" y="236"/>
                    </a:cubicBezTo>
                    <a:cubicBezTo>
                      <a:pt x="1381" y="237"/>
                      <a:pt x="1381" y="237"/>
                      <a:pt x="1381" y="237"/>
                    </a:cubicBezTo>
                    <a:cubicBezTo>
                      <a:pt x="1381" y="239"/>
                      <a:pt x="1381" y="239"/>
                      <a:pt x="1381" y="239"/>
                    </a:cubicBezTo>
                    <a:cubicBezTo>
                      <a:pt x="1386" y="241"/>
                      <a:pt x="1386" y="241"/>
                      <a:pt x="1386" y="241"/>
                    </a:cubicBezTo>
                    <a:cubicBezTo>
                      <a:pt x="1393" y="241"/>
                      <a:pt x="1393" y="241"/>
                      <a:pt x="1393" y="241"/>
                    </a:cubicBezTo>
                    <a:cubicBezTo>
                      <a:pt x="1401" y="244"/>
                      <a:pt x="1401" y="244"/>
                      <a:pt x="1401" y="244"/>
                    </a:cubicBezTo>
                    <a:cubicBezTo>
                      <a:pt x="1401" y="248"/>
                      <a:pt x="1401" y="248"/>
                      <a:pt x="1401" y="248"/>
                    </a:cubicBezTo>
                    <a:cubicBezTo>
                      <a:pt x="1400" y="248"/>
                      <a:pt x="1400" y="248"/>
                      <a:pt x="1400" y="248"/>
                    </a:cubicBezTo>
                    <a:cubicBezTo>
                      <a:pt x="1396" y="246"/>
                      <a:pt x="1396" y="246"/>
                      <a:pt x="1396" y="246"/>
                    </a:cubicBezTo>
                    <a:cubicBezTo>
                      <a:pt x="1389" y="245"/>
                      <a:pt x="1389" y="245"/>
                      <a:pt x="1389" y="245"/>
                    </a:cubicBezTo>
                    <a:cubicBezTo>
                      <a:pt x="1383" y="247"/>
                      <a:pt x="1383" y="247"/>
                      <a:pt x="1383" y="247"/>
                    </a:cubicBezTo>
                    <a:cubicBezTo>
                      <a:pt x="1383" y="245"/>
                      <a:pt x="1383" y="245"/>
                      <a:pt x="1383" y="245"/>
                    </a:cubicBezTo>
                    <a:cubicBezTo>
                      <a:pt x="1381" y="243"/>
                      <a:pt x="1381" y="243"/>
                      <a:pt x="1381" y="243"/>
                    </a:cubicBezTo>
                    <a:cubicBezTo>
                      <a:pt x="1374" y="242"/>
                      <a:pt x="1374" y="242"/>
                      <a:pt x="1374" y="242"/>
                    </a:cubicBezTo>
                    <a:cubicBezTo>
                      <a:pt x="1371" y="240"/>
                      <a:pt x="1371" y="240"/>
                      <a:pt x="1371" y="240"/>
                    </a:cubicBezTo>
                    <a:cubicBezTo>
                      <a:pt x="1372" y="242"/>
                      <a:pt x="1372" y="242"/>
                      <a:pt x="1372" y="242"/>
                    </a:cubicBezTo>
                    <a:cubicBezTo>
                      <a:pt x="1379" y="245"/>
                      <a:pt x="1379" y="245"/>
                      <a:pt x="1379" y="245"/>
                    </a:cubicBezTo>
                    <a:cubicBezTo>
                      <a:pt x="1378" y="247"/>
                      <a:pt x="1378" y="247"/>
                      <a:pt x="1378" y="247"/>
                    </a:cubicBezTo>
                    <a:cubicBezTo>
                      <a:pt x="1378" y="249"/>
                      <a:pt x="1378" y="249"/>
                      <a:pt x="1378" y="249"/>
                    </a:cubicBezTo>
                    <a:cubicBezTo>
                      <a:pt x="1381" y="250"/>
                      <a:pt x="1381" y="250"/>
                      <a:pt x="1381" y="250"/>
                    </a:cubicBezTo>
                    <a:cubicBezTo>
                      <a:pt x="1382" y="249"/>
                      <a:pt x="1382" y="249"/>
                      <a:pt x="1382" y="249"/>
                    </a:cubicBezTo>
                    <a:cubicBezTo>
                      <a:pt x="1384" y="250"/>
                      <a:pt x="1384" y="250"/>
                      <a:pt x="1384" y="250"/>
                    </a:cubicBezTo>
                    <a:cubicBezTo>
                      <a:pt x="1387" y="249"/>
                      <a:pt x="1387" y="249"/>
                      <a:pt x="1387" y="249"/>
                    </a:cubicBezTo>
                    <a:cubicBezTo>
                      <a:pt x="1388" y="248"/>
                      <a:pt x="1388" y="248"/>
                      <a:pt x="1388" y="248"/>
                    </a:cubicBezTo>
                    <a:cubicBezTo>
                      <a:pt x="1390" y="249"/>
                      <a:pt x="1390" y="249"/>
                      <a:pt x="1390" y="249"/>
                    </a:cubicBezTo>
                    <a:cubicBezTo>
                      <a:pt x="1393" y="248"/>
                      <a:pt x="1393" y="248"/>
                      <a:pt x="1393" y="248"/>
                    </a:cubicBezTo>
                    <a:cubicBezTo>
                      <a:pt x="1396" y="249"/>
                      <a:pt x="1396" y="249"/>
                      <a:pt x="1396" y="249"/>
                    </a:cubicBezTo>
                    <a:cubicBezTo>
                      <a:pt x="1401" y="254"/>
                      <a:pt x="1401" y="254"/>
                      <a:pt x="1401" y="254"/>
                    </a:cubicBezTo>
                    <a:cubicBezTo>
                      <a:pt x="1401" y="256"/>
                      <a:pt x="1401" y="256"/>
                      <a:pt x="1401" y="256"/>
                    </a:cubicBezTo>
                    <a:cubicBezTo>
                      <a:pt x="1396" y="256"/>
                      <a:pt x="1396" y="256"/>
                      <a:pt x="1396" y="256"/>
                    </a:cubicBezTo>
                    <a:cubicBezTo>
                      <a:pt x="1392" y="258"/>
                      <a:pt x="1392" y="258"/>
                      <a:pt x="1392" y="258"/>
                    </a:cubicBezTo>
                    <a:cubicBezTo>
                      <a:pt x="1392" y="260"/>
                      <a:pt x="1392" y="260"/>
                      <a:pt x="1392" y="260"/>
                    </a:cubicBezTo>
                    <a:cubicBezTo>
                      <a:pt x="1395" y="259"/>
                      <a:pt x="1395" y="259"/>
                      <a:pt x="1395" y="259"/>
                    </a:cubicBezTo>
                    <a:cubicBezTo>
                      <a:pt x="1399" y="259"/>
                      <a:pt x="1399" y="259"/>
                      <a:pt x="1399" y="259"/>
                    </a:cubicBezTo>
                    <a:cubicBezTo>
                      <a:pt x="1402" y="259"/>
                      <a:pt x="1402" y="259"/>
                      <a:pt x="1402" y="259"/>
                    </a:cubicBezTo>
                    <a:cubicBezTo>
                      <a:pt x="1406" y="262"/>
                      <a:pt x="1406" y="262"/>
                      <a:pt x="1406" y="262"/>
                    </a:cubicBezTo>
                    <a:cubicBezTo>
                      <a:pt x="1409" y="264"/>
                      <a:pt x="1409" y="264"/>
                      <a:pt x="1409" y="264"/>
                    </a:cubicBezTo>
                    <a:cubicBezTo>
                      <a:pt x="1409" y="267"/>
                      <a:pt x="1409" y="267"/>
                      <a:pt x="1409" y="267"/>
                    </a:cubicBezTo>
                    <a:cubicBezTo>
                      <a:pt x="1405" y="274"/>
                      <a:pt x="1405" y="274"/>
                      <a:pt x="1405" y="274"/>
                    </a:cubicBezTo>
                    <a:cubicBezTo>
                      <a:pt x="1403" y="280"/>
                      <a:pt x="1403" y="280"/>
                      <a:pt x="1403" y="280"/>
                    </a:cubicBezTo>
                    <a:cubicBezTo>
                      <a:pt x="1401" y="280"/>
                      <a:pt x="1401" y="280"/>
                      <a:pt x="1401" y="280"/>
                    </a:cubicBezTo>
                    <a:cubicBezTo>
                      <a:pt x="1396" y="284"/>
                      <a:pt x="1396" y="284"/>
                      <a:pt x="1396" y="284"/>
                    </a:cubicBezTo>
                    <a:cubicBezTo>
                      <a:pt x="1393" y="283"/>
                      <a:pt x="1393" y="283"/>
                      <a:pt x="1393" y="283"/>
                    </a:cubicBezTo>
                    <a:cubicBezTo>
                      <a:pt x="1390" y="283"/>
                      <a:pt x="1390" y="283"/>
                      <a:pt x="1390" y="283"/>
                    </a:cubicBezTo>
                    <a:cubicBezTo>
                      <a:pt x="1387" y="281"/>
                      <a:pt x="1387" y="281"/>
                      <a:pt x="1387" y="281"/>
                    </a:cubicBezTo>
                    <a:cubicBezTo>
                      <a:pt x="1387" y="279"/>
                      <a:pt x="1387" y="279"/>
                      <a:pt x="1387" y="279"/>
                    </a:cubicBezTo>
                    <a:cubicBezTo>
                      <a:pt x="1384" y="278"/>
                      <a:pt x="1384" y="278"/>
                      <a:pt x="1384" y="278"/>
                    </a:cubicBezTo>
                    <a:cubicBezTo>
                      <a:pt x="1379" y="278"/>
                      <a:pt x="1379" y="278"/>
                      <a:pt x="1379" y="278"/>
                    </a:cubicBezTo>
                    <a:cubicBezTo>
                      <a:pt x="1380" y="279"/>
                      <a:pt x="1380" y="279"/>
                      <a:pt x="1380" y="279"/>
                    </a:cubicBezTo>
                    <a:cubicBezTo>
                      <a:pt x="1384" y="281"/>
                      <a:pt x="1384" y="281"/>
                      <a:pt x="1384" y="281"/>
                    </a:cubicBezTo>
                    <a:cubicBezTo>
                      <a:pt x="1385" y="283"/>
                      <a:pt x="1385" y="283"/>
                      <a:pt x="1385" y="283"/>
                    </a:cubicBezTo>
                    <a:cubicBezTo>
                      <a:pt x="1387" y="284"/>
                      <a:pt x="1387" y="284"/>
                      <a:pt x="1387" y="284"/>
                    </a:cubicBezTo>
                    <a:cubicBezTo>
                      <a:pt x="1392" y="287"/>
                      <a:pt x="1392" y="287"/>
                      <a:pt x="1392" y="287"/>
                    </a:cubicBezTo>
                    <a:cubicBezTo>
                      <a:pt x="1393" y="291"/>
                      <a:pt x="1393" y="291"/>
                      <a:pt x="1393" y="291"/>
                    </a:cubicBezTo>
                    <a:cubicBezTo>
                      <a:pt x="1391" y="293"/>
                      <a:pt x="1391" y="293"/>
                      <a:pt x="1391" y="293"/>
                    </a:cubicBezTo>
                    <a:cubicBezTo>
                      <a:pt x="1388" y="294"/>
                      <a:pt x="1388" y="294"/>
                      <a:pt x="1388" y="294"/>
                    </a:cubicBezTo>
                    <a:cubicBezTo>
                      <a:pt x="1384" y="297"/>
                      <a:pt x="1384" y="297"/>
                      <a:pt x="1384" y="297"/>
                    </a:cubicBezTo>
                    <a:cubicBezTo>
                      <a:pt x="1382" y="298"/>
                      <a:pt x="1382" y="298"/>
                      <a:pt x="1382" y="298"/>
                    </a:cubicBezTo>
                    <a:cubicBezTo>
                      <a:pt x="1376" y="293"/>
                      <a:pt x="1376" y="293"/>
                      <a:pt x="1376" y="293"/>
                    </a:cubicBezTo>
                    <a:cubicBezTo>
                      <a:pt x="1372" y="294"/>
                      <a:pt x="1372" y="294"/>
                      <a:pt x="1372" y="294"/>
                    </a:cubicBezTo>
                    <a:cubicBezTo>
                      <a:pt x="1371" y="292"/>
                      <a:pt x="1371" y="292"/>
                      <a:pt x="1371" y="292"/>
                    </a:cubicBezTo>
                    <a:cubicBezTo>
                      <a:pt x="1367" y="292"/>
                      <a:pt x="1367" y="292"/>
                      <a:pt x="1367" y="292"/>
                    </a:cubicBezTo>
                    <a:cubicBezTo>
                      <a:pt x="1364" y="293"/>
                      <a:pt x="1364" y="293"/>
                      <a:pt x="1364" y="293"/>
                    </a:cubicBezTo>
                    <a:cubicBezTo>
                      <a:pt x="1365" y="296"/>
                      <a:pt x="1365" y="296"/>
                      <a:pt x="1365" y="296"/>
                    </a:cubicBezTo>
                    <a:cubicBezTo>
                      <a:pt x="1377" y="302"/>
                      <a:pt x="1377" y="302"/>
                      <a:pt x="1377" y="302"/>
                    </a:cubicBezTo>
                    <a:cubicBezTo>
                      <a:pt x="1381" y="302"/>
                      <a:pt x="1381" y="302"/>
                      <a:pt x="1381" y="302"/>
                    </a:cubicBezTo>
                    <a:cubicBezTo>
                      <a:pt x="1381" y="304"/>
                      <a:pt x="1381" y="304"/>
                      <a:pt x="1381" y="304"/>
                    </a:cubicBezTo>
                    <a:cubicBezTo>
                      <a:pt x="1378" y="306"/>
                      <a:pt x="1378" y="306"/>
                      <a:pt x="1378" y="306"/>
                    </a:cubicBezTo>
                    <a:cubicBezTo>
                      <a:pt x="1375" y="309"/>
                      <a:pt x="1375" y="309"/>
                      <a:pt x="1375" y="309"/>
                    </a:cubicBezTo>
                    <a:cubicBezTo>
                      <a:pt x="1371" y="310"/>
                      <a:pt x="1371" y="310"/>
                      <a:pt x="1371" y="310"/>
                    </a:cubicBezTo>
                    <a:cubicBezTo>
                      <a:pt x="1368" y="307"/>
                      <a:pt x="1368" y="307"/>
                      <a:pt x="1368" y="307"/>
                    </a:cubicBezTo>
                    <a:cubicBezTo>
                      <a:pt x="1365" y="307"/>
                      <a:pt x="1365" y="307"/>
                      <a:pt x="1365" y="307"/>
                    </a:cubicBezTo>
                    <a:cubicBezTo>
                      <a:pt x="1362" y="309"/>
                      <a:pt x="1362" y="309"/>
                      <a:pt x="1362" y="309"/>
                    </a:cubicBezTo>
                    <a:cubicBezTo>
                      <a:pt x="1356" y="309"/>
                      <a:pt x="1356" y="309"/>
                      <a:pt x="1356" y="309"/>
                    </a:cubicBezTo>
                    <a:cubicBezTo>
                      <a:pt x="1354" y="306"/>
                      <a:pt x="1354" y="306"/>
                      <a:pt x="1354" y="306"/>
                    </a:cubicBezTo>
                    <a:cubicBezTo>
                      <a:pt x="1346" y="305"/>
                      <a:pt x="1346" y="305"/>
                      <a:pt x="1346" y="305"/>
                    </a:cubicBezTo>
                    <a:cubicBezTo>
                      <a:pt x="1341" y="306"/>
                      <a:pt x="1341" y="306"/>
                      <a:pt x="1341" y="306"/>
                    </a:cubicBezTo>
                    <a:cubicBezTo>
                      <a:pt x="1340" y="313"/>
                      <a:pt x="1340" y="313"/>
                      <a:pt x="1340" y="313"/>
                    </a:cubicBezTo>
                    <a:cubicBezTo>
                      <a:pt x="1336" y="316"/>
                      <a:pt x="1336" y="316"/>
                      <a:pt x="1336" y="316"/>
                    </a:cubicBezTo>
                    <a:cubicBezTo>
                      <a:pt x="1340" y="316"/>
                      <a:pt x="1340" y="316"/>
                      <a:pt x="1340" y="316"/>
                    </a:cubicBezTo>
                    <a:cubicBezTo>
                      <a:pt x="1341" y="317"/>
                      <a:pt x="1341" y="317"/>
                      <a:pt x="1341" y="317"/>
                    </a:cubicBezTo>
                    <a:cubicBezTo>
                      <a:pt x="1341" y="321"/>
                      <a:pt x="1341" y="321"/>
                      <a:pt x="1341" y="321"/>
                    </a:cubicBezTo>
                    <a:cubicBezTo>
                      <a:pt x="1336" y="323"/>
                      <a:pt x="1336" y="323"/>
                      <a:pt x="1336" y="323"/>
                    </a:cubicBezTo>
                    <a:cubicBezTo>
                      <a:pt x="1335" y="327"/>
                      <a:pt x="1335" y="327"/>
                      <a:pt x="1335" y="327"/>
                    </a:cubicBezTo>
                    <a:cubicBezTo>
                      <a:pt x="1331" y="330"/>
                      <a:pt x="1331" y="330"/>
                      <a:pt x="1331" y="330"/>
                    </a:cubicBezTo>
                    <a:cubicBezTo>
                      <a:pt x="1329" y="328"/>
                      <a:pt x="1329" y="328"/>
                      <a:pt x="1329" y="328"/>
                    </a:cubicBezTo>
                    <a:cubicBezTo>
                      <a:pt x="1328" y="329"/>
                      <a:pt x="1328" y="329"/>
                      <a:pt x="1328" y="329"/>
                    </a:cubicBezTo>
                    <a:cubicBezTo>
                      <a:pt x="1328" y="332"/>
                      <a:pt x="1328" y="332"/>
                      <a:pt x="1328" y="332"/>
                    </a:cubicBezTo>
                    <a:cubicBezTo>
                      <a:pt x="1324" y="333"/>
                      <a:pt x="1324" y="333"/>
                      <a:pt x="1324" y="333"/>
                    </a:cubicBezTo>
                    <a:cubicBezTo>
                      <a:pt x="1321" y="333"/>
                      <a:pt x="1321" y="333"/>
                      <a:pt x="1321" y="333"/>
                    </a:cubicBezTo>
                    <a:cubicBezTo>
                      <a:pt x="1323" y="331"/>
                      <a:pt x="1323" y="331"/>
                      <a:pt x="1323" y="331"/>
                    </a:cubicBezTo>
                    <a:cubicBezTo>
                      <a:pt x="1321" y="331"/>
                      <a:pt x="1321" y="331"/>
                      <a:pt x="1321" y="331"/>
                    </a:cubicBezTo>
                    <a:cubicBezTo>
                      <a:pt x="1319" y="333"/>
                      <a:pt x="1319" y="333"/>
                      <a:pt x="1319" y="333"/>
                    </a:cubicBezTo>
                    <a:cubicBezTo>
                      <a:pt x="1316" y="338"/>
                      <a:pt x="1316" y="338"/>
                      <a:pt x="1316" y="338"/>
                    </a:cubicBezTo>
                    <a:cubicBezTo>
                      <a:pt x="1314" y="339"/>
                      <a:pt x="1314" y="339"/>
                      <a:pt x="1314" y="339"/>
                    </a:cubicBezTo>
                    <a:cubicBezTo>
                      <a:pt x="1305" y="334"/>
                      <a:pt x="1305" y="334"/>
                      <a:pt x="1305" y="334"/>
                    </a:cubicBezTo>
                    <a:cubicBezTo>
                      <a:pt x="1300" y="334"/>
                      <a:pt x="1300" y="334"/>
                      <a:pt x="1300" y="334"/>
                    </a:cubicBezTo>
                    <a:cubicBezTo>
                      <a:pt x="1299" y="336"/>
                      <a:pt x="1299" y="336"/>
                      <a:pt x="1299" y="336"/>
                    </a:cubicBezTo>
                    <a:cubicBezTo>
                      <a:pt x="1295" y="335"/>
                      <a:pt x="1295" y="335"/>
                      <a:pt x="1295" y="335"/>
                    </a:cubicBezTo>
                    <a:cubicBezTo>
                      <a:pt x="1286" y="325"/>
                      <a:pt x="1286" y="325"/>
                      <a:pt x="1286" y="325"/>
                    </a:cubicBezTo>
                    <a:cubicBezTo>
                      <a:pt x="1285" y="317"/>
                      <a:pt x="1285" y="317"/>
                      <a:pt x="1285" y="317"/>
                    </a:cubicBezTo>
                    <a:cubicBezTo>
                      <a:pt x="1287" y="316"/>
                      <a:pt x="1287" y="316"/>
                      <a:pt x="1287" y="316"/>
                    </a:cubicBezTo>
                    <a:cubicBezTo>
                      <a:pt x="1288" y="313"/>
                      <a:pt x="1288" y="313"/>
                      <a:pt x="1288" y="313"/>
                    </a:cubicBezTo>
                    <a:cubicBezTo>
                      <a:pt x="1286" y="311"/>
                      <a:pt x="1286" y="311"/>
                      <a:pt x="1286" y="311"/>
                    </a:cubicBezTo>
                    <a:cubicBezTo>
                      <a:pt x="1287" y="308"/>
                      <a:pt x="1287" y="308"/>
                      <a:pt x="1287" y="308"/>
                    </a:cubicBezTo>
                    <a:cubicBezTo>
                      <a:pt x="1283" y="312"/>
                      <a:pt x="1283" y="312"/>
                      <a:pt x="1283" y="312"/>
                    </a:cubicBezTo>
                    <a:cubicBezTo>
                      <a:pt x="1283" y="315"/>
                      <a:pt x="1283" y="315"/>
                      <a:pt x="1283" y="315"/>
                    </a:cubicBezTo>
                    <a:cubicBezTo>
                      <a:pt x="1282" y="320"/>
                      <a:pt x="1282" y="320"/>
                      <a:pt x="1282" y="320"/>
                    </a:cubicBezTo>
                    <a:cubicBezTo>
                      <a:pt x="1280" y="323"/>
                      <a:pt x="1280" y="323"/>
                      <a:pt x="1280" y="323"/>
                    </a:cubicBezTo>
                    <a:cubicBezTo>
                      <a:pt x="1283" y="327"/>
                      <a:pt x="1283" y="327"/>
                      <a:pt x="1283" y="327"/>
                    </a:cubicBezTo>
                    <a:cubicBezTo>
                      <a:pt x="1282" y="329"/>
                      <a:pt x="1282" y="329"/>
                      <a:pt x="1282" y="329"/>
                    </a:cubicBezTo>
                    <a:cubicBezTo>
                      <a:pt x="1280" y="328"/>
                      <a:pt x="1280" y="328"/>
                      <a:pt x="1280" y="328"/>
                    </a:cubicBezTo>
                    <a:cubicBezTo>
                      <a:pt x="1275" y="329"/>
                      <a:pt x="1275" y="329"/>
                      <a:pt x="1275" y="329"/>
                    </a:cubicBezTo>
                    <a:cubicBezTo>
                      <a:pt x="1274" y="329"/>
                      <a:pt x="1274" y="329"/>
                      <a:pt x="1274" y="329"/>
                    </a:cubicBezTo>
                    <a:cubicBezTo>
                      <a:pt x="1271" y="329"/>
                      <a:pt x="1271" y="329"/>
                      <a:pt x="1271" y="329"/>
                    </a:cubicBezTo>
                    <a:cubicBezTo>
                      <a:pt x="1274" y="332"/>
                      <a:pt x="1274" y="332"/>
                      <a:pt x="1274" y="332"/>
                    </a:cubicBezTo>
                    <a:cubicBezTo>
                      <a:pt x="1272" y="338"/>
                      <a:pt x="1272" y="338"/>
                      <a:pt x="1272" y="338"/>
                    </a:cubicBezTo>
                    <a:cubicBezTo>
                      <a:pt x="1275" y="338"/>
                      <a:pt x="1275" y="338"/>
                      <a:pt x="1275" y="338"/>
                    </a:cubicBezTo>
                    <a:cubicBezTo>
                      <a:pt x="1279" y="333"/>
                      <a:pt x="1279" y="333"/>
                      <a:pt x="1279" y="333"/>
                    </a:cubicBezTo>
                    <a:cubicBezTo>
                      <a:pt x="1281" y="333"/>
                      <a:pt x="1281" y="333"/>
                      <a:pt x="1281" y="333"/>
                    </a:cubicBezTo>
                    <a:cubicBezTo>
                      <a:pt x="1283" y="331"/>
                      <a:pt x="1283" y="331"/>
                      <a:pt x="1283" y="331"/>
                    </a:cubicBezTo>
                    <a:cubicBezTo>
                      <a:pt x="1285" y="330"/>
                      <a:pt x="1285" y="330"/>
                      <a:pt x="1285" y="330"/>
                    </a:cubicBezTo>
                    <a:cubicBezTo>
                      <a:pt x="1290" y="333"/>
                      <a:pt x="1290" y="333"/>
                      <a:pt x="1290" y="333"/>
                    </a:cubicBezTo>
                    <a:cubicBezTo>
                      <a:pt x="1293" y="337"/>
                      <a:pt x="1293" y="337"/>
                      <a:pt x="1293" y="337"/>
                    </a:cubicBezTo>
                    <a:cubicBezTo>
                      <a:pt x="1291" y="341"/>
                      <a:pt x="1291" y="341"/>
                      <a:pt x="1291" y="341"/>
                    </a:cubicBezTo>
                    <a:cubicBezTo>
                      <a:pt x="1295" y="338"/>
                      <a:pt x="1295" y="338"/>
                      <a:pt x="1295" y="338"/>
                    </a:cubicBezTo>
                    <a:cubicBezTo>
                      <a:pt x="1302" y="336"/>
                      <a:pt x="1302" y="336"/>
                      <a:pt x="1302" y="336"/>
                    </a:cubicBezTo>
                    <a:cubicBezTo>
                      <a:pt x="1307" y="338"/>
                      <a:pt x="1307" y="338"/>
                      <a:pt x="1307" y="338"/>
                    </a:cubicBezTo>
                    <a:cubicBezTo>
                      <a:pt x="1308" y="342"/>
                      <a:pt x="1308" y="342"/>
                      <a:pt x="1308" y="342"/>
                    </a:cubicBezTo>
                    <a:cubicBezTo>
                      <a:pt x="1306" y="344"/>
                      <a:pt x="1306" y="344"/>
                      <a:pt x="1306" y="344"/>
                    </a:cubicBezTo>
                    <a:cubicBezTo>
                      <a:pt x="1304" y="350"/>
                      <a:pt x="1304" y="350"/>
                      <a:pt x="1304" y="350"/>
                    </a:cubicBezTo>
                    <a:cubicBezTo>
                      <a:pt x="1301" y="351"/>
                      <a:pt x="1301" y="351"/>
                      <a:pt x="1301" y="351"/>
                    </a:cubicBezTo>
                    <a:cubicBezTo>
                      <a:pt x="1300" y="353"/>
                      <a:pt x="1300" y="353"/>
                      <a:pt x="1300" y="353"/>
                    </a:cubicBezTo>
                    <a:cubicBezTo>
                      <a:pt x="1301" y="354"/>
                      <a:pt x="1301" y="354"/>
                      <a:pt x="1301" y="354"/>
                    </a:cubicBezTo>
                    <a:cubicBezTo>
                      <a:pt x="1305" y="354"/>
                      <a:pt x="1305" y="354"/>
                      <a:pt x="1305" y="354"/>
                    </a:cubicBezTo>
                    <a:cubicBezTo>
                      <a:pt x="1304" y="357"/>
                      <a:pt x="1304" y="357"/>
                      <a:pt x="1304" y="357"/>
                    </a:cubicBezTo>
                    <a:cubicBezTo>
                      <a:pt x="1301" y="360"/>
                      <a:pt x="1301" y="360"/>
                      <a:pt x="1301" y="360"/>
                    </a:cubicBezTo>
                    <a:cubicBezTo>
                      <a:pt x="1305" y="360"/>
                      <a:pt x="1305" y="360"/>
                      <a:pt x="1305" y="360"/>
                    </a:cubicBezTo>
                    <a:cubicBezTo>
                      <a:pt x="1307" y="357"/>
                      <a:pt x="1307" y="357"/>
                      <a:pt x="1307" y="357"/>
                    </a:cubicBezTo>
                    <a:cubicBezTo>
                      <a:pt x="1311" y="355"/>
                      <a:pt x="1311" y="355"/>
                      <a:pt x="1311" y="355"/>
                    </a:cubicBezTo>
                    <a:cubicBezTo>
                      <a:pt x="1314" y="355"/>
                      <a:pt x="1314" y="355"/>
                      <a:pt x="1314" y="355"/>
                    </a:cubicBezTo>
                    <a:cubicBezTo>
                      <a:pt x="1316" y="354"/>
                      <a:pt x="1316" y="354"/>
                      <a:pt x="1316" y="354"/>
                    </a:cubicBezTo>
                    <a:cubicBezTo>
                      <a:pt x="1318" y="355"/>
                      <a:pt x="1318" y="355"/>
                      <a:pt x="1318" y="355"/>
                    </a:cubicBezTo>
                    <a:cubicBezTo>
                      <a:pt x="1317" y="358"/>
                      <a:pt x="1317" y="358"/>
                      <a:pt x="1317" y="358"/>
                    </a:cubicBezTo>
                    <a:cubicBezTo>
                      <a:pt x="1318" y="361"/>
                      <a:pt x="1318" y="361"/>
                      <a:pt x="1318" y="361"/>
                    </a:cubicBezTo>
                    <a:cubicBezTo>
                      <a:pt x="1316" y="367"/>
                      <a:pt x="1316" y="367"/>
                      <a:pt x="1316" y="367"/>
                    </a:cubicBezTo>
                    <a:cubicBezTo>
                      <a:pt x="1312" y="374"/>
                      <a:pt x="1312" y="374"/>
                      <a:pt x="1312" y="374"/>
                    </a:cubicBezTo>
                    <a:cubicBezTo>
                      <a:pt x="1309" y="374"/>
                      <a:pt x="1309" y="374"/>
                      <a:pt x="1309" y="374"/>
                    </a:cubicBezTo>
                    <a:cubicBezTo>
                      <a:pt x="1305" y="377"/>
                      <a:pt x="1305" y="377"/>
                      <a:pt x="1305" y="377"/>
                    </a:cubicBezTo>
                    <a:cubicBezTo>
                      <a:pt x="1302" y="381"/>
                      <a:pt x="1302" y="381"/>
                      <a:pt x="1302" y="381"/>
                    </a:cubicBezTo>
                    <a:cubicBezTo>
                      <a:pt x="1299" y="383"/>
                      <a:pt x="1299" y="383"/>
                      <a:pt x="1299" y="383"/>
                    </a:cubicBezTo>
                    <a:cubicBezTo>
                      <a:pt x="1298" y="382"/>
                      <a:pt x="1298" y="382"/>
                      <a:pt x="1298" y="382"/>
                    </a:cubicBezTo>
                    <a:cubicBezTo>
                      <a:pt x="1299" y="378"/>
                      <a:pt x="1299" y="378"/>
                      <a:pt x="1299" y="378"/>
                    </a:cubicBezTo>
                    <a:cubicBezTo>
                      <a:pt x="1299" y="373"/>
                      <a:pt x="1299" y="373"/>
                      <a:pt x="1299" y="373"/>
                    </a:cubicBezTo>
                    <a:cubicBezTo>
                      <a:pt x="1298" y="373"/>
                      <a:pt x="1298" y="373"/>
                      <a:pt x="1298" y="373"/>
                    </a:cubicBezTo>
                    <a:cubicBezTo>
                      <a:pt x="1296" y="374"/>
                      <a:pt x="1296" y="374"/>
                      <a:pt x="1296" y="374"/>
                    </a:cubicBezTo>
                    <a:cubicBezTo>
                      <a:pt x="1293" y="379"/>
                      <a:pt x="1293" y="379"/>
                      <a:pt x="1293" y="379"/>
                    </a:cubicBezTo>
                    <a:cubicBezTo>
                      <a:pt x="1290" y="380"/>
                      <a:pt x="1290" y="380"/>
                      <a:pt x="1290" y="380"/>
                    </a:cubicBezTo>
                    <a:cubicBezTo>
                      <a:pt x="1285" y="385"/>
                      <a:pt x="1285" y="385"/>
                      <a:pt x="1285" y="385"/>
                    </a:cubicBezTo>
                    <a:cubicBezTo>
                      <a:pt x="1283" y="384"/>
                      <a:pt x="1283" y="384"/>
                      <a:pt x="1283" y="384"/>
                    </a:cubicBezTo>
                    <a:cubicBezTo>
                      <a:pt x="1279" y="384"/>
                      <a:pt x="1279" y="384"/>
                      <a:pt x="1279" y="384"/>
                    </a:cubicBezTo>
                    <a:cubicBezTo>
                      <a:pt x="1273" y="388"/>
                      <a:pt x="1273" y="388"/>
                      <a:pt x="1273" y="388"/>
                    </a:cubicBezTo>
                    <a:cubicBezTo>
                      <a:pt x="1272" y="387"/>
                      <a:pt x="1272" y="387"/>
                      <a:pt x="1272" y="387"/>
                    </a:cubicBezTo>
                    <a:cubicBezTo>
                      <a:pt x="1268" y="389"/>
                      <a:pt x="1268" y="389"/>
                      <a:pt x="1268" y="389"/>
                    </a:cubicBezTo>
                    <a:cubicBezTo>
                      <a:pt x="1264" y="389"/>
                      <a:pt x="1264" y="389"/>
                      <a:pt x="1264" y="389"/>
                    </a:cubicBezTo>
                    <a:cubicBezTo>
                      <a:pt x="1263" y="386"/>
                      <a:pt x="1263" y="386"/>
                      <a:pt x="1263" y="386"/>
                    </a:cubicBezTo>
                    <a:cubicBezTo>
                      <a:pt x="1262" y="385"/>
                      <a:pt x="1262" y="385"/>
                      <a:pt x="1262" y="385"/>
                    </a:cubicBezTo>
                    <a:cubicBezTo>
                      <a:pt x="1265" y="382"/>
                      <a:pt x="1265" y="382"/>
                      <a:pt x="1265" y="382"/>
                    </a:cubicBezTo>
                    <a:cubicBezTo>
                      <a:pt x="1267" y="379"/>
                      <a:pt x="1267" y="379"/>
                      <a:pt x="1267" y="379"/>
                    </a:cubicBezTo>
                    <a:cubicBezTo>
                      <a:pt x="1267" y="376"/>
                      <a:pt x="1267" y="376"/>
                      <a:pt x="1267" y="376"/>
                    </a:cubicBezTo>
                    <a:cubicBezTo>
                      <a:pt x="1264" y="370"/>
                      <a:pt x="1264" y="370"/>
                      <a:pt x="1264" y="370"/>
                    </a:cubicBezTo>
                    <a:cubicBezTo>
                      <a:pt x="1261" y="373"/>
                      <a:pt x="1261" y="373"/>
                      <a:pt x="1261" y="373"/>
                    </a:cubicBezTo>
                    <a:cubicBezTo>
                      <a:pt x="1256" y="371"/>
                      <a:pt x="1256" y="371"/>
                      <a:pt x="1256" y="371"/>
                    </a:cubicBezTo>
                    <a:cubicBezTo>
                      <a:pt x="1255" y="369"/>
                      <a:pt x="1255" y="369"/>
                      <a:pt x="1255" y="369"/>
                    </a:cubicBezTo>
                    <a:cubicBezTo>
                      <a:pt x="1257" y="364"/>
                      <a:pt x="1257" y="364"/>
                      <a:pt x="1257" y="364"/>
                    </a:cubicBezTo>
                    <a:cubicBezTo>
                      <a:pt x="1260" y="363"/>
                      <a:pt x="1260" y="363"/>
                      <a:pt x="1260" y="363"/>
                    </a:cubicBezTo>
                    <a:cubicBezTo>
                      <a:pt x="1257" y="362"/>
                      <a:pt x="1257" y="362"/>
                      <a:pt x="1257" y="362"/>
                    </a:cubicBezTo>
                    <a:cubicBezTo>
                      <a:pt x="1255" y="362"/>
                      <a:pt x="1255" y="362"/>
                      <a:pt x="1255" y="362"/>
                    </a:cubicBezTo>
                    <a:cubicBezTo>
                      <a:pt x="1253" y="357"/>
                      <a:pt x="1253" y="357"/>
                      <a:pt x="1253" y="357"/>
                    </a:cubicBezTo>
                    <a:cubicBezTo>
                      <a:pt x="1254" y="354"/>
                      <a:pt x="1254" y="354"/>
                      <a:pt x="1254" y="354"/>
                    </a:cubicBezTo>
                    <a:cubicBezTo>
                      <a:pt x="1254" y="350"/>
                      <a:pt x="1254" y="350"/>
                      <a:pt x="1254" y="350"/>
                    </a:cubicBezTo>
                    <a:cubicBezTo>
                      <a:pt x="1252" y="347"/>
                      <a:pt x="1252" y="347"/>
                      <a:pt x="1252" y="347"/>
                    </a:cubicBezTo>
                    <a:cubicBezTo>
                      <a:pt x="1252" y="351"/>
                      <a:pt x="1252" y="351"/>
                      <a:pt x="1252" y="351"/>
                    </a:cubicBezTo>
                    <a:cubicBezTo>
                      <a:pt x="1249" y="357"/>
                      <a:pt x="1249" y="357"/>
                      <a:pt x="1249" y="357"/>
                    </a:cubicBezTo>
                    <a:cubicBezTo>
                      <a:pt x="1253" y="363"/>
                      <a:pt x="1253" y="363"/>
                      <a:pt x="1253" y="363"/>
                    </a:cubicBezTo>
                    <a:cubicBezTo>
                      <a:pt x="1253" y="365"/>
                      <a:pt x="1253" y="365"/>
                      <a:pt x="1253" y="365"/>
                    </a:cubicBezTo>
                    <a:cubicBezTo>
                      <a:pt x="1251" y="367"/>
                      <a:pt x="1251" y="367"/>
                      <a:pt x="1251" y="367"/>
                    </a:cubicBezTo>
                    <a:cubicBezTo>
                      <a:pt x="1251" y="371"/>
                      <a:pt x="1251" y="371"/>
                      <a:pt x="1251" y="371"/>
                    </a:cubicBezTo>
                    <a:cubicBezTo>
                      <a:pt x="1248" y="373"/>
                      <a:pt x="1248" y="373"/>
                      <a:pt x="1248" y="373"/>
                    </a:cubicBezTo>
                    <a:cubicBezTo>
                      <a:pt x="1245" y="372"/>
                      <a:pt x="1245" y="372"/>
                      <a:pt x="1245" y="372"/>
                    </a:cubicBezTo>
                    <a:cubicBezTo>
                      <a:pt x="1242" y="372"/>
                      <a:pt x="1242" y="372"/>
                      <a:pt x="1242" y="372"/>
                    </a:cubicBezTo>
                    <a:cubicBezTo>
                      <a:pt x="1239" y="370"/>
                      <a:pt x="1239" y="370"/>
                      <a:pt x="1239" y="370"/>
                    </a:cubicBezTo>
                    <a:cubicBezTo>
                      <a:pt x="1239" y="368"/>
                      <a:pt x="1239" y="368"/>
                      <a:pt x="1239" y="368"/>
                    </a:cubicBezTo>
                    <a:cubicBezTo>
                      <a:pt x="1242" y="361"/>
                      <a:pt x="1242" y="361"/>
                      <a:pt x="1242" y="361"/>
                    </a:cubicBezTo>
                    <a:cubicBezTo>
                      <a:pt x="1240" y="358"/>
                      <a:pt x="1240" y="358"/>
                      <a:pt x="1240" y="358"/>
                    </a:cubicBezTo>
                    <a:cubicBezTo>
                      <a:pt x="1241" y="354"/>
                      <a:pt x="1241" y="354"/>
                      <a:pt x="1241" y="354"/>
                    </a:cubicBezTo>
                    <a:cubicBezTo>
                      <a:pt x="1245" y="350"/>
                      <a:pt x="1245" y="350"/>
                      <a:pt x="1245" y="350"/>
                    </a:cubicBezTo>
                    <a:cubicBezTo>
                      <a:pt x="1241" y="351"/>
                      <a:pt x="1241" y="351"/>
                      <a:pt x="1241" y="351"/>
                    </a:cubicBezTo>
                    <a:cubicBezTo>
                      <a:pt x="1238" y="354"/>
                      <a:pt x="1238" y="354"/>
                      <a:pt x="1238" y="354"/>
                    </a:cubicBezTo>
                    <a:cubicBezTo>
                      <a:pt x="1237" y="359"/>
                      <a:pt x="1237" y="359"/>
                      <a:pt x="1237" y="359"/>
                    </a:cubicBezTo>
                    <a:cubicBezTo>
                      <a:pt x="1239" y="362"/>
                      <a:pt x="1239" y="362"/>
                      <a:pt x="1239" y="362"/>
                    </a:cubicBezTo>
                    <a:cubicBezTo>
                      <a:pt x="1235" y="368"/>
                      <a:pt x="1235" y="368"/>
                      <a:pt x="1235" y="368"/>
                    </a:cubicBezTo>
                    <a:cubicBezTo>
                      <a:pt x="1232" y="369"/>
                      <a:pt x="1232" y="369"/>
                      <a:pt x="1232" y="369"/>
                    </a:cubicBezTo>
                    <a:cubicBezTo>
                      <a:pt x="1229" y="367"/>
                      <a:pt x="1229" y="367"/>
                      <a:pt x="1229" y="367"/>
                    </a:cubicBezTo>
                    <a:cubicBezTo>
                      <a:pt x="1229" y="364"/>
                      <a:pt x="1229" y="364"/>
                      <a:pt x="1229" y="364"/>
                    </a:cubicBezTo>
                    <a:cubicBezTo>
                      <a:pt x="1228" y="362"/>
                      <a:pt x="1228" y="362"/>
                      <a:pt x="1228" y="362"/>
                    </a:cubicBezTo>
                    <a:cubicBezTo>
                      <a:pt x="1228" y="360"/>
                      <a:pt x="1228" y="360"/>
                      <a:pt x="1228" y="360"/>
                    </a:cubicBezTo>
                    <a:cubicBezTo>
                      <a:pt x="1230" y="357"/>
                      <a:pt x="1230" y="357"/>
                      <a:pt x="1230" y="357"/>
                    </a:cubicBezTo>
                    <a:cubicBezTo>
                      <a:pt x="1230" y="355"/>
                      <a:pt x="1230" y="355"/>
                      <a:pt x="1230" y="355"/>
                    </a:cubicBezTo>
                    <a:cubicBezTo>
                      <a:pt x="1229" y="351"/>
                      <a:pt x="1229" y="351"/>
                      <a:pt x="1229" y="351"/>
                    </a:cubicBezTo>
                    <a:cubicBezTo>
                      <a:pt x="1228" y="351"/>
                      <a:pt x="1228" y="351"/>
                      <a:pt x="1228" y="351"/>
                    </a:cubicBezTo>
                    <a:cubicBezTo>
                      <a:pt x="1227" y="352"/>
                      <a:pt x="1227" y="352"/>
                      <a:pt x="1227" y="352"/>
                    </a:cubicBezTo>
                    <a:cubicBezTo>
                      <a:pt x="1226" y="356"/>
                      <a:pt x="1226" y="356"/>
                      <a:pt x="1226" y="356"/>
                    </a:cubicBezTo>
                    <a:cubicBezTo>
                      <a:pt x="1224" y="358"/>
                      <a:pt x="1224" y="358"/>
                      <a:pt x="1224" y="358"/>
                    </a:cubicBezTo>
                    <a:cubicBezTo>
                      <a:pt x="1224" y="361"/>
                      <a:pt x="1224" y="361"/>
                      <a:pt x="1224" y="361"/>
                    </a:cubicBezTo>
                    <a:cubicBezTo>
                      <a:pt x="1223" y="362"/>
                      <a:pt x="1223" y="362"/>
                      <a:pt x="1223" y="362"/>
                    </a:cubicBezTo>
                    <a:cubicBezTo>
                      <a:pt x="1220" y="363"/>
                      <a:pt x="1220" y="363"/>
                      <a:pt x="1220" y="363"/>
                    </a:cubicBezTo>
                    <a:cubicBezTo>
                      <a:pt x="1219" y="364"/>
                      <a:pt x="1219" y="364"/>
                      <a:pt x="1219" y="364"/>
                    </a:cubicBezTo>
                    <a:cubicBezTo>
                      <a:pt x="1217" y="364"/>
                      <a:pt x="1217" y="364"/>
                      <a:pt x="1217" y="364"/>
                    </a:cubicBezTo>
                    <a:close/>
                    <a:moveTo>
                      <a:pt x="1321" y="914"/>
                    </a:moveTo>
                    <a:cubicBezTo>
                      <a:pt x="1320" y="920"/>
                      <a:pt x="1320" y="920"/>
                      <a:pt x="1320" y="920"/>
                    </a:cubicBezTo>
                    <a:cubicBezTo>
                      <a:pt x="1319" y="924"/>
                      <a:pt x="1319" y="924"/>
                      <a:pt x="1319" y="924"/>
                    </a:cubicBezTo>
                    <a:cubicBezTo>
                      <a:pt x="1321" y="927"/>
                      <a:pt x="1321" y="927"/>
                      <a:pt x="1321" y="927"/>
                    </a:cubicBezTo>
                    <a:cubicBezTo>
                      <a:pt x="1322" y="926"/>
                      <a:pt x="1322" y="926"/>
                      <a:pt x="1322" y="926"/>
                    </a:cubicBezTo>
                    <a:cubicBezTo>
                      <a:pt x="1321" y="923"/>
                      <a:pt x="1321" y="923"/>
                      <a:pt x="1321" y="923"/>
                    </a:cubicBezTo>
                    <a:cubicBezTo>
                      <a:pt x="1322" y="919"/>
                      <a:pt x="1322" y="919"/>
                      <a:pt x="1322" y="919"/>
                    </a:cubicBezTo>
                    <a:cubicBezTo>
                      <a:pt x="1322" y="915"/>
                      <a:pt x="1322" y="915"/>
                      <a:pt x="1322" y="915"/>
                    </a:cubicBezTo>
                    <a:cubicBezTo>
                      <a:pt x="1321" y="914"/>
                      <a:pt x="1321" y="914"/>
                      <a:pt x="1321" y="914"/>
                    </a:cubicBezTo>
                    <a:close/>
                    <a:moveTo>
                      <a:pt x="1317" y="894"/>
                    </a:moveTo>
                    <a:cubicBezTo>
                      <a:pt x="1316" y="893"/>
                      <a:pt x="1316" y="893"/>
                      <a:pt x="1316" y="893"/>
                    </a:cubicBezTo>
                    <a:cubicBezTo>
                      <a:pt x="1317" y="891"/>
                      <a:pt x="1317" y="891"/>
                      <a:pt x="1317" y="891"/>
                    </a:cubicBezTo>
                    <a:cubicBezTo>
                      <a:pt x="1318" y="892"/>
                      <a:pt x="1318" y="892"/>
                      <a:pt x="1318" y="892"/>
                    </a:cubicBezTo>
                    <a:cubicBezTo>
                      <a:pt x="1318" y="895"/>
                      <a:pt x="1318" y="895"/>
                      <a:pt x="1318" y="895"/>
                    </a:cubicBezTo>
                    <a:cubicBezTo>
                      <a:pt x="1317" y="894"/>
                      <a:pt x="1317" y="894"/>
                      <a:pt x="1317" y="894"/>
                    </a:cubicBezTo>
                    <a:close/>
                    <a:moveTo>
                      <a:pt x="1311" y="883"/>
                    </a:moveTo>
                    <a:cubicBezTo>
                      <a:pt x="1314" y="879"/>
                      <a:pt x="1314" y="879"/>
                      <a:pt x="1314" y="879"/>
                    </a:cubicBezTo>
                    <a:cubicBezTo>
                      <a:pt x="1317" y="877"/>
                      <a:pt x="1317" y="877"/>
                      <a:pt x="1317" y="877"/>
                    </a:cubicBezTo>
                    <a:cubicBezTo>
                      <a:pt x="1317" y="880"/>
                      <a:pt x="1317" y="880"/>
                      <a:pt x="1317" y="880"/>
                    </a:cubicBezTo>
                    <a:cubicBezTo>
                      <a:pt x="1314" y="882"/>
                      <a:pt x="1314" y="882"/>
                      <a:pt x="1314" y="882"/>
                    </a:cubicBezTo>
                    <a:cubicBezTo>
                      <a:pt x="1313" y="883"/>
                      <a:pt x="1313" y="883"/>
                      <a:pt x="1313" y="883"/>
                    </a:cubicBezTo>
                    <a:cubicBezTo>
                      <a:pt x="1311" y="883"/>
                      <a:pt x="1311" y="883"/>
                      <a:pt x="1311" y="883"/>
                    </a:cubicBezTo>
                    <a:close/>
                    <a:moveTo>
                      <a:pt x="1281" y="606"/>
                    </a:moveTo>
                    <a:cubicBezTo>
                      <a:pt x="1281" y="603"/>
                      <a:pt x="1281" y="603"/>
                      <a:pt x="1281" y="603"/>
                    </a:cubicBezTo>
                    <a:cubicBezTo>
                      <a:pt x="1282" y="602"/>
                      <a:pt x="1282" y="602"/>
                      <a:pt x="1282" y="602"/>
                    </a:cubicBezTo>
                    <a:cubicBezTo>
                      <a:pt x="1282" y="605"/>
                      <a:pt x="1282" y="605"/>
                      <a:pt x="1282" y="605"/>
                    </a:cubicBezTo>
                    <a:cubicBezTo>
                      <a:pt x="1281" y="606"/>
                      <a:pt x="1281" y="606"/>
                      <a:pt x="1281" y="606"/>
                    </a:cubicBezTo>
                    <a:close/>
                    <a:moveTo>
                      <a:pt x="1286" y="609"/>
                    </a:moveTo>
                    <a:cubicBezTo>
                      <a:pt x="1285" y="607"/>
                      <a:pt x="1285" y="607"/>
                      <a:pt x="1285" y="607"/>
                    </a:cubicBezTo>
                    <a:cubicBezTo>
                      <a:pt x="1285" y="605"/>
                      <a:pt x="1285" y="605"/>
                      <a:pt x="1285" y="605"/>
                    </a:cubicBezTo>
                    <a:cubicBezTo>
                      <a:pt x="1287" y="603"/>
                      <a:pt x="1287" y="603"/>
                      <a:pt x="1287" y="603"/>
                    </a:cubicBezTo>
                    <a:cubicBezTo>
                      <a:pt x="1289" y="606"/>
                      <a:pt x="1289" y="606"/>
                      <a:pt x="1289" y="606"/>
                    </a:cubicBezTo>
                    <a:cubicBezTo>
                      <a:pt x="1288" y="609"/>
                      <a:pt x="1288" y="609"/>
                      <a:pt x="1288" y="609"/>
                    </a:cubicBezTo>
                    <a:cubicBezTo>
                      <a:pt x="1286" y="609"/>
                      <a:pt x="1286" y="609"/>
                      <a:pt x="1286" y="609"/>
                    </a:cubicBezTo>
                    <a:close/>
                    <a:moveTo>
                      <a:pt x="1280" y="619"/>
                    </a:moveTo>
                    <a:cubicBezTo>
                      <a:pt x="1278" y="616"/>
                      <a:pt x="1278" y="616"/>
                      <a:pt x="1278" y="616"/>
                    </a:cubicBezTo>
                    <a:cubicBezTo>
                      <a:pt x="1279" y="614"/>
                      <a:pt x="1279" y="614"/>
                      <a:pt x="1279" y="614"/>
                    </a:cubicBezTo>
                    <a:cubicBezTo>
                      <a:pt x="1279" y="610"/>
                      <a:pt x="1279" y="610"/>
                      <a:pt x="1279" y="610"/>
                    </a:cubicBezTo>
                    <a:cubicBezTo>
                      <a:pt x="1281" y="609"/>
                      <a:pt x="1281" y="609"/>
                      <a:pt x="1281" y="609"/>
                    </a:cubicBezTo>
                    <a:cubicBezTo>
                      <a:pt x="1282" y="612"/>
                      <a:pt x="1282" y="612"/>
                      <a:pt x="1282" y="612"/>
                    </a:cubicBezTo>
                    <a:cubicBezTo>
                      <a:pt x="1283" y="611"/>
                      <a:pt x="1283" y="611"/>
                      <a:pt x="1283" y="611"/>
                    </a:cubicBezTo>
                    <a:cubicBezTo>
                      <a:pt x="1285" y="613"/>
                      <a:pt x="1285" y="613"/>
                      <a:pt x="1285" y="613"/>
                    </a:cubicBezTo>
                    <a:cubicBezTo>
                      <a:pt x="1282" y="615"/>
                      <a:pt x="1282" y="615"/>
                      <a:pt x="1282" y="615"/>
                    </a:cubicBezTo>
                    <a:cubicBezTo>
                      <a:pt x="1281" y="618"/>
                      <a:pt x="1281" y="618"/>
                      <a:pt x="1281" y="618"/>
                    </a:cubicBezTo>
                    <a:cubicBezTo>
                      <a:pt x="1280" y="619"/>
                      <a:pt x="1280" y="619"/>
                      <a:pt x="1280" y="619"/>
                    </a:cubicBezTo>
                    <a:close/>
                    <a:moveTo>
                      <a:pt x="1338" y="701"/>
                    </a:moveTo>
                    <a:cubicBezTo>
                      <a:pt x="1340" y="699"/>
                      <a:pt x="1340" y="699"/>
                      <a:pt x="1340" y="699"/>
                    </a:cubicBezTo>
                    <a:cubicBezTo>
                      <a:pt x="1343" y="700"/>
                      <a:pt x="1343" y="700"/>
                      <a:pt x="1343" y="700"/>
                    </a:cubicBezTo>
                    <a:cubicBezTo>
                      <a:pt x="1341" y="702"/>
                      <a:pt x="1341" y="702"/>
                      <a:pt x="1341" y="702"/>
                    </a:cubicBezTo>
                    <a:cubicBezTo>
                      <a:pt x="1338" y="702"/>
                      <a:pt x="1338" y="702"/>
                      <a:pt x="1338" y="702"/>
                    </a:cubicBezTo>
                    <a:cubicBezTo>
                      <a:pt x="1338" y="701"/>
                      <a:pt x="1338" y="701"/>
                      <a:pt x="1338" y="701"/>
                    </a:cubicBezTo>
                    <a:close/>
                    <a:moveTo>
                      <a:pt x="1331" y="700"/>
                    </a:moveTo>
                    <a:cubicBezTo>
                      <a:pt x="1331" y="698"/>
                      <a:pt x="1331" y="698"/>
                      <a:pt x="1331" y="698"/>
                    </a:cubicBezTo>
                    <a:cubicBezTo>
                      <a:pt x="1335" y="697"/>
                      <a:pt x="1335" y="697"/>
                      <a:pt x="1335" y="697"/>
                    </a:cubicBezTo>
                    <a:cubicBezTo>
                      <a:pt x="1336" y="696"/>
                      <a:pt x="1336" y="696"/>
                      <a:pt x="1336" y="696"/>
                    </a:cubicBezTo>
                    <a:cubicBezTo>
                      <a:pt x="1337" y="698"/>
                      <a:pt x="1337" y="698"/>
                      <a:pt x="1337" y="698"/>
                    </a:cubicBezTo>
                    <a:cubicBezTo>
                      <a:pt x="1334" y="701"/>
                      <a:pt x="1334" y="701"/>
                      <a:pt x="1334" y="701"/>
                    </a:cubicBezTo>
                    <a:cubicBezTo>
                      <a:pt x="1332" y="701"/>
                      <a:pt x="1332" y="701"/>
                      <a:pt x="1332" y="701"/>
                    </a:cubicBezTo>
                    <a:cubicBezTo>
                      <a:pt x="1331" y="700"/>
                      <a:pt x="1331" y="700"/>
                      <a:pt x="1331" y="700"/>
                    </a:cubicBezTo>
                    <a:close/>
                    <a:moveTo>
                      <a:pt x="1319" y="738"/>
                    </a:moveTo>
                    <a:cubicBezTo>
                      <a:pt x="1322" y="740"/>
                      <a:pt x="1322" y="740"/>
                      <a:pt x="1322" y="740"/>
                    </a:cubicBezTo>
                    <a:cubicBezTo>
                      <a:pt x="1324" y="739"/>
                      <a:pt x="1324" y="739"/>
                      <a:pt x="1324" y="739"/>
                    </a:cubicBezTo>
                    <a:cubicBezTo>
                      <a:pt x="1322" y="738"/>
                      <a:pt x="1322" y="738"/>
                      <a:pt x="1322" y="738"/>
                    </a:cubicBezTo>
                    <a:cubicBezTo>
                      <a:pt x="1319" y="738"/>
                      <a:pt x="1319" y="738"/>
                      <a:pt x="1319" y="738"/>
                    </a:cubicBezTo>
                    <a:close/>
                    <a:moveTo>
                      <a:pt x="1335" y="755"/>
                    </a:moveTo>
                    <a:cubicBezTo>
                      <a:pt x="1339" y="757"/>
                      <a:pt x="1339" y="757"/>
                      <a:pt x="1339" y="757"/>
                    </a:cubicBezTo>
                    <a:cubicBezTo>
                      <a:pt x="1340" y="756"/>
                      <a:pt x="1340" y="756"/>
                      <a:pt x="1340" y="756"/>
                    </a:cubicBezTo>
                    <a:cubicBezTo>
                      <a:pt x="1339" y="754"/>
                      <a:pt x="1339" y="754"/>
                      <a:pt x="1339" y="754"/>
                    </a:cubicBezTo>
                    <a:cubicBezTo>
                      <a:pt x="1337" y="754"/>
                      <a:pt x="1337" y="754"/>
                      <a:pt x="1337" y="754"/>
                    </a:cubicBezTo>
                    <a:cubicBezTo>
                      <a:pt x="1335" y="755"/>
                      <a:pt x="1335" y="755"/>
                      <a:pt x="1335" y="755"/>
                    </a:cubicBezTo>
                    <a:close/>
                    <a:moveTo>
                      <a:pt x="1365" y="783"/>
                    </a:moveTo>
                    <a:cubicBezTo>
                      <a:pt x="1364" y="779"/>
                      <a:pt x="1364" y="779"/>
                      <a:pt x="1364" y="779"/>
                    </a:cubicBezTo>
                    <a:cubicBezTo>
                      <a:pt x="1366" y="777"/>
                      <a:pt x="1366" y="777"/>
                      <a:pt x="1366" y="777"/>
                    </a:cubicBezTo>
                    <a:cubicBezTo>
                      <a:pt x="1369" y="779"/>
                      <a:pt x="1369" y="779"/>
                      <a:pt x="1369" y="779"/>
                    </a:cubicBezTo>
                    <a:cubicBezTo>
                      <a:pt x="1369" y="782"/>
                      <a:pt x="1369" y="782"/>
                      <a:pt x="1369" y="782"/>
                    </a:cubicBezTo>
                    <a:cubicBezTo>
                      <a:pt x="1367" y="783"/>
                      <a:pt x="1367" y="783"/>
                      <a:pt x="1367" y="783"/>
                    </a:cubicBezTo>
                    <a:cubicBezTo>
                      <a:pt x="1365" y="783"/>
                      <a:pt x="1365" y="783"/>
                      <a:pt x="1365" y="783"/>
                    </a:cubicBezTo>
                    <a:close/>
                    <a:moveTo>
                      <a:pt x="1380" y="801"/>
                    </a:moveTo>
                    <a:cubicBezTo>
                      <a:pt x="1380" y="797"/>
                      <a:pt x="1380" y="797"/>
                      <a:pt x="1380" y="797"/>
                    </a:cubicBezTo>
                    <a:cubicBezTo>
                      <a:pt x="1383" y="796"/>
                      <a:pt x="1383" y="796"/>
                      <a:pt x="1383" y="796"/>
                    </a:cubicBezTo>
                    <a:cubicBezTo>
                      <a:pt x="1384" y="795"/>
                      <a:pt x="1384" y="795"/>
                      <a:pt x="1384" y="795"/>
                    </a:cubicBezTo>
                    <a:cubicBezTo>
                      <a:pt x="1386" y="796"/>
                      <a:pt x="1386" y="796"/>
                      <a:pt x="1386" y="796"/>
                    </a:cubicBezTo>
                    <a:cubicBezTo>
                      <a:pt x="1384" y="799"/>
                      <a:pt x="1384" y="799"/>
                      <a:pt x="1384" y="799"/>
                    </a:cubicBezTo>
                    <a:cubicBezTo>
                      <a:pt x="1381" y="800"/>
                      <a:pt x="1381" y="800"/>
                      <a:pt x="1381" y="800"/>
                    </a:cubicBezTo>
                    <a:cubicBezTo>
                      <a:pt x="1380" y="801"/>
                      <a:pt x="1380" y="801"/>
                      <a:pt x="1380" y="801"/>
                    </a:cubicBezTo>
                    <a:close/>
                    <a:moveTo>
                      <a:pt x="1274" y="405"/>
                    </a:moveTo>
                    <a:cubicBezTo>
                      <a:pt x="1273" y="401"/>
                      <a:pt x="1273" y="401"/>
                      <a:pt x="1273" y="401"/>
                    </a:cubicBezTo>
                    <a:cubicBezTo>
                      <a:pt x="1275" y="400"/>
                      <a:pt x="1275" y="400"/>
                      <a:pt x="1275" y="400"/>
                    </a:cubicBezTo>
                    <a:cubicBezTo>
                      <a:pt x="1278" y="396"/>
                      <a:pt x="1278" y="396"/>
                      <a:pt x="1278" y="396"/>
                    </a:cubicBezTo>
                    <a:cubicBezTo>
                      <a:pt x="1286" y="391"/>
                      <a:pt x="1286" y="391"/>
                      <a:pt x="1286" y="391"/>
                    </a:cubicBezTo>
                    <a:cubicBezTo>
                      <a:pt x="1290" y="390"/>
                      <a:pt x="1290" y="390"/>
                      <a:pt x="1290" y="390"/>
                    </a:cubicBezTo>
                    <a:cubicBezTo>
                      <a:pt x="1287" y="394"/>
                      <a:pt x="1287" y="394"/>
                      <a:pt x="1287" y="394"/>
                    </a:cubicBezTo>
                    <a:cubicBezTo>
                      <a:pt x="1282" y="398"/>
                      <a:pt x="1282" y="398"/>
                      <a:pt x="1282" y="398"/>
                    </a:cubicBezTo>
                    <a:cubicBezTo>
                      <a:pt x="1281" y="401"/>
                      <a:pt x="1281" y="401"/>
                      <a:pt x="1281" y="401"/>
                    </a:cubicBezTo>
                    <a:cubicBezTo>
                      <a:pt x="1282" y="403"/>
                      <a:pt x="1282" y="403"/>
                      <a:pt x="1282" y="403"/>
                    </a:cubicBezTo>
                    <a:cubicBezTo>
                      <a:pt x="1282" y="405"/>
                      <a:pt x="1282" y="405"/>
                      <a:pt x="1282" y="405"/>
                    </a:cubicBezTo>
                    <a:cubicBezTo>
                      <a:pt x="1280" y="405"/>
                      <a:pt x="1280" y="405"/>
                      <a:pt x="1280" y="405"/>
                    </a:cubicBezTo>
                    <a:cubicBezTo>
                      <a:pt x="1278" y="402"/>
                      <a:pt x="1278" y="402"/>
                      <a:pt x="1278" y="402"/>
                    </a:cubicBezTo>
                    <a:cubicBezTo>
                      <a:pt x="1276" y="404"/>
                      <a:pt x="1276" y="404"/>
                      <a:pt x="1276" y="404"/>
                    </a:cubicBezTo>
                    <a:cubicBezTo>
                      <a:pt x="1275" y="405"/>
                      <a:pt x="1275" y="405"/>
                      <a:pt x="1275" y="405"/>
                    </a:cubicBezTo>
                    <a:cubicBezTo>
                      <a:pt x="1274" y="405"/>
                      <a:pt x="1274" y="405"/>
                      <a:pt x="1274" y="405"/>
                    </a:cubicBezTo>
                    <a:close/>
                    <a:moveTo>
                      <a:pt x="1255" y="388"/>
                    </a:moveTo>
                    <a:cubicBezTo>
                      <a:pt x="1256" y="389"/>
                      <a:pt x="1256" y="389"/>
                      <a:pt x="1256" y="389"/>
                    </a:cubicBezTo>
                    <a:cubicBezTo>
                      <a:pt x="1258" y="390"/>
                      <a:pt x="1258" y="390"/>
                      <a:pt x="1258" y="390"/>
                    </a:cubicBezTo>
                    <a:cubicBezTo>
                      <a:pt x="1259" y="387"/>
                      <a:pt x="1259" y="387"/>
                      <a:pt x="1259" y="387"/>
                    </a:cubicBezTo>
                    <a:cubicBezTo>
                      <a:pt x="1258" y="386"/>
                      <a:pt x="1258" y="386"/>
                      <a:pt x="1258" y="386"/>
                    </a:cubicBezTo>
                    <a:cubicBezTo>
                      <a:pt x="1255" y="388"/>
                      <a:pt x="1255" y="388"/>
                      <a:pt x="1255" y="388"/>
                    </a:cubicBezTo>
                    <a:close/>
                    <a:moveTo>
                      <a:pt x="1151" y="343"/>
                    </a:moveTo>
                    <a:cubicBezTo>
                      <a:pt x="1146" y="342"/>
                      <a:pt x="1146" y="342"/>
                      <a:pt x="1146" y="342"/>
                    </a:cubicBezTo>
                    <a:cubicBezTo>
                      <a:pt x="1146" y="338"/>
                      <a:pt x="1146" y="338"/>
                      <a:pt x="1146" y="338"/>
                    </a:cubicBezTo>
                    <a:cubicBezTo>
                      <a:pt x="1147" y="331"/>
                      <a:pt x="1147" y="331"/>
                      <a:pt x="1147" y="331"/>
                    </a:cubicBezTo>
                    <a:cubicBezTo>
                      <a:pt x="1145" y="329"/>
                      <a:pt x="1145" y="329"/>
                      <a:pt x="1145" y="329"/>
                    </a:cubicBezTo>
                    <a:cubicBezTo>
                      <a:pt x="1145" y="325"/>
                      <a:pt x="1145" y="325"/>
                      <a:pt x="1145" y="325"/>
                    </a:cubicBezTo>
                    <a:cubicBezTo>
                      <a:pt x="1144" y="324"/>
                      <a:pt x="1144" y="324"/>
                      <a:pt x="1144" y="324"/>
                    </a:cubicBezTo>
                    <a:cubicBezTo>
                      <a:pt x="1148" y="323"/>
                      <a:pt x="1148" y="323"/>
                      <a:pt x="1148" y="323"/>
                    </a:cubicBezTo>
                    <a:cubicBezTo>
                      <a:pt x="1154" y="325"/>
                      <a:pt x="1154" y="325"/>
                      <a:pt x="1154" y="325"/>
                    </a:cubicBezTo>
                    <a:cubicBezTo>
                      <a:pt x="1154" y="329"/>
                      <a:pt x="1154" y="329"/>
                      <a:pt x="1154" y="329"/>
                    </a:cubicBezTo>
                    <a:cubicBezTo>
                      <a:pt x="1152" y="337"/>
                      <a:pt x="1152" y="337"/>
                      <a:pt x="1152" y="337"/>
                    </a:cubicBezTo>
                    <a:cubicBezTo>
                      <a:pt x="1151" y="339"/>
                      <a:pt x="1151" y="339"/>
                      <a:pt x="1151" y="339"/>
                    </a:cubicBezTo>
                    <a:cubicBezTo>
                      <a:pt x="1152" y="340"/>
                      <a:pt x="1152" y="340"/>
                      <a:pt x="1152" y="340"/>
                    </a:cubicBezTo>
                    <a:cubicBezTo>
                      <a:pt x="1153" y="343"/>
                      <a:pt x="1153" y="343"/>
                      <a:pt x="1153" y="343"/>
                    </a:cubicBezTo>
                    <a:cubicBezTo>
                      <a:pt x="1151" y="343"/>
                      <a:pt x="1151" y="343"/>
                      <a:pt x="1151" y="343"/>
                    </a:cubicBezTo>
                    <a:close/>
                    <a:moveTo>
                      <a:pt x="1150" y="138"/>
                    </a:moveTo>
                    <a:cubicBezTo>
                      <a:pt x="1154" y="134"/>
                      <a:pt x="1154" y="134"/>
                      <a:pt x="1154" y="134"/>
                    </a:cubicBezTo>
                    <a:cubicBezTo>
                      <a:pt x="1156" y="129"/>
                      <a:pt x="1156" y="129"/>
                      <a:pt x="1156" y="129"/>
                    </a:cubicBezTo>
                    <a:cubicBezTo>
                      <a:pt x="1157" y="126"/>
                      <a:pt x="1157" y="126"/>
                      <a:pt x="1157" y="126"/>
                    </a:cubicBezTo>
                    <a:cubicBezTo>
                      <a:pt x="1161" y="123"/>
                      <a:pt x="1161" y="123"/>
                      <a:pt x="1161" y="123"/>
                    </a:cubicBezTo>
                    <a:cubicBezTo>
                      <a:pt x="1164" y="118"/>
                      <a:pt x="1164" y="118"/>
                      <a:pt x="1164" y="118"/>
                    </a:cubicBezTo>
                    <a:cubicBezTo>
                      <a:pt x="1163" y="116"/>
                      <a:pt x="1163" y="116"/>
                      <a:pt x="1163" y="116"/>
                    </a:cubicBezTo>
                    <a:cubicBezTo>
                      <a:pt x="1158" y="115"/>
                      <a:pt x="1158" y="115"/>
                      <a:pt x="1158" y="115"/>
                    </a:cubicBezTo>
                    <a:cubicBezTo>
                      <a:pt x="1155" y="114"/>
                      <a:pt x="1155" y="114"/>
                      <a:pt x="1155" y="114"/>
                    </a:cubicBezTo>
                    <a:cubicBezTo>
                      <a:pt x="1157" y="110"/>
                      <a:pt x="1157" y="110"/>
                      <a:pt x="1157" y="110"/>
                    </a:cubicBezTo>
                    <a:cubicBezTo>
                      <a:pt x="1156" y="111"/>
                      <a:pt x="1156" y="111"/>
                      <a:pt x="1156" y="111"/>
                    </a:cubicBezTo>
                    <a:cubicBezTo>
                      <a:pt x="1151" y="115"/>
                      <a:pt x="1151" y="115"/>
                      <a:pt x="1151" y="115"/>
                    </a:cubicBezTo>
                    <a:cubicBezTo>
                      <a:pt x="1145" y="116"/>
                      <a:pt x="1145" y="116"/>
                      <a:pt x="1145" y="116"/>
                    </a:cubicBezTo>
                    <a:cubicBezTo>
                      <a:pt x="1145" y="119"/>
                      <a:pt x="1145" y="119"/>
                      <a:pt x="1145" y="119"/>
                    </a:cubicBezTo>
                    <a:cubicBezTo>
                      <a:pt x="1142" y="121"/>
                      <a:pt x="1142" y="121"/>
                      <a:pt x="1142" y="121"/>
                    </a:cubicBezTo>
                    <a:cubicBezTo>
                      <a:pt x="1142" y="124"/>
                      <a:pt x="1142" y="124"/>
                      <a:pt x="1142" y="124"/>
                    </a:cubicBezTo>
                    <a:cubicBezTo>
                      <a:pt x="1147" y="125"/>
                      <a:pt x="1147" y="125"/>
                      <a:pt x="1147" y="125"/>
                    </a:cubicBezTo>
                    <a:cubicBezTo>
                      <a:pt x="1150" y="124"/>
                      <a:pt x="1150" y="124"/>
                      <a:pt x="1150" y="124"/>
                    </a:cubicBezTo>
                    <a:cubicBezTo>
                      <a:pt x="1150" y="128"/>
                      <a:pt x="1150" y="128"/>
                      <a:pt x="1150" y="128"/>
                    </a:cubicBezTo>
                    <a:cubicBezTo>
                      <a:pt x="1147" y="131"/>
                      <a:pt x="1147" y="131"/>
                      <a:pt x="1147" y="131"/>
                    </a:cubicBezTo>
                    <a:cubicBezTo>
                      <a:pt x="1147" y="134"/>
                      <a:pt x="1147" y="134"/>
                      <a:pt x="1147" y="134"/>
                    </a:cubicBezTo>
                    <a:cubicBezTo>
                      <a:pt x="1149" y="135"/>
                      <a:pt x="1149" y="135"/>
                      <a:pt x="1149" y="135"/>
                    </a:cubicBezTo>
                    <a:cubicBezTo>
                      <a:pt x="1150" y="138"/>
                      <a:pt x="1150" y="138"/>
                      <a:pt x="1150" y="138"/>
                    </a:cubicBezTo>
                    <a:close/>
                    <a:moveTo>
                      <a:pt x="1100" y="249"/>
                    </a:moveTo>
                    <a:cubicBezTo>
                      <a:pt x="1100" y="245"/>
                      <a:pt x="1100" y="245"/>
                      <a:pt x="1100" y="245"/>
                    </a:cubicBezTo>
                    <a:cubicBezTo>
                      <a:pt x="1102" y="242"/>
                      <a:pt x="1102" y="242"/>
                      <a:pt x="1102" y="242"/>
                    </a:cubicBezTo>
                    <a:cubicBezTo>
                      <a:pt x="1100" y="240"/>
                      <a:pt x="1100" y="240"/>
                      <a:pt x="1100" y="240"/>
                    </a:cubicBezTo>
                    <a:cubicBezTo>
                      <a:pt x="1100" y="236"/>
                      <a:pt x="1100" y="236"/>
                      <a:pt x="1100" y="236"/>
                    </a:cubicBezTo>
                    <a:cubicBezTo>
                      <a:pt x="1097" y="234"/>
                      <a:pt x="1097" y="234"/>
                      <a:pt x="1097" y="234"/>
                    </a:cubicBezTo>
                    <a:cubicBezTo>
                      <a:pt x="1098" y="232"/>
                      <a:pt x="1098" y="232"/>
                      <a:pt x="1098" y="232"/>
                    </a:cubicBezTo>
                    <a:cubicBezTo>
                      <a:pt x="1099" y="229"/>
                      <a:pt x="1099" y="229"/>
                      <a:pt x="1099" y="229"/>
                    </a:cubicBezTo>
                    <a:cubicBezTo>
                      <a:pt x="1104" y="230"/>
                      <a:pt x="1104" y="230"/>
                      <a:pt x="1104" y="230"/>
                    </a:cubicBezTo>
                    <a:cubicBezTo>
                      <a:pt x="1107" y="233"/>
                      <a:pt x="1107" y="233"/>
                      <a:pt x="1107" y="233"/>
                    </a:cubicBezTo>
                    <a:cubicBezTo>
                      <a:pt x="1109" y="233"/>
                      <a:pt x="1109" y="233"/>
                      <a:pt x="1109" y="233"/>
                    </a:cubicBezTo>
                    <a:cubicBezTo>
                      <a:pt x="1109" y="230"/>
                      <a:pt x="1109" y="230"/>
                      <a:pt x="1109" y="230"/>
                    </a:cubicBezTo>
                    <a:cubicBezTo>
                      <a:pt x="1105" y="224"/>
                      <a:pt x="1105" y="224"/>
                      <a:pt x="1105" y="224"/>
                    </a:cubicBezTo>
                    <a:cubicBezTo>
                      <a:pt x="1102" y="222"/>
                      <a:pt x="1102" y="222"/>
                      <a:pt x="1102" y="222"/>
                    </a:cubicBezTo>
                    <a:cubicBezTo>
                      <a:pt x="1101" y="220"/>
                      <a:pt x="1101" y="220"/>
                      <a:pt x="1101" y="220"/>
                    </a:cubicBezTo>
                    <a:cubicBezTo>
                      <a:pt x="1105" y="220"/>
                      <a:pt x="1105" y="220"/>
                      <a:pt x="1105" y="220"/>
                    </a:cubicBezTo>
                    <a:cubicBezTo>
                      <a:pt x="1103" y="216"/>
                      <a:pt x="1103" y="216"/>
                      <a:pt x="1103" y="216"/>
                    </a:cubicBezTo>
                    <a:cubicBezTo>
                      <a:pt x="1105" y="213"/>
                      <a:pt x="1105" y="213"/>
                      <a:pt x="1105" y="213"/>
                    </a:cubicBezTo>
                    <a:cubicBezTo>
                      <a:pt x="1105" y="207"/>
                      <a:pt x="1105" y="207"/>
                      <a:pt x="1105" y="207"/>
                    </a:cubicBezTo>
                    <a:cubicBezTo>
                      <a:pt x="1107" y="202"/>
                      <a:pt x="1107" y="202"/>
                      <a:pt x="1107" y="202"/>
                    </a:cubicBezTo>
                    <a:cubicBezTo>
                      <a:pt x="1110" y="202"/>
                      <a:pt x="1110" y="202"/>
                      <a:pt x="1110" y="202"/>
                    </a:cubicBezTo>
                    <a:cubicBezTo>
                      <a:pt x="1113" y="200"/>
                      <a:pt x="1113" y="200"/>
                      <a:pt x="1113" y="200"/>
                    </a:cubicBezTo>
                    <a:cubicBezTo>
                      <a:pt x="1113" y="195"/>
                      <a:pt x="1113" y="195"/>
                      <a:pt x="1113" y="195"/>
                    </a:cubicBezTo>
                    <a:cubicBezTo>
                      <a:pt x="1115" y="193"/>
                      <a:pt x="1115" y="193"/>
                      <a:pt x="1115" y="193"/>
                    </a:cubicBezTo>
                    <a:cubicBezTo>
                      <a:pt x="1120" y="189"/>
                      <a:pt x="1120" y="189"/>
                      <a:pt x="1120" y="189"/>
                    </a:cubicBezTo>
                    <a:cubicBezTo>
                      <a:pt x="1124" y="189"/>
                      <a:pt x="1124" y="189"/>
                      <a:pt x="1124" y="189"/>
                    </a:cubicBezTo>
                    <a:cubicBezTo>
                      <a:pt x="1129" y="195"/>
                      <a:pt x="1129" y="195"/>
                      <a:pt x="1129" y="195"/>
                    </a:cubicBezTo>
                    <a:cubicBezTo>
                      <a:pt x="1130" y="199"/>
                      <a:pt x="1130" y="199"/>
                      <a:pt x="1130" y="199"/>
                    </a:cubicBezTo>
                    <a:cubicBezTo>
                      <a:pt x="1130" y="201"/>
                      <a:pt x="1130" y="201"/>
                      <a:pt x="1130" y="201"/>
                    </a:cubicBezTo>
                    <a:cubicBezTo>
                      <a:pt x="1131" y="204"/>
                      <a:pt x="1131" y="204"/>
                      <a:pt x="1131" y="204"/>
                    </a:cubicBezTo>
                    <a:cubicBezTo>
                      <a:pt x="1133" y="205"/>
                      <a:pt x="1133" y="205"/>
                      <a:pt x="1133" y="205"/>
                    </a:cubicBezTo>
                    <a:cubicBezTo>
                      <a:pt x="1133" y="209"/>
                      <a:pt x="1133" y="209"/>
                      <a:pt x="1133" y="209"/>
                    </a:cubicBezTo>
                    <a:cubicBezTo>
                      <a:pt x="1136" y="210"/>
                      <a:pt x="1136" y="210"/>
                      <a:pt x="1136" y="210"/>
                    </a:cubicBezTo>
                    <a:cubicBezTo>
                      <a:pt x="1136" y="212"/>
                      <a:pt x="1136" y="212"/>
                      <a:pt x="1136" y="212"/>
                    </a:cubicBezTo>
                    <a:cubicBezTo>
                      <a:pt x="1138" y="216"/>
                      <a:pt x="1138" y="216"/>
                      <a:pt x="1138" y="216"/>
                    </a:cubicBezTo>
                    <a:cubicBezTo>
                      <a:pt x="1141" y="216"/>
                      <a:pt x="1141" y="216"/>
                      <a:pt x="1141" y="216"/>
                    </a:cubicBezTo>
                    <a:cubicBezTo>
                      <a:pt x="1141" y="218"/>
                      <a:pt x="1141" y="218"/>
                      <a:pt x="1141" y="218"/>
                    </a:cubicBezTo>
                    <a:cubicBezTo>
                      <a:pt x="1143" y="221"/>
                      <a:pt x="1143" y="221"/>
                      <a:pt x="1143" y="221"/>
                    </a:cubicBezTo>
                    <a:cubicBezTo>
                      <a:pt x="1145" y="228"/>
                      <a:pt x="1145" y="228"/>
                      <a:pt x="1145" y="228"/>
                    </a:cubicBezTo>
                    <a:cubicBezTo>
                      <a:pt x="1141" y="231"/>
                      <a:pt x="1141" y="231"/>
                      <a:pt x="1141" y="231"/>
                    </a:cubicBezTo>
                    <a:cubicBezTo>
                      <a:pt x="1139" y="233"/>
                      <a:pt x="1139" y="233"/>
                      <a:pt x="1139" y="233"/>
                    </a:cubicBezTo>
                    <a:cubicBezTo>
                      <a:pt x="1135" y="233"/>
                      <a:pt x="1135" y="233"/>
                      <a:pt x="1135" y="233"/>
                    </a:cubicBezTo>
                    <a:cubicBezTo>
                      <a:pt x="1133" y="234"/>
                      <a:pt x="1133" y="234"/>
                      <a:pt x="1133" y="234"/>
                    </a:cubicBezTo>
                    <a:cubicBezTo>
                      <a:pt x="1135" y="236"/>
                      <a:pt x="1135" y="236"/>
                      <a:pt x="1135" y="236"/>
                    </a:cubicBezTo>
                    <a:cubicBezTo>
                      <a:pt x="1137" y="236"/>
                      <a:pt x="1137" y="236"/>
                      <a:pt x="1137" y="236"/>
                    </a:cubicBezTo>
                    <a:cubicBezTo>
                      <a:pt x="1138" y="242"/>
                      <a:pt x="1138" y="242"/>
                      <a:pt x="1138" y="242"/>
                    </a:cubicBezTo>
                    <a:cubicBezTo>
                      <a:pt x="1137" y="245"/>
                      <a:pt x="1137" y="245"/>
                      <a:pt x="1137" y="245"/>
                    </a:cubicBezTo>
                    <a:cubicBezTo>
                      <a:pt x="1130" y="249"/>
                      <a:pt x="1130" y="249"/>
                      <a:pt x="1130" y="249"/>
                    </a:cubicBezTo>
                    <a:cubicBezTo>
                      <a:pt x="1128" y="251"/>
                      <a:pt x="1128" y="251"/>
                      <a:pt x="1128" y="251"/>
                    </a:cubicBezTo>
                    <a:cubicBezTo>
                      <a:pt x="1126" y="251"/>
                      <a:pt x="1126" y="251"/>
                      <a:pt x="1126" y="251"/>
                    </a:cubicBezTo>
                    <a:cubicBezTo>
                      <a:pt x="1126" y="248"/>
                      <a:pt x="1126" y="248"/>
                      <a:pt x="1126" y="248"/>
                    </a:cubicBezTo>
                    <a:cubicBezTo>
                      <a:pt x="1124" y="247"/>
                      <a:pt x="1124" y="247"/>
                      <a:pt x="1124" y="247"/>
                    </a:cubicBezTo>
                    <a:cubicBezTo>
                      <a:pt x="1120" y="250"/>
                      <a:pt x="1120" y="250"/>
                      <a:pt x="1120" y="250"/>
                    </a:cubicBezTo>
                    <a:cubicBezTo>
                      <a:pt x="1117" y="248"/>
                      <a:pt x="1117" y="248"/>
                      <a:pt x="1117" y="248"/>
                    </a:cubicBezTo>
                    <a:cubicBezTo>
                      <a:pt x="1111" y="250"/>
                      <a:pt x="1111" y="250"/>
                      <a:pt x="1111" y="250"/>
                    </a:cubicBezTo>
                    <a:cubicBezTo>
                      <a:pt x="1108" y="250"/>
                      <a:pt x="1108" y="250"/>
                      <a:pt x="1108" y="250"/>
                    </a:cubicBezTo>
                    <a:cubicBezTo>
                      <a:pt x="1108" y="246"/>
                      <a:pt x="1108" y="246"/>
                      <a:pt x="1108" y="246"/>
                    </a:cubicBezTo>
                    <a:cubicBezTo>
                      <a:pt x="1105" y="245"/>
                      <a:pt x="1105" y="245"/>
                      <a:pt x="1105" y="245"/>
                    </a:cubicBezTo>
                    <a:cubicBezTo>
                      <a:pt x="1104" y="248"/>
                      <a:pt x="1104" y="248"/>
                      <a:pt x="1104" y="248"/>
                    </a:cubicBezTo>
                    <a:cubicBezTo>
                      <a:pt x="1100" y="249"/>
                      <a:pt x="1100" y="249"/>
                      <a:pt x="1100" y="249"/>
                    </a:cubicBezTo>
                    <a:close/>
                    <a:moveTo>
                      <a:pt x="1144" y="244"/>
                    </a:moveTo>
                    <a:cubicBezTo>
                      <a:pt x="1146" y="243"/>
                      <a:pt x="1146" y="243"/>
                      <a:pt x="1146" y="243"/>
                    </a:cubicBezTo>
                    <a:cubicBezTo>
                      <a:pt x="1147" y="240"/>
                      <a:pt x="1147" y="240"/>
                      <a:pt x="1147" y="240"/>
                    </a:cubicBezTo>
                    <a:cubicBezTo>
                      <a:pt x="1146" y="234"/>
                      <a:pt x="1146" y="234"/>
                      <a:pt x="1146" y="234"/>
                    </a:cubicBezTo>
                    <a:cubicBezTo>
                      <a:pt x="1144" y="234"/>
                      <a:pt x="1144" y="234"/>
                      <a:pt x="1144" y="234"/>
                    </a:cubicBezTo>
                    <a:cubicBezTo>
                      <a:pt x="1143" y="236"/>
                      <a:pt x="1143" y="236"/>
                      <a:pt x="1143" y="236"/>
                    </a:cubicBezTo>
                    <a:cubicBezTo>
                      <a:pt x="1143" y="241"/>
                      <a:pt x="1143" y="241"/>
                      <a:pt x="1143" y="241"/>
                    </a:cubicBezTo>
                    <a:cubicBezTo>
                      <a:pt x="1144" y="244"/>
                      <a:pt x="1144" y="244"/>
                      <a:pt x="1144" y="244"/>
                    </a:cubicBezTo>
                    <a:close/>
                    <a:moveTo>
                      <a:pt x="1159" y="300"/>
                    </a:moveTo>
                    <a:cubicBezTo>
                      <a:pt x="1159" y="303"/>
                      <a:pt x="1159" y="303"/>
                      <a:pt x="1159" y="303"/>
                    </a:cubicBezTo>
                    <a:cubicBezTo>
                      <a:pt x="1161" y="305"/>
                      <a:pt x="1161" y="305"/>
                      <a:pt x="1161" y="305"/>
                    </a:cubicBezTo>
                    <a:cubicBezTo>
                      <a:pt x="1166" y="306"/>
                      <a:pt x="1166" y="306"/>
                      <a:pt x="1166" y="306"/>
                    </a:cubicBezTo>
                    <a:cubicBezTo>
                      <a:pt x="1170" y="304"/>
                      <a:pt x="1170" y="304"/>
                      <a:pt x="1170" y="304"/>
                    </a:cubicBezTo>
                    <a:cubicBezTo>
                      <a:pt x="1174" y="298"/>
                      <a:pt x="1174" y="298"/>
                      <a:pt x="1174" y="298"/>
                    </a:cubicBezTo>
                    <a:cubicBezTo>
                      <a:pt x="1174" y="295"/>
                      <a:pt x="1174" y="295"/>
                      <a:pt x="1174" y="295"/>
                    </a:cubicBezTo>
                    <a:cubicBezTo>
                      <a:pt x="1173" y="294"/>
                      <a:pt x="1173" y="294"/>
                      <a:pt x="1173" y="294"/>
                    </a:cubicBezTo>
                    <a:cubicBezTo>
                      <a:pt x="1173" y="292"/>
                      <a:pt x="1173" y="292"/>
                      <a:pt x="1173" y="292"/>
                    </a:cubicBezTo>
                    <a:cubicBezTo>
                      <a:pt x="1171" y="290"/>
                      <a:pt x="1171" y="290"/>
                      <a:pt x="1171" y="290"/>
                    </a:cubicBezTo>
                    <a:cubicBezTo>
                      <a:pt x="1168" y="289"/>
                      <a:pt x="1168" y="289"/>
                      <a:pt x="1168" y="289"/>
                    </a:cubicBezTo>
                    <a:cubicBezTo>
                      <a:pt x="1166" y="286"/>
                      <a:pt x="1166" y="286"/>
                      <a:pt x="1166" y="286"/>
                    </a:cubicBezTo>
                    <a:cubicBezTo>
                      <a:pt x="1164" y="285"/>
                      <a:pt x="1164" y="285"/>
                      <a:pt x="1164" y="285"/>
                    </a:cubicBezTo>
                    <a:cubicBezTo>
                      <a:pt x="1159" y="288"/>
                      <a:pt x="1159" y="288"/>
                      <a:pt x="1159" y="288"/>
                    </a:cubicBezTo>
                    <a:cubicBezTo>
                      <a:pt x="1159" y="292"/>
                      <a:pt x="1159" y="292"/>
                      <a:pt x="1159" y="292"/>
                    </a:cubicBezTo>
                    <a:cubicBezTo>
                      <a:pt x="1157" y="296"/>
                      <a:pt x="1157" y="296"/>
                      <a:pt x="1157" y="296"/>
                    </a:cubicBezTo>
                    <a:cubicBezTo>
                      <a:pt x="1159" y="300"/>
                      <a:pt x="1159" y="300"/>
                      <a:pt x="1159" y="300"/>
                    </a:cubicBezTo>
                    <a:close/>
                    <a:moveTo>
                      <a:pt x="1154" y="301"/>
                    </a:moveTo>
                    <a:cubicBezTo>
                      <a:pt x="1153" y="303"/>
                      <a:pt x="1153" y="303"/>
                      <a:pt x="1153" y="303"/>
                    </a:cubicBezTo>
                    <a:cubicBezTo>
                      <a:pt x="1154" y="307"/>
                      <a:pt x="1154" y="307"/>
                      <a:pt x="1154" y="307"/>
                    </a:cubicBezTo>
                    <a:cubicBezTo>
                      <a:pt x="1156" y="308"/>
                      <a:pt x="1156" y="308"/>
                      <a:pt x="1156" y="308"/>
                    </a:cubicBezTo>
                    <a:cubicBezTo>
                      <a:pt x="1157" y="306"/>
                      <a:pt x="1157" y="306"/>
                      <a:pt x="1157" y="306"/>
                    </a:cubicBezTo>
                    <a:cubicBezTo>
                      <a:pt x="1157" y="304"/>
                      <a:pt x="1157" y="304"/>
                      <a:pt x="1157" y="304"/>
                    </a:cubicBezTo>
                    <a:cubicBezTo>
                      <a:pt x="1155" y="303"/>
                      <a:pt x="1155" y="303"/>
                      <a:pt x="1155" y="303"/>
                    </a:cubicBezTo>
                    <a:cubicBezTo>
                      <a:pt x="1155" y="301"/>
                      <a:pt x="1155" y="301"/>
                      <a:pt x="1155" y="301"/>
                    </a:cubicBezTo>
                    <a:cubicBezTo>
                      <a:pt x="1154" y="301"/>
                      <a:pt x="1154" y="301"/>
                      <a:pt x="1154" y="301"/>
                    </a:cubicBezTo>
                    <a:close/>
                    <a:moveTo>
                      <a:pt x="1097" y="272"/>
                    </a:moveTo>
                    <a:cubicBezTo>
                      <a:pt x="1096" y="267"/>
                      <a:pt x="1096" y="267"/>
                      <a:pt x="1096" y="267"/>
                    </a:cubicBezTo>
                    <a:cubicBezTo>
                      <a:pt x="1099" y="261"/>
                      <a:pt x="1099" y="261"/>
                      <a:pt x="1099" y="261"/>
                    </a:cubicBezTo>
                    <a:cubicBezTo>
                      <a:pt x="1101" y="258"/>
                      <a:pt x="1101" y="258"/>
                      <a:pt x="1101" y="258"/>
                    </a:cubicBezTo>
                    <a:cubicBezTo>
                      <a:pt x="1105" y="258"/>
                      <a:pt x="1105" y="258"/>
                      <a:pt x="1105" y="258"/>
                    </a:cubicBezTo>
                    <a:cubicBezTo>
                      <a:pt x="1108" y="258"/>
                      <a:pt x="1108" y="258"/>
                      <a:pt x="1108" y="258"/>
                    </a:cubicBezTo>
                    <a:cubicBezTo>
                      <a:pt x="1111" y="259"/>
                      <a:pt x="1111" y="259"/>
                      <a:pt x="1111" y="259"/>
                    </a:cubicBezTo>
                    <a:cubicBezTo>
                      <a:pt x="1114" y="258"/>
                      <a:pt x="1114" y="258"/>
                      <a:pt x="1114" y="258"/>
                    </a:cubicBezTo>
                    <a:cubicBezTo>
                      <a:pt x="1116" y="259"/>
                      <a:pt x="1116" y="259"/>
                      <a:pt x="1116" y="259"/>
                    </a:cubicBezTo>
                    <a:cubicBezTo>
                      <a:pt x="1116" y="261"/>
                      <a:pt x="1116" y="261"/>
                      <a:pt x="1116" y="261"/>
                    </a:cubicBezTo>
                    <a:cubicBezTo>
                      <a:pt x="1120" y="261"/>
                      <a:pt x="1120" y="261"/>
                      <a:pt x="1120" y="261"/>
                    </a:cubicBezTo>
                    <a:cubicBezTo>
                      <a:pt x="1121" y="260"/>
                      <a:pt x="1121" y="260"/>
                      <a:pt x="1121" y="260"/>
                    </a:cubicBezTo>
                    <a:cubicBezTo>
                      <a:pt x="1124" y="262"/>
                      <a:pt x="1124" y="262"/>
                      <a:pt x="1124" y="262"/>
                    </a:cubicBezTo>
                    <a:cubicBezTo>
                      <a:pt x="1127" y="262"/>
                      <a:pt x="1127" y="262"/>
                      <a:pt x="1127" y="262"/>
                    </a:cubicBezTo>
                    <a:cubicBezTo>
                      <a:pt x="1131" y="267"/>
                      <a:pt x="1131" y="267"/>
                      <a:pt x="1131" y="267"/>
                    </a:cubicBezTo>
                    <a:cubicBezTo>
                      <a:pt x="1133" y="268"/>
                      <a:pt x="1133" y="268"/>
                      <a:pt x="1133" y="268"/>
                    </a:cubicBezTo>
                    <a:cubicBezTo>
                      <a:pt x="1132" y="269"/>
                      <a:pt x="1132" y="269"/>
                      <a:pt x="1132" y="269"/>
                    </a:cubicBezTo>
                    <a:cubicBezTo>
                      <a:pt x="1133" y="271"/>
                      <a:pt x="1133" y="271"/>
                      <a:pt x="1133" y="271"/>
                    </a:cubicBezTo>
                    <a:cubicBezTo>
                      <a:pt x="1136" y="271"/>
                      <a:pt x="1136" y="271"/>
                      <a:pt x="1136" y="271"/>
                    </a:cubicBezTo>
                    <a:cubicBezTo>
                      <a:pt x="1138" y="270"/>
                      <a:pt x="1138" y="270"/>
                      <a:pt x="1138" y="270"/>
                    </a:cubicBezTo>
                    <a:cubicBezTo>
                      <a:pt x="1141" y="273"/>
                      <a:pt x="1141" y="273"/>
                      <a:pt x="1141" y="273"/>
                    </a:cubicBezTo>
                    <a:cubicBezTo>
                      <a:pt x="1143" y="275"/>
                      <a:pt x="1143" y="275"/>
                      <a:pt x="1143" y="275"/>
                    </a:cubicBezTo>
                    <a:cubicBezTo>
                      <a:pt x="1143" y="277"/>
                      <a:pt x="1143" y="277"/>
                      <a:pt x="1143" y="277"/>
                    </a:cubicBezTo>
                    <a:cubicBezTo>
                      <a:pt x="1144" y="279"/>
                      <a:pt x="1144" y="279"/>
                      <a:pt x="1144" y="279"/>
                    </a:cubicBezTo>
                    <a:cubicBezTo>
                      <a:pt x="1142" y="280"/>
                      <a:pt x="1142" y="280"/>
                      <a:pt x="1142" y="280"/>
                    </a:cubicBezTo>
                    <a:cubicBezTo>
                      <a:pt x="1138" y="279"/>
                      <a:pt x="1138" y="279"/>
                      <a:pt x="1138" y="279"/>
                    </a:cubicBezTo>
                    <a:cubicBezTo>
                      <a:pt x="1133" y="283"/>
                      <a:pt x="1133" y="283"/>
                      <a:pt x="1133" y="283"/>
                    </a:cubicBezTo>
                    <a:cubicBezTo>
                      <a:pt x="1130" y="284"/>
                      <a:pt x="1130" y="284"/>
                      <a:pt x="1130" y="284"/>
                    </a:cubicBezTo>
                    <a:cubicBezTo>
                      <a:pt x="1125" y="281"/>
                      <a:pt x="1125" y="281"/>
                      <a:pt x="1125" y="281"/>
                    </a:cubicBezTo>
                    <a:cubicBezTo>
                      <a:pt x="1119" y="281"/>
                      <a:pt x="1119" y="281"/>
                      <a:pt x="1119" y="281"/>
                    </a:cubicBezTo>
                    <a:cubicBezTo>
                      <a:pt x="1114" y="277"/>
                      <a:pt x="1114" y="277"/>
                      <a:pt x="1114" y="277"/>
                    </a:cubicBezTo>
                    <a:cubicBezTo>
                      <a:pt x="1110" y="277"/>
                      <a:pt x="1110" y="277"/>
                      <a:pt x="1110" y="277"/>
                    </a:cubicBezTo>
                    <a:cubicBezTo>
                      <a:pt x="1106" y="276"/>
                      <a:pt x="1106" y="276"/>
                      <a:pt x="1106" y="276"/>
                    </a:cubicBezTo>
                    <a:cubicBezTo>
                      <a:pt x="1103" y="272"/>
                      <a:pt x="1103" y="272"/>
                      <a:pt x="1103" y="272"/>
                    </a:cubicBezTo>
                    <a:cubicBezTo>
                      <a:pt x="1099" y="273"/>
                      <a:pt x="1099" y="273"/>
                      <a:pt x="1099" y="273"/>
                    </a:cubicBezTo>
                    <a:cubicBezTo>
                      <a:pt x="1097" y="272"/>
                      <a:pt x="1097" y="272"/>
                      <a:pt x="1097" y="272"/>
                    </a:cubicBezTo>
                    <a:close/>
                    <a:moveTo>
                      <a:pt x="1050" y="211"/>
                    </a:moveTo>
                    <a:cubicBezTo>
                      <a:pt x="1051" y="209"/>
                      <a:pt x="1051" y="209"/>
                      <a:pt x="1051" y="209"/>
                    </a:cubicBezTo>
                    <a:cubicBezTo>
                      <a:pt x="1053" y="208"/>
                      <a:pt x="1053" y="208"/>
                      <a:pt x="1053" y="208"/>
                    </a:cubicBezTo>
                    <a:cubicBezTo>
                      <a:pt x="1054" y="209"/>
                      <a:pt x="1054" y="209"/>
                      <a:pt x="1054" y="209"/>
                    </a:cubicBezTo>
                    <a:cubicBezTo>
                      <a:pt x="1053" y="212"/>
                      <a:pt x="1053" y="212"/>
                      <a:pt x="1053" y="212"/>
                    </a:cubicBezTo>
                    <a:cubicBezTo>
                      <a:pt x="1051" y="212"/>
                      <a:pt x="1051" y="212"/>
                      <a:pt x="1051" y="212"/>
                    </a:cubicBezTo>
                    <a:cubicBezTo>
                      <a:pt x="1050" y="211"/>
                      <a:pt x="1050" y="211"/>
                      <a:pt x="1050" y="211"/>
                    </a:cubicBezTo>
                    <a:close/>
                    <a:moveTo>
                      <a:pt x="1053" y="232"/>
                    </a:moveTo>
                    <a:cubicBezTo>
                      <a:pt x="1055" y="238"/>
                      <a:pt x="1055" y="238"/>
                      <a:pt x="1055" y="238"/>
                    </a:cubicBezTo>
                    <a:cubicBezTo>
                      <a:pt x="1057" y="241"/>
                      <a:pt x="1057" y="241"/>
                      <a:pt x="1057" y="241"/>
                    </a:cubicBezTo>
                    <a:cubicBezTo>
                      <a:pt x="1059" y="241"/>
                      <a:pt x="1059" y="241"/>
                      <a:pt x="1059" y="241"/>
                    </a:cubicBezTo>
                    <a:cubicBezTo>
                      <a:pt x="1063" y="240"/>
                      <a:pt x="1063" y="240"/>
                      <a:pt x="1063" y="240"/>
                    </a:cubicBezTo>
                    <a:cubicBezTo>
                      <a:pt x="1065" y="242"/>
                      <a:pt x="1065" y="242"/>
                      <a:pt x="1065" y="242"/>
                    </a:cubicBezTo>
                    <a:cubicBezTo>
                      <a:pt x="1067" y="242"/>
                      <a:pt x="1067" y="242"/>
                      <a:pt x="1067" y="242"/>
                    </a:cubicBezTo>
                    <a:cubicBezTo>
                      <a:pt x="1073" y="238"/>
                      <a:pt x="1073" y="238"/>
                      <a:pt x="1073" y="238"/>
                    </a:cubicBezTo>
                    <a:cubicBezTo>
                      <a:pt x="1073" y="236"/>
                      <a:pt x="1073" y="236"/>
                      <a:pt x="1073" y="236"/>
                    </a:cubicBezTo>
                    <a:cubicBezTo>
                      <a:pt x="1076" y="234"/>
                      <a:pt x="1076" y="234"/>
                      <a:pt x="1076" y="234"/>
                    </a:cubicBezTo>
                    <a:cubicBezTo>
                      <a:pt x="1079" y="230"/>
                      <a:pt x="1079" y="230"/>
                      <a:pt x="1079" y="230"/>
                    </a:cubicBezTo>
                    <a:cubicBezTo>
                      <a:pt x="1079" y="226"/>
                      <a:pt x="1079" y="226"/>
                      <a:pt x="1079" y="226"/>
                    </a:cubicBezTo>
                    <a:cubicBezTo>
                      <a:pt x="1081" y="220"/>
                      <a:pt x="1081" y="220"/>
                      <a:pt x="1081" y="220"/>
                    </a:cubicBezTo>
                    <a:cubicBezTo>
                      <a:pt x="1084" y="215"/>
                      <a:pt x="1084" y="215"/>
                      <a:pt x="1084" y="215"/>
                    </a:cubicBezTo>
                    <a:cubicBezTo>
                      <a:pt x="1082" y="214"/>
                      <a:pt x="1082" y="214"/>
                      <a:pt x="1082" y="214"/>
                    </a:cubicBezTo>
                    <a:cubicBezTo>
                      <a:pt x="1082" y="212"/>
                      <a:pt x="1082" y="212"/>
                      <a:pt x="1082" y="212"/>
                    </a:cubicBezTo>
                    <a:cubicBezTo>
                      <a:pt x="1084" y="210"/>
                      <a:pt x="1084" y="210"/>
                      <a:pt x="1084" y="210"/>
                    </a:cubicBezTo>
                    <a:cubicBezTo>
                      <a:pt x="1086" y="205"/>
                      <a:pt x="1086" y="205"/>
                      <a:pt x="1086" y="205"/>
                    </a:cubicBezTo>
                    <a:cubicBezTo>
                      <a:pt x="1089" y="205"/>
                      <a:pt x="1089" y="205"/>
                      <a:pt x="1089" y="205"/>
                    </a:cubicBezTo>
                    <a:cubicBezTo>
                      <a:pt x="1092" y="202"/>
                      <a:pt x="1092" y="202"/>
                      <a:pt x="1092" y="202"/>
                    </a:cubicBezTo>
                    <a:cubicBezTo>
                      <a:pt x="1096" y="199"/>
                      <a:pt x="1096" y="199"/>
                      <a:pt x="1096" y="199"/>
                    </a:cubicBezTo>
                    <a:cubicBezTo>
                      <a:pt x="1097" y="194"/>
                      <a:pt x="1097" y="194"/>
                      <a:pt x="1097" y="194"/>
                    </a:cubicBezTo>
                    <a:cubicBezTo>
                      <a:pt x="1097" y="191"/>
                      <a:pt x="1097" y="191"/>
                      <a:pt x="1097" y="191"/>
                    </a:cubicBezTo>
                    <a:cubicBezTo>
                      <a:pt x="1100" y="189"/>
                      <a:pt x="1100" y="189"/>
                      <a:pt x="1100" y="189"/>
                    </a:cubicBezTo>
                    <a:cubicBezTo>
                      <a:pt x="1100" y="186"/>
                      <a:pt x="1100" y="186"/>
                      <a:pt x="1100" y="186"/>
                    </a:cubicBezTo>
                    <a:cubicBezTo>
                      <a:pt x="1099" y="183"/>
                      <a:pt x="1099" y="183"/>
                      <a:pt x="1099" y="183"/>
                    </a:cubicBezTo>
                    <a:cubicBezTo>
                      <a:pt x="1098" y="179"/>
                      <a:pt x="1098" y="179"/>
                      <a:pt x="1098" y="179"/>
                    </a:cubicBezTo>
                    <a:cubicBezTo>
                      <a:pt x="1096" y="179"/>
                      <a:pt x="1096" y="179"/>
                      <a:pt x="1096" y="179"/>
                    </a:cubicBezTo>
                    <a:cubicBezTo>
                      <a:pt x="1093" y="177"/>
                      <a:pt x="1093" y="177"/>
                      <a:pt x="1093" y="177"/>
                    </a:cubicBezTo>
                    <a:cubicBezTo>
                      <a:pt x="1089" y="177"/>
                      <a:pt x="1089" y="177"/>
                      <a:pt x="1089" y="177"/>
                    </a:cubicBezTo>
                    <a:cubicBezTo>
                      <a:pt x="1087" y="175"/>
                      <a:pt x="1087" y="175"/>
                      <a:pt x="1087" y="175"/>
                    </a:cubicBezTo>
                    <a:cubicBezTo>
                      <a:pt x="1089" y="172"/>
                      <a:pt x="1089" y="172"/>
                      <a:pt x="1089" y="172"/>
                    </a:cubicBezTo>
                    <a:cubicBezTo>
                      <a:pt x="1095" y="169"/>
                      <a:pt x="1095" y="169"/>
                      <a:pt x="1095" y="169"/>
                    </a:cubicBezTo>
                    <a:cubicBezTo>
                      <a:pt x="1095" y="167"/>
                      <a:pt x="1095" y="167"/>
                      <a:pt x="1095" y="167"/>
                    </a:cubicBezTo>
                    <a:cubicBezTo>
                      <a:pt x="1093" y="165"/>
                      <a:pt x="1093" y="165"/>
                      <a:pt x="1093" y="165"/>
                    </a:cubicBezTo>
                    <a:cubicBezTo>
                      <a:pt x="1093" y="160"/>
                      <a:pt x="1093" y="160"/>
                      <a:pt x="1093" y="160"/>
                    </a:cubicBezTo>
                    <a:cubicBezTo>
                      <a:pt x="1094" y="157"/>
                      <a:pt x="1094" y="157"/>
                      <a:pt x="1094" y="157"/>
                    </a:cubicBezTo>
                    <a:cubicBezTo>
                      <a:pt x="1090" y="154"/>
                      <a:pt x="1090" y="154"/>
                      <a:pt x="1090" y="154"/>
                    </a:cubicBezTo>
                    <a:cubicBezTo>
                      <a:pt x="1087" y="154"/>
                      <a:pt x="1087" y="154"/>
                      <a:pt x="1087" y="154"/>
                    </a:cubicBezTo>
                    <a:cubicBezTo>
                      <a:pt x="1083" y="157"/>
                      <a:pt x="1083" y="157"/>
                      <a:pt x="1083" y="157"/>
                    </a:cubicBezTo>
                    <a:cubicBezTo>
                      <a:pt x="1077" y="158"/>
                      <a:pt x="1077" y="158"/>
                      <a:pt x="1077" y="158"/>
                    </a:cubicBezTo>
                    <a:cubicBezTo>
                      <a:pt x="1077" y="160"/>
                      <a:pt x="1077" y="160"/>
                      <a:pt x="1077" y="160"/>
                    </a:cubicBezTo>
                    <a:cubicBezTo>
                      <a:pt x="1074" y="163"/>
                      <a:pt x="1074" y="163"/>
                      <a:pt x="1074" y="163"/>
                    </a:cubicBezTo>
                    <a:cubicBezTo>
                      <a:pt x="1071" y="163"/>
                      <a:pt x="1071" y="163"/>
                      <a:pt x="1071" y="163"/>
                    </a:cubicBezTo>
                    <a:cubicBezTo>
                      <a:pt x="1070" y="160"/>
                      <a:pt x="1070" y="160"/>
                      <a:pt x="1070" y="160"/>
                    </a:cubicBezTo>
                    <a:cubicBezTo>
                      <a:pt x="1074" y="158"/>
                      <a:pt x="1074" y="158"/>
                      <a:pt x="1074" y="158"/>
                    </a:cubicBezTo>
                    <a:cubicBezTo>
                      <a:pt x="1076" y="155"/>
                      <a:pt x="1076" y="155"/>
                      <a:pt x="1076" y="155"/>
                    </a:cubicBezTo>
                    <a:cubicBezTo>
                      <a:pt x="1076" y="150"/>
                      <a:pt x="1076" y="150"/>
                      <a:pt x="1076" y="150"/>
                    </a:cubicBezTo>
                    <a:cubicBezTo>
                      <a:pt x="1078" y="144"/>
                      <a:pt x="1078" y="144"/>
                      <a:pt x="1078" y="144"/>
                    </a:cubicBezTo>
                    <a:cubicBezTo>
                      <a:pt x="1077" y="140"/>
                      <a:pt x="1077" y="140"/>
                      <a:pt x="1077" y="140"/>
                    </a:cubicBezTo>
                    <a:cubicBezTo>
                      <a:pt x="1074" y="138"/>
                      <a:pt x="1074" y="138"/>
                      <a:pt x="1074" y="138"/>
                    </a:cubicBezTo>
                    <a:cubicBezTo>
                      <a:pt x="1073" y="135"/>
                      <a:pt x="1073" y="135"/>
                      <a:pt x="1073" y="135"/>
                    </a:cubicBezTo>
                    <a:cubicBezTo>
                      <a:pt x="1068" y="132"/>
                      <a:pt x="1068" y="132"/>
                      <a:pt x="1068" y="132"/>
                    </a:cubicBezTo>
                    <a:cubicBezTo>
                      <a:pt x="1065" y="133"/>
                      <a:pt x="1065" y="133"/>
                      <a:pt x="1065" y="133"/>
                    </a:cubicBezTo>
                    <a:cubicBezTo>
                      <a:pt x="1060" y="132"/>
                      <a:pt x="1060" y="132"/>
                      <a:pt x="1060" y="132"/>
                    </a:cubicBezTo>
                    <a:cubicBezTo>
                      <a:pt x="1056" y="136"/>
                      <a:pt x="1056" y="136"/>
                      <a:pt x="1056" y="136"/>
                    </a:cubicBezTo>
                    <a:cubicBezTo>
                      <a:pt x="1053" y="135"/>
                      <a:pt x="1053" y="135"/>
                      <a:pt x="1053" y="135"/>
                    </a:cubicBezTo>
                    <a:cubicBezTo>
                      <a:pt x="1052" y="130"/>
                      <a:pt x="1052" y="130"/>
                      <a:pt x="1052" y="130"/>
                    </a:cubicBezTo>
                    <a:cubicBezTo>
                      <a:pt x="1052" y="128"/>
                      <a:pt x="1052" y="128"/>
                      <a:pt x="1052" y="128"/>
                    </a:cubicBezTo>
                    <a:cubicBezTo>
                      <a:pt x="1048" y="131"/>
                      <a:pt x="1048" y="131"/>
                      <a:pt x="1048" y="131"/>
                    </a:cubicBezTo>
                    <a:cubicBezTo>
                      <a:pt x="1047" y="134"/>
                      <a:pt x="1047" y="134"/>
                      <a:pt x="1047" y="134"/>
                    </a:cubicBezTo>
                    <a:cubicBezTo>
                      <a:pt x="1043" y="136"/>
                      <a:pt x="1043" y="136"/>
                      <a:pt x="1043" y="136"/>
                    </a:cubicBezTo>
                    <a:cubicBezTo>
                      <a:pt x="1042" y="140"/>
                      <a:pt x="1042" y="140"/>
                      <a:pt x="1042" y="140"/>
                    </a:cubicBezTo>
                    <a:cubicBezTo>
                      <a:pt x="1038" y="145"/>
                      <a:pt x="1038" y="145"/>
                      <a:pt x="1038" y="145"/>
                    </a:cubicBezTo>
                    <a:cubicBezTo>
                      <a:pt x="1038" y="148"/>
                      <a:pt x="1038" y="148"/>
                      <a:pt x="1038" y="148"/>
                    </a:cubicBezTo>
                    <a:cubicBezTo>
                      <a:pt x="1041" y="150"/>
                      <a:pt x="1041" y="150"/>
                      <a:pt x="1041" y="150"/>
                    </a:cubicBezTo>
                    <a:cubicBezTo>
                      <a:pt x="1043" y="148"/>
                      <a:pt x="1043" y="148"/>
                      <a:pt x="1043" y="148"/>
                    </a:cubicBezTo>
                    <a:cubicBezTo>
                      <a:pt x="1048" y="147"/>
                      <a:pt x="1048" y="147"/>
                      <a:pt x="1048" y="147"/>
                    </a:cubicBezTo>
                    <a:cubicBezTo>
                      <a:pt x="1049" y="149"/>
                      <a:pt x="1049" y="149"/>
                      <a:pt x="1049" y="149"/>
                    </a:cubicBezTo>
                    <a:cubicBezTo>
                      <a:pt x="1044" y="153"/>
                      <a:pt x="1044" y="153"/>
                      <a:pt x="1044" y="153"/>
                    </a:cubicBezTo>
                    <a:cubicBezTo>
                      <a:pt x="1039" y="155"/>
                      <a:pt x="1039" y="155"/>
                      <a:pt x="1039" y="155"/>
                    </a:cubicBezTo>
                    <a:cubicBezTo>
                      <a:pt x="1036" y="160"/>
                      <a:pt x="1036" y="160"/>
                      <a:pt x="1036" y="160"/>
                    </a:cubicBezTo>
                    <a:cubicBezTo>
                      <a:pt x="1036" y="162"/>
                      <a:pt x="1036" y="162"/>
                      <a:pt x="1036" y="162"/>
                    </a:cubicBezTo>
                    <a:cubicBezTo>
                      <a:pt x="1042" y="160"/>
                      <a:pt x="1042" y="160"/>
                      <a:pt x="1042" y="160"/>
                    </a:cubicBezTo>
                    <a:cubicBezTo>
                      <a:pt x="1047" y="155"/>
                      <a:pt x="1047" y="155"/>
                      <a:pt x="1047" y="155"/>
                    </a:cubicBezTo>
                    <a:cubicBezTo>
                      <a:pt x="1049" y="155"/>
                      <a:pt x="1049" y="155"/>
                      <a:pt x="1049" y="155"/>
                    </a:cubicBezTo>
                    <a:cubicBezTo>
                      <a:pt x="1052" y="154"/>
                      <a:pt x="1052" y="154"/>
                      <a:pt x="1052" y="154"/>
                    </a:cubicBezTo>
                    <a:cubicBezTo>
                      <a:pt x="1054" y="157"/>
                      <a:pt x="1054" y="157"/>
                      <a:pt x="1054" y="157"/>
                    </a:cubicBezTo>
                    <a:cubicBezTo>
                      <a:pt x="1052" y="161"/>
                      <a:pt x="1052" y="161"/>
                      <a:pt x="1052" y="161"/>
                    </a:cubicBezTo>
                    <a:cubicBezTo>
                      <a:pt x="1050" y="161"/>
                      <a:pt x="1050" y="161"/>
                      <a:pt x="1050" y="161"/>
                    </a:cubicBezTo>
                    <a:cubicBezTo>
                      <a:pt x="1046" y="164"/>
                      <a:pt x="1046" y="164"/>
                      <a:pt x="1046" y="164"/>
                    </a:cubicBezTo>
                    <a:cubicBezTo>
                      <a:pt x="1044" y="168"/>
                      <a:pt x="1044" y="168"/>
                      <a:pt x="1044" y="168"/>
                    </a:cubicBezTo>
                    <a:cubicBezTo>
                      <a:pt x="1046" y="170"/>
                      <a:pt x="1046" y="170"/>
                      <a:pt x="1046" y="170"/>
                    </a:cubicBezTo>
                    <a:cubicBezTo>
                      <a:pt x="1051" y="169"/>
                      <a:pt x="1051" y="169"/>
                      <a:pt x="1051" y="169"/>
                    </a:cubicBezTo>
                    <a:cubicBezTo>
                      <a:pt x="1054" y="170"/>
                      <a:pt x="1054" y="170"/>
                      <a:pt x="1054" y="170"/>
                    </a:cubicBezTo>
                    <a:cubicBezTo>
                      <a:pt x="1050" y="173"/>
                      <a:pt x="1050" y="173"/>
                      <a:pt x="1050" y="173"/>
                    </a:cubicBezTo>
                    <a:cubicBezTo>
                      <a:pt x="1045" y="175"/>
                      <a:pt x="1045" y="175"/>
                      <a:pt x="1045" y="175"/>
                    </a:cubicBezTo>
                    <a:cubicBezTo>
                      <a:pt x="1042" y="174"/>
                      <a:pt x="1042" y="174"/>
                      <a:pt x="1042" y="174"/>
                    </a:cubicBezTo>
                    <a:cubicBezTo>
                      <a:pt x="1041" y="176"/>
                      <a:pt x="1041" y="176"/>
                      <a:pt x="1041" y="176"/>
                    </a:cubicBezTo>
                    <a:cubicBezTo>
                      <a:pt x="1045" y="178"/>
                      <a:pt x="1045" y="178"/>
                      <a:pt x="1045" y="178"/>
                    </a:cubicBezTo>
                    <a:cubicBezTo>
                      <a:pt x="1045" y="180"/>
                      <a:pt x="1045" y="180"/>
                      <a:pt x="1045" y="180"/>
                    </a:cubicBezTo>
                    <a:cubicBezTo>
                      <a:pt x="1040" y="185"/>
                      <a:pt x="1040" y="185"/>
                      <a:pt x="1040" y="185"/>
                    </a:cubicBezTo>
                    <a:cubicBezTo>
                      <a:pt x="1038" y="185"/>
                      <a:pt x="1038" y="185"/>
                      <a:pt x="1038" y="185"/>
                    </a:cubicBezTo>
                    <a:cubicBezTo>
                      <a:pt x="1036" y="180"/>
                      <a:pt x="1036" y="180"/>
                      <a:pt x="1036" y="180"/>
                    </a:cubicBezTo>
                    <a:cubicBezTo>
                      <a:pt x="1033" y="179"/>
                      <a:pt x="1033" y="179"/>
                      <a:pt x="1033" y="179"/>
                    </a:cubicBezTo>
                    <a:cubicBezTo>
                      <a:pt x="1030" y="174"/>
                      <a:pt x="1030" y="174"/>
                      <a:pt x="1030" y="174"/>
                    </a:cubicBezTo>
                    <a:cubicBezTo>
                      <a:pt x="1022" y="178"/>
                      <a:pt x="1022" y="178"/>
                      <a:pt x="1022" y="178"/>
                    </a:cubicBezTo>
                    <a:cubicBezTo>
                      <a:pt x="1022" y="180"/>
                      <a:pt x="1022" y="180"/>
                      <a:pt x="1022" y="180"/>
                    </a:cubicBezTo>
                    <a:cubicBezTo>
                      <a:pt x="1018" y="186"/>
                      <a:pt x="1018" y="186"/>
                      <a:pt x="1018" y="186"/>
                    </a:cubicBezTo>
                    <a:cubicBezTo>
                      <a:pt x="1021" y="191"/>
                      <a:pt x="1021" y="191"/>
                      <a:pt x="1021" y="191"/>
                    </a:cubicBezTo>
                    <a:cubicBezTo>
                      <a:pt x="1021" y="195"/>
                      <a:pt x="1021" y="195"/>
                      <a:pt x="1021" y="195"/>
                    </a:cubicBezTo>
                    <a:cubicBezTo>
                      <a:pt x="1024" y="196"/>
                      <a:pt x="1024" y="196"/>
                      <a:pt x="1024" y="196"/>
                    </a:cubicBezTo>
                    <a:cubicBezTo>
                      <a:pt x="1027" y="193"/>
                      <a:pt x="1027" y="193"/>
                      <a:pt x="1027" y="193"/>
                    </a:cubicBezTo>
                    <a:cubicBezTo>
                      <a:pt x="1030" y="193"/>
                      <a:pt x="1030" y="193"/>
                      <a:pt x="1030" y="193"/>
                    </a:cubicBezTo>
                    <a:cubicBezTo>
                      <a:pt x="1036" y="195"/>
                      <a:pt x="1036" y="195"/>
                      <a:pt x="1036" y="195"/>
                    </a:cubicBezTo>
                    <a:cubicBezTo>
                      <a:pt x="1042" y="195"/>
                      <a:pt x="1042" y="195"/>
                      <a:pt x="1042" y="195"/>
                    </a:cubicBezTo>
                    <a:cubicBezTo>
                      <a:pt x="1043" y="196"/>
                      <a:pt x="1043" y="196"/>
                      <a:pt x="1043" y="196"/>
                    </a:cubicBezTo>
                    <a:cubicBezTo>
                      <a:pt x="1049" y="195"/>
                      <a:pt x="1049" y="195"/>
                      <a:pt x="1049" y="195"/>
                    </a:cubicBezTo>
                    <a:cubicBezTo>
                      <a:pt x="1049" y="198"/>
                      <a:pt x="1049" y="198"/>
                      <a:pt x="1049" y="198"/>
                    </a:cubicBezTo>
                    <a:cubicBezTo>
                      <a:pt x="1046" y="198"/>
                      <a:pt x="1046" y="198"/>
                      <a:pt x="1046" y="198"/>
                    </a:cubicBezTo>
                    <a:cubicBezTo>
                      <a:pt x="1044" y="200"/>
                      <a:pt x="1044" y="200"/>
                      <a:pt x="1044" y="200"/>
                    </a:cubicBezTo>
                    <a:cubicBezTo>
                      <a:pt x="1045" y="204"/>
                      <a:pt x="1045" y="204"/>
                      <a:pt x="1045" y="204"/>
                    </a:cubicBezTo>
                    <a:cubicBezTo>
                      <a:pt x="1050" y="203"/>
                      <a:pt x="1050" y="203"/>
                      <a:pt x="1050" y="203"/>
                    </a:cubicBezTo>
                    <a:cubicBezTo>
                      <a:pt x="1054" y="207"/>
                      <a:pt x="1054" y="207"/>
                      <a:pt x="1054" y="207"/>
                    </a:cubicBezTo>
                    <a:cubicBezTo>
                      <a:pt x="1057" y="213"/>
                      <a:pt x="1057" y="213"/>
                      <a:pt x="1057" y="213"/>
                    </a:cubicBezTo>
                    <a:cubicBezTo>
                      <a:pt x="1059" y="213"/>
                      <a:pt x="1059" y="213"/>
                      <a:pt x="1059" y="213"/>
                    </a:cubicBezTo>
                    <a:cubicBezTo>
                      <a:pt x="1061" y="214"/>
                      <a:pt x="1061" y="214"/>
                      <a:pt x="1061" y="214"/>
                    </a:cubicBezTo>
                    <a:cubicBezTo>
                      <a:pt x="1060" y="217"/>
                      <a:pt x="1060" y="217"/>
                      <a:pt x="1060" y="217"/>
                    </a:cubicBezTo>
                    <a:cubicBezTo>
                      <a:pt x="1060" y="221"/>
                      <a:pt x="1060" y="221"/>
                      <a:pt x="1060" y="221"/>
                    </a:cubicBezTo>
                    <a:cubicBezTo>
                      <a:pt x="1053" y="232"/>
                      <a:pt x="1053" y="232"/>
                      <a:pt x="1053" y="232"/>
                    </a:cubicBezTo>
                    <a:close/>
                    <a:moveTo>
                      <a:pt x="1033" y="205"/>
                    </a:moveTo>
                    <a:cubicBezTo>
                      <a:pt x="1034" y="201"/>
                      <a:pt x="1034" y="201"/>
                      <a:pt x="1034" y="201"/>
                    </a:cubicBezTo>
                    <a:cubicBezTo>
                      <a:pt x="1039" y="199"/>
                      <a:pt x="1039" y="199"/>
                      <a:pt x="1039" y="199"/>
                    </a:cubicBezTo>
                    <a:cubicBezTo>
                      <a:pt x="1042" y="199"/>
                      <a:pt x="1042" y="199"/>
                      <a:pt x="1042" y="199"/>
                    </a:cubicBezTo>
                    <a:cubicBezTo>
                      <a:pt x="1040" y="201"/>
                      <a:pt x="1040" y="201"/>
                      <a:pt x="1040" y="201"/>
                    </a:cubicBezTo>
                    <a:cubicBezTo>
                      <a:pt x="1039" y="203"/>
                      <a:pt x="1039" y="203"/>
                      <a:pt x="1039" y="203"/>
                    </a:cubicBezTo>
                    <a:cubicBezTo>
                      <a:pt x="1035" y="205"/>
                      <a:pt x="1035" y="205"/>
                      <a:pt x="1035" y="205"/>
                    </a:cubicBezTo>
                    <a:cubicBezTo>
                      <a:pt x="1033" y="205"/>
                      <a:pt x="1033" y="205"/>
                      <a:pt x="1033" y="205"/>
                    </a:cubicBezTo>
                    <a:close/>
                    <a:moveTo>
                      <a:pt x="1025" y="225"/>
                    </a:moveTo>
                    <a:cubicBezTo>
                      <a:pt x="1027" y="222"/>
                      <a:pt x="1027" y="222"/>
                      <a:pt x="1027" y="222"/>
                    </a:cubicBezTo>
                    <a:cubicBezTo>
                      <a:pt x="1033" y="221"/>
                      <a:pt x="1033" y="221"/>
                      <a:pt x="1033" y="221"/>
                    </a:cubicBezTo>
                    <a:cubicBezTo>
                      <a:pt x="1039" y="223"/>
                      <a:pt x="1039" y="223"/>
                      <a:pt x="1039" y="223"/>
                    </a:cubicBezTo>
                    <a:cubicBezTo>
                      <a:pt x="1044" y="229"/>
                      <a:pt x="1044" y="229"/>
                      <a:pt x="1044" y="229"/>
                    </a:cubicBezTo>
                    <a:cubicBezTo>
                      <a:pt x="1044" y="233"/>
                      <a:pt x="1044" y="233"/>
                      <a:pt x="1044" y="233"/>
                    </a:cubicBezTo>
                    <a:cubicBezTo>
                      <a:pt x="1044" y="239"/>
                      <a:pt x="1044" y="239"/>
                      <a:pt x="1044" y="239"/>
                    </a:cubicBezTo>
                    <a:cubicBezTo>
                      <a:pt x="1042" y="239"/>
                      <a:pt x="1042" y="239"/>
                      <a:pt x="1042" y="239"/>
                    </a:cubicBezTo>
                    <a:cubicBezTo>
                      <a:pt x="1038" y="237"/>
                      <a:pt x="1038" y="237"/>
                      <a:pt x="1038" y="237"/>
                    </a:cubicBezTo>
                    <a:cubicBezTo>
                      <a:pt x="1034" y="238"/>
                      <a:pt x="1034" y="238"/>
                      <a:pt x="1034" y="238"/>
                    </a:cubicBezTo>
                    <a:cubicBezTo>
                      <a:pt x="1032" y="238"/>
                      <a:pt x="1032" y="238"/>
                      <a:pt x="1032" y="238"/>
                    </a:cubicBezTo>
                    <a:cubicBezTo>
                      <a:pt x="1029" y="234"/>
                      <a:pt x="1029" y="234"/>
                      <a:pt x="1029" y="234"/>
                    </a:cubicBezTo>
                    <a:cubicBezTo>
                      <a:pt x="1025" y="230"/>
                      <a:pt x="1025" y="230"/>
                      <a:pt x="1025" y="230"/>
                    </a:cubicBezTo>
                    <a:cubicBezTo>
                      <a:pt x="1025" y="225"/>
                      <a:pt x="1025" y="225"/>
                      <a:pt x="1025" y="225"/>
                    </a:cubicBezTo>
                    <a:close/>
                    <a:moveTo>
                      <a:pt x="977" y="257"/>
                    </a:moveTo>
                    <a:cubicBezTo>
                      <a:pt x="979" y="255"/>
                      <a:pt x="979" y="255"/>
                      <a:pt x="979" y="255"/>
                    </a:cubicBezTo>
                    <a:cubicBezTo>
                      <a:pt x="985" y="255"/>
                      <a:pt x="985" y="255"/>
                      <a:pt x="985" y="255"/>
                    </a:cubicBezTo>
                    <a:cubicBezTo>
                      <a:pt x="984" y="257"/>
                      <a:pt x="984" y="257"/>
                      <a:pt x="984" y="257"/>
                    </a:cubicBezTo>
                    <a:cubicBezTo>
                      <a:pt x="979" y="258"/>
                      <a:pt x="979" y="258"/>
                      <a:pt x="979" y="258"/>
                    </a:cubicBezTo>
                    <a:cubicBezTo>
                      <a:pt x="977" y="257"/>
                      <a:pt x="977" y="257"/>
                      <a:pt x="977" y="257"/>
                    </a:cubicBezTo>
                    <a:close/>
                    <a:moveTo>
                      <a:pt x="974" y="252"/>
                    </a:moveTo>
                    <a:cubicBezTo>
                      <a:pt x="972" y="247"/>
                      <a:pt x="972" y="247"/>
                      <a:pt x="972" y="247"/>
                    </a:cubicBezTo>
                    <a:cubicBezTo>
                      <a:pt x="973" y="244"/>
                      <a:pt x="973" y="244"/>
                      <a:pt x="973" y="244"/>
                    </a:cubicBezTo>
                    <a:cubicBezTo>
                      <a:pt x="974" y="239"/>
                      <a:pt x="974" y="239"/>
                      <a:pt x="974" y="239"/>
                    </a:cubicBezTo>
                    <a:cubicBezTo>
                      <a:pt x="975" y="235"/>
                      <a:pt x="975" y="235"/>
                      <a:pt x="975" y="235"/>
                    </a:cubicBezTo>
                    <a:cubicBezTo>
                      <a:pt x="979" y="232"/>
                      <a:pt x="979" y="232"/>
                      <a:pt x="979" y="232"/>
                    </a:cubicBezTo>
                    <a:cubicBezTo>
                      <a:pt x="979" y="229"/>
                      <a:pt x="979" y="229"/>
                      <a:pt x="979" y="229"/>
                    </a:cubicBezTo>
                    <a:cubicBezTo>
                      <a:pt x="980" y="228"/>
                      <a:pt x="980" y="228"/>
                      <a:pt x="980" y="228"/>
                    </a:cubicBezTo>
                    <a:cubicBezTo>
                      <a:pt x="980" y="226"/>
                      <a:pt x="980" y="226"/>
                      <a:pt x="980" y="226"/>
                    </a:cubicBezTo>
                    <a:cubicBezTo>
                      <a:pt x="983" y="221"/>
                      <a:pt x="983" y="221"/>
                      <a:pt x="983" y="221"/>
                    </a:cubicBezTo>
                    <a:cubicBezTo>
                      <a:pt x="983" y="217"/>
                      <a:pt x="983" y="217"/>
                      <a:pt x="983" y="217"/>
                    </a:cubicBezTo>
                    <a:cubicBezTo>
                      <a:pt x="985" y="215"/>
                      <a:pt x="985" y="215"/>
                      <a:pt x="985" y="215"/>
                    </a:cubicBezTo>
                    <a:cubicBezTo>
                      <a:pt x="987" y="217"/>
                      <a:pt x="987" y="217"/>
                      <a:pt x="987" y="217"/>
                    </a:cubicBezTo>
                    <a:cubicBezTo>
                      <a:pt x="988" y="222"/>
                      <a:pt x="988" y="222"/>
                      <a:pt x="988" y="222"/>
                    </a:cubicBezTo>
                    <a:cubicBezTo>
                      <a:pt x="989" y="225"/>
                      <a:pt x="989" y="225"/>
                      <a:pt x="989" y="225"/>
                    </a:cubicBezTo>
                    <a:cubicBezTo>
                      <a:pt x="986" y="232"/>
                      <a:pt x="986" y="232"/>
                      <a:pt x="986" y="232"/>
                    </a:cubicBezTo>
                    <a:cubicBezTo>
                      <a:pt x="987" y="235"/>
                      <a:pt x="987" y="235"/>
                      <a:pt x="987" y="235"/>
                    </a:cubicBezTo>
                    <a:cubicBezTo>
                      <a:pt x="984" y="239"/>
                      <a:pt x="984" y="239"/>
                      <a:pt x="984" y="239"/>
                    </a:cubicBezTo>
                    <a:cubicBezTo>
                      <a:pt x="986" y="241"/>
                      <a:pt x="986" y="241"/>
                      <a:pt x="986" y="241"/>
                    </a:cubicBezTo>
                    <a:cubicBezTo>
                      <a:pt x="983" y="250"/>
                      <a:pt x="983" y="250"/>
                      <a:pt x="983" y="250"/>
                    </a:cubicBezTo>
                    <a:cubicBezTo>
                      <a:pt x="979" y="253"/>
                      <a:pt x="979" y="253"/>
                      <a:pt x="979" y="253"/>
                    </a:cubicBezTo>
                    <a:cubicBezTo>
                      <a:pt x="974" y="252"/>
                      <a:pt x="974" y="252"/>
                      <a:pt x="974" y="252"/>
                    </a:cubicBezTo>
                    <a:close/>
                    <a:moveTo>
                      <a:pt x="930" y="167"/>
                    </a:moveTo>
                    <a:cubicBezTo>
                      <a:pt x="928" y="163"/>
                      <a:pt x="928" y="163"/>
                      <a:pt x="928" y="163"/>
                    </a:cubicBezTo>
                    <a:cubicBezTo>
                      <a:pt x="927" y="159"/>
                      <a:pt x="927" y="159"/>
                      <a:pt x="927" y="159"/>
                    </a:cubicBezTo>
                    <a:cubicBezTo>
                      <a:pt x="929" y="157"/>
                      <a:pt x="929" y="157"/>
                      <a:pt x="929" y="157"/>
                    </a:cubicBezTo>
                    <a:cubicBezTo>
                      <a:pt x="926" y="155"/>
                      <a:pt x="926" y="155"/>
                      <a:pt x="926" y="155"/>
                    </a:cubicBezTo>
                    <a:cubicBezTo>
                      <a:pt x="922" y="156"/>
                      <a:pt x="922" y="156"/>
                      <a:pt x="922" y="156"/>
                    </a:cubicBezTo>
                    <a:cubicBezTo>
                      <a:pt x="920" y="155"/>
                      <a:pt x="920" y="155"/>
                      <a:pt x="920" y="155"/>
                    </a:cubicBezTo>
                    <a:cubicBezTo>
                      <a:pt x="918" y="156"/>
                      <a:pt x="918" y="156"/>
                      <a:pt x="918" y="156"/>
                    </a:cubicBezTo>
                    <a:cubicBezTo>
                      <a:pt x="913" y="155"/>
                      <a:pt x="913" y="155"/>
                      <a:pt x="913" y="155"/>
                    </a:cubicBezTo>
                    <a:cubicBezTo>
                      <a:pt x="910" y="156"/>
                      <a:pt x="910" y="156"/>
                      <a:pt x="910" y="156"/>
                    </a:cubicBezTo>
                    <a:cubicBezTo>
                      <a:pt x="910" y="153"/>
                      <a:pt x="910" y="153"/>
                      <a:pt x="910" y="153"/>
                    </a:cubicBezTo>
                    <a:cubicBezTo>
                      <a:pt x="913" y="150"/>
                      <a:pt x="913" y="150"/>
                      <a:pt x="913" y="150"/>
                    </a:cubicBezTo>
                    <a:cubicBezTo>
                      <a:pt x="914" y="147"/>
                      <a:pt x="914" y="147"/>
                      <a:pt x="914" y="147"/>
                    </a:cubicBezTo>
                    <a:cubicBezTo>
                      <a:pt x="918" y="147"/>
                      <a:pt x="918" y="147"/>
                      <a:pt x="918" y="147"/>
                    </a:cubicBezTo>
                    <a:cubicBezTo>
                      <a:pt x="922" y="147"/>
                      <a:pt x="922" y="147"/>
                      <a:pt x="922" y="147"/>
                    </a:cubicBezTo>
                    <a:cubicBezTo>
                      <a:pt x="933" y="144"/>
                      <a:pt x="933" y="144"/>
                      <a:pt x="933" y="144"/>
                    </a:cubicBezTo>
                    <a:cubicBezTo>
                      <a:pt x="937" y="144"/>
                      <a:pt x="937" y="144"/>
                      <a:pt x="937" y="144"/>
                    </a:cubicBezTo>
                    <a:cubicBezTo>
                      <a:pt x="940" y="147"/>
                      <a:pt x="940" y="147"/>
                      <a:pt x="940" y="147"/>
                    </a:cubicBezTo>
                    <a:cubicBezTo>
                      <a:pt x="942" y="146"/>
                      <a:pt x="942" y="146"/>
                      <a:pt x="942" y="146"/>
                    </a:cubicBezTo>
                    <a:cubicBezTo>
                      <a:pt x="947" y="146"/>
                      <a:pt x="947" y="146"/>
                      <a:pt x="947" y="146"/>
                    </a:cubicBezTo>
                    <a:cubicBezTo>
                      <a:pt x="951" y="143"/>
                      <a:pt x="951" y="143"/>
                      <a:pt x="951" y="143"/>
                    </a:cubicBezTo>
                    <a:cubicBezTo>
                      <a:pt x="958" y="143"/>
                      <a:pt x="958" y="143"/>
                      <a:pt x="958" y="143"/>
                    </a:cubicBezTo>
                    <a:cubicBezTo>
                      <a:pt x="960" y="143"/>
                      <a:pt x="960" y="143"/>
                      <a:pt x="960" y="143"/>
                    </a:cubicBezTo>
                    <a:cubicBezTo>
                      <a:pt x="962" y="141"/>
                      <a:pt x="962" y="141"/>
                      <a:pt x="962" y="141"/>
                    </a:cubicBezTo>
                    <a:cubicBezTo>
                      <a:pt x="964" y="142"/>
                      <a:pt x="964" y="142"/>
                      <a:pt x="964" y="142"/>
                    </a:cubicBezTo>
                    <a:cubicBezTo>
                      <a:pt x="964" y="145"/>
                      <a:pt x="964" y="145"/>
                      <a:pt x="964" y="145"/>
                    </a:cubicBezTo>
                    <a:cubicBezTo>
                      <a:pt x="966" y="149"/>
                      <a:pt x="966" y="149"/>
                      <a:pt x="966" y="149"/>
                    </a:cubicBezTo>
                    <a:cubicBezTo>
                      <a:pt x="966" y="152"/>
                      <a:pt x="966" y="152"/>
                      <a:pt x="966" y="152"/>
                    </a:cubicBezTo>
                    <a:cubicBezTo>
                      <a:pt x="963" y="157"/>
                      <a:pt x="963" y="157"/>
                      <a:pt x="963" y="157"/>
                    </a:cubicBezTo>
                    <a:cubicBezTo>
                      <a:pt x="965" y="162"/>
                      <a:pt x="965" y="162"/>
                      <a:pt x="965" y="162"/>
                    </a:cubicBezTo>
                    <a:cubicBezTo>
                      <a:pt x="963" y="169"/>
                      <a:pt x="963" y="169"/>
                      <a:pt x="963" y="169"/>
                    </a:cubicBezTo>
                    <a:cubicBezTo>
                      <a:pt x="958" y="172"/>
                      <a:pt x="958" y="172"/>
                      <a:pt x="958" y="172"/>
                    </a:cubicBezTo>
                    <a:cubicBezTo>
                      <a:pt x="955" y="175"/>
                      <a:pt x="955" y="175"/>
                      <a:pt x="955" y="175"/>
                    </a:cubicBezTo>
                    <a:cubicBezTo>
                      <a:pt x="952" y="174"/>
                      <a:pt x="952" y="174"/>
                      <a:pt x="952" y="174"/>
                    </a:cubicBezTo>
                    <a:cubicBezTo>
                      <a:pt x="948" y="174"/>
                      <a:pt x="948" y="174"/>
                      <a:pt x="948" y="174"/>
                    </a:cubicBezTo>
                    <a:cubicBezTo>
                      <a:pt x="946" y="172"/>
                      <a:pt x="946" y="172"/>
                      <a:pt x="946" y="172"/>
                    </a:cubicBezTo>
                    <a:cubicBezTo>
                      <a:pt x="943" y="173"/>
                      <a:pt x="943" y="173"/>
                      <a:pt x="943" y="173"/>
                    </a:cubicBezTo>
                    <a:cubicBezTo>
                      <a:pt x="938" y="168"/>
                      <a:pt x="938" y="168"/>
                      <a:pt x="938" y="168"/>
                    </a:cubicBezTo>
                    <a:cubicBezTo>
                      <a:pt x="938" y="164"/>
                      <a:pt x="938" y="164"/>
                      <a:pt x="938" y="164"/>
                    </a:cubicBezTo>
                    <a:cubicBezTo>
                      <a:pt x="935" y="159"/>
                      <a:pt x="935" y="159"/>
                      <a:pt x="935" y="159"/>
                    </a:cubicBezTo>
                    <a:cubicBezTo>
                      <a:pt x="933" y="161"/>
                      <a:pt x="933" y="161"/>
                      <a:pt x="933" y="161"/>
                    </a:cubicBezTo>
                    <a:cubicBezTo>
                      <a:pt x="934" y="164"/>
                      <a:pt x="934" y="164"/>
                      <a:pt x="934" y="164"/>
                    </a:cubicBezTo>
                    <a:cubicBezTo>
                      <a:pt x="930" y="167"/>
                      <a:pt x="930" y="167"/>
                      <a:pt x="930" y="167"/>
                    </a:cubicBezTo>
                    <a:close/>
                    <a:moveTo>
                      <a:pt x="877" y="196"/>
                    </a:moveTo>
                    <a:cubicBezTo>
                      <a:pt x="880" y="192"/>
                      <a:pt x="880" y="192"/>
                      <a:pt x="880" y="192"/>
                    </a:cubicBezTo>
                    <a:cubicBezTo>
                      <a:pt x="880" y="189"/>
                      <a:pt x="880" y="189"/>
                      <a:pt x="880" y="189"/>
                    </a:cubicBezTo>
                    <a:cubicBezTo>
                      <a:pt x="885" y="185"/>
                      <a:pt x="885" y="185"/>
                      <a:pt x="885" y="185"/>
                    </a:cubicBezTo>
                    <a:cubicBezTo>
                      <a:pt x="885" y="181"/>
                      <a:pt x="885" y="181"/>
                      <a:pt x="885" y="181"/>
                    </a:cubicBezTo>
                    <a:cubicBezTo>
                      <a:pt x="889" y="180"/>
                      <a:pt x="889" y="180"/>
                      <a:pt x="889" y="180"/>
                    </a:cubicBezTo>
                    <a:cubicBezTo>
                      <a:pt x="892" y="177"/>
                      <a:pt x="892" y="177"/>
                      <a:pt x="892" y="177"/>
                    </a:cubicBezTo>
                    <a:cubicBezTo>
                      <a:pt x="895" y="177"/>
                      <a:pt x="895" y="177"/>
                      <a:pt x="895" y="177"/>
                    </a:cubicBezTo>
                    <a:cubicBezTo>
                      <a:pt x="904" y="175"/>
                      <a:pt x="904" y="175"/>
                      <a:pt x="904" y="175"/>
                    </a:cubicBezTo>
                    <a:cubicBezTo>
                      <a:pt x="906" y="177"/>
                      <a:pt x="906" y="177"/>
                      <a:pt x="906" y="177"/>
                    </a:cubicBezTo>
                    <a:cubicBezTo>
                      <a:pt x="910" y="177"/>
                      <a:pt x="910" y="177"/>
                      <a:pt x="910" y="177"/>
                    </a:cubicBezTo>
                    <a:cubicBezTo>
                      <a:pt x="913" y="178"/>
                      <a:pt x="913" y="178"/>
                      <a:pt x="913" y="178"/>
                    </a:cubicBezTo>
                    <a:cubicBezTo>
                      <a:pt x="917" y="178"/>
                      <a:pt x="917" y="178"/>
                      <a:pt x="917" y="178"/>
                    </a:cubicBezTo>
                    <a:cubicBezTo>
                      <a:pt x="919" y="177"/>
                      <a:pt x="919" y="177"/>
                      <a:pt x="919" y="177"/>
                    </a:cubicBezTo>
                    <a:cubicBezTo>
                      <a:pt x="925" y="179"/>
                      <a:pt x="925" y="179"/>
                      <a:pt x="925" y="179"/>
                    </a:cubicBezTo>
                    <a:cubicBezTo>
                      <a:pt x="925" y="180"/>
                      <a:pt x="925" y="180"/>
                      <a:pt x="925" y="180"/>
                    </a:cubicBezTo>
                    <a:cubicBezTo>
                      <a:pt x="931" y="180"/>
                      <a:pt x="931" y="180"/>
                      <a:pt x="931" y="180"/>
                    </a:cubicBezTo>
                    <a:cubicBezTo>
                      <a:pt x="935" y="181"/>
                      <a:pt x="935" y="181"/>
                      <a:pt x="935" y="181"/>
                    </a:cubicBezTo>
                    <a:cubicBezTo>
                      <a:pt x="936" y="182"/>
                      <a:pt x="936" y="182"/>
                      <a:pt x="936" y="182"/>
                    </a:cubicBezTo>
                    <a:cubicBezTo>
                      <a:pt x="941" y="183"/>
                      <a:pt x="941" y="183"/>
                      <a:pt x="941" y="183"/>
                    </a:cubicBezTo>
                    <a:cubicBezTo>
                      <a:pt x="942" y="185"/>
                      <a:pt x="942" y="185"/>
                      <a:pt x="942" y="185"/>
                    </a:cubicBezTo>
                    <a:cubicBezTo>
                      <a:pt x="938" y="191"/>
                      <a:pt x="938" y="191"/>
                      <a:pt x="938" y="191"/>
                    </a:cubicBezTo>
                    <a:cubicBezTo>
                      <a:pt x="935" y="190"/>
                      <a:pt x="935" y="190"/>
                      <a:pt x="935" y="190"/>
                    </a:cubicBezTo>
                    <a:cubicBezTo>
                      <a:pt x="926" y="193"/>
                      <a:pt x="926" y="193"/>
                      <a:pt x="926" y="193"/>
                    </a:cubicBezTo>
                    <a:cubicBezTo>
                      <a:pt x="923" y="193"/>
                      <a:pt x="923" y="193"/>
                      <a:pt x="923" y="193"/>
                    </a:cubicBezTo>
                    <a:cubicBezTo>
                      <a:pt x="918" y="197"/>
                      <a:pt x="918" y="197"/>
                      <a:pt x="918" y="197"/>
                    </a:cubicBezTo>
                    <a:cubicBezTo>
                      <a:pt x="918" y="199"/>
                      <a:pt x="918" y="199"/>
                      <a:pt x="918" y="199"/>
                    </a:cubicBezTo>
                    <a:cubicBezTo>
                      <a:pt x="922" y="200"/>
                      <a:pt x="922" y="200"/>
                      <a:pt x="922" y="200"/>
                    </a:cubicBezTo>
                    <a:cubicBezTo>
                      <a:pt x="924" y="199"/>
                      <a:pt x="924" y="199"/>
                      <a:pt x="924" y="199"/>
                    </a:cubicBezTo>
                    <a:cubicBezTo>
                      <a:pt x="924" y="202"/>
                      <a:pt x="924" y="202"/>
                      <a:pt x="924" y="202"/>
                    </a:cubicBezTo>
                    <a:cubicBezTo>
                      <a:pt x="920" y="207"/>
                      <a:pt x="920" y="207"/>
                      <a:pt x="920" y="207"/>
                    </a:cubicBezTo>
                    <a:cubicBezTo>
                      <a:pt x="918" y="210"/>
                      <a:pt x="918" y="210"/>
                      <a:pt x="918" y="210"/>
                    </a:cubicBezTo>
                    <a:cubicBezTo>
                      <a:pt x="915" y="211"/>
                      <a:pt x="915" y="211"/>
                      <a:pt x="915" y="211"/>
                    </a:cubicBezTo>
                    <a:cubicBezTo>
                      <a:pt x="915" y="213"/>
                      <a:pt x="915" y="213"/>
                      <a:pt x="915" y="213"/>
                    </a:cubicBezTo>
                    <a:cubicBezTo>
                      <a:pt x="913" y="216"/>
                      <a:pt x="913" y="216"/>
                      <a:pt x="913" y="216"/>
                    </a:cubicBezTo>
                    <a:cubicBezTo>
                      <a:pt x="909" y="216"/>
                      <a:pt x="909" y="216"/>
                      <a:pt x="909" y="216"/>
                    </a:cubicBezTo>
                    <a:cubicBezTo>
                      <a:pt x="905" y="218"/>
                      <a:pt x="905" y="218"/>
                      <a:pt x="905" y="218"/>
                    </a:cubicBezTo>
                    <a:cubicBezTo>
                      <a:pt x="900" y="218"/>
                      <a:pt x="900" y="218"/>
                      <a:pt x="900" y="218"/>
                    </a:cubicBezTo>
                    <a:cubicBezTo>
                      <a:pt x="897" y="215"/>
                      <a:pt x="897" y="215"/>
                      <a:pt x="897" y="215"/>
                    </a:cubicBezTo>
                    <a:cubicBezTo>
                      <a:pt x="894" y="216"/>
                      <a:pt x="894" y="216"/>
                      <a:pt x="894" y="216"/>
                    </a:cubicBezTo>
                    <a:cubicBezTo>
                      <a:pt x="891" y="215"/>
                      <a:pt x="891" y="215"/>
                      <a:pt x="891" y="215"/>
                    </a:cubicBezTo>
                    <a:cubicBezTo>
                      <a:pt x="886" y="215"/>
                      <a:pt x="886" y="215"/>
                      <a:pt x="886" y="215"/>
                    </a:cubicBezTo>
                    <a:cubicBezTo>
                      <a:pt x="885" y="214"/>
                      <a:pt x="885" y="214"/>
                      <a:pt x="885" y="214"/>
                    </a:cubicBezTo>
                    <a:cubicBezTo>
                      <a:pt x="888" y="212"/>
                      <a:pt x="888" y="212"/>
                      <a:pt x="888" y="212"/>
                    </a:cubicBezTo>
                    <a:cubicBezTo>
                      <a:pt x="885" y="207"/>
                      <a:pt x="885" y="207"/>
                      <a:pt x="885" y="207"/>
                    </a:cubicBezTo>
                    <a:cubicBezTo>
                      <a:pt x="881" y="205"/>
                      <a:pt x="881" y="205"/>
                      <a:pt x="881" y="205"/>
                    </a:cubicBezTo>
                    <a:cubicBezTo>
                      <a:pt x="879" y="204"/>
                      <a:pt x="879" y="204"/>
                      <a:pt x="879" y="204"/>
                    </a:cubicBezTo>
                    <a:cubicBezTo>
                      <a:pt x="878" y="200"/>
                      <a:pt x="878" y="200"/>
                      <a:pt x="878" y="200"/>
                    </a:cubicBezTo>
                    <a:cubicBezTo>
                      <a:pt x="877" y="196"/>
                      <a:pt x="877" y="196"/>
                      <a:pt x="877" y="196"/>
                    </a:cubicBezTo>
                    <a:close/>
                    <a:moveTo>
                      <a:pt x="872" y="182"/>
                    </a:moveTo>
                    <a:cubicBezTo>
                      <a:pt x="875" y="184"/>
                      <a:pt x="875" y="184"/>
                      <a:pt x="875" y="184"/>
                    </a:cubicBezTo>
                    <a:cubicBezTo>
                      <a:pt x="880" y="182"/>
                      <a:pt x="880" y="182"/>
                      <a:pt x="880" y="182"/>
                    </a:cubicBezTo>
                    <a:cubicBezTo>
                      <a:pt x="883" y="178"/>
                      <a:pt x="883" y="178"/>
                      <a:pt x="883" y="178"/>
                    </a:cubicBezTo>
                    <a:cubicBezTo>
                      <a:pt x="883" y="174"/>
                      <a:pt x="883" y="174"/>
                      <a:pt x="883" y="174"/>
                    </a:cubicBezTo>
                    <a:cubicBezTo>
                      <a:pt x="884" y="171"/>
                      <a:pt x="884" y="171"/>
                      <a:pt x="884" y="171"/>
                    </a:cubicBezTo>
                    <a:cubicBezTo>
                      <a:pt x="883" y="168"/>
                      <a:pt x="883" y="168"/>
                      <a:pt x="883" y="168"/>
                    </a:cubicBezTo>
                    <a:cubicBezTo>
                      <a:pt x="885" y="164"/>
                      <a:pt x="885" y="164"/>
                      <a:pt x="885" y="164"/>
                    </a:cubicBezTo>
                    <a:cubicBezTo>
                      <a:pt x="881" y="165"/>
                      <a:pt x="881" y="165"/>
                      <a:pt x="881" y="165"/>
                    </a:cubicBezTo>
                    <a:cubicBezTo>
                      <a:pt x="879" y="165"/>
                      <a:pt x="879" y="165"/>
                      <a:pt x="879" y="165"/>
                    </a:cubicBezTo>
                    <a:cubicBezTo>
                      <a:pt x="876" y="163"/>
                      <a:pt x="876" y="163"/>
                      <a:pt x="876" y="163"/>
                    </a:cubicBezTo>
                    <a:cubicBezTo>
                      <a:pt x="874" y="165"/>
                      <a:pt x="874" y="165"/>
                      <a:pt x="874" y="165"/>
                    </a:cubicBezTo>
                    <a:cubicBezTo>
                      <a:pt x="871" y="166"/>
                      <a:pt x="871" y="166"/>
                      <a:pt x="871" y="166"/>
                    </a:cubicBezTo>
                    <a:cubicBezTo>
                      <a:pt x="870" y="169"/>
                      <a:pt x="870" y="169"/>
                      <a:pt x="870" y="169"/>
                    </a:cubicBezTo>
                    <a:cubicBezTo>
                      <a:pt x="870" y="173"/>
                      <a:pt x="870" y="173"/>
                      <a:pt x="870" y="173"/>
                    </a:cubicBezTo>
                    <a:cubicBezTo>
                      <a:pt x="869" y="177"/>
                      <a:pt x="869" y="177"/>
                      <a:pt x="869" y="177"/>
                    </a:cubicBezTo>
                    <a:cubicBezTo>
                      <a:pt x="872" y="182"/>
                      <a:pt x="872" y="182"/>
                      <a:pt x="872" y="182"/>
                    </a:cubicBezTo>
                    <a:close/>
                    <a:moveTo>
                      <a:pt x="1196" y="456"/>
                    </a:moveTo>
                    <a:cubicBezTo>
                      <a:pt x="1200" y="457"/>
                      <a:pt x="1200" y="457"/>
                      <a:pt x="1200" y="457"/>
                    </a:cubicBezTo>
                    <a:cubicBezTo>
                      <a:pt x="1204" y="455"/>
                      <a:pt x="1204" y="455"/>
                      <a:pt x="1204" y="455"/>
                    </a:cubicBezTo>
                    <a:cubicBezTo>
                      <a:pt x="1205" y="459"/>
                      <a:pt x="1205" y="459"/>
                      <a:pt x="1205" y="459"/>
                    </a:cubicBezTo>
                    <a:cubicBezTo>
                      <a:pt x="1208" y="459"/>
                      <a:pt x="1208" y="459"/>
                      <a:pt x="1208" y="459"/>
                    </a:cubicBezTo>
                    <a:cubicBezTo>
                      <a:pt x="1209" y="461"/>
                      <a:pt x="1209" y="461"/>
                      <a:pt x="1209" y="461"/>
                    </a:cubicBezTo>
                    <a:cubicBezTo>
                      <a:pt x="1213" y="461"/>
                      <a:pt x="1213" y="461"/>
                      <a:pt x="1213" y="461"/>
                    </a:cubicBezTo>
                    <a:cubicBezTo>
                      <a:pt x="1219" y="456"/>
                      <a:pt x="1219" y="456"/>
                      <a:pt x="1219" y="456"/>
                    </a:cubicBezTo>
                    <a:cubicBezTo>
                      <a:pt x="1223" y="456"/>
                      <a:pt x="1223" y="456"/>
                      <a:pt x="1223" y="456"/>
                    </a:cubicBezTo>
                    <a:cubicBezTo>
                      <a:pt x="1229" y="459"/>
                      <a:pt x="1229" y="459"/>
                      <a:pt x="1229" y="459"/>
                    </a:cubicBezTo>
                    <a:cubicBezTo>
                      <a:pt x="1232" y="458"/>
                      <a:pt x="1232" y="458"/>
                      <a:pt x="1232" y="458"/>
                    </a:cubicBezTo>
                    <a:cubicBezTo>
                      <a:pt x="1234" y="460"/>
                      <a:pt x="1234" y="460"/>
                      <a:pt x="1234" y="460"/>
                    </a:cubicBezTo>
                    <a:cubicBezTo>
                      <a:pt x="1236" y="458"/>
                      <a:pt x="1236" y="458"/>
                      <a:pt x="1236" y="458"/>
                    </a:cubicBezTo>
                    <a:cubicBezTo>
                      <a:pt x="1236" y="456"/>
                      <a:pt x="1236" y="456"/>
                      <a:pt x="1236" y="456"/>
                    </a:cubicBezTo>
                    <a:cubicBezTo>
                      <a:pt x="1239" y="451"/>
                      <a:pt x="1239" y="451"/>
                      <a:pt x="1239" y="451"/>
                    </a:cubicBezTo>
                    <a:cubicBezTo>
                      <a:pt x="1241" y="451"/>
                      <a:pt x="1241" y="451"/>
                      <a:pt x="1241" y="451"/>
                    </a:cubicBezTo>
                    <a:cubicBezTo>
                      <a:pt x="1241" y="449"/>
                      <a:pt x="1241" y="449"/>
                      <a:pt x="1241" y="449"/>
                    </a:cubicBezTo>
                    <a:cubicBezTo>
                      <a:pt x="1239" y="445"/>
                      <a:pt x="1239" y="445"/>
                      <a:pt x="1239" y="445"/>
                    </a:cubicBezTo>
                    <a:cubicBezTo>
                      <a:pt x="1239" y="441"/>
                      <a:pt x="1239" y="441"/>
                      <a:pt x="1239" y="441"/>
                    </a:cubicBezTo>
                    <a:cubicBezTo>
                      <a:pt x="1241" y="443"/>
                      <a:pt x="1241" y="443"/>
                      <a:pt x="1241" y="443"/>
                    </a:cubicBezTo>
                    <a:cubicBezTo>
                      <a:pt x="1241" y="445"/>
                      <a:pt x="1241" y="445"/>
                      <a:pt x="1241" y="445"/>
                    </a:cubicBezTo>
                    <a:cubicBezTo>
                      <a:pt x="1244" y="450"/>
                      <a:pt x="1244" y="450"/>
                      <a:pt x="1244" y="450"/>
                    </a:cubicBezTo>
                    <a:cubicBezTo>
                      <a:pt x="1246" y="447"/>
                      <a:pt x="1246" y="447"/>
                      <a:pt x="1246" y="447"/>
                    </a:cubicBezTo>
                    <a:cubicBezTo>
                      <a:pt x="1248" y="448"/>
                      <a:pt x="1248" y="448"/>
                      <a:pt x="1248" y="448"/>
                    </a:cubicBezTo>
                    <a:cubicBezTo>
                      <a:pt x="1251" y="447"/>
                      <a:pt x="1251" y="447"/>
                      <a:pt x="1251" y="447"/>
                    </a:cubicBezTo>
                    <a:cubicBezTo>
                      <a:pt x="1253" y="448"/>
                      <a:pt x="1253" y="448"/>
                      <a:pt x="1253" y="448"/>
                    </a:cubicBezTo>
                    <a:cubicBezTo>
                      <a:pt x="1253" y="446"/>
                      <a:pt x="1253" y="446"/>
                      <a:pt x="1253" y="446"/>
                    </a:cubicBezTo>
                    <a:cubicBezTo>
                      <a:pt x="1252" y="442"/>
                      <a:pt x="1252" y="442"/>
                      <a:pt x="1252" y="442"/>
                    </a:cubicBezTo>
                    <a:cubicBezTo>
                      <a:pt x="1253" y="440"/>
                      <a:pt x="1253" y="440"/>
                      <a:pt x="1253" y="440"/>
                    </a:cubicBezTo>
                    <a:cubicBezTo>
                      <a:pt x="1250" y="438"/>
                      <a:pt x="1250" y="438"/>
                      <a:pt x="1250" y="438"/>
                    </a:cubicBezTo>
                    <a:cubicBezTo>
                      <a:pt x="1246" y="439"/>
                      <a:pt x="1246" y="439"/>
                      <a:pt x="1246" y="439"/>
                    </a:cubicBezTo>
                    <a:cubicBezTo>
                      <a:pt x="1242" y="439"/>
                      <a:pt x="1242" y="439"/>
                      <a:pt x="1242" y="439"/>
                    </a:cubicBezTo>
                    <a:cubicBezTo>
                      <a:pt x="1241" y="436"/>
                      <a:pt x="1241" y="436"/>
                      <a:pt x="1241" y="436"/>
                    </a:cubicBezTo>
                    <a:cubicBezTo>
                      <a:pt x="1243" y="435"/>
                      <a:pt x="1243" y="435"/>
                      <a:pt x="1243" y="435"/>
                    </a:cubicBezTo>
                    <a:cubicBezTo>
                      <a:pt x="1245" y="436"/>
                      <a:pt x="1245" y="436"/>
                      <a:pt x="1245" y="436"/>
                    </a:cubicBezTo>
                    <a:cubicBezTo>
                      <a:pt x="1249" y="435"/>
                      <a:pt x="1249" y="435"/>
                      <a:pt x="1249" y="435"/>
                    </a:cubicBezTo>
                    <a:cubicBezTo>
                      <a:pt x="1251" y="432"/>
                      <a:pt x="1251" y="432"/>
                      <a:pt x="1251" y="432"/>
                    </a:cubicBezTo>
                    <a:cubicBezTo>
                      <a:pt x="1253" y="433"/>
                      <a:pt x="1253" y="433"/>
                      <a:pt x="1253" y="433"/>
                    </a:cubicBezTo>
                    <a:cubicBezTo>
                      <a:pt x="1256" y="433"/>
                      <a:pt x="1256" y="433"/>
                      <a:pt x="1256" y="433"/>
                    </a:cubicBezTo>
                    <a:cubicBezTo>
                      <a:pt x="1258" y="430"/>
                      <a:pt x="1258" y="430"/>
                      <a:pt x="1258" y="430"/>
                    </a:cubicBezTo>
                    <a:cubicBezTo>
                      <a:pt x="1257" y="427"/>
                      <a:pt x="1257" y="427"/>
                      <a:pt x="1257" y="427"/>
                    </a:cubicBezTo>
                    <a:cubicBezTo>
                      <a:pt x="1259" y="424"/>
                      <a:pt x="1259" y="424"/>
                      <a:pt x="1259" y="424"/>
                    </a:cubicBezTo>
                    <a:cubicBezTo>
                      <a:pt x="1258" y="422"/>
                      <a:pt x="1258" y="422"/>
                      <a:pt x="1258" y="422"/>
                    </a:cubicBezTo>
                    <a:cubicBezTo>
                      <a:pt x="1260" y="421"/>
                      <a:pt x="1260" y="421"/>
                      <a:pt x="1260" y="421"/>
                    </a:cubicBezTo>
                    <a:cubicBezTo>
                      <a:pt x="1261" y="419"/>
                      <a:pt x="1261" y="419"/>
                      <a:pt x="1261" y="419"/>
                    </a:cubicBezTo>
                    <a:cubicBezTo>
                      <a:pt x="1256" y="418"/>
                      <a:pt x="1256" y="418"/>
                      <a:pt x="1256" y="418"/>
                    </a:cubicBezTo>
                    <a:cubicBezTo>
                      <a:pt x="1253" y="419"/>
                      <a:pt x="1253" y="419"/>
                      <a:pt x="1253" y="419"/>
                    </a:cubicBezTo>
                    <a:cubicBezTo>
                      <a:pt x="1254" y="416"/>
                      <a:pt x="1254" y="416"/>
                      <a:pt x="1254" y="416"/>
                    </a:cubicBezTo>
                    <a:cubicBezTo>
                      <a:pt x="1256" y="415"/>
                      <a:pt x="1256" y="415"/>
                      <a:pt x="1256" y="415"/>
                    </a:cubicBezTo>
                    <a:cubicBezTo>
                      <a:pt x="1257" y="412"/>
                      <a:pt x="1257" y="412"/>
                      <a:pt x="1257" y="412"/>
                    </a:cubicBezTo>
                    <a:cubicBezTo>
                      <a:pt x="1253" y="410"/>
                      <a:pt x="1253" y="410"/>
                      <a:pt x="1253" y="410"/>
                    </a:cubicBezTo>
                    <a:cubicBezTo>
                      <a:pt x="1246" y="410"/>
                      <a:pt x="1246" y="410"/>
                      <a:pt x="1246" y="410"/>
                    </a:cubicBezTo>
                    <a:cubicBezTo>
                      <a:pt x="1244" y="407"/>
                      <a:pt x="1244" y="407"/>
                      <a:pt x="1244" y="407"/>
                    </a:cubicBezTo>
                    <a:cubicBezTo>
                      <a:pt x="1245" y="405"/>
                      <a:pt x="1245" y="405"/>
                      <a:pt x="1245" y="405"/>
                    </a:cubicBezTo>
                    <a:cubicBezTo>
                      <a:pt x="1247" y="405"/>
                      <a:pt x="1247" y="405"/>
                      <a:pt x="1247" y="405"/>
                    </a:cubicBezTo>
                    <a:cubicBezTo>
                      <a:pt x="1246" y="401"/>
                      <a:pt x="1246" y="401"/>
                      <a:pt x="1246" y="401"/>
                    </a:cubicBezTo>
                    <a:cubicBezTo>
                      <a:pt x="1239" y="396"/>
                      <a:pt x="1239" y="396"/>
                      <a:pt x="1239" y="396"/>
                    </a:cubicBezTo>
                    <a:cubicBezTo>
                      <a:pt x="1236" y="396"/>
                      <a:pt x="1236" y="396"/>
                      <a:pt x="1236" y="396"/>
                    </a:cubicBezTo>
                    <a:cubicBezTo>
                      <a:pt x="1233" y="398"/>
                      <a:pt x="1233" y="398"/>
                      <a:pt x="1233" y="398"/>
                    </a:cubicBezTo>
                    <a:cubicBezTo>
                      <a:pt x="1228" y="398"/>
                      <a:pt x="1228" y="398"/>
                      <a:pt x="1228" y="398"/>
                    </a:cubicBezTo>
                    <a:cubicBezTo>
                      <a:pt x="1223" y="400"/>
                      <a:pt x="1223" y="400"/>
                      <a:pt x="1223" y="400"/>
                    </a:cubicBezTo>
                    <a:cubicBezTo>
                      <a:pt x="1216" y="395"/>
                      <a:pt x="1216" y="395"/>
                      <a:pt x="1216" y="395"/>
                    </a:cubicBezTo>
                    <a:cubicBezTo>
                      <a:pt x="1215" y="392"/>
                      <a:pt x="1215" y="392"/>
                      <a:pt x="1215" y="392"/>
                    </a:cubicBezTo>
                    <a:cubicBezTo>
                      <a:pt x="1213" y="391"/>
                      <a:pt x="1213" y="391"/>
                      <a:pt x="1213" y="391"/>
                    </a:cubicBezTo>
                    <a:cubicBezTo>
                      <a:pt x="1210" y="394"/>
                      <a:pt x="1210" y="394"/>
                      <a:pt x="1210" y="394"/>
                    </a:cubicBezTo>
                    <a:cubicBezTo>
                      <a:pt x="1207" y="393"/>
                      <a:pt x="1207" y="393"/>
                      <a:pt x="1207" y="393"/>
                    </a:cubicBezTo>
                    <a:cubicBezTo>
                      <a:pt x="1205" y="394"/>
                      <a:pt x="1205" y="394"/>
                      <a:pt x="1205" y="394"/>
                    </a:cubicBezTo>
                    <a:cubicBezTo>
                      <a:pt x="1201" y="394"/>
                      <a:pt x="1201" y="394"/>
                      <a:pt x="1201" y="394"/>
                    </a:cubicBezTo>
                    <a:cubicBezTo>
                      <a:pt x="1199" y="398"/>
                      <a:pt x="1199" y="398"/>
                      <a:pt x="1199" y="398"/>
                    </a:cubicBezTo>
                    <a:cubicBezTo>
                      <a:pt x="1197" y="396"/>
                      <a:pt x="1197" y="396"/>
                      <a:pt x="1197" y="396"/>
                    </a:cubicBezTo>
                    <a:cubicBezTo>
                      <a:pt x="1194" y="394"/>
                      <a:pt x="1194" y="394"/>
                      <a:pt x="1194" y="394"/>
                    </a:cubicBezTo>
                    <a:cubicBezTo>
                      <a:pt x="1191" y="395"/>
                      <a:pt x="1191" y="395"/>
                      <a:pt x="1191" y="395"/>
                    </a:cubicBezTo>
                    <a:cubicBezTo>
                      <a:pt x="1186" y="396"/>
                      <a:pt x="1186" y="396"/>
                      <a:pt x="1186" y="396"/>
                    </a:cubicBezTo>
                    <a:cubicBezTo>
                      <a:pt x="1186" y="398"/>
                      <a:pt x="1186" y="398"/>
                      <a:pt x="1186" y="398"/>
                    </a:cubicBezTo>
                    <a:cubicBezTo>
                      <a:pt x="1185" y="399"/>
                      <a:pt x="1185" y="399"/>
                      <a:pt x="1185" y="399"/>
                    </a:cubicBezTo>
                    <a:cubicBezTo>
                      <a:pt x="1185" y="397"/>
                      <a:pt x="1185" y="397"/>
                      <a:pt x="1185" y="397"/>
                    </a:cubicBezTo>
                    <a:cubicBezTo>
                      <a:pt x="1183" y="395"/>
                      <a:pt x="1183" y="395"/>
                      <a:pt x="1183" y="395"/>
                    </a:cubicBezTo>
                    <a:cubicBezTo>
                      <a:pt x="1179" y="396"/>
                      <a:pt x="1179" y="396"/>
                      <a:pt x="1179" y="396"/>
                    </a:cubicBezTo>
                    <a:cubicBezTo>
                      <a:pt x="1171" y="395"/>
                      <a:pt x="1171" y="395"/>
                      <a:pt x="1171" y="395"/>
                    </a:cubicBezTo>
                    <a:cubicBezTo>
                      <a:pt x="1170" y="396"/>
                      <a:pt x="1170" y="396"/>
                      <a:pt x="1170" y="396"/>
                    </a:cubicBezTo>
                    <a:cubicBezTo>
                      <a:pt x="1173" y="399"/>
                      <a:pt x="1173" y="399"/>
                      <a:pt x="1173" y="399"/>
                    </a:cubicBezTo>
                    <a:cubicBezTo>
                      <a:pt x="1173" y="402"/>
                      <a:pt x="1173" y="402"/>
                      <a:pt x="1173" y="402"/>
                    </a:cubicBezTo>
                    <a:cubicBezTo>
                      <a:pt x="1176" y="404"/>
                      <a:pt x="1176" y="404"/>
                      <a:pt x="1176" y="404"/>
                    </a:cubicBezTo>
                    <a:cubicBezTo>
                      <a:pt x="1172" y="403"/>
                      <a:pt x="1172" y="403"/>
                      <a:pt x="1172" y="403"/>
                    </a:cubicBezTo>
                    <a:cubicBezTo>
                      <a:pt x="1170" y="401"/>
                      <a:pt x="1170" y="401"/>
                      <a:pt x="1170" y="401"/>
                    </a:cubicBezTo>
                    <a:cubicBezTo>
                      <a:pt x="1167" y="400"/>
                      <a:pt x="1167" y="400"/>
                      <a:pt x="1167" y="400"/>
                    </a:cubicBezTo>
                    <a:cubicBezTo>
                      <a:pt x="1162" y="401"/>
                      <a:pt x="1162" y="401"/>
                      <a:pt x="1162" y="401"/>
                    </a:cubicBezTo>
                    <a:cubicBezTo>
                      <a:pt x="1160" y="400"/>
                      <a:pt x="1160" y="400"/>
                      <a:pt x="1160" y="400"/>
                    </a:cubicBezTo>
                    <a:cubicBezTo>
                      <a:pt x="1164" y="399"/>
                      <a:pt x="1164" y="399"/>
                      <a:pt x="1164" y="399"/>
                    </a:cubicBezTo>
                    <a:cubicBezTo>
                      <a:pt x="1164" y="396"/>
                      <a:pt x="1164" y="396"/>
                      <a:pt x="1164" y="396"/>
                    </a:cubicBezTo>
                    <a:cubicBezTo>
                      <a:pt x="1160" y="392"/>
                      <a:pt x="1160" y="392"/>
                      <a:pt x="1160" y="392"/>
                    </a:cubicBezTo>
                    <a:cubicBezTo>
                      <a:pt x="1161" y="389"/>
                      <a:pt x="1161" y="389"/>
                      <a:pt x="1161" y="389"/>
                    </a:cubicBezTo>
                    <a:cubicBezTo>
                      <a:pt x="1159" y="387"/>
                      <a:pt x="1159" y="387"/>
                      <a:pt x="1159" y="387"/>
                    </a:cubicBezTo>
                    <a:cubicBezTo>
                      <a:pt x="1155" y="390"/>
                      <a:pt x="1155" y="390"/>
                      <a:pt x="1155" y="390"/>
                    </a:cubicBezTo>
                    <a:cubicBezTo>
                      <a:pt x="1156" y="392"/>
                      <a:pt x="1156" y="392"/>
                      <a:pt x="1156" y="392"/>
                    </a:cubicBezTo>
                    <a:cubicBezTo>
                      <a:pt x="1155" y="394"/>
                      <a:pt x="1155" y="394"/>
                      <a:pt x="1155" y="394"/>
                    </a:cubicBezTo>
                    <a:cubicBezTo>
                      <a:pt x="1152" y="393"/>
                      <a:pt x="1152" y="393"/>
                      <a:pt x="1152" y="393"/>
                    </a:cubicBezTo>
                    <a:cubicBezTo>
                      <a:pt x="1153" y="391"/>
                      <a:pt x="1153" y="391"/>
                      <a:pt x="1153" y="391"/>
                    </a:cubicBezTo>
                    <a:cubicBezTo>
                      <a:pt x="1153" y="389"/>
                      <a:pt x="1153" y="389"/>
                      <a:pt x="1153" y="389"/>
                    </a:cubicBezTo>
                    <a:cubicBezTo>
                      <a:pt x="1149" y="388"/>
                      <a:pt x="1149" y="388"/>
                      <a:pt x="1149" y="388"/>
                    </a:cubicBezTo>
                    <a:cubicBezTo>
                      <a:pt x="1147" y="390"/>
                      <a:pt x="1147" y="390"/>
                      <a:pt x="1147" y="390"/>
                    </a:cubicBezTo>
                    <a:cubicBezTo>
                      <a:pt x="1144" y="390"/>
                      <a:pt x="1144" y="390"/>
                      <a:pt x="1144" y="390"/>
                    </a:cubicBezTo>
                    <a:cubicBezTo>
                      <a:pt x="1145" y="386"/>
                      <a:pt x="1145" y="386"/>
                      <a:pt x="1145" y="386"/>
                    </a:cubicBezTo>
                    <a:cubicBezTo>
                      <a:pt x="1145" y="384"/>
                      <a:pt x="1145" y="384"/>
                      <a:pt x="1145" y="384"/>
                    </a:cubicBezTo>
                    <a:cubicBezTo>
                      <a:pt x="1145" y="380"/>
                      <a:pt x="1145" y="380"/>
                      <a:pt x="1145" y="380"/>
                    </a:cubicBezTo>
                    <a:cubicBezTo>
                      <a:pt x="1141" y="382"/>
                      <a:pt x="1141" y="382"/>
                      <a:pt x="1141" y="382"/>
                    </a:cubicBezTo>
                    <a:cubicBezTo>
                      <a:pt x="1137" y="386"/>
                      <a:pt x="1137" y="386"/>
                      <a:pt x="1137" y="386"/>
                    </a:cubicBezTo>
                    <a:cubicBezTo>
                      <a:pt x="1137" y="390"/>
                      <a:pt x="1137" y="390"/>
                      <a:pt x="1137" y="390"/>
                    </a:cubicBezTo>
                    <a:cubicBezTo>
                      <a:pt x="1135" y="390"/>
                      <a:pt x="1135" y="390"/>
                      <a:pt x="1135" y="390"/>
                    </a:cubicBezTo>
                    <a:cubicBezTo>
                      <a:pt x="1133" y="387"/>
                      <a:pt x="1133" y="387"/>
                      <a:pt x="1133" y="387"/>
                    </a:cubicBezTo>
                    <a:cubicBezTo>
                      <a:pt x="1135" y="384"/>
                      <a:pt x="1135" y="384"/>
                      <a:pt x="1135" y="384"/>
                    </a:cubicBezTo>
                    <a:cubicBezTo>
                      <a:pt x="1135" y="382"/>
                      <a:pt x="1135" y="382"/>
                      <a:pt x="1135" y="382"/>
                    </a:cubicBezTo>
                    <a:cubicBezTo>
                      <a:pt x="1137" y="376"/>
                      <a:pt x="1137" y="376"/>
                      <a:pt x="1137" y="376"/>
                    </a:cubicBezTo>
                    <a:cubicBezTo>
                      <a:pt x="1134" y="374"/>
                      <a:pt x="1134" y="374"/>
                      <a:pt x="1134" y="374"/>
                    </a:cubicBezTo>
                    <a:cubicBezTo>
                      <a:pt x="1130" y="375"/>
                      <a:pt x="1130" y="375"/>
                      <a:pt x="1130" y="375"/>
                    </a:cubicBezTo>
                    <a:cubicBezTo>
                      <a:pt x="1130" y="373"/>
                      <a:pt x="1130" y="373"/>
                      <a:pt x="1130" y="373"/>
                    </a:cubicBezTo>
                    <a:cubicBezTo>
                      <a:pt x="1133" y="372"/>
                      <a:pt x="1133" y="372"/>
                      <a:pt x="1133" y="372"/>
                    </a:cubicBezTo>
                    <a:cubicBezTo>
                      <a:pt x="1135" y="368"/>
                      <a:pt x="1135" y="368"/>
                      <a:pt x="1135" y="368"/>
                    </a:cubicBezTo>
                    <a:cubicBezTo>
                      <a:pt x="1134" y="365"/>
                      <a:pt x="1134" y="365"/>
                      <a:pt x="1134" y="365"/>
                    </a:cubicBezTo>
                    <a:cubicBezTo>
                      <a:pt x="1132" y="366"/>
                      <a:pt x="1132" y="366"/>
                      <a:pt x="1132" y="366"/>
                    </a:cubicBezTo>
                    <a:cubicBezTo>
                      <a:pt x="1128" y="365"/>
                      <a:pt x="1128" y="365"/>
                      <a:pt x="1128" y="365"/>
                    </a:cubicBezTo>
                    <a:cubicBezTo>
                      <a:pt x="1127" y="366"/>
                      <a:pt x="1127" y="366"/>
                      <a:pt x="1127" y="366"/>
                    </a:cubicBezTo>
                    <a:cubicBezTo>
                      <a:pt x="1123" y="366"/>
                      <a:pt x="1123" y="366"/>
                      <a:pt x="1123" y="366"/>
                    </a:cubicBezTo>
                    <a:cubicBezTo>
                      <a:pt x="1126" y="365"/>
                      <a:pt x="1126" y="365"/>
                      <a:pt x="1126" y="365"/>
                    </a:cubicBezTo>
                    <a:cubicBezTo>
                      <a:pt x="1125" y="363"/>
                      <a:pt x="1125" y="363"/>
                      <a:pt x="1125" y="363"/>
                    </a:cubicBezTo>
                    <a:cubicBezTo>
                      <a:pt x="1122" y="363"/>
                      <a:pt x="1122" y="363"/>
                      <a:pt x="1122" y="363"/>
                    </a:cubicBezTo>
                    <a:cubicBezTo>
                      <a:pt x="1120" y="365"/>
                      <a:pt x="1120" y="365"/>
                      <a:pt x="1120" y="365"/>
                    </a:cubicBezTo>
                    <a:cubicBezTo>
                      <a:pt x="1115" y="366"/>
                      <a:pt x="1115" y="366"/>
                      <a:pt x="1115" y="366"/>
                    </a:cubicBezTo>
                    <a:cubicBezTo>
                      <a:pt x="1115" y="364"/>
                      <a:pt x="1115" y="364"/>
                      <a:pt x="1115" y="364"/>
                    </a:cubicBezTo>
                    <a:cubicBezTo>
                      <a:pt x="1117" y="363"/>
                      <a:pt x="1117" y="363"/>
                      <a:pt x="1117" y="363"/>
                    </a:cubicBezTo>
                    <a:cubicBezTo>
                      <a:pt x="1119" y="360"/>
                      <a:pt x="1119" y="360"/>
                      <a:pt x="1119" y="360"/>
                    </a:cubicBezTo>
                    <a:cubicBezTo>
                      <a:pt x="1120" y="357"/>
                      <a:pt x="1120" y="357"/>
                      <a:pt x="1120" y="357"/>
                    </a:cubicBezTo>
                    <a:cubicBezTo>
                      <a:pt x="1122" y="357"/>
                      <a:pt x="1122" y="357"/>
                      <a:pt x="1122" y="357"/>
                    </a:cubicBezTo>
                    <a:cubicBezTo>
                      <a:pt x="1126" y="361"/>
                      <a:pt x="1126" y="361"/>
                      <a:pt x="1126" y="361"/>
                    </a:cubicBezTo>
                    <a:cubicBezTo>
                      <a:pt x="1131" y="361"/>
                      <a:pt x="1131" y="361"/>
                      <a:pt x="1131" y="361"/>
                    </a:cubicBezTo>
                    <a:cubicBezTo>
                      <a:pt x="1130" y="359"/>
                      <a:pt x="1130" y="359"/>
                      <a:pt x="1130" y="359"/>
                    </a:cubicBezTo>
                    <a:cubicBezTo>
                      <a:pt x="1127" y="355"/>
                      <a:pt x="1127" y="355"/>
                      <a:pt x="1127" y="355"/>
                    </a:cubicBezTo>
                    <a:cubicBezTo>
                      <a:pt x="1124" y="355"/>
                      <a:pt x="1124" y="355"/>
                      <a:pt x="1124" y="355"/>
                    </a:cubicBezTo>
                    <a:cubicBezTo>
                      <a:pt x="1126" y="353"/>
                      <a:pt x="1126" y="353"/>
                      <a:pt x="1126" y="353"/>
                    </a:cubicBezTo>
                    <a:cubicBezTo>
                      <a:pt x="1121" y="349"/>
                      <a:pt x="1121" y="349"/>
                      <a:pt x="1121" y="349"/>
                    </a:cubicBezTo>
                    <a:cubicBezTo>
                      <a:pt x="1117" y="347"/>
                      <a:pt x="1117" y="347"/>
                      <a:pt x="1117" y="347"/>
                    </a:cubicBezTo>
                    <a:cubicBezTo>
                      <a:pt x="1119" y="346"/>
                      <a:pt x="1119" y="346"/>
                      <a:pt x="1119" y="346"/>
                    </a:cubicBezTo>
                    <a:cubicBezTo>
                      <a:pt x="1120" y="344"/>
                      <a:pt x="1120" y="344"/>
                      <a:pt x="1120" y="344"/>
                    </a:cubicBezTo>
                    <a:cubicBezTo>
                      <a:pt x="1122" y="344"/>
                      <a:pt x="1122" y="344"/>
                      <a:pt x="1122" y="344"/>
                    </a:cubicBezTo>
                    <a:cubicBezTo>
                      <a:pt x="1123" y="347"/>
                      <a:pt x="1123" y="347"/>
                      <a:pt x="1123" y="347"/>
                    </a:cubicBezTo>
                    <a:cubicBezTo>
                      <a:pt x="1127" y="351"/>
                      <a:pt x="1127" y="351"/>
                      <a:pt x="1127" y="351"/>
                    </a:cubicBezTo>
                    <a:cubicBezTo>
                      <a:pt x="1132" y="352"/>
                      <a:pt x="1132" y="352"/>
                      <a:pt x="1132" y="352"/>
                    </a:cubicBezTo>
                    <a:cubicBezTo>
                      <a:pt x="1135" y="355"/>
                      <a:pt x="1135" y="355"/>
                      <a:pt x="1135" y="355"/>
                    </a:cubicBezTo>
                    <a:cubicBezTo>
                      <a:pt x="1137" y="353"/>
                      <a:pt x="1137" y="353"/>
                      <a:pt x="1137" y="353"/>
                    </a:cubicBezTo>
                    <a:cubicBezTo>
                      <a:pt x="1139" y="356"/>
                      <a:pt x="1139" y="356"/>
                      <a:pt x="1139" y="356"/>
                    </a:cubicBezTo>
                    <a:cubicBezTo>
                      <a:pt x="1145" y="357"/>
                      <a:pt x="1145" y="357"/>
                      <a:pt x="1145" y="357"/>
                    </a:cubicBezTo>
                    <a:cubicBezTo>
                      <a:pt x="1149" y="357"/>
                      <a:pt x="1149" y="357"/>
                      <a:pt x="1149" y="357"/>
                    </a:cubicBezTo>
                    <a:cubicBezTo>
                      <a:pt x="1150" y="354"/>
                      <a:pt x="1150" y="354"/>
                      <a:pt x="1150" y="354"/>
                    </a:cubicBezTo>
                    <a:cubicBezTo>
                      <a:pt x="1149" y="350"/>
                      <a:pt x="1149" y="350"/>
                      <a:pt x="1149" y="350"/>
                    </a:cubicBezTo>
                    <a:cubicBezTo>
                      <a:pt x="1141" y="344"/>
                      <a:pt x="1141" y="344"/>
                      <a:pt x="1141" y="344"/>
                    </a:cubicBezTo>
                    <a:cubicBezTo>
                      <a:pt x="1138" y="341"/>
                      <a:pt x="1138" y="341"/>
                      <a:pt x="1138" y="341"/>
                    </a:cubicBezTo>
                    <a:cubicBezTo>
                      <a:pt x="1136" y="341"/>
                      <a:pt x="1136" y="341"/>
                      <a:pt x="1136" y="341"/>
                    </a:cubicBezTo>
                    <a:cubicBezTo>
                      <a:pt x="1135" y="338"/>
                      <a:pt x="1135" y="338"/>
                      <a:pt x="1135" y="338"/>
                    </a:cubicBezTo>
                    <a:cubicBezTo>
                      <a:pt x="1132" y="335"/>
                      <a:pt x="1132" y="335"/>
                      <a:pt x="1132" y="335"/>
                    </a:cubicBezTo>
                    <a:cubicBezTo>
                      <a:pt x="1130" y="335"/>
                      <a:pt x="1130" y="335"/>
                      <a:pt x="1130" y="335"/>
                    </a:cubicBezTo>
                    <a:cubicBezTo>
                      <a:pt x="1128" y="333"/>
                      <a:pt x="1128" y="333"/>
                      <a:pt x="1128" y="333"/>
                    </a:cubicBezTo>
                    <a:cubicBezTo>
                      <a:pt x="1129" y="331"/>
                      <a:pt x="1129" y="331"/>
                      <a:pt x="1129" y="331"/>
                    </a:cubicBezTo>
                    <a:cubicBezTo>
                      <a:pt x="1132" y="332"/>
                      <a:pt x="1132" y="332"/>
                      <a:pt x="1132" y="332"/>
                    </a:cubicBezTo>
                    <a:cubicBezTo>
                      <a:pt x="1135" y="335"/>
                      <a:pt x="1135" y="335"/>
                      <a:pt x="1135" y="335"/>
                    </a:cubicBezTo>
                    <a:cubicBezTo>
                      <a:pt x="1137" y="335"/>
                      <a:pt x="1137" y="335"/>
                      <a:pt x="1137" y="335"/>
                    </a:cubicBezTo>
                    <a:cubicBezTo>
                      <a:pt x="1138" y="338"/>
                      <a:pt x="1138" y="338"/>
                      <a:pt x="1138" y="338"/>
                    </a:cubicBezTo>
                    <a:cubicBezTo>
                      <a:pt x="1140" y="338"/>
                      <a:pt x="1140" y="338"/>
                      <a:pt x="1140" y="338"/>
                    </a:cubicBezTo>
                    <a:cubicBezTo>
                      <a:pt x="1142" y="336"/>
                      <a:pt x="1142" y="336"/>
                      <a:pt x="1142" y="336"/>
                    </a:cubicBezTo>
                    <a:cubicBezTo>
                      <a:pt x="1140" y="330"/>
                      <a:pt x="1140" y="330"/>
                      <a:pt x="1140" y="330"/>
                    </a:cubicBezTo>
                    <a:cubicBezTo>
                      <a:pt x="1136" y="324"/>
                      <a:pt x="1136" y="324"/>
                      <a:pt x="1136" y="324"/>
                    </a:cubicBezTo>
                    <a:cubicBezTo>
                      <a:pt x="1133" y="324"/>
                      <a:pt x="1133" y="324"/>
                      <a:pt x="1133" y="324"/>
                    </a:cubicBezTo>
                    <a:cubicBezTo>
                      <a:pt x="1132" y="324"/>
                      <a:pt x="1132" y="324"/>
                      <a:pt x="1132" y="324"/>
                    </a:cubicBezTo>
                    <a:cubicBezTo>
                      <a:pt x="1128" y="324"/>
                      <a:pt x="1128" y="324"/>
                      <a:pt x="1128" y="324"/>
                    </a:cubicBezTo>
                    <a:cubicBezTo>
                      <a:pt x="1124" y="326"/>
                      <a:pt x="1124" y="326"/>
                      <a:pt x="1124" y="326"/>
                    </a:cubicBezTo>
                    <a:cubicBezTo>
                      <a:pt x="1120" y="326"/>
                      <a:pt x="1120" y="326"/>
                      <a:pt x="1120" y="326"/>
                    </a:cubicBezTo>
                    <a:cubicBezTo>
                      <a:pt x="1117" y="324"/>
                      <a:pt x="1117" y="324"/>
                      <a:pt x="1117" y="324"/>
                    </a:cubicBezTo>
                    <a:cubicBezTo>
                      <a:pt x="1114" y="324"/>
                      <a:pt x="1114" y="324"/>
                      <a:pt x="1114" y="324"/>
                    </a:cubicBezTo>
                    <a:cubicBezTo>
                      <a:pt x="1112" y="321"/>
                      <a:pt x="1112" y="321"/>
                      <a:pt x="1112" y="321"/>
                    </a:cubicBezTo>
                    <a:cubicBezTo>
                      <a:pt x="1108" y="327"/>
                      <a:pt x="1108" y="327"/>
                      <a:pt x="1108" y="327"/>
                    </a:cubicBezTo>
                    <a:cubicBezTo>
                      <a:pt x="1103" y="330"/>
                      <a:pt x="1103" y="330"/>
                      <a:pt x="1103" y="330"/>
                    </a:cubicBezTo>
                    <a:cubicBezTo>
                      <a:pt x="1102" y="333"/>
                      <a:pt x="1102" y="333"/>
                      <a:pt x="1102" y="333"/>
                    </a:cubicBezTo>
                    <a:cubicBezTo>
                      <a:pt x="1099" y="334"/>
                      <a:pt x="1099" y="334"/>
                      <a:pt x="1099" y="334"/>
                    </a:cubicBezTo>
                    <a:cubicBezTo>
                      <a:pt x="1099" y="332"/>
                      <a:pt x="1099" y="332"/>
                      <a:pt x="1099" y="332"/>
                    </a:cubicBezTo>
                    <a:cubicBezTo>
                      <a:pt x="1101" y="328"/>
                      <a:pt x="1101" y="328"/>
                      <a:pt x="1101" y="328"/>
                    </a:cubicBezTo>
                    <a:cubicBezTo>
                      <a:pt x="1104" y="327"/>
                      <a:pt x="1104" y="327"/>
                      <a:pt x="1104" y="327"/>
                    </a:cubicBezTo>
                    <a:cubicBezTo>
                      <a:pt x="1111" y="320"/>
                      <a:pt x="1111" y="320"/>
                      <a:pt x="1111" y="320"/>
                    </a:cubicBezTo>
                    <a:cubicBezTo>
                      <a:pt x="1112" y="318"/>
                      <a:pt x="1112" y="318"/>
                      <a:pt x="1112" y="318"/>
                    </a:cubicBezTo>
                    <a:cubicBezTo>
                      <a:pt x="1110" y="314"/>
                      <a:pt x="1110" y="314"/>
                      <a:pt x="1110" y="314"/>
                    </a:cubicBezTo>
                    <a:cubicBezTo>
                      <a:pt x="1110" y="306"/>
                      <a:pt x="1110" y="306"/>
                      <a:pt x="1110" y="306"/>
                    </a:cubicBezTo>
                    <a:cubicBezTo>
                      <a:pt x="1112" y="305"/>
                      <a:pt x="1112" y="305"/>
                      <a:pt x="1112" y="305"/>
                    </a:cubicBezTo>
                    <a:cubicBezTo>
                      <a:pt x="1109" y="302"/>
                      <a:pt x="1109" y="302"/>
                      <a:pt x="1109" y="302"/>
                    </a:cubicBezTo>
                    <a:cubicBezTo>
                      <a:pt x="1107" y="304"/>
                      <a:pt x="1107" y="304"/>
                      <a:pt x="1107" y="304"/>
                    </a:cubicBezTo>
                    <a:cubicBezTo>
                      <a:pt x="1103" y="304"/>
                      <a:pt x="1103" y="304"/>
                      <a:pt x="1103" y="304"/>
                    </a:cubicBezTo>
                    <a:cubicBezTo>
                      <a:pt x="1101" y="302"/>
                      <a:pt x="1101" y="302"/>
                      <a:pt x="1101" y="302"/>
                    </a:cubicBezTo>
                    <a:cubicBezTo>
                      <a:pt x="1101" y="298"/>
                      <a:pt x="1101" y="298"/>
                      <a:pt x="1101" y="298"/>
                    </a:cubicBezTo>
                    <a:cubicBezTo>
                      <a:pt x="1100" y="296"/>
                      <a:pt x="1100" y="296"/>
                      <a:pt x="1100" y="296"/>
                    </a:cubicBezTo>
                    <a:cubicBezTo>
                      <a:pt x="1094" y="294"/>
                      <a:pt x="1094" y="294"/>
                      <a:pt x="1094" y="294"/>
                    </a:cubicBezTo>
                    <a:cubicBezTo>
                      <a:pt x="1091" y="291"/>
                      <a:pt x="1091" y="291"/>
                      <a:pt x="1091" y="291"/>
                    </a:cubicBezTo>
                    <a:cubicBezTo>
                      <a:pt x="1087" y="291"/>
                      <a:pt x="1087" y="291"/>
                      <a:pt x="1087" y="291"/>
                    </a:cubicBezTo>
                    <a:cubicBezTo>
                      <a:pt x="1083" y="289"/>
                      <a:pt x="1083" y="289"/>
                      <a:pt x="1083" y="289"/>
                    </a:cubicBezTo>
                    <a:cubicBezTo>
                      <a:pt x="1081" y="290"/>
                      <a:pt x="1081" y="290"/>
                      <a:pt x="1081" y="290"/>
                    </a:cubicBezTo>
                    <a:cubicBezTo>
                      <a:pt x="1074" y="291"/>
                      <a:pt x="1074" y="291"/>
                      <a:pt x="1074" y="291"/>
                    </a:cubicBezTo>
                    <a:cubicBezTo>
                      <a:pt x="1074" y="293"/>
                      <a:pt x="1074" y="293"/>
                      <a:pt x="1074" y="293"/>
                    </a:cubicBezTo>
                    <a:cubicBezTo>
                      <a:pt x="1072" y="293"/>
                      <a:pt x="1072" y="293"/>
                      <a:pt x="1072" y="293"/>
                    </a:cubicBezTo>
                    <a:cubicBezTo>
                      <a:pt x="1070" y="296"/>
                      <a:pt x="1070" y="296"/>
                      <a:pt x="1070" y="296"/>
                    </a:cubicBezTo>
                    <a:cubicBezTo>
                      <a:pt x="1073" y="299"/>
                      <a:pt x="1073" y="299"/>
                      <a:pt x="1073" y="299"/>
                    </a:cubicBezTo>
                    <a:cubicBezTo>
                      <a:pt x="1074" y="303"/>
                      <a:pt x="1074" y="303"/>
                      <a:pt x="1074" y="303"/>
                    </a:cubicBezTo>
                    <a:cubicBezTo>
                      <a:pt x="1072" y="303"/>
                      <a:pt x="1072" y="303"/>
                      <a:pt x="1072" y="303"/>
                    </a:cubicBezTo>
                    <a:cubicBezTo>
                      <a:pt x="1067" y="297"/>
                      <a:pt x="1067" y="297"/>
                      <a:pt x="1067" y="297"/>
                    </a:cubicBezTo>
                    <a:cubicBezTo>
                      <a:pt x="1067" y="301"/>
                      <a:pt x="1067" y="301"/>
                      <a:pt x="1067" y="301"/>
                    </a:cubicBezTo>
                    <a:cubicBezTo>
                      <a:pt x="1068" y="304"/>
                      <a:pt x="1068" y="304"/>
                      <a:pt x="1068" y="304"/>
                    </a:cubicBezTo>
                    <a:cubicBezTo>
                      <a:pt x="1072" y="306"/>
                      <a:pt x="1072" y="306"/>
                      <a:pt x="1072" y="306"/>
                    </a:cubicBezTo>
                    <a:cubicBezTo>
                      <a:pt x="1075" y="312"/>
                      <a:pt x="1075" y="312"/>
                      <a:pt x="1075" y="312"/>
                    </a:cubicBezTo>
                    <a:cubicBezTo>
                      <a:pt x="1079" y="312"/>
                      <a:pt x="1079" y="312"/>
                      <a:pt x="1079" y="312"/>
                    </a:cubicBezTo>
                    <a:cubicBezTo>
                      <a:pt x="1077" y="314"/>
                      <a:pt x="1077" y="314"/>
                      <a:pt x="1077" y="314"/>
                    </a:cubicBezTo>
                    <a:cubicBezTo>
                      <a:pt x="1073" y="314"/>
                      <a:pt x="1073" y="314"/>
                      <a:pt x="1073" y="314"/>
                    </a:cubicBezTo>
                    <a:cubicBezTo>
                      <a:pt x="1073" y="318"/>
                      <a:pt x="1073" y="318"/>
                      <a:pt x="1073" y="318"/>
                    </a:cubicBezTo>
                    <a:cubicBezTo>
                      <a:pt x="1077" y="324"/>
                      <a:pt x="1077" y="324"/>
                      <a:pt x="1077" y="324"/>
                    </a:cubicBezTo>
                    <a:cubicBezTo>
                      <a:pt x="1081" y="325"/>
                      <a:pt x="1081" y="325"/>
                      <a:pt x="1081" y="325"/>
                    </a:cubicBezTo>
                    <a:cubicBezTo>
                      <a:pt x="1081" y="328"/>
                      <a:pt x="1081" y="328"/>
                      <a:pt x="1081" y="328"/>
                    </a:cubicBezTo>
                    <a:cubicBezTo>
                      <a:pt x="1080" y="326"/>
                      <a:pt x="1080" y="326"/>
                      <a:pt x="1080" y="326"/>
                    </a:cubicBezTo>
                    <a:cubicBezTo>
                      <a:pt x="1074" y="326"/>
                      <a:pt x="1074" y="326"/>
                      <a:pt x="1074" y="326"/>
                    </a:cubicBezTo>
                    <a:cubicBezTo>
                      <a:pt x="1074" y="328"/>
                      <a:pt x="1074" y="328"/>
                      <a:pt x="1074" y="328"/>
                    </a:cubicBezTo>
                    <a:cubicBezTo>
                      <a:pt x="1072" y="329"/>
                      <a:pt x="1072" y="329"/>
                      <a:pt x="1072" y="329"/>
                    </a:cubicBezTo>
                    <a:cubicBezTo>
                      <a:pt x="1070" y="332"/>
                      <a:pt x="1070" y="332"/>
                      <a:pt x="1070" y="332"/>
                    </a:cubicBezTo>
                    <a:cubicBezTo>
                      <a:pt x="1076" y="330"/>
                      <a:pt x="1076" y="330"/>
                      <a:pt x="1076" y="330"/>
                    </a:cubicBezTo>
                    <a:cubicBezTo>
                      <a:pt x="1078" y="332"/>
                      <a:pt x="1078" y="332"/>
                      <a:pt x="1078" y="332"/>
                    </a:cubicBezTo>
                    <a:cubicBezTo>
                      <a:pt x="1084" y="330"/>
                      <a:pt x="1084" y="330"/>
                      <a:pt x="1084" y="330"/>
                    </a:cubicBezTo>
                    <a:cubicBezTo>
                      <a:pt x="1085" y="332"/>
                      <a:pt x="1085" y="332"/>
                      <a:pt x="1085" y="332"/>
                    </a:cubicBezTo>
                    <a:cubicBezTo>
                      <a:pt x="1089" y="333"/>
                      <a:pt x="1089" y="333"/>
                      <a:pt x="1089" y="333"/>
                    </a:cubicBezTo>
                    <a:cubicBezTo>
                      <a:pt x="1089" y="335"/>
                      <a:pt x="1089" y="335"/>
                      <a:pt x="1089" y="335"/>
                    </a:cubicBezTo>
                    <a:cubicBezTo>
                      <a:pt x="1095" y="339"/>
                      <a:pt x="1095" y="339"/>
                      <a:pt x="1095" y="339"/>
                    </a:cubicBezTo>
                    <a:cubicBezTo>
                      <a:pt x="1096" y="339"/>
                      <a:pt x="1096" y="339"/>
                      <a:pt x="1096" y="339"/>
                    </a:cubicBezTo>
                    <a:cubicBezTo>
                      <a:pt x="1097" y="337"/>
                      <a:pt x="1097" y="337"/>
                      <a:pt x="1097" y="337"/>
                    </a:cubicBezTo>
                    <a:cubicBezTo>
                      <a:pt x="1098" y="338"/>
                      <a:pt x="1098" y="338"/>
                      <a:pt x="1098" y="338"/>
                    </a:cubicBezTo>
                    <a:cubicBezTo>
                      <a:pt x="1102" y="336"/>
                      <a:pt x="1102" y="336"/>
                      <a:pt x="1102" y="336"/>
                    </a:cubicBezTo>
                    <a:cubicBezTo>
                      <a:pt x="1104" y="337"/>
                      <a:pt x="1104" y="337"/>
                      <a:pt x="1104" y="337"/>
                    </a:cubicBezTo>
                    <a:cubicBezTo>
                      <a:pt x="1105" y="339"/>
                      <a:pt x="1105" y="339"/>
                      <a:pt x="1105" y="339"/>
                    </a:cubicBezTo>
                    <a:cubicBezTo>
                      <a:pt x="1104" y="343"/>
                      <a:pt x="1104" y="343"/>
                      <a:pt x="1104" y="343"/>
                    </a:cubicBezTo>
                    <a:cubicBezTo>
                      <a:pt x="1104" y="349"/>
                      <a:pt x="1104" y="349"/>
                      <a:pt x="1104" y="349"/>
                    </a:cubicBezTo>
                    <a:cubicBezTo>
                      <a:pt x="1102" y="354"/>
                      <a:pt x="1102" y="354"/>
                      <a:pt x="1102" y="354"/>
                    </a:cubicBezTo>
                    <a:cubicBezTo>
                      <a:pt x="1102" y="357"/>
                      <a:pt x="1102" y="357"/>
                      <a:pt x="1102" y="357"/>
                    </a:cubicBezTo>
                    <a:cubicBezTo>
                      <a:pt x="1105" y="360"/>
                      <a:pt x="1105" y="360"/>
                      <a:pt x="1105" y="360"/>
                    </a:cubicBezTo>
                    <a:cubicBezTo>
                      <a:pt x="1104" y="365"/>
                      <a:pt x="1104" y="365"/>
                      <a:pt x="1104" y="365"/>
                    </a:cubicBezTo>
                    <a:cubicBezTo>
                      <a:pt x="1104" y="367"/>
                      <a:pt x="1104" y="367"/>
                      <a:pt x="1104" y="367"/>
                    </a:cubicBezTo>
                    <a:cubicBezTo>
                      <a:pt x="1102" y="372"/>
                      <a:pt x="1102" y="372"/>
                      <a:pt x="1102" y="372"/>
                    </a:cubicBezTo>
                    <a:cubicBezTo>
                      <a:pt x="1097" y="375"/>
                      <a:pt x="1097" y="375"/>
                      <a:pt x="1097" y="375"/>
                    </a:cubicBezTo>
                    <a:cubicBezTo>
                      <a:pt x="1092" y="376"/>
                      <a:pt x="1092" y="376"/>
                      <a:pt x="1092" y="376"/>
                    </a:cubicBezTo>
                    <a:cubicBezTo>
                      <a:pt x="1091" y="379"/>
                      <a:pt x="1091" y="379"/>
                      <a:pt x="1091" y="379"/>
                    </a:cubicBezTo>
                    <a:cubicBezTo>
                      <a:pt x="1087" y="384"/>
                      <a:pt x="1087" y="384"/>
                      <a:pt x="1087" y="384"/>
                    </a:cubicBezTo>
                    <a:cubicBezTo>
                      <a:pt x="1087" y="387"/>
                      <a:pt x="1087" y="387"/>
                      <a:pt x="1087" y="387"/>
                    </a:cubicBezTo>
                    <a:cubicBezTo>
                      <a:pt x="1084" y="389"/>
                      <a:pt x="1084" y="389"/>
                      <a:pt x="1084" y="389"/>
                    </a:cubicBezTo>
                    <a:cubicBezTo>
                      <a:pt x="1082" y="392"/>
                      <a:pt x="1082" y="392"/>
                      <a:pt x="1082" y="392"/>
                    </a:cubicBezTo>
                    <a:cubicBezTo>
                      <a:pt x="1082" y="396"/>
                      <a:pt x="1082" y="396"/>
                      <a:pt x="1082" y="396"/>
                    </a:cubicBezTo>
                    <a:cubicBezTo>
                      <a:pt x="1085" y="397"/>
                      <a:pt x="1085" y="397"/>
                      <a:pt x="1085" y="397"/>
                    </a:cubicBezTo>
                    <a:cubicBezTo>
                      <a:pt x="1085" y="399"/>
                      <a:pt x="1085" y="399"/>
                      <a:pt x="1085" y="399"/>
                    </a:cubicBezTo>
                    <a:cubicBezTo>
                      <a:pt x="1081" y="401"/>
                      <a:pt x="1081" y="401"/>
                      <a:pt x="1081" y="401"/>
                    </a:cubicBezTo>
                    <a:cubicBezTo>
                      <a:pt x="1081" y="403"/>
                      <a:pt x="1081" y="403"/>
                      <a:pt x="1081" y="403"/>
                    </a:cubicBezTo>
                    <a:cubicBezTo>
                      <a:pt x="1083" y="405"/>
                      <a:pt x="1083" y="405"/>
                      <a:pt x="1083" y="405"/>
                    </a:cubicBezTo>
                    <a:cubicBezTo>
                      <a:pt x="1080" y="408"/>
                      <a:pt x="1080" y="408"/>
                      <a:pt x="1080" y="408"/>
                    </a:cubicBezTo>
                    <a:cubicBezTo>
                      <a:pt x="1079" y="412"/>
                      <a:pt x="1079" y="412"/>
                      <a:pt x="1079" y="412"/>
                    </a:cubicBezTo>
                    <a:cubicBezTo>
                      <a:pt x="1081" y="416"/>
                      <a:pt x="1081" y="416"/>
                      <a:pt x="1081" y="416"/>
                    </a:cubicBezTo>
                    <a:cubicBezTo>
                      <a:pt x="1083" y="416"/>
                      <a:pt x="1083" y="416"/>
                      <a:pt x="1083" y="416"/>
                    </a:cubicBezTo>
                    <a:cubicBezTo>
                      <a:pt x="1083" y="419"/>
                      <a:pt x="1083" y="419"/>
                      <a:pt x="1083" y="419"/>
                    </a:cubicBezTo>
                    <a:cubicBezTo>
                      <a:pt x="1086" y="421"/>
                      <a:pt x="1086" y="421"/>
                      <a:pt x="1086" y="421"/>
                    </a:cubicBezTo>
                    <a:cubicBezTo>
                      <a:pt x="1088" y="421"/>
                      <a:pt x="1088" y="421"/>
                      <a:pt x="1088" y="421"/>
                    </a:cubicBezTo>
                    <a:cubicBezTo>
                      <a:pt x="1088" y="418"/>
                      <a:pt x="1088" y="418"/>
                      <a:pt x="1088" y="418"/>
                    </a:cubicBezTo>
                    <a:cubicBezTo>
                      <a:pt x="1090" y="416"/>
                      <a:pt x="1090" y="416"/>
                      <a:pt x="1090" y="416"/>
                    </a:cubicBezTo>
                    <a:cubicBezTo>
                      <a:pt x="1091" y="417"/>
                      <a:pt x="1091" y="417"/>
                      <a:pt x="1091" y="417"/>
                    </a:cubicBezTo>
                    <a:cubicBezTo>
                      <a:pt x="1093" y="417"/>
                      <a:pt x="1093" y="417"/>
                      <a:pt x="1093" y="417"/>
                    </a:cubicBezTo>
                    <a:cubicBezTo>
                      <a:pt x="1097" y="413"/>
                      <a:pt x="1097" y="413"/>
                      <a:pt x="1097" y="413"/>
                    </a:cubicBezTo>
                    <a:cubicBezTo>
                      <a:pt x="1098" y="414"/>
                      <a:pt x="1098" y="414"/>
                      <a:pt x="1098" y="414"/>
                    </a:cubicBezTo>
                    <a:cubicBezTo>
                      <a:pt x="1096" y="419"/>
                      <a:pt x="1096" y="419"/>
                      <a:pt x="1096" y="419"/>
                    </a:cubicBezTo>
                    <a:cubicBezTo>
                      <a:pt x="1093" y="420"/>
                      <a:pt x="1093" y="420"/>
                      <a:pt x="1093" y="420"/>
                    </a:cubicBezTo>
                    <a:cubicBezTo>
                      <a:pt x="1092" y="421"/>
                      <a:pt x="1092" y="421"/>
                      <a:pt x="1092" y="421"/>
                    </a:cubicBezTo>
                    <a:cubicBezTo>
                      <a:pt x="1093" y="423"/>
                      <a:pt x="1093" y="423"/>
                      <a:pt x="1093" y="423"/>
                    </a:cubicBezTo>
                    <a:cubicBezTo>
                      <a:pt x="1094" y="425"/>
                      <a:pt x="1094" y="425"/>
                      <a:pt x="1094" y="425"/>
                    </a:cubicBezTo>
                    <a:cubicBezTo>
                      <a:pt x="1097" y="429"/>
                      <a:pt x="1097" y="429"/>
                      <a:pt x="1097" y="429"/>
                    </a:cubicBezTo>
                    <a:cubicBezTo>
                      <a:pt x="1101" y="428"/>
                      <a:pt x="1101" y="428"/>
                      <a:pt x="1101" y="428"/>
                    </a:cubicBezTo>
                    <a:cubicBezTo>
                      <a:pt x="1102" y="430"/>
                      <a:pt x="1102" y="430"/>
                      <a:pt x="1102" y="430"/>
                    </a:cubicBezTo>
                    <a:cubicBezTo>
                      <a:pt x="1107" y="430"/>
                      <a:pt x="1107" y="430"/>
                      <a:pt x="1107" y="430"/>
                    </a:cubicBezTo>
                    <a:cubicBezTo>
                      <a:pt x="1109" y="428"/>
                      <a:pt x="1109" y="428"/>
                      <a:pt x="1109" y="428"/>
                    </a:cubicBezTo>
                    <a:cubicBezTo>
                      <a:pt x="1113" y="427"/>
                      <a:pt x="1113" y="427"/>
                      <a:pt x="1113" y="427"/>
                    </a:cubicBezTo>
                    <a:cubicBezTo>
                      <a:pt x="1113" y="422"/>
                      <a:pt x="1113" y="422"/>
                      <a:pt x="1113" y="422"/>
                    </a:cubicBezTo>
                    <a:cubicBezTo>
                      <a:pt x="1115" y="422"/>
                      <a:pt x="1115" y="422"/>
                      <a:pt x="1115" y="422"/>
                    </a:cubicBezTo>
                    <a:cubicBezTo>
                      <a:pt x="1117" y="421"/>
                      <a:pt x="1117" y="421"/>
                      <a:pt x="1117" y="421"/>
                    </a:cubicBezTo>
                    <a:cubicBezTo>
                      <a:pt x="1118" y="423"/>
                      <a:pt x="1118" y="423"/>
                      <a:pt x="1118" y="423"/>
                    </a:cubicBezTo>
                    <a:cubicBezTo>
                      <a:pt x="1117" y="424"/>
                      <a:pt x="1117" y="424"/>
                      <a:pt x="1117" y="424"/>
                    </a:cubicBezTo>
                    <a:cubicBezTo>
                      <a:pt x="1117" y="427"/>
                      <a:pt x="1117" y="427"/>
                      <a:pt x="1117" y="427"/>
                    </a:cubicBezTo>
                    <a:cubicBezTo>
                      <a:pt x="1119" y="426"/>
                      <a:pt x="1119" y="426"/>
                      <a:pt x="1119" y="426"/>
                    </a:cubicBezTo>
                    <a:cubicBezTo>
                      <a:pt x="1121" y="421"/>
                      <a:pt x="1121" y="421"/>
                      <a:pt x="1121" y="421"/>
                    </a:cubicBezTo>
                    <a:cubicBezTo>
                      <a:pt x="1123" y="420"/>
                      <a:pt x="1123" y="420"/>
                      <a:pt x="1123" y="420"/>
                    </a:cubicBezTo>
                    <a:cubicBezTo>
                      <a:pt x="1125" y="422"/>
                      <a:pt x="1125" y="422"/>
                      <a:pt x="1125" y="422"/>
                    </a:cubicBezTo>
                    <a:cubicBezTo>
                      <a:pt x="1124" y="426"/>
                      <a:pt x="1124" y="426"/>
                      <a:pt x="1124" y="426"/>
                    </a:cubicBezTo>
                    <a:cubicBezTo>
                      <a:pt x="1119" y="432"/>
                      <a:pt x="1119" y="432"/>
                      <a:pt x="1119" y="432"/>
                    </a:cubicBezTo>
                    <a:cubicBezTo>
                      <a:pt x="1116" y="434"/>
                      <a:pt x="1116" y="434"/>
                      <a:pt x="1116" y="434"/>
                    </a:cubicBezTo>
                    <a:cubicBezTo>
                      <a:pt x="1116" y="437"/>
                      <a:pt x="1116" y="437"/>
                      <a:pt x="1116" y="437"/>
                    </a:cubicBezTo>
                    <a:cubicBezTo>
                      <a:pt x="1120" y="438"/>
                      <a:pt x="1120" y="438"/>
                      <a:pt x="1120" y="438"/>
                    </a:cubicBezTo>
                    <a:cubicBezTo>
                      <a:pt x="1124" y="441"/>
                      <a:pt x="1124" y="441"/>
                      <a:pt x="1124" y="441"/>
                    </a:cubicBezTo>
                    <a:cubicBezTo>
                      <a:pt x="1127" y="441"/>
                      <a:pt x="1127" y="441"/>
                      <a:pt x="1127" y="441"/>
                    </a:cubicBezTo>
                    <a:cubicBezTo>
                      <a:pt x="1128" y="442"/>
                      <a:pt x="1128" y="442"/>
                      <a:pt x="1128" y="442"/>
                    </a:cubicBezTo>
                    <a:cubicBezTo>
                      <a:pt x="1132" y="442"/>
                      <a:pt x="1132" y="442"/>
                      <a:pt x="1132" y="442"/>
                    </a:cubicBezTo>
                    <a:cubicBezTo>
                      <a:pt x="1133" y="440"/>
                      <a:pt x="1133" y="440"/>
                      <a:pt x="1133" y="440"/>
                    </a:cubicBezTo>
                    <a:cubicBezTo>
                      <a:pt x="1137" y="440"/>
                      <a:pt x="1137" y="440"/>
                      <a:pt x="1137" y="440"/>
                    </a:cubicBezTo>
                    <a:cubicBezTo>
                      <a:pt x="1136" y="442"/>
                      <a:pt x="1136" y="442"/>
                      <a:pt x="1136" y="442"/>
                    </a:cubicBezTo>
                    <a:cubicBezTo>
                      <a:pt x="1136" y="444"/>
                      <a:pt x="1136" y="444"/>
                      <a:pt x="1136" y="444"/>
                    </a:cubicBezTo>
                    <a:cubicBezTo>
                      <a:pt x="1139" y="444"/>
                      <a:pt x="1139" y="444"/>
                      <a:pt x="1139" y="444"/>
                    </a:cubicBezTo>
                    <a:cubicBezTo>
                      <a:pt x="1142" y="446"/>
                      <a:pt x="1142" y="446"/>
                      <a:pt x="1142" y="446"/>
                    </a:cubicBezTo>
                    <a:cubicBezTo>
                      <a:pt x="1144" y="445"/>
                      <a:pt x="1144" y="445"/>
                      <a:pt x="1144" y="445"/>
                    </a:cubicBezTo>
                    <a:cubicBezTo>
                      <a:pt x="1143" y="443"/>
                      <a:pt x="1143" y="443"/>
                      <a:pt x="1143" y="443"/>
                    </a:cubicBezTo>
                    <a:cubicBezTo>
                      <a:pt x="1143" y="440"/>
                      <a:pt x="1143" y="440"/>
                      <a:pt x="1143" y="440"/>
                    </a:cubicBezTo>
                    <a:cubicBezTo>
                      <a:pt x="1145" y="436"/>
                      <a:pt x="1145" y="436"/>
                      <a:pt x="1145" y="436"/>
                    </a:cubicBezTo>
                    <a:cubicBezTo>
                      <a:pt x="1146" y="439"/>
                      <a:pt x="1146" y="439"/>
                      <a:pt x="1146" y="439"/>
                    </a:cubicBezTo>
                    <a:cubicBezTo>
                      <a:pt x="1145" y="442"/>
                      <a:pt x="1145" y="442"/>
                      <a:pt x="1145" y="442"/>
                    </a:cubicBezTo>
                    <a:cubicBezTo>
                      <a:pt x="1146" y="446"/>
                      <a:pt x="1146" y="446"/>
                      <a:pt x="1146" y="446"/>
                    </a:cubicBezTo>
                    <a:cubicBezTo>
                      <a:pt x="1149" y="446"/>
                      <a:pt x="1149" y="446"/>
                      <a:pt x="1149" y="446"/>
                    </a:cubicBezTo>
                    <a:cubicBezTo>
                      <a:pt x="1150" y="442"/>
                      <a:pt x="1150" y="442"/>
                      <a:pt x="1150" y="442"/>
                    </a:cubicBezTo>
                    <a:cubicBezTo>
                      <a:pt x="1151" y="440"/>
                      <a:pt x="1151" y="440"/>
                      <a:pt x="1151" y="440"/>
                    </a:cubicBezTo>
                    <a:cubicBezTo>
                      <a:pt x="1154" y="440"/>
                      <a:pt x="1154" y="440"/>
                      <a:pt x="1154" y="440"/>
                    </a:cubicBezTo>
                    <a:cubicBezTo>
                      <a:pt x="1154" y="442"/>
                      <a:pt x="1154" y="442"/>
                      <a:pt x="1154" y="442"/>
                    </a:cubicBezTo>
                    <a:cubicBezTo>
                      <a:pt x="1152" y="444"/>
                      <a:pt x="1152" y="444"/>
                      <a:pt x="1152" y="444"/>
                    </a:cubicBezTo>
                    <a:cubicBezTo>
                      <a:pt x="1152" y="447"/>
                      <a:pt x="1152" y="447"/>
                      <a:pt x="1152" y="447"/>
                    </a:cubicBezTo>
                    <a:cubicBezTo>
                      <a:pt x="1157" y="447"/>
                      <a:pt x="1157" y="447"/>
                      <a:pt x="1157" y="447"/>
                    </a:cubicBezTo>
                    <a:cubicBezTo>
                      <a:pt x="1160" y="445"/>
                      <a:pt x="1160" y="445"/>
                      <a:pt x="1160" y="445"/>
                    </a:cubicBezTo>
                    <a:cubicBezTo>
                      <a:pt x="1163" y="439"/>
                      <a:pt x="1163" y="439"/>
                      <a:pt x="1163" y="439"/>
                    </a:cubicBezTo>
                    <a:cubicBezTo>
                      <a:pt x="1163" y="442"/>
                      <a:pt x="1163" y="442"/>
                      <a:pt x="1163" y="442"/>
                    </a:cubicBezTo>
                    <a:cubicBezTo>
                      <a:pt x="1161" y="444"/>
                      <a:pt x="1161" y="444"/>
                      <a:pt x="1161" y="444"/>
                    </a:cubicBezTo>
                    <a:cubicBezTo>
                      <a:pt x="1161" y="447"/>
                      <a:pt x="1161" y="447"/>
                      <a:pt x="1161" y="447"/>
                    </a:cubicBezTo>
                    <a:cubicBezTo>
                      <a:pt x="1166" y="446"/>
                      <a:pt x="1166" y="446"/>
                      <a:pt x="1166" y="446"/>
                    </a:cubicBezTo>
                    <a:cubicBezTo>
                      <a:pt x="1167" y="441"/>
                      <a:pt x="1167" y="441"/>
                      <a:pt x="1167" y="441"/>
                    </a:cubicBezTo>
                    <a:cubicBezTo>
                      <a:pt x="1169" y="439"/>
                      <a:pt x="1169" y="439"/>
                      <a:pt x="1169" y="439"/>
                    </a:cubicBezTo>
                    <a:cubicBezTo>
                      <a:pt x="1168" y="447"/>
                      <a:pt x="1168" y="447"/>
                      <a:pt x="1168" y="447"/>
                    </a:cubicBezTo>
                    <a:cubicBezTo>
                      <a:pt x="1169" y="449"/>
                      <a:pt x="1169" y="449"/>
                      <a:pt x="1169" y="449"/>
                    </a:cubicBezTo>
                    <a:cubicBezTo>
                      <a:pt x="1172" y="449"/>
                      <a:pt x="1172" y="449"/>
                      <a:pt x="1172" y="449"/>
                    </a:cubicBezTo>
                    <a:cubicBezTo>
                      <a:pt x="1177" y="452"/>
                      <a:pt x="1177" y="452"/>
                      <a:pt x="1177" y="452"/>
                    </a:cubicBezTo>
                    <a:cubicBezTo>
                      <a:pt x="1181" y="451"/>
                      <a:pt x="1181" y="451"/>
                      <a:pt x="1181" y="451"/>
                    </a:cubicBezTo>
                    <a:cubicBezTo>
                      <a:pt x="1183" y="450"/>
                      <a:pt x="1183" y="450"/>
                      <a:pt x="1183" y="450"/>
                    </a:cubicBezTo>
                    <a:cubicBezTo>
                      <a:pt x="1184" y="452"/>
                      <a:pt x="1184" y="452"/>
                      <a:pt x="1184" y="452"/>
                    </a:cubicBezTo>
                    <a:cubicBezTo>
                      <a:pt x="1189" y="451"/>
                      <a:pt x="1189" y="451"/>
                      <a:pt x="1189" y="451"/>
                    </a:cubicBezTo>
                    <a:cubicBezTo>
                      <a:pt x="1191" y="450"/>
                      <a:pt x="1191" y="450"/>
                      <a:pt x="1191" y="450"/>
                    </a:cubicBezTo>
                    <a:cubicBezTo>
                      <a:pt x="1191" y="446"/>
                      <a:pt x="1191" y="446"/>
                      <a:pt x="1191" y="446"/>
                    </a:cubicBezTo>
                    <a:cubicBezTo>
                      <a:pt x="1195" y="443"/>
                      <a:pt x="1195" y="443"/>
                      <a:pt x="1195" y="443"/>
                    </a:cubicBezTo>
                    <a:cubicBezTo>
                      <a:pt x="1196" y="440"/>
                      <a:pt x="1196" y="440"/>
                      <a:pt x="1196" y="440"/>
                    </a:cubicBezTo>
                    <a:cubicBezTo>
                      <a:pt x="1195" y="437"/>
                      <a:pt x="1195" y="437"/>
                      <a:pt x="1195" y="437"/>
                    </a:cubicBezTo>
                    <a:cubicBezTo>
                      <a:pt x="1196" y="433"/>
                      <a:pt x="1196" y="433"/>
                      <a:pt x="1196" y="433"/>
                    </a:cubicBezTo>
                    <a:cubicBezTo>
                      <a:pt x="1198" y="434"/>
                      <a:pt x="1198" y="434"/>
                      <a:pt x="1198" y="434"/>
                    </a:cubicBezTo>
                    <a:cubicBezTo>
                      <a:pt x="1198" y="438"/>
                      <a:pt x="1198" y="438"/>
                      <a:pt x="1198" y="438"/>
                    </a:cubicBezTo>
                    <a:cubicBezTo>
                      <a:pt x="1200" y="439"/>
                      <a:pt x="1200" y="439"/>
                      <a:pt x="1200" y="439"/>
                    </a:cubicBezTo>
                    <a:cubicBezTo>
                      <a:pt x="1200" y="441"/>
                      <a:pt x="1200" y="441"/>
                      <a:pt x="1200" y="441"/>
                    </a:cubicBezTo>
                    <a:cubicBezTo>
                      <a:pt x="1198" y="443"/>
                      <a:pt x="1198" y="443"/>
                      <a:pt x="1198" y="443"/>
                    </a:cubicBezTo>
                    <a:cubicBezTo>
                      <a:pt x="1196" y="448"/>
                      <a:pt x="1196" y="448"/>
                      <a:pt x="1196" y="448"/>
                    </a:cubicBezTo>
                    <a:cubicBezTo>
                      <a:pt x="1196" y="456"/>
                      <a:pt x="1196" y="456"/>
                      <a:pt x="1196" y="456"/>
                    </a:cubicBezTo>
                    <a:close/>
                    <a:moveTo>
                      <a:pt x="1065" y="288"/>
                    </a:moveTo>
                    <a:cubicBezTo>
                      <a:pt x="1067" y="287"/>
                      <a:pt x="1067" y="287"/>
                      <a:pt x="1067" y="287"/>
                    </a:cubicBezTo>
                    <a:cubicBezTo>
                      <a:pt x="1067" y="286"/>
                      <a:pt x="1067" y="286"/>
                      <a:pt x="1067" y="286"/>
                    </a:cubicBezTo>
                    <a:cubicBezTo>
                      <a:pt x="1065" y="285"/>
                      <a:pt x="1065" y="285"/>
                      <a:pt x="1065" y="285"/>
                    </a:cubicBezTo>
                    <a:cubicBezTo>
                      <a:pt x="1063" y="287"/>
                      <a:pt x="1063" y="287"/>
                      <a:pt x="1063" y="287"/>
                    </a:cubicBezTo>
                    <a:cubicBezTo>
                      <a:pt x="1065" y="288"/>
                      <a:pt x="1065" y="288"/>
                      <a:pt x="1065" y="288"/>
                    </a:cubicBezTo>
                    <a:close/>
                    <a:moveTo>
                      <a:pt x="1058" y="311"/>
                    </a:moveTo>
                    <a:cubicBezTo>
                      <a:pt x="1060" y="308"/>
                      <a:pt x="1060" y="308"/>
                      <a:pt x="1060" y="308"/>
                    </a:cubicBezTo>
                    <a:cubicBezTo>
                      <a:pt x="1061" y="305"/>
                      <a:pt x="1061" y="305"/>
                      <a:pt x="1061" y="305"/>
                    </a:cubicBezTo>
                    <a:cubicBezTo>
                      <a:pt x="1061" y="308"/>
                      <a:pt x="1061" y="308"/>
                      <a:pt x="1061" y="308"/>
                    </a:cubicBezTo>
                    <a:cubicBezTo>
                      <a:pt x="1059" y="310"/>
                      <a:pt x="1059" y="310"/>
                      <a:pt x="1059" y="310"/>
                    </a:cubicBezTo>
                    <a:cubicBezTo>
                      <a:pt x="1058" y="311"/>
                      <a:pt x="1058" y="311"/>
                      <a:pt x="1058" y="311"/>
                    </a:cubicBezTo>
                    <a:close/>
                    <a:moveTo>
                      <a:pt x="966" y="343"/>
                    </a:moveTo>
                    <a:cubicBezTo>
                      <a:pt x="965" y="344"/>
                      <a:pt x="965" y="344"/>
                      <a:pt x="965" y="344"/>
                    </a:cubicBezTo>
                    <a:cubicBezTo>
                      <a:pt x="966" y="346"/>
                      <a:pt x="966" y="346"/>
                      <a:pt x="966" y="346"/>
                    </a:cubicBezTo>
                    <a:cubicBezTo>
                      <a:pt x="967" y="344"/>
                      <a:pt x="967" y="344"/>
                      <a:pt x="967" y="344"/>
                    </a:cubicBezTo>
                    <a:cubicBezTo>
                      <a:pt x="966" y="343"/>
                      <a:pt x="966" y="343"/>
                      <a:pt x="966" y="343"/>
                    </a:cubicBezTo>
                    <a:close/>
                    <a:moveTo>
                      <a:pt x="1026" y="287"/>
                    </a:moveTo>
                    <a:cubicBezTo>
                      <a:pt x="1025" y="288"/>
                      <a:pt x="1025" y="288"/>
                      <a:pt x="1025" y="288"/>
                    </a:cubicBezTo>
                    <a:cubicBezTo>
                      <a:pt x="1028" y="291"/>
                      <a:pt x="1028" y="291"/>
                      <a:pt x="1028" y="291"/>
                    </a:cubicBezTo>
                    <a:cubicBezTo>
                      <a:pt x="1028" y="293"/>
                      <a:pt x="1028" y="293"/>
                      <a:pt x="1028" y="293"/>
                    </a:cubicBezTo>
                    <a:cubicBezTo>
                      <a:pt x="1030" y="292"/>
                      <a:pt x="1030" y="292"/>
                      <a:pt x="1030" y="292"/>
                    </a:cubicBezTo>
                    <a:cubicBezTo>
                      <a:pt x="1029" y="289"/>
                      <a:pt x="1029" y="289"/>
                      <a:pt x="1029" y="289"/>
                    </a:cubicBezTo>
                    <a:cubicBezTo>
                      <a:pt x="1027" y="287"/>
                      <a:pt x="1027" y="287"/>
                      <a:pt x="1027" y="287"/>
                    </a:cubicBezTo>
                    <a:cubicBezTo>
                      <a:pt x="1026" y="287"/>
                      <a:pt x="1026" y="287"/>
                      <a:pt x="1026" y="287"/>
                    </a:cubicBezTo>
                    <a:close/>
                    <a:moveTo>
                      <a:pt x="997" y="288"/>
                    </a:moveTo>
                    <a:cubicBezTo>
                      <a:pt x="997" y="290"/>
                      <a:pt x="997" y="290"/>
                      <a:pt x="997" y="290"/>
                    </a:cubicBezTo>
                    <a:cubicBezTo>
                      <a:pt x="998" y="292"/>
                      <a:pt x="998" y="292"/>
                      <a:pt x="998" y="292"/>
                    </a:cubicBezTo>
                    <a:cubicBezTo>
                      <a:pt x="1001" y="290"/>
                      <a:pt x="1001" y="290"/>
                      <a:pt x="1001" y="290"/>
                    </a:cubicBezTo>
                    <a:cubicBezTo>
                      <a:pt x="1005" y="289"/>
                      <a:pt x="1005" y="289"/>
                      <a:pt x="1005" y="289"/>
                    </a:cubicBezTo>
                    <a:cubicBezTo>
                      <a:pt x="1008" y="290"/>
                      <a:pt x="1008" y="290"/>
                      <a:pt x="1008" y="290"/>
                    </a:cubicBezTo>
                    <a:cubicBezTo>
                      <a:pt x="1013" y="287"/>
                      <a:pt x="1013" y="287"/>
                      <a:pt x="1013" y="287"/>
                    </a:cubicBezTo>
                    <a:cubicBezTo>
                      <a:pt x="1016" y="287"/>
                      <a:pt x="1016" y="287"/>
                      <a:pt x="1016" y="287"/>
                    </a:cubicBezTo>
                    <a:cubicBezTo>
                      <a:pt x="1020" y="285"/>
                      <a:pt x="1020" y="285"/>
                      <a:pt x="1020" y="285"/>
                    </a:cubicBezTo>
                    <a:cubicBezTo>
                      <a:pt x="1018" y="284"/>
                      <a:pt x="1018" y="284"/>
                      <a:pt x="1018" y="284"/>
                    </a:cubicBezTo>
                    <a:cubicBezTo>
                      <a:pt x="1013" y="283"/>
                      <a:pt x="1013" y="283"/>
                      <a:pt x="1013" y="283"/>
                    </a:cubicBezTo>
                    <a:cubicBezTo>
                      <a:pt x="1008" y="284"/>
                      <a:pt x="1008" y="284"/>
                      <a:pt x="1008" y="284"/>
                    </a:cubicBezTo>
                    <a:cubicBezTo>
                      <a:pt x="1008" y="284"/>
                      <a:pt x="1006" y="286"/>
                      <a:pt x="1005" y="286"/>
                    </a:cubicBezTo>
                    <a:cubicBezTo>
                      <a:pt x="1002" y="286"/>
                      <a:pt x="1002" y="286"/>
                      <a:pt x="1002" y="286"/>
                    </a:cubicBezTo>
                    <a:cubicBezTo>
                      <a:pt x="999" y="287"/>
                      <a:pt x="999" y="287"/>
                      <a:pt x="999" y="287"/>
                    </a:cubicBezTo>
                    <a:cubicBezTo>
                      <a:pt x="997" y="288"/>
                      <a:pt x="997" y="288"/>
                      <a:pt x="997" y="288"/>
                    </a:cubicBezTo>
                    <a:close/>
                    <a:moveTo>
                      <a:pt x="967" y="298"/>
                    </a:moveTo>
                    <a:cubicBezTo>
                      <a:pt x="965" y="296"/>
                      <a:pt x="965" y="296"/>
                      <a:pt x="965" y="296"/>
                    </a:cubicBezTo>
                    <a:cubicBezTo>
                      <a:pt x="960" y="295"/>
                      <a:pt x="960" y="295"/>
                      <a:pt x="960" y="295"/>
                    </a:cubicBezTo>
                    <a:cubicBezTo>
                      <a:pt x="956" y="294"/>
                      <a:pt x="956" y="294"/>
                      <a:pt x="956" y="294"/>
                    </a:cubicBezTo>
                    <a:cubicBezTo>
                      <a:pt x="955" y="289"/>
                      <a:pt x="955" y="289"/>
                      <a:pt x="955" y="289"/>
                    </a:cubicBezTo>
                    <a:cubicBezTo>
                      <a:pt x="958" y="286"/>
                      <a:pt x="958" y="286"/>
                      <a:pt x="958" y="286"/>
                    </a:cubicBezTo>
                    <a:cubicBezTo>
                      <a:pt x="958" y="284"/>
                      <a:pt x="958" y="284"/>
                      <a:pt x="958" y="284"/>
                    </a:cubicBezTo>
                    <a:cubicBezTo>
                      <a:pt x="957" y="282"/>
                      <a:pt x="957" y="282"/>
                      <a:pt x="957" y="282"/>
                    </a:cubicBezTo>
                    <a:cubicBezTo>
                      <a:pt x="958" y="278"/>
                      <a:pt x="958" y="278"/>
                      <a:pt x="958" y="278"/>
                    </a:cubicBezTo>
                    <a:cubicBezTo>
                      <a:pt x="960" y="276"/>
                      <a:pt x="960" y="276"/>
                      <a:pt x="960" y="276"/>
                    </a:cubicBezTo>
                    <a:cubicBezTo>
                      <a:pt x="965" y="276"/>
                      <a:pt x="965" y="276"/>
                      <a:pt x="965" y="276"/>
                    </a:cubicBezTo>
                    <a:cubicBezTo>
                      <a:pt x="967" y="277"/>
                      <a:pt x="967" y="277"/>
                      <a:pt x="967" y="277"/>
                    </a:cubicBezTo>
                    <a:cubicBezTo>
                      <a:pt x="968" y="278"/>
                      <a:pt x="968" y="278"/>
                      <a:pt x="968" y="278"/>
                    </a:cubicBezTo>
                    <a:cubicBezTo>
                      <a:pt x="969" y="280"/>
                      <a:pt x="969" y="280"/>
                      <a:pt x="969" y="280"/>
                    </a:cubicBezTo>
                    <a:cubicBezTo>
                      <a:pt x="967" y="281"/>
                      <a:pt x="967" y="281"/>
                      <a:pt x="967" y="281"/>
                    </a:cubicBezTo>
                    <a:cubicBezTo>
                      <a:pt x="966" y="283"/>
                      <a:pt x="966" y="283"/>
                      <a:pt x="966" y="283"/>
                    </a:cubicBezTo>
                    <a:cubicBezTo>
                      <a:pt x="967" y="284"/>
                      <a:pt x="967" y="284"/>
                      <a:pt x="967" y="284"/>
                    </a:cubicBezTo>
                    <a:cubicBezTo>
                      <a:pt x="971" y="284"/>
                      <a:pt x="971" y="284"/>
                      <a:pt x="971" y="284"/>
                    </a:cubicBezTo>
                    <a:cubicBezTo>
                      <a:pt x="971" y="285"/>
                      <a:pt x="971" y="285"/>
                      <a:pt x="971" y="285"/>
                    </a:cubicBezTo>
                    <a:cubicBezTo>
                      <a:pt x="969" y="287"/>
                      <a:pt x="969" y="287"/>
                      <a:pt x="969" y="287"/>
                    </a:cubicBezTo>
                    <a:cubicBezTo>
                      <a:pt x="971" y="290"/>
                      <a:pt x="971" y="290"/>
                      <a:pt x="971" y="290"/>
                    </a:cubicBezTo>
                    <a:cubicBezTo>
                      <a:pt x="971" y="294"/>
                      <a:pt x="971" y="294"/>
                      <a:pt x="971" y="294"/>
                    </a:cubicBezTo>
                    <a:cubicBezTo>
                      <a:pt x="969" y="297"/>
                      <a:pt x="969" y="297"/>
                      <a:pt x="969" y="297"/>
                    </a:cubicBezTo>
                    <a:cubicBezTo>
                      <a:pt x="967" y="298"/>
                      <a:pt x="967" y="298"/>
                      <a:pt x="967" y="298"/>
                    </a:cubicBezTo>
                    <a:close/>
                    <a:moveTo>
                      <a:pt x="962" y="311"/>
                    </a:moveTo>
                    <a:cubicBezTo>
                      <a:pt x="969" y="312"/>
                      <a:pt x="969" y="312"/>
                      <a:pt x="969" y="312"/>
                    </a:cubicBezTo>
                    <a:cubicBezTo>
                      <a:pt x="972" y="310"/>
                      <a:pt x="972" y="310"/>
                      <a:pt x="972" y="310"/>
                    </a:cubicBezTo>
                    <a:cubicBezTo>
                      <a:pt x="975" y="304"/>
                      <a:pt x="975" y="304"/>
                      <a:pt x="975" y="304"/>
                    </a:cubicBezTo>
                    <a:cubicBezTo>
                      <a:pt x="972" y="301"/>
                      <a:pt x="972" y="301"/>
                      <a:pt x="972" y="301"/>
                    </a:cubicBezTo>
                    <a:cubicBezTo>
                      <a:pt x="969" y="302"/>
                      <a:pt x="969" y="302"/>
                      <a:pt x="969" y="302"/>
                    </a:cubicBezTo>
                    <a:cubicBezTo>
                      <a:pt x="964" y="300"/>
                      <a:pt x="964" y="300"/>
                      <a:pt x="964" y="300"/>
                    </a:cubicBezTo>
                    <a:cubicBezTo>
                      <a:pt x="959" y="300"/>
                      <a:pt x="959" y="300"/>
                      <a:pt x="959" y="300"/>
                    </a:cubicBezTo>
                    <a:cubicBezTo>
                      <a:pt x="956" y="299"/>
                      <a:pt x="956" y="299"/>
                      <a:pt x="956" y="299"/>
                    </a:cubicBezTo>
                    <a:cubicBezTo>
                      <a:pt x="953" y="299"/>
                      <a:pt x="953" y="299"/>
                      <a:pt x="953" y="299"/>
                    </a:cubicBezTo>
                    <a:cubicBezTo>
                      <a:pt x="951" y="301"/>
                      <a:pt x="951" y="301"/>
                      <a:pt x="951" y="301"/>
                    </a:cubicBezTo>
                    <a:cubicBezTo>
                      <a:pt x="949" y="302"/>
                      <a:pt x="949" y="302"/>
                      <a:pt x="949" y="302"/>
                    </a:cubicBezTo>
                    <a:cubicBezTo>
                      <a:pt x="948" y="304"/>
                      <a:pt x="948" y="304"/>
                      <a:pt x="948" y="304"/>
                    </a:cubicBezTo>
                    <a:cubicBezTo>
                      <a:pt x="949" y="306"/>
                      <a:pt x="949" y="306"/>
                      <a:pt x="949" y="306"/>
                    </a:cubicBezTo>
                    <a:cubicBezTo>
                      <a:pt x="950" y="306"/>
                      <a:pt x="950" y="306"/>
                      <a:pt x="950" y="306"/>
                    </a:cubicBezTo>
                    <a:cubicBezTo>
                      <a:pt x="951" y="308"/>
                      <a:pt x="951" y="308"/>
                      <a:pt x="951" y="308"/>
                    </a:cubicBezTo>
                    <a:cubicBezTo>
                      <a:pt x="954" y="309"/>
                      <a:pt x="954" y="309"/>
                      <a:pt x="954" y="309"/>
                    </a:cubicBezTo>
                    <a:cubicBezTo>
                      <a:pt x="957" y="311"/>
                      <a:pt x="957" y="311"/>
                      <a:pt x="957" y="311"/>
                    </a:cubicBezTo>
                    <a:cubicBezTo>
                      <a:pt x="962" y="311"/>
                      <a:pt x="962" y="311"/>
                      <a:pt x="962" y="311"/>
                    </a:cubicBezTo>
                    <a:close/>
                    <a:moveTo>
                      <a:pt x="948" y="316"/>
                    </a:moveTo>
                    <a:cubicBezTo>
                      <a:pt x="957" y="319"/>
                      <a:pt x="957" y="319"/>
                      <a:pt x="957" y="319"/>
                    </a:cubicBezTo>
                    <a:cubicBezTo>
                      <a:pt x="960" y="317"/>
                      <a:pt x="960" y="317"/>
                      <a:pt x="960" y="317"/>
                    </a:cubicBezTo>
                    <a:cubicBezTo>
                      <a:pt x="964" y="317"/>
                      <a:pt x="964" y="317"/>
                      <a:pt x="964" y="317"/>
                    </a:cubicBezTo>
                    <a:cubicBezTo>
                      <a:pt x="965" y="318"/>
                      <a:pt x="965" y="318"/>
                      <a:pt x="965" y="318"/>
                    </a:cubicBezTo>
                    <a:cubicBezTo>
                      <a:pt x="968" y="317"/>
                      <a:pt x="968" y="317"/>
                      <a:pt x="968" y="317"/>
                    </a:cubicBezTo>
                    <a:cubicBezTo>
                      <a:pt x="971" y="317"/>
                      <a:pt x="971" y="317"/>
                      <a:pt x="971" y="317"/>
                    </a:cubicBezTo>
                    <a:cubicBezTo>
                      <a:pt x="971" y="314"/>
                      <a:pt x="971" y="314"/>
                      <a:pt x="971" y="314"/>
                    </a:cubicBezTo>
                    <a:cubicBezTo>
                      <a:pt x="968" y="314"/>
                      <a:pt x="968" y="314"/>
                      <a:pt x="968" y="314"/>
                    </a:cubicBezTo>
                    <a:cubicBezTo>
                      <a:pt x="960" y="314"/>
                      <a:pt x="960" y="314"/>
                      <a:pt x="960" y="314"/>
                    </a:cubicBezTo>
                    <a:cubicBezTo>
                      <a:pt x="956" y="315"/>
                      <a:pt x="956" y="315"/>
                      <a:pt x="956" y="315"/>
                    </a:cubicBezTo>
                    <a:cubicBezTo>
                      <a:pt x="955" y="314"/>
                      <a:pt x="955" y="314"/>
                      <a:pt x="955" y="314"/>
                    </a:cubicBezTo>
                    <a:cubicBezTo>
                      <a:pt x="950" y="313"/>
                      <a:pt x="950" y="313"/>
                      <a:pt x="950" y="313"/>
                    </a:cubicBezTo>
                    <a:cubicBezTo>
                      <a:pt x="947" y="315"/>
                      <a:pt x="947" y="315"/>
                      <a:pt x="947" y="315"/>
                    </a:cubicBezTo>
                    <a:cubicBezTo>
                      <a:pt x="948" y="316"/>
                      <a:pt x="948" y="316"/>
                      <a:pt x="948" y="316"/>
                    </a:cubicBezTo>
                    <a:close/>
                    <a:moveTo>
                      <a:pt x="947" y="326"/>
                    </a:moveTo>
                    <a:cubicBezTo>
                      <a:pt x="949" y="325"/>
                      <a:pt x="949" y="325"/>
                      <a:pt x="949" y="325"/>
                    </a:cubicBezTo>
                    <a:cubicBezTo>
                      <a:pt x="952" y="325"/>
                      <a:pt x="952" y="325"/>
                      <a:pt x="952" y="325"/>
                    </a:cubicBezTo>
                    <a:cubicBezTo>
                      <a:pt x="956" y="322"/>
                      <a:pt x="956" y="322"/>
                      <a:pt x="956" y="322"/>
                    </a:cubicBezTo>
                    <a:cubicBezTo>
                      <a:pt x="964" y="320"/>
                      <a:pt x="964" y="320"/>
                      <a:pt x="964" y="320"/>
                    </a:cubicBezTo>
                    <a:cubicBezTo>
                      <a:pt x="966" y="321"/>
                      <a:pt x="966" y="321"/>
                      <a:pt x="966" y="321"/>
                    </a:cubicBezTo>
                    <a:cubicBezTo>
                      <a:pt x="969" y="320"/>
                      <a:pt x="969" y="320"/>
                      <a:pt x="969" y="320"/>
                    </a:cubicBezTo>
                    <a:cubicBezTo>
                      <a:pt x="971" y="320"/>
                      <a:pt x="971" y="320"/>
                      <a:pt x="971" y="320"/>
                    </a:cubicBezTo>
                    <a:cubicBezTo>
                      <a:pt x="972" y="322"/>
                      <a:pt x="972" y="322"/>
                      <a:pt x="972" y="322"/>
                    </a:cubicBezTo>
                    <a:cubicBezTo>
                      <a:pt x="969" y="324"/>
                      <a:pt x="969" y="324"/>
                      <a:pt x="969" y="324"/>
                    </a:cubicBezTo>
                    <a:cubicBezTo>
                      <a:pt x="966" y="325"/>
                      <a:pt x="966" y="325"/>
                      <a:pt x="966" y="325"/>
                    </a:cubicBezTo>
                    <a:cubicBezTo>
                      <a:pt x="961" y="325"/>
                      <a:pt x="961" y="325"/>
                      <a:pt x="961" y="325"/>
                    </a:cubicBezTo>
                    <a:cubicBezTo>
                      <a:pt x="960" y="327"/>
                      <a:pt x="960" y="327"/>
                      <a:pt x="960" y="327"/>
                    </a:cubicBezTo>
                    <a:cubicBezTo>
                      <a:pt x="956" y="329"/>
                      <a:pt x="956" y="329"/>
                      <a:pt x="956" y="329"/>
                    </a:cubicBezTo>
                    <a:cubicBezTo>
                      <a:pt x="952" y="327"/>
                      <a:pt x="952" y="327"/>
                      <a:pt x="952" y="327"/>
                    </a:cubicBezTo>
                    <a:cubicBezTo>
                      <a:pt x="949" y="327"/>
                      <a:pt x="949" y="327"/>
                      <a:pt x="949" y="327"/>
                    </a:cubicBezTo>
                    <a:cubicBezTo>
                      <a:pt x="947" y="328"/>
                      <a:pt x="947" y="328"/>
                      <a:pt x="947" y="328"/>
                    </a:cubicBezTo>
                    <a:cubicBezTo>
                      <a:pt x="946" y="327"/>
                      <a:pt x="946" y="327"/>
                      <a:pt x="946" y="327"/>
                    </a:cubicBezTo>
                    <a:cubicBezTo>
                      <a:pt x="947" y="326"/>
                      <a:pt x="947" y="326"/>
                      <a:pt x="947" y="326"/>
                    </a:cubicBezTo>
                    <a:close/>
                    <a:moveTo>
                      <a:pt x="856" y="214"/>
                    </a:moveTo>
                    <a:cubicBezTo>
                      <a:pt x="855" y="213"/>
                      <a:pt x="855" y="213"/>
                      <a:pt x="855" y="213"/>
                    </a:cubicBezTo>
                    <a:cubicBezTo>
                      <a:pt x="856" y="211"/>
                      <a:pt x="856" y="211"/>
                      <a:pt x="856" y="211"/>
                    </a:cubicBezTo>
                    <a:cubicBezTo>
                      <a:pt x="860" y="211"/>
                      <a:pt x="860" y="211"/>
                      <a:pt x="860" y="211"/>
                    </a:cubicBezTo>
                    <a:cubicBezTo>
                      <a:pt x="858" y="213"/>
                      <a:pt x="858" y="213"/>
                      <a:pt x="858" y="213"/>
                    </a:cubicBezTo>
                    <a:cubicBezTo>
                      <a:pt x="856" y="214"/>
                      <a:pt x="856" y="214"/>
                      <a:pt x="856" y="214"/>
                    </a:cubicBezTo>
                    <a:close/>
                    <a:moveTo>
                      <a:pt x="830" y="225"/>
                    </a:moveTo>
                    <a:cubicBezTo>
                      <a:pt x="833" y="225"/>
                      <a:pt x="833" y="225"/>
                      <a:pt x="833" y="225"/>
                    </a:cubicBezTo>
                    <a:cubicBezTo>
                      <a:pt x="836" y="223"/>
                      <a:pt x="836" y="223"/>
                      <a:pt x="836" y="223"/>
                    </a:cubicBezTo>
                    <a:cubicBezTo>
                      <a:pt x="841" y="226"/>
                      <a:pt x="841" y="226"/>
                      <a:pt x="841" y="226"/>
                    </a:cubicBezTo>
                    <a:cubicBezTo>
                      <a:pt x="844" y="225"/>
                      <a:pt x="844" y="225"/>
                      <a:pt x="844" y="225"/>
                    </a:cubicBezTo>
                    <a:cubicBezTo>
                      <a:pt x="846" y="226"/>
                      <a:pt x="846" y="226"/>
                      <a:pt x="846" y="226"/>
                    </a:cubicBezTo>
                    <a:cubicBezTo>
                      <a:pt x="847" y="229"/>
                      <a:pt x="847" y="229"/>
                      <a:pt x="847" y="229"/>
                    </a:cubicBezTo>
                    <a:cubicBezTo>
                      <a:pt x="849" y="231"/>
                      <a:pt x="849" y="231"/>
                      <a:pt x="849" y="231"/>
                    </a:cubicBezTo>
                    <a:cubicBezTo>
                      <a:pt x="846" y="233"/>
                      <a:pt x="846" y="233"/>
                      <a:pt x="846" y="233"/>
                    </a:cubicBezTo>
                    <a:cubicBezTo>
                      <a:pt x="843" y="235"/>
                      <a:pt x="843" y="235"/>
                      <a:pt x="843" y="235"/>
                    </a:cubicBezTo>
                    <a:cubicBezTo>
                      <a:pt x="840" y="234"/>
                      <a:pt x="840" y="234"/>
                      <a:pt x="840" y="234"/>
                    </a:cubicBezTo>
                    <a:cubicBezTo>
                      <a:pt x="837" y="234"/>
                      <a:pt x="837" y="234"/>
                      <a:pt x="837" y="234"/>
                    </a:cubicBezTo>
                    <a:cubicBezTo>
                      <a:pt x="836" y="230"/>
                      <a:pt x="836" y="230"/>
                      <a:pt x="836" y="230"/>
                    </a:cubicBezTo>
                    <a:cubicBezTo>
                      <a:pt x="833" y="227"/>
                      <a:pt x="833" y="227"/>
                      <a:pt x="833" y="227"/>
                    </a:cubicBezTo>
                    <a:cubicBezTo>
                      <a:pt x="831" y="226"/>
                      <a:pt x="831" y="226"/>
                      <a:pt x="831" y="226"/>
                    </a:cubicBezTo>
                    <a:cubicBezTo>
                      <a:pt x="830" y="225"/>
                      <a:pt x="830" y="225"/>
                      <a:pt x="830" y="225"/>
                    </a:cubicBezTo>
                    <a:close/>
                    <a:moveTo>
                      <a:pt x="695" y="233"/>
                    </a:moveTo>
                    <a:cubicBezTo>
                      <a:pt x="692" y="231"/>
                      <a:pt x="692" y="231"/>
                      <a:pt x="692" y="231"/>
                    </a:cubicBezTo>
                    <a:cubicBezTo>
                      <a:pt x="691" y="230"/>
                      <a:pt x="691" y="230"/>
                      <a:pt x="691" y="230"/>
                    </a:cubicBezTo>
                    <a:cubicBezTo>
                      <a:pt x="692" y="228"/>
                      <a:pt x="692" y="228"/>
                      <a:pt x="692" y="228"/>
                    </a:cubicBezTo>
                    <a:cubicBezTo>
                      <a:pt x="696" y="230"/>
                      <a:pt x="696" y="230"/>
                      <a:pt x="696" y="230"/>
                    </a:cubicBezTo>
                    <a:cubicBezTo>
                      <a:pt x="697" y="232"/>
                      <a:pt x="697" y="232"/>
                      <a:pt x="697" y="232"/>
                    </a:cubicBezTo>
                    <a:cubicBezTo>
                      <a:pt x="695" y="233"/>
                      <a:pt x="695" y="233"/>
                      <a:pt x="695" y="233"/>
                    </a:cubicBezTo>
                    <a:close/>
                    <a:moveTo>
                      <a:pt x="710" y="251"/>
                    </a:moveTo>
                    <a:cubicBezTo>
                      <a:pt x="714" y="248"/>
                      <a:pt x="714" y="248"/>
                      <a:pt x="714" y="248"/>
                    </a:cubicBezTo>
                    <a:cubicBezTo>
                      <a:pt x="714" y="249"/>
                      <a:pt x="714" y="249"/>
                      <a:pt x="714" y="249"/>
                    </a:cubicBezTo>
                    <a:cubicBezTo>
                      <a:pt x="710" y="252"/>
                      <a:pt x="710" y="252"/>
                      <a:pt x="710" y="252"/>
                    </a:cubicBezTo>
                    <a:cubicBezTo>
                      <a:pt x="710" y="251"/>
                      <a:pt x="710" y="251"/>
                      <a:pt x="710" y="251"/>
                    </a:cubicBezTo>
                    <a:close/>
                    <a:moveTo>
                      <a:pt x="717" y="245"/>
                    </a:moveTo>
                    <a:cubicBezTo>
                      <a:pt x="718" y="244"/>
                      <a:pt x="718" y="244"/>
                      <a:pt x="718" y="244"/>
                    </a:cubicBezTo>
                    <a:cubicBezTo>
                      <a:pt x="719" y="240"/>
                      <a:pt x="719" y="240"/>
                      <a:pt x="719" y="240"/>
                    </a:cubicBezTo>
                    <a:cubicBezTo>
                      <a:pt x="719" y="240"/>
                      <a:pt x="719" y="240"/>
                      <a:pt x="719" y="240"/>
                    </a:cubicBezTo>
                    <a:cubicBezTo>
                      <a:pt x="721" y="235"/>
                      <a:pt x="721" y="235"/>
                      <a:pt x="721" y="235"/>
                    </a:cubicBezTo>
                    <a:cubicBezTo>
                      <a:pt x="723" y="234"/>
                      <a:pt x="723" y="234"/>
                      <a:pt x="723" y="234"/>
                    </a:cubicBezTo>
                    <a:cubicBezTo>
                      <a:pt x="728" y="232"/>
                      <a:pt x="728" y="232"/>
                      <a:pt x="728" y="232"/>
                    </a:cubicBezTo>
                    <a:cubicBezTo>
                      <a:pt x="730" y="233"/>
                      <a:pt x="730" y="233"/>
                      <a:pt x="730" y="233"/>
                    </a:cubicBezTo>
                    <a:cubicBezTo>
                      <a:pt x="729" y="236"/>
                      <a:pt x="729" y="236"/>
                      <a:pt x="729" y="236"/>
                    </a:cubicBezTo>
                    <a:cubicBezTo>
                      <a:pt x="726" y="238"/>
                      <a:pt x="726" y="238"/>
                      <a:pt x="726" y="238"/>
                    </a:cubicBezTo>
                    <a:cubicBezTo>
                      <a:pt x="724" y="243"/>
                      <a:pt x="724" y="243"/>
                      <a:pt x="724" y="243"/>
                    </a:cubicBezTo>
                    <a:cubicBezTo>
                      <a:pt x="725" y="245"/>
                      <a:pt x="725" y="245"/>
                      <a:pt x="725" y="245"/>
                    </a:cubicBezTo>
                    <a:cubicBezTo>
                      <a:pt x="723" y="247"/>
                      <a:pt x="723" y="247"/>
                      <a:pt x="723" y="247"/>
                    </a:cubicBezTo>
                    <a:cubicBezTo>
                      <a:pt x="721" y="251"/>
                      <a:pt x="721" y="251"/>
                      <a:pt x="721" y="251"/>
                    </a:cubicBezTo>
                    <a:cubicBezTo>
                      <a:pt x="723" y="253"/>
                      <a:pt x="723" y="253"/>
                      <a:pt x="723" y="253"/>
                    </a:cubicBezTo>
                    <a:cubicBezTo>
                      <a:pt x="725" y="251"/>
                      <a:pt x="725" y="251"/>
                      <a:pt x="725" y="251"/>
                    </a:cubicBezTo>
                    <a:cubicBezTo>
                      <a:pt x="727" y="251"/>
                      <a:pt x="727" y="251"/>
                      <a:pt x="727" y="251"/>
                    </a:cubicBezTo>
                    <a:cubicBezTo>
                      <a:pt x="728" y="254"/>
                      <a:pt x="728" y="254"/>
                      <a:pt x="728" y="254"/>
                    </a:cubicBezTo>
                    <a:cubicBezTo>
                      <a:pt x="729" y="254"/>
                      <a:pt x="729" y="254"/>
                      <a:pt x="729" y="254"/>
                    </a:cubicBezTo>
                    <a:cubicBezTo>
                      <a:pt x="735" y="250"/>
                      <a:pt x="735" y="250"/>
                      <a:pt x="735" y="250"/>
                    </a:cubicBezTo>
                    <a:cubicBezTo>
                      <a:pt x="738" y="247"/>
                      <a:pt x="738" y="247"/>
                      <a:pt x="738" y="247"/>
                    </a:cubicBezTo>
                    <a:cubicBezTo>
                      <a:pt x="740" y="248"/>
                      <a:pt x="740" y="248"/>
                      <a:pt x="740" y="248"/>
                    </a:cubicBezTo>
                    <a:cubicBezTo>
                      <a:pt x="742" y="244"/>
                      <a:pt x="742" y="244"/>
                      <a:pt x="742" y="244"/>
                    </a:cubicBezTo>
                    <a:cubicBezTo>
                      <a:pt x="742" y="240"/>
                      <a:pt x="742" y="240"/>
                      <a:pt x="742" y="240"/>
                    </a:cubicBezTo>
                    <a:cubicBezTo>
                      <a:pt x="744" y="240"/>
                      <a:pt x="744" y="240"/>
                      <a:pt x="744" y="240"/>
                    </a:cubicBezTo>
                    <a:cubicBezTo>
                      <a:pt x="747" y="237"/>
                      <a:pt x="747" y="237"/>
                      <a:pt x="747" y="237"/>
                    </a:cubicBezTo>
                    <a:cubicBezTo>
                      <a:pt x="747" y="233"/>
                      <a:pt x="747" y="233"/>
                      <a:pt x="747" y="233"/>
                    </a:cubicBezTo>
                    <a:cubicBezTo>
                      <a:pt x="749" y="231"/>
                      <a:pt x="749" y="231"/>
                      <a:pt x="749" y="231"/>
                    </a:cubicBezTo>
                    <a:cubicBezTo>
                      <a:pt x="750" y="232"/>
                      <a:pt x="750" y="232"/>
                      <a:pt x="750" y="232"/>
                    </a:cubicBezTo>
                    <a:cubicBezTo>
                      <a:pt x="749" y="236"/>
                      <a:pt x="749" y="236"/>
                      <a:pt x="749" y="236"/>
                    </a:cubicBezTo>
                    <a:cubicBezTo>
                      <a:pt x="750" y="238"/>
                      <a:pt x="750" y="238"/>
                      <a:pt x="750" y="238"/>
                    </a:cubicBezTo>
                    <a:cubicBezTo>
                      <a:pt x="749" y="242"/>
                      <a:pt x="749" y="242"/>
                      <a:pt x="749" y="242"/>
                    </a:cubicBezTo>
                    <a:cubicBezTo>
                      <a:pt x="750" y="246"/>
                      <a:pt x="750" y="246"/>
                      <a:pt x="750" y="246"/>
                    </a:cubicBezTo>
                    <a:cubicBezTo>
                      <a:pt x="752" y="246"/>
                      <a:pt x="752" y="246"/>
                      <a:pt x="752" y="246"/>
                    </a:cubicBezTo>
                    <a:cubicBezTo>
                      <a:pt x="756" y="242"/>
                      <a:pt x="756" y="242"/>
                      <a:pt x="756" y="242"/>
                    </a:cubicBezTo>
                    <a:cubicBezTo>
                      <a:pt x="756" y="238"/>
                      <a:pt x="756" y="238"/>
                      <a:pt x="756" y="238"/>
                    </a:cubicBezTo>
                    <a:cubicBezTo>
                      <a:pt x="757" y="236"/>
                      <a:pt x="757" y="236"/>
                      <a:pt x="757" y="236"/>
                    </a:cubicBezTo>
                    <a:cubicBezTo>
                      <a:pt x="760" y="236"/>
                      <a:pt x="760" y="236"/>
                      <a:pt x="760" y="236"/>
                    </a:cubicBezTo>
                    <a:cubicBezTo>
                      <a:pt x="764" y="230"/>
                      <a:pt x="764" y="230"/>
                      <a:pt x="764" y="230"/>
                    </a:cubicBezTo>
                    <a:cubicBezTo>
                      <a:pt x="764" y="226"/>
                      <a:pt x="764" y="226"/>
                      <a:pt x="764" y="226"/>
                    </a:cubicBezTo>
                    <a:cubicBezTo>
                      <a:pt x="764" y="223"/>
                      <a:pt x="764" y="223"/>
                      <a:pt x="764" y="223"/>
                    </a:cubicBezTo>
                    <a:cubicBezTo>
                      <a:pt x="765" y="220"/>
                      <a:pt x="765" y="220"/>
                      <a:pt x="765" y="220"/>
                    </a:cubicBezTo>
                    <a:cubicBezTo>
                      <a:pt x="768" y="223"/>
                      <a:pt x="768" y="223"/>
                      <a:pt x="768" y="223"/>
                    </a:cubicBezTo>
                    <a:cubicBezTo>
                      <a:pt x="774" y="219"/>
                      <a:pt x="774" y="219"/>
                      <a:pt x="774" y="219"/>
                    </a:cubicBezTo>
                    <a:cubicBezTo>
                      <a:pt x="776" y="214"/>
                      <a:pt x="776" y="214"/>
                      <a:pt x="776" y="214"/>
                    </a:cubicBezTo>
                    <a:cubicBezTo>
                      <a:pt x="777" y="211"/>
                      <a:pt x="777" y="211"/>
                      <a:pt x="777" y="211"/>
                    </a:cubicBezTo>
                    <a:cubicBezTo>
                      <a:pt x="780" y="210"/>
                      <a:pt x="780" y="210"/>
                      <a:pt x="780" y="210"/>
                    </a:cubicBezTo>
                    <a:cubicBezTo>
                      <a:pt x="782" y="209"/>
                      <a:pt x="782" y="209"/>
                      <a:pt x="782" y="209"/>
                    </a:cubicBezTo>
                    <a:cubicBezTo>
                      <a:pt x="785" y="211"/>
                      <a:pt x="785" y="211"/>
                      <a:pt x="785" y="211"/>
                    </a:cubicBezTo>
                    <a:cubicBezTo>
                      <a:pt x="788" y="208"/>
                      <a:pt x="788" y="208"/>
                      <a:pt x="788" y="208"/>
                    </a:cubicBezTo>
                    <a:cubicBezTo>
                      <a:pt x="790" y="209"/>
                      <a:pt x="790" y="209"/>
                      <a:pt x="790" y="209"/>
                    </a:cubicBezTo>
                    <a:cubicBezTo>
                      <a:pt x="788" y="216"/>
                      <a:pt x="788" y="216"/>
                      <a:pt x="788" y="216"/>
                    </a:cubicBezTo>
                    <a:cubicBezTo>
                      <a:pt x="783" y="221"/>
                      <a:pt x="783" y="221"/>
                      <a:pt x="783" y="221"/>
                    </a:cubicBezTo>
                    <a:cubicBezTo>
                      <a:pt x="782" y="225"/>
                      <a:pt x="782" y="225"/>
                      <a:pt x="782" y="225"/>
                    </a:cubicBezTo>
                    <a:cubicBezTo>
                      <a:pt x="780" y="227"/>
                      <a:pt x="780" y="227"/>
                      <a:pt x="780" y="227"/>
                    </a:cubicBezTo>
                    <a:cubicBezTo>
                      <a:pt x="779" y="229"/>
                      <a:pt x="779" y="229"/>
                      <a:pt x="779" y="229"/>
                    </a:cubicBezTo>
                    <a:cubicBezTo>
                      <a:pt x="777" y="231"/>
                      <a:pt x="777" y="231"/>
                      <a:pt x="777" y="231"/>
                    </a:cubicBezTo>
                    <a:cubicBezTo>
                      <a:pt x="771" y="238"/>
                      <a:pt x="771" y="238"/>
                      <a:pt x="771" y="238"/>
                    </a:cubicBezTo>
                    <a:cubicBezTo>
                      <a:pt x="772" y="240"/>
                      <a:pt x="772" y="240"/>
                      <a:pt x="772" y="240"/>
                    </a:cubicBezTo>
                    <a:cubicBezTo>
                      <a:pt x="773" y="243"/>
                      <a:pt x="773" y="243"/>
                      <a:pt x="773" y="243"/>
                    </a:cubicBezTo>
                    <a:cubicBezTo>
                      <a:pt x="773" y="246"/>
                      <a:pt x="773" y="246"/>
                      <a:pt x="773" y="246"/>
                    </a:cubicBezTo>
                    <a:cubicBezTo>
                      <a:pt x="776" y="247"/>
                      <a:pt x="776" y="247"/>
                      <a:pt x="776" y="247"/>
                    </a:cubicBezTo>
                    <a:cubicBezTo>
                      <a:pt x="779" y="248"/>
                      <a:pt x="779" y="248"/>
                      <a:pt x="779" y="248"/>
                    </a:cubicBezTo>
                    <a:cubicBezTo>
                      <a:pt x="781" y="246"/>
                      <a:pt x="781" y="246"/>
                      <a:pt x="781" y="246"/>
                    </a:cubicBezTo>
                    <a:cubicBezTo>
                      <a:pt x="785" y="244"/>
                      <a:pt x="785" y="244"/>
                      <a:pt x="785" y="244"/>
                    </a:cubicBezTo>
                    <a:cubicBezTo>
                      <a:pt x="786" y="241"/>
                      <a:pt x="786" y="241"/>
                      <a:pt x="786" y="241"/>
                    </a:cubicBezTo>
                    <a:cubicBezTo>
                      <a:pt x="785" y="238"/>
                      <a:pt x="785" y="238"/>
                      <a:pt x="785" y="238"/>
                    </a:cubicBezTo>
                    <a:cubicBezTo>
                      <a:pt x="788" y="235"/>
                      <a:pt x="788" y="235"/>
                      <a:pt x="788" y="235"/>
                    </a:cubicBezTo>
                    <a:cubicBezTo>
                      <a:pt x="790" y="232"/>
                      <a:pt x="790" y="232"/>
                      <a:pt x="790" y="232"/>
                    </a:cubicBezTo>
                    <a:cubicBezTo>
                      <a:pt x="793" y="232"/>
                      <a:pt x="793" y="232"/>
                      <a:pt x="793" y="232"/>
                    </a:cubicBezTo>
                    <a:cubicBezTo>
                      <a:pt x="795" y="231"/>
                      <a:pt x="795" y="231"/>
                      <a:pt x="795" y="231"/>
                    </a:cubicBezTo>
                    <a:cubicBezTo>
                      <a:pt x="797" y="233"/>
                      <a:pt x="797" y="233"/>
                      <a:pt x="797" y="233"/>
                    </a:cubicBezTo>
                    <a:cubicBezTo>
                      <a:pt x="800" y="233"/>
                      <a:pt x="800" y="233"/>
                      <a:pt x="800" y="233"/>
                    </a:cubicBezTo>
                    <a:cubicBezTo>
                      <a:pt x="803" y="231"/>
                      <a:pt x="803" y="231"/>
                      <a:pt x="803" y="231"/>
                    </a:cubicBezTo>
                    <a:cubicBezTo>
                      <a:pt x="809" y="231"/>
                      <a:pt x="809" y="231"/>
                      <a:pt x="809" y="231"/>
                    </a:cubicBezTo>
                    <a:cubicBezTo>
                      <a:pt x="811" y="228"/>
                      <a:pt x="811" y="228"/>
                      <a:pt x="811" y="228"/>
                    </a:cubicBezTo>
                    <a:cubicBezTo>
                      <a:pt x="813" y="221"/>
                      <a:pt x="813" y="221"/>
                      <a:pt x="813" y="221"/>
                    </a:cubicBezTo>
                    <a:cubicBezTo>
                      <a:pt x="816" y="216"/>
                      <a:pt x="816" y="216"/>
                      <a:pt x="816" y="216"/>
                    </a:cubicBezTo>
                    <a:cubicBezTo>
                      <a:pt x="816" y="212"/>
                      <a:pt x="816" y="212"/>
                      <a:pt x="816" y="212"/>
                    </a:cubicBezTo>
                    <a:cubicBezTo>
                      <a:pt x="817" y="211"/>
                      <a:pt x="817" y="211"/>
                      <a:pt x="817" y="211"/>
                    </a:cubicBezTo>
                    <a:cubicBezTo>
                      <a:pt x="820" y="215"/>
                      <a:pt x="820" y="215"/>
                      <a:pt x="820" y="215"/>
                    </a:cubicBezTo>
                    <a:cubicBezTo>
                      <a:pt x="823" y="216"/>
                      <a:pt x="823" y="216"/>
                      <a:pt x="823" y="216"/>
                    </a:cubicBezTo>
                    <a:cubicBezTo>
                      <a:pt x="824" y="214"/>
                      <a:pt x="824" y="214"/>
                      <a:pt x="824" y="214"/>
                    </a:cubicBezTo>
                    <a:cubicBezTo>
                      <a:pt x="824" y="212"/>
                      <a:pt x="824" y="212"/>
                      <a:pt x="824" y="212"/>
                    </a:cubicBezTo>
                    <a:cubicBezTo>
                      <a:pt x="821" y="206"/>
                      <a:pt x="821" y="206"/>
                      <a:pt x="821" y="206"/>
                    </a:cubicBezTo>
                    <a:cubicBezTo>
                      <a:pt x="821" y="204"/>
                      <a:pt x="821" y="204"/>
                      <a:pt x="821" y="204"/>
                    </a:cubicBezTo>
                    <a:cubicBezTo>
                      <a:pt x="825" y="200"/>
                      <a:pt x="825" y="200"/>
                      <a:pt x="825" y="200"/>
                    </a:cubicBezTo>
                    <a:cubicBezTo>
                      <a:pt x="828" y="200"/>
                      <a:pt x="828" y="200"/>
                      <a:pt x="828" y="200"/>
                    </a:cubicBezTo>
                    <a:cubicBezTo>
                      <a:pt x="832" y="198"/>
                      <a:pt x="832" y="198"/>
                      <a:pt x="832" y="198"/>
                    </a:cubicBezTo>
                    <a:cubicBezTo>
                      <a:pt x="835" y="199"/>
                      <a:pt x="835" y="199"/>
                      <a:pt x="835" y="199"/>
                    </a:cubicBezTo>
                    <a:cubicBezTo>
                      <a:pt x="837" y="199"/>
                      <a:pt x="837" y="199"/>
                      <a:pt x="837" y="199"/>
                    </a:cubicBezTo>
                    <a:cubicBezTo>
                      <a:pt x="840" y="195"/>
                      <a:pt x="840" y="195"/>
                      <a:pt x="840" y="195"/>
                    </a:cubicBezTo>
                    <a:cubicBezTo>
                      <a:pt x="840" y="192"/>
                      <a:pt x="840" y="192"/>
                      <a:pt x="840" y="192"/>
                    </a:cubicBezTo>
                    <a:cubicBezTo>
                      <a:pt x="839" y="185"/>
                      <a:pt x="839" y="185"/>
                      <a:pt x="839" y="185"/>
                    </a:cubicBezTo>
                    <a:cubicBezTo>
                      <a:pt x="840" y="183"/>
                      <a:pt x="840" y="183"/>
                      <a:pt x="840" y="183"/>
                    </a:cubicBezTo>
                    <a:cubicBezTo>
                      <a:pt x="839" y="181"/>
                      <a:pt x="839" y="181"/>
                      <a:pt x="839" y="181"/>
                    </a:cubicBezTo>
                    <a:cubicBezTo>
                      <a:pt x="839" y="176"/>
                      <a:pt x="839" y="176"/>
                      <a:pt x="839" y="176"/>
                    </a:cubicBezTo>
                    <a:cubicBezTo>
                      <a:pt x="837" y="176"/>
                      <a:pt x="837" y="176"/>
                      <a:pt x="837" y="176"/>
                    </a:cubicBezTo>
                    <a:cubicBezTo>
                      <a:pt x="834" y="177"/>
                      <a:pt x="834" y="177"/>
                      <a:pt x="834" y="177"/>
                    </a:cubicBezTo>
                    <a:cubicBezTo>
                      <a:pt x="829" y="179"/>
                      <a:pt x="829" y="179"/>
                      <a:pt x="829" y="179"/>
                    </a:cubicBezTo>
                    <a:cubicBezTo>
                      <a:pt x="829" y="184"/>
                      <a:pt x="829" y="184"/>
                      <a:pt x="829" y="184"/>
                    </a:cubicBezTo>
                    <a:cubicBezTo>
                      <a:pt x="829" y="186"/>
                      <a:pt x="829" y="186"/>
                      <a:pt x="829" y="186"/>
                    </a:cubicBezTo>
                    <a:cubicBezTo>
                      <a:pt x="829" y="189"/>
                      <a:pt x="829" y="189"/>
                      <a:pt x="829" y="189"/>
                    </a:cubicBezTo>
                    <a:cubicBezTo>
                      <a:pt x="826" y="189"/>
                      <a:pt x="826" y="189"/>
                      <a:pt x="826" y="189"/>
                    </a:cubicBezTo>
                    <a:cubicBezTo>
                      <a:pt x="825" y="186"/>
                      <a:pt x="825" y="186"/>
                      <a:pt x="825" y="186"/>
                    </a:cubicBezTo>
                    <a:cubicBezTo>
                      <a:pt x="824" y="186"/>
                      <a:pt x="824" y="186"/>
                      <a:pt x="824" y="186"/>
                    </a:cubicBezTo>
                    <a:cubicBezTo>
                      <a:pt x="823" y="188"/>
                      <a:pt x="823" y="188"/>
                      <a:pt x="823" y="188"/>
                    </a:cubicBezTo>
                    <a:cubicBezTo>
                      <a:pt x="822" y="190"/>
                      <a:pt x="822" y="190"/>
                      <a:pt x="822" y="190"/>
                    </a:cubicBezTo>
                    <a:cubicBezTo>
                      <a:pt x="820" y="187"/>
                      <a:pt x="820" y="187"/>
                      <a:pt x="820" y="187"/>
                    </a:cubicBezTo>
                    <a:cubicBezTo>
                      <a:pt x="819" y="182"/>
                      <a:pt x="819" y="182"/>
                      <a:pt x="819" y="182"/>
                    </a:cubicBezTo>
                    <a:cubicBezTo>
                      <a:pt x="816" y="178"/>
                      <a:pt x="816" y="178"/>
                      <a:pt x="816" y="178"/>
                    </a:cubicBezTo>
                    <a:cubicBezTo>
                      <a:pt x="814" y="178"/>
                      <a:pt x="814" y="178"/>
                      <a:pt x="814" y="178"/>
                    </a:cubicBezTo>
                    <a:cubicBezTo>
                      <a:pt x="812" y="180"/>
                      <a:pt x="812" y="180"/>
                      <a:pt x="812" y="180"/>
                    </a:cubicBezTo>
                    <a:cubicBezTo>
                      <a:pt x="808" y="179"/>
                      <a:pt x="808" y="179"/>
                      <a:pt x="808" y="179"/>
                    </a:cubicBezTo>
                    <a:cubicBezTo>
                      <a:pt x="804" y="178"/>
                      <a:pt x="804" y="178"/>
                      <a:pt x="804" y="178"/>
                    </a:cubicBezTo>
                    <a:cubicBezTo>
                      <a:pt x="802" y="178"/>
                      <a:pt x="802" y="178"/>
                      <a:pt x="802" y="178"/>
                    </a:cubicBezTo>
                    <a:cubicBezTo>
                      <a:pt x="793" y="178"/>
                      <a:pt x="793" y="178"/>
                      <a:pt x="793" y="178"/>
                    </a:cubicBezTo>
                    <a:cubicBezTo>
                      <a:pt x="789" y="180"/>
                      <a:pt x="789" y="180"/>
                      <a:pt x="789" y="180"/>
                    </a:cubicBezTo>
                    <a:cubicBezTo>
                      <a:pt x="788" y="183"/>
                      <a:pt x="788" y="183"/>
                      <a:pt x="788" y="183"/>
                    </a:cubicBezTo>
                    <a:cubicBezTo>
                      <a:pt x="786" y="185"/>
                      <a:pt x="786" y="185"/>
                      <a:pt x="786" y="185"/>
                    </a:cubicBezTo>
                    <a:cubicBezTo>
                      <a:pt x="784" y="185"/>
                      <a:pt x="784" y="185"/>
                      <a:pt x="784" y="185"/>
                    </a:cubicBezTo>
                    <a:cubicBezTo>
                      <a:pt x="782" y="185"/>
                      <a:pt x="782" y="185"/>
                      <a:pt x="782" y="185"/>
                    </a:cubicBezTo>
                    <a:cubicBezTo>
                      <a:pt x="773" y="192"/>
                      <a:pt x="773" y="192"/>
                      <a:pt x="773" y="192"/>
                    </a:cubicBezTo>
                    <a:cubicBezTo>
                      <a:pt x="770" y="194"/>
                      <a:pt x="770" y="194"/>
                      <a:pt x="770" y="194"/>
                    </a:cubicBezTo>
                    <a:cubicBezTo>
                      <a:pt x="767" y="194"/>
                      <a:pt x="767" y="194"/>
                      <a:pt x="767" y="194"/>
                    </a:cubicBezTo>
                    <a:cubicBezTo>
                      <a:pt x="762" y="197"/>
                      <a:pt x="762" y="197"/>
                      <a:pt x="762" y="197"/>
                    </a:cubicBezTo>
                    <a:cubicBezTo>
                      <a:pt x="759" y="198"/>
                      <a:pt x="759" y="198"/>
                      <a:pt x="759" y="198"/>
                    </a:cubicBezTo>
                    <a:cubicBezTo>
                      <a:pt x="756" y="201"/>
                      <a:pt x="756" y="201"/>
                      <a:pt x="756" y="201"/>
                    </a:cubicBezTo>
                    <a:cubicBezTo>
                      <a:pt x="755" y="203"/>
                      <a:pt x="755" y="203"/>
                      <a:pt x="755" y="203"/>
                    </a:cubicBezTo>
                    <a:cubicBezTo>
                      <a:pt x="749" y="203"/>
                      <a:pt x="749" y="203"/>
                      <a:pt x="749" y="203"/>
                    </a:cubicBezTo>
                    <a:cubicBezTo>
                      <a:pt x="747" y="204"/>
                      <a:pt x="747" y="204"/>
                      <a:pt x="747" y="204"/>
                    </a:cubicBezTo>
                    <a:cubicBezTo>
                      <a:pt x="743" y="204"/>
                      <a:pt x="743" y="204"/>
                      <a:pt x="743" y="204"/>
                    </a:cubicBezTo>
                    <a:cubicBezTo>
                      <a:pt x="741" y="205"/>
                      <a:pt x="741" y="205"/>
                      <a:pt x="741" y="205"/>
                    </a:cubicBezTo>
                    <a:cubicBezTo>
                      <a:pt x="739" y="205"/>
                      <a:pt x="739" y="205"/>
                      <a:pt x="739" y="205"/>
                    </a:cubicBezTo>
                    <a:cubicBezTo>
                      <a:pt x="732" y="210"/>
                      <a:pt x="732" y="210"/>
                      <a:pt x="732" y="210"/>
                    </a:cubicBezTo>
                    <a:cubicBezTo>
                      <a:pt x="728" y="212"/>
                      <a:pt x="728" y="212"/>
                      <a:pt x="728" y="212"/>
                    </a:cubicBezTo>
                    <a:cubicBezTo>
                      <a:pt x="724" y="211"/>
                      <a:pt x="724" y="211"/>
                      <a:pt x="724" y="211"/>
                    </a:cubicBezTo>
                    <a:cubicBezTo>
                      <a:pt x="720" y="213"/>
                      <a:pt x="720" y="213"/>
                      <a:pt x="720" y="213"/>
                    </a:cubicBezTo>
                    <a:cubicBezTo>
                      <a:pt x="711" y="214"/>
                      <a:pt x="711" y="214"/>
                      <a:pt x="711" y="214"/>
                    </a:cubicBezTo>
                    <a:cubicBezTo>
                      <a:pt x="708" y="220"/>
                      <a:pt x="708" y="220"/>
                      <a:pt x="708" y="220"/>
                    </a:cubicBezTo>
                    <a:cubicBezTo>
                      <a:pt x="705" y="220"/>
                      <a:pt x="705" y="220"/>
                      <a:pt x="705" y="220"/>
                    </a:cubicBezTo>
                    <a:cubicBezTo>
                      <a:pt x="699" y="221"/>
                      <a:pt x="699" y="221"/>
                      <a:pt x="699" y="221"/>
                    </a:cubicBezTo>
                    <a:cubicBezTo>
                      <a:pt x="697" y="225"/>
                      <a:pt x="697" y="225"/>
                      <a:pt x="697" y="225"/>
                    </a:cubicBezTo>
                    <a:cubicBezTo>
                      <a:pt x="701" y="225"/>
                      <a:pt x="701" y="225"/>
                      <a:pt x="701" y="225"/>
                    </a:cubicBezTo>
                    <a:cubicBezTo>
                      <a:pt x="702" y="226"/>
                      <a:pt x="702" y="226"/>
                      <a:pt x="702" y="226"/>
                    </a:cubicBezTo>
                    <a:cubicBezTo>
                      <a:pt x="699" y="227"/>
                      <a:pt x="699" y="227"/>
                      <a:pt x="699" y="227"/>
                    </a:cubicBezTo>
                    <a:cubicBezTo>
                      <a:pt x="698" y="229"/>
                      <a:pt x="698" y="229"/>
                      <a:pt x="698" y="229"/>
                    </a:cubicBezTo>
                    <a:cubicBezTo>
                      <a:pt x="701" y="231"/>
                      <a:pt x="701" y="231"/>
                      <a:pt x="701" y="231"/>
                    </a:cubicBezTo>
                    <a:cubicBezTo>
                      <a:pt x="700" y="233"/>
                      <a:pt x="700" y="233"/>
                      <a:pt x="700" y="233"/>
                    </a:cubicBezTo>
                    <a:cubicBezTo>
                      <a:pt x="694" y="235"/>
                      <a:pt x="694" y="235"/>
                      <a:pt x="694" y="235"/>
                    </a:cubicBezTo>
                    <a:cubicBezTo>
                      <a:pt x="694" y="237"/>
                      <a:pt x="694" y="237"/>
                      <a:pt x="694" y="237"/>
                    </a:cubicBezTo>
                    <a:cubicBezTo>
                      <a:pt x="698" y="238"/>
                      <a:pt x="698" y="238"/>
                      <a:pt x="698" y="238"/>
                    </a:cubicBezTo>
                    <a:cubicBezTo>
                      <a:pt x="702" y="237"/>
                      <a:pt x="702" y="237"/>
                      <a:pt x="702" y="237"/>
                    </a:cubicBezTo>
                    <a:cubicBezTo>
                      <a:pt x="704" y="234"/>
                      <a:pt x="704" y="234"/>
                      <a:pt x="704" y="234"/>
                    </a:cubicBezTo>
                    <a:cubicBezTo>
                      <a:pt x="707" y="233"/>
                      <a:pt x="707" y="233"/>
                      <a:pt x="707" y="233"/>
                    </a:cubicBezTo>
                    <a:cubicBezTo>
                      <a:pt x="710" y="235"/>
                      <a:pt x="710" y="235"/>
                      <a:pt x="710" y="235"/>
                    </a:cubicBezTo>
                    <a:cubicBezTo>
                      <a:pt x="713" y="240"/>
                      <a:pt x="713" y="240"/>
                      <a:pt x="713" y="240"/>
                    </a:cubicBezTo>
                    <a:cubicBezTo>
                      <a:pt x="713" y="244"/>
                      <a:pt x="713" y="244"/>
                      <a:pt x="713" y="244"/>
                    </a:cubicBezTo>
                    <a:cubicBezTo>
                      <a:pt x="717" y="245"/>
                      <a:pt x="717" y="245"/>
                      <a:pt x="717" y="245"/>
                    </a:cubicBezTo>
                    <a:close/>
                    <a:moveTo>
                      <a:pt x="1083" y="453"/>
                    </a:moveTo>
                    <a:cubicBezTo>
                      <a:pt x="1084" y="452"/>
                      <a:pt x="1084" y="452"/>
                      <a:pt x="1084" y="452"/>
                    </a:cubicBezTo>
                    <a:cubicBezTo>
                      <a:pt x="1089" y="453"/>
                      <a:pt x="1089" y="453"/>
                      <a:pt x="1089" y="453"/>
                    </a:cubicBezTo>
                    <a:cubicBezTo>
                      <a:pt x="1090" y="455"/>
                      <a:pt x="1090" y="455"/>
                      <a:pt x="1090" y="455"/>
                    </a:cubicBezTo>
                    <a:cubicBezTo>
                      <a:pt x="1087" y="456"/>
                      <a:pt x="1087" y="456"/>
                      <a:pt x="1087" y="456"/>
                    </a:cubicBezTo>
                    <a:cubicBezTo>
                      <a:pt x="1085" y="455"/>
                      <a:pt x="1085" y="455"/>
                      <a:pt x="1085" y="455"/>
                    </a:cubicBezTo>
                    <a:cubicBezTo>
                      <a:pt x="1083" y="453"/>
                      <a:pt x="1083" y="453"/>
                      <a:pt x="1083" y="453"/>
                    </a:cubicBezTo>
                    <a:close/>
                    <a:moveTo>
                      <a:pt x="1041" y="372"/>
                    </a:moveTo>
                    <a:cubicBezTo>
                      <a:pt x="1037" y="370"/>
                      <a:pt x="1037" y="370"/>
                      <a:pt x="1037" y="370"/>
                    </a:cubicBezTo>
                    <a:cubicBezTo>
                      <a:pt x="1035" y="369"/>
                      <a:pt x="1035" y="369"/>
                      <a:pt x="1035" y="369"/>
                    </a:cubicBezTo>
                    <a:cubicBezTo>
                      <a:pt x="1033" y="371"/>
                      <a:pt x="1033" y="371"/>
                      <a:pt x="1033" y="371"/>
                    </a:cubicBezTo>
                    <a:cubicBezTo>
                      <a:pt x="1037" y="371"/>
                      <a:pt x="1037" y="371"/>
                      <a:pt x="1037" y="371"/>
                    </a:cubicBezTo>
                    <a:cubicBezTo>
                      <a:pt x="1038" y="373"/>
                      <a:pt x="1038" y="373"/>
                      <a:pt x="1038" y="373"/>
                    </a:cubicBezTo>
                    <a:cubicBezTo>
                      <a:pt x="1037" y="374"/>
                      <a:pt x="1037" y="374"/>
                      <a:pt x="1037" y="374"/>
                    </a:cubicBezTo>
                    <a:cubicBezTo>
                      <a:pt x="1032" y="375"/>
                      <a:pt x="1032" y="375"/>
                      <a:pt x="1032" y="375"/>
                    </a:cubicBezTo>
                    <a:cubicBezTo>
                      <a:pt x="1031" y="376"/>
                      <a:pt x="1031" y="376"/>
                      <a:pt x="1031" y="376"/>
                    </a:cubicBezTo>
                    <a:cubicBezTo>
                      <a:pt x="1033" y="380"/>
                      <a:pt x="1033" y="380"/>
                      <a:pt x="1033" y="380"/>
                    </a:cubicBezTo>
                    <a:cubicBezTo>
                      <a:pt x="1033" y="380"/>
                      <a:pt x="1033" y="380"/>
                      <a:pt x="1033" y="380"/>
                    </a:cubicBezTo>
                    <a:cubicBezTo>
                      <a:pt x="1033" y="381"/>
                      <a:pt x="1033" y="381"/>
                      <a:pt x="1033" y="381"/>
                    </a:cubicBezTo>
                    <a:cubicBezTo>
                      <a:pt x="1029" y="380"/>
                      <a:pt x="1029" y="380"/>
                      <a:pt x="1029" y="380"/>
                    </a:cubicBezTo>
                    <a:cubicBezTo>
                      <a:pt x="1025" y="381"/>
                      <a:pt x="1025" y="381"/>
                      <a:pt x="1025" y="381"/>
                    </a:cubicBezTo>
                    <a:cubicBezTo>
                      <a:pt x="1022" y="384"/>
                      <a:pt x="1022" y="384"/>
                      <a:pt x="1022" y="384"/>
                    </a:cubicBezTo>
                    <a:cubicBezTo>
                      <a:pt x="1020" y="387"/>
                      <a:pt x="1020" y="387"/>
                      <a:pt x="1020" y="387"/>
                    </a:cubicBezTo>
                    <a:cubicBezTo>
                      <a:pt x="1019" y="388"/>
                      <a:pt x="1019" y="388"/>
                      <a:pt x="1019" y="388"/>
                    </a:cubicBezTo>
                    <a:cubicBezTo>
                      <a:pt x="1020" y="389"/>
                      <a:pt x="1020" y="389"/>
                      <a:pt x="1020" y="389"/>
                    </a:cubicBezTo>
                    <a:cubicBezTo>
                      <a:pt x="1022" y="390"/>
                      <a:pt x="1022" y="390"/>
                      <a:pt x="1022" y="390"/>
                    </a:cubicBezTo>
                    <a:cubicBezTo>
                      <a:pt x="1021" y="391"/>
                      <a:pt x="1021" y="391"/>
                      <a:pt x="1021" y="391"/>
                    </a:cubicBezTo>
                    <a:cubicBezTo>
                      <a:pt x="1020" y="394"/>
                      <a:pt x="1020" y="394"/>
                      <a:pt x="1020" y="394"/>
                    </a:cubicBezTo>
                    <a:cubicBezTo>
                      <a:pt x="1021" y="394"/>
                      <a:pt x="1021" y="394"/>
                      <a:pt x="1021" y="394"/>
                    </a:cubicBezTo>
                    <a:cubicBezTo>
                      <a:pt x="1024" y="391"/>
                      <a:pt x="1024" y="391"/>
                      <a:pt x="1024" y="391"/>
                    </a:cubicBezTo>
                    <a:cubicBezTo>
                      <a:pt x="1025" y="392"/>
                      <a:pt x="1025" y="392"/>
                      <a:pt x="1025" y="392"/>
                    </a:cubicBezTo>
                    <a:cubicBezTo>
                      <a:pt x="1023" y="396"/>
                      <a:pt x="1023" y="396"/>
                      <a:pt x="1023" y="396"/>
                    </a:cubicBezTo>
                    <a:cubicBezTo>
                      <a:pt x="1024" y="397"/>
                      <a:pt x="1024" y="397"/>
                      <a:pt x="1024" y="397"/>
                    </a:cubicBezTo>
                    <a:cubicBezTo>
                      <a:pt x="1027" y="399"/>
                      <a:pt x="1027" y="399"/>
                      <a:pt x="1027" y="399"/>
                    </a:cubicBezTo>
                    <a:cubicBezTo>
                      <a:pt x="1028" y="398"/>
                      <a:pt x="1028" y="398"/>
                      <a:pt x="1028" y="398"/>
                    </a:cubicBezTo>
                    <a:cubicBezTo>
                      <a:pt x="1029" y="399"/>
                      <a:pt x="1029" y="399"/>
                      <a:pt x="1029" y="399"/>
                    </a:cubicBezTo>
                    <a:cubicBezTo>
                      <a:pt x="1030" y="402"/>
                      <a:pt x="1030" y="402"/>
                      <a:pt x="1030" y="402"/>
                    </a:cubicBezTo>
                    <a:cubicBezTo>
                      <a:pt x="1031" y="402"/>
                      <a:pt x="1031" y="402"/>
                      <a:pt x="1031" y="402"/>
                    </a:cubicBezTo>
                    <a:cubicBezTo>
                      <a:pt x="1032" y="400"/>
                      <a:pt x="1032" y="400"/>
                      <a:pt x="1032" y="400"/>
                    </a:cubicBezTo>
                    <a:cubicBezTo>
                      <a:pt x="1035" y="401"/>
                      <a:pt x="1035" y="401"/>
                      <a:pt x="1035" y="401"/>
                    </a:cubicBezTo>
                    <a:cubicBezTo>
                      <a:pt x="1034" y="405"/>
                      <a:pt x="1034" y="405"/>
                      <a:pt x="1034" y="405"/>
                    </a:cubicBezTo>
                    <a:cubicBezTo>
                      <a:pt x="1035" y="407"/>
                      <a:pt x="1035" y="407"/>
                      <a:pt x="1035" y="407"/>
                    </a:cubicBezTo>
                    <a:cubicBezTo>
                      <a:pt x="1039" y="406"/>
                      <a:pt x="1039" y="406"/>
                      <a:pt x="1039" y="406"/>
                    </a:cubicBezTo>
                    <a:cubicBezTo>
                      <a:pt x="1040" y="410"/>
                      <a:pt x="1040" y="410"/>
                      <a:pt x="1040" y="410"/>
                    </a:cubicBezTo>
                    <a:cubicBezTo>
                      <a:pt x="1043" y="410"/>
                      <a:pt x="1043" y="410"/>
                      <a:pt x="1043" y="410"/>
                    </a:cubicBezTo>
                    <a:cubicBezTo>
                      <a:pt x="1048" y="413"/>
                      <a:pt x="1048" y="413"/>
                      <a:pt x="1048" y="413"/>
                    </a:cubicBezTo>
                    <a:cubicBezTo>
                      <a:pt x="1051" y="413"/>
                      <a:pt x="1051" y="413"/>
                      <a:pt x="1051" y="413"/>
                    </a:cubicBezTo>
                    <a:cubicBezTo>
                      <a:pt x="1052" y="414"/>
                      <a:pt x="1052" y="414"/>
                      <a:pt x="1052" y="414"/>
                    </a:cubicBezTo>
                    <a:cubicBezTo>
                      <a:pt x="1054" y="413"/>
                      <a:pt x="1054" y="413"/>
                      <a:pt x="1054" y="413"/>
                    </a:cubicBezTo>
                    <a:cubicBezTo>
                      <a:pt x="1053" y="410"/>
                      <a:pt x="1053" y="410"/>
                      <a:pt x="1053" y="410"/>
                    </a:cubicBezTo>
                    <a:cubicBezTo>
                      <a:pt x="1056" y="409"/>
                      <a:pt x="1056" y="409"/>
                      <a:pt x="1056" y="409"/>
                    </a:cubicBezTo>
                    <a:cubicBezTo>
                      <a:pt x="1058" y="404"/>
                      <a:pt x="1058" y="404"/>
                      <a:pt x="1058" y="404"/>
                    </a:cubicBezTo>
                    <a:cubicBezTo>
                      <a:pt x="1057" y="400"/>
                      <a:pt x="1057" y="400"/>
                      <a:pt x="1057" y="400"/>
                    </a:cubicBezTo>
                    <a:cubicBezTo>
                      <a:pt x="1060" y="395"/>
                      <a:pt x="1060" y="395"/>
                      <a:pt x="1060" y="395"/>
                    </a:cubicBezTo>
                    <a:cubicBezTo>
                      <a:pt x="1061" y="394"/>
                      <a:pt x="1061" y="394"/>
                      <a:pt x="1061" y="394"/>
                    </a:cubicBezTo>
                    <a:cubicBezTo>
                      <a:pt x="1063" y="388"/>
                      <a:pt x="1063" y="388"/>
                      <a:pt x="1063" y="388"/>
                    </a:cubicBezTo>
                    <a:cubicBezTo>
                      <a:pt x="1063" y="383"/>
                      <a:pt x="1063" y="383"/>
                      <a:pt x="1063" y="383"/>
                    </a:cubicBezTo>
                    <a:cubicBezTo>
                      <a:pt x="1064" y="382"/>
                      <a:pt x="1064" y="382"/>
                      <a:pt x="1064" y="382"/>
                    </a:cubicBezTo>
                    <a:cubicBezTo>
                      <a:pt x="1063" y="378"/>
                      <a:pt x="1063" y="378"/>
                      <a:pt x="1063" y="378"/>
                    </a:cubicBezTo>
                    <a:cubicBezTo>
                      <a:pt x="1060" y="376"/>
                      <a:pt x="1060" y="376"/>
                      <a:pt x="1060" y="376"/>
                    </a:cubicBezTo>
                    <a:cubicBezTo>
                      <a:pt x="1060" y="372"/>
                      <a:pt x="1060" y="372"/>
                      <a:pt x="1060" y="372"/>
                    </a:cubicBezTo>
                    <a:cubicBezTo>
                      <a:pt x="1059" y="370"/>
                      <a:pt x="1059" y="370"/>
                      <a:pt x="1059" y="370"/>
                    </a:cubicBezTo>
                    <a:cubicBezTo>
                      <a:pt x="1058" y="367"/>
                      <a:pt x="1058" y="367"/>
                      <a:pt x="1058" y="367"/>
                    </a:cubicBezTo>
                    <a:cubicBezTo>
                      <a:pt x="1053" y="365"/>
                      <a:pt x="1053" y="365"/>
                      <a:pt x="1053" y="365"/>
                    </a:cubicBezTo>
                    <a:cubicBezTo>
                      <a:pt x="1049" y="366"/>
                      <a:pt x="1049" y="366"/>
                      <a:pt x="1049" y="366"/>
                    </a:cubicBezTo>
                    <a:cubicBezTo>
                      <a:pt x="1046" y="365"/>
                      <a:pt x="1046" y="365"/>
                      <a:pt x="1046" y="365"/>
                    </a:cubicBezTo>
                    <a:cubicBezTo>
                      <a:pt x="1041" y="366"/>
                      <a:pt x="1041" y="366"/>
                      <a:pt x="1041" y="366"/>
                    </a:cubicBezTo>
                    <a:cubicBezTo>
                      <a:pt x="1040" y="367"/>
                      <a:pt x="1040" y="367"/>
                      <a:pt x="1040" y="367"/>
                    </a:cubicBezTo>
                    <a:cubicBezTo>
                      <a:pt x="1042" y="370"/>
                      <a:pt x="1042" y="370"/>
                      <a:pt x="1042" y="370"/>
                    </a:cubicBezTo>
                    <a:cubicBezTo>
                      <a:pt x="1042" y="372"/>
                      <a:pt x="1042" y="372"/>
                      <a:pt x="1042" y="372"/>
                    </a:cubicBezTo>
                    <a:cubicBezTo>
                      <a:pt x="1041" y="372"/>
                      <a:pt x="1041" y="372"/>
                      <a:pt x="1041" y="372"/>
                    </a:cubicBezTo>
                    <a:close/>
                    <a:moveTo>
                      <a:pt x="1066" y="343"/>
                    </a:moveTo>
                    <a:cubicBezTo>
                      <a:pt x="1063" y="341"/>
                      <a:pt x="1063" y="341"/>
                      <a:pt x="1063" y="341"/>
                    </a:cubicBezTo>
                    <a:cubicBezTo>
                      <a:pt x="1064" y="340"/>
                      <a:pt x="1064" y="340"/>
                      <a:pt x="1064" y="340"/>
                    </a:cubicBezTo>
                    <a:cubicBezTo>
                      <a:pt x="1067" y="339"/>
                      <a:pt x="1067" y="339"/>
                      <a:pt x="1067" y="339"/>
                    </a:cubicBezTo>
                    <a:cubicBezTo>
                      <a:pt x="1066" y="343"/>
                      <a:pt x="1066" y="343"/>
                      <a:pt x="1066" y="343"/>
                    </a:cubicBezTo>
                    <a:close/>
                    <a:moveTo>
                      <a:pt x="1061" y="362"/>
                    </a:moveTo>
                    <a:cubicBezTo>
                      <a:pt x="1060" y="359"/>
                      <a:pt x="1060" y="359"/>
                      <a:pt x="1060" y="359"/>
                    </a:cubicBezTo>
                    <a:cubicBezTo>
                      <a:pt x="1059" y="358"/>
                      <a:pt x="1059" y="358"/>
                      <a:pt x="1059" y="358"/>
                    </a:cubicBezTo>
                    <a:cubicBezTo>
                      <a:pt x="1059" y="356"/>
                      <a:pt x="1059" y="356"/>
                      <a:pt x="1059" y="356"/>
                    </a:cubicBezTo>
                    <a:cubicBezTo>
                      <a:pt x="1060" y="355"/>
                      <a:pt x="1060" y="355"/>
                      <a:pt x="1060" y="355"/>
                    </a:cubicBezTo>
                    <a:cubicBezTo>
                      <a:pt x="1060" y="351"/>
                      <a:pt x="1060" y="351"/>
                      <a:pt x="1060" y="351"/>
                    </a:cubicBezTo>
                    <a:cubicBezTo>
                      <a:pt x="1061" y="349"/>
                      <a:pt x="1061" y="349"/>
                      <a:pt x="1061" y="349"/>
                    </a:cubicBezTo>
                    <a:cubicBezTo>
                      <a:pt x="1066" y="349"/>
                      <a:pt x="1066" y="349"/>
                      <a:pt x="1066" y="349"/>
                    </a:cubicBezTo>
                    <a:cubicBezTo>
                      <a:pt x="1064" y="357"/>
                      <a:pt x="1064" y="357"/>
                      <a:pt x="1064" y="357"/>
                    </a:cubicBezTo>
                    <a:cubicBezTo>
                      <a:pt x="1062" y="360"/>
                      <a:pt x="1062" y="360"/>
                      <a:pt x="1062" y="360"/>
                    </a:cubicBezTo>
                    <a:cubicBezTo>
                      <a:pt x="1061" y="362"/>
                      <a:pt x="1061" y="362"/>
                      <a:pt x="1061" y="362"/>
                    </a:cubicBezTo>
                    <a:close/>
                    <a:moveTo>
                      <a:pt x="1034" y="353"/>
                    </a:moveTo>
                    <a:cubicBezTo>
                      <a:pt x="1033" y="352"/>
                      <a:pt x="1033" y="352"/>
                      <a:pt x="1033" y="352"/>
                    </a:cubicBezTo>
                    <a:cubicBezTo>
                      <a:pt x="1035" y="350"/>
                      <a:pt x="1035" y="350"/>
                      <a:pt x="1035" y="350"/>
                    </a:cubicBezTo>
                    <a:cubicBezTo>
                      <a:pt x="1038" y="349"/>
                      <a:pt x="1038" y="349"/>
                      <a:pt x="1038" y="349"/>
                    </a:cubicBezTo>
                    <a:cubicBezTo>
                      <a:pt x="1039" y="350"/>
                      <a:pt x="1039" y="350"/>
                      <a:pt x="1039" y="350"/>
                    </a:cubicBezTo>
                    <a:cubicBezTo>
                      <a:pt x="1037" y="351"/>
                      <a:pt x="1037" y="351"/>
                      <a:pt x="1037" y="351"/>
                    </a:cubicBezTo>
                    <a:cubicBezTo>
                      <a:pt x="1036" y="353"/>
                      <a:pt x="1036" y="353"/>
                      <a:pt x="1036" y="353"/>
                    </a:cubicBezTo>
                    <a:cubicBezTo>
                      <a:pt x="1034" y="353"/>
                      <a:pt x="1034" y="353"/>
                      <a:pt x="1034" y="353"/>
                    </a:cubicBezTo>
                    <a:close/>
                    <a:moveTo>
                      <a:pt x="1027" y="358"/>
                    </a:moveTo>
                    <a:cubicBezTo>
                      <a:pt x="1027" y="357"/>
                      <a:pt x="1027" y="357"/>
                      <a:pt x="1027" y="357"/>
                    </a:cubicBezTo>
                    <a:cubicBezTo>
                      <a:pt x="1029" y="355"/>
                      <a:pt x="1029" y="355"/>
                      <a:pt x="1029" y="355"/>
                    </a:cubicBezTo>
                    <a:cubicBezTo>
                      <a:pt x="1031" y="355"/>
                      <a:pt x="1031" y="355"/>
                      <a:pt x="1031" y="355"/>
                    </a:cubicBezTo>
                    <a:cubicBezTo>
                      <a:pt x="1029" y="357"/>
                      <a:pt x="1029" y="357"/>
                      <a:pt x="1029" y="357"/>
                    </a:cubicBezTo>
                    <a:cubicBezTo>
                      <a:pt x="1027" y="358"/>
                      <a:pt x="1027" y="358"/>
                      <a:pt x="1027" y="358"/>
                    </a:cubicBezTo>
                    <a:close/>
                    <a:moveTo>
                      <a:pt x="1033" y="366"/>
                    </a:moveTo>
                    <a:cubicBezTo>
                      <a:pt x="1033" y="364"/>
                      <a:pt x="1033" y="364"/>
                      <a:pt x="1033" y="364"/>
                    </a:cubicBezTo>
                    <a:cubicBezTo>
                      <a:pt x="1032" y="363"/>
                      <a:pt x="1032" y="363"/>
                      <a:pt x="1032" y="363"/>
                    </a:cubicBezTo>
                    <a:cubicBezTo>
                      <a:pt x="1033" y="360"/>
                      <a:pt x="1033" y="360"/>
                      <a:pt x="1033" y="360"/>
                    </a:cubicBezTo>
                    <a:cubicBezTo>
                      <a:pt x="1034" y="359"/>
                      <a:pt x="1034" y="359"/>
                      <a:pt x="1034" y="359"/>
                    </a:cubicBezTo>
                    <a:cubicBezTo>
                      <a:pt x="1036" y="361"/>
                      <a:pt x="1036" y="361"/>
                      <a:pt x="1036" y="361"/>
                    </a:cubicBezTo>
                    <a:cubicBezTo>
                      <a:pt x="1037" y="364"/>
                      <a:pt x="1037" y="364"/>
                      <a:pt x="1037" y="364"/>
                    </a:cubicBezTo>
                    <a:cubicBezTo>
                      <a:pt x="1034" y="366"/>
                      <a:pt x="1034" y="366"/>
                      <a:pt x="1034" y="366"/>
                    </a:cubicBezTo>
                    <a:cubicBezTo>
                      <a:pt x="1033" y="366"/>
                      <a:pt x="1033" y="366"/>
                      <a:pt x="1033" y="366"/>
                    </a:cubicBezTo>
                    <a:close/>
                    <a:moveTo>
                      <a:pt x="1025" y="370"/>
                    </a:moveTo>
                    <a:cubicBezTo>
                      <a:pt x="1023" y="368"/>
                      <a:pt x="1023" y="368"/>
                      <a:pt x="1023" y="368"/>
                    </a:cubicBezTo>
                    <a:cubicBezTo>
                      <a:pt x="1022" y="364"/>
                      <a:pt x="1022" y="364"/>
                      <a:pt x="1022" y="364"/>
                    </a:cubicBezTo>
                    <a:cubicBezTo>
                      <a:pt x="1024" y="362"/>
                      <a:pt x="1024" y="362"/>
                      <a:pt x="1024" y="362"/>
                    </a:cubicBezTo>
                    <a:cubicBezTo>
                      <a:pt x="1025" y="361"/>
                      <a:pt x="1025" y="361"/>
                      <a:pt x="1025" y="361"/>
                    </a:cubicBezTo>
                    <a:cubicBezTo>
                      <a:pt x="1028" y="361"/>
                      <a:pt x="1028" y="361"/>
                      <a:pt x="1028" y="361"/>
                    </a:cubicBezTo>
                    <a:cubicBezTo>
                      <a:pt x="1030" y="362"/>
                      <a:pt x="1030" y="362"/>
                      <a:pt x="1030" y="362"/>
                    </a:cubicBezTo>
                    <a:cubicBezTo>
                      <a:pt x="1031" y="363"/>
                      <a:pt x="1031" y="363"/>
                      <a:pt x="1031" y="363"/>
                    </a:cubicBezTo>
                    <a:cubicBezTo>
                      <a:pt x="1030" y="365"/>
                      <a:pt x="1030" y="365"/>
                      <a:pt x="1030" y="365"/>
                    </a:cubicBezTo>
                    <a:cubicBezTo>
                      <a:pt x="1030" y="367"/>
                      <a:pt x="1030" y="367"/>
                      <a:pt x="1030" y="367"/>
                    </a:cubicBezTo>
                    <a:cubicBezTo>
                      <a:pt x="1028" y="368"/>
                      <a:pt x="1028" y="368"/>
                      <a:pt x="1028" y="368"/>
                    </a:cubicBezTo>
                    <a:cubicBezTo>
                      <a:pt x="1027" y="369"/>
                      <a:pt x="1027" y="369"/>
                      <a:pt x="1027" y="369"/>
                    </a:cubicBezTo>
                    <a:cubicBezTo>
                      <a:pt x="1025" y="370"/>
                      <a:pt x="1025" y="370"/>
                      <a:pt x="1025" y="370"/>
                    </a:cubicBezTo>
                    <a:close/>
                    <a:moveTo>
                      <a:pt x="1015" y="372"/>
                    </a:moveTo>
                    <a:cubicBezTo>
                      <a:pt x="1015" y="369"/>
                      <a:pt x="1015" y="369"/>
                      <a:pt x="1015" y="369"/>
                    </a:cubicBezTo>
                    <a:cubicBezTo>
                      <a:pt x="1016" y="368"/>
                      <a:pt x="1016" y="368"/>
                      <a:pt x="1016" y="368"/>
                    </a:cubicBezTo>
                    <a:cubicBezTo>
                      <a:pt x="1017" y="369"/>
                      <a:pt x="1017" y="369"/>
                      <a:pt x="1017" y="369"/>
                    </a:cubicBezTo>
                    <a:cubicBezTo>
                      <a:pt x="1016" y="371"/>
                      <a:pt x="1016" y="371"/>
                      <a:pt x="1016" y="371"/>
                    </a:cubicBezTo>
                    <a:cubicBezTo>
                      <a:pt x="1015" y="372"/>
                      <a:pt x="1015" y="372"/>
                      <a:pt x="1015" y="372"/>
                    </a:cubicBezTo>
                    <a:close/>
                    <a:moveTo>
                      <a:pt x="976" y="376"/>
                    </a:moveTo>
                    <a:cubicBezTo>
                      <a:pt x="974" y="374"/>
                      <a:pt x="974" y="374"/>
                      <a:pt x="974" y="374"/>
                    </a:cubicBezTo>
                    <a:cubicBezTo>
                      <a:pt x="970" y="375"/>
                      <a:pt x="970" y="375"/>
                      <a:pt x="970" y="375"/>
                    </a:cubicBezTo>
                    <a:cubicBezTo>
                      <a:pt x="968" y="373"/>
                      <a:pt x="968" y="373"/>
                      <a:pt x="968" y="373"/>
                    </a:cubicBezTo>
                    <a:cubicBezTo>
                      <a:pt x="968" y="369"/>
                      <a:pt x="968" y="369"/>
                      <a:pt x="968" y="369"/>
                    </a:cubicBezTo>
                    <a:cubicBezTo>
                      <a:pt x="969" y="368"/>
                      <a:pt x="969" y="368"/>
                      <a:pt x="969" y="368"/>
                    </a:cubicBezTo>
                    <a:cubicBezTo>
                      <a:pt x="969" y="366"/>
                      <a:pt x="969" y="366"/>
                      <a:pt x="969" y="366"/>
                    </a:cubicBezTo>
                    <a:cubicBezTo>
                      <a:pt x="970" y="362"/>
                      <a:pt x="970" y="362"/>
                      <a:pt x="970" y="362"/>
                    </a:cubicBezTo>
                    <a:cubicBezTo>
                      <a:pt x="972" y="363"/>
                      <a:pt x="972" y="363"/>
                      <a:pt x="972" y="363"/>
                    </a:cubicBezTo>
                    <a:cubicBezTo>
                      <a:pt x="973" y="365"/>
                      <a:pt x="973" y="365"/>
                      <a:pt x="973" y="365"/>
                    </a:cubicBezTo>
                    <a:cubicBezTo>
                      <a:pt x="975" y="365"/>
                      <a:pt x="975" y="365"/>
                      <a:pt x="975" y="365"/>
                    </a:cubicBezTo>
                    <a:cubicBezTo>
                      <a:pt x="973" y="362"/>
                      <a:pt x="973" y="362"/>
                      <a:pt x="973" y="362"/>
                    </a:cubicBezTo>
                    <a:cubicBezTo>
                      <a:pt x="974" y="360"/>
                      <a:pt x="974" y="360"/>
                      <a:pt x="974" y="360"/>
                    </a:cubicBezTo>
                    <a:cubicBezTo>
                      <a:pt x="971" y="359"/>
                      <a:pt x="971" y="359"/>
                      <a:pt x="971" y="359"/>
                    </a:cubicBezTo>
                    <a:cubicBezTo>
                      <a:pt x="969" y="357"/>
                      <a:pt x="969" y="357"/>
                      <a:pt x="969" y="357"/>
                    </a:cubicBezTo>
                    <a:cubicBezTo>
                      <a:pt x="969" y="355"/>
                      <a:pt x="969" y="355"/>
                      <a:pt x="969" y="355"/>
                    </a:cubicBezTo>
                    <a:cubicBezTo>
                      <a:pt x="969" y="354"/>
                      <a:pt x="969" y="354"/>
                      <a:pt x="969" y="354"/>
                    </a:cubicBezTo>
                    <a:cubicBezTo>
                      <a:pt x="970" y="354"/>
                      <a:pt x="970" y="354"/>
                      <a:pt x="970" y="354"/>
                    </a:cubicBezTo>
                    <a:cubicBezTo>
                      <a:pt x="972" y="356"/>
                      <a:pt x="972" y="356"/>
                      <a:pt x="972" y="356"/>
                    </a:cubicBezTo>
                    <a:cubicBezTo>
                      <a:pt x="973" y="355"/>
                      <a:pt x="973" y="355"/>
                      <a:pt x="973" y="355"/>
                    </a:cubicBezTo>
                    <a:cubicBezTo>
                      <a:pt x="972" y="353"/>
                      <a:pt x="972" y="353"/>
                      <a:pt x="972" y="353"/>
                    </a:cubicBezTo>
                    <a:cubicBezTo>
                      <a:pt x="975" y="351"/>
                      <a:pt x="975" y="351"/>
                      <a:pt x="975" y="351"/>
                    </a:cubicBezTo>
                    <a:cubicBezTo>
                      <a:pt x="978" y="353"/>
                      <a:pt x="978" y="353"/>
                      <a:pt x="978" y="353"/>
                    </a:cubicBezTo>
                    <a:cubicBezTo>
                      <a:pt x="984" y="354"/>
                      <a:pt x="984" y="354"/>
                      <a:pt x="984" y="354"/>
                    </a:cubicBezTo>
                    <a:cubicBezTo>
                      <a:pt x="985" y="353"/>
                      <a:pt x="985" y="353"/>
                      <a:pt x="985" y="353"/>
                    </a:cubicBezTo>
                    <a:cubicBezTo>
                      <a:pt x="983" y="351"/>
                      <a:pt x="983" y="351"/>
                      <a:pt x="983" y="351"/>
                    </a:cubicBezTo>
                    <a:cubicBezTo>
                      <a:pt x="980" y="351"/>
                      <a:pt x="980" y="351"/>
                      <a:pt x="980" y="351"/>
                    </a:cubicBezTo>
                    <a:cubicBezTo>
                      <a:pt x="982" y="351"/>
                      <a:pt x="982" y="351"/>
                      <a:pt x="982" y="351"/>
                    </a:cubicBezTo>
                    <a:cubicBezTo>
                      <a:pt x="988" y="350"/>
                      <a:pt x="988" y="350"/>
                      <a:pt x="988" y="350"/>
                    </a:cubicBezTo>
                    <a:cubicBezTo>
                      <a:pt x="992" y="348"/>
                      <a:pt x="992" y="348"/>
                      <a:pt x="992" y="348"/>
                    </a:cubicBezTo>
                    <a:cubicBezTo>
                      <a:pt x="996" y="348"/>
                      <a:pt x="996" y="348"/>
                      <a:pt x="996" y="348"/>
                    </a:cubicBezTo>
                    <a:cubicBezTo>
                      <a:pt x="1001" y="348"/>
                      <a:pt x="1001" y="348"/>
                      <a:pt x="1001" y="348"/>
                    </a:cubicBezTo>
                    <a:cubicBezTo>
                      <a:pt x="1003" y="346"/>
                      <a:pt x="1003" y="346"/>
                      <a:pt x="1003" y="346"/>
                    </a:cubicBezTo>
                    <a:cubicBezTo>
                      <a:pt x="1001" y="345"/>
                      <a:pt x="1001" y="345"/>
                      <a:pt x="1001" y="345"/>
                    </a:cubicBezTo>
                    <a:cubicBezTo>
                      <a:pt x="986" y="342"/>
                      <a:pt x="986" y="342"/>
                      <a:pt x="986" y="342"/>
                    </a:cubicBezTo>
                    <a:cubicBezTo>
                      <a:pt x="982" y="342"/>
                      <a:pt x="982" y="342"/>
                      <a:pt x="982" y="342"/>
                    </a:cubicBezTo>
                    <a:cubicBezTo>
                      <a:pt x="979" y="341"/>
                      <a:pt x="979" y="341"/>
                      <a:pt x="979" y="341"/>
                    </a:cubicBezTo>
                    <a:cubicBezTo>
                      <a:pt x="974" y="342"/>
                      <a:pt x="974" y="342"/>
                      <a:pt x="974" y="342"/>
                    </a:cubicBezTo>
                    <a:cubicBezTo>
                      <a:pt x="970" y="340"/>
                      <a:pt x="970" y="340"/>
                      <a:pt x="970" y="340"/>
                    </a:cubicBezTo>
                    <a:cubicBezTo>
                      <a:pt x="967" y="340"/>
                      <a:pt x="967" y="340"/>
                      <a:pt x="967" y="340"/>
                    </a:cubicBezTo>
                    <a:cubicBezTo>
                      <a:pt x="965" y="339"/>
                      <a:pt x="965" y="339"/>
                      <a:pt x="965" y="339"/>
                    </a:cubicBezTo>
                    <a:cubicBezTo>
                      <a:pt x="962" y="339"/>
                      <a:pt x="962" y="339"/>
                      <a:pt x="962" y="339"/>
                    </a:cubicBezTo>
                    <a:cubicBezTo>
                      <a:pt x="960" y="340"/>
                      <a:pt x="960" y="340"/>
                      <a:pt x="960" y="340"/>
                    </a:cubicBezTo>
                    <a:cubicBezTo>
                      <a:pt x="958" y="339"/>
                      <a:pt x="958" y="339"/>
                      <a:pt x="958" y="339"/>
                    </a:cubicBezTo>
                    <a:cubicBezTo>
                      <a:pt x="956" y="340"/>
                      <a:pt x="956" y="340"/>
                      <a:pt x="956" y="340"/>
                    </a:cubicBezTo>
                    <a:cubicBezTo>
                      <a:pt x="954" y="338"/>
                      <a:pt x="954" y="338"/>
                      <a:pt x="954" y="338"/>
                    </a:cubicBezTo>
                    <a:cubicBezTo>
                      <a:pt x="954" y="334"/>
                      <a:pt x="954" y="334"/>
                      <a:pt x="954" y="334"/>
                    </a:cubicBezTo>
                    <a:cubicBezTo>
                      <a:pt x="957" y="335"/>
                      <a:pt x="957" y="335"/>
                      <a:pt x="957" y="335"/>
                    </a:cubicBezTo>
                    <a:cubicBezTo>
                      <a:pt x="959" y="333"/>
                      <a:pt x="959" y="333"/>
                      <a:pt x="959" y="333"/>
                    </a:cubicBezTo>
                    <a:cubicBezTo>
                      <a:pt x="962" y="334"/>
                      <a:pt x="962" y="334"/>
                      <a:pt x="962" y="334"/>
                    </a:cubicBezTo>
                    <a:cubicBezTo>
                      <a:pt x="964" y="333"/>
                      <a:pt x="964" y="333"/>
                      <a:pt x="964" y="333"/>
                    </a:cubicBezTo>
                    <a:cubicBezTo>
                      <a:pt x="962" y="331"/>
                      <a:pt x="962" y="331"/>
                      <a:pt x="962" y="331"/>
                    </a:cubicBezTo>
                    <a:cubicBezTo>
                      <a:pt x="963" y="329"/>
                      <a:pt x="963" y="329"/>
                      <a:pt x="963" y="329"/>
                    </a:cubicBezTo>
                    <a:cubicBezTo>
                      <a:pt x="965" y="327"/>
                      <a:pt x="965" y="327"/>
                      <a:pt x="965" y="327"/>
                    </a:cubicBezTo>
                    <a:cubicBezTo>
                      <a:pt x="969" y="327"/>
                      <a:pt x="969" y="327"/>
                      <a:pt x="969" y="327"/>
                    </a:cubicBezTo>
                    <a:cubicBezTo>
                      <a:pt x="971" y="326"/>
                      <a:pt x="971" y="326"/>
                      <a:pt x="971" y="326"/>
                    </a:cubicBezTo>
                    <a:cubicBezTo>
                      <a:pt x="971" y="329"/>
                      <a:pt x="971" y="329"/>
                      <a:pt x="971" y="329"/>
                    </a:cubicBezTo>
                    <a:cubicBezTo>
                      <a:pt x="973" y="331"/>
                      <a:pt x="973" y="331"/>
                      <a:pt x="973" y="331"/>
                    </a:cubicBezTo>
                    <a:cubicBezTo>
                      <a:pt x="973" y="336"/>
                      <a:pt x="973" y="336"/>
                      <a:pt x="973" y="336"/>
                    </a:cubicBezTo>
                    <a:cubicBezTo>
                      <a:pt x="975" y="336"/>
                      <a:pt x="975" y="336"/>
                      <a:pt x="975" y="336"/>
                    </a:cubicBezTo>
                    <a:cubicBezTo>
                      <a:pt x="976" y="334"/>
                      <a:pt x="976" y="334"/>
                      <a:pt x="976" y="334"/>
                    </a:cubicBezTo>
                    <a:cubicBezTo>
                      <a:pt x="976" y="331"/>
                      <a:pt x="976" y="331"/>
                      <a:pt x="976" y="331"/>
                    </a:cubicBezTo>
                    <a:cubicBezTo>
                      <a:pt x="974" y="328"/>
                      <a:pt x="974" y="328"/>
                      <a:pt x="974" y="328"/>
                    </a:cubicBezTo>
                    <a:cubicBezTo>
                      <a:pt x="975" y="325"/>
                      <a:pt x="975" y="325"/>
                      <a:pt x="975" y="325"/>
                    </a:cubicBezTo>
                    <a:cubicBezTo>
                      <a:pt x="979" y="324"/>
                      <a:pt x="979" y="324"/>
                      <a:pt x="979" y="324"/>
                    </a:cubicBezTo>
                    <a:cubicBezTo>
                      <a:pt x="980" y="322"/>
                      <a:pt x="980" y="322"/>
                      <a:pt x="980" y="322"/>
                    </a:cubicBezTo>
                    <a:cubicBezTo>
                      <a:pt x="976" y="321"/>
                      <a:pt x="976" y="321"/>
                      <a:pt x="976" y="321"/>
                    </a:cubicBezTo>
                    <a:cubicBezTo>
                      <a:pt x="977" y="316"/>
                      <a:pt x="977" y="316"/>
                      <a:pt x="977" y="316"/>
                    </a:cubicBezTo>
                    <a:cubicBezTo>
                      <a:pt x="981" y="314"/>
                      <a:pt x="981" y="314"/>
                      <a:pt x="981" y="314"/>
                    </a:cubicBezTo>
                    <a:cubicBezTo>
                      <a:pt x="982" y="312"/>
                      <a:pt x="982" y="312"/>
                      <a:pt x="982" y="312"/>
                    </a:cubicBezTo>
                    <a:cubicBezTo>
                      <a:pt x="986" y="311"/>
                      <a:pt x="986" y="311"/>
                      <a:pt x="986" y="311"/>
                    </a:cubicBezTo>
                    <a:cubicBezTo>
                      <a:pt x="984" y="308"/>
                      <a:pt x="984" y="308"/>
                      <a:pt x="984" y="308"/>
                    </a:cubicBezTo>
                    <a:cubicBezTo>
                      <a:pt x="982" y="309"/>
                      <a:pt x="982" y="309"/>
                      <a:pt x="982" y="309"/>
                    </a:cubicBezTo>
                    <a:cubicBezTo>
                      <a:pt x="980" y="308"/>
                      <a:pt x="980" y="308"/>
                      <a:pt x="980" y="308"/>
                    </a:cubicBezTo>
                    <a:cubicBezTo>
                      <a:pt x="981" y="306"/>
                      <a:pt x="981" y="306"/>
                      <a:pt x="981" y="306"/>
                    </a:cubicBezTo>
                    <a:cubicBezTo>
                      <a:pt x="984" y="303"/>
                      <a:pt x="984" y="303"/>
                      <a:pt x="984" y="303"/>
                    </a:cubicBezTo>
                    <a:cubicBezTo>
                      <a:pt x="985" y="301"/>
                      <a:pt x="985" y="301"/>
                      <a:pt x="985" y="301"/>
                    </a:cubicBezTo>
                    <a:cubicBezTo>
                      <a:pt x="989" y="300"/>
                      <a:pt x="989" y="300"/>
                      <a:pt x="989" y="300"/>
                    </a:cubicBezTo>
                    <a:cubicBezTo>
                      <a:pt x="991" y="301"/>
                      <a:pt x="991" y="301"/>
                      <a:pt x="991" y="301"/>
                    </a:cubicBezTo>
                    <a:cubicBezTo>
                      <a:pt x="991" y="304"/>
                      <a:pt x="991" y="304"/>
                      <a:pt x="991" y="304"/>
                    </a:cubicBezTo>
                    <a:cubicBezTo>
                      <a:pt x="993" y="306"/>
                      <a:pt x="993" y="306"/>
                      <a:pt x="993" y="306"/>
                    </a:cubicBezTo>
                    <a:cubicBezTo>
                      <a:pt x="993" y="309"/>
                      <a:pt x="993" y="309"/>
                      <a:pt x="993" y="309"/>
                    </a:cubicBezTo>
                    <a:cubicBezTo>
                      <a:pt x="992" y="310"/>
                      <a:pt x="992" y="310"/>
                      <a:pt x="992" y="310"/>
                    </a:cubicBezTo>
                    <a:cubicBezTo>
                      <a:pt x="993" y="313"/>
                      <a:pt x="993" y="313"/>
                      <a:pt x="993" y="313"/>
                    </a:cubicBezTo>
                    <a:cubicBezTo>
                      <a:pt x="995" y="315"/>
                      <a:pt x="995" y="315"/>
                      <a:pt x="995" y="315"/>
                    </a:cubicBezTo>
                    <a:cubicBezTo>
                      <a:pt x="997" y="326"/>
                      <a:pt x="997" y="326"/>
                      <a:pt x="997" y="326"/>
                    </a:cubicBezTo>
                    <a:cubicBezTo>
                      <a:pt x="996" y="329"/>
                      <a:pt x="996" y="329"/>
                      <a:pt x="996" y="329"/>
                    </a:cubicBezTo>
                    <a:cubicBezTo>
                      <a:pt x="996" y="331"/>
                      <a:pt x="996" y="331"/>
                      <a:pt x="996" y="331"/>
                    </a:cubicBezTo>
                    <a:cubicBezTo>
                      <a:pt x="999" y="333"/>
                      <a:pt x="999" y="333"/>
                      <a:pt x="999" y="333"/>
                    </a:cubicBezTo>
                    <a:cubicBezTo>
                      <a:pt x="1003" y="330"/>
                      <a:pt x="1003" y="330"/>
                      <a:pt x="1003" y="330"/>
                    </a:cubicBezTo>
                    <a:cubicBezTo>
                      <a:pt x="1001" y="328"/>
                      <a:pt x="1001" y="328"/>
                      <a:pt x="1001" y="328"/>
                    </a:cubicBezTo>
                    <a:cubicBezTo>
                      <a:pt x="1002" y="322"/>
                      <a:pt x="1002" y="322"/>
                      <a:pt x="1002" y="322"/>
                    </a:cubicBezTo>
                    <a:cubicBezTo>
                      <a:pt x="1006" y="321"/>
                      <a:pt x="1006" y="321"/>
                      <a:pt x="1006" y="321"/>
                    </a:cubicBezTo>
                    <a:cubicBezTo>
                      <a:pt x="1006" y="318"/>
                      <a:pt x="1006" y="318"/>
                      <a:pt x="1006" y="318"/>
                    </a:cubicBezTo>
                    <a:cubicBezTo>
                      <a:pt x="1000" y="314"/>
                      <a:pt x="1000" y="314"/>
                      <a:pt x="1000" y="314"/>
                    </a:cubicBezTo>
                    <a:cubicBezTo>
                      <a:pt x="1000" y="313"/>
                      <a:pt x="1000" y="313"/>
                      <a:pt x="1000" y="313"/>
                    </a:cubicBezTo>
                    <a:cubicBezTo>
                      <a:pt x="1003" y="313"/>
                      <a:pt x="1003" y="313"/>
                      <a:pt x="1003" y="313"/>
                    </a:cubicBezTo>
                    <a:cubicBezTo>
                      <a:pt x="1007" y="315"/>
                      <a:pt x="1007" y="315"/>
                      <a:pt x="1007" y="315"/>
                    </a:cubicBezTo>
                    <a:cubicBezTo>
                      <a:pt x="1006" y="312"/>
                      <a:pt x="1006" y="312"/>
                      <a:pt x="1006" y="312"/>
                    </a:cubicBezTo>
                    <a:cubicBezTo>
                      <a:pt x="1003" y="309"/>
                      <a:pt x="1003" y="309"/>
                      <a:pt x="1003" y="309"/>
                    </a:cubicBezTo>
                    <a:cubicBezTo>
                      <a:pt x="1002" y="304"/>
                      <a:pt x="1002" y="304"/>
                      <a:pt x="1002" y="304"/>
                    </a:cubicBezTo>
                    <a:cubicBezTo>
                      <a:pt x="1002" y="302"/>
                      <a:pt x="1002" y="302"/>
                      <a:pt x="1002" y="302"/>
                    </a:cubicBezTo>
                    <a:cubicBezTo>
                      <a:pt x="1003" y="297"/>
                      <a:pt x="1003" y="297"/>
                      <a:pt x="1003" y="297"/>
                    </a:cubicBezTo>
                    <a:cubicBezTo>
                      <a:pt x="1005" y="296"/>
                      <a:pt x="1005" y="296"/>
                      <a:pt x="1005" y="296"/>
                    </a:cubicBezTo>
                    <a:cubicBezTo>
                      <a:pt x="1008" y="295"/>
                      <a:pt x="1008" y="295"/>
                      <a:pt x="1008" y="295"/>
                    </a:cubicBezTo>
                    <a:cubicBezTo>
                      <a:pt x="1010" y="293"/>
                      <a:pt x="1010" y="293"/>
                      <a:pt x="1010" y="293"/>
                    </a:cubicBezTo>
                    <a:cubicBezTo>
                      <a:pt x="1013" y="294"/>
                      <a:pt x="1013" y="294"/>
                      <a:pt x="1013" y="294"/>
                    </a:cubicBezTo>
                    <a:cubicBezTo>
                      <a:pt x="1017" y="291"/>
                      <a:pt x="1017" y="291"/>
                      <a:pt x="1017" y="291"/>
                    </a:cubicBezTo>
                    <a:cubicBezTo>
                      <a:pt x="1020" y="292"/>
                      <a:pt x="1020" y="292"/>
                      <a:pt x="1020" y="292"/>
                    </a:cubicBezTo>
                    <a:cubicBezTo>
                      <a:pt x="1021" y="294"/>
                      <a:pt x="1021" y="294"/>
                      <a:pt x="1021" y="294"/>
                    </a:cubicBezTo>
                    <a:cubicBezTo>
                      <a:pt x="1023" y="296"/>
                      <a:pt x="1023" y="296"/>
                      <a:pt x="1023" y="296"/>
                    </a:cubicBezTo>
                    <a:cubicBezTo>
                      <a:pt x="1026" y="295"/>
                      <a:pt x="1026" y="295"/>
                      <a:pt x="1026" y="295"/>
                    </a:cubicBezTo>
                    <a:cubicBezTo>
                      <a:pt x="1028" y="297"/>
                      <a:pt x="1028" y="297"/>
                      <a:pt x="1028" y="297"/>
                    </a:cubicBezTo>
                    <a:cubicBezTo>
                      <a:pt x="1027" y="304"/>
                      <a:pt x="1027" y="304"/>
                      <a:pt x="1027" y="304"/>
                    </a:cubicBezTo>
                    <a:cubicBezTo>
                      <a:pt x="1024" y="307"/>
                      <a:pt x="1024" y="307"/>
                      <a:pt x="1024" y="307"/>
                    </a:cubicBezTo>
                    <a:cubicBezTo>
                      <a:pt x="1025" y="310"/>
                      <a:pt x="1025" y="310"/>
                      <a:pt x="1025" y="310"/>
                    </a:cubicBezTo>
                    <a:cubicBezTo>
                      <a:pt x="1027" y="310"/>
                      <a:pt x="1027" y="310"/>
                      <a:pt x="1027" y="310"/>
                    </a:cubicBezTo>
                    <a:cubicBezTo>
                      <a:pt x="1028" y="308"/>
                      <a:pt x="1028" y="308"/>
                      <a:pt x="1028" y="308"/>
                    </a:cubicBezTo>
                    <a:cubicBezTo>
                      <a:pt x="1030" y="308"/>
                      <a:pt x="1030" y="308"/>
                      <a:pt x="1030" y="308"/>
                    </a:cubicBezTo>
                    <a:cubicBezTo>
                      <a:pt x="1032" y="306"/>
                      <a:pt x="1032" y="306"/>
                      <a:pt x="1032" y="306"/>
                    </a:cubicBezTo>
                    <a:cubicBezTo>
                      <a:pt x="1032" y="301"/>
                      <a:pt x="1032" y="301"/>
                      <a:pt x="1032" y="301"/>
                    </a:cubicBezTo>
                    <a:cubicBezTo>
                      <a:pt x="1035" y="298"/>
                      <a:pt x="1035" y="298"/>
                      <a:pt x="1035" y="298"/>
                    </a:cubicBezTo>
                    <a:cubicBezTo>
                      <a:pt x="1038" y="301"/>
                      <a:pt x="1038" y="301"/>
                      <a:pt x="1038" y="301"/>
                    </a:cubicBezTo>
                    <a:cubicBezTo>
                      <a:pt x="1041" y="300"/>
                      <a:pt x="1041" y="300"/>
                      <a:pt x="1041" y="300"/>
                    </a:cubicBezTo>
                    <a:cubicBezTo>
                      <a:pt x="1040" y="297"/>
                      <a:pt x="1040" y="297"/>
                      <a:pt x="1040" y="297"/>
                    </a:cubicBezTo>
                    <a:cubicBezTo>
                      <a:pt x="1039" y="295"/>
                      <a:pt x="1039" y="295"/>
                      <a:pt x="1039" y="295"/>
                    </a:cubicBezTo>
                    <a:cubicBezTo>
                      <a:pt x="1042" y="295"/>
                      <a:pt x="1042" y="295"/>
                      <a:pt x="1042" y="295"/>
                    </a:cubicBezTo>
                    <a:cubicBezTo>
                      <a:pt x="1043" y="298"/>
                      <a:pt x="1043" y="298"/>
                      <a:pt x="1043" y="298"/>
                    </a:cubicBezTo>
                    <a:cubicBezTo>
                      <a:pt x="1043" y="300"/>
                      <a:pt x="1043" y="300"/>
                      <a:pt x="1043" y="300"/>
                    </a:cubicBezTo>
                    <a:cubicBezTo>
                      <a:pt x="1044" y="302"/>
                      <a:pt x="1044" y="302"/>
                      <a:pt x="1044" y="302"/>
                    </a:cubicBezTo>
                    <a:cubicBezTo>
                      <a:pt x="1043" y="304"/>
                      <a:pt x="1043" y="304"/>
                      <a:pt x="1043" y="304"/>
                    </a:cubicBezTo>
                    <a:cubicBezTo>
                      <a:pt x="1041" y="304"/>
                      <a:pt x="1041" y="304"/>
                      <a:pt x="1041" y="304"/>
                    </a:cubicBezTo>
                    <a:cubicBezTo>
                      <a:pt x="1042" y="307"/>
                      <a:pt x="1042" y="307"/>
                      <a:pt x="1042" y="307"/>
                    </a:cubicBezTo>
                    <a:cubicBezTo>
                      <a:pt x="1046" y="308"/>
                      <a:pt x="1046" y="308"/>
                      <a:pt x="1046" y="308"/>
                    </a:cubicBezTo>
                    <a:cubicBezTo>
                      <a:pt x="1048" y="311"/>
                      <a:pt x="1048" y="311"/>
                      <a:pt x="1048" y="311"/>
                    </a:cubicBezTo>
                    <a:cubicBezTo>
                      <a:pt x="1047" y="315"/>
                      <a:pt x="1047" y="315"/>
                      <a:pt x="1047" y="315"/>
                    </a:cubicBezTo>
                    <a:cubicBezTo>
                      <a:pt x="1043" y="317"/>
                      <a:pt x="1043" y="317"/>
                      <a:pt x="1043" y="317"/>
                    </a:cubicBezTo>
                    <a:cubicBezTo>
                      <a:pt x="1040" y="323"/>
                      <a:pt x="1040" y="323"/>
                      <a:pt x="1040" y="323"/>
                    </a:cubicBezTo>
                    <a:cubicBezTo>
                      <a:pt x="1040" y="327"/>
                      <a:pt x="1040" y="327"/>
                      <a:pt x="1040" y="327"/>
                    </a:cubicBezTo>
                    <a:cubicBezTo>
                      <a:pt x="1039" y="329"/>
                      <a:pt x="1039" y="329"/>
                      <a:pt x="1039" y="329"/>
                    </a:cubicBezTo>
                    <a:cubicBezTo>
                      <a:pt x="1036" y="331"/>
                      <a:pt x="1036" y="331"/>
                      <a:pt x="1036" y="331"/>
                    </a:cubicBezTo>
                    <a:cubicBezTo>
                      <a:pt x="1032" y="336"/>
                      <a:pt x="1032" y="336"/>
                      <a:pt x="1032" y="336"/>
                    </a:cubicBezTo>
                    <a:cubicBezTo>
                      <a:pt x="1030" y="338"/>
                      <a:pt x="1030" y="338"/>
                      <a:pt x="1030" y="338"/>
                    </a:cubicBezTo>
                    <a:cubicBezTo>
                      <a:pt x="1027" y="342"/>
                      <a:pt x="1027" y="342"/>
                      <a:pt x="1027" y="342"/>
                    </a:cubicBezTo>
                    <a:cubicBezTo>
                      <a:pt x="1027" y="344"/>
                      <a:pt x="1027" y="344"/>
                      <a:pt x="1027" y="344"/>
                    </a:cubicBezTo>
                    <a:cubicBezTo>
                      <a:pt x="1025" y="347"/>
                      <a:pt x="1025" y="347"/>
                      <a:pt x="1025" y="347"/>
                    </a:cubicBezTo>
                    <a:cubicBezTo>
                      <a:pt x="1023" y="347"/>
                      <a:pt x="1023" y="347"/>
                      <a:pt x="1023" y="347"/>
                    </a:cubicBezTo>
                    <a:cubicBezTo>
                      <a:pt x="1021" y="346"/>
                      <a:pt x="1021" y="346"/>
                      <a:pt x="1021" y="346"/>
                    </a:cubicBezTo>
                    <a:cubicBezTo>
                      <a:pt x="1019" y="348"/>
                      <a:pt x="1019" y="348"/>
                      <a:pt x="1019" y="348"/>
                    </a:cubicBezTo>
                    <a:cubicBezTo>
                      <a:pt x="1019" y="349"/>
                      <a:pt x="1019" y="349"/>
                      <a:pt x="1019" y="349"/>
                    </a:cubicBezTo>
                    <a:cubicBezTo>
                      <a:pt x="1024" y="352"/>
                      <a:pt x="1024" y="352"/>
                      <a:pt x="1024" y="352"/>
                    </a:cubicBezTo>
                    <a:cubicBezTo>
                      <a:pt x="1023" y="354"/>
                      <a:pt x="1023" y="354"/>
                      <a:pt x="1023" y="354"/>
                    </a:cubicBezTo>
                    <a:cubicBezTo>
                      <a:pt x="1019" y="360"/>
                      <a:pt x="1019" y="360"/>
                      <a:pt x="1019" y="360"/>
                    </a:cubicBezTo>
                    <a:cubicBezTo>
                      <a:pt x="1017" y="362"/>
                      <a:pt x="1017" y="362"/>
                      <a:pt x="1017" y="362"/>
                    </a:cubicBezTo>
                    <a:cubicBezTo>
                      <a:pt x="1017" y="359"/>
                      <a:pt x="1017" y="359"/>
                      <a:pt x="1017" y="359"/>
                    </a:cubicBezTo>
                    <a:cubicBezTo>
                      <a:pt x="1017" y="357"/>
                      <a:pt x="1017" y="357"/>
                      <a:pt x="1017" y="357"/>
                    </a:cubicBezTo>
                    <a:cubicBezTo>
                      <a:pt x="1015" y="356"/>
                      <a:pt x="1015" y="356"/>
                      <a:pt x="1015" y="356"/>
                    </a:cubicBezTo>
                    <a:cubicBezTo>
                      <a:pt x="1013" y="357"/>
                      <a:pt x="1013" y="357"/>
                      <a:pt x="1013" y="357"/>
                    </a:cubicBezTo>
                    <a:cubicBezTo>
                      <a:pt x="1012" y="360"/>
                      <a:pt x="1012" y="360"/>
                      <a:pt x="1012" y="360"/>
                    </a:cubicBezTo>
                    <a:cubicBezTo>
                      <a:pt x="1010" y="361"/>
                      <a:pt x="1010" y="361"/>
                      <a:pt x="1010" y="361"/>
                    </a:cubicBezTo>
                    <a:cubicBezTo>
                      <a:pt x="1008" y="363"/>
                      <a:pt x="1008" y="363"/>
                      <a:pt x="1008" y="363"/>
                    </a:cubicBezTo>
                    <a:cubicBezTo>
                      <a:pt x="1005" y="364"/>
                      <a:pt x="1005" y="364"/>
                      <a:pt x="1005" y="364"/>
                    </a:cubicBezTo>
                    <a:cubicBezTo>
                      <a:pt x="1003" y="367"/>
                      <a:pt x="1003" y="367"/>
                      <a:pt x="1003" y="367"/>
                    </a:cubicBezTo>
                    <a:cubicBezTo>
                      <a:pt x="1005" y="368"/>
                      <a:pt x="1005" y="368"/>
                      <a:pt x="1005" y="368"/>
                    </a:cubicBezTo>
                    <a:cubicBezTo>
                      <a:pt x="1009" y="368"/>
                      <a:pt x="1009" y="368"/>
                      <a:pt x="1009" y="368"/>
                    </a:cubicBezTo>
                    <a:cubicBezTo>
                      <a:pt x="1008" y="370"/>
                      <a:pt x="1008" y="370"/>
                      <a:pt x="1008" y="370"/>
                    </a:cubicBezTo>
                    <a:cubicBezTo>
                      <a:pt x="1006" y="372"/>
                      <a:pt x="1006" y="372"/>
                      <a:pt x="1006" y="372"/>
                    </a:cubicBezTo>
                    <a:cubicBezTo>
                      <a:pt x="1007" y="374"/>
                      <a:pt x="1007" y="374"/>
                      <a:pt x="1007" y="374"/>
                    </a:cubicBezTo>
                    <a:cubicBezTo>
                      <a:pt x="1006" y="377"/>
                      <a:pt x="1006" y="377"/>
                      <a:pt x="1006" y="377"/>
                    </a:cubicBezTo>
                    <a:cubicBezTo>
                      <a:pt x="1005" y="378"/>
                      <a:pt x="1005" y="378"/>
                      <a:pt x="1005" y="378"/>
                    </a:cubicBezTo>
                    <a:cubicBezTo>
                      <a:pt x="1003" y="375"/>
                      <a:pt x="1003" y="375"/>
                      <a:pt x="1003" y="375"/>
                    </a:cubicBezTo>
                    <a:cubicBezTo>
                      <a:pt x="1003" y="371"/>
                      <a:pt x="1003" y="371"/>
                      <a:pt x="1003" y="371"/>
                    </a:cubicBezTo>
                    <a:cubicBezTo>
                      <a:pt x="1002" y="369"/>
                      <a:pt x="1002" y="369"/>
                      <a:pt x="1002" y="369"/>
                    </a:cubicBezTo>
                    <a:cubicBezTo>
                      <a:pt x="1000" y="371"/>
                      <a:pt x="1000" y="371"/>
                      <a:pt x="1000" y="371"/>
                    </a:cubicBezTo>
                    <a:cubicBezTo>
                      <a:pt x="1000" y="374"/>
                      <a:pt x="1000" y="374"/>
                      <a:pt x="1000" y="374"/>
                    </a:cubicBezTo>
                    <a:cubicBezTo>
                      <a:pt x="1001" y="376"/>
                      <a:pt x="1001" y="376"/>
                      <a:pt x="1001" y="376"/>
                    </a:cubicBezTo>
                    <a:cubicBezTo>
                      <a:pt x="998" y="380"/>
                      <a:pt x="998" y="380"/>
                      <a:pt x="998" y="380"/>
                    </a:cubicBezTo>
                    <a:cubicBezTo>
                      <a:pt x="988" y="379"/>
                      <a:pt x="988" y="379"/>
                      <a:pt x="988" y="379"/>
                    </a:cubicBezTo>
                    <a:cubicBezTo>
                      <a:pt x="988" y="376"/>
                      <a:pt x="988" y="376"/>
                      <a:pt x="988" y="376"/>
                    </a:cubicBezTo>
                    <a:cubicBezTo>
                      <a:pt x="986" y="375"/>
                      <a:pt x="986" y="375"/>
                      <a:pt x="986" y="375"/>
                    </a:cubicBezTo>
                    <a:cubicBezTo>
                      <a:pt x="984" y="377"/>
                      <a:pt x="984" y="377"/>
                      <a:pt x="984" y="377"/>
                    </a:cubicBezTo>
                    <a:cubicBezTo>
                      <a:pt x="981" y="377"/>
                      <a:pt x="981" y="377"/>
                      <a:pt x="981" y="377"/>
                    </a:cubicBezTo>
                    <a:cubicBezTo>
                      <a:pt x="980" y="375"/>
                      <a:pt x="980" y="375"/>
                      <a:pt x="980" y="375"/>
                    </a:cubicBezTo>
                    <a:cubicBezTo>
                      <a:pt x="983" y="371"/>
                      <a:pt x="983" y="371"/>
                      <a:pt x="983" y="371"/>
                    </a:cubicBezTo>
                    <a:cubicBezTo>
                      <a:pt x="978" y="373"/>
                      <a:pt x="978" y="373"/>
                      <a:pt x="978" y="373"/>
                    </a:cubicBezTo>
                    <a:cubicBezTo>
                      <a:pt x="977" y="376"/>
                      <a:pt x="977" y="376"/>
                      <a:pt x="977" y="376"/>
                    </a:cubicBezTo>
                    <a:cubicBezTo>
                      <a:pt x="976" y="376"/>
                      <a:pt x="976" y="376"/>
                      <a:pt x="976" y="376"/>
                    </a:cubicBezTo>
                    <a:close/>
                    <a:moveTo>
                      <a:pt x="725" y="275"/>
                    </a:moveTo>
                    <a:cubicBezTo>
                      <a:pt x="724" y="274"/>
                      <a:pt x="724" y="274"/>
                      <a:pt x="724" y="274"/>
                    </a:cubicBezTo>
                    <a:cubicBezTo>
                      <a:pt x="726" y="270"/>
                      <a:pt x="726" y="270"/>
                      <a:pt x="726" y="270"/>
                    </a:cubicBezTo>
                    <a:cubicBezTo>
                      <a:pt x="734" y="263"/>
                      <a:pt x="734" y="263"/>
                      <a:pt x="734" y="263"/>
                    </a:cubicBezTo>
                    <a:cubicBezTo>
                      <a:pt x="739" y="262"/>
                      <a:pt x="739" y="262"/>
                      <a:pt x="739" y="262"/>
                    </a:cubicBezTo>
                    <a:cubicBezTo>
                      <a:pt x="742" y="259"/>
                      <a:pt x="742" y="259"/>
                      <a:pt x="742" y="259"/>
                    </a:cubicBezTo>
                    <a:cubicBezTo>
                      <a:pt x="744" y="259"/>
                      <a:pt x="744" y="259"/>
                      <a:pt x="744" y="259"/>
                    </a:cubicBezTo>
                    <a:cubicBezTo>
                      <a:pt x="749" y="256"/>
                      <a:pt x="749" y="256"/>
                      <a:pt x="749" y="256"/>
                    </a:cubicBezTo>
                    <a:cubicBezTo>
                      <a:pt x="755" y="255"/>
                      <a:pt x="755" y="255"/>
                      <a:pt x="755" y="255"/>
                    </a:cubicBezTo>
                    <a:cubicBezTo>
                      <a:pt x="758" y="253"/>
                      <a:pt x="758" y="253"/>
                      <a:pt x="758" y="253"/>
                    </a:cubicBezTo>
                    <a:cubicBezTo>
                      <a:pt x="760" y="253"/>
                      <a:pt x="760" y="253"/>
                      <a:pt x="760" y="253"/>
                    </a:cubicBezTo>
                    <a:cubicBezTo>
                      <a:pt x="766" y="252"/>
                      <a:pt x="766" y="252"/>
                      <a:pt x="766" y="252"/>
                    </a:cubicBezTo>
                    <a:cubicBezTo>
                      <a:pt x="768" y="252"/>
                      <a:pt x="768" y="252"/>
                      <a:pt x="768" y="252"/>
                    </a:cubicBezTo>
                    <a:cubicBezTo>
                      <a:pt x="767" y="255"/>
                      <a:pt x="767" y="255"/>
                      <a:pt x="767" y="255"/>
                    </a:cubicBezTo>
                    <a:cubicBezTo>
                      <a:pt x="761" y="259"/>
                      <a:pt x="761" y="259"/>
                      <a:pt x="761" y="259"/>
                    </a:cubicBezTo>
                    <a:cubicBezTo>
                      <a:pt x="755" y="263"/>
                      <a:pt x="755" y="263"/>
                      <a:pt x="755" y="263"/>
                    </a:cubicBezTo>
                    <a:cubicBezTo>
                      <a:pt x="744" y="271"/>
                      <a:pt x="744" y="271"/>
                      <a:pt x="744" y="271"/>
                    </a:cubicBezTo>
                    <a:cubicBezTo>
                      <a:pt x="740" y="276"/>
                      <a:pt x="740" y="276"/>
                      <a:pt x="740" y="276"/>
                    </a:cubicBezTo>
                    <a:cubicBezTo>
                      <a:pt x="737" y="277"/>
                      <a:pt x="737" y="277"/>
                      <a:pt x="737" y="277"/>
                    </a:cubicBezTo>
                    <a:cubicBezTo>
                      <a:pt x="735" y="277"/>
                      <a:pt x="735" y="277"/>
                      <a:pt x="735" y="277"/>
                    </a:cubicBezTo>
                    <a:cubicBezTo>
                      <a:pt x="733" y="279"/>
                      <a:pt x="733" y="279"/>
                      <a:pt x="733" y="279"/>
                    </a:cubicBezTo>
                    <a:cubicBezTo>
                      <a:pt x="732" y="279"/>
                      <a:pt x="732" y="279"/>
                      <a:pt x="732" y="279"/>
                    </a:cubicBezTo>
                    <a:cubicBezTo>
                      <a:pt x="730" y="275"/>
                      <a:pt x="730" y="275"/>
                      <a:pt x="730" y="275"/>
                    </a:cubicBezTo>
                    <a:cubicBezTo>
                      <a:pt x="728" y="274"/>
                      <a:pt x="728" y="274"/>
                      <a:pt x="728" y="274"/>
                    </a:cubicBezTo>
                    <a:cubicBezTo>
                      <a:pt x="725" y="275"/>
                      <a:pt x="725" y="275"/>
                      <a:pt x="725" y="275"/>
                    </a:cubicBezTo>
                    <a:close/>
                    <a:moveTo>
                      <a:pt x="911" y="351"/>
                    </a:moveTo>
                    <a:cubicBezTo>
                      <a:pt x="910" y="349"/>
                      <a:pt x="910" y="349"/>
                      <a:pt x="910" y="349"/>
                    </a:cubicBezTo>
                    <a:cubicBezTo>
                      <a:pt x="911" y="348"/>
                      <a:pt x="911" y="348"/>
                      <a:pt x="911" y="348"/>
                    </a:cubicBezTo>
                    <a:cubicBezTo>
                      <a:pt x="915" y="347"/>
                      <a:pt x="915" y="347"/>
                      <a:pt x="915" y="347"/>
                    </a:cubicBezTo>
                    <a:cubicBezTo>
                      <a:pt x="916" y="344"/>
                      <a:pt x="916" y="344"/>
                      <a:pt x="916" y="344"/>
                    </a:cubicBezTo>
                    <a:cubicBezTo>
                      <a:pt x="916" y="342"/>
                      <a:pt x="916" y="342"/>
                      <a:pt x="916" y="342"/>
                    </a:cubicBezTo>
                    <a:cubicBezTo>
                      <a:pt x="922" y="339"/>
                      <a:pt x="922" y="339"/>
                      <a:pt x="922" y="339"/>
                    </a:cubicBezTo>
                    <a:cubicBezTo>
                      <a:pt x="923" y="338"/>
                      <a:pt x="923" y="338"/>
                      <a:pt x="923" y="338"/>
                    </a:cubicBezTo>
                    <a:cubicBezTo>
                      <a:pt x="926" y="338"/>
                      <a:pt x="926" y="338"/>
                      <a:pt x="926" y="338"/>
                    </a:cubicBezTo>
                    <a:cubicBezTo>
                      <a:pt x="927" y="341"/>
                      <a:pt x="927" y="341"/>
                      <a:pt x="927" y="341"/>
                    </a:cubicBezTo>
                    <a:cubicBezTo>
                      <a:pt x="927" y="343"/>
                      <a:pt x="927" y="343"/>
                      <a:pt x="927" y="343"/>
                    </a:cubicBezTo>
                    <a:cubicBezTo>
                      <a:pt x="927" y="348"/>
                      <a:pt x="927" y="348"/>
                      <a:pt x="927" y="348"/>
                    </a:cubicBezTo>
                    <a:cubicBezTo>
                      <a:pt x="926" y="351"/>
                      <a:pt x="926" y="351"/>
                      <a:pt x="926" y="351"/>
                    </a:cubicBezTo>
                    <a:cubicBezTo>
                      <a:pt x="923" y="354"/>
                      <a:pt x="923" y="354"/>
                      <a:pt x="923" y="354"/>
                    </a:cubicBezTo>
                    <a:cubicBezTo>
                      <a:pt x="919" y="354"/>
                      <a:pt x="919" y="354"/>
                      <a:pt x="919" y="354"/>
                    </a:cubicBezTo>
                    <a:cubicBezTo>
                      <a:pt x="918" y="355"/>
                      <a:pt x="918" y="355"/>
                      <a:pt x="918" y="355"/>
                    </a:cubicBezTo>
                    <a:cubicBezTo>
                      <a:pt x="915" y="355"/>
                      <a:pt x="915" y="355"/>
                      <a:pt x="915" y="355"/>
                    </a:cubicBezTo>
                    <a:cubicBezTo>
                      <a:pt x="914" y="352"/>
                      <a:pt x="914" y="352"/>
                      <a:pt x="914" y="352"/>
                    </a:cubicBezTo>
                    <a:cubicBezTo>
                      <a:pt x="911" y="351"/>
                      <a:pt x="911" y="351"/>
                      <a:pt x="911" y="351"/>
                    </a:cubicBezTo>
                    <a:close/>
                    <a:moveTo>
                      <a:pt x="762" y="346"/>
                    </a:moveTo>
                    <a:cubicBezTo>
                      <a:pt x="764" y="341"/>
                      <a:pt x="764" y="341"/>
                      <a:pt x="764" y="341"/>
                    </a:cubicBezTo>
                    <a:cubicBezTo>
                      <a:pt x="763" y="339"/>
                      <a:pt x="763" y="339"/>
                      <a:pt x="763" y="339"/>
                    </a:cubicBezTo>
                    <a:cubicBezTo>
                      <a:pt x="764" y="333"/>
                      <a:pt x="764" y="333"/>
                      <a:pt x="764" y="333"/>
                    </a:cubicBezTo>
                    <a:cubicBezTo>
                      <a:pt x="769" y="332"/>
                      <a:pt x="769" y="332"/>
                      <a:pt x="769" y="332"/>
                    </a:cubicBezTo>
                    <a:cubicBezTo>
                      <a:pt x="775" y="333"/>
                      <a:pt x="775" y="333"/>
                      <a:pt x="775" y="333"/>
                    </a:cubicBezTo>
                    <a:cubicBezTo>
                      <a:pt x="778" y="331"/>
                      <a:pt x="778" y="331"/>
                      <a:pt x="778" y="331"/>
                    </a:cubicBezTo>
                    <a:cubicBezTo>
                      <a:pt x="782" y="332"/>
                      <a:pt x="782" y="332"/>
                      <a:pt x="782" y="332"/>
                    </a:cubicBezTo>
                    <a:cubicBezTo>
                      <a:pt x="786" y="332"/>
                      <a:pt x="786" y="332"/>
                      <a:pt x="786" y="332"/>
                    </a:cubicBezTo>
                    <a:cubicBezTo>
                      <a:pt x="791" y="329"/>
                      <a:pt x="791" y="329"/>
                      <a:pt x="791" y="329"/>
                    </a:cubicBezTo>
                    <a:cubicBezTo>
                      <a:pt x="797" y="329"/>
                      <a:pt x="797" y="329"/>
                      <a:pt x="797" y="329"/>
                    </a:cubicBezTo>
                    <a:cubicBezTo>
                      <a:pt x="803" y="331"/>
                      <a:pt x="803" y="331"/>
                      <a:pt x="803" y="331"/>
                    </a:cubicBezTo>
                    <a:cubicBezTo>
                      <a:pt x="808" y="331"/>
                      <a:pt x="808" y="331"/>
                      <a:pt x="808" y="331"/>
                    </a:cubicBezTo>
                    <a:cubicBezTo>
                      <a:pt x="810" y="332"/>
                      <a:pt x="810" y="332"/>
                      <a:pt x="810" y="332"/>
                    </a:cubicBezTo>
                    <a:cubicBezTo>
                      <a:pt x="813" y="330"/>
                      <a:pt x="813" y="330"/>
                      <a:pt x="813" y="330"/>
                    </a:cubicBezTo>
                    <a:cubicBezTo>
                      <a:pt x="823" y="329"/>
                      <a:pt x="823" y="329"/>
                      <a:pt x="823" y="329"/>
                    </a:cubicBezTo>
                    <a:cubicBezTo>
                      <a:pt x="824" y="327"/>
                      <a:pt x="824" y="327"/>
                      <a:pt x="824" y="327"/>
                    </a:cubicBezTo>
                    <a:cubicBezTo>
                      <a:pt x="826" y="325"/>
                      <a:pt x="826" y="325"/>
                      <a:pt x="826" y="325"/>
                    </a:cubicBezTo>
                    <a:cubicBezTo>
                      <a:pt x="824" y="323"/>
                      <a:pt x="824" y="323"/>
                      <a:pt x="824" y="323"/>
                    </a:cubicBezTo>
                    <a:cubicBezTo>
                      <a:pt x="822" y="326"/>
                      <a:pt x="822" y="326"/>
                      <a:pt x="822" y="326"/>
                    </a:cubicBezTo>
                    <a:cubicBezTo>
                      <a:pt x="817" y="326"/>
                      <a:pt x="817" y="326"/>
                      <a:pt x="817" y="326"/>
                    </a:cubicBezTo>
                    <a:cubicBezTo>
                      <a:pt x="816" y="324"/>
                      <a:pt x="816" y="324"/>
                      <a:pt x="816" y="324"/>
                    </a:cubicBezTo>
                    <a:cubicBezTo>
                      <a:pt x="811" y="326"/>
                      <a:pt x="811" y="326"/>
                      <a:pt x="811" y="326"/>
                    </a:cubicBezTo>
                    <a:cubicBezTo>
                      <a:pt x="806" y="326"/>
                      <a:pt x="806" y="326"/>
                      <a:pt x="806" y="326"/>
                    </a:cubicBezTo>
                    <a:cubicBezTo>
                      <a:pt x="806" y="323"/>
                      <a:pt x="806" y="323"/>
                      <a:pt x="806" y="323"/>
                    </a:cubicBezTo>
                    <a:cubicBezTo>
                      <a:pt x="804" y="321"/>
                      <a:pt x="804" y="321"/>
                      <a:pt x="804" y="321"/>
                    </a:cubicBezTo>
                    <a:cubicBezTo>
                      <a:pt x="801" y="324"/>
                      <a:pt x="801" y="324"/>
                      <a:pt x="801" y="324"/>
                    </a:cubicBezTo>
                    <a:cubicBezTo>
                      <a:pt x="797" y="324"/>
                      <a:pt x="797" y="324"/>
                      <a:pt x="797" y="324"/>
                    </a:cubicBezTo>
                    <a:cubicBezTo>
                      <a:pt x="794" y="325"/>
                      <a:pt x="794" y="325"/>
                      <a:pt x="794" y="325"/>
                    </a:cubicBezTo>
                    <a:cubicBezTo>
                      <a:pt x="792" y="324"/>
                      <a:pt x="792" y="324"/>
                      <a:pt x="792" y="324"/>
                    </a:cubicBezTo>
                    <a:cubicBezTo>
                      <a:pt x="788" y="324"/>
                      <a:pt x="788" y="324"/>
                      <a:pt x="788" y="324"/>
                    </a:cubicBezTo>
                    <a:cubicBezTo>
                      <a:pt x="783" y="323"/>
                      <a:pt x="783" y="323"/>
                      <a:pt x="783" y="323"/>
                    </a:cubicBezTo>
                    <a:cubicBezTo>
                      <a:pt x="783" y="320"/>
                      <a:pt x="783" y="320"/>
                      <a:pt x="783" y="320"/>
                    </a:cubicBezTo>
                    <a:cubicBezTo>
                      <a:pt x="787" y="317"/>
                      <a:pt x="787" y="317"/>
                      <a:pt x="787" y="317"/>
                    </a:cubicBezTo>
                    <a:cubicBezTo>
                      <a:pt x="792" y="314"/>
                      <a:pt x="792" y="314"/>
                      <a:pt x="792" y="314"/>
                    </a:cubicBezTo>
                    <a:cubicBezTo>
                      <a:pt x="789" y="313"/>
                      <a:pt x="789" y="313"/>
                      <a:pt x="789" y="313"/>
                    </a:cubicBezTo>
                    <a:cubicBezTo>
                      <a:pt x="785" y="314"/>
                      <a:pt x="785" y="314"/>
                      <a:pt x="785" y="314"/>
                    </a:cubicBezTo>
                    <a:cubicBezTo>
                      <a:pt x="783" y="317"/>
                      <a:pt x="783" y="317"/>
                      <a:pt x="783" y="317"/>
                    </a:cubicBezTo>
                    <a:cubicBezTo>
                      <a:pt x="781" y="313"/>
                      <a:pt x="781" y="313"/>
                      <a:pt x="781" y="313"/>
                    </a:cubicBezTo>
                    <a:cubicBezTo>
                      <a:pt x="779" y="315"/>
                      <a:pt x="779" y="315"/>
                      <a:pt x="779" y="315"/>
                    </a:cubicBezTo>
                    <a:cubicBezTo>
                      <a:pt x="779" y="318"/>
                      <a:pt x="779" y="318"/>
                      <a:pt x="779" y="318"/>
                    </a:cubicBezTo>
                    <a:cubicBezTo>
                      <a:pt x="772" y="321"/>
                      <a:pt x="772" y="321"/>
                      <a:pt x="772" y="321"/>
                    </a:cubicBezTo>
                    <a:cubicBezTo>
                      <a:pt x="771" y="324"/>
                      <a:pt x="771" y="324"/>
                      <a:pt x="771" y="324"/>
                    </a:cubicBezTo>
                    <a:cubicBezTo>
                      <a:pt x="768" y="325"/>
                      <a:pt x="768" y="325"/>
                      <a:pt x="768" y="325"/>
                    </a:cubicBezTo>
                    <a:cubicBezTo>
                      <a:pt x="764" y="322"/>
                      <a:pt x="764" y="322"/>
                      <a:pt x="764" y="322"/>
                    </a:cubicBezTo>
                    <a:cubicBezTo>
                      <a:pt x="764" y="319"/>
                      <a:pt x="764" y="319"/>
                      <a:pt x="764" y="319"/>
                    </a:cubicBezTo>
                    <a:cubicBezTo>
                      <a:pt x="766" y="316"/>
                      <a:pt x="766" y="316"/>
                      <a:pt x="766" y="316"/>
                    </a:cubicBezTo>
                    <a:cubicBezTo>
                      <a:pt x="762" y="316"/>
                      <a:pt x="762" y="316"/>
                      <a:pt x="762" y="316"/>
                    </a:cubicBezTo>
                    <a:cubicBezTo>
                      <a:pt x="761" y="315"/>
                      <a:pt x="761" y="315"/>
                      <a:pt x="761" y="315"/>
                    </a:cubicBezTo>
                    <a:cubicBezTo>
                      <a:pt x="760" y="320"/>
                      <a:pt x="760" y="320"/>
                      <a:pt x="760" y="320"/>
                    </a:cubicBezTo>
                    <a:cubicBezTo>
                      <a:pt x="758" y="322"/>
                      <a:pt x="758" y="322"/>
                      <a:pt x="758" y="322"/>
                    </a:cubicBezTo>
                    <a:cubicBezTo>
                      <a:pt x="754" y="320"/>
                      <a:pt x="754" y="320"/>
                      <a:pt x="754" y="320"/>
                    </a:cubicBezTo>
                    <a:cubicBezTo>
                      <a:pt x="754" y="316"/>
                      <a:pt x="754" y="316"/>
                      <a:pt x="754" y="316"/>
                    </a:cubicBezTo>
                    <a:cubicBezTo>
                      <a:pt x="750" y="313"/>
                      <a:pt x="750" y="313"/>
                      <a:pt x="750" y="313"/>
                    </a:cubicBezTo>
                    <a:cubicBezTo>
                      <a:pt x="751" y="310"/>
                      <a:pt x="751" y="310"/>
                      <a:pt x="751" y="310"/>
                    </a:cubicBezTo>
                    <a:cubicBezTo>
                      <a:pt x="749" y="309"/>
                      <a:pt x="749" y="309"/>
                      <a:pt x="749" y="309"/>
                    </a:cubicBezTo>
                    <a:cubicBezTo>
                      <a:pt x="749" y="313"/>
                      <a:pt x="749" y="313"/>
                      <a:pt x="749" y="313"/>
                    </a:cubicBezTo>
                    <a:cubicBezTo>
                      <a:pt x="746" y="313"/>
                      <a:pt x="746" y="313"/>
                      <a:pt x="746" y="313"/>
                    </a:cubicBezTo>
                    <a:cubicBezTo>
                      <a:pt x="743" y="307"/>
                      <a:pt x="743" y="307"/>
                      <a:pt x="743" y="307"/>
                    </a:cubicBezTo>
                    <a:cubicBezTo>
                      <a:pt x="736" y="303"/>
                      <a:pt x="736" y="303"/>
                      <a:pt x="736" y="303"/>
                    </a:cubicBezTo>
                    <a:cubicBezTo>
                      <a:pt x="736" y="302"/>
                      <a:pt x="736" y="302"/>
                      <a:pt x="736" y="302"/>
                    </a:cubicBezTo>
                    <a:cubicBezTo>
                      <a:pt x="740" y="301"/>
                      <a:pt x="740" y="301"/>
                      <a:pt x="740" y="301"/>
                    </a:cubicBezTo>
                    <a:cubicBezTo>
                      <a:pt x="740" y="298"/>
                      <a:pt x="740" y="298"/>
                      <a:pt x="740" y="298"/>
                    </a:cubicBezTo>
                    <a:cubicBezTo>
                      <a:pt x="739" y="295"/>
                      <a:pt x="739" y="295"/>
                      <a:pt x="739" y="295"/>
                    </a:cubicBezTo>
                    <a:cubicBezTo>
                      <a:pt x="746" y="291"/>
                      <a:pt x="746" y="291"/>
                      <a:pt x="746" y="291"/>
                    </a:cubicBezTo>
                    <a:cubicBezTo>
                      <a:pt x="750" y="290"/>
                      <a:pt x="750" y="290"/>
                      <a:pt x="750" y="290"/>
                    </a:cubicBezTo>
                    <a:cubicBezTo>
                      <a:pt x="752" y="291"/>
                      <a:pt x="752" y="291"/>
                      <a:pt x="752" y="291"/>
                    </a:cubicBezTo>
                    <a:cubicBezTo>
                      <a:pt x="759" y="290"/>
                      <a:pt x="759" y="290"/>
                      <a:pt x="759" y="290"/>
                    </a:cubicBezTo>
                    <a:cubicBezTo>
                      <a:pt x="764" y="293"/>
                      <a:pt x="764" y="293"/>
                      <a:pt x="764" y="293"/>
                    </a:cubicBezTo>
                    <a:cubicBezTo>
                      <a:pt x="769" y="294"/>
                      <a:pt x="769" y="294"/>
                      <a:pt x="769" y="294"/>
                    </a:cubicBezTo>
                    <a:cubicBezTo>
                      <a:pt x="771" y="292"/>
                      <a:pt x="771" y="292"/>
                      <a:pt x="771" y="292"/>
                    </a:cubicBezTo>
                    <a:cubicBezTo>
                      <a:pt x="776" y="291"/>
                      <a:pt x="776" y="291"/>
                      <a:pt x="776" y="291"/>
                    </a:cubicBezTo>
                    <a:cubicBezTo>
                      <a:pt x="781" y="289"/>
                      <a:pt x="781" y="289"/>
                      <a:pt x="781" y="289"/>
                    </a:cubicBezTo>
                    <a:cubicBezTo>
                      <a:pt x="778" y="287"/>
                      <a:pt x="778" y="287"/>
                      <a:pt x="778" y="287"/>
                    </a:cubicBezTo>
                    <a:cubicBezTo>
                      <a:pt x="776" y="285"/>
                      <a:pt x="776" y="285"/>
                      <a:pt x="776" y="285"/>
                    </a:cubicBezTo>
                    <a:cubicBezTo>
                      <a:pt x="772" y="285"/>
                      <a:pt x="772" y="285"/>
                      <a:pt x="772" y="285"/>
                    </a:cubicBezTo>
                    <a:cubicBezTo>
                      <a:pt x="768" y="286"/>
                      <a:pt x="768" y="286"/>
                      <a:pt x="768" y="286"/>
                    </a:cubicBezTo>
                    <a:cubicBezTo>
                      <a:pt x="761" y="284"/>
                      <a:pt x="761" y="284"/>
                      <a:pt x="761" y="284"/>
                    </a:cubicBezTo>
                    <a:cubicBezTo>
                      <a:pt x="757" y="284"/>
                      <a:pt x="757" y="284"/>
                      <a:pt x="757" y="284"/>
                    </a:cubicBezTo>
                    <a:cubicBezTo>
                      <a:pt x="756" y="282"/>
                      <a:pt x="756" y="282"/>
                      <a:pt x="756" y="282"/>
                    </a:cubicBezTo>
                    <a:cubicBezTo>
                      <a:pt x="762" y="277"/>
                      <a:pt x="762" y="277"/>
                      <a:pt x="762" y="277"/>
                    </a:cubicBezTo>
                    <a:cubicBezTo>
                      <a:pt x="766" y="272"/>
                      <a:pt x="766" y="272"/>
                      <a:pt x="766" y="272"/>
                    </a:cubicBezTo>
                    <a:cubicBezTo>
                      <a:pt x="770" y="272"/>
                      <a:pt x="770" y="272"/>
                      <a:pt x="770" y="272"/>
                    </a:cubicBezTo>
                    <a:cubicBezTo>
                      <a:pt x="772" y="272"/>
                      <a:pt x="772" y="272"/>
                      <a:pt x="772" y="272"/>
                    </a:cubicBezTo>
                    <a:cubicBezTo>
                      <a:pt x="780" y="271"/>
                      <a:pt x="780" y="271"/>
                      <a:pt x="780" y="271"/>
                    </a:cubicBezTo>
                    <a:cubicBezTo>
                      <a:pt x="788" y="272"/>
                      <a:pt x="788" y="272"/>
                      <a:pt x="788" y="272"/>
                    </a:cubicBezTo>
                    <a:cubicBezTo>
                      <a:pt x="793" y="273"/>
                      <a:pt x="793" y="273"/>
                      <a:pt x="793" y="273"/>
                    </a:cubicBezTo>
                    <a:cubicBezTo>
                      <a:pt x="795" y="272"/>
                      <a:pt x="795" y="272"/>
                      <a:pt x="795" y="272"/>
                    </a:cubicBezTo>
                    <a:cubicBezTo>
                      <a:pt x="794" y="270"/>
                      <a:pt x="794" y="270"/>
                      <a:pt x="794" y="270"/>
                    </a:cubicBezTo>
                    <a:cubicBezTo>
                      <a:pt x="791" y="270"/>
                      <a:pt x="791" y="270"/>
                      <a:pt x="791" y="270"/>
                    </a:cubicBezTo>
                    <a:cubicBezTo>
                      <a:pt x="787" y="268"/>
                      <a:pt x="787" y="268"/>
                      <a:pt x="787" y="268"/>
                    </a:cubicBezTo>
                    <a:cubicBezTo>
                      <a:pt x="784" y="268"/>
                      <a:pt x="784" y="268"/>
                      <a:pt x="784" y="268"/>
                    </a:cubicBezTo>
                    <a:cubicBezTo>
                      <a:pt x="776" y="266"/>
                      <a:pt x="776" y="266"/>
                      <a:pt x="776" y="266"/>
                    </a:cubicBezTo>
                    <a:cubicBezTo>
                      <a:pt x="773" y="263"/>
                      <a:pt x="773" y="263"/>
                      <a:pt x="773" y="263"/>
                    </a:cubicBezTo>
                    <a:cubicBezTo>
                      <a:pt x="778" y="260"/>
                      <a:pt x="778" y="260"/>
                      <a:pt x="778" y="260"/>
                    </a:cubicBezTo>
                    <a:cubicBezTo>
                      <a:pt x="780" y="257"/>
                      <a:pt x="780" y="257"/>
                      <a:pt x="780" y="257"/>
                    </a:cubicBezTo>
                    <a:cubicBezTo>
                      <a:pt x="782" y="255"/>
                      <a:pt x="782" y="255"/>
                      <a:pt x="782" y="255"/>
                    </a:cubicBezTo>
                    <a:cubicBezTo>
                      <a:pt x="785" y="255"/>
                      <a:pt x="785" y="255"/>
                      <a:pt x="785" y="255"/>
                    </a:cubicBezTo>
                    <a:cubicBezTo>
                      <a:pt x="789" y="253"/>
                      <a:pt x="789" y="253"/>
                      <a:pt x="789" y="253"/>
                    </a:cubicBezTo>
                    <a:cubicBezTo>
                      <a:pt x="793" y="253"/>
                      <a:pt x="793" y="253"/>
                      <a:pt x="793" y="253"/>
                    </a:cubicBezTo>
                    <a:cubicBezTo>
                      <a:pt x="794" y="255"/>
                      <a:pt x="794" y="255"/>
                      <a:pt x="794" y="255"/>
                    </a:cubicBezTo>
                    <a:cubicBezTo>
                      <a:pt x="797" y="255"/>
                      <a:pt x="797" y="255"/>
                      <a:pt x="797" y="255"/>
                    </a:cubicBezTo>
                    <a:cubicBezTo>
                      <a:pt x="802" y="258"/>
                      <a:pt x="802" y="258"/>
                      <a:pt x="802" y="258"/>
                    </a:cubicBezTo>
                    <a:cubicBezTo>
                      <a:pt x="804" y="259"/>
                      <a:pt x="804" y="259"/>
                      <a:pt x="804" y="259"/>
                    </a:cubicBezTo>
                    <a:cubicBezTo>
                      <a:pt x="802" y="256"/>
                      <a:pt x="802" y="256"/>
                      <a:pt x="802" y="256"/>
                    </a:cubicBezTo>
                    <a:cubicBezTo>
                      <a:pt x="798" y="253"/>
                      <a:pt x="798" y="253"/>
                      <a:pt x="798" y="253"/>
                    </a:cubicBezTo>
                    <a:cubicBezTo>
                      <a:pt x="798" y="250"/>
                      <a:pt x="798" y="250"/>
                      <a:pt x="798" y="250"/>
                    </a:cubicBezTo>
                    <a:cubicBezTo>
                      <a:pt x="796" y="248"/>
                      <a:pt x="796" y="248"/>
                      <a:pt x="796" y="248"/>
                    </a:cubicBezTo>
                    <a:cubicBezTo>
                      <a:pt x="798" y="246"/>
                      <a:pt x="798" y="246"/>
                      <a:pt x="798" y="246"/>
                    </a:cubicBezTo>
                    <a:cubicBezTo>
                      <a:pt x="809" y="244"/>
                      <a:pt x="809" y="244"/>
                      <a:pt x="809" y="244"/>
                    </a:cubicBezTo>
                    <a:cubicBezTo>
                      <a:pt x="812" y="245"/>
                      <a:pt x="812" y="245"/>
                      <a:pt x="812" y="245"/>
                    </a:cubicBezTo>
                    <a:cubicBezTo>
                      <a:pt x="818" y="244"/>
                      <a:pt x="818" y="244"/>
                      <a:pt x="818" y="244"/>
                    </a:cubicBezTo>
                    <a:cubicBezTo>
                      <a:pt x="822" y="248"/>
                      <a:pt x="822" y="248"/>
                      <a:pt x="822" y="248"/>
                    </a:cubicBezTo>
                    <a:cubicBezTo>
                      <a:pt x="824" y="253"/>
                      <a:pt x="824" y="253"/>
                      <a:pt x="824" y="253"/>
                    </a:cubicBezTo>
                    <a:cubicBezTo>
                      <a:pt x="820" y="255"/>
                      <a:pt x="820" y="255"/>
                      <a:pt x="820" y="255"/>
                    </a:cubicBezTo>
                    <a:cubicBezTo>
                      <a:pt x="817" y="259"/>
                      <a:pt x="817" y="259"/>
                      <a:pt x="817" y="259"/>
                    </a:cubicBezTo>
                    <a:cubicBezTo>
                      <a:pt x="819" y="263"/>
                      <a:pt x="819" y="263"/>
                      <a:pt x="819" y="263"/>
                    </a:cubicBezTo>
                    <a:cubicBezTo>
                      <a:pt x="826" y="262"/>
                      <a:pt x="826" y="262"/>
                      <a:pt x="826" y="262"/>
                    </a:cubicBezTo>
                    <a:cubicBezTo>
                      <a:pt x="828" y="261"/>
                      <a:pt x="828" y="261"/>
                      <a:pt x="828" y="261"/>
                    </a:cubicBezTo>
                    <a:cubicBezTo>
                      <a:pt x="831" y="262"/>
                      <a:pt x="831" y="262"/>
                      <a:pt x="831" y="262"/>
                    </a:cubicBezTo>
                    <a:cubicBezTo>
                      <a:pt x="833" y="262"/>
                      <a:pt x="833" y="262"/>
                      <a:pt x="833" y="262"/>
                    </a:cubicBezTo>
                    <a:cubicBezTo>
                      <a:pt x="834" y="265"/>
                      <a:pt x="834" y="265"/>
                      <a:pt x="834" y="265"/>
                    </a:cubicBezTo>
                    <a:cubicBezTo>
                      <a:pt x="835" y="267"/>
                      <a:pt x="835" y="267"/>
                      <a:pt x="835" y="267"/>
                    </a:cubicBezTo>
                    <a:cubicBezTo>
                      <a:pt x="837" y="269"/>
                      <a:pt x="837" y="269"/>
                      <a:pt x="837" y="269"/>
                    </a:cubicBezTo>
                    <a:cubicBezTo>
                      <a:pt x="837" y="271"/>
                      <a:pt x="837" y="271"/>
                      <a:pt x="837" y="271"/>
                    </a:cubicBezTo>
                    <a:cubicBezTo>
                      <a:pt x="834" y="273"/>
                      <a:pt x="834" y="273"/>
                      <a:pt x="834" y="273"/>
                    </a:cubicBezTo>
                    <a:cubicBezTo>
                      <a:pt x="833" y="275"/>
                      <a:pt x="833" y="275"/>
                      <a:pt x="833" y="275"/>
                    </a:cubicBezTo>
                    <a:cubicBezTo>
                      <a:pt x="836" y="279"/>
                      <a:pt x="836" y="279"/>
                      <a:pt x="836" y="279"/>
                    </a:cubicBezTo>
                    <a:cubicBezTo>
                      <a:pt x="837" y="287"/>
                      <a:pt x="837" y="287"/>
                      <a:pt x="837" y="287"/>
                    </a:cubicBezTo>
                    <a:cubicBezTo>
                      <a:pt x="835" y="289"/>
                      <a:pt x="835" y="289"/>
                      <a:pt x="835" y="289"/>
                    </a:cubicBezTo>
                    <a:cubicBezTo>
                      <a:pt x="832" y="288"/>
                      <a:pt x="832" y="288"/>
                      <a:pt x="832" y="288"/>
                    </a:cubicBezTo>
                    <a:cubicBezTo>
                      <a:pt x="828" y="290"/>
                      <a:pt x="828" y="290"/>
                      <a:pt x="828" y="290"/>
                    </a:cubicBezTo>
                    <a:cubicBezTo>
                      <a:pt x="829" y="292"/>
                      <a:pt x="829" y="292"/>
                      <a:pt x="829" y="292"/>
                    </a:cubicBezTo>
                    <a:cubicBezTo>
                      <a:pt x="833" y="291"/>
                      <a:pt x="833" y="291"/>
                      <a:pt x="833" y="291"/>
                    </a:cubicBezTo>
                    <a:cubicBezTo>
                      <a:pt x="837" y="293"/>
                      <a:pt x="837" y="293"/>
                      <a:pt x="837" y="293"/>
                    </a:cubicBezTo>
                    <a:cubicBezTo>
                      <a:pt x="839" y="293"/>
                      <a:pt x="839" y="293"/>
                      <a:pt x="839" y="293"/>
                    </a:cubicBezTo>
                    <a:cubicBezTo>
                      <a:pt x="837" y="300"/>
                      <a:pt x="837" y="300"/>
                      <a:pt x="837" y="300"/>
                    </a:cubicBezTo>
                    <a:cubicBezTo>
                      <a:pt x="834" y="303"/>
                      <a:pt x="834" y="303"/>
                      <a:pt x="834" y="303"/>
                    </a:cubicBezTo>
                    <a:cubicBezTo>
                      <a:pt x="834" y="310"/>
                      <a:pt x="834" y="310"/>
                      <a:pt x="834" y="310"/>
                    </a:cubicBezTo>
                    <a:cubicBezTo>
                      <a:pt x="836" y="311"/>
                      <a:pt x="836" y="311"/>
                      <a:pt x="836" y="311"/>
                    </a:cubicBezTo>
                    <a:cubicBezTo>
                      <a:pt x="840" y="310"/>
                      <a:pt x="840" y="310"/>
                      <a:pt x="840" y="310"/>
                    </a:cubicBezTo>
                    <a:cubicBezTo>
                      <a:pt x="842" y="307"/>
                      <a:pt x="842" y="307"/>
                      <a:pt x="842" y="307"/>
                    </a:cubicBezTo>
                    <a:cubicBezTo>
                      <a:pt x="844" y="309"/>
                      <a:pt x="844" y="309"/>
                      <a:pt x="844" y="309"/>
                    </a:cubicBezTo>
                    <a:cubicBezTo>
                      <a:pt x="845" y="311"/>
                      <a:pt x="845" y="311"/>
                      <a:pt x="845" y="311"/>
                    </a:cubicBezTo>
                    <a:cubicBezTo>
                      <a:pt x="849" y="312"/>
                      <a:pt x="849" y="312"/>
                      <a:pt x="849" y="312"/>
                    </a:cubicBezTo>
                    <a:cubicBezTo>
                      <a:pt x="851" y="311"/>
                      <a:pt x="851" y="311"/>
                      <a:pt x="851" y="311"/>
                    </a:cubicBezTo>
                    <a:cubicBezTo>
                      <a:pt x="858" y="313"/>
                      <a:pt x="858" y="313"/>
                      <a:pt x="858" y="313"/>
                    </a:cubicBezTo>
                    <a:cubicBezTo>
                      <a:pt x="861" y="317"/>
                      <a:pt x="861" y="317"/>
                      <a:pt x="861" y="317"/>
                    </a:cubicBezTo>
                    <a:cubicBezTo>
                      <a:pt x="863" y="316"/>
                      <a:pt x="863" y="316"/>
                      <a:pt x="863" y="316"/>
                    </a:cubicBezTo>
                    <a:cubicBezTo>
                      <a:pt x="863" y="314"/>
                      <a:pt x="863" y="314"/>
                      <a:pt x="863" y="314"/>
                    </a:cubicBezTo>
                    <a:cubicBezTo>
                      <a:pt x="862" y="313"/>
                      <a:pt x="862" y="313"/>
                      <a:pt x="862" y="313"/>
                    </a:cubicBezTo>
                    <a:cubicBezTo>
                      <a:pt x="867" y="310"/>
                      <a:pt x="867" y="310"/>
                      <a:pt x="867" y="310"/>
                    </a:cubicBezTo>
                    <a:cubicBezTo>
                      <a:pt x="866" y="304"/>
                      <a:pt x="866" y="304"/>
                      <a:pt x="866" y="304"/>
                    </a:cubicBezTo>
                    <a:cubicBezTo>
                      <a:pt x="862" y="300"/>
                      <a:pt x="862" y="300"/>
                      <a:pt x="862" y="300"/>
                    </a:cubicBezTo>
                    <a:cubicBezTo>
                      <a:pt x="863" y="298"/>
                      <a:pt x="863" y="298"/>
                      <a:pt x="863" y="298"/>
                    </a:cubicBezTo>
                    <a:cubicBezTo>
                      <a:pt x="861" y="294"/>
                      <a:pt x="861" y="294"/>
                      <a:pt x="861" y="294"/>
                    </a:cubicBezTo>
                    <a:cubicBezTo>
                      <a:pt x="862" y="293"/>
                      <a:pt x="862" y="293"/>
                      <a:pt x="862" y="293"/>
                    </a:cubicBezTo>
                    <a:cubicBezTo>
                      <a:pt x="865" y="293"/>
                      <a:pt x="865" y="293"/>
                      <a:pt x="865" y="293"/>
                    </a:cubicBezTo>
                    <a:cubicBezTo>
                      <a:pt x="870" y="290"/>
                      <a:pt x="870" y="290"/>
                      <a:pt x="870" y="290"/>
                    </a:cubicBezTo>
                    <a:cubicBezTo>
                      <a:pt x="874" y="291"/>
                      <a:pt x="874" y="291"/>
                      <a:pt x="874" y="291"/>
                    </a:cubicBezTo>
                    <a:cubicBezTo>
                      <a:pt x="876" y="286"/>
                      <a:pt x="876" y="286"/>
                      <a:pt x="876" y="286"/>
                    </a:cubicBezTo>
                    <a:cubicBezTo>
                      <a:pt x="874" y="280"/>
                      <a:pt x="874" y="280"/>
                      <a:pt x="874" y="280"/>
                    </a:cubicBezTo>
                    <a:cubicBezTo>
                      <a:pt x="872" y="278"/>
                      <a:pt x="872" y="278"/>
                      <a:pt x="872" y="278"/>
                    </a:cubicBezTo>
                    <a:cubicBezTo>
                      <a:pt x="872" y="274"/>
                      <a:pt x="872" y="274"/>
                      <a:pt x="872" y="274"/>
                    </a:cubicBezTo>
                    <a:cubicBezTo>
                      <a:pt x="870" y="270"/>
                      <a:pt x="870" y="270"/>
                      <a:pt x="870" y="270"/>
                    </a:cubicBezTo>
                    <a:cubicBezTo>
                      <a:pt x="874" y="265"/>
                      <a:pt x="874" y="265"/>
                      <a:pt x="874" y="265"/>
                    </a:cubicBezTo>
                    <a:cubicBezTo>
                      <a:pt x="877" y="263"/>
                      <a:pt x="877" y="263"/>
                      <a:pt x="877" y="263"/>
                    </a:cubicBezTo>
                    <a:cubicBezTo>
                      <a:pt x="879" y="264"/>
                      <a:pt x="879" y="264"/>
                      <a:pt x="879" y="264"/>
                    </a:cubicBezTo>
                    <a:cubicBezTo>
                      <a:pt x="883" y="264"/>
                      <a:pt x="883" y="264"/>
                      <a:pt x="883" y="264"/>
                    </a:cubicBezTo>
                    <a:cubicBezTo>
                      <a:pt x="882" y="262"/>
                      <a:pt x="882" y="262"/>
                      <a:pt x="882" y="262"/>
                    </a:cubicBezTo>
                    <a:cubicBezTo>
                      <a:pt x="883" y="259"/>
                      <a:pt x="883" y="259"/>
                      <a:pt x="883" y="259"/>
                    </a:cubicBezTo>
                    <a:cubicBezTo>
                      <a:pt x="888" y="257"/>
                      <a:pt x="888" y="257"/>
                      <a:pt x="888" y="257"/>
                    </a:cubicBezTo>
                    <a:cubicBezTo>
                      <a:pt x="896" y="249"/>
                      <a:pt x="896" y="249"/>
                      <a:pt x="896" y="249"/>
                    </a:cubicBezTo>
                    <a:cubicBezTo>
                      <a:pt x="899" y="250"/>
                      <a:pt x="899" y="250"/>
                      <a:pt x="899" y="250"/>
                    </a:cubicBezTo>
                    <a:cubicBezTo>
                      <a:pt x="904" y="252"/>
                      <a:pt x="904" y="252"/>
                      <a:pt x="904" y="252"/>
                    </a:cubicBezTo>
                    <a:cubicBezTo>
                      <a:pt x="903" y="254"/>
                      <a:pt x="903" y="254"/>
                      <a:pt x="903" y="254"/>
                    </a:cubicBezTo>
                    <a:cubicBezTo>
                      <a:pt x="905" y="257"/>
                      <a:pt x="905" y="257"/>
                      <a:pt x="905" y="257"/>
                    </a:cubicBezTo>
                    <a:cubicBezTo>
                      <a:pt x="904" y="260"/>
                      <a:pt x="904" y="260"/>
                      <a:pt x="904" y="260"/>
                    </a:cubicBezTo>
                    <a:cubicBezTo>
                      <a:pt x="900" y="260"/>
                      <a:pt x="900" y="260"/>
                      <a:pt x="900" y="260"/>
                    </a:cubicBezTo>
                    <a:cubicBezTo>
                      <a:pt x="898" y="262"/>
                      <a:pt x="898" y="262"/>
                      <a:pt x="898" y="262"/>
                    </a:cubicBezTo>
                    <a:cubicBezTo>
                      <a:pt x="898" y="265"/>
                      <a:pt x="898" y="265"/>
                      <a:pt x="898" y="265"/>
                    </a:cubicBezTo>
                    <a:cubicBezTo>
                      <a:pt x="897" y="268"/>
                      <a:pt x="897" y="268"/>
                      <a:pt x="897" y="268"/>
                    </a:cubicBezTo>
                    <a:cubicBezTo>
                      <a:pt x="897" y="273"/>
                      <a:pt x="897" y="273"/>
                      <a:pt x="897" y="273"/>
                    </a:cubicBezTo>
                    <a:cubicBezTo>
                      <a:pt x="898" y="274"/>
                      <a:pt x="898" y="274"/>
                      <a:pt x="898" y="274"/>
                    </a:cubicBezTo>
                    <a:cubicBezTo>
                      <a:pt x="898" y="283"/>
                      <a:pt x="898" y="283"/>
                      <a:pt x="898" y="283"/>
                    </a:cubicBezTo>
                    <a:cubicBezTo>
                      <a:pt x="896" y="285"/>
                      <a:pt x="896" y="285"/>
                      <a:pt x="896" y="285"/>
                    </a:cubicBezTo>
                    <a:cubicBezTo>
                      <a:pt x="894" y="285"/>
                      <a:pt x="894" y="285"/>
                      <a:pt x="894" y="285"/>
                    </a:cubicBezTo>
                    <a:cubicBezTo>
                      <a:pt x="889" y="290"/>
                      <a:pt x="889" y="290"/>
                      <a:pt x="889" y="290"/>
                    </a:cubicBezTo>
                    <a:cubicBezTo>
                      <a:pt x="886" y="292"/>
                      <a:pt x="886" y="292"/>
                      <a:pt x="886" y="292"/>
                    </a:cubicBezTo>
                    <a:cubicBezTo>
                      <a:pt x="886" y="293"/>
                      <a:pt x="886" y="293"/>
                      <a:pt x="886" y="293"/>
                    </a:cubicBezTo>
                    <a:cubicBezTo>
                      <a:pt x="888" y="293"/>
                      <a:pt x="888" y="293"/>
                      <a:pt x="888" y="293"/>
                    </a:cubicBezTo>
                    <a:cubicBezTo>
                      <a:pt x="891" y="292"/>
                      <a:pt x="891" y="292"/>
                      <a:pt x="891" y="292"/>
                    </a:cubicBezTo>
                    <a:cubicBezTo>
                      <a:pt x="897" y="292"/>
                      <a:pt x="897" y="292"/>
                      <a:pt x="897" y="292"/>
                    </a:cubicBezTo>
                    <a:cubicBezTo>
                      <a:pt x="898" y="294"/>
                      <a:pt x="898" y="294"/>
                      <a:pt x="898" y="294"/>
                    </a:cubicBezTo>
                    <a:cubicBezTo>
                      <a:pt x="895" y="298"/>
                      <a:pt x="895" y="298"/>
                      <a:pt x="895" y="298"/>
                    </a:cubicBezTo>
                    <a:cubicBezTo>
                      <a:pt x="889" y="302"/>
                      <a:pt x="889" y="302"/>
                      <a:pt x="889" y="302"/>
                    </a:cubicBezTo>
                    <a:cubicBezTo>
                      <a:pt x="884" y="306"/>
                      <a:pt x="884" y="306"/>
                      <a:pt x="884" y="306"/>
                    </a:cubicBezTo>
                    <a:cubicBezTo>
                      <a:pt x="882" y="310"/>
                      <a:pt x="882" y="310"/>
                      <a:pt x="882" y="310"/>
                    </a:cubicBezTo>
                    <a:cubicBezTo>
                      <a:pt x="884" y="312"/>
                      <a:pt x="884" y="312"/>
                      <a:pt x="884" y="312"/>
                    </a:cubicBezTo>
                    <a:cubicBezTo>
                      <a:pt x="886" y="308"/>
                      <a:pt x="886" y="308"/>
                      <a:pt x="886" y="308"/>
                    </a:cubicBezTo>
                    <a:cubicBezTo>
                      <a:pt x="892" y="305"/>
                      <a:pt x="892" y="305"/>
                      <a:pt x="892" y="305"/>
                    </a:cubicBezTo>
                    <a:cubicBezTo>
                      <a:pt x="895" y="303"/>
                      <a:pt x="895" y="303"/>
                      <a:pt x="895" y="303"/>
                    </a:cubicBezTo>
                    <a:cubicBezTo>
                      <a:pt x="897" y="302"/>
                      <a:pt x="897" y="302"/>
                      <a:pt x="897" y="302"/>
                    </a:cubicBezTo>
                    <a:cubicBezTo>
                      <a:pt x="902" y="304"/>
                      <a:pt x="902" y="304"/>
                      <a:pt x="902" y="304"/>
                    </a:cubicBezTo>
                    <a:cubicBezTo>
                      <a:pt x="902" y="309"/>
                      <a:pt x="902" y="309"/>
                      <a:pt x="902" y="309"/>
                    </a:cubicBezTo>
                    <a:cubicBezTo>
                      <a:pt x="899" y="314"/>
                      <a:pt x="899" y="314"/>
                      <a:pt x="899" y="314"/>
                    </a:cubicBezTo>
                    <a:cubicBezTo>
                      <a:pt x="900" y="316"/>
                      <a:pt x="900" y="316"/>
                      <a:pt x="900" y="316"/>
                    </a:cubicBezTo>
                    <a:cubicBezTo>
                      <a:pt x="903" y="312"/>
                      <a:pt x="903" y="312"/>
                      <a:pt x="903" y="312"/>
                    </a:cubicBezTo>
                    <a:cubicBezTo>
                      <a:pt x="906" y="313"/>
                      <a:pt x="906" y="313"/>
                      <a:pt x="906" y="313"/>
                    </a:cubicBezTo>
                    <a:cubicBezTo>
                      <a:pt x="907" y="311"/>
                      <a:pt x="907" y="311"/>
                      <a:pt x="907" y="311"/>
                    </a:cubicBezTo>
                    <a:cubicBezTo>
                      <a:pt x="906" y="310"/>
                      <a:pt x="906" y="310"/>
                      <a:pt x="906" y="310"/>
                    </a:cubicBezTo>
                    <a:cubicBezTo>
                      <a:pt x="908" y="306"/>
                      <a:pt x="908" y="306"/>
                      <a:pt x="908" y="306"/>
                    </a:cubicBezTo>
                    <a:cubicBezTo>
                      <a:pt x="909" y="303"/>
                      <a:pt x="909" y="303"/>
                      <a:pt x="909" y="303"/>
                    </a:cubicBezTo>
                    <a:cubicBezTo>
                      <a:pt x="915" y="298"/>
                      <a:pt x="915" y="298"/>
                      <a:pt x="915" y="298"/>
                    </a:cubicBezTo>
                    <a:cubicBezTo>
                      <a:pt x="917" y="298"/>
                      <a:pt x="917" y="298"/>
                      <a:pt x="917" y="298"/>
                    </a:cubicBezTo>
                    <a:cubicBezTo>
                      <a:pt x="922" y="301"/>
                      <a:pt x="922" y="301"/>
                      <a:pt x="922" y="301"/>
                    </a:cubicBezTo>
                    <a:cubicBezTo>
                      <a:pt x="924" y="307"/>
                      <a:pt x="924" y="307"/>
                      <a:pt x="924" y="307"/>
                    </a:cubicBezTo>
                    <a:cubicBezTo>
                      <a:pt x="926" y="310"/>
                      <a:pt x="926" y="310"/>
                      <a:pt x="926" y="310"/>
                    </a:cubicBezTo>
                    <a:cubicBezTo>
                      <a:pt x="925" y="315"/>
                      <a:pt x="925" y="315"/>
                      <a:pt x="925" y="315"/>
                    </a:cubicBezTo>
                    <a:cubicBezTo>
                      <a:pt x="920" y="324"/>
                      <a:pt x="920" y="324"/>
                      <a:pt x="920" y="324"/>
                    </a:cubicBezTo>
                    <a:cubicBezTo>
                      <a:pt x="916" y="328"/>
                      <a:pt x="916" y="328"/>
                      <a:pt x="916" y="328"/>
                    </a:cubicBezTo>
                    <a:cubicBezTo>
                      <a:pt x="912" y="329"/>
                      <a:pt x="912" y="329"/>
                      <a:pt x="912" y="329"/>
                    </a:cubicBezTo>
                    <a:cubicBezTo>
                      <a:pt x="909" y="329"/>
                      <a:pt x="909" y="329"/>
                      <a:pt x="909" y="329"/>
                    </a:cubicBezTo>
                    <a:cubicBezTo>
                      <a:pt x="908" y="331"/>
                      <a:pt x="908" y="331"/>
                      <a:pt x="908" y="331"/>
                    </a:cubicBezTo>
                    <a:cubicBezTo>
                      <a:pt x="909" y="334"/>
                      <a:pt x="909" y="334"/>
                      <a:pt x="909" y="334"/>
                    </a:cubicBezTo>
                    <a:cubicBezTo>
                      <a:pt x="905" y="339"/>
                      <a:pt x="905" y="339"/>
                      <a:pt x="905" y="339"/>
                    </a:cubicBezTo>
                    <a:cubicBezTo>
                      <a:pt x="902" y="339"/>
                      <a:pt x="902" y="339"/>
                      <a:pt x="902" y="339"/>
                    </a:cubicBezTo>
                    <a:cubicBezTo>
                      <a:pt x="898" y="342"/>
                      <a:pt x="898" y="342"/>
                      <a:pt x="898" y="342"/>
                    </a:cubicBezTo>
                    <a:cubicBezTo>
                      <a:pt x="898" y="345"/>
                      <a:pt x="898" y="345"/>
                      <a:pt x="898" y="345"/>
                    </a:cubicBezTo>
                    <a:cubicBezTo>
                      <a:pt x="897" y="347"/>
                      <a:pt x="897" y="347"/>
                      <a:pt x="897" y="347"/>
                    </a:cubicBezTo>
                    <a:cubicBezTo>
                      <a:pt x="895" y="347"/>
                      <a:pt x="895" y="347"/>
                      <a:pt x="895" y="347"/>
                    </a:cubicBezTo>
                    <a:cubicBezTo>
                      <a:pt x="893" y="348"/>
                      <a:pt x="893" y="348"/>
                      <a:pt x="893" y="348"/>
                    </a:cubicBezTo>
                    <a:cubicBezTo>
                      <a:pt x="893" y="350"/>
                      <a:pt x="893" y="350"/>
                      <a:pt x="893" y="350"/>
                    </a:cubicBezTo>
                    <a:cubicBezTo>
                      <a:pt x="891" y="351"/>
                      <a:pt x="891" y="351"/>
                      <a:pt x="891" y="351"/>
                    </a:cubicBezTo>
                    <a:cubicBezTo>
                      <a:pt x="889" y="349"/>
                      <a:pt x="889" y="349"/>
                      <a:pt x="889" y="349"/>
                    </a:cubicBezTo>
                    <a:cubicBezTo>
                      <a:pt x="885" y="350"/>
                      <a:pt x="885" y="350"/>
                      <a:pt x="885" y="350"/>
                    </a:cubicBezTo>
                    <a:cubicBezTo>
                      <a:pt x="883" y="350"/>
                      <a:pt x="883" y="350"/>
                      <a:pt x="883" y="350"/>
                    </a:cubicBezTo>
                    <a:cubicBezTo>
                      <a:pt x="876" y="353"/>
                      <a:pt x="876" y="353"/>
                      <a:pt x="876" y="353"/>
                    </a:cubicBezTo>
                    <a:cubicBezTo>
                      <a:pt x="871" y="353"/>
                      <a:pt x="871" y="353"/>
                      <a:pt x="871" y="353"/>
                    </a:cubicBezTo>
                    <a:cubicBezTo>
                      <a:pt x="866" y="351"/>
                      <a:pt x="866" y="351"/>
                      <a:pt x="866" y="351"/>
                    </a:cubicBezTo>
                    <a:cubicBezTo>
                      <a:pt x="865" y="349"/>
                      <a:pt x="865" y="349"/>
                      <a:pt x="865" y="349"/>
                    </a:cubicBezTo>
                    <a:cubicBezTo>
                      <a:pt x="867" y="346"/>
                      <a:pt x="867" y="346"/>
                      <a:pt x="867" y="346"/>
                    </a:cubicBezTo>
                    <a:cubicBezTo>
                      <a:pt x="867" y="344"/>
                      <a:pt x="867" y="344"/>
                      <a:pt x="867" y="344"/>
                    </a:cubicBezTo>
                    <a:cubicBezTo>
                      <a:pt x="866" y="344"/>
                      <a:pt x="866" y="344"/>
                      <a:pt x="866" y="344"/>
                    </a:cubicBezTo>
                    <a:cubicBezTo>
                      <a:pt x="862" y="345"/>
                      <a:pt x="862" y="345"/>
                      <a:pt x="862" y="345"/>
                    </a:cubicBezTo>
                    <a:cubicBezTo>
                      <a:pt x="861" y="348"/>
                      <a:pt x="861" y="348"/>
                      <a:pt x="861" y="348"/>
                    </a:cubicBezTo>
                    <a:cubicBezTo>
                      <a:pt x="858" y="349"/>
                      <a:pt x="858" y="349"/>
                      <a:pt x="858" y="349"/>
                    </a:cubicBezTo>
                    <a:cubicBezTo>
                      <a:pt x="853" y="347"/>
                      <a:pt x="853" y="347"/>
                      <a:pt x="853" y="347"/>
                    </a:cubicBezTo>
                    <a:cubicBezTo>
                      <a:pt x="853" y="345"/>
                      <a:pt x="853" y="345"/>
                      <a:pt x="853" y="345"/>
                    </a:cubicBezTo>
                    <a:cubicBezTo>
                      <a:pt x="855" y="343"/>
                      <a:pt x="855" y="343"/>
                      <a:pt x="855" y="343"/>
                    </a:cubicBezTo>
                    <a:cubicBezTo>
                      <a:pt x="854" y="340"/>
                      <a:pt x="854" y="340"/>
                      <a:pt x="854" y="340"/>
                    </a:cubicBezTo>
                    <a:cubicBezTo>
                      <a:pt x="851" y="340"/>
                      <a:pt x="851" y="340"/>
                      <a:pt x="851" y="340"/>
                    </a:cubicBezTo>
                    <a:cubicBezTo>
                      <a:pt x="851" y="342"/>
                      <a:pt x="851" y="342"/>
                      <a:pt x="851" y="342"/>
                    </a:cubicBezTo>
                    <a:cubicBezTo>
                      <a:pt x="849" y="343"/>
                      <a:pt x="849" y="343"/>
                      <a:pt x="849" y="343"/>
                    </a:cubicBezTo>
                    <a:cubicBezTo>
                      <a:pt x="846" y="343"/>
                      <a:pt x="846" y="343"/>
                      <a:pt x="846" y="343"/>
                    </a:cubicBezTo>
                    <a:cubicBezTo>
                      <a:pt x="840" y="346"/>
                      <a:pt x="840" y="346"/>
                      <a:pt x="840" y="346"/>
                    </a:cubicBezTo>
                    <a:cubicBezTo>
                      <a:pt x="838" y="347"/>
                      <a:pt x="838" y="347"/>
                      <a:pt x="838" y="347"/>
                    </a:cubicBezTo>
                    <a:cubicBezTo>
                      <a:pt x="834" y="347"/>
                      <a:pt x="834" y="347"/>
                      <a:pt x="834" y="347"/>
                    </a:cubicBezTo>
                    <a:cubicBezTo>
                      <a:pt x="832" y="346"/>
                      <a:pt x="832" y="346"/>
                      <a:pt x="832" y="346"/>
                    </a:cubicBezTo>
                    <a:cubicBezTo>
                      <a:pt x="827" y="346"/>
                      <a:pt x="827" y="346"/>
                      <a:pt x="827" y="346"/>
                    </a:cubicBezTo>
                    <a:cubicBezTo>
                      <a:pt x="825" y="345"/>
                      <a:pt x="825" y="345"/>
                      <a:pt x="825" y="345"/>
                    </a:cubicBezTo>
                    <a:cubicBezTo>
                      <a:pt x="824" y="347"/>
                      <a:pt x="824" y="347"/>
                      <a:pt x="824" y="347"/>
                    </a:cubicBezTo>
                    <a:cubicBezTo>
                      <a:pt x="821" y="347"/>
                      <a:pt x="821" y="347"/>
                      <a:pt x="821" y="347"/>
                    </a:cubicBezTo>
                    <a:cubicBezTo>
                      <a:pt x="818" y="348"/>
                      <a:pt x="818" y="348"/>
                      <a:pt x="818" y="348"/>
                    </a:cubicBezTo>
                    <a:cubicBezTo>
                      <a:pt x="817" y="351"/>
                      <a:pt x="817" y="351"/>
                      <a:pt x="817" y="351"/>
                    </a:cubicBezTo>
                    <a:cubicBezTo>
                      <a:pt x="816" y="353"/>
                      <a:pt x="816" y="353"/>
                      <a:pt x="816" y="353"/>
                    </a:cubicBezTo>
                    <a:cubicBezTo>
                      <a:pt x="811" y="353"/>
                      <a:pt x="811" y="353"/>
                      <a:pt x="811" y="353"/>
                    </a:cubicBezTo>
                    <a:cubicBezTo>
                      <a:pt x="810" y="355"/>
                      <a:pt x="810" y="355"/>
                      <a:pt x="810" y="355"/>
                    </a:cubicBezTo>
                    <a:cubicBezTo>
                      <a:pt x="806" y="356"/>
                      <a:pt x="806" y="356"/>
                      <a:pt x="806" y="356"/>
                    </a:cubicBezTo>
                    <a:cubicBezTo>
                      <a:pt x="805" y="355"/>
                      <a:pt x="805" y="355"/>
                      <a:pt x="805" y="355"/>
                    </a:cubicBezTo>
                    <a:cubicBezTo>
                      <a:pt x="801" y="357"/>
                      <a:pt x="801" y="357"/>
                      <a:pt x="801" y="357"/>
                    </a:cubicBezTo>
                    <a:cubicBezTo>
                      <a:pt x="797" y="357"/>
                      <a:pt x="797" y="357"/>
                      <a:pt x="797" y="357"/>
                    </a:cubicBezTo>
                    <a:cubicBezTo>
                      <a:pt x="795" y="355"/>
                      <a:pt x="795" y="355"/>
                      <a:pt x="795" y="355"/>
                    </a:cubicBezTo>
                    <a:cubicBezTo>
                      <a:pt x="790" y="355"/>
                      <a:pt x="790" y="355"/>
                      <a:pt x="790" y="355"/>
                    </a:cubicBezTo>
                    <a:cubicBezTo>
                      <a:pt x="785" y="356"/>
                      <a:pt x="785" y="356"/>
                      <a:pt x="785" y="356"/>
                    </a:cubicBezTo>
                    <a:cubicBezTo>
                      <a:pt x="779" y="356"/>
                      <a:pt x="779" y="356"/>
                      <a:pt x="779" y="356"/>
                    </a:cubicBezTo>
                    <a:cubicBezTo>
                      <a:pt x="774" y="354"/>
                      <a:pt x="774" y="354"/>
                      <a:pt x="774" y="354"/>
                    </a:cubicBezTo>
                    <a:cubicBezTo>
                      <a:pt x="769" y="353"/>
                      <a:pt x="769" y="353"/>
                      <a:pt x="769" y="353"/>
                    </a:cubicBezTo>
                    <a:cubicBezTo>
                      <a:pt x="766" y="349"/>
                      <a:pt x="766" y="349"/>
                      <a:pt x="766" y="349"/>
                    </a:cubicBezTo>
                    <a:cubicBezTo>
                      <a:pt x="762" y="346"/>
                      <a:pt x="762" y="346"/>
                      <a:pt x="762" y="346"/>
                    </a:cubicBezTo>
                    <a:close/>
                    <a:moveTo>
                      <a:pt x="534" y="461"/>
                    </a:moveTo>
                    <a:cubicBezTo>
                      <a:pt x="534" y="454"/>
                      <a:pt x="534" y="454"/>
                      <a:pt x="534" y="454"/>
                    </a:cubicBezTo>
                    <a:cubicBezTo>
                      <a:pt x="537" y="449"/>
                      <a:pt x="537" y="449"/>
                      <a:pt x="537" y="449"/>
                    </a:cubicBezTo>
                    <a:cubicBezTo>
                      <a:pt x="535" y="444"/>
                      <a:pt x="535" y="444"/>
                      <a:pt x="535" y="444"/>
                    </a:cubicBezTo>
                    <a:cubicBezTo>
                      <a:pt x="537" y="439"/>
                      <a:pt x="537" y="439"/>
                      <a:pt x="537" y="439"/>
                    </a:cubicBezTo>
                    <a:cubicBezTo>
                      <a:pt x="537" y="435"/>
                      <a:pt x="537" y="435"/>
                      <a:pt x="537" y="435"/>
                    </a:cubicBezTo>
                    <a:cubicBezTo>
                      <a:pt x="535" y="432"/>
                      <a:pt x="535" y="432"/>
                      <a:pt x="535" y="432"/>
                    </a:cubicBezTo>
                    <a:cubicBezTo>
                      <a:pt x="532" y="423"/>
                      <a:pt x="532" y="423"/>
                      <a:pt x="532" y="423"/>
                    </a:cubicBezTo>
                    <a:cubicBezTo>
                      <a:pt x="536" y="424"/>
                      <a:pt x="536" y="424"/>
                      <a:pt x="536" y="424"/>
                    </a:cubicBezTo>
                    <a:cubicBezTo>
                      <a:pt x="536" y="421"/>
                      <a:pt x="536" y="421"/>
                      <a:pt x="536" y="421"/>
                    </a:cubicBezTo>
                    <a:cubicBezTo>
                      <a:pt x="529" y="421"/>
                      <a:pt x="529" y="421"/>
                      <a:pt x="529" y="421"/>
                    </a:cubicBezTo>
                    <a:cubicBezTo>
                      <a:pt x="523" y="419"/>
                      <a:pt x="523" y="419"/>
                      <a:pt x="523" y="419"/>
                    </a:cubicBezTo>
                    <a:cubicBezTo>
                      <a:pt x="523" y="415"/>
                      <a:pt x="523" y="415"/>
                      <a:pt x="523" y="415"/>
                    </a:cubicBezTo>
                    <a:cubicBezTo>
                      <a:pt x="526" y="416"/>
                      <a:pt x="526" y="416"/>
                      <a:pt x="526" y="416"/>
                    </a:cubicBezTo>
                    <a:cubicBezTo>
                      <a:pt x="530" y="413"/>
                      <a:pt x="530" y="413"/>
                      <a:pt x="530" y="413"/>
                    </a:cubicBezTo>
                    <a:cubicBezTo>
                      <a:pt x="535" y="411"/>
                      <a:pt x="535" y="411"/>
                      <a:pt x="535" y="411"/>
                    </a:cubicBezTo>
                    <a:cubicBezTo>
                      <a:pt x="535" y="408"/>
                      <a:pt x="535" y="408"/>
                      <a:pt x="535" y="408"/>
                    </a:cubicBezTo>
                    <a:cubicBezTo>
                      <a:pt x="537" y="408"/>
                      <a:pt x="537" y="408"/>
                      <a:pt x="537" y="408"/>
                    </a:cubicBezTo>
                    <a:cubicBezTo>
                      <a:pt x="541" y="405"/>
                      <a:pt x="541" y="405"/>
                      <a:pt x="541" y="405"/>
                    </a:cubicBezTo>
                    <a:cubicBezTo>
                      <a:pt x="544" y="404"/>
                      <a:pt x="544" y="404"/>
                      <a:pt x="544" y="404"/>
                    </a:cubicBezTo>
                    <a:cubicBezTo>
                      <a:pt x="546" y="399"/>
                      <a:pt x="546" y="399"/>
                      <a:pt x="546" y="399"/>
                    </a:cubicBezTo>
                    <a:cubicBezTo>
                      <a:pt x="553" y="397"/>
                      <a:pt x="553" y="397"/>
                      <a:pt x="553" y="397"/>
                    </a:cubicBezTo>
                    <a:cubicBezTo>
                      <a:pt x="554" y="396"/>
                      <a:pt x="554" y="396"/>
                      <a:pt x="554" y="396"/>
                    </a:cubicBezTo>
                    <a:cubicBezTo>
                      <a:pt x="556" y="394"/>
                      <a:pt x="556" y="394"/>
                      <a:pt x="556" y="394"/>
                    </a:cubicBezTo>
                    <a:cubicBezTo>
                      <a:pt x="559" y="390"/>
                      <a:pt x="559" y="390"/>
                      <a:pt x="559" y="390"/>
                    </a:cubicBezTo>
                    <a:cubicBezTo>
                      <a:pt x="560" y="383"/>
                      <a:pt x="560" y="383"/>
                      <a:pt x="560" y="383"/>
                    </a:cubicBezTo>
                    <a:cubicBezTo>
                      <a:pt x="561" y="386"/>
                      <a:pt x="561" y="386"/>
                      <a:pt x="561" y="386"/>
                    </a:cubicBezTo>
                    <a:cubicBezTo>
                      <a:pt x="572" y="387"/>
                      <a:pt x="572" y="387"/>
                      <a:pt x="572" y="387"/>
                    </a:cubicBezTo>
                    <a:cubicBezTo>
                      <a:pt x="572" y="382"/>
                      <a:pt x="572" y="382"/>
                      <a:pt x="572" y="382"/>
                    </a:cubicBezTo>
                    <a:cubicBezTo>
                      <a:pt x="570" y="377"/>
                      <a:pt x="570" y="377"/>
                      <a:pt x="570" y="377"/>
                    </a:cubicBezTo>
                    <a:cubicBezTo>
                      <a:pt x="570" y="374"/>
                      <a:pt x="570" y="374"/>
                      <a:pt x="570" y="374"/>
                    </a:cubicBezTo>
                    <a:cubicBezTo>
                      <a:pt x="574" y="373"/>
                      <a:pt x="574" y="373"/>
                      <a:pt x="574" y="373"/>
                    </a:cubicBezTo>
                    <a:cubicBezTo>
                      <a:pt x="582" y="366"/>
                      <a:pt x="582" y="366"/>
                      <a:pt x="582" y="366"/>
                    </a:cubicBezTo>
                    <a:cubicBezTo>
                      <a:pt x="586" y="361"/>
                      <a:pt x="586" y="361"/>
                      <a:pt x="586" y="361"/>
                    </a:cubicBezTo>
                    <a:cubicBezTo>
                      <a:pt x="594" y="359"/>
                      <a:pt x="594" y="359"/>
                      <a:pt x="594" y="359"/>
                    </a:cubicBezTo>
                    <a:cubicBezTo>
                      <a:pt x="595" y="355"/>
                      <a:pt x="595" y="355"/>
                      <a:pt x="595" y="355"/>
                    </a:cubicBezTo>
                    <a:cubicBezTo>
                      <a:pt x="600" y="350"/>
                      <a:pt x="600" y="350"/>
                      <a:pt x="600" y="350"/>
                    </a:cubicBezTo>
                    <a:cubicBezTo>
                      <a:pt x="605" y="350"/>
                      <a:pt x="605" y="350"/>
                      <a:pt x="605" y="350"/>
                    </a:cubicBezTo>
                    <a:cubicBezTo>
                      <a:pt x="607" y="347"/>
                      <a:pt x="607" y="347"/>
                      <a:pt x="607" y="347"/>
                    </a:cubicBezTo>
                    <a:cubicBezTo>
                      <a:pt x="605" y="344"/>
                      <a:pt x="605" y="344"/>
                      <a:pt x="605" y="344"/>
                    </a:cubicBezTo>
                    <a:cubicBezTo>
                      <a:pt x="606" y="336"/>
                      <a:pt x="606" y="336"/>
                      <a:pt x="606" y="336"/>
                    </a:cubicBezTo>
                    <a:cubicBezTo>
                      <a:pt x="606" y="331"/>
                      <a:pt x="606" y="331"/>
                      <a:pt x="606" y="331"/>
                    </a:cubicBezTo>
                    <a:cubicBezTo>
                      <a:pt x="608" y="328"/>
                      <a:pt x="608" y="328"/>
                      <a:pt x="608" y="328"/>
                    </a:cubicBezTo>
                    <a:cubicBezTo>
                      <a:pt x="606" y="326"/>
                      <a:pt x="606" y="326"/>
                      <a:pt x="606" y="326"/>
                    </a:cubicBezTo>
                    <a:cubicBezTo>
                      <a:pt x="607" y="323"/>
                      <a:pt x="607" y="323"/>
                      <a:pt x="607" y="323"/>
                    </a:cubicBezTo>
                    <a:cubicBezTo>
                      <a:pt x="613" y="321"/>
                      <a:pt x="613" y="321"/>
                      <a:pt x="613" y="321"/>
                    </a:cubicBezTo>
                    <a:cubicBezTo>
                      <a:pt x="616" y="322"/>
                      <a:pt x="616" y="322"/>
                      <a:pt x="616" y="322"/>
                    </a:cubicBezTo>
                    <a:cubicBezTo>
                      <a:pt x="628" y="321"/>
                      <a:pt x="628" y="321"/>
                      <a:pt x="628" y="321"/>
                    </a:cubicBezTo>
                    <a:cubicBezTo>
                      <a:pt x="631" y="323"/>
                      <a:pt x="631" y="323"/>
                      <a:pt x="631" y="323"/>
                    </a:cubicBezTo>
                    <a:cubicBezTo>
                      <a:pt x="643" y="323"/>
                      <a:pt x="643" y="323"/>
                      <a:pt x="643" y="323"/>
                    </a:cubicBezTo>
                    <a:cubicBezTo>
                      <a:pt x="652" y="319"/>
                      <a:pt x="652" y="319"/>
                      <a:pt x="652" y="319"/>
                    </a:cubicBezTo>
                    <a:cubicBezTo>
                      <a:pt x="663" y="322"/>
                      <a:pt x="663" y="322"/>
                      <a:pt x="663" y="322"/>
                    </a:cubicBezTo>
                    <a:cubicBezTo>
                      <a:pt x="662" y="326"/>
                      <a:pt x="662" y="326"/>
                      <a:pt x="662" y="326"/>
                    </a:cubicBezTo>
                    <a:cubicBezTo>
                      <a:pt x="664" y="328"/>
                      <a:pt x="664" y="328"/>
                      <a:pt x="664" y="328"/>
                    </a:cubicBezTo>
                    <a:cubicBezTo>
                      <a:pt x="667" y="332"/>
                      <a:pt x="667" y="332"/>
                      <a:pt x="667" y="332"/>
                    </a:cubicBezTo>
                    <a:cubicBezTo>
                      <a:pt x="677" y="337"/>
                      <a:pt x="677" y="337"/>
                      <a:pt x="677" y="337"/>
                    </a:cubicBezTo>
                    <a:cubicBezTo>
                      <a:pt x="677" y="340"/>
                      <a:pt x="677" y="340"/>
                      <a:pt x="677" y="340"/>
                    </a:cubicBezTo>
                    <a:cubicBezTo>
                      <a:pt x="675" y="343"/>
                      <a:pt x="675" y="343"/>
                      <a:pt x="675" y="343"/>
                    </a:cubicBezTo>
                    <a:cubicBezTo>
                      <a:pt x="678" y="342"/>
                      <a:pt x="678" y="342"/>
                      <a:pt x="678" y="342"/>
                    </a:cubicBezTo>
                    <a:cubicBezTo>
                      <a:pt x="681" y="341"/>
                      <a:pt x="681" y="341"/>
                      <a:pt x="681" y="341"/>
                    </a:cubicBezTo>
                    <a:cubicBezTo>
                      <a:pt x="685" y="343"/>
                      <a:pt x="685" y="343"/>
                      <a:pt x="685" y="343"/>
                    </a:cubicBezTo>
                    <a:cubicBezTo>
                      <a:pt x="684" y="348"/>
                      <a:pt x="684" y="348"/>
                      <a:pt x="684" y="348"/>
                    </a:cubicBezTo>
                    <a:cubicBezTo>
                      <a:pt x="678" y="353"/>
                      <a:pt x="678" y="353"/>
                      <a:pt x="678" y="353"/>
                    </a:cubicBezTo>
                    <a:cubicBezTo>
                      <a:pt x="679" y="355"/>
                      <a:pt x="679" y="355"/>
                      <a:pt x="679" y="355"/>
                    </a:cubicBezTo>
                    <a:cubicBezTo>
                      <a:pt x="686" y="350"/>
                      <a:pt x="686" y="350"/>
                      <a:pt x="686" y="350"/>
                    </a:cubicBezTo>
                    <a:cubicBezTo>
                      <a:pt x="686" y="346"/>
                      <a:pt x="686" y="346"/>
                      <a:pt x="686" y="346"/>
                    </a:cubicBezTo>
                    <a:cubicBezTo>
                      <a:pt x="689" y="344"/>
                      <a:pt x="689" y="344"/>
                      <a:pt x="689" y="344"/>
                    </a:cubicBezTo>
                    <a:cubicBezTo>
                      <a:pt x="694" y="344"/>
                      <a:pt x="694" y="344"/>
                      <a:pt x="694" y="344"/>
                    </a:cubicBezTo>
                    <a:cubicBezTo>
                      <a:pt x="699" y="343"/>
                      <a:pt x="699" y="343"/>
                      <a:pt x="699" y="343"/>
                    </a:cubicBezTo>
                    <a:cubicBezTo>
                      <a:pt x="701" y="343"/>
                      <a:pt x="701" y="343"/>
                      <a:pt x="701" y="343"/>
                    </a:cubicBezTo>
                    <a:cubicBezTo>
                      <a:pt x="703" y="347"/>
                      <a:pt x="703" y="347"/>
                      <a:pt x="703" y="347"/>
                    </a:cubicBezTo>
                    <a:cubicBezTo>
                      <a:pt x="710" y="354"/>
                      <a:pt x="710" y="354"/>
                      <a:pt x="710" y="354"/>
                    </a:cubicBezTo>
                    <a:cubicBezTo>
                      <a:pt x="711" y="363"/>
                      <a:pt x="711" y="363"/>
                      <a:pt x="711" y="363"/>
                    </a:cubicBezTo>
                    <a:cubicBezTo>
                      <a:pt x="709" y="367"/>
                      <a:pt x="709" y="367"/>
                      <a:pt x="709" y="367"/>
                    </a:cubicBezTo>
                    <a:cubicBezTo>
                      <a:pt x="712" y="373"/>
                      <a:pt x="712" y="373"/>
                      <a:pt x="712" y="373"/>
                    </a:cubicBezTo>
                    <a:cubicBezTo>
                      <a:pt x="711" y="378"/>
                      <a:pt x="711" y="378"/>
                      <a:pt x="711" y="378"/>
                    </a:cubicBezTo>
                    <a:cubicBezTo>
                      <a:pt x="710" y="380"/>
                      <a:pt x="710" y="380"/>
                      <a:pt x="710" y="380"/>
                    </a:cubicBezTo>
                    <a:cubicBezTo>
                      <a:pt x="712" y="382"/>
                      <a:pt x="712" y="382"/>
                      <a:pt x="712" y="382"/>
                    </a:cubicBezTo>
                    <a:cubicBezTo>
                      <a:pt x="712" y="386"/>
                      <a:pt x="712" y="386"/>
                      <a:pt x="712" y="386"/>
                    </a:cubicBezTo>
                    <a:cubicBezTo>
                      <a:pt x="713" y="390"/>
                      <a:pt x="713" y="390"/>
                      <a:pt x="713" y="390"/>
                    </a:cubicBezTo>
                    <a:cubicBezTo>
                      <a:pt x="710" y="394"/>
                      <a:pt x="710" y="394"/>
                      <a:pt x="710" y="394"/>
                    </a:cubicBezTo>
                    <a:cubicBezTo>
                      <a:pt x="702" y="396"/>
                      <a:pt x="702" y="396"/>
                      <a:pt x="702" y="396"/>
                    </a:cubicBezTo>
                    <a:cubicBezTo>
                      <a:pt x="700" y="397"/>
                      <a:pt x="700" y="397"/>
                      <a:pt x="700" y="397"/>
                    </a:cubicBezTo>
                    <a:cubicBezTo>
                      <a:pt x="691" y="398"/>
                      <a:pt x="691" y="398"/>
                      <a:pt x="691" y="398"/>
                    </a:cubicBezTo>
                    <a:cubicBezTo>
                      <a:pt x="686" y="398"/>
                      <a:pt x="686" y="398"/>
                      <a:pt x="686" y="398"/>
                    </a:cubicBezTo>
                    <a:cubicBezTo>
                      <a:pt x="675" y="402"/>
                      <a:pt x="675" y="402"/>
                      <a:pt x="675" y="402"/>
                    </a:cubicBezTo>
                    <a:cubicBezTo>
                      <a:pt x="668" y="403"/>
                      <a:pt x="668" y="403"/>
                      <a:pt x="668" y="403"/>
                    </a:cubicBezTo>
                    <a:cubicBezTo>
                      <a:pt x="660" y="407"/>
                      <a:pt x="660" y="407"/>
                      <a:pt x="660" y="407"/>
                    </a:cubicBezTo>
                    <a:cubicBezTo>
                      <a:pt x="657" y="407"/>
                      <a:pt x="657" y="407"/>
                      <a:pt x="657" y="407"/>
                    </a:cubicBezTo>
                    <a:cubicBezTo>
                      <a:pt x="652" y="409"/>
                      <a:pt x="652" y="409"/>
                      <a:pt x="652" y="409"/>
                    </a:cubicBezTo>
                    <a:cubicBezTo>
                      <a:pt x="646" y="410"/>
                      <a:pt x="646" y="410"/>
                      <a:pt x="646" y="410"/>
                    </a:cubicBezTo>
                    <a:cubicBezTo>
                      <a:pt x="643" y="411"/>
                      <a:pt x="643" y="411"/>
                      <a:pt x="643" y="411"/>
                    </a:cubicBezTo>
                    <a:cubicBezTo>
                      <a:pt x="641" y="409"/>
                      <a:pt x="641" y="409"/>
                      <a:pt x="641" y="409"/>
                    </a:cubicBezTo>
                    <a:cubicBezTo>
                      <a:pt x="639" y="411"/>
                      <a:pt x="639" y="411"/>
                      <a:pt x="639" y="411"/>
                    </a:cubicBezTo>
                    <a:cubicBezTo>
                      <a:pt x="632" y="412"/>
                      <a:pt x="632" y="412"/>
                      <a:pt x="632" y="412"/>
                    </a:cubicBezTo>
                    <a:cubicBezTo>
                      <a:pt x="631" y="417"/>
                      <a:pt x="631" y="417"/>
                      <a:pt x="631" y="417"/>
                    </a:cubicBezTo>
                    <a:cubicBezTo>
                      <a:pt x="627" y="420"/>
                      <a:pt x="627" y="420"/>
                      <a:pt x="627" y="420"/>
                    </a:cubicBezTo>
                    <a:cubicBezTo>
                      <a:pt x="625" y="420"/>
                      <a:pt x="625" y="420"/>
                      <a:pt x="625" y="420"/>
                    </a:cubicBezTo>
                    <a:cubicBezTo>
                      <a:pt x="624" y="426"/>
                      <a:pt x="624" y="426"/>
                      <a:pt x="624" y="426"/>
                    </a:cubicBezTo>
                    <a:cubicBezTo>
                      <a:pt x="619" y="427"/>
                      <a:pt x="619" y="427"/>
                      <a:pt x="619" y="427"/>
                    </a:cubicBezTo>
                    <a:cubicBezTo>
                      <a:pt x="614" y="430"/>
                      <a:pt x="614" y="430"/>
                      <a:pt x="614" y="430"/>
                    </a:cubicBezTo>
                    <a:cubicBezTo>
                      <a:pt x="609" y="430"/>
                      <a:pt x="609" y="430"/>
                      <a:pt x="609" y="430"/>
                    </a:cubicBezTo>
                    <a:cubicBezTo>
                      <a:pt x="606" y="425"/>
                      <a:pt x="606" y="425"/>
                      <a:pt x="606" y="425"/>
                    </a:cubicBezTo>
                    <a:cubicBezTo>
                      <a:pt x="604" y="430"/>
                      <a:pt x="604" y="430"/>
                      <a:pt x="604" y="430"/>
                    </a:cubicBezTo>
                    <a:cubicBezTo>
                      <a:pt x="603" y="434"/>
                      <a:pt x="603" y="434"/>
                      <a:pt x="603" y="434"/>
                    </a:cubicBezTo>
                    <a:cubicBezTo>
                      <a:pt x="599" y="435"/>
                      <a:pt x="599" y="435"/>
                      <a:pt x="599" y="435"/>
                    </a:cubicBezTo>
                    <a:cubicBezTo>
                      <a:pt x="594" y="440"/>
                      <a:pt x="594" y="440"/>
                      <a:pt x="594" y="440"/>
                    </a:cubicBezTo>
                    <a:cubicBezTo>
                      <a:pt x="593" y="443"/>
                      <a:pt x="593" y="443"/>
                      <a:pt x="593" y="443"/>
                    </a:cubicBezTo>
                    <a:cubicBezTo>
                      <a:pt x="588" y="448"/>
                      <a:pt x="588" y="448"/>
                      <a:pt x="588" y="448"/>
                    </a:cubicBezTo>
                    <a:cubicBezTo>
                      <a:pt x="589" y="450"/>
                      <a:pt x="589" y="450"/>
                      <a:pt x="589" y="450"/>
                    </a:cubicBezTo>
                    <a:cubicBezTo>
                      <a:pt x="583" y="455"/>
                      <a:pt x="583" y="455"/>
                      <a:pt x="583" y="455"/>
                    </a:cubicBezTo>
                    <a:cubicBezTo>
                      <a:pt x="580" y="459"/>
                      <a:pt x="580" y="459"/>
                      <a:pt x="580" y="459"/>
                    </a:cubicBezTo>
                    <a:cubicBezTo>
                      <a:pt x="574" y="459"/>
                      <a:pt x="574" y="459"/>
                      <a:pt x="574" y="459"/>
                    </a:cubicBezTo>
                    <a:cubicBezTo>
                      <a:pt x="569" y="461"/>
                      <a:pt x="569" y="461"/>
                      <a:pt x="569" y="461"/>
                    </a:cubicBezTo>
                    <a:cubicBezTo>
                      <a:pt x="566" y="461"/>
                      <a:pt x="566" y="461"/>
                      <a:pt x="566" y="461"/>
                    </a:cubicBezTo>
                    <a:cubicBezTo>
                      <a:pt x="564" y="458"/>
                      <a:pt x="564" y="458"/>
                      <a:pt x="564" y="458"/>
                    </a:cubicBezTo>
                    <a:cubicBezTo>
                      <a:pt x="567" y="456"/>
                      <a:pt x="567" y="456"/>
                      <a:pt x="567" y="456"/>
                    </a:cubicBezTo>
                    <a:cubicBezTo>
                      <a:pt x="567" y="451"/>
                      <a:pt x="567" y="451"/>
                      <a:pt x="567" y="451"/>
                    </a:cubicBezTo>
                    <a:cubicBezTo>
                      <a:pt x="565" y="449"/>
                      <a:pt x="565" y="449"/>
                      <a:pt x="565" y="449"/>
                    </a:cubicBezTo>
                    <a:cubicBezTo>
                      <a:pt x="561" y="452"/>
                      <a:pt x="561" y="452"/>
                      <a:pt x="561" y="452"/>
                    </a:cubicBezTo>
                    <a:cubicBezTo>
                      <a:pt x="561" y="453"/>
                      <a:pt x="561" y="453"/>
                      <a:pt x="561" y="453"/>
                    </a:cubicBezTo>
                    <a:cubicBezTo>
                      <a:pt x="559" y="454"/>
                      <a:pt x="559" y="454"/>
                      <a:pt x="559" y="454"/>
                    </a:cubicBezTo>
                    <a:cubicBezTo>
                      <a:pt x="553" y="459"/>
                      <a:pt x="553" y="459"/>
                      <a:pt x="553" y="459"/>
                    </a:cubicBezTo>
                    <a:cubicBezTo>
                      <a:pt x="549" y="461"/>
                      <a:pt x="549" y="461"/>
                      <a:pt x="549" y="461"/>
                    </a:cubicBezTo>
                    <a:cubicBezTo>
                      <a:pt x="545" y="460"/>
                      <a:pt x="545" y="460"/>
                      <a:pt x="545" y="460"/>
                    </a:cubicBezTo>
                    <a:cubicBezTo>
                      <a:pt x="541" y="461"/>
                      <a:pt x="541" y="461"/>
                      <a:pt x="541" y="461"/>
                    </a:cubicBezTo>
                    <a:cubicBezTo>
                      <a:pt x="538" y="464"/>
                      <a:pt x="538" y="464"/>
                      <a:pt x="538" y="464"/>
                    </a:cubicBezTo>
                    <a:cubicBezTo>
                      <a:pt x="536" y="463"/>
                      <a:pt x="536" y="463"/>
                      <a:pt x="536" y="463"/>
                    </a:cubicBezTo>
                    <a:cubicBezTo>
                      <a:pt x="533" y="463"/>
                      <a:pt x="533" y="463"/>
                      <a:pt x="533" y="463"/>
                    </a:cubicBezTo>
                    <a:cubicBezTo>
                      <a:pt x="534" y="461"/>
                      <a:pt x="534" y="461"/>
                      <a:pt x="534" y="461"/>
                    </a:cubicBezTo>
                    <a:close/>
                    <a:moveTo>
                      <a:pt x="1023" y="406"/>
                    </a:moveTo>
                    <a:cubicBezTo>
                      <a:pt x="1024" y="407"/>
                      <a:pt x="1024" y="407"/>
                      <a:pt x="1024" y="407"/>
                    </a:cubicBezTo>
                    <a:cubicBezTo>
                      <a:pt x="1026" y="409"/>
                      <a:pt x="1026" y="409"/>
                      <a:pt x="1026" y="409"/>
                    </a:cubicBezTo>
                    <a:cubicBezTo>
                      <a:pt x="1025" y="413"/>
                      <a:pt x="1025" y="413"/>
                      <a:pt x="1025" y="413"/>
                    </a:cubicBezTo>
                    <a:cubicBezTo>
                      <a:pt x="1023" y="414"/>
                      <a:pt x="1023" y="414"/>
                      <a:pt x="1023" y="414"/>
                    </a:cubicBezTo>
                    <a:cubicBezTo>
                      <a:pt x="1022" y="412"/>
                      <a:pt x="1022" y="412"/>
                      <a:pt x="1022" y="412"/>
                    </a:cubicBezTo>
                    <a:cubicBezTo>
                      <a:pt x="1021" y="408"/>
                      <a:pt x="1021" y="408"/>
                      <a:pt x="1021" y="408"/>
                    </a:cubicBezTo>
                    <a:cubicBezTo>
                      <a:pt x="1023" y="406"/>
                      <a:pt x="1023" y="406"/>
                      <a:pt x="1023" y="406"/>
                    </a:cubicBezTo>
                    <a:close/>
                    <a:moveTo>
                      <a:pt x="985" y="406"/>
                    </a:moveTo>
                    <a:cubicBezTo>
                      <a:pt x="987" y="402"/>
                      <a:pt x="987" y="402"/>
                      <a:pt x="987" y="402"/>
                    </a:cubicBezTo>
                    <a:cubicBezTo>
                      <a:pt x="992" y="401"/>
                      <a:pt x="992" y="401"/>
                      <a:pt x="992" y="401"/>
                    </a:cubicBezTo>
                    <a:cubicBezTo>
                      <a:pt x="995" y="403"/>
                      <a:pt x="995" y="403"/>
                      <a:pt x="995" y="403"/>
                    </a:cubicBezTo>
                    <a:cubicBezTo>
                      <a:pt x="993" y="405"/>
                      <a:pt x="993" y="405"/>
                      <a:pt x="993" y="405"/>
                    </a:cubicBezTo>
                    <a:cubicBezTo>
                      <a:pt x="991" y="405"/>
                      <a:pt x="991" y="405"/>
                      <a:pt x="991" y="405"/>
                    </a:cubicBezTo>
                    <a:cubicBezTo>
                      <a:pt x="988" y="407"/>
                      <a:pt x="988" y="407"/>
                      <a:pt x="988" y="407"/>
                    </a:cubicBezTo>
                    <a:cubicBezTo>
                      <a:pt x="985" y="406"/>
                      <a:pt x="985" y="406"/>
                      <a:pt x="985" y="406"/>
                    </a:cubicBezTo>
                    <a:close/>
                    <a:moveTo>
                      <a:pt x="949" y="427"/>
                    </a:moveTo>
                    <a:cubicBezTo>
                      <a:pt x="950" y="429"/>
                      <a:pt x="950" y="429"/>
                      <a:pt x="950" y="429"/>
                    </a:cubicBezTo>
                    <a:cubicBezTo>
                      <a:pt x="955" y="430"/>
                      <a:pt x="955" y="430"/>
                      <a:pt x="955" y="430"/>
                    </a:cubicBezTo>
                    <a:cubicBezTo>
                      <a:pt x="960" y="434"/>
                      <a:pt x="960" y="434"/>
                      <a:pt x="960" y="434"/>
                    </a:cubicBezTo>
                    <a:cubicBezTo>
                      <a:pt x="961" y="432"/>
                      <a:pt x="961" y="432"/>
                      <a:pt x="961" y="432"/>
                    </a:cubicBezTo>
                    <a:cubicBezTo>
                      <a:pt x="965" y="433"/>
                      <a:pt x="965" y="433"/>
                      <a:pt x="965" y="433"/>
                    </a:cubicBezTo>
                    <a:cubicBezTo>
                      <a:pt x="970" y="431"/>
                      <a:pt x="970" y="431"/>
                      <a:pt x="970" y="431"/>
                    </a:cubicBezTo>
                    <a:cubicBezTo>
                      <a:pt x="972" y="432"/>
                      <a:pt x="972" y="432"/>
                      <a:pt x="972" y="432"/>
                    </a:cubicBezTo>
                    <a:cubicBezTo>
                      <a:pt x="975" y="431"/>
                      <a:pt x="975" y="431"/>
                      <a:pt x="975" y="431"/>
                    </a:cubicBezTo>
                    <a:cubicBezTo>
                      <a:pt x="978" y="429"/>
                      <a:pt x="978" y="429"/>
                      <a:pt x="978" y="429"/>
                    </a:cubicBezTo>
                    <a:cubicBezTo>
                      <a:pt x="983" y="429"/>
                      <a:pt x="983" y="429"/>
                      <a:pt x="983" y="429"/>
                    </a:cubicBezTo>
                    <a:cubicBezTo>
                      <a:pt x="982" y="426"/>
                      <a:pt x="982" y="426"/>
                      <a:pt x="982" y="426"/>
                    </a:cubicBezTo>
                    <a:cubicBezTo>
                      <a:pt x="977" y="423"/>
                      <a:pt x="977" y="423"/>
                      <a:pt x="977" y="423"/>
                    </a:cubicBezTo>
                    <a:cubicBezTo>
                      <a:pt x="973" y="425"/>
                      <a:pt x="973" y="425"/>
                      <a:pt x="973" y="425"/>
                    </a:cubicBezTo>
                    <a:cubicBezTo>
                      <a:pt x="969" y="425"/>
                      <a:pt x="969" y="425"/>
                      <a:pt x="969" y="425"/>
                    </a:cubicBezTo>
                    <a:cubicBezTo>
                      <a:pt x="967" y="424"/>
                      <a:pt x="967" y="424"/>
                      <a:pt x="967" y="424"/>
                    </a:cubicBezTo>
                    <a:cubicBezTo>
                      <a:pt x="963" y="426"/>
                      <a:pt x="963" y="426"/>
                      <a:pt x="963" y="426"/>
                    </a:cubicBezTo>
                    <a:cubicBezTo>
                      <a:pt x="958" y="424"/>
                      <a:pt x="958" y="424"/>
                      <a:pt x="958" y="424"/>
                    </a:cubicBezTo>
                    <a:cubicBezTo>
                      <a:pt x="954" y="427"/>
                      <a:pt x="954" y="427"/>
                      <a:pt x="954" y="427"/>
                    </a:cubicBezTo>
                    <a:cubicBezTo>
                      <a:pt x="950" y="426"/>
                      <a:pt x="950" y="426"/>
                      <a:pt x="950" y="426"/>
                    </a:cubicBezTo>
                    <a:cubicBezTo>
                      <a:pt x="949" y="427"/>
                      <a:pt x="949" y="427"/>
                      <a:pt x="949" y="427"/>
                    </a:cubicBezTo>
                    <a:close/>
                    <a:moveTo>
                      <a:pt x="927" y="556"/>
                    </a:moveTo>
                    <a:cubicBezTo>
                      <a:pt x="926" y="555"/>
                      <a:pt x="926" y="555"/>
                      <a:pt x="926" y="555"/>
                    </a:cubicBezTo>
                    <a:cubicBezTo>
                      <a:pt x="927" y="553"/>
                      <a:pt x="927" y="553"/>
                      <a:pt x="927" y="553"/>
                    </a:cubicBezTo>
                    <a:cubicBezTo>
                      <a:pt x="928" y="552"/>
                      <a:pt x="928" y="552"/>
                      <a:pt x="928" y="552"/>
                    </a:cubicBezTo>
                    <a:cubicBezTo>
                      <a:pt x="928" y="555"/>
                      <a:pt x="928" y="555"/>
                      <a:pt x="928" y="555"/>
                    </a:cubicBezTo>
                    <a:cubicBezTo>
                      <a:pt x="927" y="556"/>
                      <a:pt x="927" y="556"/>
                      <a:pt x="927" y="556"/>
                    </a:cubicBezTo>
                    <a:close/>
                    <a:moveTo>
                      <a:pt x="904" y="552"/>
                    </a:moveTo>
                    <a:cubicBezTo>
                      <a:pt x="902" y="551"/>
                      <a:pt x="902" y="551"/>
                      <a:pt x="902" y="551"/>
                    </a:cubicBezTo>
                    <a:cubicBezTo>
                      <a:pt x="902" y="546"/>
                      <a:pt x="902" y="546"/>
                      <a:pt x="902" y="546"/>
                    </a:cubicBezTo>
                    <a:cubicBezTo>
                      <a:pt x="900" y="545"/>
                      <a:pt x="900" y="545"/>
                      <a:pt x="900" y="545"/>
                    </a:cubicBezTo>
                    <a:cubicBezTo>
                      <a:pt x="898" y="547"/>
                      <a:pt x="898" y="547"/>
                      <a:pt x="898" y="547"/>
                    </a:cubicBezTo>
                    <a:cubicBezTo>
                      <a:pt x="897" y="545"/>
                      <a:pt x="897" y="545"/>
                      <a:pt x="897" y="545"/>
                    </a:cubicBezTo>
                    <a:cubicBezTo>
                      <a:pt x="898" y="541"/>
                      <a:pt x="898" y="541"/>
                      <a:pt x="898" y="541"/>
                    </a:cubicBezTo>
                    <a:cubicBezTo>
                      <a:pt x="897" y="537"/>
                      <a:pt x="897" y="537"/>
                      <a:pt x="897" y="537"/>
                    </a:cubicBezTo>
                    <a:cubicBezTo>
                      <a:pt x="894" y="535"/>
                      <a:pt x="894" y="535"/>
                      <a:pt x="894" y="535"/>
                    </a:cubicBezTo>
                    <a:cubicBezTo>
                      <a:pt x="897" y="530"/>
                      <a:pt x="897" y="530"/>
                      <a:pt x="897" y="530"/>
                    </a:cubicBezTo>
                    <a:cubicBezTo>
                      <a:pt x="896" y="525"/>
                      <a:pt x="896" y="525"/>
                      <a:pt x="896" y="525"/>
                    </a:cubicBezTo>
                    <a:cubicBezTo>
                      <a:pt x="897" y="523"/>
                      <a:pt x="897" y="523"/>
                      <a:pt x="897" y="523"/>
                    </a:cubicBezTo>
                    <a:cubicBezTo>
                      <a:pt x="894" y="522"/>
                      <a:pt x="894" y="522"/>
                      <a:pt x="894" y="522"/>
                    </a:cubicBezTo>
                    <a:cubicBezTo>
                      <a:pt x="893" y="518"/>
                      <a:pt x="893" y="518"/>
                      <a:pt x="893" y="518"/>
                    </a:cubicBezTo>
                    <a:cubicBezTo>
                      <a:pt x="893" y="515"/>
                      <a:pt x="893" y="515"/>
                      <a:pt x="893" y="515"/>
                    </a:cubicBezTo>
                    <a:cubicBezTo>
                      <a:pt x="889" y="511"/>
                      <a:pt x="889" y="511"/>
                      <a:pt x="889" y="511"/>
                    </a:cubicBezTo>
                    <a:cubicBezTo>
                      <a:pt x="890" y="506"/>
                      <a:pt x="890" y="506"/>
                      <a:pt x="890" y="506"/>
                    </a:cubicBezTo>
                    <a:cubicBezTo>
                      <a:pt x="887" y="501"/>
                      <a:pt x="887" y="501"/>
                      <a:pt x="887" y="501"/>
                    </a:cubicBezTo>
                    <a:cubicBezTo>
                      <a:pt x="885" y="501"/>
                      <a:pt x="885" y="501"/>
                      <a:pt x="885" y="501"/>
                    </a:cubicBezTo>
                    <a:cubicBezTo>
                      <a:pt x="884" y="500"/>
                      <a:pt x="884" y="500"/>
                      <a:pt x="884" y="500"/>
                    </a:cubicBezTo>
                    <a:cubicBezTo>
                      <a:pt x="884" y="495"/>
                      <a:pt x="884" y="495"/>
                      <a:pt x="884" y="495"/>
                    </a:cubicBezTo>
                    <a:cubicBezTo>
                      <a:pt x="882" y="494"/>
                      <a:pt x="882" y="494"/>
                      <a:pt x="882" y="494"/>
                    </a:cubicBezTo>
                    <a:cubicBezTo>
                      <a:pt x="879" y="496"/>
                      <a:pt x="879" y="496"/>
                      <a:pt x="879" y="496"/>
                    </a:cubicBezTo>
                    <a:cubicBezTo>
                      <a:pt x="878" y="495"/>
                      <a:pt x="878" y="495"/>
                      <a:pt x="878" y="495"/>
                    </a:cubicBezTo>
                    <a:cubicBezTo>
                      <a:pt x="875" y="495"/>
                      <a:pt x="875" y="495"/>
                      <a:pt x="875" y="495"/>
                    </a:cubicBezTo>
                    <a:cubicBezTo>
                      <a:pt x="873" y="493"/>
                      <a:pt x="873" y="493"/>
                      <a:pt x="873" y="493"/>
                    </a:cubicBezTo>
                    <a:cubicBezTo>
                      <a:pt x="873" y="489"/>
                      <a:pt x="873" y="489"/>
                      <a:pt x="873" y="489"/>
                    </a:cubicBezTo>
                    <a:cubicBezTo>
                      <a:pt x="877" y="487"/>
                      <a:pt x="877" y="487"/>
                      <a:pt x="877" y="487"/>
                    </a:cubicBezTo>
                    <a:cubicBezTo>
                      <a:pt x="878" y="482"/>
                      <a:pt x="878" y="482"/>
                      <a:pt x="878" y="482"/>
                    </a:cubicBezTo>
                    <a:cubicBezTo>
                      <a:pt x="876" y="480"/>
                      <a:pt x="876" y="480"/>
                      <a:pt x="876" y="480"/>
                    </a:cubicBezTo>
                    <a:cubicBezTo>
                      <a:pt x="877" y="478"/>
                      <a:pt x="877" y="478"/>
                      <a:pt x="877" y="478"/>
                    </a:cubicBezTo>
                    <a:cubicBezTo>
                      <a:pt x="877" y="471"/>
                      <a:pt x="877" y="471"/>
                      <a:pt x="877" y="471"/>
                    </a:cubicBezTo>
                    <a:cubicBezTo>
                      <a:pt x="875" y="469"/>
                      <a:pt x="875" y="469"/>
                      <a:pt x="875" y="469"/>
                    </a:cubicBezTo>
                    <a:cubicBezTo>
                      <a:pt x="880" y="463"/>
                      <a:pt x="880" y="463"/>
                      <a:pt x="880" y="463"/>
                    </a:cubicBezTo>
                    <a:cubicBezTo>
                      <a:pt x="884" y="462"/>
                      <a:pt x="884" y="462"/>
                      <a:pt x="884" y="462"/>
                    </a:cubicBezTo>
                    <a:cubicBezTo>
                      <a:pt x="885" y="459"/>
                      <a:pt x="885" y="459"/>
                      <a:pt x="885" y="459"/>
                    </a:cubicBezTo>
                    <a:cubicBezTo>
                      <a:pt x="887" y="459"/>
                      <a:pt x="887" y="459"/>
                      <a:pt x="887" y="459"/>
                    </a:cubicBezTo>
                    <a:cubicBezTo>
                      <a:pt x="888" y="461"/>
                      <a:pt x="888" y="461"/>
                      <a:pt x="888" y="461"/>
                    </a:cubicBezTo>
                    <a:cubicBezTo>
                      <a:pt x="894" y="459"/>
                      <a:pt x="894" y="459"/>
                      <a:pt x="894" y="459"/>
                    </a:cubicBezTo>
                    <a:cubicBezTo>
                      <a:pt x="897" y="460"/>
                      <a:pt x="897" y="460"/>
                      <a:pt x="897" y="460"/>
                    </a:cubicBezTo>
                    <a:cubicBezTo>
                      <a:pt x="899" y="462"/>
                      <a:pt x="899" y="462"/>
                      <a:pt x="899" y="462"/>
                    </a:cubicBezTo>
                    <a:cubicBezTo>
                      <a:pt x="897" y="464"/>
                      <a:pt x="897" y="464"/>
                      <a:pt x="897" y="464"/>
                    </a:cubicBezTo>
                    <a:cubicBezTo>
                      <a:pt x="896" y="464"/>
                      <a:pt x="896" y="464"/>
                      <a:pt x="896" y="464"/>
                    </a:cubicBezTo>
                    <a:cubicBezTo>
                      <a:pt x="896" y="466"/>
                      <a:pt x="896" y="466"/>
                      <a:pt x="896" y="466"/>
                    </a:cubicBezTo>
                    <a:cubicBezTo>
                      <a:pt x="899" y="467"/>
                      <a:pt x="899" y="467"/>
                      <a:pt x="899" y="467"/>
                    </a:cubicBezTo>
                    <a:cubicBezTo>
                      <a:pt x="899" y="469"/>
                      <a:pt x="899" y="469"/>
                      <a:pt x="899" y="469"/>
                    </a:cubicBezTo>
                    <a:cubicBezTo>
                      <a:pt x="899" y="472"/>
                      <a:pt x="899" y="472"/>
                      <a:pt x="899" y="472"/>
                    </a:cubicBezTo>
                    <a:cubicBezTo>
                      <a:pt x="904" y="477"/>
                      <a:pt x="904" y="477"/>
                      <a:pt x="904" y="477"/>
                    </a:cubicBezTo>
                    <a:cubicBezTo>
                      <a:pt x="904" y="480"/>
                      <a:pt x="904" y="480"/>
                      <a:pt x="904" y="480"/>
                    </a:cubicBezTo>
                    <a:cubicBezTo>
                      <a:pt x="906" y="483"/>
                      <a:pt x="906" y="483"/>
                      <a:pt x="906" y="483"/>
                    </a:cubicBezTo>
                    <a:cubicBezTo>
                      <a:pt x="910" y="484"/>
                      <a:pt x="910" y="484"/>
                      <a:pt x="910" y="484"/>
                    </a:cubicBezTo>
                    <a:cubicBezTo>
                      <a:pt x="911" y="483"/>
                      <a:pt x="911" y="483"/>
                      <a:pt x="911" y="483"/>
                    </a:cubicBezTo>
                    <a:cubicBezTo>
                      <a:pt x="911" y="479"/>
                      <a:pt x="911" y="479"/>
                      <a:pt x="911" y="479"/>
                    </a:cubicBezTo>
                    <a:cubicBezTo>
                      <a:pt x="913" y="478"/>
                      <a:pt x="913" y="478"/>
                      <a:pt x="913" y="478"/>
                    </a:cubicBezTo>
                    <a:cubicBezTo>
                      <a:pt x="915" y="474"/>
                      <a:pt x="915" y="474"/>
                      <a:pt x="915" y="474"/>
                    </a:cubicBezTo>
                    <a:cubicBezTo>
                      <a:pt x="915" y="472"/>
                      <a:pt x="915" y="472"/>
                      <a:pt x="915" y="472"/>
                    </a:cubicBezTo>
                    <a:cubicBezTo>
                      <a:pt x="917" y="469"/>
                      <a:pt x="917" y="469"/>
                      <a:pt x="917" y="469"/>
                    </a:cubicBezTo>
                    <a:cubicBezTo>
                      <a:pt x="918" y="466"/>
                      <a:pt x="918" y="466"/>
                      <a:pt x="918" y="466"/>
                    </a:cubicBezTo>
                    <a:cubicBezTo>
                      <a:pt x="916" y="463"/>
                      <a:pt x="916" y="463"/>
                      <a:pt x="916" y="463"/>
                    </a:cubicBezTo>
                    <a:cubicBezTo>
                      <a:pt x="918" y="462"/>
                      <a:pt x="918" y="462"/>
                      <a:pt x="918" y="462"/>
                    </a:cubicBezTo>
                    <a:cubicBezTo>
                      <a:pt x="921" y="461"/>
                      <a:pt x="921" y="461"/>
                      <a:pt x="921" y="461"/>
                    </a:cubicBezTo>
                    <a:cubicBezTo>
                      <a:pt x="924" y="462"/>
                      <a:pt x="924" y="462"/>
                      <a:pt x="924" y="462"/>
                    </a:cubicBezTo>
                    <a:cubicBezTo>
                      <a:pt x="926" y="466"/>
                      <a:pt x="926" y="466"/>
                      <a:pt x="926" y="466"/>
                    </a:cubicBezTo>
                    <a:cubicBezTo>
                      <a:pt x="928" y="466"/>
                      <a:pt x="928" y="466"/>
                      <a:pt x="928" y="466"/>
                    </a:cubicBezTo>
                    <a:cubicBezTo>
                      <a:pt x="928" y="463"/>
                      <a:pt x="928" y="463"/>
                      <a:pt x="928" y="463"/>
                    </a:cubicBezTo>
                    <a:cubicBezTo>
                      <a:pt x="925" y="459"/>
                      <a:pt x="925" y="459"/>
                      <a:pt x="925" y="459"/>
                    </a:cubicBezTo>
                    <a:cubicBezTo>
                      <a:pt x="924" y="455"/>
                      <a:pt x="924" y="455"/>
                      <a:pt x="924" y="455"/>
                    </a:cubicBezTo>
                    <a:cubicBezTo>
                      <a:pt x="923" y="455"/>
                      <a:pt x="923" y="455"/>
                      <a:pt x="923" y="455"/>
                    </a:cubicBezTo>
                    <a:cubicBezTo>
                      <a:pt x="921" y="459"/>
                      <a:pt x="921" y="459"/>
                      <a:pt x="921" y="459"/>
                    </a:cubicBezTo>
                    <a:cubicBezTo>
                      <a:pt x="917" y="459"/>
                      <a:pt x="917" y="459"/>
                      <a:pt x="917" y="459"/>
                    </a:cubicBezTo>
                    <a:cubicBezTo>
                      <a:pt x="914" y="455"/>
                      <a:pt x="914" y="455"/>
                      <a:pt x="914" y="455"/>
                    </a:cubicBezTo>
                    <a:cubicBezTo>
                      <a:pt x="914" y="452"/>
                      <a:pt x="914" y="452"/>
                      <a:pt x="914" y="452"/>
                    </a:cubicBezTo>
                    <a:cubicBezTo>
                      <a:pt x="911" y="448"/>
                      <a:pt x="911" y="448"/>
                      <a:pt x="911" y="448"/>
                    </a:cubicBezTo>
                    <a:cubicBezTo>
                      <a:pt x="910" y="444"/>
                      <a:pt x="910" y="444"/>
                      <a:pt x="910" y="444"/>
                    </a:cubicBezTo>
                    <a:cubicBezTo>
                      <a:pt x="913" y="442"/>
                      <a:pt x="913" y="442"/>
                      <a:pt x="913" y="442"/>
                    </a:cubicBezTo>
                    <a:cubicBezTo>
                      <a:pt x="916" y="442"/>
                      <a:pt x="916" y="442"/>
                      <a:pt x="916" y="442"/>
                    </a:cubicBezTo>
                    <a:cubicBezTo>
                      <a:pt x="917" y="439"/>
                      <a:pt x="917" y="439"/>
                      <a:pt x="917" y="439"/>
                    </a:cubicBezTo>
                    <a:cubicBezTo>
                      <a:pt x="919" y="441"/>
                      <a:pt x="919" y="441"/>
                      <a:pt x="919" y="441"/>
                    </a:cubicBezTo>
                    <a:cubicBezTo>
                      <a:pt x="921" y="444"/>
                      <a:pt x="921" y="444"/>
                      <a:pt x="921" y="444"/>
                    </a:cubicBezTo>
                    <a:cubicBezTo>
                      <a:pt x="923" y="451"/>
                      <a:pt x="923" y="451"/>
                      <a:pt x="923" y="451"/>
                    </a:cubicBezTo>
                    <a:cubicBezTo>
                      <a:pt x="923" y="452"/>
                      <a:pt x="923" y="452"/>
                      <a:pt x="923" y="452"/>
                    </a:cubicBezTo>
                    <a:cubicBezTo>
                      <a:pt x="924" y="448"/>
                      <a:pt x="924" y="448"/>
                      <a:pt x="924" y="448"/>
                    </a:cubicBezTo>
                    <a:cubicBezTo>
                      <a:pt x="926" y="446"/>
                      <a:pt x="926" y="446"/>
                      <a:pt x="926" y="446"/>
                    </a:cubicBezTo>
                    <a:cubicBezTo>
                      <a:pt x="926" y="442"/>
                      <a:pt x="926" y="442"/>
                      <a:pt x="926" y="442"/>
                    </a:cubicBezTo>
                    <a:cubicBezTo>
                      <a:pt x="923" y="441"/>
                      <a:pt x="923" y="441"/>
                      <a:pt x="923" y="441"/>
                    </a:cubicBezTo>
                    <a:cubicBezTo>
                      <a:pt x="922" y="437"/>
                      <a:pt x="922" y="437"/>
                      <a:pt x="922" y="437"/>
                    </a:cubicBezTo>
                    <a:cubicBezTo>
                      <a:pt x="921" y="433"/>
                      <a:pt x="921" y="433"/>
                      <a:pt x="921" y="433"/>
                    </a:cubicBezTo>
                    <a:cubicBezTo>
                      <a:pt x="923" y="433"/>
                      <a:pt x="923" y="433"/>
                      <a:pt x="923" y="433"/>
                    </a:cubicBezTo>
                    <a:cubicBezTo>
                      <a:pt x="924" y="429"/>
                      <a:pt x="924" y="429"/>
                      <a:pt x="924" y="429"/>
                    </a:cubicBezTo>
                    <a:cubicBezTo>
                      <a:pt x="928" y="427"/>
                      <a:pt x="928" y="427"/>
                      <a:pt x="928" y="427"/>
                    </a:cubicBezTo>
                    <a:cubicBezTo>
                      <a:pt x="930" y="428"/>
                      <a:pt x="930" y="428"/>
                      <a:pt x="930" y="428"/>
                    </a:cubicBezTo>
                    <a:cubicBezTo>
                      <a:pt x="931" y="428"/>
                      <a:pt x="931" y="428"/>
                      <a:pt x="931" y="428"/>
                    </a:cubicBezTo>
                    <a:cubicBezTo>
                      <a:pt x="934" y="432"/>
                      <a:pt x="934" y="432"/>
                      <a:pt x="934" y="432"/>
                    </a:cubicBezTo>
                    <a:cubicBezTo>
                      <a:pt x="939" y="433"/>
                      <a:pt x="939" y="433"/>
                      <a:pt x="939" y="433"/>
                    </a:cubicBezTo>
                    <a:cubicBezTo>
                      <a:pt x="940" y="430"/>
                      <a:pt x="940" y="430"/>
                      <a:pt x="940" y="430"/>
                    </a:cubicBezTo>
                    <a:cubicBezTo>
                      <a:pt x="937" y="430"/>
                      <a:pt x="937" y="430"/>
                      <a:pt x="937" y="430"/>
                    </a:cubicBezTo>
                    <a:cubicBezTo>
                      <a:pt x="935" y="428"/>
                      <a:pt x="935" y="428"/>
                      <a:pt x="935" y="428"/>
                    </a:cubicBezTo>
                    <a:cubicBezTo>
                      <a:pt x="937" y="426"/>
                      <a:pt x="937" y="426"/>
                      <a:pt x="937" y="426"/>
                    </a:cubicBezTo>
                    <a:cubicBezTo>
                      <a:pt x="940" y="425"/>
                      <a:pt x="940" y="425"/>
                      <a:pt x="940" y="425"/>
                    </a:cubicBezTo>
                    <a:cubicBezTo>
                      <a:pt x="945" y="426"/>
                      <a:pt x="945" y="426"/>
                      <a:pt x="945" y="426"/>
                    </a:cubicBezTo>
                    <a:cubicBezTo>
                      <a:pt x="946" y="427"/>
                      <a:pt x="946" y="427"/>
                      <a:pt x="946" y="427"/>
                    </a:cubicBezTo>
                    <a:cubicBezTo>
                      <a:pt x="944" y="429"/>
                      <a:pt x="944" y="429"/>
                      <a:pt x="944" y="429"/>
                    </a:cubicBezTo>
                    <a:cubicBezTo>
                      <a:pt x="944" y="431"/>
                      <a:pt x="944" y="431"/>
                      <a:pt x="944" y="431"/>
                    </a:cubicBezTo>
                    <a:cubicBezTo>
                      <a:pt x="947" y="433"/>
                      <a:pt x="947" y="433"/>
                      <a:pt x="947" y="433"/>
                    </a:cubicBezTo>
                    <a:cubicBezTo>
                      <a:pt x="950" y="436"/>
                      <a:pt x="950" y="436"/>
                      <a:pt x="950" y="436"/>
                    </a:cubicBezTo>
                    <a:cubicBezTo>
                      <a:pt x="953" y="435"/>
                      <a:pt x="953" y="435"/>
                      <a:pt x="953" y="435"/>
                    </a:cubicBezTo>
                    <a:cubicBezTo>
                      <a:pt x="957" y="437"/>
                      <a:pt x="957" y="437"/>
                      <a:pt x="957" y="437"/>
                    </a:cubicBezTo>
                    <a:cubicBezTo>
                      <a:pt x="961" y="437"/>
                      <a:pt x="961" y="437"/>
                      <a:pt x="961" y="437"/>
                    </a:cubicBezTo>
                    <a:cubicBezTo>
                      <a:pt x="963" y="435"/>
                      <a:pt x="963" y="435"/>
                      <a:pt x="963" y="435"/>
                    </a:cubicBezTo>
                    <a:cubicBezTo>
                      <a:pt x="966" y="436"/>
                      <a:pt x="966" y="436"/>
                      <a:pt x="966" y="436"/>
                    </a:cubicBezTo>
                    <a:cubicBezTo>
                      <a:pt x="975" y="436"/>
                      <a:pt x="975" y="436"/>
                      <a:pt x="975" y="436"/>
                    </a:cubicBezTo>
                    <a:cubicBezTo>
                      <a:pt x="978" y="439"/>
                      <a:pt x="978" y="439"/>
                      <a:pt x="978" y="439"/>
                    </a:cubicBezTo>
                    <a:cubicBezTo>
                      <a:pt x="981" y="439"/>
                      <a:pt x="981" y="439"/>
                      <a:pt x="981" y="439"/>
                    </a:cubicBezTo>
                    <a:cubicBezTo>
                      <a:pt x="981" y="441"/>
                      <a:pt x="981" y="441"/>
                      <a:pt x="981" y="441"/>
                    </a:cubicBezTo>
                    <a:cubicBezTo>
                      <a:pt x="981" y="443"/>
                      <a:pt x="981" y="443"/>
                      <a:pt x="981" y="443"/>
                    </a:cubicBezTo>
                    <a:cubicBezTo>
                      <a:pt x="982" y="446"/>
                      <a:pt x="982" y="446"/>
                      <a:pt x="982" y="446"/>
                    </a:cubicBezTo>
                    <a:cubicBezTo>
                      <a:pt x="980" y="448"/>
                      <a:pt x="980" y="448"/>
                      <a:pt x="980" y="448"/>
                    </a:cubicBezTo>
                    <a:cubicBezTo>
                      <a:pt x="975" y="451"/>
                      <a:pt x="975" y="451"/>
                      <a:pt x="975" y="451"/>
                    </a:cubicBezTo>
                    <a:cubicBezTo>
                      <a:pt x="972" y="450"/>
                      <a:pt x="972" y="450"/>
                      <a:pt x="972" y="450"/>
                    </a:cubicBezTo>
                    <a:cubicBezTo>
                      <a:pt x="971" y="448"/>
                      <a:pt x="971" y="448"/>
                      <a:pt x="971" y="448"/>
                    </a:cubicBezTo>
                    <a:cubicBezTo>
                      <a:pt x="969" y="450"/>
                      <a:pt x="969" y="450"/>
                      <a:pt x="969" y="450"/>
                    </a:cubicBezTo>
                    <a:cubicBezTo>
                      <a:pt x="967" y="451"/>
                      <a:pt x="967" y="451"/>
                      <a:pt x="967" y="451"/>
                    </a:cubicBezTo>
                    <a:cubicBezTo>
                      <a:pt x="968" y="453"/>
                      <a:pt x="968" y="453"/>
                      <a:pt x="968" y="453"/>
                    </a:cubicBezTo>
                    <a:cubicBezTo>
                      <a:pt x="972" y="456"/>
                      <a:pt x="972" y="456"/>
                      <a:pt x="972" y="456"/>
                    </a:cubicBezTo>
                    <a:cubicBezTo>
                      <a:pt x="971" y="458"/>
                      <a:pt x="971" y="458"/>
                      <a:pt x="971" y="458"/>
                    </a:cubicBezTo>
                    <a:cubicBezTo>
                      <a:pt x="970" y="462"/>
                      <a:pt x="970" y="462"/>
                      <a:pt x="970" y="462"/>
                    </a:cubicBezTo>
                    <a:cubicBezTo>
                      <a:pt x="968" y="463"/>
                      <a:pt x="968" y="463"/>
                      <a:pt x="968" y="463"/>
                    </a:cubicBezTo>
                    <a:cubicBezTo>
                      <a:pt x="967" y="462"/>
                      <a:pt x="967" y="462"/>
                      <a:pt x="967" y="462"/>
                    </a:cubicBezTo>
                    <a:cubicBezTo>
                      <a:pt x="964" y="462"/>
                      <a:pt x="964" y="462"/>
                      <a:pt x="964" y="462"/>
                    </a:cubicBezTo>
                    <a:cubicBezTo>
                      <a:pt x="960" y="463"/>
                      <a:pt x="960" y="463"/>
                      <a:pt x="960" y="463"/>
                    </a:cubicBezTo>
                    <a:cubicBezTo>
                      <a:pt x="958" y="465"/>
                      <a:pt x="958" y="465"/>
                      <a:pt x="958" y="465"/>
                    </a:cubicBezTo>
                    <a:cubicBezTo>
                      <a:pt x="951" y="467"/>
                      <a:pt x="951" y="467"/>
                      <a:pt x="951" y="467"/>
                    </a:cubicBezTo>
                    <a:cubicBezTo>
                      <a:pt x="947" y="470"/>
                      <a:pt x="947" y="470"/>
                      <a:pt x="947" y="470"/>
                    </a:cubicBezTo>
                    <a:cubicBezTo>
                      <a:pt x="944" y="471"/>
                      <a:pt x="944" y="471"/>
                      <a:pt x="944" y="471"/>
                    </a:cubicBezTo>
                    <a:cubicBezTo>
                      <a:pt x="941" y="475"/>
                      <a:pt x="941" y="475"/>
                      <a:pt x="941" y="475"/>
                    </a:cubicBezTo>
                    <a:cubicBezTo>
                      <a:pt x="942" y="477"/>
                      <a:pt x="942" y="477"/>
                      <a:pt x="942" y="477"/>
                    </a:cubicBezTo>
                    <a:cubicBezTo>
                      <a:pt x="944" y="477"/>
                      <a:pt x="944" y="477"/>
                      <a:pt x="944" y="477"/>
                    </a:cubicBezTo>
                    <a:cubicBezTo>
                      <a:pt x="945" y="475"/>
                      <a:pt x="945" y="475"/>
                      <a:pt x="945" y="475"/>
                    </a:cubicBezTo>
                    <a:cubicBezTo>
                      <a:pt x="951" y="474"/>
                      <a:pt x="951" y="474"/>
                      <a:pt x="951" y="474"/>
                    </a:cubicBezTo>
                    <a:cubicBezTo>
                      <a:pt x="953" y="473"/>
                      <a:pt x="953" y="473"/>
                      <a:pt x="953" y="473"/>
                    </a:cubicBezTo>
                    <a:cubicBezTo>
                      <a:pt x="959" y="477"/>
                      <a:pt x="959" y="477"/>
                      <a:pt x="959" y="477"/>
                    </a:cubicBezTo>
                    <a:cubicBezTo>
                      <a:pt x="960" y="481"/>
                      <a:pt x="960" y="481"/>
                      <a:pt x="960" y="481"/>
                    </a:cubicBezTo>
                    <a:cubicBezTo>
                      <a:pt x="958" y="482"/>
                      <a:pt x="958" y="482"/>
                      <a:pt x="958" y="482"/>
                    </a:cubicBezTo>
                    <a:cubicBezTo>
                      <a:pt x="956" y="482"/>
                      <a:pt x="956" y="482"/>
                      <a:pt x="956" y="482"/>
                    </a:cubicBezTo>
                    <a:cubicBezTo>
                      <a:pt x="958" y="483"/>
                      <a:pt x="958" y="483"/>
                      <a:pt x="958" y="483"/>
                    </a:cubicBezTo>
                    <a:cubicBezTo>
                      <a:pt x="959" y="486"/>
                      <a:pt x="959" y="486"/>
                      <a:pt x="959" y="486"/>
                    </a:cubicBezTo>
                    <a:cubicBezTo>
                      <a:pt x="959" y="490"/>
                      <a:pt x="959" y="490"/>
                      <a:pt x="959" y="490"/>
                    </a:cubicBezTo>
                    <a:cubicBezTo>
                      <a:pt x="956" y="492"/>
                      <a:pt x="956" y="492"/>
                      <a:pt x="956" y="492"/>
                    </a:cubicBezTo>
                    <a:cubicBezTo>
                      <a:pt x="956" y="495"/>
                      <a:pt x="956" y="495"/>
                      <a:pt x="956" y="495"/>
                    </a:cubicBezTo>
                    <a:cubicBezTo>
                      <a:pt x="957" y="497"/>
                      <a:pt x="957" y="497"/>
                      <a:pt x="957" y="497"/>
                    </a:cubicBezTo>
                    <a:cubicBezTo>
                      <a:pt x="959" y="493"/>
                      <a:pt x="959" y="493"/>
                      <a:pt x="959" y="493"/>
                    </a:cubicBezTo>
                    <a:cubicBezTo>
                      <a:pt x="963" y="491"/>
                      <a:pt x="963" y="491"/>
                      <a:pt x="963" y="491"/>
                    </a:cubicBezTo>
                    <a:cubicBezTo>
                      <a:pt x="965" y="490"/>
                      <a:pt x="965" y="490"/>
                      <a:pt x="965" y="490"/>
                    </a:cubicBezTo>
                    <a:cubicBezTo>
                      <a:pt x="967" y="490"/>
                      <a:pt x="967" y="490"/>
                      <a:pt x="967" y="490"/>
                    </a:cubicBezTo>
                    <a:cubicBezTo>
                      <a:pt x="965" y="492"/>
                      <a:pt x="965" y="492"/>
                      <a:pt x="965" y="492"/>
                    </a:cubicBezTo>
                    <a:cubicBezTo>
                      <a:pt x="965" y="498"/>
                      <a:pt x="965" y="498"/>
                      <a:pt x="965" y="498"/>
                    </a:cubicBezTo>
                    <a:cubicBezTo>
                      <a:pt x="963" y="503"/>
                      <a:pt x="963" y="503"/>
                      <a:pt x="963" y="503"/>
                    </a:cubicBezTo>
                    <a:cubicBezTo>
                      <a:pt x="963" y="507"/>
                      <a:pt x="963" y="507"/>
                      <a:pt x="963" y="507"/>
                    </a:cubicBezTo>
                    <a:cubicBezTo>
                      <a:pt x="957" y="510"/>
                      <a:pt x="957" y="510"/>
                      <a:pt x="957" y="510"/>
                    </a:cubicBezTo>
                    <a:cubicBezTo>
                      <a:pt x="953" y="510"/>
                      <a:pt x="953" y="510"/>
                      <a:pt x="953" y="510"/>
                    </a:cubicBezTo>
                    <a:cubicBezTo>
                      <a:pt x="952" y="512"/>
                      <a:pt x="952" y="512"/>
                      <a:pt x="952" y="512"/>
                    </a:cubicBezTo>
                    <a:cubicBezTo>
                      <a:pt x="954" y="514"/>
                      <a:pt x="954" y="514"/>
                      <a:pt x="954" y="514"/>
                    </a:cubicBezTo>
                    <a:cubicBezTo>
                      <a:pt x="952" y="519"/>
                      <a:pt x="952" y="519"/>
                      <a:pt x="952" y="519"/>
                    </a:cubicBezTo>
                    <a:cubicBezTo>
                      <a:pt x="950" y="520"/>
                      <a:pt x="950" y="520"/>
                      <a:pt x="950" y="520"/>
                    </a:cubicBezTo>
                    <a:cubicBezTo>
                      <a:pt x="949" y="518"/>
                      <a:pt x="949" y="518"/>
                      <a:pt x="949" y="518"/>
                    </a:cubicBezTo>
                    <a:cubicBezTo>
                      <a:pt x="946" y="519"/>
                      <a:pt x="946" y="519"/>
                      <a:pt x="946" y="519"/>
                    </a:cubicBezTo>
                    <a:cubicBezTo>
                      <a:pt x="947" y="521"/>
                      <a:pt x="947" y="521"/>
                      <a:pt x="947" y="521"/>
                    </a:cubicBezTo>
                    <a:cubicBezTo>
                      <a:pt x="951" y="523"/>
                      <a:pt x="951" y="523"/>
                      <a:pt x="951" y="523"/>
                    </a:cubicBezTo>
                    <a:cubicBezTo>
                      <a:pt x="950" y="525"/>
                      <a:pt x="950" y="525"/>
                      <a:pt x="950" y="525"/>
                    </a:cubicBezTo>
                    <a:cubicBezTo>
                      <a:pt x="947" y="526"/>
                      <a:pt x="947" y="526"/>
                      <a:pt x="947" y="526"/>
                    </a:cubicBezTo>
                    <a:cubicBezTo>
                      <a:pt x="949" y="529"/>
                      <a:pt x="949" y="529"/>
                      <a:pt x="949" y="529"/>
                    </a:cubicBezTo>
                    <a:cubicBezTo>
                      <a:pt x="945" y="532"/>
                      <a:pt x="945" y="532"/>
                      <a:pt x="945" y="532"/>
                    </a:cubicBezTo>
                    <a:cubicBezTo>
                      <a:pt x="943" y="531"/>
                      <a:pt x="943" y="531"/>
                      <a:pt x="943" y="531"/>
                    </a:cubicBezTo>
                    <a:cubicBezTo>
                      <a:pt x="941" y="533"/>
                      <a:pt x="941" y="533"/>
                      <a:pt x="941" y="533"/>
                    </a:cubicBezTo>
                    <a:cubicBezTo>
                      <a:pt x="937" y="533"/>
                      <a:pt x="937" y="533"/>
                      <a:pt x="937" y="533"/>
                    </a:cubicBezTo>
                    <a:cubicBezTo>
                      <a:pt x="933" y="535"/>
                      <a:pt x="933" y="535"/>
                      <a:pt x="933" y="535"/>
                    </a:cubicBezTo>
                    <a:cubicBezTo>
                      <a:pt x="933" y="537"/>
                      <a:pt x="933" y="537"/>
                      <a:pt x="933" y="537"/>
                    </a:cubicBezTo>
                    <a:cubicBezTo>
                      <a:pt x="927" y="539"/>
                      <a:pt x="927" y="539"/>
                      <a:pt x="927" y="539"/>
                    </a:cubicBezTo>
                    <a:cubicBezTo>
                      <a:pt x="923" y="536"/>
                      <a:pt x="923" y="536"/>
                      <a:pt x="923" y="536"/>
                    </a:cubicBezTo>
                    <a:cubicBezTo>
                      <a:pt x="919" y="538"/>
                      <a:pt x="919" y="538"/>
                      <a:pt x="919" y="538"/>
                    </a:cubicBezTo>
                    <a:cubicBezTo>
                      <a:pt x="917" y="537"/>
                      <a:pt x="917" y="537"/>
                      <a:pt x="917" y="537"/>
                    </a:cubicBezTo>
                    <a:cubicBezTo>
                      <a:pt x="915" y="530"/>
                      <a:pt x="915" y="530"/>
                      <a:pt x="915" y="530"/>
                    </a:cubicBezTo>
                    <a:cubicBezTo>
                      <a:pt x="918" y="526"/>
                      <a:pt x="918" y="526"/>
                      <a:pt x="918" y="526"/>
                    </a:cubicBezTo>
                    <a:cubicBezTo>
                      <a:pt x="919" y="523"/>
                      <a:pt x="919" y="523"/>
                      <a:pt x="919" y="523"/>
                    </a:cubicBezTo>
                    <a:cubicBezTo>
                      <a:pt x="912" y="529"/>
                      <a:pt x="912" y="529"/>
                      <a:pt x="912" y="529"/>
                    </a:cubicBezTo>
                    <a:cubicBezTo>
                      <a:pt x="912" y="532"/>
                      <a:pt x="912" y="532"/>
                      <a:pt x="912" y="532"/>
                    </a:cubicBezTo>
                    <a:cubicBezTo>
                      <a:pt x="915" y="539"/>
                      <a:pt x="915" y="539"/>
                      <a:pt x="915" y="539"/>
                    </a:cubicBezTo>
                    <a:cubicBezTo>
                      <a:pt x="917" y="541"/>
                      <a:pt x="917" y="541"/>
                      <a:pt x="917" y="541"/>
                    </a:cubicBezTo>
                    <a:cubicBezTo>
                      <a:pt x="916" y="544"/>
                      <a:pt x="916" y="544"/>
                      <a:pt x="916" y="544"/>
                    </a:cubicBezTo>
                    <a:cubicBezTo>
                      <a:pt x="911" y="547"/>
                      <a:pt x="911" y="547"/>
                      <a:pt x="911" y="547"/>
                    </a:cubicBezTo>
                    <a:cubicBezTo>
                      <a:pt x="909" y="551"/>
                      <a:pt x="909" y="551"/>
                      <a:pt x="909" y="551"/>
                    </a:cubicBezTo>
                    <a:cubicBezTo>
                      <a:pt x="904" y="552"/>
                      <a:pt x="904" y="552"/>
                      <a:pt x="904" y="552"/>
                    </a:cubicBezTo>
                    <a:close/>
                    <a:moveTo>
                      <a:pt x="969" y="466"/>
                    </a:moveTo>
                    <a:cubicBezTo>
                      <a:pt x="968" y="468"/>
                      <a:pt x="968" y="468"/>
                      <a:pt x="968" y="468"/>
                    </a:cubicBezTo>
                    <a:cubicBezTo>
                      <a:pt x="970" y="468"/>
                      <a:pt x="970" y="468"/>
                      <a:pt x="970" y="468"/>
                    </a:cubicBezTo>
                    <a:cubicBezTo>
                      <a:pt x="971" y="466"/>
                      <a:pt x="971" y="466"/>
                      <a:pt x="971" y="466"/>
                    </a:cubicBezTo>
                    <a:cubicBezTo>
                      <a:pt x="969" y="466"/>
                      <a:pt x="969" y="466"/>
                      <a:pt x="969" y="466"/>
                    </a:cubicBezTo>
                    <a:close/>
                    <a:moveTo>
                      <a:pt x="966" y="481"/>
                    </a:moveTo>
                    <a:cubicBezTo>
                      <a:pt x="968" y="481"/>
                      <a:pt x="968" y="481"/>
                      <a:pt x="968" y="481"/>
                    </a:cubicBezTo>
                    <a:cubicBezTo>
                      <a:pt x="971" y="477"/>
                      <a:pt x="971" y="477"/>
                      <a:pt x="971" y="477"/>
                    </a:cubicBezTo>
                    <a:cubicBezTo>
                      <a:pt x="971" y="474"/>
                      <a:pt x="971" y="474"/>
                      <a:pt x="971" y="474"/>
                    </a:cubicBezTo>
                    <a:cubicBezTo>
                      <a:pt x="970" y="473"/>
                      <a:pt x="970" y="473"/>
                      <a:pt x="970" y="473"/>
                    </a:cubicBezTo>
                    <a:cubicBezTo>
                      <a:pt x="969" y="470"/>
                      <a:pt x="969" y="470"/>
                      <a:pt x="969" y="470"/>
                    </a:cubicBezTo>
                    <a:cubicBezTo>
                      <a:pt x="966" y="471"/>
                      <a:pt x="966" y="471"/>
                      <a:pt x="966" y="471"/>
                    </a:cubicBezTo>
                    <a:cubicBezTo>
                      <a:pt x="966" y="474"/>
                      <a:pt x="966" y="474"/>
                      <a:pt x="966" y="474"/>
                    </a:cubicBezTo>
                    <a:cubicBezTo>
                      <a:pt x="963" y="475"/>
                      <a:pt x="963" y="475"/>
                      <a:pt x="963" y="475"/>
                    </a:cubicBezTo>
                    <a:cubicBezTo>
                      <a:pt x="964" y="479"/>
                      <a:pt x="964" y="479"/>
                      <a:pt x="964" y="479"/>
                    </a:cubicBezTo>
                    <a:cubicBezTo>
                      <a:pt x="966" y="481"/>
                      <a:pt x="966" y="481"/>
                      <a:pt x="966" y="481"/>
                    </a:cubicBezTo>
                    <a:close/>
                    <a:moveTo>
                      <a:pt x="963" y="489"/>
                    </a:moveTo>
                    <a:cubicBezTo>
                      <a:pt x="965" y="488"/>
                      <a:pt x="965" y="488"/>
                      <a:pt x="965" y="488"/>
                    </a:cubicBezTo>
                    <a:cubicBezTo>
                      <a:pt x="967" y="483"/>
                      <a:pt x="967" y="483"/>
                      <a:pt x="967" y="483"/>
                    </a:cubicBezTo>
                    <a:cubicBezTo>
                      <a:pt x="964" y="484"/>
                      <a:pt x="964" y="484"/>
                      <a:pt x="964" y="484"/>
                    </a:cubicBezTo>
                    <a:cubicBezTo>
                      <a:pt x="961" y="486"/>
                      <a:pt x="961" y="486"/>
                      <a:pt x="961" y="486"/>
                    </a:cubicBezTo>
                    <a:cubicBezTo>
                      <a:pt x="961" y="488"/>
                      <a:pt x="961" y="488"/>
                      <a:pt x="961" y="488"/>
                    </a:cubicBezTo>
                    <a:cubicBezTo>
                      <a:pt x="963" y="489"/>
                      <a:pt x="963" y="489"/>
                      <a:pt x="963" y="489"/>
                    </a:cubicBezTo>
                    <a:close/>
                    <a:moveTo>
                      <a:pt x="817" y="410"/>
                    </a:moveTo>
                    <a:cubicBezTo>
                      <a:pt x="817" y="412"/>
                      <a:pt x="817" y="412"/>
                      <a:pt x="817" y="412"/>
                    </a:cubicBezTo>
                    <a:cubicBezTo>
                      <a:pt x="818" y="413"/>
                      <a:pt x="818" y="413"/>
                      <a:pt x="818" y="413"/>
                    </a:cubicBezTo>
                    <a:cubicBezTo>
                      <a:pt x="820" y="412"/>
                      <a:pt x="820" y="412"/>
                      <a:pt x="820" y="412"/>
                    </a:cubicBezTo>
                    <a:cubicBezTo>
                      <a:pt x="823" y="413"/>
                      <a:pt x="823" y="413"/>
                      <a:pt x="823" y="413"/>
                    </a:cubicBezTo>
                    <a:cubicBezTo>
                      <a:pt x="824" y="412"/>
                      <a:pt x="824" y="412"/>
                      <a:pt x="824" y="412"/>
                    </a:cubicBezTo>
                    <a:cubicBezTo>
                      <a:pt x="823" y="410"/>
                      <a:pt x="823" y="410"/>
                      <a:pt x="823" y="410"/>
                    </a:cubicBezTo>
                    <a:cubicBezTo>
                      <a:pt x="818" y="409"/>
                      <a:pt x="818" y="409"/>
                      <a:pt x="818" y="409"/>
                    </a:cubicBezTo>
                    <a:cubicBezTo>
                      <a:pt x="817" y="410"/>
                      <a:pt x="817" y="410"/>
                      <a:pt x="817" y="410"/>
                    </a:cubicBezTo>
                    <a:close/>
                    <a:moveTo>
                      <a:pt x="841" y="456"/>
                    </a:moveTo>
                    <a:cubicBezTo>
                      <a:pt x="839" y="453"/>
                      <a:pt x="839" y="453"/>
                      <a:pt x="839" y="453"/>
                    </a:cubicBezTo>
                    <a:cubicBezTo>
                      <a:pt x="838" y="445"/>
                      <a:pt x="838" y="445"/>
                      <a:pt x="838" y="445"/>
                    </a:cubicBezTo>
                    <a:cubicBezTo>
                      <a:pt x="836" y="442"/>
                      <a:pt x="836" y="442"/>
                      <a:pt x="836" y="442"/>
                    </a:cubicBezTo>
                    <a:cubicBezTo>
                      <a:pt x="836" y="439"/>
                      <a:pt x="836" y="439"/>
                      <a:pt x="836" y="439"/>
                    </a:cubicBezTo>
                    <a:cubicBezTo>
                      <a:pt x="837" y="437"/>
                      <a:pt x="837" y="437"/>
                      <a:pt x="837" y="437"/>
                    </a:cubicBezTo>
                    <a:cubicBezTo>
                      <a:pt x="836" y="432"/>
                      <a:pt x="836" y="432"/>
                      <a:pt x="836" y="432"/>
                    </a:cubicBezTo>
                    <a:cubicBezTo>
                      <a:pt x="836" y="428"/>
                      <a:pt x="836" y="428"/>
                      <a:pt x="836" y="428"/>
                    </a:cubicBezTo>
                    <a:cubicBezTo>
                      <a:pt x="833" y="424"/>
                      <a:pt x="833" y="424"/>
                      <a:pt x="833" y="424"/>
                    </a:cubicBezTo>
                    <a:cubicBezTo>
                      <a:pt x="829" y="421"/>
                      <a:pt x="829" y="421"/>
                      <a:pt x="829" y="421"/>
                    </a:cubicBezTo>
                    <a:cubicBezTo>
                      <a:pt x="829" y="419"/>
                      <a:pt x="829" y="419"/>
                      <a:pt x="829" y="419"/>
                    </a:cubicBezTo>
                    <a:cubicBezTo>
                      <a:pt x="835" y="414"/>
                      <a:pt x="835" y="414"/>
                      <a:pt x="835" y="414"/>
                    </a:cubicBezTo>
                    <a:cubicBezTo>
                      <a:pt x="838" y="413"/>
                      <a:pt x="838" y="413"/>
                      <a:pt x="838" y="413"/>
                    </a:cubicBezTo>
                    <a:cubicBezTo>
                      <a:pt x="842" y="410"/>
                      <a:pt x="842" y="410"/>
                      <a:pt x="842" y="410"/>
                    </a:cubicBezTo>
                    <a:cubicBezTo>
                      <a:pt x="847" y="409"/>
                      <a:pt x="847" y="409"/>
                      <a:pt x="847" y="409"/>
                    </a:cubicBezTo>
                    <a:cubicBezTo>
                      <a:pt x="850" y="412"/>
                      <a:pt x="850" y="412"/>
                      <a:pt x="850" y="412"/>
                    </a:cubicBezTo>
                    <a:cubicBezTo>
                      <a:pt x="853" y="412"/>
                      <a:pt x="853" y="412"/>
                      <a:pt x="853" y="412"/>
                    </a:cubicBezTo>
                    <a:cubicBezTo>
                      <a:pt x="856" y="414"/>
                      <a:pt x="856" y="414"/>
                      <a:pt x="856" y="414"/>
                    </a:cubicBezTo>
                    <a:cubicBezTo>
                      <a:pt x="858" y="413"/>
                      <a:pt x="858" y="413"/>
                      <a:pt x="858" y="413"/>
                    </a:cubicBezTo>
                    <a:cubicBezTo>
                      <a:pt x="862" y="415"/>
                      <a:pt x="862" y="415"/>
                      <a:pt x="862" y="415"/>
                    </a:cubicBezTo>
                    <a:cubicBezTo>
                      <a:pt x="864" y="414"/>
                      <a:pt x="864" y="414"/>
                      <a:pt x="864" y="414"/>
                    </a:cubicBezTo>
                    <a:cubicBezTo>
                      <a:pt x="867" y="414"/>
                      <a:pt x="867" y="414"/>
                      <a:pt x="867" y="414"/>
                    </a:cubicBezTo>
                    <a:cubicBezTo>
                      <a:pt x="870" y="419"/>
                      <a:pt x="870" y="419"/>
                      <a:pt x="870" y="419"/>
                    </a:cubicBezTo>
                    <a:cubicBezTo>
                      <a:pt x="870" y="422"/>
                      <a:pt x="870" y="422"/>
                      <a:pt x="870" y="422"/>
                    </a:cubicBezTo>
                    <a:cubicBezTo>
                      <a:pt x="869" y="423"/>
                      <a:pt x="869" y="423"/>
                      <a:pt x="869" y="423"/>
                    </a:cubicBezTo>
                    <a:cubicBezTo>
                      <a:pt x="871" y="427"/>
                      <a:pt x="871" y="427"/>
                      <a:pt x="871" y="427"/>
                    </a:cubicBezTo>
                    <a:cubicBezTo>
                      <a:pt x="871" y="429"/>
                      <a:pt x="871" y="429"/>
                      <a:pt x="871" y="429"/>
                    </a:cubicBezTo>
                    <a:cubicBezTo>
                      <a:pt x="870" y="431"/>
                      <a:pt x="870" y="431"/>
                      <a:pt x="870" y="431"/>
                    </a:cubicBezTo>
                    <a:cubicBezTo>
                      <a:pt x="870" y="433"/>
                      <a:pt x="870" y="433"/>
                      <a:pt x="870" y="433"/>
                    </a:cubicBezTo>
                    <a:cubicBezTo>
                      <a:pt x="865" y="438"/>
                      <a:pt x="865" y="438"/>
                      <a:pt x="865" y="438"/>
                    </a:cubicBezTo>
                    <a:cubicBezTo>
                      <a:pt x="863" y="438"/>
                      <a:pt x="863" y="438"/>
                      <a:pt x="863" y="438"/>
                    </a:cubicBezTo>
                    <a:cubicBezTo>
                      <a:pt x="858" y="443"/>
                      <a:pt x="858" y="443"/>
                      <a:pt x="858" y="443"/>
                    </a:cubicBezTo>
                    <a:cubicBezTo>
                      <a:pt x="853" y="446"/>
                      <a:pt x="853" y="446"/>
                      <a:pt x="853" y="446"/>
                    </a:cubicBezTo>
                    <a:cubicBezTo>
                      <a:pt x="848" y="451"/>
                      <a:pt x="848" y="451"/>
                      <a:pt x="848" y="451"/>
                    </a:cubicBezTo>
                    <a:cubicBezTo>
                      <a:pt x="845" y="451"/>
                      <a:pt x="845" y="451"/>
                      <a:pt x="845" y="451"/>
                    </a:cubicBezTo>
                    <a:cubicBezTo>
                      <a:pt x="843" y="452"/>
                      <a:pt x="843" y="452"/>
                      <a:pt x="843" y="452"/>
                    </a:cubicBezTo>
                    <a:cubicBezTo>
                      <a:pt x="843" y="455"/>
                      <a:pt x="843" y="455"/>
                      <a:pt x="843" y="455"/>
                    </a:cubicBezTo>
                    <a:cubicBezTo>
                      <a:pt x="841" y="456"/>
                      <a:pt x="841" y="456"/>
                      <a:pt x="841" y="456"/>
                    </a:cubicBezTo>
                    <a:close/>
                    <a:moveTo>
                      <a:pt x="979" y="532"/>
                    </a:moveTo>
                    <a:cubicBezTo>
                      <a:pt x="974" y="527"/>
                      <a:pt x="974" y="527"/>
                      <a:pt x="974" y="527"/>
                    </a:cubicBezTo>
                    <a:cubicBezTo>
                      <a:pt x="971" y="529"/>
                      <a:pt x="971" y="529"/>
                      <a:pt x="971" y="529"/>
                    </a:cubicBezTo>
                    <a:cubicBezTo>
                      <a:pt x="964" y="528"/>
                      <a:pt x="964" y="528"/>
                      <a:pt x="964" y="528"/>
                    </a:cubicBezTo>
                    <a:cubicBezTo>
                      <a:pt x="967" y="524"/>
                      <a:pt x="967" y="524"/>
                      <a:pt x="967" y="524"/>
                    </a:cubicBezTo>
                    <a:cubicBezTo>
                      <a:pt x="970" y="522"/>
                      <a:pt x="970" y="522"/>
                      <a:pt x="970" y="522"/>
                    </a:cubicBezTo>
                    <a:cubicBezTo>
                      <a:pt x="972" y="523"/>
                      <a:pt x="972" y="523"/>
                      <a:pt x="972" y="523"/>
                    </a:cubicBezTo>
                    <a:cubicBezTo>
                      <a:pt x="973" y="522"/>
                      <a:pt x="973" y="522"/>
                      <a:pt x="973" y="522"/>
                    </a:cubicBezTo>
                    <a:cubicBezTo>
                      <a:pt x="973" y="521"/>
                      <a:pt x="973" y="521"/>
                      <a:pt x="973" y="521"/>
                    </a:cubicBezTo>
                    <a:cubicBezTo>
                      <a:pt x="969" y="521"/>
                      <a:pt x="969" y="521"/>
                      <a:pt x="969" y="521"/>
                    </a:cubicBezTo>
                    <a:cubicBezTo>
                      <a:pt x="968" y="519"/>
                      <a:pt x="968" y="519"/>
                      <a:pt x="968" y="519"/>
                    </a:cubicBezTo>
                    <a:cubicBezTo>
                      <a:pt x="973" y="513"/>
                      <a:pt x="973" y="513"/>
                      <a:pt x="973" y="513"/>
                    </a:cubicBezTo>
                    <a:cubicBezTo>
                      <a:pt x="975" y="507"/>
                      <a:pt x="975" y="507"/>
                      <a:pt x="975" y="507"/>
                    </a:cubicBezTo>
                    <a:cubicBezTo>
                      <a:pt x="975" y="504"/>
                      <a:pt x="975" y="504"/>
                      <a:pt x="975" y="504"/>
                    </a:cubicBezTo>
                    <a:cubicBezTo>
                      <a:pt x="977" y="503"/>
                      <a:pt x="977" y="503"/>
                      <a:pt x="977" y="503"/>
                    </a:cubicBezTo>
                    <a:cubicBezTo>
                      <a:pt x="977" y="501"/>
                      <a:pt x="977" y="501"/>
                      <a:pt x="977" y="501"/>
                    </a:cubicBezTo>
                    <a:cubicBezTo>
                      <a:pt x="974" y="498"/>
                      <a:pt x="974" y="498"/>
                      <a:pt x="974" y="498"/>
                    </a:cubicBezTo>
                    <a:cubicBezTo>
                      <a:pt x="976" y="496"/>
                      <a:pt x="976" y="496"/>
                      <a:pt x="976" y="496"/>
                    </a:cubicBezTo>
                    <a:cubicBezTo>
                      <a:pt x="976" y="491"/>
                      <a:pt x="976" y="491"/>
                      <a:pt x="976" y="491"/>
                    </a:cubicBezTo>
                    <a:cubicBezTo>
                      <a:pt x="980" y="484"/>
                      <a:pt x="980" y="484"/>
                      <a:pt x="980" y="484"/>
                    </a:cubicBezTo>
                    <a:cubicBezTo>
                      <a:pt x="982" y="482"/>
                      <a:pt x="982" y="482"/>
                      <a:pt x="982" y="482"/>
                    </a:cubicBezTo>
                    <a:cubicBezTo>
                      <a:pt x="982" y="479"/>
                      <a:pt x="982" y="479"/>
                      <a:pt x="982" y="479"/>
                    </a:cubicBezTo>
                    <a:cubicBezTo>
                      <a:pt x="985" y="477"/>
                      <a:pt x="985" y="477"/>
                      <a:pt x="985" y="477"/>
                    </a:cubicBezTo>
                    <a:cubicBezTo>
                      <a:pt x="987" y="473"/>
                      <a:pt x="987" y="473"/>
                      <a:pt x="987" y="473"/>
                    </a:cubicBezTo>
                    <a:cubicBezTo>
                      <a:pt x="988" y="470"/>
                      <a:pt x="988" y="470"/>
                      <a:pt x="988" y="470"/>
                    </a:cubicBezTo>
                    <a:cubicBezTo>
                      <a:pt x="989" y="466"/>
                      <a:pt x="989" y="466"/>
                      <a:pt x="989" y="466"/>
                    </a:cubicBezTo>
                    <a:cubicBezTo>
                      <a:pt x="994" y="461"/>
                      <a:pt x="994" y="461"/>
                      <a:pt x="994" y="461"/>
                    </a:cubicBezTo>
                    <a:cubicBezTo>
                      <a:pt x="995" y="456"/>
                      <a:pt x="995" y="456"/>
                      <a:pt x="995" y="456"/>
                    </a:cubicBezTo>
                    <a:cubicBezTo>
                      <a:pt x="998" y="456"/>
                      <a:pt x="998" y="456"/>
                      <a:pt x="998" y="456"/>
                    </a:cubicBezTo>
                    <a:cubicBezTo>
                      <a:pt x="999" y="453"/>
                      <a:pt x="999" y="453"/>
                      <a:pt x="999" y="453"/>
                    </a:cubicBezTo>
                    <a:cubicBezTo>
                      <a:pt x="998" y="452"/>
                      <a:pt x="998" y="452"/>
                      <a:pt x="998" y="452"/>
                    </a:cubicBezTo>
                    <a:cubicBezTo>
                      <a:pt x="1000" y="447"/>
                      <a:pt x="1000" y="447"/>
                      <a:pt x="1000" y="447"/>
                    </a:cubicBezTo>
                    <a:cubicBezTo>
                      <a:pt x="1003" y="448"/>
                      <a:pt x="1003" y="448"/>
                      <a:pt x="1003" y="448"/>
                    </a:cubicBezTo>
                    <a:cubicBezTo>
                      <a:pt x="1006" y="452"/>
                      <a:pt x="1006" y="452"/>
                      <a:pt x="1006" y="452"/>
                    </a:cubicBezTo>
                    <a:cubicBezTo>
                      <a:pt x="1007" y="456"/>
                      <a:pt x="1007" y="456"/>
                      <a:pt x="1007" y="456"/>
                    </a:cubicBezTo>
                    <a:cubicBezTo>
                      <a:pt x="1011" y="456"/>
                      <a:pt x="1011" y="456"/>
                      <a:pt x="1011" y="456"/>
                    </a:cubicBezTo>
                    <a:cubicBezTo>
                      <a:pt x="1010" y="452"/>
                      <a:pt x="1010" y="452"/>
                      <a:pt x="1010" y="452"/>
                    </a:cubicBezTo>
                    <a:cubicBezTo>
                      <a:pt x="1007" y="449"/>
                      <a:pt x="1007" y="449"/>
                      <a:pt x="1007" y="449"/>
                    </a:cubicBezTo>
                    <a:cubicBezTo>
                      <a:pt x="1008" y="448"/>
                      <a:pt x="1008" y="448"/>
                      <a:pt x="1008" y="448"/>
                    </a:cubicBezTo>
                    <a:cubicBezTo>
                      <a:pt x="1010" y="447"/>
                      <a:pt x="1010" y="447"/>
                      <a:pt x="1010" y="447"/>
                    </a:cubicBezTo>
                    <a:cubicBezTo>
                      <a:pt x="1007" y="443"/>
                      <a:pt x="1007" y="443"/>
                      <a:pt x="1007" y="443"/>
                    </a:cubicBezTo>
                    <a:cubicBezTo>
                      <a:pt x="1011" y="438"/>
                      <a:pt x="1011" y="438"/>
                      <a:pt x="1011" y="438"/>
                    </a:cubicBezTo>
                    <a:cubicBezTo>
                      <a:pt x="1019" y="436"/>
                      <a:pt x="1019" y="436"/>
                      <a:pt x="1019" y="436"/>
                    </a:cubicBezTo>
                    <a:cubicBezTo>
                      <a:pt x="1025" y="436"/>
                      <a:pt x="1025" y="436"/>
                      <a:pt x="1025" y="436"/>
                    </a:cubicBezTo>
                    <a:cubicBezTo>
                      <a:pt x="1028" y="435"/>
                      <a:pt x="1028" y="435"/>
                      <a:pt x="1028" y="435"/>
                    </a:cubicBezTo>
                    <a:cubicBezTo>
                      <a:pt x="1030" y="436"/>
                      <a:pt x="1030" y="436"/>
                      <a:pt x="1030" y="436"/>
                    </a:cubicBezTo>
                    <a:cubicBezTo>
                      <a:pt x="1033" y="436"/>
                      <a:pt x="1033" y="436"/>
                      <a:pt x="1033" y="436"/>
                    </a:cubicBezTo>
                    <a:cubicBezTo>
                      <a:pt x="1034" y="439"/>
                      <a:pt x="1034" y="439"/>
                      <a:pt x="1034" y="439"/>
                    </a:cubicBezTo>
                    <a:cubicBezTo>
                      <a:pt x="1037" y="437"/>
                      <a:pt x="1037" y="437"/>
                      <a:pt x="1037" y="437"/>
                    </a:cubicBezTo>
                    <a:cubicBezTo>
                      <a:pt x="1042" y="437"/>
                      <a:pt x="1042" y="437"/>
                      <a:pt x="1042" y="437"/>
                    </a:cubicBezTo>
                    <a:cubicBezTo>
                      <a:pt x="1044" y="441"/>
                      <a:pt x="1044" y="441"/>
                      <a:pt x="1044" y="441"/>
                    </a:cubicBezTo>
                    <a:cubicBezTo>
                      <a:pt x="1048" y="442"/>
                      <a:pt x="1048" y="442"/>
                      <a:pt x="1048" y="442"/>
                    </a:cubicBezTo>
                    <a:cubicBezTo>
                      <a:pt x="1049" y="443"/>
                      <a:pt x="1049" y="443"/>
                      <a:pt x="1049" y="443"/>
                    </a:cubicBezTo>
                    <a:cubicBezTo>
                      <a:pt x="1051" y="443"/>
                      <a:pt x="1051" y="443"/>
                      <a:pt x="1051" y="443"/>
                    </a:cubicBezTo>
                    <a:cubicBezTo>
                      <a:pt x="1053" y="446"/>
                      <a:pt x="1053" y="446"/>
                      <a:pt x="1053" y="446"/>
                    </a:cubicBezTo>
                    <a:cubicBezTo>
                      <a:pt x="1052" y="449"/>
                      <a:pt x="1052" y="449"/>
                      <a:pt x="1052" y="449"/>
                    </a:cubicBezTo>
                    <a:cubicBezTo>
                      <a:pt x="1054" y="450"/>
                      <a:pt x="1054" y="450"/>
                      <a:pt x="1054" y="450"/>
                    </a:cubicBezTo>
                    <a:cubicBezTo>
                      <a:pt x="1056" y="449"/>
                      <a:pt x="1056" y="449"/>
                      <a:pt x="1056" y="449"/>
                    </a:cubicBezTo>
                    <a:cubicBezTo>
                      <a:pt x="1062" y="450"/>
                      <a:pt x="1062" y="450"/>
                      <a:pt x="1062" y="450"/>
                    </a:cubicBezTo>
                    <a:cubicBezTo>
                      <a:pt x="1071" y="451"/>
                      <a:pt x="1071" y="451"/>
                      <a:pt x="1071" y="451"/>
                    </a:cubicBezTo>
                    <a:cubicBezTo>
                      <a:pt x="1076" y="454"/>
                      <a:pt x="1076" y="454"/>
                      <a:pt x="1076" y="454"/>
                    </a:cubicBezTo>
                    <a:cubicBezTo>
                      <a:pt x="1076" y="457"/>
                      <a:pt x="1076" y="457"/>
                      <a:pt x="1076" y="457"/>
                    </a:cubicBezTo>
                    <a:cubicBezTo>
                      <a:pt x="1078" y="458"/>
                      <a:pt x="1078" y="458"/>
                      <a:pt x="1078" y="458"/>
                    </a:cubicBezTo>
                    <a:cubicBezTo>
                      <a:pt x="1079" y="461"/>
                      <a:pt x="1079" y="461"/>
                      <a:pt x="1079" y="461"/>
                    </a:cubicBezTo>
                    <a:cubicBezTo>
                      <a:pt x="1078" y="460"/>
                      <a:pt x="1078" y="460"/>
                      <a:pt x="1078" y="460"/>
                    </a:cubicBezTo>
                    <a:cubicBezTo>
                      <a:pt x="1076" y="461"/>
                      <a:pt x="1076" y="461"/>
                      <a:pt x="1076" y="461"/>
                    </a:cubicBezTo>
                    <a:cubicBezTo>
                      <a:pt x="1074" y="465"/>
                      <a:pt x="1074" y="465"/>
                      <a:pt x="1074" y="465"/>
                    </a:cubicBezTo>
                    <a:cubicBezTo>
                      <a:pt x="1069" y="470"/>
                      <a:pt x="1069" y="470"/>
                      <a:pt x="1069" y="470"/>
                    </a:cubicBezTo>
                    <a:cubicBezTo>
                      <a:pt x="1066" y="474"/>
                      <a:pt x="1066" y="474"/>
                      <a:pt x="1066" y="474"/>
                    </a:cubicBezTo>
                    <a:cubicBezTo>
                      <a:pt x="1062" y="475"/>
                      <a:pt x="1062" y="475"/>
                      <a:pt x="1062" y="475"/>
                    </a:cubicBezTo>
                    <a:cubicBezTo>
                      <a:pt x="1062" y="476"/>
                      <a:pt x="1062" y="476"/>
                      <a:pt x="1062" y="476"/>
                    </a:cubicBezTo>
                    <a:cubicBezTo>
                      <a:pt x="1054" y="482"/>
                      <a:pt x="1054" y="482"/>
                      <a:pt x="1054" y="482"/>
                    </a:cubicBezTo>
                    <a:cubicBezTo>
                      <a:pt x="1050" y="487"/>
                      <a:pt x="1050" y="487"/>
                      <a:pt x="1050" y="487"/>
                    </a:cubicBezTo>
                    <a:cubicBezTo>
                      <a:pt x="1046" y="487"/>
                      <a:pt x="1046" y="487"/>
                      <a:pt x="1046" y="487"/>
                    </a:cubicBezTo>
                    <a:cubicBezTo>
                      <a:pt x="1046" y="489"/>
                      <a:pt x="1046" y="489"/>
                      <a:pt x="1046" y="489"/>
                    </a:cubicBezTo>
                    <a:cubicBezTo>
                      <a:pt x="1047" y="490"/>
                      <a:pt x="1047" y="490"/>
                      <a:pt x="1047" y="490"/>
                    </a:cubicBezTo>
                    <a:cubicBezTo>
                      <a:pt x="1045" y="493"/>
                      <a:pt x="1045" y="493"/>
                      <a:pt x="1045" y="493"/>
                    </a:cubicBezTo>
                    <a:cubicBezTo>
                      <a:pt x="1039" y="497"/>
                      <a:pt x="1039" y="497"/>
                      <a:pt x="1039" y="497"/>
                    </a:cubicBezTo>
                    <a:cubicBezTo>
                      <a:pt x="1035" y="502"/>
                      <a:pt x="1035" y="502"/>
                      <a:pt x="1035" y="502"/>
                    </a:cubicBezTo>
                    <a:cubicBezTo>
                      <a:pt x="1028" y="506"/>
                      <a:pt x="1028" y="506"/>
                      <a:pt x="1028" y="506"/>
                    </a:cubicBezTo>
                    <a:cubicBezTo>
                      <a:pt x="1023" y="508"/>
                      <a:pt x="1023" y="508"/>
                      <a:pt x="1023" y="508"/>
                    </a:cubicBezTo>
                    <a:cubicBezTo>
                      <a:pt x="1021" y="507"/>
                      <a:pt x="1021" y="507"/>
                      <a:pt x="1021" y="507"/>
                    </a:cubicBezTo>
                    <a:cubicBezTo>
                      <a:pt x="1020" y="506"/>
                      <a:pt x="1020" y="506"/>
                      <a:pt x="1020" y="506"/>
                    </a:cubicBezTo>
                    <a:cubicBezTo>
                      <a:pt x="1018" y="506"/>
                      <a:pt x="1018" y="506"/>
                      <a:pt x="1018" y="506"/>
                    </a:cubicBezTo>
                    <a:cubicBezTo>
                      <a:pt x="1013" y="502"/>
                      <a:pt x="1013" y="502"/>
                      <a:pt x="1013" y="502"/>
                    </a:cubicBezTo>
                    <a:cubicBezTo>
                      <a:pt x="1012" y="499"/>
                      <a:pt x="1012" y="499"/>
                      <a:pt x="1012" y="499"/>
                    </a:cubicBezTo>
                    <a:cubicBezTo>
                      <a:pt x="1009" y="498"/>
                      <a:pt x="1009" y="498"/>
                      <a:pt x="1009" y="498"/>
                    </a:cubicBezTo>
                    <a:cubicBezTo>
                      <a:pt x="1007" y="499"/>
                      <a:pt x="1007" y="499"/>
                      <a:pt x="1007" y="499"/>
                    </a:cubicBezTo>
                    <a:cubicBezTo>
                      <a:pt x="1003" y="498"/>
                      <a:pt x="1003" y="498"/>
                      <a:pt x="1003" y="498"/>
                    </a:cubicBezTo>
                    <a:cubicBezTo>
                      <a:pt x="1000" y="498"/>
                      <a:pt x="1000" y="498"/>
                      <a:pt x="1000" y="498"/>
                    </a:cubicBezTo>
                    <a:cubicBezTo>
                      <a:pt x="997" y="497"/>
                      <a:pt x="997" y="497"/>
                      <a:pt x="997" y="497"/>
                    </a:cubicBezTo>
                    <a:cubicBezTo>
                      <a:pt x="994" y="497"/>
                      <a:pt x="994" y="497"/>
                      <a:pt x="994" y="497"/>
                    </a:cubicBezTo>
                    <a:cubicBezTo>
                      <a:pt x="994" y="499"/>
                      <a:pt x="994" y="499"/>
                      <a:pt x="994" y="499"/>
                    </a:cubicBezTo>
                    <a:cubicBezTo>
                      <a:pt x="995" y="501"/>
                      <a:pt x="995" y="501"/>
                      <a:pt x="995" y="501"/>
                    </a:cubicBezTo>
                    <a:cubicBezTo>
                      <a:pt x="1003" y="501"/>
                      <a:pt x="1003" y="501"/>
                      <a:pt x="1003" y="501"/>
                    </a:cubicBezTo>
                    <a:cubicBezTo>
                      <a:pt x="1001" y="504"/>
                      <a:pt x="1001" y="504"/>
                      <a:pt x="1001" y="504"/>
                    </a:cubicBezTo>
                    <a:cubicBezTo>
                      <a:pt x="999" y="506"/>
                      <a:pt x="999" y="506"/>
                      <a:pt x="999" y="506"/>
                    </a:cubicBezTo>
                    <a:cubicBezTo>
                      <a:pt x="1001" y="508"/>
                      <a:pt x="1001" y="508"/>
                      <a:pt x="1001" y="508"/>
                    </a:cubicBezTo>
                    <a:cubicBezTo>
                      <a:pt x="1001" y="512"/>
                      <a:pt x="1001" y="512"/>
                      <a:pt x="1001" y="512"/>
                    </a:cubicBezTo>
                    <a:cubicBezTo>
                      <a:pt x="999" y="516"/>
                      <a:pt x="999" y="516"/>
                      <a:pt x="999" y="516"/>
                    </a:cubicBezTo>
                    <a:cubicBezTo>
                      <a:pt x="997" y="517"/>
                      <a:pt x="997" y="517"/>
                      <a:pt x="997" y="517"/>
                    </a:cubicBezTo>
                    <a:cubicBezTo>
                      <a:pt x="994" y="520"/>
                      <a:pt x="994" y="520"/>
                      <a:pt x="994" y="520"/>
                    </a:cubicBezTo>
                    <a:cubicBezTo>
                      <a:pt x="991" y="520"/>
                      <a:pt x="991" y="520"/>
                      <a:pt x="991" y="520"/>
                    </a:cubicBezTo>
                    <a:cubicBezTo>
                      <a:pt x="988" y="521"/>
                      <a:pt x="988" y="521"/>
                      <a:pt x="988" y="521"/>
                    </a:cubicBezTo>
                    <a:cubicBezTo>
                      <a:pt x="986" y="525"/>
                      <a:pt x="986" y="525"/>
                      <a:pt x="986" y="525"/>
                    </a:cubicBezTo>
                    <a:cubicBezTo>
                      <a:pt x="984" y="528"/>
                      <a:pt x="984" y="528"/>
                      <a:pt x="984" y="528"/>
                    </a:cubicBezTo>
                    <a:cubicBezTo>
                      <a:pt x="981" y="528"/>
                      <a:pt x="981" y="528"/>
                      <a:pt x="981" y="528"/>
                    </a:cubicBezTo>
                    <a:cubicBezTo>
                      <a:pt x="981" y="531"/>
                      <a:pt x="981" y="531"/>
                      <a:pt x="981" y="531"/>
                    </a:cubicBezTo>
                    <a:cubicBezTo>
                      <a:pt x="979" y="532"/>
                      <a:pt x="979" y="532"/>
                      <a:pt x="979" y="532"/>
                    </a:cubicBezTo>
                    <a:close/>
                    <a:moveTo>
                      <a:pt x="1216" y="548"/>
                    </a:moveTo>
                    <a:cubicBezTo>
                      <a:pt x="1211" y="545"/>
                      <a:pt x="1211" y="545"/>
                      <a:pt x="1211" y="545"/>
                    </a:cubicBezTo>
                    <a:cubicBezTo>
                      <a:pt x="1207" y="544"/>
                      <a:pt x="1207" y="544"/>
                      <a:pt x="1207" y="544"/>
                    </a:cubicBezTo>
                    <a:cubicBezTo>
                      <a:pt x="1205" y="540"/>
                      <a:pt x="1205" y="540"/>
                      <a:pt x="1205" y="540"/>
                    </a:cubicBezTo>
                    <a:cubicBezTo>
                      <a:pt x="1203" y="538"/>
                      <a:pt x="1203" y="538"/>
                      <a:pt x="1203" y="538"/>
                    </a:cubicBezTo>
                    <a:cubicBezTo>
                      <a:pt x="1201" y="535"/>
                      <a:pt x="1201" y="535"/>
                      <a:pt x="1201" y="535"/>
                    </a:cubicBezTo>
                    <a:cubicBezTo>
                      <a:pt x="1202" y="530"/>
                      <a:pt x="1202" y="530"/>
                      <a:pt x="1202" y="530"/>
                    </a:cubicBezTo>
                    <a:cubicBezTo>
                      <a:pt x="1206" y="528"/>
                      <a:pt x="1206" y="528"/>
                      <a:pt x="1206" y="528"/>
                    </a:cubicBezTo>
                    <a:cubicBezTo>
                      <a:pt x="1206" y="525"/>
                      <a:pt x="1206" y="525"/>
                      <a:pt x="1206" y="525"/>
                    </a:cubicBezTo>
                    <a:cubicBezTo>
                      <a:pt x="1208" y="523"/>
                      <a:pt x="1208" y="523"/>
                      <a:pt x="1208" y="523"/>
                    </a:cubicBezTo>
                    <a:cubicBezTo>
                      <a:pt x="1207" y="520"/>
                      <a:pt x="1207" y="520"/>
                      <a:pt x="1207" y="520"/>
                    </a:cubicBezTo>
                    <a:cubicBezTo>
                      <a:pt x="1204" y="519"/>
                      <a:pt x="1204" y="519"/>
                      <a:pt x="1204" y="519"/>
                    </a:cubicBezTo>
                    <a:cubicBezTo>
                      <a:pt x="1200" y="516"/>
                      <a:pt x="1200" y="516"/>
                      <a:pt x="1200" y="516"/>
                    </a:cubicBezTo>
                    <a:cubicBezTo>
                      <a:pt x="1204" y="509"/>
                      <a:pt x="1204" y="509"/>
                      <a:pt x="1204" y="509"/>
                    </a:cubicBezTo>
                    <a:cubicBezTo>
                      <a:pt x="1206" y="509"/>
                      <a:pt x="1206" y="509"/>
                      <a:pt x="1206" y="509"/>
                    </a:cubicBezTo>
                    <a:cubicBezTo>
                      <a:pt x="1208" y="507"/>
                      <a:pt x="1208" y="507"/>
                      <a:pt x="1208" y="507"/>
                    </a:cubicBezTo>
                    <a:cubicBezTo>
                      <a:pt x="1207" y="503"/>
                      <a:pt x="1207" y="503"/>
                      <a:pt x="1207" y="503"/>
                    </a:cubicBezTo>
                    <a:cubicBezTo>
                      <a:pt x="1209" y="501"/>
                      <a:pt x="1209" y="501"/>
                      <a:pt x="1209" y="501"/>
                    </a:cubicBezTo>
                    <a:cubicBezTo>
                      <a:pt x="1210" y="496"/>
                      <a:pt x="1210" y="496"/>
                      <a:pt x="1210" y="496"/>
                    </a:cubicBezTo>
                    <a:cubicBezTo>
                      <a:pt x="1214" y="495"/>
                      <a:pt x="1214" y="495"/>
                      <a:pt x="1214" y="495"/>
                    </a:cubicBezTo>
                    <a:cubicBezTo>
                      <a:pt x="1216" y="497"/>
                      <a:pt x="1216" y="497"/>
                      <a:pt x="1216" y="497"/>
                    </a:cubicBezTo>
                    <a:cubicBezTo>
                      <a:pt x="1217" y="500"/>
                      <a:pt x="1217" y="500"/>
                      <a:pt x="1217" y="500"/>
                    </a:cubicBezTo>
                    <a:cubicBezTo>
                      <a:pt x="1224" y="502"/>
                      <a:pt x="1224" y="502"/>
                      <a:pt x="1224" y="502"/>
                    </a:cubicBezTo>
                    <a:cubicBezTo>
                      <a:pt x="1227" y="505"/>
                      <a:pt x="1227" y="505"/>
                      <a:pt x="1227" y="505"/>
                    </a:cubicBezTo>
                    <a:cubicBezTo>
                      <a:pt x="1231" y="506"/>
                      <a:pt x="1231" y="506"/>
                      <a:pt x="1231" y="506"/>
                    </a:cubicBezTo>
                    <a:cubicBezTo>
                      <a:pt x="1233" y="505"/>
                      <a:pt x="1233" y="505"/>
                      <a:pt x="1233" y="505"/>
                    </a:cubicBezTo>
                    <a:cubicBezTo>
                      <a:pt x="1240" y="507"/>
                      <a:pt x="1240" y="507"/>
                      <a:pt x="1240" y="507"/>
                    </a:cubicBezTo>
                    <a:cubicBezTo>
                      <a:pt x="1245" y="507"/>
                      <a:pt x="1245" y="507"/>
                      <a:pt x="1245" y="507"/>
                    </a:cubicBezTo>
                    <a:cubicBezTo>
                      <a:pt x="1248" y="509"/>
                      <a:pt x="1248" y="509"/>
                      <a:pt x="1248" y="509"/>
                    </a:cubicBezTo>
                    <a:cubicBezTo>
                      <a:pt x="1249" y="512"/>
                      <a:pt x="1249" y="512"/>
                      <a:pt x="1249" y="512"/>
                    </a:cubicBezTo>
                    <a:cubicBezTo>
                      <a:pt x="1254" y="515"/>
                      <a:pt x="1254" y="515"/>
                      <a:pt x="1254" y="515"/>
                    </a:cubicBezTo>
                    <a:cubicBezTo>
                      <a:pt x="1256" y="519"/>
                      <a:pt x="1256" y="519"/>
                      <a:pt x="1256" y="519"/>
                    </a:cubicBezTo>
                    <a:cubicBezTo>
                      <a:pt x="1254" y="523"/>
                      <a:pt x="1254" y="523"/>
                      <a:pt x="1254" y="523"/>
                    </a:cubicBezTo>
                    <a:cubicBezTo>
                      <a:pt x="1255" y="525"/>
                      <a:pt x="1255" y="525"/>
                      <a:pt x="1255" y="525"/>
                    </a:cubicBezTo>
                    <a:cubicBezTo>
                      <a:pt x="1258" y="527"/>
                      <a:pt x="1258" y="527"/>
                      <a:pt x="1258" y="527"/>
                    </a:cubicBezTo>
                    <a:cubicBezTo>
                      <a:pt x="1257" y="529"/>
                      <a:pt x="1257" y="529"/>
                      <a:pt x="1257" y="529"/>
                    </a:cubicBezTo>
                    <a:cubicBezTo>
                      <a:pt x="1258" y="533"/>
                      <a:pt x="1258" y="533"/>
                      <a:pt x="1258" y="533"/>
                    </a:cubicBezTo>
                    <a:cubicBezTo>
                      <a:pt x="1258" y="535"/>
                      <a:pt x="1258" y="535"/>
                      <a:pt x="1258" y="535"/>
                    </a:cubicBezTo>
                    <a:cubicBezTo>
                      <a:pt x="1259" y="539"/>
                      <a:pt x="1259" y="539"/>
                      <a:pt x="1259" y="539"/>
                    </a:cubicBezTo>
                    <a:cubicBezTo>
                      <a:pt x="1259" y="542"/>
                      <a:pt x="1259" y="542"/>
                      <a:pt x="1259" y="542"/>
                    </a:cubicBezTo>
                    <a:cubicBezTo>
                      <a:pt x="1257" y="544"/>
                      <a:pt x="1257" y="544"/>
                      <a:pt x="1257" y="544"/>
                    </a:cubicBezTo>
                    <a:cubicBezTo>
                      <a:pt x="1262" y="546"/>
                      <a:pt x="1262" y="546"/>
                      <a:pt x="1262" y="546"/>
                    </a:cubicBezTo>
                    <a:cubicBezTo>
                      <a:pt x="1262" y="547"/>
                      <a:pt x="1262" y="547"/>
                      <a:pt x="1262" y="547"/>
                    </a:cubicBezTo>
                    <a:cubicBezTo>
                      <a:pt x="1259" y="549"/>
                      <a:pt x="1259" y="549"/>
                      <a:pt x="1259" y="549"/>
                    </a:cubicBezTo>
                    <a:cubicBezTo>
                      <a:pt x="1258" y="551"/>
                      <a:pt x="1258" y="551"/>
                      <a:pt x="1258" y="551"/>
                    </a:cubicBezTo>
                    <a:cubicBezTo>
                      <a:pt x="1251" y="550"/>
                      <a:pt x="1251" y="550"/>
                      <a:pt x="1251" y="550"/>
                    </a:cubicBezTo>
                    <a:cubicBezTo>
                      <a:pt x="1250" y="548"/>
                      <a:pt x="1250" y="548"/>
                      <a:pt x="1250" y="548"/>
                    </a:cubicBezTo>
                    <a:cubicBezTo>
                      <a:pt x="1243" y="547"/>
                      <a:pt x="1243" y="547"/>
                      <a:pt x="1243" y="547"/>
                    </a:cubicBezTo>
                    <a:cubicBezTo>
                      <a:pt x="1241" y="545"/>
                      <a:pt x="1241" y="545"/>
                      <a:pt x="1241" y="545"/>
                    </a:cubicBezTo>
                    <a:cubicBezTo>
                      <a:pt x="1236" y="544"/>
                      <a:pt x="1236" y="544"/>
                      <a:pt x="1236" y="544"/>
                    </a:cubicBezTo>
                    <a:cubicBezTo>
                      <a:pt x="1234" y="544"/>
                      <a:pt x="1234" y="544"/>
                      <a:pt x="1234" y="544"/>
                    </a:cubicBezTo>
                    <a:cubicBezTo>
                      <a:pt x="1231" y="542"/>
                      <a:pt x="1231" y="542"/>
                      <a:pt x="1231" y="542"/>
                    </a:cubicBezTo>
                    <a:cubicBezTo>
                      <a:pt x="1225" y="544"/>
                      <a:pt x="1225" y="544"/>
                      <a:pt x="1225" y="544"/>
                    </a:cubicBezTo>
                    <a:cubicBezTo>
                      <a:pt x="1222" y="544"/>
                      <a:pt x="1222" y="544"/>
                      <a:pt x="1222" y="544"/>
                    </a:cubicBezTo>
                    <a:cubicBezTo>
                      <a:pt x="1218" y="547"/>
                      <a:pt x="1218" y="547"/>
                      <a:pt x="1218" y="547"/>
                    </a:cubicBezTo>
                    <a:cubicBezTo>
                      <a:pt x="1216" y="548"/>
                      <a:pt x="1216" y="548"/>
                      <a:pt x="1216" y="548"/>
                    </a:cubicBezTo>
                    <a:close/>
                    <a:moveTo>
                      <a:pt x="1194" y="554"/>
                    </a:moveTo>
                    <a:cubicBezTo>
                      <a:pt x="1194" y="550"/>
                      <a:pt x="1194" y="550"/>
                      <a:pt x="1194" y="550"/>
                    </a:cubicBezTo>
                    <a:cubicBezTo>
                      <a:pt x="1195" y="548"/>
                      <a:pt x="1195" y="548"/>
                      <a:pt x="1195" y="548"/>
                    </a:cubicBezTo>
                    <a:cubicBezTo>
                      <a:pt x="1196" y="549"/>
                      <a:pt x="1196" y="549"/>
                      <a:pt x="1196" y="549"/>
                    </a:cubicBezTo>
                    <a:cubicBezTo>
                      <a:pt x="1196" y="552"/>
                      <a:pt x="1196" y="552"/>
                      <a:pt x="1196" y="552"/>
                    </a:cubicBezTo>
                    <a:cubicBezTo>
                      <a:pt x="1194" y="554"/>
                      <a:pt x="1194" y="554"/>
                      <a:pt x="1194" y="554"/>
                    </a:cubicBezTo>
                    <a:close/>
                    <a:moveTo>
                      <a:pt x="1200" y="557"/>
                    </a:moveTo>
                    <a:cubicBezTo>
                      <a:pt x="1198" y="555"/>
                      <a:pt x="1198" y="555"/>
                      <a:pt x="1198" y="555"/>
                    </a:cubicBezTo>
                    <a:cubicBezTo>
                      <a:pt x="1200" y="553"/>
                      <a:pt x="1200" y="553"/>
                      <a:pt x="1200" y="553"/>
                    </a:cubicBezTo>
                    <a:cubicBezTo>
                      <a:pt x="1201" y="553"/>
                      <a:pt x="1201" y="553"/>
                      <a:pt x="1201" y="553"/>
                    </a:cubicBezTo>
                    <a:cubicBezTo>
                      <a:pt x="1202" y="556"/>
                      <a:pt x="1202" y="556"/>
                      <a:pt x="1202" y="556"/>
                    </a:cubicBezTo>
                    <a:cubicBezTo>
                      <a:pt x="1200" y="557"/>
                      <a:pt x="1200" y="557"/>
                      <a:pt x="1200" y="557"/>
                    </a:cubicBezTo>
                    <a:close/>
                    <a:moveTo>
                      <a:pt x="1210" y="557"/>
                    </a:moveTo>
                    <a:cubicBezTo>
                      <a:pt x="1207" y="556"/>
                      <a:pt x="1207" y="556"/>
                      <a:pt x="1207" y="556"/>
                    </a:cubicBezTo>
                    <a:cubicBezTo>
                      <a:pt x="1207" y="554"/>
                      <a:pt x="1207" y="554"/>
                      <a:pt x="1207" y="554"/>
                    </a:cubicBezTo>
                    <a:cubicBezTo>
                      <a:pt x="1208" y="554"/>
                      <a:pt x="1208" y="554"/>
                      <a:pt x="1208" y="554"/>
                    </a:cubicBezTo>
                    <a:cubicBezTo>
                      <a:pt x="1211" y="556"/>
                      <a:pt x="1211" y="556"/>
                      <a:pt x="1211" y="556"/>
                    </a:cubicBezTo>
                    <a:cubicBezTo>
                      <a:pt x="1210" y="557"/>
                      <a:pt x="1210" y="557"/>
                      <a:pt x="1210" y="557"/>
                    </a:cubicBezTo>
                    <a:close/>
                    <a:moveTo>
                      <a:pt x="971" y="635"/>
                    </a:moveTo>
                    <a:cubicBezTo>
                      <a:pt x="970" y="634"/>
                      <a:pt x="970" y="634"/>
                      <a:pt x="970" y="634"/>
                    </a:cubicBezTo>
                    <a:cubicBezTo>
                      <a:pt x="972" y="632"/>
                      <a:pt x="972" y="632"/>
                      <a:pt x="972" y="632"/>
                    </a:cubicBezTo>
                    <a:cubicBezTo>
                      <a:pt x="974" y="632"/>
                      <a:pt x="974" y="632"/>
                      <a:pt x="974" y="632"/>
                    </a:cubicBezTo>
                    <a:cubicBezTo>
                      <a:pt x="976" y="633"/>
                      <a:pt x="976" y="633"/>
                      <a:pt x="976" y="633"/>
                    </a:cubicBezTo>
                    <a:cubicBezTo>
                      <a:pt x="975" y="635"/>
                      <a:pt x="975" y="635"/>
                      <a:pt x="975" y="635"/>
                    </a:cubicBezTo>
                    <a:cubicBezTo>
                      <a:pt x="973" y="635"/>
                      <a:pt x="973" y="635"/>
                      <a:pt x="973" y="635"/>
                    </a:cubicBezTo>
                    <a:cubicBezTo>
                      <a:pt x="971" y="635"/>
                      <a:pt x="971" y="635"/>
                      <a:pt x="971" y="635"/>
                    </a:cubicBezTo>
                    <a:close/>
                    <a:moveTo>
                      <a:pt x="983" y="654"/>
                    </a:moveTo>
                    <a:cubicBezTo>
                      <a:pt x="983" y="659"/>
                      <a:pt x="983" y="659"/>
                      <a:pt x="983" y="659"/>
                    </a:cubicBezTo>
                    <a:cubicBezTo>
                      <a:pt x="985" y="657"/>
                      <a:pt x="985" y="657"/>
                      <a:pt x="985" y="657"/>
                    </a:cubicBezTo>
                    <a:cubicBezTo>
                      <a:pt x="986" y="657"/>
                      <a:pt x="986" y="657"/>
                      <a:pt x="986" y="657"/>
                    </a:cubicBezTo>
                    <a:cubicBezTo>
                      <a:pt x="986" y="654"/>
                      <a:pt x="986" y="654"/>
                      <a:pt x="986" y="654"/>
                    </a:cubicBezTo>
                    <a:cubicBezTo>
                      <a:pt x="985" y="652"/>
                      <a:pt x="985" y="652"/>
                      <a:pt x="985" y="652"/>
                    </a:cubicBezTo>
                    <a:cubicBezTo>
                      <a:pt x="983" y="654"/>
                      <a:pt x="983" y="654"/>
                      <a:pt x="983" y="654"/>
                    </a:cubicBezTo>
                    <a:close/>
                    <a:moveTo>
                      <a:pt x="979" y="654"/>
                    </a:moveTo>
                    <a:cubicBezTo>
                      <a:pt x="978" y="657"/>
                      <a:pt x="978" y="657"/>
                      <a:pt x="978" y="657"/>
                    </a:cubicBezTo>
                    <a:cubicBezTo>
                      <a:pt x="980" y="659"/>
                      <a:pt x="980" y="659"/>
                      <a:pt x="980" y="659"/>
                    </a:cubicBezTo>
                    <a:cubicBezTo>
                      <a:pt x="980" y="660"/>
                      <a:pt x="980" y="660"/>
                      <a:pt x="980" y="660"/>
                    </a:cubicBezTo>
                    <a:cubicBezTo>
                      <a:pt x="981" y="661"/>
                      <a:pt x="981" y="661"/>
                      <a:pt x="981" y="661"/>
                    </a:cubicBezTo>
                    <a:cubicBezTo>
                      <a:pt x="982" y="660"/>
                      <a:pt x="982" y="660"/>
                      <a:pt x="982" y="660"/>
                    </a:cubicBezTo>
                    <a:cubicBezTo>
                      <a:pt x="981" y="655"/>
                      <a:pt x="981" y="655"/>
                      <a:pt x="981" y="655"/>
                    </a:cubicBezTo>
                    <a:cubicBezTo>
                      <a:pt x="980" y="654"/>
                      <a:pt x="980" y="654"/>
                      <a:pt x="980" y="654"/>
                    </a:cubicBezTo>
                    <a:cubicBezTo>
                      <a:pt x="979" y="654"/>
                      <a:pt x="979" y="654"/>
                      <a:pt x="979" y="654"/>
                    </a:cubicBezTo>
                    <a:close/>
                    <a:moveTo>
                      <a:pt x="1053" y="642"/>
                    </a:moveTo>
                    <a:cubicBezTo>
                      <a:pt x="1052" y="640"/>
                      <a:pt x="1052" y="640"/>
                      <a:pt x="1052" y="640"/>
                    </a:cubicBezTo>
                    <a:cubicBezTo>
                      <a:pt x="1049" y="640"/>
                      <a:pt x="1049" y="640"/>
                      <a:pt x="1049" y="640"/>
                    </a:cubicBezTo>
                    <a:cubicBezTo>
                      <a:pt x="1047" y="638"/>
                      <a:pt x="1047" y="638"/>
                      <a:pt x="1047" y="638"/>
                    </a:cubicBezTo>
                    <a:cubicBezTo>
                      <a:pt x="1046" y="639"/>
                      <a:pt x="1046" y="639"/>
                      <a:pt x="1046" y="639"/>
                    </a:cubicBezTo>
                    <a:cubicBezTo>
                      <a:pt x="1044" y="639"/>
                      <a:pt x="1044" y="639"/>
                      <a:pt x="1044" y="639"/>
                    </a:cubicBezTo>
                    <a:cubicBezTo>
                      <a:pt x="1044" y="635"/>
                      <a:pt x="1044" y="635"/>
                      <a:pt x="1044" y="635"/>
                    </a:cubicBezTo>
                    <a:cubicBezTo>
                      <a:pt x="1042" y="634"/>
                      <a:pt x="1042" y="634"/>
                      <a:pt x="1042" y="634"/>
                    </a:cubicBezTo>
                    <a:cubicBezTo>
                      <a:pt x="1046" y="633"/>
                      <a:pt x="1046" y="633"/>
                      <a:pt x="1046" y="633"/>
                    </a:cubicBezTo>
                    <a:cubicBezTo>
                      <a:pt x="1047" y="632"/>
                      <a:pt x="1047" y="632"/>
                      <a:pt x="1047" y="632"/>
                    </a:cubicBezTo>
                    <a:cubicBezTo>
                      <a:pt x="1050" y="632"/>
                      <a:pt x="1050" y="632"/>
                      <a:pt x="1050" y="632"/>
                    </a:cubicBezTo>
                    <a:cubicBezTo>
                      <a:pt x="1052" y="635"/>
                      <a:pt x="1052" y="635"/>
                      <a:pt x="1052" y="635"/>
                    </a:cubicBezTo>
                    <a:cubicBezTo>
                      <a:pt x="1056" y="636"/>
                      <a:pt x="1056" y="636"/>
                      <a:pt x="1056" y="636"/>
                    </a:cubicBezTo>
                    <a:cubicBezTo>
                      <a:pt x="1057" y="639"/>
                      <a:pt x="1057" y="639"/>
                      <a:pt x="1057" y="639"/>
                    </a:cubicBezTo>
                    <a:cubicBezTo>
                      <a:pt x="1055" y="641"/>
                      <a:pt x="1055" y="641"/>
                      <a:pt x="1055" y="641"/>
                    </a:cubicBezTo>
                    <a:cubicBezTo>
                      <a:pt x="1053" y="642"/>
                      <a:pt x="1053" y="642"/>
                      <a:pt x="1053" y="642"/>
                    </a:cubicBezTo>
                    <a:close/>
                    <a:moveTo>
                      <a:pt x="1095" y="658"/>
                    </a:moveTo>
                    <a:cubicBezTo>
                      <a:pt x="1093" y="658"/>
                      <a:pt x="1093" y="658"/>
                      <a:pt x="1093" y="658"/>
                    </a:cubicBezTo>
                    <a:cubicBezTo>
                      <a:pt x="1091" y="654"/>
                      <a:pt x="1091" y="654"/>
                      <a:pt x="1091" y="654"/>
                    </a:cubicBezTo>
                    <a:cubicBezTo>
                      <a:pt x="1093" y="655"/>
                      <a:pt x="1093" y="655"/>
                      <a:pt x="1093" y="655"/>
                    </a:cubicBezTo>
                    <a:cubicBezTo>
                      <a:pt x="1095" y="655"/>
                      <a:pt x="1095" y="655"/>
                      <a:pt x="1095" y="655"/>
                    </a:cubicBezTo>
                    <a:cubicBezTo>
                      <a:pt x="1096" y="657"/>
                      <a:pt x="1096" y="657"/>
                      <a:pt x="1096" y="657"/>
                    </a:cubicBezTo>
                    <a:cubicBezTo>
                      <a:pt x="1095" y="658"/>
                      <a:pt x="1095" y="658"/>
                      <a:pt x="1095" y="658"/>
                    </a:cubicBezTo>
                    <a:close/>
                    <a:moveTo>
                      <a:pt x="1099" y="658"/>
                    </a:moveTo>
                    <a:cubicBezTo>
                      <a:pt x="1102" y="659"/>
                      <a:pt x="1102" y="659"/>
                      <a:pt x="1102" y="659"/>
                    </a:cubicBezTo>
                    <a:cubicBezTo>
                      <a:pt x="1101" y="657"/>
                      <a:pt x="1101" y="657"/>
                      <a:pt x="1101" y="657"/>
                    </a:cubicBezTo>
                    <a:cubicBezTo>
                      <a:pt x="1099" y="658"/>
                      <a:pt x="1099" y="658"/>
                      <a:pt x="1099" y="658"/>
                    </a:cubicBezTo>
                    <a:close/>
                    <a:moveTo>
                      <a:pt x="1106" y="660"/>
                    </a:moveTo>
                    <a:cubicBezTo>
                      <a:pt x="1108" y="660"/>
                      <a:pt x="1108" y="660"/>
                      <a:pt x="1108" y="660"/>
                    </a:cubicBezTo>
                    <a:cubicBezTo>
                      <a:pt x="1110" y="662"/>
                      <a:pt x="1110" y="662"/>
                      <a:pt x="1110" y="662"/>
                    </a:cubicBezTo>
                    <a:cubicBezTo>
                      <a:pt x="1112" y="661"/>
                      <a:pt x="1112" y="661"/>
                      <a:pt x="1112" y="661"/>
                    </a:cubicBezTo>
                    <a:cubicBezTo>
                      <a:pt x="1112" y="660"/>
                      <a:pt x="1112" y="660"/>
                      <a:pt x="1112" y="660"/>
                    </a:cubicBezTo>
                    <a:cubicBezTo>
                      <a:pt x="1109" y="658"/>
                      <a:pt x="1109" y="658"/>
                      <a:pt x="1109" y="658"/>
                    </a:cubicBezTo>
                    <a:cubicBezTo>
                      <a:pt x="1108" y="657"/>
                      <a:pt x="1108" y="657"/>
                      <a:pt x="1108" y="657"/>
                    </a:cubicBezTo>
                    <a:cubicBezTo>
                      <a:pt x="1105" y="657"/>
                      <a:pt x="1105" y="657"/>
                      <a:pt x="1105" y="657"/>
                    </a:cubicBezTo>
                    <a:cubicBezTo>
                      <a:pt x="1105" y="659"/>
                      <a:pt x="1105" y="659"/>
                      <a:pt x="1105" y="659"/>
                    </a:cubicBezTo>
                    <a:cubicBezTo>
                      <a:pt x="1106" y="660"/>
                      <a:pt x="1106" y="660"/>
                      <a:pt x="1106" y="660"/>
                    </a:cubicBezTo>
                    <a:close/>
                    <a:moveTo>
                      <a:pt x="1150" y="718"/>
                    </a:moveTo>
                    <a:cubicBezTo>
                      <a:pt x="1150" y="716"/>
                      <a:pt x="1150" y="716"/>
                      <a:pt x="1150" y="716"/>
                    </a:cubicBezTo>
                    <a:cubicBezTo>
                      <a:pt x="1151" y="714"/>
                      <a:pt x="1151" y="714"/>
                      <a:pt x="1151" y="714"/>
                    </a:cubicBezTo>
                    <a:cubicBezTo>
                      <a:pt x="1151" y="711"/>
                      <a:pt x="1151" y="711"/>
                      <a:pt x="1151" y="711"/>
                    </a:cubicBezTo>
                    <a:cubicBezTo>
                      <a:pt x="1152" y="711"/>
                      <a:pt x="1152" y="711"/>
                      <a:pt x="1152" y="711"/>
                    </a:cubicBezTo>
                    <a:cubicBezTo>
                      <a:pt x="1154" y="713"/>
                      <a:pt x="1154" y="713"/>
                      <a:pt x="1154" y="713"/>
                    </a:cubicBezTo>
                    <a:cubicBezTo>
                      <a:pt x="1154" y="715"/>
                      <a:pt x="1154" y="715"/>
                      <a:pt x="1154" y="715"/>
                    </a:cubicBezTo>
                    <a:cubicBezTo>
                      <a:pt x="1153" y="718"/>
                      <a:pt x="1153" y="718"/>
                      <a:pt x="1153" y="718"/>
                    </a:cubicBezTo>
                    <a:cubicBezTo>
                      <a:pt x="1150" y="718"/>
                      <a:pt x="1150" y="718"/>
                      <a:pt x="1150" y="718"/>
                    </a:cubicBezTo>
                    <a:close/>
                    <a:moveTo>
                      <a:pt x="1147" y="729"/>
                    </a:moveTo>
                    <a:cubicBezTo>
                      <a:pt x="1145" y="725"/>
                      <a:pt x="1145" y="725"/>
                      <a:pt x="1145" y="725"/>
                    </a:cubicBezTo>
                    <a:cubicBezTo>
                      <a:pt x="1147" y="722"/>
                      <a:pt x="1147" y="722"/>
                      <a:pt x="1147" y="722"/>
                    </a:cubicBezTo>
                    <a:cubicBezTo>
                      <a:pt x="1148" y="723"/>
                      <a:pt x="1148" y="723"/>
                      <a:pt x="1148" y="723"/>
                    </a:cubicBezTo>
                    <a:cubicBezTo>
                      <a:pt x="1151" y="723"/>
                      <a:pt x="1151" y="723"/>
                      <a:pt x="1151" y="723"/>
                    </a:cubicBezTo>
                    <a:cubicBezTo>
                      <a:pt x="1151" y="725"/>
                      <a:pt x="1151" y="725"/>
                      <a:pt x="1151" y="725"/>
                    </a:cubicBezTo>
                    <a:cubicBezTo>
                      <a:pt x="1148" y="726"/>
                      <a:pt x="1148" y="726"/>
                      <a:pt x="1148" y="726"/>
                    </a:cubicBezTo>
                    <a:cubicBezTo>
                      <a:pt x="1148" y="728"/>
                      <a:pt x="1148" y="728"/>
                      <a:pt x="1148" y="728"/>
                    </a:cubicBezTo>
                    <a:cubicBezTo>
                      <a:pt x="1147" y="729"/>
                      <a:pt x="1147" y="729"/>
                      <a:pt x="1147" y="729"/>
                    </a:cubicBezTo>
                    <a:close/>
                    <a:moveTo>
                      <a:pt x="1120" y="673"/>
                    </a:moveTo>
                    <a:cubicBezTo>
                      <a:pt x="1119" y="672"/>
                      <a:pt x="1119" y="672"/>
                      <a:pt x="1119" y="672"/>
                    </a:cubicBezTo>
                    <a:cubicBezTo>
                      <a:pt x="1120" y="672"/>
                      <a:pt x="1120" y="672"/>
                      <a:pt x="1120" y="672"/>
                    </a:cubicBezTo>
                    <a:cubicBezTo>
                      <a:pt x="1120" y="673"/>
                      <a:pt x="1120" y="673"/>
                      <a:pt x="1120" y="673"/>
                    </a:cubicBezTo>
                    <a:close/>
                    <a:moveTo>
                      <a:pt x="1114" y="674"/>
                    </a:moveTo>
                    <a:cubicBezTo>
                      <a:pt x="1113" y="671"/>
                      <a:pt x="1113" y="671"/>
                      <a:pt x="1113" y="671"/>
                    </a:cubicBezTo>
                    <a:cubicBezTo>
                      <a:pt x="1115" y="672"/>
                      <a:pt x="1115" y="672"/>
                      <a:pt x="1115" y="672"/>
                    </a:cubicBezTo>
                    <a:cubicBezTo>
                      <a:pt x="1115" y="673"/>
                      <a:pt x="1115" y="673"/>
                      <a:pt x="1115" y="673"/>
                    </a:cubicBezTo>
                    <a:cubicBezTo>
                      <a:pt x="1114" y="674"/>
                      <a:pt x="1114" y="674"/>
                      <a:pt x="1114" y="674"/>
                    </a:cubicBezTo>
                    <a:close/>
                    <a:moveTo>
                      <a:pt x="1116" y="676"/>
                    </a:moveTo>
                    <a:cubicBezTo>
                      <a:pt x="1117" y="678"/>
                      <a:pt x="1117" y="678"/>
                      <a:pt x="1117" y="678"/>
                    </a:cubicBezTo>
                    <a:cubicBezTo>
                      <a:pt x="1119" y="678"/>
                      <a:pt x="1119" y="678"/>
                      <a:pt x="1119" y="678"/>
                    </a:cubicBezTo>
                    <a:cubicBezTo>
                      <a:pt x="1121" y="679"/>
                      <a:pt x="1121" y="679"/>
                      <a:pt x="1121" y="679"/>
                    </a:cubicBezTo>
                    <a:cubicBezTo>
                      <a:pt x="1122" y="677"/>
                      <a:pt x="1122" y="677"/>
                      <a:pt x="1122" y="677"/>
                    </a:cubicBezTo>
                    <a:cubicBezTo>
                      <a:pt x="1119" y="675"/>
                      <a:pt x="1119" y="675"/>
                      <a:pt x="1119" y="675"/>
                    </a:cubicBezTo>
                    <a:cubicBezTo>
                      <a:pt x="1116" y="675"/>
                      <a:pt x="1116" y="675"/>
                      <a:pt x="1116" y="675"/>
                    </a:cubicBezTo>
                    <a:cubicBezTo>
                      <a:pt x="1116" y="676"/>
                      <a:pt x="1116" y="676"/>
                      <a:pt x="1116" y="676"/>
                    </a:cubicBezTo>
                    <a:close/>
                    <a:moveTo>
                      <a:pt x="1140" y="667"/>
                    </a:moveTo>
                    <a:cubicBezTo>
                      <a:pt x="1143" y="667"/>
                      <a:pt x="1143" y="667"/>
                      <a:pt x="1143" y="667"/>
                    </a:cubicBezTo>
                    <a:cubicBezTo>
                      <a:pt x="1144" y="669"/>
                      <a:pt x="1144" y="669"/>
                      <a:pt x="1144" y="669"/>
                    </a:cubicBezTo>
                    <a:cubicBezTo>
                      <a:pt x="1145" y="670"/>
                      <a:pt x="1145" y="670"/>
                      <a:pt x="1145" y="670"/>
                    </a:cubicBezTo>
                    <a:cubicBezTo>
                      <a:pt x="1144" y="672"/>
                      <a:pt x="1144" y="672"/>
                      <a:pt x="1144" y="672"/>
                    </a:cubicBezTo>
                    <a:cubicBezTo>
                      <a:pt x="1145" y="674"/>
                      <a:pt x="1145" y="674"/>
                      <a:pt x="1145" y="674"/>
                    </a:cubicBezTo>
                    <a:cubicBezTo>
                      <a:pt x="1147" y="673"/>
                      <a:pt x="1147" y="673"/>
                      <a:pt x="1147" y="673"/>
                    </a:cubicBezTo>
                    <a:cubicBezTo>
                      <a:pt x="1148" y="670"/>
                      <a:pt x="1148" y="670"/>
                      <a:pt x="1148" y="670"/>
                    </a:cubicBezTo>
                    <a:cubicBezTo>
                      <a:pt x="1150" y="671"/>
                      <a:pt x="1150" y="671"/>
                      <a:pt x="1150" y="671"/>
                    </a:cubicBezTo>
                    <a:cubicBezTo>
                      <a:pt x="1153" y="671"/>
                      <a:pt x="1153" y="671"/>
                      <a:pt x="1153" y="671"/>
                    </a:cubicBezTo>
                    <a:cubicBezTo>
                      <a:pt x="1154" y="671"/>
                      <a:pt x="1154" y="671"/>
                      <a:pt x="1154" y="671"/>
                    </a:cubicBezTo>
                    <a:cubicBezTo>
                      <a:pt x="1156" y="669"/>
                      <a:pt x="1156" y="669"/>
                      <a:pt x="1156" y="669"/>
                    </a:cubicBezTo>
                    <a:cubicBezTo>
                      <a:pt x="1155" y="667"/>
                      <a:pt x="1155" y="667"/>
                      <a:pt x="1155" y="667"/>
                    </a:cubicBezTo>
                    <a:cubicBezTo>
                      <a:pt x="1150" y="666"/>
                      <a:pt x="1150" y="666"/>
                      <a:pt x="1150" y="666"/>
                    </a:cubicBezTo>
                    <a:cubicBezTo>
                      <a:pt x="1147" y="663"/>
                      <a:pt x="1147" y="663"/>
                      <a:pt x="1147" y="663"/>
                    </a:cubicBezTo>
                    <a:cubicBezTo>
                      <a:pt x="1144" y="663"/>
                      <a:pt x="1144" y="663"/>
                      <a:pt x="1144" y="663"/>
                    </a:cubicBezTo>
                    <a:cubicBezTo>
                      <a:pt x="1143" y="665"/>
                      <a:pt x="1143" y="665"/>
                      <a:pt x="1143" y="665"/>
                    </a:cubicBezTo>
                    <a:cubicBezTo>
                      <a:pt x="1143" y="665"/>
                      <a:pt x="1140" y="666"/>
                      <a:pt x="1140" y="667"/>
                    </a:cubicBezTo>
                    <a:close/>
                    <a:moveTo>
                      <a:pt x="1184" y="664"/>
                    </a:moveTo>
                    <a:cubicBezTo>
                      <a:pt x="1184" y="661"/>
                      <a:pt x="1184" y="661"/>
                      <a:pt x="1184" y="661"/>
                    </a:cubicBezTo>
                    <a:cubicBezTo>
                      <a:pt x="1186" y="661"/>
                      <a:pt x="1186" y="661"/>
                      <a:pt x="1186" y="661"/>
                    </a:cubicBezTo>
                    <a:cubicBezTo>
                      <a:pt x="1185" y="663"/>
                      <a:pt x="1185" y="663"/>
                      <a:pt x="1185" y="663"/>
                    </a:cubicBezTo>
                    <a:cubicBezTo>
                      <a:pt x="1184" y="664"/>
                      <a:pt x="1184" y="664"/>
                      <a:pt x="1184" y="664"/>
                    </a:cubicBezTo>
                    <a:close/>
                    <a:moveTo>
                      <a:pt x="1169" y="681"/>
                    </a:moveTo>
                    <a:cubicBezTo>
                      <a:pt x="1171" y="678"/>
                      <a:pt x="1171" y="678"/>
                      <a:pt x="1171" y="678"/>
                    </a:cubicBezTo>
                    <a:cubicBezTo>
                      <a:pt x="1173" y="675"/>
                      <a:pt x="1173" y="675"/>
                      <a:pt x="1173" y="675"/>
                    </a:cubicBezTo>
                    <a:cubicBezTo>
                      <a:pt x="1176" y="675"/>
                      <a:pt x="1176" y="675"/>
                      <a:pt x="1176" y="675"/>
                    </a:cubicBezTo>
                    <a:cubicBezTo>
                      <a:pt x="1177" y="673"/>
                      <a:pt x="1177" y="673"/>
                      <a:pt x="1177" y="673"/>
                    </a:cubicBezTo>
                    <a:cubicBezTo>
                      <a:pt x="1179" y="673"/>
                      <a:pt x="1179" y="673"/>
                      <a:pt x="1179" y="673"/>
                    </a:cubicBezTo>
                    <a:cubicBezTo>
                      <a:pt x="1180" y="675"/>
                      <a:pt x="1180" y="675"/>
                      <a:pt x="1180" y="675"/>
                    </a:cubicBezTo>
                    <a:cubicBezTo>
                      <a:pt x="1180" y="676"/>
                      <a:pt x="1180" y="676"/>
                      <a:pt x="1180" y="676"/>
                    </a:cubicBezTo>
                    <a:cubicBezTo>
                      <a:pt x="1176" y="678"/>
                      <a:pt x="1176" y="678"/>
                      <a:pt x="1176" y="678"/>
                    </a:cubicBezTo>
                    <a:cubicBezTo>
                      <a:pt x="1173" y="680"/>
                      <a:pt x="1173" y="680"/>
                      <a:pt x="1173" y="680"/>
                    </a:cubicBezTo>
                    <a:cubicBezTo>
                      <a:pt x="1171" y="680"/>
                      <a:pt x="1171" y="680"/>
                      <a:pt x="1171" y="680"/>
                    </a:cubicBezTo>
                    <a:cubicBezTo>
                      <a:pt x="1169" y="681"/>
                      <a:pt x="1169" y="681"/>
                      <a:pt x="1169" y="681"/>
                    </a:cubicBezTo>
                    <a:close/>
                    <a:moveTo>
                      <a:pt x="1155" y="703"/>
                    </a:moveTo>
                    <a:cubicBezTo>
                      <a:pt x="1162" y="698"/>
                      <a:pt x="1162" y="698"/>
                      <a:pt x="1162" y="698"/>
                    </a:cubicBezTo>
                    <a:cubicBezTo>
                      <a:pt x="1163" y="695"/>
                      <a:pt x="1163" y="695"/>
                      <a:pt x="1163" y="695"/>
                    </a:cubicBezTo>
                    <a:cubicBezTo>
                      <a:pt x="1165" y="695"/>
                      <a:pt x="1165" y="695"/>
                      <a:pt x="1165" y="695"/>
                    </a:cubicBezTo>
                    <a:cubicBezTo>
                      <a:pt x="1168" y="692"/>
                      <a:pt x="1168" y="692"/>
                      <a:pt x="1168" y="692"/>
                    </a:cubicBezTo>
                    <a:cubicBezTo>
                      <a:pt x="1172" y="690"/>
                      <a:pt x="1172" y="690"/>
                      <a:pt x="1172" y="690"/>
                    </a:cubicBezTo>
                    <a:cubicBezTo>
                      <a:pt x="1171" y="686"/>
                      <a:pt x="1171" y="686"/>
                      <a:pt x="1171" y="686"/>
                    </a:cubicBezTo>
                    <a:cubicBezTo>
                      <a:pt x="1169" y="685"/>
                      <a:pt x="1169" y="685"/>
                      <a:pt x="1169" y="685"/>
                    </a:cubicBezTo>
                    <a:cubicBezTo>
                      <a:pt x="1167" y="686"/>
                      <a:pt x="1167" y="686"/>
                      <a:pt x="1167" y="686"/>
                    </a:cubicBezTo>
                    <a:cubicBezTo>
                      <a:pt x="1166" y="689"/>
                      <a:pt x="1166" y="689"/>
                      <a:pt x="1166" y="689"/>
                    </a:cubicBezTo>
                    <a:cubicBezTo>
                      <a:pt x="1164" y="689"/>
                      <a:pt x="1164" y="689"/>
                      <a:pt x="1164" y="689"/>
                    </a:cubicBezTo>
                    <a:cubicBezTo>
                      <a:pt x="1161" y="692"/>
                      <a:pt x="1161" y="692"/>
                      <a:pt x="1161" y="692"/>
                    </a:cubicBezTo>
                    <a:cubicBezTo>
                      <a:pt x="1158" y="693"/>
                      <a:pt x="1158" y="693"/>
                      <a:pt x="1158" y="693"/>
                    </a:cubicBezTo>
                    <a:cubicBezTo>
                      <a:pt x="1153" y="693"/>
                      <a:pt x="1153" y="693"/>
                      <a:pt x="1153" y="693"/>
                    </a:cubicBezTo>
                    <a:cubicBezTo>
                      <a:pt x="1150" y="695"/>
                      <a:pt x="1150" y="695"/>
                      <a:pt x="1150" y="695"/>
                    </a:cubicBezTo>
                    <a:cubicBezTo>
                      <a:pt x="1149" y="698"/>
                      <a:pt x="1149" y="698"/>
                      <a:pt x="1149" y="698"/>
                    </a:cubicBezTo>
                    <a:cubicBezTo>
                      <a:pt x="1146" y="700"/>
                      <a:pt x="1146" y="700"/>
                      <a:pt x="1146" y="700"/>
                    </a:cubicBezTo>
                    <a:cubicBezTo>
                      <a:pt x="1147" y="704"/>
                      <a:pt x="1147" y="704"/>
                      <a:pt x="1147" y="704"/>
                    </a:cubicBezTo>
                    <a:cubicBezTo>
                      <a:pt x="1148" y="703"/>
                      <a:pt x="1148" y="703"/>
                      <a:pt x="1148" y="703"/>
                    </a:cubicBezTo>
                    <a:cubicBezTo>
                      <a:pt x="1152" y="703"/>
                      <a:pt x="1152" y="703"/>
                      <a:pt x="1152" y="703"/>
                    </a:cubicBezTo>
                    <a:cubicBezTo>
                      <a:pt x="1155" y="703"/>
                      <a:pt x="1155" y="703"/>
                      <a:pt x="1155" y="703"/>
                    </a:cubicBezTo>
                    <a:close/>
                    <a:moveTo>
                      <a:pt x="1185" y="700"/>
                    </a:moveTo>
                    <a:cubicBezTo>
                      <a:pt x="1184" y="695"/>
                      <a:pt x="1184" y="695"/>
                      <a:pt x="1184" y="695"/>
                    </a:cubicBezTo>
                    <a:cubicBezTo>
                      <a:pt x="1186" y="693"/>
                      <a:pt x="1186" y="693"/>
                      <a:pt x="1186" y="693"/>
                    </a:cubicBezTo>
                    <a:cubicBezTo>
                      <a:pt x="1188" y="689"/>
                      <a:pt x="1188" y="689"/>
                      <a:pt x="1188" y="689"/>
                    </a:cubicBezTo>
                    <a:cubicBezTo>
                      <a:pt x="1190" y="690"/>
                      <a:pt x="1190" y="690"/>
                      <a:pt x="1190" y="690"/>
                    </a:cubicBezTo>
                    <a:cubicBezTo>
                      <a:pt x="1194" y="690"/>
                      <a:pt x="1194" y="690"/>
                      <a:pt x="1194" y="690"/>
                    </a:cubicBezTo>
                    <a:cubicBezTo>
                      <a:pt x="1195" y="694"/>
                      <a:pt x="1195" y="694"/>
                      <a:pt x="1195" y="694"/>
                    </a:cubicBezTo>
                    <a:cubicBezTo>
                      <a:pt x="1193" y="697"/>
                      <a:pt x="1193" y="697"/>
                      <a:pt x="1193" y="697"/>
                    </a:cubicBezTo>
                    <a:cubicBezTo>
                      <a:pt x="1191" y="697"/>
                      <a:pt x="1191" y="697"/>
                      <a:pt x="1191" y="697"/>
                    </a:cubicBezTo>
                    <a:cubicBezTo>
                      <a:pt x="1188" y="701"/>
                      <a:pt x="1188" y="701"/>
                      <a:pt x="1188" y="701"/>
                    </a:cubicBezTo>
                    <a:cubicBezTo>
                      <a:pt x="1185" y="700"/>
                      <a:pt x="1185" y="700"/>
                      <a:pt x="1185" y="700"/>
                    </a:cubicBezTo>
                    <a:close/>
                    <a:moveTo>
                      <a:pt x="1210" y="730"/>
                    </a:moveTo>
                    <a:cubicBezTo>
                      <a:pt x="1210" y="725"/>
                      <a:pt x="1210" y="725"/>
                      <a:pt x="1210" y="725"/>
                    </a:cubicBezTo>
                    <a:cubicBezTo>
                      <a:pt x="1210" y="720"/>
                      <a:pt x="1210" y="720"/>
                      <a:pt x="1210" y="720"/>
                    </a:cubicBezTo>
                    <a:cubicBezTo>
                      <a:pt x="1209" y="717"/>
                      <a:pt x="1209" y="717"/>
                      <a:pt x="1209" y="717"/>
                    </a:cubicBezTo>
                    <a:cubicBezTo>
                      <a:pt x="1207" y="718"/>
                      <a:pt x="1207" y="718"/>
                      <a:pt x="1207" y="718"/>
                    </a:cubicBezTo>
                    <a:cubicBezTo>
                      <a:pt x="1206" y="721"/>
                      <a:pt x="1206" y="721"/>
                      <a:pt x="1206" y="721"/>
                    </a:cubicBezTo>
                    <a:cubicBezTo>
                      <a:pt x="1204" y="724"/>
                      <a:pt x="1204" y="724"/>
                      <a:pt x="1204" y="724"/>
                    </a:cubicBezTo>
                    <a:cubicBezTo>
                      <a:pt x="1205" y="728"/>
                      <a:pt x="1205" y="728"/>
                      <a:pt x="1205" y="728"/>
                    </a:cubicBezTo>
                    <a:cubicBezTo>
                      <a:pt x="1206" y="730"/>
                      <a:pt x="1206" y="730"/>
                      <a:pt x="1206" y="730"/>
                    </a:cubicBezTo>
                    <a:cubicBezTo>
                      <a:pt x="1207" y="732"/>
                      <a:pt x="1207" y="732"/>
                      <a:pt x="1207" y="732"/>
                    </a:cubicBezTo>
                    <a:cubicBezTo>
                      <a:pt x="1209" y="731"/>
                      <a:pt x="1209" y="731"/>
                      <a:pt x="1209" y="731"/>
                    </a:cubicBezTo>
                    <a:cubicBezTo>
                      <a:pt x="1210" y="730"/>
                      <a:pt x="1210" y="730"/>
                      <a:pt x="1210" y="730"/>
                    </a:cubicBezTo>
                    <a:close/>
                    <a:moveTo>
                      <a:pt x="1213" y="728"/>
                    </a:moveTo>
                    <a:cubicBezTo>
                      <a:pt x="1213" y="725"/>
                      <a:pt x="1213" y="725"/>
                      <a:pt x="1213" y="725"/>
                    </a:cubicBezTo>
                    <a:cubicBezTo>
                      <a:pt x="1214" y="721"/>
                      <a:pt x="1214" y="721"/>
                      <a:pt x="1214" y="721"/>
                    </a:cubicBezTo>
                    <a:cubicBezTo>
                      <a:pt x="1215" y="724"/>
                      <a:pt x="1215" y="724"/>
                      <a:pt x="1215" y="724"/>
                    </a:cubicBezTo>
                    <a:cubicBezTo>
                      <a:pt x="1216" y="726"/>
                      <a:pt x="1216" y="726"/>
                      <a:pt x="1216" y="726"/>
                    </a:cubicBezTo>
                    <a:cubicBezTo>
                      <a:pt x="1215" y="728"/>
                      <a:pt x="1215" y="728"/>
                      <a:pt x="1215" y="728"/>
                    </a:cubicBezTo>
                    <a:cubicBezTo>
                      <a:pt x="1213" y="728"/>
                      <a:pt x="1213" y="728"/>
                      <a:pt x="1213" y="728"/>
                    </a:cubicBezTo>
                    <a:close/>
                    <a:moveTo>
                      <a:pt x="1219" y="735"/>
                    </a:moveTo>
                    <a:cubicBezTo>
                      <a:pt x="1217" y="733"/>
                      <a:pt x="1217" y="733"/>
                      <a:pt x="1217" y="733"/>
                    </a:cubicBezTo>
                    <a:cubicBezTo>
                      <a:pt x="1219" y="731"/>
                      <a:pt x="1219" y="731"/>
                      <a:pt x="1219" y="731"/>
                    </a:cubicBezTo>
                    <a:cubicBezTo>
                      <a:pt x="1220" y="731"/>
                      <a:pt x="1220" y="731"/>
                      <a:pt x="1220" y="731"/>
                    </a:cubicBezTo>
                    <a:cubicBezTo>
                      <a:pt x="1220" y="734"/>
                      <a:pt x="1220" y="734"/>
                      <a:pt x="1220" y="734"/>
                    </a:cubicBezTo>
                    <a:cubicBezTo>
                      <a:pt x="1219" y="735"/>
                      <a:pt x="1219" y="735"/>
                      <a:pt x="1219" y="735"/>
                    </a:cubicBezTo>
                    <a:close/>
                    <a:moveTo>
                      <a:pt x="1206" y="743"/>
                    </a:moveTo>
                    <a:cubicBezTo>
                      <a:pt x="1205" y="744"/>
                      <a:pt x="1205" y="744"/>
                      <a:pt x="1205" y="744"/>
                    </a:cubicBezTo>
                    <a:cubicBezTo>
                      <a:pt x="1206" y="747"/>
                      <a:pt x="1206" y="747"/>
                      <a:pt x="1206" y="747"/>
                    </a:cubicBezTo>
                    <a:cubicBezTo>
                      <a:pt x="1207" y="752"/>
                      <a:pt x="1207" y="752"/>
                      <a:pt x="1207" y="752"/>
                    </a:cubicBezTo>
                    <a:cubicBezTo>
                      <a:pt x="1209" y="753"/>
                      <a:pt x="1209" y="753"/>
                      <a:pt x="1209" y="753"/>
                    </a:cubicBezTo>
                    <a:cubicBezTo>
                      <a:pt x="1211" y="752"/>
                      <a:pt x="1211" y="752"/>
                      <a:pt x="1211" y="752"/>
                    </a:cubicBezTo>
                    <a:cubicBezTo>
                      <a:pt x="1214" y="753"/>
                      <a:pt x="1214" y="753"/>
                      <a:pt x="1214" y="753"/>
                    </a:cubicBezTo>
                    <a:cubicBezTo>
                      <a:pt x="1216" y="754"/>
                      <a:pt x="1216" y="754"/>
                      <a:pt x="1216" y="754"/>
                    </a:cubicBezTo>
                    <a:cubicBezTo>
                      <a:pt x="1219" y="753"/>
                      <a:pt x="1219" y="753"/>
                      <a:pt x="1219" y="753"/>
                    </a:cubicBezTo>
                    <a:cubicBezTo>
                      <a:pt x="1223" y="755"/>
                      <a:pt x="1223" y="755"/>
                      <a:pt x="1223" y="755"/>
                    </a:cubicBezTo>
                    <a:cubicBezTo>
                      <a:pt x="1224" y="752"/>
                      <a:pt x="1224" y="752"/>
                      <a:pt x="1224" y="752"/>
                    </a:cubicBezTo>
                    <a:cubicBezTo>
                      <a:pt x="1223" y="750"/>
                      <a:pt x="1223" y="750"/>
                      <a:pt x="1223" y="750"/>
                    </a:cubicBezTo>
                    <a:cubicBezTo>
                      <a:pt x="1223" y="746"/>
                      <a:pt x="1223" y="746"/>
                      <a:pt x="1223" y="746"/>
                    </a:cubicBezTo>
                    <a:cubicBezTo>
                      <a:pt x="1219" y="746"/>
                      <a:pt x="1219" y="746"/>
                      <a:pt x="1219" y="746"/>
                    </a:cubicBezTo>
                    <a:cubicBezTo>
                      <a:pt x="1218" y="743"/>
                      <a:pt x="1218" y="743"/>
                      <a:pt x="1218" y="743"/>
                    </a:cubicBezTo>
                    <a:cubicBezTo>
                      <a:pt x="1215" y="743"/>
                      <a:pt x="1215" y="743"/>
                      <a:pt x="1215" y="743"/>
                    </a:cubicBezTo>
                    <a:cubicBezTo>
                      <a:pt x="1213" y="744"/>
                      <a:pt x="1213" y="744"/>
                      <a:pt x="1213" y="744"/>
                    </a:cubicBezTo>
                    <a:cubicBezTo>
                      <a:pt x="1213" y="742"/>
                      <a:pt x="1213" y="742"/>
                      <a:pt x="1213" y="742"/>
                    </a:cubicBezTo>
                    <a:cubicBezTo>
                      <a:pt x="1213" y="740"/>
                      <a:pt x="1213" y="740"/>
                      <a:pt x="1213" y="740"/>
                    </a:cubicBezTo>
                    <a:cubicBezTo>
                      <a:pt x="1212" y="740"/>
                      <a:pt x="1212" y="740"/>
                      <a:pt x="1212" y="740"/>
                    </a:cubicBezTo>
                    <a:cubicBezTo>
                      <a:pt x="1210" y="743"/>
                      <a:pt x="1210" y="743"/>
                      <a:pt x="1210" y="743"/>
                    </a:cubicBezTo>
                    <a:cubicBezTo>
                      <a:pt x="1208" y="743"/>
                      <a:pt x="1208" y="743"/>
                      <a:pt x="1208" y="743"/>
                    </a:cubicBezTo>
                    <a:cubicBezTo>
                      <a:pt x="1206" y="743"/>
                      <a:pt x="1206" y="743"/>
                      <a:pt x="1206" y="743"/>
                    </a:cubicBezTo>
                    <a:close/>
                    <a:moveTo>
                      <a:pt x="1105" y="879"/>
                    </a:moveTo>
                    <a:cubicBezTo>
                      <a:pt x="1109" y="879"/>
                      <a:pt x="1109" y="879"/>
                      <a:pt x="1109" y="879"/>
                    </a:cubicBezTo>
                    <a:cubicBezTo>
                      <a:pt x="1111" y="878"/>
                      <a:pt x="1111" y="878"/>
                      <a:pt x="1111" y="878"/>
                    </a:cubicBezTo>
                    <a:cubicBezTo>
                      <a:pt x="1109" y="876"/>
                      <a:pt x="1109" y="876"/>
                      <a:pt x="1109" y="876"/>
                    </a:cubicBezTo>
                    <a:cubicBezTo>
                      <a:pt x="1106" y="877"/>
                      <a:pt x="1106" y="877"/>
                      <a:pt x="1106" y="877"/>
                    </a:cubicBezTo>
                    <a:cubicBezTo>
                      <a:pt x="1105" y="879"/>
                      <a:pt x="1105" y="879"/>
                      <a:pt x="1105" y="879"/>
                    </a:cubicBezTo>
                    <a:close/>
                    <a:moveTo>
                      <a:pt x="1049" y="789"/>
                    </a:moveTo>
                    <a:cubicBezTo>
                      <a:pt x="1052" y="791"/>
                      <a:pt x="1052" y="791"/>
                      <a:pt x="1052" y="791"/>
                    </a:cubicBezTo>
                    <a:cubicBezTo>
                      <a:pt x="1054" y="791"/>
                      <a:pt x="1054" y="791"/>
                      <a:pt x="1054" y="791"/>
                    </a:cubicBezTo>
                    <a:cubicBezTo>
                      <a:pt x="1054" y="790"/>
                      <a:pt x="1054" y="790"/>
                      <a:pt x="1054" y="790"/>
                    </a:cubicBezTo>
                    <a:cubicBezTo>
                      <a:pt x="1052" y="788"/>
                      <a:pt x="1052" y="788"/>
                      <a:pt x="1052" y="788"/>
                    </a:cubicBezTo>
                    <a:cubicBezTo>
                      <a:pt x="1050" y="788"/>
                      <a:pt x="1050" y="788"/>
                      <a:pt x="1050" y="788"/>
                    </a:cubicBezTo>
                    <a:cubicBezTo>
                      <a:pt x="1049" y="789"/>
                      <a:pt x="1049" y="789"/>
                      <a:pt x="1049" y="789"/>
                    </a:cubicBezTo>
                    <a:close/>
                    <a:moveTo>
                      <a:pt x="1036" y="809"/>
                    </a:moveTo>
                    <a:cubicBezTo>
                      <a:pt x="1036" y="807"/>
                      <a:pt x="1036" y="807"/>
                      <a:pt x="1036" y="807"/>
                    </a:cubicBezTo>
                    <a:cubicBezTo>
                      <a:pt x="1034" y="805"/>
                      <a:pt x="1034" y="805"/>
                      <a:pt x="1034" y="805"/>
                    </a:cubicBezTo>
                    <a:cubicBezTo>
                      <a:pt x="1031" y="803"/>
                      <a:pt x="1031" y="803"/>
                      <a:pt x="1031" y="803"/>
                    </a:cubicBezTo>
                    <a:cubicBezTo>
                      <a:pt x="1031" y="800"/>
                      <a:pt x="1031" y="800"/>
                      <a:pt x="1031" y="800"/>
                    </a:cubicBezTo>
                    <a:cubicBezTo>
                      <a:pt x="1030" y="797"/>
                      <a:pt x="1030" y="797"/>
                      <a:pt x="1030" y="797"/>
                    </a:cubicBezTo>
                    <a:cubicBezTo>
                      <a:pt x="1028" y="795"/>
                      <a:pt x="1028" y="795"/>
                      <a:pt x="1028" y="795"/>
                    </a:cubicBezTo>
                    <a:cubicBezTo>
                      <a:pt x="1028" y="790"/>
                      <a:pt x="1028" y="790"/>
                      <a:pt x="1028" y="790"/>
                    </a:cubicBezTo>
                    <a:cubicBezTo>
                      <a:pt x="1029" y="789"/>
                      <a:pt x="1029" y="789"/>
                      <a:pt x="1029" y="789"/>
                    </a:cubicBezTo>
                    <a:cubicBezTo>
                      <a:pt x="1030" y="793"/>
                      <a:pt x="1030" y="793"/>
                      <a:pt x="1030" y="793"/>
                    </a:cubicBezTo>
                    <a:cubicBezTo>
                      <a:pt x="1034" y="794"/>
                      <a:pt x="1034" y="794"/>
                      <a:pt x="1034" y="794"/>
                    </a:cubicBezTo>
                    <a:cubicBezTo>
                      <a:pt x="1035" y="797"/>
                      <a:pt x="1035" y="797"/>
                      <a:pt x="1035" y="797"/>
                    </a:cubicBezTo>
                    <a:cubicBezTo>
                      <a:pt x="1037" y="798"/>
                      <a:pt x="1037" y="798"/>
                      <a:pt x="1037" y="798"/>
                    </a:cubicBezTo>
                    <a:cubicBezTo>
                      <a:pt x="1037" y="803"/>
                      <a:pt x="1037" y="803"/>
                      <a:pt x="1037" y="803"/>
                    </a:cubicBezTo>
                    <a:cubicBezTo>
                      <a:pt x="1041" y="805"/>
                      <a:pt x="1041" y="805"/>
                      <a:pt x="1041" y="805"/>
                    </a:cubicBezTo>
                    <a:cubicBezTo>
                      <a:pt x="1043" y="806"/>
                      <a:pt x="1043" y="806"/>
                      <a:pt x="1043" y="806"/>
                    </a:cubicBezTo>
                    <a:cubicBezTo>
                      <a:pt x="1043" y="809"/>
                      <a:pt x="1043" y="809"/>
                      <a:pt x="1043" y="809"/>
                    </a:cubicBezTo>
                    <a:cubicBezTo>
                      <a:pt x="1039" y="809"/>
                      <a:pt x="1039" y="809"/>
                      <a:pt x="1039" y="809"/>
                    </a:cubicBezTo>
                    <a:cubicBezTo>
                      <a:pt x="1036" y="809"/>
                      <a:pt x="1036" y="809"/>
                      <a:pt x="1036" y="809"/>
                    </a:cubicBezTo>
                    <a:close/>
                    <a:moveTo>
                      <a:pt x="1014" y="808"/>
                    </a:moveTo>
                    <a:cubicBezTo>
                      <a:pt x="1014" y="805"/>
                      <a:pt x="1014" y="805"/>
                      <a:pt x="1014" y="805"/>
                    </a:cubicBezTo>
                    <a:cubicBezTo>
                      <a:pt x="1014" y="803"/>
                      <a:pt x="1014" y="803"/>
                      <a:pt x="1014" y="803"/>
                    </a:cubicBezTo>
                    <a:cubicBezTo>
                      <a:pt x="1014" y="800"/>
                      <a:pt x="1014" y="800"/>
                      <a:pt x="1014" y="800"/>
                    </a:cubicBezTo>
                    <a:cubicBezTo>
                      <a:pt x="1014" y="795"/>
                      <a:pt x="1014" y="795"/>
                      <a:pt x="1014" y="795"/>
                    </a:cubicBezTo>
                    <a:cubicBezTo>
                      <a:pt x="1016" y="792"/>
                      <a:pt x="1016" y="792"/>
                      <a:pt x="1016" y="792"/>
                    </a:cubicBezTo>
                    <a:cubicBezTo>
                      <a:pt x="1018" y="792"/>
                      <a:pt x="1018" y="792"/>
                      <a:pt x="1018" y="792"/>
                    </a:cubicBezTo>
                    <a:cubicBezTo>
                      <a:pt x="1019" y="795"/>
                      <a:pt x="1019" y="795"/>
                      <a:pt x="1019" y="795"/>
                    </a:cubicBezTo>
                    <a:cubicBezTo>
                      <a:pt x="1017" y="797"/>
                      <a:pt x="1017" y="797"/>
                      <a:pt x="1017" y="797"/>
                    </a:cubicBezTo>
                    <a:cubicBezTo>
                      <a:pt x="1017" y="799"/>
                      <a:pt x="1017" y="799"/>
                      <a:pt x="1017" y="799"/>
                    </a:cubicBezTo>
                    <a:cubicBezTo>
                      <a:pt x="1019" y="801"/>
                      <a:pt x="1019" y="801"/>
                      <a:pt x="1019" y="801"/>
                    </a:cubicBezTo>
                    <a:cubicBezTo>
                      <a:pt x="1016" y="807"/>
                      <a:pt x="1016" y="807"/>
                      <a:pt x="1016" y="807"/>
                    </a:cubicBezTo>
                    <a:cubicBezTo>
                      <a:pt x="1014" y="808"/>
                      <a:pt x="1014" y="808"/>
                      <a:pt x="1014" y="808"/>
                    </a:cubicBezTo>
                    <a:close/>
                    <a:moveTo>
                      <a:pt x="1013" y="720"/>
                    </a:moveTo>
                    <a:cubicBezTo>
                      <a:pt x="1012" y="724"/>
                      <a:pt x="1012" y="724"/>
                      <a:pt x="1012" y="724"/>
                    </a:cubicBezTo>
                    <a:cubicBezTo>
                      <a:pt x="1013" y="725"/>
                      <a:pt x="1013" y="725"/>
                      <a:pt x="1013" y="725"/>
                    </a:cubicBezTo>
                    <a:cubicBezTo>
                      <a:pt x="1017" y="725"/>
                      <a:pt x="1017" y="725"/>
                      <a:pt x="1017" y="725"/>
                    </a:cubicBezTo>
                    <a:cubicBezTo>
                      <a:pt x="1020" y="722"/>
                      <a:pt x="1020" y="722"/>
                      <a:pt x="1020" y="722"/>
                    </a:cubicBezTo>
                    <a:cubicBezTo>
                      <a:pt x="1019" y="721"/>
                      <a:pt x="1019" y="721"/>
                      <a:pt x="1019" y="721"/>
                    </a:cubicBezTo>
                    <a:cubicBezTo>
                      <a:pt x="1015" y="720"/>
                      <a:pt x="1015" y="720"/>
                      <a:pt x="1015" y="720"/>
                    </a:cubicBezTo>
                    <a:cubicBezTo>
                      <a:pt x="1013" y="720"/>
                      <a:pt x="1013" y="720"/>
                      <a:pt x="1013" y="720"/>
                    </a:cubicBezTo>
                    <a:close/>
                    <a:moveTo>
                      <a:pt x="1013" y="719"/>
                    </a:moveTo>
                    <a:cubicBezTo>
                      <a:pt x="1015" y="716"/>
                      <a:pt x="1015" y="716"/>
                      <a:pt x="1015" y="716"/>
                    </a:cubicBezTo>
                    <a:cubicBezTo>
                      <a:pt x="1015" y="712"/>
                      <a:pt x="1015" y="712"/>
                      <a:pt x="1015" y="712"/>
                    </a:cubicBezTo>
                    <a:cubicBezTo>
                      <a:pt x="1019" y="708"/>
                      <a:pt x="1019" y="708"/>
                      <a:pt x="1019" y="708"/>
                    </a:cubicBezTo>
                    <a:cubicBezTo>
                      <a:pt x="1022" y="706"/>
                      <a:pt x="1022" y="706"/>
                      <a:pt x="1022" y="706"/>
                    </a:cubicBezTo>
                    <a:cubicBezTo>
                      <a:pt x="1022" y="707"/>
                      <a:pt x="1022" y="707"/>
                      <a:pt x="1022" y="707"/>
                    </a:cubicBezTo>
                    <a:cubicBezTo>
                      <a:pt x="1022" y="711"/>
                      <a:pt x="1022" y="711"/>
                      <a:pt x="1022" y="711"/>
                    </a:cubicBezTo>
                    <a:cubicBezTo>
                      <a:pt x="1022" y="715"/>
                      <a:pt x="1022" y="715"/>
                      <a:pt x="1022" y="715"/>
                    </a:cubicBezTo>
                    <a:cubicBezTo>
                      <a:pt x="1022" y="718"/>
                      <a:pt x="1022" y="718"/>
                      <a:pt x="1022" y="718"/>
                    </a:cubicBezTo>
                    <a:cubicBezTo>
                      <a:pt x="1018" y="719"/>
                      <a:pt x="1018" y="719"/>
                      <a:pt x="1018" y="719"/>
                    </a:cubicBezTo>
                    <a:cubicBezTo>
                      <a:pt x="1013" y="719"/>
                      <a:pt x="1013" y="719"/>
                      <a:pt x="1013" y="719"/>
                    </a:cubicBezTo>
                    <a:close/>
                    <a:moveTo>
                      <a:pt x="829" y="682"/>
                    </a:moveTo>
                    <a:cubicBezTo>
                      <a:pt x="831" y="681"/>
                      <a:pt x="831" y="681"/>
                      <a:pt x="831" y="681"/>
                    </a:cubicBezTo>
                    <a:cubicBezTo>
                      <a:pt x="831" y="678"/>
                      <a:pt x="831" y="678"/>
                      <a:pt x="831" y="678"/>
                    </a:cubicBezTo>
                    <a:cubicBezTo>
                      <a:pt x="827" y="678"/>
                      <a:pt x="827" y="678"/>
                      <a:pt x="827" y="678"/>
                    </a:cubicBezTo>
                    <a:cubicBezTo>
                      <a:pt x="827" y="680"/>
                      <a:pt x="827" y="680"/>
                      <a:pt x="827" y="680"/>
                    </a:cubicBezTo>
                    <a:cubicBezTo>
                      <a:pt x="829" y="682"/>
                      <a:pt x="829" y="682"/>
                      <a:pt x="829" y="682"/>
                    </a:cubicBezTo>
                    <a:close/>
                    <a:moveTo>
                      <a:pt x="671" y="639"/>
                    </a:moveTo>
                    <a:cubicBezTo>
                      <a:pt x="673" y="638"/>
                      <a:pt x="673" y="638"/>
                      <a:pt x="673" y="638"/>
                    </a:cubicBezTo>
                    <a:cubicBezTo>
                      <a:pt x="676" y="638"/>
                      <a:pt x="676" y="638"/>
                      <a:pt x="676" y="638"/>
                    </a:cubicBezTo>
                    <a:cubicBezTo>
                      <a:pt x="674" y="639"/>
                      <a:pt x="674" y="639"/>
                      <a:pt x="674" y="639"/>
                    </a:cubicBezTo>
                    <a:cubicBezTo>
                      <a:pt x="671" y="639"/>
                      <a:pt x="671" y="639"/>
                      <a:pt x="671" y="639"/>
                    </a:cubicBezTo>
                    <a:close/>
                    <a:moveTo>
                      <a:pt x="659" y="645"/>
                    </a:moveTo>
                    <a:cubicBezTo>
                      <a:pt x="663" y="645"/>
                      <a:pt x="663" y="645"/>
                      <a:pt x="663" y="645"/>
                    </a:cubicBezTo>
                    <a:cubicBezTo>
                      <a:pt x="662" y="643"/>
                      <a:pt x="662" y="643"/>
                      <a:pt x="662" y="643"/>
                    </a:cubicBezTo>
                    <a:cubicBezTo>
                      <a:pt x="660" y="643"/>
                      <a:pt x="660" y="643"/>
                      <a:pt x="660" y="643"/>
                    </a:cubicBezTo>
                    <a:cubicBezTo>
                      <a:pt x="659" y="645"/>
                      <a:pt x="659" y="645"/>
                      <a:pt x="659" y="645"/>
                    </a:cubicBezTo>
                    <a:close/>
                    <a:moveTo>
                      <a:pt x="664" y="658"/>
                    </a:moveTo>
                    <a:cubicBezTo>
                      <a:pt x="664" y="656"/>
                      <a:pt x="664" y="656"/>
                      <a:pt x="664" y="656"/>
                    </a:cubicBezTo>
                    <a:cubicBezTo>
                      <a:pt x="665" y="655"/>
                      <a:pt x="665" y="655"/>
                      <a:pt x="665" y="655"/>
                    </a:cubicBezTo>
                    <a:cubicBezTo>
                      <a:pt x="666" y="658"/>
                      <a:pt x="666" y="658"/>
                      <a:pt x="666" y="658"/>
                    </a:cubicBezTo>
                    <a:cubicBezTo>
                      <a:pt x="664" y="658"/>
                      <a:pt x="664" y="658"/>
                      <a:pt x="664" y="658"/>
                    </a:cubicBezTo>
                    <a:close/>
                    <a:moveTo>
                      <a:pt x="664" y="660"/>
                    </a:moveTo>
                    <a:cubicBezTo>
                      <a:pt x="662" y="655"/>
                      <a:pt x="662" y="655"/>
                      <a:pt x="662" y="655"/>
                    </a:cubicBezTo>
                    <a:cubicBezTo>
                      <a:pt x="661" y="657"/>
                      <a:pt x="661" y="657"/>
                      <a:pt x="661" y="657"/>
                    </a:cubicBezTo>
                    <a:cubicBezTo>
                      <a:pt x="662" y="659"/>
                      <a:pt x="662" y="659"/>
                      <a:pt x="662" y="659"/>
                    </a:cubicBezTo>
                    <a:cubicBezTo>
                      <a:pt x="664" y="660"/>
                      <a:pt x="664" y="660"/>
                      <a:pt x="664" y="660"/>
                    </a:cubicBezTo>
                    <a:close/>
                    <a:moveTo>
                      <a:pt x="670" y="668"/>
                    </a:moveTo>
                    <a:cubicBezTo>
                      <a:pt x="672" y="673"/>
                      <a:pt x="672" y="673"/>
                      <a:pt x="672" y="673"/>
                    </a:cubicBezTo>
                    <a:cubicBezTo>
                      <a:pt x="674" y="674"/>
                      <a:pt x="674" y="674"/>
                      <a:pt x="674" y="674"/>
                    </a:cubicBezTo>
                    <a:cubicBezTo>
                      <a:pt x="676" y="670"/>
                      <a:pt x="676" y="670"/>
                      <a:pt x="676" y="670"/>
                    </a:cubicBezTo>
                    <a:cubicBezTo>
                      <a:pt x="675" y="669"/>
                      <a:pt x="675" y="669"/>
                      <a:pt x="675" y="669"/>
                    </a:cubicBezTo>
                    <a:cubicBezTo>
                      <a:pt x="677" y="667"/>
                      <a:pt x="677" y="667"/>
                      <a:pt x="677" y="667"/>
                    </a:cubicBezTo>
                    <a:cubicBezTo>
                      <a:pt x="675" y="667"/>
                      <a:pt x="675" y="667"/>
                      <a:pt x="675" y="667"/>
                    </a:cubicBezTo>
                    <a:cubicBezTo>
                      <a:pt x="673" y="669"/>
                      <a:pt x="673" y="669"/>
                      <a:pt x="673" y="669"/>
                    </a:cubicBezTo>
                    <a:cubicBezTo>
                      <a:pt x="672" y="668"/>
                      <a:pt x="672" y="668"/>
                      <a:pt x="672" y="668"/>
                    </a:cubicBezTo>
                    <a:cubicBezTo>
                      <a:pt x="670" y="668"/>
                      <a:pt x="670" y="668"/>
                      <a:pt x="670" y="668"/>
                    </a:cubicBezTo>
                    <a:close/>
                    <a:moveTo>
                      <a:pt x="665" y="691"/>
                    </a:moveTo>
                    <a:cubicBezTo>
                      <a:pt x="664" y="685"/>
                      <a:pt x="664" y="685"/>
                      <a:pt x="664" y="685"/>
                    </a:cubicBezTo>
                    <a:cubicBezTo>
                      <a:pt x="666" y="683"/>
                      <a:pt x="666" y="683"/>
                      <a:pt x="666" y="683"/>
                    </a:cubicBezTo>
                    <a:cubicBezTo>
                      <a:pt x="666" y="680"/>
                      <a:pt x="666" y="680"/>
                      <a:pt x="666" y="680"/>
                    </a:cubicBezTo>
                    <a:cubicBezTo>
                      <a:pt x="669" y="676"/>
                      <a:pt x="669" y="676"/>
                      <a:pt x="669" y="676"/>
                    </a:cubicBezTo>
                    <a:cubicBezTo>
                      <a:pt x="670" y="678"/>
                      <a:pt x="670" y="678"/>
                      <a:pt x="670" y="678"/>
                    </a:cubicBezTo>
                    <a:cubicBezTo>
                      <a:pt x="669" y="680"/>
                      <a:pt x="669" y="680"/>
                      <a:pt x="669" y="680"/>
                    </a:cubicBezTo>
                    <a:cubicBezTo>
                      <a:pt x="670" y="682"/>
                      <a:pt x="670" y="682"/>
                      <a:pt x="670" y="682"/>
                    </a:cubicBezTo>
                    <a:cubicBezTo>
                      <a:pt x="669" y="684"/>
                      <a:pt x="669" y="684"/>
                      <a:pt x="669" y="684"/>
                    </a:cubicBezTo>
                    <a:cubicBezTo>
                      <a:pt x="670" y="686"/>
                      <a:pt x="670" y="686"/>
                      <a:pt x="670" y="686"/>
                    </a:cubicBezTo>
                    <a:cubicBezTo>
                      <a:pt x="668" y="687"/>
                      <a:pt x="668" y="687"/>
                      <a:pt x="668" y="687"/>
                    </a:cubicBezTo>
                    <a:cubicBezTo>
                      <a:pt x="667" y="690"/>
                      <a:pt x="667" y="690"/>
                      <a:pt x="667" y="690"/>
                    </a:cubicBezTo>
                    <a:cubicBezTo>
                      <a:pt x="665" y="691"/>
                      <a:pt x="665" y="691"/>
                      <a:pt x="665" y="691"/>
                    </a:cubicBezTo>
                    <a:close/>
                    <a:moveTo>
                      <a:pt x="808" y="606"/>
                    </a:moveTo>
                    <a:cubicBezTo>
                      <a:pt x="808" y="604"/>
                      <a:pt x="808" y="604"/>
                      <a:pt x="808" y="604"/>
                    </a:cubicBezTo>
                    <a:cubicBezTo>
                      <a:pt x="809" y="603"/>
                      <a:pt x="809" y="603"/>
                      <a:pt x="809" y="603"/>
                    </a:cubicBezTo>
                    <a:cubicBezTo>
                      <a:pt x="810" y="605"/>
                      <a:pt x="810" y="605"/>
                      <a:pt x="810" y="605"/>
                    </a:cubicBezTo>
                    <a:cubicBezTo>
                      <a:pt x="809" y="607"/>
                      <a:pt x="809" y="607"/>
                      <a:pt x="809" y="607"/>
                    </a:cubicBezTo>
                    <a:cubicBezTo>
                      <a:pt x="808" y="606"/>
                      <a:pt x="808" y="606"/>
                      <a:pt x="808" y="606"/>
                    </a:cubicBezTo>
                    <a:close/>
                    <a:moveTo>
                      <a:pt x="856" y="578"/>
                    </a:moveTo>
                    <a:cubicBezTo>
                      <a:pt x="855" y="574"/>
                      <a:pt x="855" y="574"/>
                      <a:pt x="855" y="574"/>
                    </a:cubicBezTo>
                    <a:cubicBezTo>
                      <a:pt x="854" y="572"/>
                      <a:pt x="854" y="572"/>
                      <a:pt x="854" y="572"/>
                    </a:cubicBezTo>
                    <a:cubicBezTo>
                      <a:pt x="854" y="568"/>
                      <a:pt x="854" y="568"/>
                      <a:pt x="854" y="568"/>
                    </a:cubicBezTo>
                    <a:cubicBezTo>
                      <a:pt x="857" y="567"/>
                      <a:pt x="857" y="567"/>
                      <a:pt x="857" y="567"/>
                    </a:cubicBezTo>
                    <a:cubicBezTo>
                      <a:pt x="858" y="568"/>
                      <a:pt x="858" y="568"/>
                      <a:pt x="858" y="568"/>
                    </a:cubicBezTo>
                    <a:cubicBezTo>
                      <a:pt x="858" y="570"/>
                      <a:pt x="858" y="570"/>
                      <a:pt x="858" y="570"/>
                    </a:cubicBezTo>
                    <a:cubicBezTo>
                      <a:pt x="860" y="572"/>
                      <a:pt x="860" y="572"/>
                      <a:pt x="860" y="572"/>
                    </a:cubicBezTo>
                    <a:cubicBezTo>
                      <a:pt x="858" y="574"/>
                      <a:pt x="858" y="574"/>
                      <a:pt x="858" y="574"/>
                    </a:cubicBezTo>
                    <a:cubicBezTo>
                      <a:pt x="857" y="578"/>
                      <a:pt x="857" y="578"/>
                      <a:pt x="857" y="578"/>
                    </a:cubicBezTo>
                    <a:cubicBezTo>
                      <a:pt x="856" y="578"/>
                      <a:pt x="856" y="578"/>
                      <a:pt x="856" y="578"/>
                    </a:cubicBezTo>
                    <a:close/>
                    <a:moveTo>
                      <a:pt x="802" y="634"/>
                    </a:moveTo>
                    <a:cubicBezTo>
                      <a:pt x="802" y="633"/>
                      <a:pt x="802" y="633"/>
                      <a:pt x="802" y="633"/>
                    </a:cubicBezTo>
                    <a:cubicBezTo>
                      <a:pt x="802" y="631"/>
                      <a:pt x="802" y="631"/>
                      <a:pt x="802" y="631"/>
                    </a:cubicBezTo>
                    <a:cubicBezTo>
                      <a:pt x="804" y="628"/>
                      <a:pt x="804" y="628"/>
                      <a:pt x="804" y="628"/>
                    </a:cubicBezTo>
                    <a:cubicBezTo>
                      <a:pt x="804" y="626"/>
                      <a:pt x="804" y="626"/>
                      <a:pt x="804" y="626"/>
                    </a:cubicBezTo>
                    <a:cubicBezTo>
                      <a:pt x="806" y="624"/>
                      <a:pt x="806" y="624"/>
                      <a:pt x="806" y="624"/>
                    </a:cubicBezTo>
                    <a:cubicBezTo>
                      <a:pt x="806" y="622"/>
                      <a:pt x="806" y="622"/>
                      <a:pt x="806" y="622"/>
                    </a:cubicBezTo>
                    <a:cubicBezTo>
                      <a:pt x="803" y="622"/>
                      <a:pt x="803" y="622"/>
                      <a:pt x="803" y="622"/>
                    </a:cubicBezTo>
                    <a:cubicBezTo>
                      <a:pt x="802" y="619"/>
                      <a:pt x="802" y="619"/>
                      <a:pt x="802" y="619"/>
                    </a:cubicBezTo>
                    <a:cubicBezTo>
                      <a:pt x="803" y="616"/>
                      <a:pt x="803" y="616"/>
                      <a:pt x="803" y="616"/>
                    </a:cubicBezTo>
                    <a:cubicBezTo>
                      <a:pt x="806" y="616"/>
                      <a:pt x="806" y="616"/>
                      <a:pt x="806" y="616"/>
                    </a:cubicBezTo>
                    <a:cubicBezTo>
                      <a:pt x="807" y="612"/>
                      <a:pt x="807" y="612"/>
                      <a:pt x="807" y="612"/>
                    </a:cubicBezTo>
                    <a:cubicBezTo>
                      <a:pt x="803" y="610"/>
                      <a:pt x="803" y="610"/>
                      <a:pt x="803" y="610"/>
                    </a:cubicBezTo>
                    <a:cubicBezTo>
                      <a:pt x="800" y="611"/>
                      <a:pt x="800" y="611"/>
                      <a:pt x="800" y="611"/>
                    </a:cubicBezTo>
                    <a:cubicBezTo>
                      <a:pt x="800" y="613"/>
                      <a:pt x="800" y="613"/>
                      <a:pt x="800" y="613"/>
                    </a:cubicBezTo>
                    <a:cubicBezTo>
                      <a:pt x="799" y="615"/>
                      <a:pt x="799" y="615"/>
                      <a:pt x="799" y="615"/>
                    </a:cubicBezTo>
                    <a:cubicBezTo>
                      <a:pt x="796" y="613"/>
                      <a:pt x="796" y="613"/>
                      <a:pt x="796" y="613"/>
                    </a:cubicBezTo>
                    <a:cubicBezTo>
                      <a:pt x="792" y="613"/>
                      <a:pt x="792" y="613"/>
                      <a:pt x="792" y="613"/>
                    </a:cubicBezTo>
                    <a:cubicBezTo>
                      <a:pt x="787" y="618"/>
                      <a:pt x="787" y="618"/>
                      <a:pt x="787" y="618"/>
                    </a:cubicBezTo>
                    <a:cubicBezTo>
                      <a:pt x="784" y="620"/>
                      <a:pt x="784" y="620"/>
                      <a:pt x="784" y="620"/>
                    </a:cubicBezTo>
                    <a:cubicBezTo>
                      <a:pt x="784" y="619"/>
                      <a:pt x="784" y="619"/>
                      <a:pt x="784" y="619"/>
                    </a:cubicBezTo>
                    <a:cubicBezTo>
                      <a:pt x="788" y="616"/>
                      <a:pt x="788" y="616"/>
                      <a:pt x="788" y="616"/>
                    </a:cubicBezTo>
                    <a:cubicBezTo>
                      <a:pt x="790" y="613"/>
                      <a:pt x="790" y="613"/>
                      <a:pt x="790" y="613"/>
                    </a:cubicBezTo>
                    <a:cubicBezTo>
                      <a:pt x="790" y="609"/>
                      <a:pt x="790" y="609"/>
                      <a:pt x="790" y="609"/>
                    </a:cubicBezTo>
                    <a:cubicBezTo>
                      <a:pt x="788" y="612"/>
                      <a:pt x="788" y="612"/>
                      <a:pt x="788" y="612"/>
                    </a:cubicBezTo>
                    <a:cubicBezTo>
                      <a:pt x="787" y="611"/>
                      <a:pt x="787" y="611"/>
                      <a:pt x="787" y="611"/>
                    </a:cubicBezTo>
                    <a:cubicBezTo>
                      <a:pt x="786" y="608"/>
                      <a:pt x="786" y="608"/>
                      <a:pt x="786" y="608"/>
                    </a:cubicBezTo>
                    <a:cubicBezTo>
                      <a:pt x="790" y="606"/>
                      <a:pt x="790" y="606"/>
                      <a:pt x="790" y="606"/>
                    </a:cubicBezTo>
                    <a:cubicBezTo>
                      <a:pt x="787" y="601"/>
                      <a:pt x="787" y="601"/>
                      <a:pt x="787" y="601"/>
                    </a:cubicBezTo>
                    <a:cubicBezTo>
                      <a:pt x="789" y="598"/>
                      <a:pt x="789" y="598"/>
                      <a:pt x="789" y="598"/>
                    </a:cubicBezTo>
                    <a:cubicBezTo>
                      <a:pt x="792" y="598"/>
                      <a:pt x="792" y="598"/>
                      <a:pt x="792" y="598"/>
                    </a:cubicBezTo>
                    <a:cubicBezTo>
                      <a:pt x="791" y="600"/>
                      <a:pt x="791" y="600"/>
                      <a:pt x="791" y="600"/>
                    </a:cubicBezTo>
                    <a:cubicBezTo>
                      <a:pt x="793" y="606"/>
                      <a:pt x="793" y="606"/>
                      <a:pt x="793" y="606"/>
                    </a:cubicBezTo>
                    <a:cubicBezTo>
                      <a:pt x="796" y="608"/>
                      <a:pt x="796" y="608"/>
                      <a:pt x="796" y="608"/>
                    </a:cubicBezTo>
                    <a:cubicBezTo>
                      <a:pt x="797" y="607"/>
                      <a:pt x="797" y="607"/>
                      <a:pt x="797" y="607"/>
                    </a:cubicBezTo>
                    <a:cubicBezTo>
                      <a:pt x="801" y="607"/>
                      <a:pt x="801" y="607"/>
                      <a:pt x="801" y="607"/>
                    </a:cubicBezTo>
                    <a:cubicBezTo>
                      <a:pt x="803" y="603"/>
                      <a:pt x="803" y="603"/>
                      <a:pt x="803" y="603"/>
                    </a:cubicBezTo>
                    <a:cubicBezTo>
                      <a:pt x="801" y="601"/>
                      <a:pt x="801" y="601"/>
                      <a:pt x="801" y="601"/>
                    </a:cubicBezTo>
                    <a:cubicBezTo>
                      <a:pt x="801" y="600"/>
                      <a:pt x="801" y="600"/>
                      <a:pt x="801" y="600"/>
                    </a:cubicBezTo>
                    <a:cubicBezTo>
                      <a:pt x="804" y="600"/>
                      <a:pt x="804" y="600"/>
                      <a:pt x="804" y="600"/>
                    </a:cubicBezTo>
                    <a:cubicBezTo>
                      <a:pt x="805" y="601"/>
                      <a:pt x="805" y="601"/>
                      <a:pt x="805" y="601"/>
                    </a:cubicBezTo>
                    <a:cubicBezTo>
                      <a:pt x="807" y="600"/>
                      <a:pt x="807" y="600"/>
                      <a:pt x="807" y="600"/>
                    </a:cubicBezTo>
                    <a:cubicBezTo>
                      <a:pt x="810" y="598"/>
                      <a:pt x="810" y="598"/>
                      <a:pt x="810" y="598"/>
                    </a:cubicBezTo>
                    <a:cubicBezTo>
                      <a:pt x="811" y="594"/>
                      <a:pt x="811" y="594"/>
                      <a:pt x="811" y="594"/>
                    </a:cubicBezTo>
                    <a:cubicBezTo>
                      <a:pt x="812" y="597"/>
                      <a:pt x="812" y="597"/>
                      <a:pt x="812" y="597"/>
                    </a:cubicBezTo>
                    <a:cubicBezTo>
                      <a:pt x="813" y="597"/>
                      <a:pt x="813" y="597"/>
                      <a:pt x="813" y="597"/>
                    </a:cubicBezTo>
                    <a:cubicBezTo>
                      <a:pt x="816" y="594"/>
                      <a:pt x="816" y="594"/>
                      <a:pt x="816" y="594"/>
                    </a:cubicBezTo>
                    <a:cubicBezTo>
                      <a:pt x="814" y="600"/>
                      <a:pt x="814" y="600"/>
                      <a:pt x="814" y="600"/>
                    </a:cubicBezTo>
                    <a:cubicBezTo>
                      <a:pt x="814" y="605"/>
                      <a:pt x="814" y="605"/>
                      <a:pt x="814" y="605"/>
                    </a:cubicBezTo>
                    <a:cubicBezTo>
                      <a:pt x="816" y="604"/>
                      <a:pt x="816" y="604"/>
                      <a:pt x="816" y="604"/>
                    </a:cubicBezTo>
                    <a:cubicBezTo>
                      <a:pt x="817" y="605"/>
                      <a:pt x="817" y="605"/>
                      <a:pt x="817" y="605"/>
                    </a:cubicBezTo>
                    <a:cubicBezTo>
                      <a:pt x="816" y="608"/>
                      <a:pt x="816" y="608"/>
                      <a:pt x="816" y="608"/>
                    </a:cubicBezTo>
                    <a:cubicBezTo>
                      <a:pt x="818" y="608"/>
                      <a:pt x="818" y="608"/>
                      <a:pt x="818" y="608"/>
                    </a:cubicBezTo>
                    <a:cubicBezTo>
                      <a:pt x="820" y="604"/>
                      <a:pt x="820" y="604"/>
                      <a:pt x="820" y="604"/>
                    </a:cubicBezTo>
                    <a:cubicBezTo>
                      <a:pt x="821" y="602"/>
                      <a:pt x="821" y="602"/>
                      <a:pt x="821" y="602"/>
                    </a:cubicBezTo>
                    <a:cubicBezTo>
                      <a:pt x="824" y="597"/>
                      <a:pt x="824" y="597"/>
                      <a:pt x="824" y="597"/>
                    </a:cubicBezTo>
                    <a:cubicBezTo>
                      <a:pt x="827" y="596"/>
                      <a:pt x="827" y="596"/>
                      <a:pt x="827" y="596"/>
                    </a:cubicBezTo>
                    <a:cubicBezTo>
                      <a:pt x="826" y="600"/>
                      <a:pt x="826" y="600"/>
                      <a:pt x="826" y="600"/>
                    </a:cubicBezTo>
                    <a:cubicBezTo>
                      <a:pt x="823" y="603"/>
                      <a:pt x="823" y="603"/>
                      <a:pt x="823" y="603"/>
                    </a:cubicBezTo>
                    <a:cubicBezTo>
                      <a:pt x="824" y="609"/>
                      <a:pt x="824" y="609"/>
                      <a:pt x="824" y="609"/>
                    </a:cubicBezTo>
                    <a:cubicBezTo>
                      <a:pt x="826" y="609"/>
                      <a:pt x="826" y="609"/>
                      <a:pt x="826" y="609"/>
                    </a:cubicBezTo>
                    <a:cubicBezTo>
                      <a:pt x="829" y="611"/>
                      <a:pt x="829" y="611"/>
                      <a:pt x="829" y="611"/>
                    </a:cubicBezTo>
                    <a:cubicBezTo>
                      <a:pt x="830" y="608"/>
                      <a:pt x="830" y="608"/>
                      <a:pt x="830" y="608"/>
                    </a:cubicBezTo>
                    <a:cubicBezTo>
                      <a:pt x="835" y="605"/>
                      <a:pt x="835" y="605"/>
                      <a:pt x="835" y="605"/>
                    </a:cubicBezTo>
                    <a:cubicBezTo>
                      <a:pt x="836" y="599"/>
                      <a:pt x="836" y="599"/>
                      <a:pt x="836" y="599"/>
                    </a:cubicBezTo>
                    <a:cubicBezTo>
                      <a:pt x="838" y="595"/>
                      <a:pt x="838" y="595"/>
                      <a:pt x="838" y="595"/>
                    </a:cubicBezTo>
                    <a:cubicBezTo>
                      <a:pt x="837" y="591"/>
                      <a:pt x="837" y="591"/>
                      <a:pt x="837" y="591"/>
                    </a:cubicBezTo>
                    <a:cubicBezTo>
                      <a:pt x="838" y="590"/>
                      <a:pt x="838" y="590"/>
                      <a:pt x="838" y="590"/>
                    </a:cubicBezTo>
                    <a:cubicBezTo>
                      <a:pt x="838" y="588"/>
                      <a:pt x="838" y="588"/>
                      <a:pt x="838" y="588"/>
                    </a:cubicBezTo>
                    <a:cubicBezTo>
                      <a:pt x="836" y="588"/>
                      <a:pt x="836" y="588"/>
                      <a:pt x="836" y="588"/>
                    </a:cubicBezTo>
                    <a:cubicBezTo>
                      <a:pt x="834" y="587"/>
                      <a:pt x="834" y="587"/>
                      <a:pt x="834" y="587"/>
                    </a:cubicBezTo>
                    <a:cubicBezTo>
                      <a:pt x="831" y="589"/>
                      <a:pt x="831" y="589"/>
                      <a:pt x="831" y="589"/>
                    </a:cubicBezTo>
                    <a:cubicBezTo>
                      <a:pt x="831" y="585"/>
                      <a:pt x="831" y="585"/>
                      <a:pt x="831" y="585"/>
                    </a:cubicBezTo>
                    <a:cubicBezTo>
                      <a:pt x="833" y="584"/>
                      <a:pt x="833" y="584"/>
                      <a:pt x="833" y="584"/>
                    </a:cubicBezTo>
                    <a:cubicBezTo>
                      <a:pt x="832" y="582"/>
                      <a:pt x="832" y="582"/>
                      <a:pt x="832" y="582"/>
                    </a:cubicBezTo>
                    <a:cubicBezTo>
                      <a:pt x="828" y="582"/>
                      <a:pt x="828" y="582"/>
                      <a:pt x="828" y="582"/>
                    </a:cubicBezTo>
                    <a:cubicBezTo>
                      <a:pt x="828" y="581"/>
                      <a:pt x="828" y="581"/>
                      <a:pt x="828" y="581"/>
                    </a:cubicBezTo>
                    <a:cubicBezTo>
                      <a:pt x="824" y="578"/>
                      <a:pt x="824" y="578"/>
                      <a:pt x="824" y="578"/>
                    </a:cubicBezTo>
                    <a:cubicBezTo>
                      <a:pt x="824" y="575"/>
                      <a:pt x="824" y="575"/>
                      <a:pt x="824" y="575"/>
                    </a:cubicBezTo>
                    <a:cubicBezTo>
                      <a:pt x="822" y="570"/>
                      <a:pt x="822" y="570"/>
                      <a:pt x="822" y="570"/>
                    </a:cubicBezTo>
                    <a:cubicBezTo>
                      <a:pt x="821" y="565"/>
                      <a:pt x="821" y="565"/>
                      <a:pt x="821" y="565"/>
                    </a:cubicBezTo>
                    <a:cubicBezTo>
                      <a:pt x="823" y="561"/>
                      <a:pt x="823" y="561"/>
                      <a:pt x="823" y="561"/>
                    </a:cubicBezTo>
                    <a:cubicBezTo>
                      <a:pt x="821" y="556"/>
                      <a:pt x="821" y="556"/>
                      <a:pt x="821" y="556"/>
                    </a:cubicBezTo>
                    <a:cubicBezTo>
                      <a:pt x="819" y="560"/>
                      <a:pt x="819" y="560"/>
                      <a:pt x="819" y="560"/>
                    </a:cubicBezTo>
                    <a:cubicBezTo>
                      <a:pt x="819" y="564"/>
                      <a:pt x="819" y="564"/>
                      <a:pt x="819" y="564"/>
                    </a:cubicBezTo>
                    <a:cubicBezTo>
                      <a:pt x="816" y="560"/>
                      <a:pt x="816" y="560"/>
                      <a:pt x="816" y="560"/>
                    </a:cubicBezTo>
                    <a:cubicBezTo>
                      <a:pt x="812" y="558"/>
                      <a:pt x="812" y="558"/>
                      <a:pt x="812" y="558"/>
                    </a:cubicBezTo>
                    <a:cubicBezTo>
                      <a:pt x="811" y="550"/>
                      <a:pt x="811" y="550"/>
                      <a:pt x="811" y="550"/>
                    </a:cubicBezTo>
                    <a:cubicBezTo>
                      <a:pt x="809" y="549"/>
                      <a:pt x="809" y="549"/>
                      <a:pt x="809" y="549"/>
                    </a:cubicBezTo>
                    <a:cubicBezTo>
                      <a:pt x="808" y="543"/>
                      <a:pt x="808" y="543"/>
                      <a:pt x="808" y="543"/>
                    </a:cubicBezTo>
                    <a:cubicBezTo>
                      <a:pt x="805" y="539"/>
                      <a:pt x="805" y="539"/>
                      <a:pt x="805" y="539"/>
                    </a:cubicBezTo>
                    <a:cubicBezTo>
                      <a:pt x="805" y="536"/>
                      <a:pt x="805" y="536"/>
                      <a:pt x="805" y="536"/>
                    </a:cubicBezTo>
                    <a:cubicBezTo>
                      <a:pt x="804" y="533"/>
                      <a:pt x="804" y="533"/>
                      <a:pt x="804" y="533"/>
                    </a:cubicBezTo>
                    <a:cubicBezTo>
                      <a:pt x="804" y="531"/>
                      <a:pt x="804" y="531"/>
                      <a:pt x="804" y="531"/>
                    </a:cubicBezTo>
                    <a:cubicBezTo>
                      <a:pt x="808" y="530"/>
                      <a:pt x="808" y="530"/>
                      <a:pt x="808" y="530"/>
                    </a:cubicBezTo>
                    <a:cubicBezTo>
                      <a:pt x="809" y="526"/>
                      <a:pt x="809" y="526"/>
                      <a:pt x="809" y="526"/>
                    </a:cubicBezTo>
                    <a:cubicBezTo>
                      <a:pt x="812" y="526"/>
                      <a:pt x="812" y="526"/>
                      <a:pt x="812" y="526"/>
                    </a:cubicBezTo>
                    <a:cubicBezTo>
                      <a:pt x="812" y="528"/>
                      <a:pt x="812" y="528"/>
                      <a:pt x="812" y="528"/>
                    </a:cubicBezTo>
                    <a:cubicBezTo>
                      <a:pt x="815" y="526"/>
                      <a:pt x="815" y="526"/>
                      <a:pt x="815" y="526"/>
                    </a:cubicBezTo>
                    <a:cubicBezTo>
                      <a:pt x="815" y="523"/>
                      <a:pt x="815" y="523"/>
                      <a:pt x="815" y="523"/>
                    </a:cubicBezTo>
                    <a:cubicBezTo>
                      <a:pt x="818" y="516"/>
                      <a:pt x="818" y="516"/>
                      <a:pt x="818" y="516"/>
                    </a:cubicBezTo>
                    <a:cubicBezTo>
                      <a:pt x="818" y="511"/>
                      <a:pt x="818" y="511"/>
                      <a:pt x="818" y="511"/>
                    </a:cubicBezTo>
                    <a:cubicBezTo>
                      <a:pt x="819" y="509"/>
                      <a:pt x="819" y="509"/>
                      <a:pt x="819" y="509"/>
                    </a:cubicBezTo>
                    <a:cubicBezTo>
                      <a:pt x="816" y="503"/>
                      <a:pt x="816" y="503"/>
                      <a:pt x="816" y="503"/>
                    </a:cubicBezTo>
                    <a:cubicBezTo>
                      <a:pt x="818" y="498"/>
                      <a:pt x="818" y="498"/>
                      <a:pt x="818" y="498"/>
                    </a:cubicBezTo>
                    <a:cubicBezTo>
                      <a:pt x="820" y="498"/>
                      <a:pt x="820" y="498"/>
                      <a:pt x="820" y="498"/>
                    </a:cubicBezTo>
                    <a:cubicBezTo>
                      <a:pt x="820" y="493"/>
                      <a:pt x="820" y="493"/>
                      <a:pt x="820" y="493"/>
                    </a:cubicBezTo>
                    <a:cubicBezTo>
                      <a:pt x="824" y="488"/>
                      <a:pt x="824" y="488"/>
                      <a:pt x="824" y="488"/>
                    </a:cubicBezTo>
                    <a:cubicBezTo>
                      <a:pt x="825" y="485"/>
                      <a:pt x="825" y="485"/>
                      <a:pt x="825" y="485"/>
                    </a:cubicBezTo>
                    <a:cubicBezTo>
                      <a:pt x="827" y="482"/>
                      <a:pt x="827" y="482"/>
                      <a:pt x="827" y="482"/>
                    </a:cubicBezTo>
                    <a:cubicBezTo>
                      <a:pt x="827" y="475"/>
                      <a:pt x="827" y="475"/>
                      <a:pt x="827" y="475"/>
                    </a:cubicBezTo>
                    <a:cubicBezTo>
                      <a:pt x="829" y="474"/>
                      <a:pt x="829" y="474"/>
                      <a:pt x="829" y="474"/>
                    </a:cubicBezTo>
                    <a:cubicBezTo>
                      <a:pt x="829" y="471"/>
                      <a:pt x="829" y="471"/>
                      <a:pt x="829" y="471"/>
                    </a:cubicBezTo>
                    <a:cubicBezTo>
                      <a:pt x="833" y="466"/>
                      <a:pt x="833" y="466"/>
                      <a:pt x="833" y="466"/>
                    </a:cubicBezTo>
                    <a:cubicBezTo>
                      <a:pt x="833" y="462"/>
                      <a:pt x="833" y="462"/>
                      <a:pt x="833" y="462"/>
                    </a:cubicBezTo>
                    <a:cubicBezTo>
                      <a:pt x="833" y="460"/>
                      <a:pt x="833" y="460"/>
                      <a:pt x="833" y="460"/>
                    </a:cubicBezTo>
                    <a:cubicBezTo>
                      <a:pt x="836" y="459"/>
                      <a:pt x="836" y="459"/>
                      <a:pt x="836" y="459"/>
                    </a:cubicBezTo>
                    <a:cubicBezTo>
                      <a:pt x="836" y="455"/>
                      <a:pt x="836" y="455"/>
                      <a:pt x="836" y="455"/>
                    </a:cubicBezTo>
                    <a:cubicBezTo>
                      <a:pt x="834" y="451"/>
                      <a:pt x="834" y="451"/>
                      <a:pt x="834" y="451"/>
                    </a:cubicBezTo>
                    <a:cubicBezTo>
                      <a:pt x="835" y="449"/>
                      <a:pt x="835" y="449"/>
                      <a:pt x="835" y="449"/>
                    </a:cubicBezTo>
                    <a:cubicBezTo>
                      <a:pt x="835" y="446"/>
                      <a:pt x="835" y="446"/>
                      <a:pt x="835" y="446"/>
                    </a:cubicBezTo>
                    <a:cubicBezTo>
                      <a:pt x="831" y="445"/>
                      <a:pt x="831" y="445"/>
                      <a:pt x="831" y="445"/>
                    </a:cubicBezTo>
                    <a:cubicBezTo>
                      <a:pt x="830" y="439"/>
                      <a:pt x="830" y="439"/>
                      <a:pt x="830" y="439"/>
                    </a:cubicBezTo>
                    <a:cubicBezTo>
                      <a:pt x="831" y="438"/>
                      <a:pt x="831" y="438"/>
                      <a:pt x="831" y="438"/>
                    </a:cubicBezTo>
                    <a:cubicBezTo>
                      <a:pt x="828" y="431"/>
                      <a:pt x="828" y="431"/>
                      <a:pt x="828" y="431"/>
                    </a:cubicBezTo>
                    <a:cubicBezTo>
                      <a:pt x="825" y="431"/>
                      <a:pt x="825" y="431"/>
                      <a:pt x="825" y="431"/>
                    </a:cubicBezTo>
                    <a:cubicBezTo>
                      <a:pt x="823" y="429"/>
                      <a:pt x="823" y="429"/>
                      <a:pt x="823" y="429"/>
                    </a:cubicBezTo>
                    <a:cubicBezTo>
                      <a:pt x="822" y="429"/>
                      <a:pt x="822" y="429"/>
                      <a:pt x="822" y="429"/>
                    </a:cubicBezTo>
                    <a:cubicBezTo>
                      <a:pt x="821" y="434"/>
                      <a:pt x="821" y="434"/>
                      <a:pt x="821" y="434"/>
                    </a:cubicBezTo>
                    <a:cubicBezTo>
                      <a:pt x="819" y="434"/>
                      <a:pt x="819" y="434"/>
                      <a:pt x="819" y="434"/>
                    </a:cubicBezTo>
                    <a:cubicBezTo>
                      <a:pt x="815" y="427"/>
                      <a:pt x="815" y="427"/>
                      <a:pt x="815" y="427"/>
                    </a:cubicBezTo>
                    <a:cubicBezTo>
                      <a:pt x="813" y="426"/>
                      <a:pt x="813" y="426"/>
                      <a:pt x="813" y="426"/>
                    </a:cubicBezTo>
                    <a:cubicBezTo>
                      <a:pt x="810" y="423"/>
                      <a:pt x="810" y="423"/>
                      <a:pt x="810" y="423"/>
                    </a:cubicBezTo>
                    <a:cubicBezTo>
                      <a:pt x="808" y="425"/>
                      <a:pt x="808" y="425"/>
                      <a:pt x="808" y="425"/>
                    </a:cubicBezTo>
                    <a:cubicBezTo>
                      <a:pt x="808" y="429"/>
                      <a:pt x="808" y="429"/>
                      <a:pt x="808" y="429"/>
                    </a:cubicBezTo>
                    <a:cubicBezTo>
                      <a:pt x="807" y="430"/>
                      <a:pt x="807" y="430"/>
                      <a:pt x="807" y="430"/>
                    </a:cubicBezTo>
                    <a:cubicBezTo>
                      <a:pt x="804" y="430"/>
                      <a:pt x="804" y="430"/>
                      <a:pt x="804" y="430"/>
                    </a:cubicBezTo>
                    <a:cubicBezTo>
                      <a:pt x="802" y="434"/>
                      <a:pt x="802" y="434"/>
                      <a:pt x="802" y="434"/>
                    </a:cubicBezTo>
                    <a:cubicBezTo>
                      <a:pt x="802" y="436"/>
                      <a:pt x="802" y="436"/>
                      <a:pt x="802" y="436"/>
                    </a:cubicBezTo>
                    <a:cubicBezTo>
                      <a:pt x="800" y="438"/>
                      <a:pt x="800" y="438"/>
                      <a:pt x="800" y="438"/>
                    </a:cubicBezTo>
                    <a:cubicBezTo>
                      <a:pt x="797" y="447"/>
                      <a:pt x="797" y="447"/>
                      <a:pt x="797" y="447"/>
                    </a:cubicBezTo>
                    <a:cubicBezTo>
                      <a:pt x="797" y="450"/>
                      <a:pt x="797" y="450"/>
                      <a:pt x="797" y="450"/>
                    </a:cubicBezTo>
                    <a:cubicBezTo>
                      <a:pt x="795" y="453"/>
                      <a:pt x="795" y="453"/>
                      <a:pt x="795" y="453"/>
                    </a:cubicBezTo>
                    <a:cubicBezTo>
                      <a:pt x="795" y="458"/>
                      <a:pt x="795" y="458"/>
                      <a:pt x="795" y="458"/>
                    </a:cubicBezTo>
                    <a:cubicBezTo>
                      <a:pt x="793" y="459"/>
                      <a:pt x="793" y="459"/>
                      <a:pt x="793" y="459"/>
                    </a:cubicBezTo>
                    <a:cubicBezTo>
                      <a:pt x="793" y="462"/>
                      <a:pt x="793" y="462"/>
                      <a:pt x="793" y="462"/>
                    </a:cubicBezTo>
                    <a:cubicBezTo>
                      <a:pt x="790" y="464"/>
                      <a:pt x="790" y="464"/>
                      <a:pt x="790" y="464"/>
                    </a:cubicBezTo>
                    <a:cubicBezTo>
                      <a:pt x="790" y="471"/>
                      <a:pt x="790" y="471"/>
                      <a:pt x="790" y="471"/>
                    </a:cubicBezTo>
                    <a:cubicBezTo>
                      <a:pt x="787" y="473"/>
                      <a:pt x="787" y="473"/>
                      <a:pt x="787" y="473"/>
                    </a:cubicBezTo>
                    <a:cubicBezTo>
                      <a:pt x="785" y="472"/>
                      <a:pt x="785" y="472"/>
                      <a:pt x="785" y="472"/>
                    </a:cubicBezTo>
                    <a:cubicBezTo>
                      <a:pt x="783" y="478"/>
                      <a:pt x="783" y="478"/>
                      <a:pt x="783" y="478"/>
                    </a:cubicBezTo>
                    <a:cubicBezTo>
                      <a:pt x="784" y="481"/>
                      <a:pt x="784" y="481"/>
                      <a:pt x="784" y="481"/>
                    </a:cubicBezTo>
                    <a:cubicBezTo>
                      <a:pt x="783" y="484"/>
                      <a:pt x="783" y="484"/>
                      <a:pt x="783" y="484"/>
                    </a:cubicBezTo>
                    <a:cubicBezTo>
                      <a:pt x="782" y="488"/>
                      <a:pt x="782" y="488"/>
                      <a:pt x="782" y="488"/>
                    </a:cubicBezTo>
                    <a:cubicBezTo>
                      <a:pt x="780" y="491"/>
                      <a:pt x="780" y="491"/>
                      <a:pt x="780" y="491"/>
                    </a:cubicBezTo>
                    <a:cubicBezTo>
                      <a:pt x="782" y="494"/>
                      <a:pt x="782" y="494"/>
                      <a:pt x="782" y="494"/>
                    </a:cubicBezTo>
                    <a:cubicBezTo>
                      <a:pt x="781" y="497"/>
                      <a:pt x="781" y="497"/>
                      <a:pt x="781" y="497"/>
                    </a:cubicBezTo>
                    <a:cubicBezTo>
                      <a:pt x="777" y="497"/>
                      <a:pt x="777" y="497"/>
                      <a:pt x="777" y="497"/>
                    </a:cubicBezTo>
                    <a:cubicBezTo>
                      <a:pt x="779" y="498"/>
                      <a:pt x="779" y="498"/>
                      <a:pt x="779" y="498"/>
                    </a:cubicBezTo>
                    <a:cubicBezTo>
                      <a:pt x="782" y="500"/>
                      <a:pt x="782" y="500"/>
                      <a:pt x="782" y="500"/>
                    </a:cubicBezTo>
                    <a:cubicBezTo>
                      <a:pt x="782" y="503"/>
                      <a:pt x="782" y="503"/>
                      <a:pt x="782" y="503"/>
                    </a:cubicBezTo>
                    <a:cubicBezTo>
                      <a:pt x="780" y="502"/>
                      <a:pt x="780" y="502"/>
                      <a:pt x="780" y="502"/>
                    </a:cubicBezTo>
                    <a:cubicBezTo>
                      <a:pt x="777" y="503"/>
                      <a:pt x="777" y="503"/>
                      <a:pt x="777" y="503"/>
                    </a:cubicBezTo>
                    <a:cubicBezTo>
                      <a:pt x="774" y="505"/>
                      <a:pt x="774" y="505"/>
                      <a:pt x="774" y="505"/>
                    </a:cubicBezTo>
                    <a:cubicBezTo>
                      <a:pt x="772" y="504"/>
                      <a:pt x="772" y="504"/>
                      <a:pt x="772" y="504"/>
                    </a:cubicBezTo>
                    <a:cubicBezTo>
                      <a:pt x="770" y="505"/>
                      <a:pt x="770" y="505"/>
                      <a:pt x="770" y="505"/>
                    </a:cubicBezTo>
                    <a:cubicBezTo>
                      <a:pt x="770" y="509"/>
                      <a:pt x="770" y="509"/>
                      <a:pt x="770" y="509"/>
                    </a:cubicBezTo>
                    <a:cubicBezTo>
                      <a:pt x="769" y="511"/>
                      <a:pt x="769" y="511"/>
                      <a:pt x="769" y="511"/>
                    </a:cubicBezTo>
                    <a:cubicBezTo>
                      <a:pt x="766" y="509"/>
                      <a:pt x="766" y="509"/>
                      <a:pt x="766" y="509"/>
                    </a:cubicBezTo>
                    <a:cubicBezTo>
                      <a:pt x="766" y="505"/>
                      <a:pt x="766" y="505"/>
                      <a:pt x="766" y="505"/>
                    </a:cubicBezTo>
                    <a:cubicBezTo>
                      <a:pt x="767" y="503"/>
                      <a:pt x="767" y="503"/>
                      <a:pt x="767" y="503"/>
                    </a:cubicBezTo>
                    <a:cubicBezTo>
                      <a:pt x="765" y="500"/>
                      <a:pt x="765" y="500"/>
                      <a:pt x="765" y="500"/>
                    </a:cubicBezTo>
                    <a:cubicBezTo>
                      <a:pt x="764" y="495"/>
                      <a:pt x="764" y="495"/>
                      <a:pt x="764" y="495"/>
                    </a:cubicBezTo>
                    <a:cubicBezTo>
                      <a:pt x="767" y="489"/>
                      <a:pt x="767" y="489"/>
                      <a:pt x="767" y="489"/>
                    </a:cubicBezTo>
                    <a:cubicBezTo>
                      <a:pt x="768" y="485"/>
                      <a:pt x="768" y="485"/>
                      <a:pt x="768" y="485"/>
                    </a:cubicBezTo>
                    <a:cubicBezTo>
                      <a:pt x="771" y="483"/>
                      <a:pt x="771" y="483"/>
                      <a:pt x="771" y="483"/>
                    </a:cubicBezTo>
                    <a:cubicBezTo>
                      <a:pt x="771" y="480"/>
                      <a:pt x="771" y="480"/>
                      <a:pt x="771" y="480"/>
                    </a:cubicBezTo>
                    <a:cubicBezTo>
                      <a:pt x="772" y="477"/>
                      <a:pt x="772" y="477"/>
                      <a:pt x="772" y="477"/>
                    </a:cubicBezTo>
                    <a:cubicBezTo>
                      <a:pt x="774" y="469"/>
                      <a:pt x="774" y="469"/>
                      <a:pt x="774" y="469"/>
                    </a:cubicBezTo>
                    <a:cubicBezTo>
                      <a:pt x="778" y="466"/>
                      <a:pt x="778" y="466"/>
                      <a:pt x="778" y="466"/>
                    </a:cubicBezTo>
                    <a:cubicBezTo>
                      <a:pt x="779" y="462"/>
                      <a:pt x="779" y="462"/>
                      <a:pt x="779" y="462"/>
                    </a:cubicBezTo>
                    <a:cubicBezTo>
                      <a:pt x="776" y="462"/>
                      <a:pt x="776" y="462"/>
                      <a:pt x="776" y="462"/>
                    </a:cubicBezTo>
                    <a:cubicBezTo>
                      <a:pt x="775" y="462"/>
                      <a:pt x="775" y="462"/>
                      <a:pt x="775" y="462"/>
                    </a:cubicBezTo>
                    <a:cubicBezTo>
                      <a:pt x="775" y="459"/>
                      <a:pt x="775" y="459"/>
                      <a:pt x="775" y="459"/>
                    </a:cubicBezTo>
                    <a:cubicBezTo>
                      <a:pt x="777" y="457"/>
                      <a:pt x="777" y="457"/>
                      <a:pt x="777" y="457"/>
                    </a:cubicBezTo>
                    <a:cubicBezTo>
                      <a:pt x="778" y="449"/>
                      <a:pt x="778" y="449"/>
                      <a:pt x="778" y="449"/>
                    </a:cubicBezTo>
                    <a:cubicBezTo>
                      <a:pt x="776" y="448"/>
                      <a:pt x="776" y="448"/>
                      <a:pt x="776" y="448"/>
                    </a:cubicBezTo>
                    <a:cubicBezTo>
                      <a:pt x="774" y="444"/>
                      <a:pt x="774" y="444"/>
                      <a:pt x="774" y="444"/>
                    </a:cubicBezTo>
                    <a:cubicBezTo>
                      <a:pt x="775" y="442"/>
                      <a:pt x="775" y="442"/>
                      <a:pt x="775" y="442"/>
                    </a:cubicBezTo>
                    <a:cubicBezTo>
                      <a:pt x="775" y="438"/>
                      <a:pt x="775" y="438"/>
                      <a:pt x="775" y="438"/>
                    </a:cubicBezTo>
                    <a:cubicBezTo>
                      <a:pt x="773" y="437"/>
                      <a:pt x="773" y="437"/>
                      <a:pt x="773" y="437"/>
                    </a:cubicBezTo>
                    <a:cubicBezTo>
                      <a:pt x="770" y="433"/>
                      <a:pt x="770" y="433"/>
                      <a:pt x="770" y="433"/>
                    </a:cubicBezTo>
                    <a:cubicBezTo>
                      <a:pt x="764" y="435"/>
                      <a:pt x="764" y="435"/>
                      <a:pt x="764" y="435"/>
                    </a:cubicBezTo>
                    <a:cubicBezTo>
                      <a:pt x="763" y="439"/>
                      <a:pt x="763" y="439"/>
                      <a:pt x="763" y="439"/>
                    </a:cubicBezTo>
                    <a:cubicBezTo>
                      <a:pt x="767" y="441"/>
                      <a:pt x="767" y="441"/>
                      <a:pt x="767" y="441"/>
                    </a:cubicBezTo>
                    <a:cubicBezTo>
                      <a:pt x="766" y="444"/>
                      <a:pt x="766" y="444"/>
                      <a:pt x="766" y="444"/>
                    </a:cubicBezTo>
                    <a:cubicBezTo>
                      <a:pt x="768" y="447"/>
                      <a:pt x="768" y="447"/>
                      <a:pt x="768" y="447"/>
                    </a:cubicBezTo>
                    <a:cubicBezTo>
                      <a:pt x="768" y="450"/>
                      <a:pt x="768" y="450"/>
                      <a:pt x="768" y="450"/>
                    </a:cubicBezTo>
                    <a:cubicBezTo>
                      <a:pt x="766" y="450"/>
                      <a:pt x="766" y="450"/>
                      <a:pt x="766" y="450"/>
                    </a:cubicBezTo>
                    <a:cubicBezTo>
                      <a:pt x="765" y="446"/>
                      <a:pt x="765" y="446"/>
                      <a:pt x="765" y="446"/>
                    </a:cubicBezTo>
                    <a:cubicBezTo>
                      <a:pt x="762" y="446"/>
                      <a:pt x="762" y="446"/>
                      <a:pt x="762" y="446"/>
                    </a:cubicBezTo>
                    <a:cubicBezTo>
                      <a:pt x="761" y="450"/>
                      <a:pt x="761" y="450"/>
                      <a:pt x="761" y="450"/>
                    </a:cubicBezTo>
                    <a:cubicBezTo>
                      <a:pt x="762" y="451"/>
                      <a:pt x="762" y="451"/>
                      <a:pt x="762" y="451"/>
                    </a:cubicBezTo>
                    <a:cubicBezTo>
                      <a:pt x="763" y="454"/>
                      <a:pt x="763" y="454"/>
                      <a:pt x="763" y="454"/>
                    </a:cubicBezTo>
                    <a:cubicBezTo>
                      <a:pt x="765" y="459"/>
                      <a:pt x="765" y="459"/>
                      <a:pt x="765" y="459"/>
                    </a:cubicBezTo>
                    <a:cubicBezTo>
                      <a:pt x="763" y="460"/>
                      <a:pt x="763" y="460"/>
                      <a:pt x="763" y="460"/>
                    </a:cubicBezTo>
                    <a:cubicBezTo>
                      <a:pt x="762" y="459"/>
                      <a:pt x="762" y="459"/>
                      <a:pt x="762" y="459"/>
                    </a:cubicBezTo>
                    <a:cubicBezTo>
                      <a:pt x="761" y="457"/>
                      <a:pt x="761" y="457"/>
                      <a:pt x="761" y="457"/>
                    </a:cubicBezTo>
                    <a:cubicBezTo>
                      <a:pt x="760" y="461"/>
                      <a:pt x="760" y="461"/>
                      <a:pt x="760" y="461"/>
                    </a:cubicBezTo>
                    <a:cubicBezTo>
                      <a:pt x="756" y="459"/>
                      <a:pt x="756" y="459"/>
                      <a:pt x="756" y="459"/>
                    </a:cubicBezTo>
                    <a:cubicBezTo>
                      <a:pt x="756" y="456"/>
                      <a:pt x="756" y="456"/>
                      <a:pt x="756" y="456"/>
                    </a:cubicBezTo>
                    <a:cubicBezTo>
                      <a:pt x="754" y="456"/>
                      <a:pt x="754" y="456"/>
                      <a:pt x="754" y="456"/>
                    </a:cubicBezTo>
                    <a:cubicBezTo>
                      <a:pt x="752" y="460"/>
                      <a:pt x="752" y="460"/>
                      <a:pt x="752" y="460"/>
                    </a:cubicBezTo>
                    <a:cubicBezTo>
                      <a:pt x="750" y="459"/>
                      <a:pt x="750" y="459"/>
                      <a:pt x="750" y="459"/>
                    </a:cubicBezTo>
                    <a:cubicBezTo>
                      <a:pt x="750" y="455"/>
                      <a:pt x="750" y="455"/>
                      <a:pt x="750" y="455"/>
                    </a:cubicBezTo>
                    <a:cubicBezTo>
                      <a:pt x="753" y="453"/>
                      <a:pt x="753" y="453"/>
                      <a:pt x="753" y="453"/>
                    </a:cubicBezTo>
                    <a:cubicBezTo>
                      <a:pt x="752" y="452"/>
                      <a:pt x="752" y="452"/>
                      <a:pt x="752" y="452"/>
                    </a:cubicBezTo>
                    <a:cubicBezTo>
                      <a:pt x="747" y="454"/>
                      <a:pt x="747" y="454"/>
                      <a:pt x="747" y="454"/>
                    </a:cubicBezTo>
                    <a:cubicBezTo>
                      <a:pt x="742" y="458"/>
                      <a:pt x="742" y="458"/>
                      <a:pt x="742" y="458"/>
                    </a:cubicBezTo>
                    <a:cubicBezTo>
                      <a:pt x="740" y="454"/>
                      <a:pt x="740" y="454"/>
                      <a:pt x="740" y="454"/>
                    </a:cubicBezTo>
                    <a:cubicBezTo>
                      <a:pt x="737" y="454"/>
                      <a:pt x="737" y="454"/>
                      <a:pt x="737" y="454"/>
                    </a:cubicBezTo>
                    <a:cubicBezTo>
                      <a:pt x="735" y="456"/>
                      <a:pt x="735" y="456"/>
                      <a:pt x="735" y="456"/>
                    </a:cubicBezTo>
                    <a:cubicBezTo>
                      <a:pt x="731" y="456"/>
                      <a:pt x="731" y="456"/>
                      <a:pt x="731" y="456"/>
                    </a:cubicBezTo>
                    <a:cubicBezTo>
                      <a:pt x="730" y="454"/>
                      <a:pt x="730" y="454"/>
                      <a:pt x="730" y="454"/>
                    </a:cubicBezTo>
                    <a:cubicBezTo>
                      <a:pt x="725" y="455"/>
                      <a:pt x="725" y="455"/>
                      <a:pt x="725" y="455"/>
                    </a:cubicBezTo>
                    <a:cubicBezTo>
                      <a:pt x="724" y="453"/>
                      <a:pt x="724" y="453"/>
                      <a:pt x="724" y="453"/>
                    </a:cubicBezTo>
                    <a:cubicBezTo>
                      <a:pt x="727" y="451"/>
                      <a:pt x="727" y="451"/>
                      <a:pt x="727" y="451"/>
                    </a:cubicBezTo>
                    <a:cubicBezTo>
                      <a:pt x="732" y="450"/>
                      <a:pt x="732" y="450"/>
                      <a:pt x="732" y="450"/>
                    </a:cubicBezTo>
                    <a:cubicBezTo>
                      <a:pt x="734" y="451"/>
                      <a:pt x="734" y="451"/>
                      <a:pt x="734" y="451"/>
                    </a:cubicBezTo>
                    <a:cubicBezTo>
                      <a:pt x="738" y="450"/>
                      <a:pt x="738" y="450"/>
                      <a:pt x="738" y="450"/>
                    </a:cubicBezTo>
                    <a:cubicBezTo>
                      <a:pt x="739" y="448"/>
                      <a:pt x="739" y="448"/>
                      <a:pt x="739" y="448"/>
                    </a:cubicBezTo>
                    <a:cubicBezTo>
                      <a:pt x="741" y="447"/>
                      <a:pt x="741" y="447"/>
                      <a:pt x="741" y="447"/>
                    </a:cubicBezTo>
                    <a:cubicBezTo>
                      <a:pt x="744" y="448"/>
                      <a:pt x="744" y="448"/>
                      <a:pt x="744" y="448"/>
                    </a:cubicBezTo>
                    <a:cubicBezTo>
                      <a:pt x="748" y="444"/>
                      <a:pt x="748" y="444"/>
                      <a:pt x="748" y="444"/>
                    </a:cubicBezTo>
                    <a:cubicBezTo>
                      <a:pt x="748" y="441"/>
                      <a:pt x="748" y="441"/>
                      <a:pt x="748" y="441"/>
                    </a:cubicBezTo>
                    <a:cubicBezTo>
                      <a:pt x="748" y="439"/>
                      <a:pt x="748" y="439"/>
                      <a:pt x="748" y="439"/>
                    </a:cubicBezTo>
                    <a:cubicBezTo>
                      <a:pt x="746" y="437"/>
                      <a:pt x="746" y="437"/>
                      <a:pt x="746" y="437"/>
                    </a:cubicBezTo>
                    <a:cubicBezTo>
                      <a:pt x="743" y="431"/>
                      <a:pt x="743" y="431"/>
                      <a:pt x="743" y="431"/>
                    </a:cubicBezTo>
                    <a:cubicBezTo>
                      <a:pt x="738" y="430"/>
                      <a:pt x="738" y="430"/>
                      <a:pt x="738" y="430"/>
                    </a:cubicBezTo>
                    <a:cubicBezTo>
                      <a:pt x="738" y="427"/>
                      <a:pt x="738" y="427"/>
                      <a:pt x="738" y="427"/>
                    </a:cubicBezTo>
                    <a:cubicBezTo>
                      <a:pt x="732" y="422"/>
                      <a:pt x="732" y="422"/>
                      <a:pt x="732" y="422"/>
                    </a:cubicBezTo>
                    <a:cubicBezTo>
                      <a:pt x="731" y="420"/>
                      <a:pt x="731" y="420"/>
                      <a:pt x="731" y="420"/>
                    </a:cubicBezTo>
                    <a:cubicBezTo>
                      <a:pt x="728" y="420"/>
                      <a:pt x="728" y="420"/>
                      <a:pt x="728" y="420"/>
                    </a:cubicBezTo>
                    <a:cubicBezTo>
                      <a:pt x="724" y="423"/>
                      <a:pt x="724" y="423"/>
                      <a:pt x="724" y="423"/>
                    </a:cubicBezTo>
                    <a:cubicBezTo>
                      <a:pt x="721" y="423"/>
                      <a:pt x="721" y="423"/>
                      <a:pt x="721" y="423"/>
                    </a:cubicBezTo>
                    <a:cubicBezTo>
                      <a:pt x="715" y="429"/>
                      <a:pt x="715" y="429"/>
                      <a:pt x="715" y="429"/>
                    </a:cubicBezTo>
                    <a:cubicBezTo>
                      <a:pt x="717" y="430"/>
                      <a:pt x="717" y="430"/>
                      <a:pt x="717" y="430"/>
                    </a:cubicBezTo>
                    <a:cubicBezTo>
                      <a:pt x="716" y="433"/>
                      <a:pt x="716" y="433"/>
                      <a:pt x="716" y="433"/>
                    </a:cubicBezTo>
                    <a:cubicBezTo>
                      <a:pt x="714" y="434"/>
                      <a:pt x="714" y="434"/>
                      <a:pt x="714" y="434"/>
                    </a:cubicBezTo>
                    <a:cubicBezTo>
                      <a:pt x="711" y="435"/>
                      <a:pt x="711" y="435"/>
                      <a:pt x="711" y="435"/>
                    </a:cubicBezTo>
                    <a:cubicBezTo>
                      <a:pt x="711" y="433"/>
                      <a:pt x="711" y="433"/>
                      <a:pt x="711" y="433"/>
                    </a:cubicBezTo>
                    <a:cubicBezTo>
                      <a:pt x="708" y="434"/>
                      <a:pt x="708" y="434"/>
                      <a:pt x="708" y="434"/>
                    </a:cubicBezTo>
                    <a:cubicBezTo>
                      <a:pt x="706" y="432"/>
                      <a:pt x="706" y="432"/>
                      <a:pt x="706" y="432"/>
                    </a:cubicBezTo>
                    <a:cubicBezTo>
                      <a:pt x="702" y="432"/>
                      <a:pt x="702" y="432"/>
                      <a:pt x="702" y="432"/>
                    </a:cubicBezTo>
                    <a:cubicBezTo>
                      <a:pt x="700" y="434"/>
                      <a:pt x="700" y="434"/>
                      <a:pt x="700" y="434"/>
                    </a:cubicBezTo>
                    <a:cubicBezTo>
                      <a:pt x="696" y="433"/>
                      <a:pt x="696" y="433"/>
                      <a:pt x="696" y="433"/>
                    </a:cubicBezTo>
                    <a:cubicBezTo>
                      <a:pt x="695" y="432"/>
                      <a:pt x="695" y="432"/>
                      <a:pt x="695" y="432"/>
                    </a:cubicBezTo>
                    <a:cubicBezTo>
                      <a:pt x="696" y="431"/>
                      <a:pt x="696" y="431"/>
                      <a:pt x="696" y="431"/>
                    </a:cubicBezTo>
                    <a:cubicBezTo>
                      <a:pt x="702" y="430"/>
                      <a:pt x="702" y="430"/>
                      <a:pt x="702" y="430"/>
                    </a:cubicBezTo>
                    <a:cubicBezTo>
                      <a:pt x="703" y="426"/>
                      <a:pt x="703" y="426"/>
                      <a:pt x="703" y="426"/>
                    </a:cubicBezTo>
                    <a:cubicBezTo>
                      <a:pt x="706" y="425"/>
                      <a:pt x="706" y="425"/>
                      <a:pt x="706" y="425"/>
                    </a:cubicBezTo>
                    <a:cubicBezTo>
                      <a:pt x="709" y="426"/>
                      <a:pt x="709" y="426"/>
                      <a:pt x="709" y="426"/>
                    </a:cubicBezTo>
                    <a:cubicBezTo>
                      <a:pt x="711" y="422"/>
                      <a:pt x="711" y="422"/>
                      <a:pt x="711" y="422"/>
                    </a:cubicBezTo>
                    <a:cubicBezTo>
                      <a:pt x="712" y="418"/>
                      <a:pt x="712" y="418"/>
                      <a:pt x="712" y="418"/>
                    </a:cubicBezTo>
                    <a:cubicBezTo>
                      <a:pt x="713" y="416"/>
                      <a:pt x="713" y="416"/>
                      <a:pt x="713" y="416"/>
                    </a:cubicBezTo>
                    <a:cubicBezTo>
                      <a:pt x="716" y="416"/>
                      <a:pt x="716" y="416"/>
                      <a:pt x="716" y="416"/>
                    </a:cubicBezTo>
                    <a:cubicBezTo>
                      <a:pt x="719" y="411"/>
                      <a:pt x="719" y="411"/>
                      <a:pt x="719" y="411"/>
                    </a:cubicBezTo>
                    <a:cubicBezTo>
                      <a:pt x="719" y="405"/>
                      <a:pt x="719" y="405"/>
                      <a:pt x="719" y="405"/>
                    </a:cubicBezTo>
                    <a:cubicBezTo>
                      <a:pt x="720" y="402"/>
                      <a:pt x="720" y="402"/>
                      <a:pt x="720" y="402"/>
                    </a:cubicBezTo>
                    <a:cubicBezTo>
                      <a:pt x="719" y="399"/>
                      <a:pt x="719" y="399"/>
                      <a:pt x="719" y="399"/>
                    </a:cubicBezTo>
                    <a:cubicBezTo>
                      <a:pt x="715" y="399"/>
                      <a:pt x="715" y="399"/>
                      <a:pt x="715" y="399"/>
                    </a:cubicBezTo>
                    <a:cubicBezTo>
                      <a:pt x="710" y="401"/>
                      <a:pt x="710" y="401"/>
                      <a:pt x="710" y="401"/>
                    </a:cubicBezTo>
                    <a:cubicBezTo>
                      <a:pt x="702" y="402"/>
                      <a:pt x="702" y="402"/>
                      <a:pt x="702" y="402"/>
                    </a:cubicBezTo>
                    <a:cubicBezTo>
                      <a:pt x="695" y="405"/>
                      <a:pt x="695" y="405"/>
                      <a:pt x="695" y="405"/>
                    </a:cubicBezTo>
                    <a:cubicBezTo>
                      <a:pt x="681" y="407"/>
                      <a:pt x="681" y="407"/>
                      <a:pt x="681" y="407"/>
                    </a:cubicBezTo>
                    <a:cubicBezTo>
                      <a:pt x="664" y="413"/>
                      <a:pt x="664" y="413"/>
                      <a:pt x="664" y="413"/>
                    </a:cubicBezTo>
                    <a:cubicBezTo>
                      <a:pt x="660" y="417"/>
                      <a:pt x="660" y="417"/>
                      <a:pt x="660" y="417"/>
                    </a:cubicBezTo>
                    <a:cubicBezTo>
                      <a:pt x="649" y="419"/>
                      <a:pt x="649" y="419"/>
                      <a:pt x="649" y="419"/>
                    </a:cubicBezTo>
                    <a:cubicBezTo>
                      <a:pt x="635" y="426"/>
                      <a:pt x="635" y="426"/>
                      <a:pt x="635" y="426"/>
                    </a:cubicBezTo>
                    <a:cubicBezTo>
                      <a:pt x="630" y="430"/>
                      <a:pt x="630" y="430"/>
                      <a:pt x="630" y="430"/>
                    </a:cubicBezTo>
                    <a:cubicBezTo>
                      <a:pt x="630" y="433"/>
                      <a:pt x="630" y="433"/>
                      <a:pt x="630" y="433"/>
                    </a:cubicBezTo>
                    <a:cubicBezTo>
                      <a:pt x="633" y="433"/>
                      <a:pt x="633" y="433"/>
                      <a:pt x="633" y="433"/>
                    </a:cubicBezTo>
                    <a:cubicBezTo>
                      <a:pt x="635" y="435"/>
                      <a:pt x="635" y="435"/>
                      <a:pt x="635" y="435"/>
                    </a:cubicBezTo>
                    <a:cubicBezTo>
                      <a:pt x="631" y="437"/>
                      <a:pt x="631" y="437"/>
                      <a:pt x="631" y="437"/>
                    </a:cubicBezTo>
                    <a:cubicBezTo>
                      <a:pt x="628" y="437"/>
                      <a:pt x="628" y="437"/>
                      <a:pt x="628" y="437"/>
                    </a:cubicBezTo>
                    <a:cubicBezTo>
                      <a:pt x="621" y="443"/>
                      <a:pt x="621" y="443"/>
                      <a:pt x="621" y="443"/>
                    </a:cubicBezTo>
                    <a:cubicBezTo>
                      <a:pt x="616" y="443"/>
                      <a:pt x="616" y="443"/>
                      <a:pt x="616" y="443"/>
                    </a:cubicBezTo>
                    <a:cubicBezTo>
                      <a:pt x="614" y="445"/>
                      <a:pt x="614" y="445"/>
                      <a:pt x="614" y="445"/>
                    </a:cubicBezTo>
                    <a:cubicBezTo>
                      <a:pt x="613" y="448"/>
                      <a:pt x="613" y="448"/>
                      <a:pt x="613" y="448"/>
                    </a:cubicBezTo>
                    <a:cubicBezTo>
                      <a:pt x="607" y="452"/>
                      <a:pt x="607" y="452"/>
                      <a:pt x="607" y="452"/>
                    </a:cubicBezTo>
                    <a:cubicBezTo>
                      <a:pt x="605" y="455"/>
                      <a:pt x="605" y="455"/>
                      <a:pt x="605" y="455"/>
                    </a:cubicBezTo>
                    <a:cubicBezTo>
                      <a:pt x="605" y="459"/>
                      <a:pt x="605" y="459"/>
                      <a:pt x="605" y="459"/>
                    </a:cubicBezTo>
                    <a:cubicBezTo>
                      <a:pt x="608" y="458"/>
                      <a:pt x="608" y="458"/>
                      <a:pt x="608" y="458"/>
                    </a:cubicBezTo>
                    <a:cubicBezTo>
                      <a:pt x="610" y="460"/>
                      <a:pt x="610" y="460"/>
                      <a:pt x="610" y="460"/>
                    </a:cubicBezTo>
                    <a:cubicBezTo>
                      <a:pt x="609" y="463"/>
                      <a:pt x="609" y="463"/>
                      <a:pt x="609" y="463"/>
                    </a:cubicBezTo>
                    <a:cubicBezTo>
                      <a:pt x="610" y="464"/>
                      <a:pt x="610" y="464"/>
                      <a:pt x="610" y="464"/>
                    </a:cubicBezTo>
                    <a:cubicBezTo>
                      <a:pt x="612" y="463"/>
                      <a:pt x="612" y="463"/>
                      <a:pt x="612" y="463"/>
                    </a:cubicBezTo>
                    <a:cubicBezTo>
                      <a:pt x="615" y="461"/>
                      <a:pt x="615" y="461"/>
                      <a:pt x="615" y="461"/>
                    </a:cubicBezTo>
                    <a:cubicBezTo>
                      <a:pt x="619" y="461"/>
                      <a:pt x="619" y="461"/>
                      <a:pt x="619" y="461"/>
                    </a:cubicBezTo>
                    <a:cubicBezTo>
                      <a:pt x="622" y="463"/>
                      <a:pt x="622" y="463"/>
                      <a:pt x="622" y="463"/>
                    </a:cubicBezTo>
                    <a:cubicBezTo>
                      <a:pt x="621" y="466"/>
                      <a:pt x="621" y="466"/>
                      <a:pt x="621" y="466"/>
                    </a:cubicBezTo>
                    <a:cubicBezTo>
                      <a:pt x="616" y="468"/>
                      <a:pt x="616" y="468"/>
                      <a:pt x="616" y="468"/>
                    </a:cubicBezTo>
                    <a:cubicBezTo>
                      <a:pt x="612" y="466"/>
                      <a:pt x="612" y="466"/>
                      <a:pt x="612" y="466"/>
                    </a:cubicBezTo>
                    <a:cubicBezTo>
                      <a:pt x="609" y="467"/>
                      <a:pt x="609" y="467"/>
                      <a:pt x="609" y="467"/>
                    </a:cubicBezTo>
                    <a:cubicBezTo>
                      <a:pt x="610" y="471"/>
                      <a:pt x="610" y="471"/>
                      <a:pt x="610" y="471"/>
                    </a:cubicBezTo>
                    <a:cubicBezTo>
                      <a:pt x="617" y="474"/>
                      <a:pt x="617" y="474"/>
                      <a:pt x="617" y="474"/>
                    </a:cubicBezTo>
                    <a:cubicBezTo>
                      <a:pt x="619" y="472"/>
                      <a:pt x="619" y="472"/>
                      <a:pt x="619" y="472"/>
                    </a:cubicBezTo>
                    <a:cubicBezTo>
                      <a:pt x="620" y="470"/>
                      <a:pt x="620" y="470"/>
                      <a:pt x="620" y="470"/>
                    </a:cubicBezTo>
                    <a:cubicBezTo>
                      <a:pt x="622" y="470"/>
                      <a:pt x="622" y="470"/>
                      <a:pt x="622" y="470"/>
                    </a:cubicBezTo>
                    <a:cubicBezTo>
                      <a:pt x="623" y="471"/>
                      <a:pt x="623" y="471"/>
                      <a:pt x="623" y="471"/>
                    </a:cubicBezTo>
                    <a:cubicBezTo>
                      <a:pt x="622" y="474"/>
                      <a:pt x="622" y="474"/>
                      <a:pt x="622" y="474"/>
                    </a:cubicBezTo>
                    <a:cubicBezTo>
                      <a:pt x="625" y="474"/>
                      <a:pt x="625" y="474"/>
                      <a:pt x="625" y="474"/>
                    </a:cubicBezTo>
                    <a:cubicBezTo>
                      <a:pt x="631" y="475"/>
                      <a:pt x="631" y="475"/>
                      <a:pt x="631" y="475"/>
                    </a:cubicBezTo>
                    <a:cubicBezTo>
                      <a:pt x="637" y="473"/>
                      <a:pt x="637" y="473"/>
                      <a:pt x="637" y="473"/>
                    </a:cubicBezTo>
                    <a:cubicBezTo>
                      <a:pt x="641" y="473"/>
                      <a:pt x="641" y="473"/>
                      <a:pt x="641" y="473"/>
                    </a:cubicBezTo>
                    <a:cubicBezTo>
                      <a:pt x="646" y="475"/>
                      <a:pt x="646" y="475"/>
                      <a:pt x="646" y="475"/>
                    </a:cubicBezTo>
                    <a:cubicBezTo>
                      <a:pt x="650" y="475"/>
                      <a:pt x="650" y="475"/>
                      <a:pt x="650" y="475"/>
                    </a:cubicBezTo>
                    <a:cubicBezTo>
                      <a:pt x="654" y="476"/>
                      <a:pt x="654" y="476"/>
                      <a:pt x="654" y="476"/>
                    </a:cubicBezTo>
                    <a:cubicBezTo>
                      <a:pt x="656" y="479"/>
                      <a:pt x="656" y="479"/>
                      <a:pt x="656" y="479"/>
                    </a:cubicBezTo>
                    <a:cubicBezTo>
                      <a:pt x="659" y="480"/>
                      <a:pt x="659" y="480"/>
                      <a:pt x="659" y="480"/>
                    </a:cubicBezTo>
                    <a:cubicBezTo>
                      <a:pt x="658" y="482"/>
                      <a:pt x="658" y="482"/>
                      <a:pt x="658" y="482"/>
                    </a:cubicBezTo>
                    <a:cubicBezTo>
                      <a:pt x="655" y="482"/>
                      <a:pt x="655" y="482"/>
                      <a:pt x="655" y="482"/>
                    </a:cubicBezTo>
                    <a:cubicBezTo>
                      <a:pt x="650" y="478"/>
                      <a:pt x="650" y="478"/>
                      <a:pt x="650" y="478"/>
                    </a:cubicBezTo>
                    <a:cubicBezTo>
                      <a:pt x="643" y="478"/>
                      <a:pt x="643" y="478"/>
                      <a:pt x="643" y="478"/>
                    </a:cubicBezTo>
                    <a:cubicBezTo>
                      <a:pt x="641" y="479"/>
                      <a:pt x="641" y="479"/>
                      <a:pt x="641" y="479"/>
                    </a:cubicBezTo>
                    <a:cubicBezTo>
                      <a:pt x="646" y="481"/>
                      <a:pt x="646" y="481"/>
                      <a:pt x="646" y="481"/>
                    </a:cubicBezTo>
                    <a:cubicBezTo>
                      <a:pt x="647" y="483"/>
                      <a:pt x="647" y="483"/>
                      <a:pt x="647" y="483"/>
                    </a:cubicBezTo>
                    <a:cubicBezTo>
                      <a:pt x="641" y="483"/>
                      <a:pt x="641" y="483"/>
                      <a:pt x="641" y="483"/>
                    </a:cubicBezTo>
                    <a:cubicBezTo>
                      <a:pt x="638" y="481"/>
                      <a:pt x="638" y="481"/>
                      <a:pt x="638" y="481"/>
                    </a:cubicBezTo>
                    <a:cubicBezTo>
                      <a:pt x="629" y="482"/>
                      <a:pt x="629" y="482"/>
                      <a:pt x="629" y="482"/>
                    </a:cubicBezTo>
                    <a:cubicBezTo>
                      <a:pt x="627" y="484"/>
                      <a:pt x="627" y="484"/>
                      <a:pt x="627" y="484"/>
                    </a:cubicBezTo>
                    <a:cubicBezTo>
                      <a:pt x="625" y="482"/>
                      <a:pt x="625" y="482"/>
                      <a:pt x="625" y="482"/>
                    </a:cubicBezTo>
                    <a:cubicBezTo>
                      <a:pt x="623" y="482"/>
                      <a:pt x="623" y="482"/>
                      <a:pt x="623" y="482"/>
                    </a:cubicBezTo>
                    <a:cubicBezTo>
                      <a:pt x="620" y="483"/>
                      <a:pt x="620" y="483"/>
                      <a:pt x="620" y="483"/>
                    </a:cubicBezTo>
                    <a:cubicBezTo>
                      <a:pt x="617" y="483"/>
                      <a:pt x="617" y="483"/>
                      <a:pt x="617" y="483"/>
                    </a:cubicBezTo>
                    <a:cubicBezTo>
                      <a:pt x="608" y="483"/>
                      <a:pt x="608" y="483"/>
                      <a:pt x="608" y="483"/>
                    </a:cubicBezTo>
                    <a:cubicBezTo>
                      <a:pt x="606" y="485"/>
                      <a:pt x="606" y="485"/>
                      <a:pt x="606" y="485"/>
                    </a:cubicBezTo>
                    <a:cubicBezTo>
                      <a:pt x="599" y="486"/>
                      <a:pt x="599" y="486"/>
                      <a:pt x="599" y="486"/>
                    </a:cubicBezTo>
                    <a:cubicBezTo>
                      <a:pt x="598" y="490"/>
                      <a:pt x="598" y="490"/>
                      <a:pt x="598" y="490"/>
                    </a:cubicBezTo>
                    <a:cubicBezTo>
                      <a:pt x="599" y="500"/>
                      <a:pt x="599" y="500"/>
                      <a:pt x="599" y="500"/>
                    </a:cubicBezTo>
                    <a:cubicBezTo>
                      <a:pt x="600" y="502"/>
                      <a:pt x="600" y="502"/>
                      <a:pt x="600" y="502"/>
                    </a:cubicBezTo>
                    <a:cubicBezTo>
                      <a:pt x="600" y="506"/>
                      <a:pt x="600" y="506"/>
                      <a:pt x="600" y="506"/>
                    </a:cubicBezTo>
                    <a:cubicBezTo>
                      <a:pt x="598" y="507"/>
                      <a:pt x="598" y="507"/>
                      <a:pt x="598" y="507"/>
                    </a:cubicBezTo>
                    <a:cubicBezTo>
                      <a:pt x="599" y="509"/>
                      <a:pt x="599" y="509"/>
                      <a:pt x="599" y="509"/>
                    </a:cubicBezTo>
                    <a:cubicBezTo>
                      <a:pt x="600" y="511"/>
                      <a:pt x="600" y="511"/>
                      <a:pt x="600" y="511"/>
                    </a:cubicBezTo>
                    <a:cubicBezTo>
                      <a:pt x="604" y="510"/>
                      <a:pt x="604" y="510"/>
                      <a:pt x="604" y="510"/>
                    </a:cubicBezTo>
                    <a:cubicBezTo>
                      <a:pt x="606" y="510"/>
                      <a:pt x="606" y="510"/>
                      <a:pt x="606" y="510"/>
                    </a:cubicBezTo>
                    <a:cubicBezTo>
                      <a:pt x="608" y="512"/>
                      <a:pt x="608" y="512"/>
                      <a:pt x="608" y="512"/>
                    </a:cubicBezTo>
                    <a:cubicBezTo>
                      <a:pt x="611" y="512"/>
                      <a:pt x="611" y="512"/>
                      <a:pt x="611" y="512"/>
                    </a:cubicBezTo>
                    <a:cubicBezTo>
                      <a:pt x="612" y="510"/>
                      <a:pt x="612" y="510"/>
                      <a:pt x="612" y="510"/>
                    </a:cubicBezTo>
                    <a:cubicBezTo>
                      <a:pt x="613" y="510"/>
                      <a:pt x="613" y="510"/>
                      <a:pt x="613" y="510"/>
                    </a:cubicBezTo>
                    <a:cubicBezTo>
                      <a:pt x="615" y="511"/>
                      <a:pt x="615" y="511"/>
                      <a:pt x="615" y="511"/>
                    </a:cubicBezTo>
                    <a:cubicBezTo>
                      <a:pt x="617" y="513"/>
                      <a:pt x="617" y="513"/>
                      <a:pt x="617" y="513"/>
                    </a:cubicBezTo>
                    <a:cubicBezTo>
                      <a:pt x="619" y="512"/>
                      <a:pt x="619" y="512"/>
                      <a:pt x="619" y="512"/>
                    </a:cubicBezTo>
                    <a:cubicBezTo>
                      <a:pt x="621" y="514"/>
                      <a:pt x="621" y="514"/>
                      <a:pt x="621" y="514"/>
                    </a:cubicBezTo>
                    <a:cubicBezTo>
                      <a:pt x="621" y="516"/>
                      <a:pt x="621" y="516"/>
                      <a:pt x="621" y="516"/>
                    </a:cubicBezTo>
                    <a:cubicBezTo>
                      <a:pt x="624" y="517"/>
                      <a:pt x="624" y="517"/>
                      <a:pt x="624" y="517"/>
                    </a:cubicBezTo>
                    <a:cubicBezTo>
                      <a:pt x="627" y="516"/>
                      <a:pt x="627" y="516"/>
                      <a:pt x="627" y="516"/>
                    </a:cubicBezTo>
                    <a:cubicBezTo>
                      <a:pt x="629" y="516"/>
                      <a:pt x="629" y="516"/>
                      <a:pt x="629" y="516"/>
                    </a:cubicBezTo>
                    <a:cubicBezTo>
                      <a:pt x="631" y="517"/>
                      <a:pt x="631" y="517"/>
                      <a:pt x="631" y="517"/>
                    </a:cubicBezTo>
                    <a:cubicBezTo>
                      <a:pt x="635" y="518"/>
                      <a:pt x="635" y="518"/>
                      <a:pt x="635" y="518"/>
                    </a:cubicBezTo>
                    <a:cubicBezTo>
                      <a:pt x="637" y="517"/>
                      <a:pt x="637" y="517"/>
                      <a:pt x="637" y="517"/>
                    </a:cubicBezTo>
                    <a:cubicBezTo>
                      <a:pt x="641" y="519"/>
                      <a:pt x="641" y="519"/>
                      <a:pt x="641" y="519"/>
                    </a:cubicBezTo>
                    <a:cubicBezTo>
                      <a:pt x="644" y="517"/>
                      <a:pt x="644" y="517"/>
                      <a:pt x="644" y="517"/>
                    </a:cubicBezTo>
                    <a:cubicBezTo>
                      <a:pt x="646" y="518"/>
                      <a:pt x="646" y="518"/>
                      <a:pt x="646" y="518"/>
                    </a:cubicBezTo>
                    <a:cubicBezTo>
                      <a:pt x="651" y="518"/>
                      <a:pt x="651" y="518"/>
                      <a:pt x="651" y="518"/>
                    </a:cubicBezTo>
                    <a:cubicBezTo>
                      <a:pt x="655" y="517"/>
                      <a:pt x="655" y="517"/>
                      <a:pt x="655" y="517"/>
                    </a:cubicBezTo>
                    <a:cubicBezTo>
                      <a:pt x="658" y="519"/>
                      <a:pt x="658" y="519"/>
                      <a:pt x="658" y="519"/>
                    </a:cubicBezTo>
                    <a:cubicBezTo>
                      <a:pt x="659" y="521"/>
                      <a:pt x="659" y="521"/>
                      <a:pt x="659" y="521"/>
                    </a:cubicBezTo>
                    <a:cubicBezTo>
                      <a:pt x="661" y="520"/>
                      <a:pt x="661" y="520"/>
                      <a:pt x="661" y="520"/>
                    </a:cubicBezTo>
                    <a:cubicBezTo>
                      <a:pt x="662" y="523"/>
                      <a:pt x="662" y="523"/>
                      <a:pt x="662" y="523"/>
                    </a:cubicBezTo>
                    <a:cubicBezTo>
                      <a:pt x="665" y="525"/>
                      <a:pt x="665" y="525"/>
                      <a:pt x="665" y="525"/>
                    </a:cubicBezTo>
                    <a:cubicBezTo>
                      <a:pt x="665" y="527"/>
                      <a:pt x="665" y="527"/>
                      <a:pt x="665" y="527"/>
                    </a:cubicBezTo>
                    <a:cubicBezTo>
                      <a:pt x="667" y="529"/>
                      <a:pt x="667" y="529"/>
                      <a:pt x="667" y="529"/>
                    </a:cubicBezTo>
                    <a:cubicBezTo>
                      <a:pt x="670" y="529"/>
                      <a:pt x="670" y="529"/>
                      <a:pt x="670" y="529"/>
                    </a:cubicBezTo>
                    <a:cubicBezTo>
                      <a:pt x="672" y="530"/>
                      <a:pt x="672" y="530"/>
                      <a:pt x="672" y="530"/>
                    </a:cubicBezTo>
                    <a:cubicBezTo>
                      <a:pt x="673" y="532"/>
                      <a:pt x="673" y="532"/>
                      <a:pt x="673" y="532"/>
                    </a:cubicBezTo>
                    <a:cubicBezTo>
                      <a:pt x="675" y="533"/>
                      <a:pt x="675" y="533"/>
                      <a:pt x="675" y="533"/>
                    </a:cubicBezTo>
                    <a:cubicBezTo>
                      <a:pt x="678" y="535"/>
                      <a:pt x="678" y="535"/>
                      <a:pt x="678" y="535"/>
                    </a:cubicBezTo>
                    <a:cubicBezTo>
                      <a:pt x="677" y="536"/>
                      <a:pt x="677" y="536"/>
                      <a:pt x="677" y="536"/>
                    </a:cubicBezTo>
                    <a:cubicBezTo>
                      <a:pt x="677" y="539"/>
                      <a:pt x="677" y="539"/>
                      <a:pt x="677" y="539"/>
                    </a:cubicBezTo>
                    <a:cubicBezTo>
                      <a:pt x="680" y="543"/>
                      <a:pt x="680" y="543"/>
                      <a:pt x="680" y="543"/>
                    </a:cubicBezTo>
                    <a:cubicBezTo>
                      <a:pt x="685" y="546"/>
                      <a:pt x="685" y="546"/>
                      <a:pt x="685" y="546"/>
                    </a:cubicBezTo>
                    <a:cubicBezTo>
                      <a:pt x="685" y="548"/>
                      <a:pt x="685" y="548"/>
                      <a:pt x="685" y="548"/>
                    </a:cubicBezTo>
                    <a:cubicBezTo>
                      <a:pt x="684" y="549"/>
                      <a:pt x="684" y="549"/>
                      <a:pt x="684" y="549"/>
                    </a:cubicBezTo>
                    <a:cubicBezTo>
                      <a:pt x="685" y="551"/>
                      <a:pt x="685" y="551"/>
                      <a:pt x="685" y="551"/>
                    </a:cubicBezTo>
                    <a:cubicBezTo>
                      <a:pt x="683" y="550"/>
                      <a:pt x="683" y="550"/>
                      <a:pt x="683" y="550"/>
                    </a:cubicBezTo>
                    <a:cubicBezTo>
                      <a:pt x="676" y="548"/>
                      <a:pt x="676" y="548"/>
                      <a:pt x="676" y="548"/>
                    </a:cubicBezTo>
                    <a:cubicBezTo>
                      <a:pt x="671" y="547"/>
                      <a:pt x="671" y="547"/>
                      <a:pt x="671" y="547"/>
                    </a:cubicBezTo>
                    <a:cubicBezTo>
                      <a:pt x="668" y="547"/>
                      <a:pt x="668" y="547"/>
                      <a:pt x="668" y="547"/>
                    </a:cubicBezTo>
                    <a:cubicBezTo>
                      <a:pt x="665" y="547"/>
                      <a:pt x="665" y="547"/>
                      <a:pt x="665" y="547"/>
                    </a:cubicBezTo>
                    <a:cubicBezTo>
                      <a:pt x="664" y="547"/>
                      <a:pt x="664" y="547"/>
                      <a:pt x="664" y="547"/>
                    </a:cubicBezTo>
                    <a:cubicBezTo>
                      <a:pt x="662" y="547"/>
                      <a:pt x="662" y="547"/>
                      <a:pt x="662" y="547"/>
                    </a:cubicBezTo>
                    <a:cubicBezTo>
                      <a:pt x="659" y="544"/>
                      <a:pt x="659" y="544"/>
                      <a:pt x="659" y="544"/>
                    </a:cubicBezTo>
                    <a:cubicBezTo>
                      <a:pt x="656" y="544"/>
                      <a:pt x="656" y="544"/>
                      <a:pt x="656" y="544"/>
                    </a:cubicBezTo>
                    <a:cubicBezTo>
                      <a:pt x="654" y="541"/>
                      <a:pt x="654" y="541"/>
                      <a:pt x="654" y="541"/>
                    </a:cubicBezTo>
                    <a:cubicBezTo>
                      <a:pt x="653" y="541"/>
                      <a:pt x="653" y="541"/>
                      <a:pt x="653" y="541"/>
                    </a:cubicBezTo>
                    <a:cubicBezTo>
                      <a:pt x="649" y="541"/>
                      <a:pt x="649" y="541"/>
                      <a:pt x="649" y="541"/>
                    </a:cubicBezTo>
                    <a:cubicBezTo>
                      <a:pt x="646" y="540"/>
                      <a:pt x="646" y="540"/>
                      <a:pt x="646" y="540"/>
                    </a:cubicBezTo>
                    <a:cubicBezTo>
                      <a:pt x="645" y="539"/>
                      <a:pt x="645" y="539"/>
                      <a:pt x="645" y="539"/>
                    </a:cubicBezTo>
                    <a:cubicBezTo>
                      <a:pt x="640" y="537"/>
                      <a:pt x="640" y="537"/>
                      <a:pt x="640" y="537"/>
                    </a:cubicBezTo>
                    <a:cubicBezTo>
                      <a:pt x="640" y="534"/>
                      <a:pt x="640" y="534"/>
                      <a:pt x="640" y="534"/>
                    </a:cubicBezTo>
                    <a:cubicBezTo>
                      <a:pt x="638" y="534"/>
                      <a:pt x="638" y="534"/>
                      <a:pt x="638" y="534"/>
                    </a:cubicBezTo>
                    <a:cubicBezTo>
                      <a:pt x="636" y="534"/>
                      <a:pt x="636" y="534"/>
                      <a:pt x="636" y="534"/>
                    </a:cubicBezTo>
                    <a:cubicBezTo>
                      <a:pt x="632" y="534"/>
                      <a:pt x="632" y="534"/>
                      <a:pt x="632" y="534"/>
                    </a:cubicBezTo>
                    <a:cubicBezTo>
                      <a:pt x="630" y="533"/>
                      <a:pt x="630" y="533"/>
                      <a:pt x="630" y="533"/>
                    </a:cubicBezTo>
                    <a:cubicBezTo>
                      <a:pt x="622" y="533"/>
                      <a:pt x="622" y="533"/>
                      <a:pt x="622" y="533"/>
                    </a:cubicBezTo>
                    <a:cubicBezTo>
                      <a:pt x="617" y="533"/>
                      <a:pt x="617" y="533"/>
                      <a:pt x="617" y="533"/>
                    </a:cubicBezTo>
                    <a:cubicBezTo>
                      <a:pt x="613" y="532"/>
                      <a:pt x="613" y="532"/>
                      <a:pt x="613" y="532"/>
                    </a:cubicBezTo>
                    <a:cubicBezTo>
                      <a:pt x="598" y="531"/>
                      <a:pt x="598" y="531"/>
                      <a:pt x="598" y="531"/>
                    </a:cubicBezTo>
                    <a:cubicBezTo>
                      <a:pt x="595" y="532"/>
                      <a:pt x="595" y="532"/>
                      <a:pt x="595" y="532"/>
                    </a:cubicBezTo>
                    <a:cubicBezTo>
                      <a:pt x="591" y="534"/>
                      <a:pt x="591" y="534"/>
                      <a:pt x="591" y="534"/>
                    </a:cubicBezTo>
                    <a:cubicBezTo>
                      <a:pt x="589" y="536"/>
                      <a:pt x="589" y="536"/>
                      <a:pt x="589" y="536"/>
                    </a:cubicBezTo>
                    <a:cubicBezTo>
                      <a:pt x="589" y="542"/>
                      <a:pt x="589" y="542"/>
                      <a:pt x="589" y="542"/>
                    </a:cubicBezTo>
                    <a:cubicBezTo>
                      <a:pt x="585" y="547"/>
                      <a:pt x="585" y="547"/>
                      <a:pt x="585" y="547"/>
                    </a:cubicBezTo>
                    <a:cubicBezTo>
                      <a:pt x="586" y="553"/>
                      <a:pt x="586" y="553"/>
                      <a:pt x="586" y="553"/>
                    </a:cubicBezTo>
                    <a:cubicBezTo>
                      <a:pt x="585" y="555"/>
                      <a:pt x="585" y="555"/>
                      <a:pt x="585" y="555"/>
                    </a:cubicBezTo>
                    <a:cubicBezTo>
                      <a:pt x="586" y="557"/>
                      <a:pt x="586" y="557"/>
                      <a:pt x="586" y="557"/>
                    </a:cubicBezTo>
                    <a:cubicBezTo>
                      <a:pt x="589" y="558"/>
                      <a:pt x="589" y="558"/>
                      <a:pt x="589" y="558"/>
                    </a:cubicBezTo>
                    <a:cubicBezTo>
                      <a:pt x="588" y="560"/>
                      <a:pt x="588" y="560"/>
                      <a:pt x="588" y="560"/>
                    </a:cubicBezTo>
                    <a:cubicBezTo>
                      <a:pt x="586" y="561"/>
                      <a:pt x="586" y="561"/>
                      <a:pt x="586" y="561"/>
                    </a:cubicBezTo>
                    <a:cubicBezTo>
                      <a:pt x="589" y="569"/>
                      <a:pt x="589" y="569"/>
                      <a:pt x="589" y="569"/>
                    </a:cubicBezTo>
                    <a:cubicBezTo>
                      <a:pt x="592" y="571"/>
                      <a:pt x="592" y="571"/>
                      <a:pt x="592" y="571"/>
                    </a:cubicBezTo>
                    <a:cubicBezTo>
                      <a:pt x="593" y="573"/>
                      <a:pt x="593" y="573"/>
                      <a:pt x="593" y="573"/>
                    </a:cubicBezTo>
                    <a:cubicBezTo>
                      <a:pt x="598" y="576"/>
                      <a:pt x="598" y="576"/>
                      <a:pt x="598" y="576"/>
                    </a:cubicBezTo>
                    <a:cubicBezTo>
                      <a:pt x="600" y="578"/>
                      <a:pt x="600" y="578"/>
                      <a:pt x="600" y="578"/>
                    </a:cubicBezTo>
                    <a:cubicBezTo>
                      <a:pt x="603" y="577"/>
                      <a:pt x="603" y="577"/>
                      <a:pt x="603" y="577"/>
                    </a:cubicBezTo>
                    <a:cubicBezTo>
                      <a:pt x="605" y="579"/>
                      <a:pt x="605" y="579"/>
                      <a:pt x="605" y="579"/>
                    </a:cubicBezTo>
                    <a:cubicBezTo>
                      <a:pt x="608" y="579"/>
                      <a:pt x="608" y="579"/>
                      <a:pt x="608" y="579"/>
                    </a:cubicBezTo>
                    <a:cubicBezTo>
                      <a:pt x="612" y="578"/>
                      <a:pt x="612" y="578"/>
                      <a:pt x="612" y="578"/>
                    </a:cubicBezTo>
                    <a:cubicBezTo>
                      <a:pt x="614" y="578"/>
                      <a:pt x="614" y="578"/>
                      <a:pt x="614" y="578"/>
                    </a:cubicBezTo>
                    <a:cubicBezTo>
                      <a:pt x="617" y="581"/>
                      <a:pt x="617" y="581"/>
                      <a:pt x="617" y="581"/>
                    </a:cubicBezTo>
                    <a:cubicBezTo>
                      <a:pt x="621" y="581"/>
                      <a:pt x="621" y="581"/>
                      <a:pt x="621" y="581"/>
                    </a:cubicBezTo>
                    <a:cubicBezTo>
                      <a:pt x="623" y="585"/>
                      <a:pt x="623" y="585"/>
                      <a:pt x="623" y="585"/>
                    </a:cubicBezTo>
                    <a:cubicBezTo>
                      <a:pt x="625" y="586"/>
                      <a:pt x="625" y="586"/>
                      <a:pt x="625" y="586"/>
                    </a:cubicBezTo>
                    <a:cubicBezTo>
                      <a:pt x="626" y="588"/>
                      <a:pt x="626" y="588"/>
                      <a:pt x="626" y="588"/>
                    </a:cubicBezTo>
                    <a:cubicBezTo>
                      <a:pt x="622" y="589"/>
                      <a:pt x="622" y="589"/>
                      <a:pt x="622" y="589"/>
                    </a:cubicBezTo>
                    <a:cubicBezTo>
                      <a:pt x="623" y="591"/>
                      <a:pt x="623" y="591"/>
                      <a:pt x="623" y="591"/>
                    </a:cubicBezTo>
                    <a:cubicBezTo>
                      <a:pt x="621" y="593"/>
                      <a:pt x="621" y="593"/>
                      <a:pt x="621" y="593"/>
                    </a:cubicBezTo>
                    <a:cubicBezTo>
                      <a:pt x="621" y="595"/>
                      <a:pt x="621" y="595"/>
                      <a:pt x="621" y="595"/>
                    </a:cubicBezTo>
                    <a:cubicBezTo>
                      <a:pt x="620" y="597"/>
                      <a:pt x="620" y="597"/>
                      <a:pt x="620" y="597"/>
                    </a:cubicBezTo>
                    <a:cubicBezTo>
                      <a:pt x="615" y="599"/>
                      <a:pt x="615" y="599"/>
                      <a:pt x="615" y="599"/>
                    </a:cubicBezTo>
                    <a:cubicBezTo>
                      <a:pt x="615" y="601"/>
                      <a:pt x="615" y="601"/>
                      <a:pt x="615" y="601"/>
                    </a:cubicBezTo>
                    <a:cubicBezTo>
                      <a:pt x="613" y="604"/>
                      <a:pt x="613" y="604"/>
                      <a:pt x="613" y="604"/>
                    </a:cubicBezTo>
                    <a:cubicBezTo>
                      <a:pt x="616" y="606"/>
                      <a:pt x="616" y="606"/>
                      <a:pt x="616" y="606"/>
                    </a:cubicBezTo>
                    <a:cubicBezTo>
                      <a:pt x="616" y="610"/>
                      <a:pt x="616" y="610"/>
                      <a:pt x="616" y="610"/>
                    </a:cubicBezTo>
                    <a:cubicBezTo>
                      <a:pt x="618" y="614"/>
                      <a:pt x="618" y="614"/>
                      <a:pt x="618" y="614"/>
                    </a:cubicBezTo>
                    <a:cubicBezTo>
                      <a:pt x="618" y="616"/>
                      <a:pt x="618" y="616"/>
                      <a:pt x="618" y="616"/>
                    </a:cubicBezTo>
                    <a:cubicBezTo>
                      <a:pt x="614" y="617"/>
                      <a:pt x="614" y="617"/>
                      <a:pt x="614" y="617"/>
                    </a:cubicBezTo>
                    <a:cubicBezTo>
                      <a:pt x="615" y="619"/>
                      <a:pt x="615" y="619"/>
                      <a:pt x="615" y="619"/>
                    </a:cubicBezTo>
                    <a:cubicBezTo>
                      <a:pt x="621" y="620"/>
                      <a:pt x="621" y="620"/>
                      <a:pt x="621" y="620"/>
                    </a:cubicBezTo>
                    <a:cubicBezTo>
                      <a:pt x="624" y="619"/>
                      <a:pt x="624" y="619"/>
                      <a:pt x="624" y="619"/>
                    </a:cubicBezTo>
                    <a:cubicBezTo>
                      <a:pt x="626" y="620"/>
                      <a:pt x="626" y="620"/>
                      <a:pt x="626" y="620"/>
                    </a:cubicBezTo>
                    <a:cubicBezTo>
                      <a:pt x="627" y="621"/>
                      <a:pt x="627" y="621"/>
                      <a:pt x="627" y="621"/>
                    </a:cubicBezTo>
                    <a:cubicBezTo>
                      <a:pt x="629" y="619"/>
                      <a:pt x="629" y="619"/>
                      <a:pt x="629" y="619"/>
                    </a:cubicBezTo>
                    <a:cubicBezTo>
                      <a:pt x="631" y="619"/>
                      <a:pt x="631" y="619"/>
                      <a:pt x="631" y="619"/>
                    </a:cubicBezTo>
                    <a:cubicBezTo>
                      <a:pt x="632" y="620"/>
                      <a:pt x="632" y="620"/>
                      <a:pt x="632" y="620"/>
                    </a:cubicBezTo>
                    <a:cubicBezTo>
                      <a:pt x="637" y="620"/>
                      <a:pt x="637" y="620"/>
                      <a:pt x="637" y="620"/>
                    </a:cubicBezTo>
                    <a:cubicBezTo>
                      <a:pt x="643" y="622"/>
                      <a:pt x="643" y="622"/>
                      <a:pt x="643" y="622"/>
                    </a:cubicBezTo>
                    <a:cubicBezTo>
                      <a:pt x="645" y="620"/>
                      <a:pt x="645" y="620"/>
                      <a:pt x="645" y="620"/>
                    </a:cubicBezTo>
                    <a:cubicBezTo>
                      <a:pt x="650" y="620"/>
                      <a:pt x="650" y="620"/>
                      <a:pt x="650" y="620"/>
                    </a:cubicBezTo>
                    <a:cubicBezTo>
                      <a:pt x="651" y="621"/>
                      <a:pt x="651" y="621"/>
                      <a:pt x="651" y="621"/>
                    </a:cubicBezTo>
                    <a:cubicBezTo>
                      <a:pt x="652" y="622"/>
                      <a:pt x="652" y="622"/>
                      <a:pt x="652" y="622"/>
                    </a:cubicBezTo>
                    <a:cubicBezTo>
                      <a:pt x="654" y="621"/>
                      <a:pt x="654" y="621"/>
                      <a:pt x="654" y="621"/>
                    </a:cubicBezTo>
                    <a:cubicBezTo>
                      <a:pt x="656" y="620"/>
                      <a:pt x="656" y="620"/>
                      <a:pt x="656" y="620"/>
                    </a:cubicBezTo>
                    <a:cubicBezTo>
                      <a:pt x="658" y="621"/>
                      <a:pt x="658" y="621"/>
                      <a:pt x="658" y="621"/>
                    </a:cubicBezTo>
                    <a:cubicBezTo>
                      <a:pt x="659" y="623"/>
                      <a:pt x="659" y="623"/>
                      <a:pt x="659" y="623"/>
                    </a:cubicBezTo>
                    <a:cubicBezTo>
                      <a:pt x="661" y="623"/>
                      <a:pt x="661" y="623"/>
                      <a:pt x="661" y="623"/>
                    </a:cubicBezTo>
                    <a:cubicBezTo>
                      <a:pt x="662" y="622"/>
                      <a:pt x="662" y="622"/>
                      <a:pt x="662" y="622"/>
                    </a:cubicBezTo>
                    <a:cubicBezTo>
                      <a:pt x="664" y="623"/>
                      <a:pt x="664" y="623"/>
                      <a:pt x="664" y="623"/>
                    </a:cubicBezTo>
                    <a:cubicBezTo>
                      <a:pt x="665" y="626"/>
                      <a:pt x="665" y="626"/>
                      <a:pt x="665" y="626"/>
                    </a:cubicBezTo>
                    <a:cubicBezTo>
                      <a:pt x="667" y="626"/>
                      <a:pt x="667" y="626"/>
                      <a:pt x="667" y="626"/>
                    </a:cubicBezTo>
                    <a:cubicBezTo>
                      <a:pt x="668" y="624"/>
                      <a:pt x="668" y="624"/>
                      <a:pt x="668" y="624"/>
                    </a:cubicBezTo>
                    <a:cubicBezTo>
                      <a:pt x="673" y="624"/>
                      <a:pt x="673" y="624"/>
                      <a:pt x="673" y="624"/>
                    </a:cubicBezTo>
                    <a:cubicBezTo>
                      <a:pt x="675" y="621"/>
                      <a:pt x="675" y="621"/>
                      <a:pt x="675" y="621"/>
                    </a:cubicBezTo>
                    <a:cubicBezTo>
                      <a:pt x="678" y="620"/>
                      <a:pt x="678" y="620"/>
                      <a:pt x="678" y="620"/>
                    </a:cubicBezTo>
                    <a:cubicBezTo>
                      <a:pt x="681" y="620"/>
                      <a:pt x="681" y="620"/>
                      <a:pt x="681" y="620"/>
                    </a:cubicBezTo>
                    <a:cubicBezTo>
                      <a:pt x="685" y="617"/>
                      <a:pt x="685" y="617"/>
                      <a:pt x="685" y="617"/>
                    </a:cubicBezTo>
                    <a:cubicBezTo>
                      <a:pt x="690" y="615"/>
                      <a:pt x="690" y="615"/>
                      <a:pt x="690" y="615"/>
                    </a:cubicBezTo>
                    <a:cubicBezTo>
                      <a:pt x="693" y="614"/>
                      <a:pt x="693" y="614"/>
                      <a:pt x="693" y="614"/>
                    </a:cubicBezTo>
                    <a:cubicBezTo>
                      <a:pt x="694" y="612"/>
                      <a:pt x="694" y="612"/>
                      <a:pt x="694" y="612"/>
                    </a:cubicBezTo>
                    <a:cubicBezTo>
                      <a:pt x="696" y="612"/>
                      <a:pt x="696" y="612"/>
                      <a:pt x="696" y="612"/>
                    </a:cubicBezTo>
                    <a:cubicBezTo>
                      <a:pt x="700" y="613"/>
                      <a:pt x="700" y="613"/>
                      <a:pt x="700" y="613"/>
                    </a:cubicBezTo>
                    <a:cubicBezTo>
                      <a:pt x="703" y="613"/>
                      <a:pt x="703" y="613"/>
                      <a:pt x="703" y="613"/>
                    </a:cubicBezTo>
                    <a:cubicBezTo>
                      <a:pt x="705" y="614"/>
                      <a:pt x="705" y="614"/>
                      <a:pt x="705" y="614"/>
                    </a:cubicBezTo>
                    <a:cubicBezTo>
                      <a:pt x="713" y="614"/>
                      <a:pt x="713" y="614"/>
                      <a:pt x="713" y="614"/>
                    </a:cubicBezTo>
                    <a:cubicBezTo>
                      <a:pt x="720" y="609"/>
                      <a:pt x="720" y="609"/>
                      <a:pt x="720" y="609"/>
                    </a:cubicBezTo>
                    <a:cubicBezTo>
                      <a:pt x="722" y="607"/>
                      <a:pt x="722" y="607"/>
                      <a:pt x="722" y="607"/>
                    </a:cubicBezTo>
                    <a:cubicBezTo>
                      <a:pt x="723" y="607"/>
                      <a:pt x="723" y="607"/>
                      <a:pt x="723" y="607"/>
                    </a:cubicBezTo>
                    <a:cubicBezTo>
                      <a:pt x="724" y="608"/>
                      <a:pt x="724" y="608"/>
                      <a:pt x="724" y="608"/>
                    </a:cubicBezTo>
                    <a:cubicBezTo>
                      <a:pt x="725" y="606"/>
                      <a:pt x="725" y="606"/>
                      <a:pt x="725" y="606"/>
                    </a:cubicBezTo>
                    <a:cubicBezTo>
                      <a:pt x="728" y="604"/>
                      <a:pt x="728" y="604"/>
                      <a:pt x="728" y="604"/>
                    </a:cubicBezTo>
                    <a:cubicBezTo>
                      <a:pt x="728" y="602"/>
                      <a:pt x="728" y="602"/>
                      <a:pt x="728" y="602"/>
                    </a:cubicBezTo>
                    <a:cubicBezTo>
                      <a:pt x="729" y="601"/>
                      <a:pt x="729" y="601"/>
                      <a:pt x="729" y="601"/>
                    </a:cubicBezTo>
                    <a:cubicBezTo>
                      <a:pt x="731" y="601"/>
                      <a:pt x="731" y="601"/>
                      <a:pt x="731" y="601"/>
                    </a:cubicBezTo>
                    <a:cubicBezTo>
                      <a:pt x="733" y="601"/>
                      <a:pt x="733" y="601"/>
                      <a:pt x="733" y="601"/>
                    </a:cubicBezTo>
                    <a:cubicBezTo>
                      <a:pt x="734" y="599"/>
                      <a:pt x="734" y="599"/>
                      <a:pt x="734" y="599"/>
                    </a:cubicBezTo>
                    <a:cubicBezTo>
                      <a:pt x="734" y="597"/>
                      <a:pt x="734" y="597"/>
                      <a:pt x="734" y="597"/>
                    </a:cubicBezTo>
                    <a:cubicBezTo>
                      <a:pt x="736" y="598"/>
                      <a:pt x="736" y="598"/>
                      <a:pt x="736" y="598"/>
                    </a:cubicBezTo>
                    <a:cubicBezTo>
                      <a:pt x="737" y="597"/>
                      <a:pt x="737" y="597"/>
                      <a:pt x="737" y="597"/>
                    </a:cubicBezTo>
                    <a:cubicBezTo>
                      <a:pt x="739" y="600"/>
                      <a:pt x="739" y="600"/>
                      <a:pt x="739" y="600"/>
                    </a:cubicBezTo>
                    <a:cubicBezTo>
                      <a:pt x="739" y="601"/>
                      <a:pt x="739" y="601"/>
                      <a:pt x="739" y="601"/>
                    </a:cubicBezTo>
                    <a:cubicBezTo>
                      <a:pt x="740" y="603"/>
                      <a:pt x="740" y="603"/>
                      <a:pt x="740" y="603"/>
                    </a:cubicBezTo>
                    <a:cubicBezTo>
                      <a:pt x="737" y="605"/>
                      <a:pt x="737" y="605"/>
                      <a:pt x="737" y="605"/>
                    </a:cubicBezTo>
                    <a:cubicBezTo>
                      <a:pt x="737" y="607"/>
                      <a:pt x="737" y="607"/>
                      <a:pt x="737" y="607"/>
                    </a:cubicBezTo>
                    <a:cubicBezTo>
                      <a:pt x="736" y="610"/>
                      <a:pt x="736" y="610"/>
                      <a:pt x="736" y="610"/>
                    </a:cubicBezTo>
                    <a:cubicBezTo>
                      <a:pt x="734" y="611"/>
                      <a:pt x="734" y="611"/>
                      <a:pt x="734" y="611"/>
                    </a:cubicBezTo>
                    <a:cubicBezTo>
                      <a:pt x="734" y="612"/>
                      <a:pt x="734" y="612"/>
                      <a:pt x="734" y="612"/>
                    </a:cubicBezTo>
                    <a:cubicBezTo>
                      <a:pt x="736" y="612"/>
                      <a:pt x="736" y="612"/>
                      <a:pt x="736" y="612"/>
                    </a:cubicBezTo>
                    <a:cubicBezTo>
                      <a:pt x="739" y="615"/>
                      <a:pt x="739" y="615"/>
                      <a:pt x="739" y="615"/>
                    </a:cubicBezTo>
                    <a:cubicBezTo>
                      <a:pt x="741" y="614"/>
                      <a:pt x="741" y="614"/>
                      <a:pt x="741" y="614"/>
                    </a:cubicBezTo>
                    <a:cubicBezTo>
                      <a:pt x="743" y="614"/>
                      <a:pt x="743" y="614"/>
                      <a:pt x="743" y="614"/>
                    </a:cubicBezTo>
                    <a:cubicBezTo>
                      <a:pt x="746" y="615"/>
                      <a:pt x="746" y="615"/>
                      <a:pt x="746" y="615"/>
                    </a:cubicBezTo>
                    <a:cubicBezTo>
                      <a:pt x="747" y="618"/>
                      <a:pt x="747" y="618"/>
                      <a:pt x="747" y="618"/>
                    </a:cubicBezTo>
                    <a:cubicBezTo>
                      <a:pt x="749" y="620"/>
                      <a:pt x="749" y="620"/>
                      <a:pt x="749" y="620"/>
                    </a:cubicBezTo>
                    <a:cubicBezTo>
                      <a:pt x="749" y="618"/>
                      <a:pt x="749" y="618"/>
                      <a:pt x="749" y="618"/>
                    </a:cubicBezTo>
                    <a:cubicBezTo>
                      <a:pt x="750" y="617"/>
                      <a:pt x="750" y="617"/>
                      <a:pt x="750" y="617"/>
                    </a:cubicBezTo>
                    <a:cubicBezTo>
                      <a:pt x="752" y="618"/>
                      <a:pt x="752" y="618"/>
                      <a:pt x="752" y="618"/>
                    </a:cubicBezTo>
                    <a:cubicBezTo>
                      <a:pt x="752" y="621"/>
                      <a:pt x="752" y="621"/>
                      <a:pt x="752" y="621"/>
                    </a:cubicBezTo>
                    <a:cubicBezTo>
                      <a:pt x="750" y="623"/>
                      <a:pt x="750" y="623"/>
                      <a:pt x="750" y="623"/>
                    </a:cubicBezTo>
                    <a:cubicBezTo>
                      <a:pt x="747" y="623"/>
                      <a:pt x="747" y="623"/>
                      <a:pt x="747" y="623"/>
                    </a:cubicBezTo>
                    <a:cubicBezTo>
                      <a:pt x="745" y="625"/>
                      <a:pt x="745" y="625"/>
                      <a:pt x="745" y="625"/>
                    </a:cubicBezTo>
                    <a:cubicBezTo>
                      <a:pt x="746" y="627"/>
                      <a:pt x="746" y="627"/>
                      <a:pt x="746" y="627"/>
                    </a:cubicBezTo>
                    <a:cubicBezTo>
                      <a:pt x="748" y="627"/>
                      <a:pt x="748" y="627"/>
                      <a:pt x="748" y="627"/>
                    </a:cubicBezTo>
                    <a:cubicBezTo>
                      <a:pt x="750" y="628"/>
                      <a:pt x="750" y="628"/>
                      <a:pt x="750" y="628"/>
                    </a:cubicBezTo>
                    <a:cubicBezTo>
                      <a:pt x="753" y="630"/>
                      <a:pt x="753" y="630"/>
                      <a:pt x="753" y="630"/>
                    </a:cubicBezTo>
                    <a:cubicBezTo>
                      <a:pt x="755" y="629"/>
                      <a:pt x="755" y="629"/>
                      <a:pt x="755" y="629"/>
                    </a:cubicBezTo>
                    <a:cubicBezTo>
                      <a:pt x="758" y="625"/>
                      <a:pt x="758" y="625"/>
                      <a:pt x="758" y="625"/>
                    </a:cubicBezTo>
                    <a:cubicBezTo>
                      <a:pt x="759" y="626"/>
                      <a:pt x="759" y="626"/>
                      <a:pt x="759" y="626"/>
                    </a:cubicBezTo>
                    <a:cubicBezTo>
                      <a:pt x="759" y="629"/>
                      <a:pt x="759" y="629"/>
                      <a:pt x="759" y="629"/>
                    </a:cubicBezTo>
                    <a:cubicBezTo>
                      <a:pt x="761" y="632"/>
                      <a:pt x="761" y="632"/>
                      <a:pt x="761" y="632"/>
                    </a:cubicBezTo>
                    <a:cubicBezTo>
                      <a:pt x="763" y="633"/>
                      <a:pt x="763" y="633"/>
                      <a:pt x="763" y="633"/>
                    </a:cubicBezTo>
                    <a:cubicBezTo>
                      <a:pt x="766" y="631"/>
                      <a:pt x="766" y="631"/>
                      <a:pt x="766" y="631"/>
                    </a:cubicBezTo>
                    <a:cubicBezTo>
                      <a:pt x="769" y="632"/>
                      <a:pt x="769" y="632"/>
                      <a:pt x="769" y="632"/>
                    </a:cubicBezTo>
                    <a:cubicBezTo>
                      <a:pt x="770" y="635"/>
                      <a:pt x="770" y="635"/>
                      <a:pt x="770" y="635"/>
                    </a:cubicBezTo>
                    <a:cubicBezTo>
                      <a:pt x="773" y="635"/>
                      <a:pt x="773" y="635"/>
                      <a:pt x="773" y="635"/>
                    </a:cubicBezTo>
                    <a:cubicBezTo>
                      <a:pt x="775" y="636"/>
                      <a:pt x="775" y="636"/>
                      <a:pt x="775" y="636"/>
                    </a:cubicBezTo>
                    <a:cubicBezTo>
                      <a:pt x="776" y="637"/>
                      <a:pt x="776" y="637"/>
                      <a:pt x="776" y="637"/>
                    </a:cubicBezTo>
                    <a:cubicBezTo>
                      <a:pt x="776" y="634"/>
                      <a:pt x="776" y="634"/>
                      <a:pt x="776" y="634"/>
                    </a:cubicBezTo>
                    <a:cubicBezTo>
                      <a:pt x="778" y="634"/>
                      <a:pt x="778" y="634"/>
                      <a:pt x="778" y="634"/>
                    </a:cubicBezTo>
                    <a:cubicBezTo>
                      <a:pt x="780" y="633"/>
                      <a:pt x="780" y="633"/>
                      <a:pt x="780" y="633"/>
                    </a:cubicBezTo>
                    <a:cubicBezTo>
                      <a:pt x="782" y="634"/>
                      <a:pt x="782" y="634"/>
                      <a:pt x="782" y="634"/>
                    </a:cubicBezTo>
                    <a:cubicBezTo>
                      <a:pt x="782" y="636"/>
                      <a:pt x="782" y="636"/>
                      <a:pt x="782" y="636"/>
                    </a:cubicBezTo>
                    <a:cubicBezTo>
                      <a:pt x="783" y="637"/>
                      <a:pt x="783" y="637"/>
                      <a:pt x="783" y="637"/>
                    </a:cubicBezTo>
                    <a:cubicBezTo>
                      <a:pt x="786" y="636"/>
                      <a:pt x="786" y="636"/>
                      <a:pt x="786" y="636"/>
                    </a:cubicBezTo>
                    <a:cubicBezTo>
                      <a:pt x="788" y="634"/>
                      <a:pt x="788" y="634"/>
                      <a:pt x="788" y="634"/>
                    </a:cubicBezTo>
                    <a:cubicBezTo>
                      <a:pt x="789" y="634"/>
                      <a:pt x="789" y="634"/>
                      <a:pt x="789" y="634"/>
                    </a:cubicBezTo>
                    <a:cubicBezTo>
                      <a:pt x="790" y="637"/>
                      <a:pt x="790" y="637"/>
                      <a:pt x="790" y="637"/>
                    </a:cubicBezTo>
                    <a:cubicBezTo>
                      <a:pt x="791" y="637"/>
                      <a:pt x="791" y="637"/>
                      <a:pt x="791" y="637"/>
                    </a:cubicBezTo>
                    <a:cubicBezTo>
                      <a:pt x="793" y="635"/>
                      <a:pt x="793" y="635"/>
                      <a:pt x="793" y="635"/>
                    </a:cubicBezTo>
                    <a:cubicBezTo>
                      <a:pt x="794" y="635"/>
                      <a:pt x="794" y="635"/>
                      <a:pt x="794" y="635"/>
                    </a:cubicBezTo>
                    <a:cubicBezTo>
                      <a:pt x="796" y="633"/>
                      <a:pt x="796" y="633"/>
                      <a:pt x="796" y="633"/>
                    </a:cubicBezTo>
                    <a:cubicBezTo>
                      <a:pt x="798" y="633"/>
                      <a:pt x="798" y="633"/>
                      <a:pt x="798" y="633"/>
                    </a:cubicBezTo>
                    <a:cubicBezTo>
                      <a:pt x="799" y="634"/>
                      <a:pt x="799" y="634"/>
                      <a:pt x="799" y="634"/>
                    </a:cubicBezTo>
                    <a:cubicBezTo>
                      <a:pt x="801" y="635"/>
                      <a:pt x="801" y="635"/>
                      <a:pt x="801" y="635"/>
                    </a:cubicBezTo>
                    <a:cubicBezTo>
                      <a:pt x="802" y="634"/>
                      <a:pt x="802" y="634"/>
                      <a:pt x="802" y="634"/>
                    </a:cubicBezTo>
                    <a:close/>
                    <a:moveTo>
                      <a:pt x="1161" y="765"/>
                    </a:moveTo>
                    <a:cubicBezTo>
                      <a:pt x="1162" y="760"/>
                      <a:pt x="1162" y="760"/>
                      <a:pt x="1162" y="760"/>
                    </a:cubicBezTo>
                    <a:cubicBezTo>
                      <a:pt x="1161" y="759"/>
                      <a:pt x="1161" y="759"/>
                      <a:pt x="1161" y="759"/>
                    </a:cubicBezTo>
                    <a:cubicBezTo>
                      <a:pt x="1162" y="755"/>
                      <a:pt x="1162" y="755"/>
                      <a:pt x="1162" y="755"/>
                    </a:cubicBezTo>
                    <a:cubicBezTo>
                      <a:pt x="1162" y="751"/>
                      <a:pt x="1162" y="751"/>
                      <a:pt x="1162" y="751"/>
                    </a:cubicBezTo>
                    <a:cubicBezTo>
                      <a:pt x="1167" y="746"/>
                      <a:pt x="1167" y="746"/>
                      <a:pt x="1167" y="746"/>
                    </a:cubicBezTo>
                    <a:cubicBezTo>
                      <a:pt x="1169" y="742"/>
                      <a:pt x="1169" y="742"/>
                      <a:pt x="1169" y="742"/>
                    </a:cubicBezTo>
                    <a:cubicBezTo>
                      <a:pt x="1172" y="740"/>
                      <a:pt x="1172" y="740"/>
                      <a:pt x="1172" y="740"/>
                    </a:cubicBezTo>
                    <a:cubicBezTo>
                      <a:pt x="1177" y="732"/>
                      <a:pt x="1177" y="732"/>
                      <a:pt x="1177" y="732"/>
                    </a:cubicBezTo>
                    <a:cubicBezTo>
                      <a:pt x="1181" y="730"/>
                      <a:pt x="1181" y="730"/>
                      <a:pt x="1181" y="730"/>
                    </a:cubicBezTo>
                    <a:cubicBezTo>
                      <a:pt x="1183" y="730"/>
                      <a:pt x="1183" y="730"/>
                      <a:pt x="1183" y="730"/>
                    </a:cubicBezTo>
                    <a:cubicBezTo>
                      <a:pt x="1185" y="728"/>
                      <a:pt x="1185" y="728"/>
                      <a:pt x="1185" y="728"/>
                    </a:cubicBezTo>
                    <a:cubicBezTo>
                      <a:pt x="1187" y="729"/>
                      <a:pt x="1187" y="729"/>
                      <a:pt x="1187" y="729"/>
                    </a:cubicBezTo>
                    <a:cubicBezTo>
                      <a:pt x="1191" y="727"/>
                      <a:pt x="1191" y="727"/>
                      <a:pt x="1191" y="727"/>
                    </a:cubicBezTo>
                    <a:cubicBezTo>
                      <a:pt x="1195" y="729"/>
                      <a:pt x="1195" y="729"/>
                      <a:pt x="1195" y="729"/>
                    </a:cubicBezTo>
                    <a:cubicBezTo>
                      <a:pt x="1196" y="731"/>
                      <a:pt x="1196" y="731"/>
                      <a:pt x="1196" y="731"/>
                    </a:cubicBezTo>
                    <a:cubicBezTo>
                      <a:pt x="1198" y="731"/>
                      <a:pt x="1198" y="731"/>
                      <a:pt x="1198" y="731"/>
                    </a:cubicBezTo>
                    <a:cubicBezTo>
                      <a:pt x="1201" y="734"/>
                      <a:pt x="1201" y="734"/>
                      <a:pt x="1201" y="734"/>
                    </a:cubicBezTo>
                    <a:cubicBezTo>
                      <a:pt x="1202" y="738"/>
                      <a:pt x="1202" y="738"/>
                      <a:pt x="1202" y="738"/>
                    </a:cubicBezTo>
                    <a:cubicBezTo>
                      <a:pt x="1202" y="740"/>
                      <a:pt x="1202" y="740"/>
                      <a:pt x="1202" y="740"/>
                    </a:cubicBezTo>
                    <a:cubicBezTo>
                      <a:pt x="1199" y="743"/>
                      <a:pt x="1199" y="743"/>
                      <a:pt x="1199" y="743"/>
                    </a:cubicBezTo>
                    <a:cubicBezTo>
                      <a:pt x="1197" y="747"/>
                      <a:pt x="1197" y="747"/>
                      <a:pt x="1197" y="747"/>
                    </a:cubicBezTo>
                    <a:cubicBezTo>
                      <a:pt x="1197" y="750"/>
                      <a:pt x="1197" y="750"/>
                      <a:pt x="1197" y="750"/>
                    </a:cubicBezTo>
                    <a:cubicBezTo>
                      <a:pt x="1192" y="758"/>
                      <a:pt x="1192" y="758"/>
                      <a:pt x="1192" y="758"/>
                    </a:cubicBezTo>
                    <a:cubicBezTo>
                      <a:pt x="1190" y="761"/>
                      <a:pt x="1190" y="761"/>
                      <a:pt x="1190" y="761"/>
                    </a:cubicBezTo>
                    <a:cubicBezTo>
                      <a:pt x="1187" y="762"/>
                      <a:pt x="1187" y="762"/>
                      <a:pt x="1187" y="762"/>
                    </a:cubicBezTo>
                    <a:cubicBezTo>
                      <a:pt x="1183" y="764"/>
                      <a:pt x="1183" y="764"/>
                      <a:pt x="1183" y="764"/>
                    </a:cubicBezTo>
                    <a:cubicBezTo>
                      <a:pt x="1182" y="765"/>
                      <a:pt x="1182" y="765"/>
                      <a:pt x="1182" y="765"/>
                    </a:cubicBezTo>
                    <a:cubicBezTo>
                      <a:pt x="1179" y="765"/>
                      <a:pt x="1179" y="765"/>
                      <a:pt x="1179" y="765"/>
                    </a:cubicBezTo>
                    <a:cubicBezTo>
                      <a:pt x="1175" y="767"/>
                      <a:pt x="1175" y="767"/>
                      <a:pt x="1175" y="767"/>
                    </a:cubicBezTo>
                    <a:cubicBezTo>
                      <a:pt x="1172" y="766"/>
                      <a:pt x="1172" y="766"/>
                      <a:pt x="1172" y="766"/>
                    </a:cubicBezTo>
                    <a:cubicBezTo>
                      <a:pt x="1167" y="767"/>
                      <a:pt x="1167" y="767"/>
                      <a:pt x="1167" y="767"/>
                    </a:cubicBezTo>
                    <a:cubicBezTo>
                      <a:pt x="1164" y="766"/>
                      <a:pt x="1164" y="766"/>
                      <a:pt x="1164" y="766"/>
                    </a:cubicBezTo>
                    <a:cubicBezTo>
                      <a:pt x="1162" y="766"/>
                      <a:pt x="1162" y="766"/>
                      <a:pt x="1162" y="766"/>
                    </a:cubicBezTo>
                    <a:cubicBezTo>
                      <a:pt x="1161" y="765"/>
                      <a:pt x="1161" y="765"/>
                      <a:pt x="1161" y="765"/>
                    </a:cubicBezTo>
                    <a:close/>
                    <a:moveTo>
                      <a:pt x="820" y="622"/>
                    </a:moveTo>
                    <a:cubicBezTo>
                      <a:pt x="819" y="621"/>
                      <a:pt x="819" y="621"/>
                      <a:pt x="819" y="621"/>
                    </a:cubicBezTo>
                    <a:cubicBezTo>
                      <a:pt x="820" y="618"/>
                      <a:pt x="820" y="618"/>
                      <a:pt x="820" y="618"/>
                    </a:cubicBezTo>
                    <a:cubicBezTo>
                      <a:pt x="823" y="618"/>
                      <a:pt x="823" y="618"/>
                      <a:pt x="823" y="618"/>
                    </a:cubicBezTo>
                    <a:cubicBezTo>
                      <a:pt x="821" y="615"/>
                      <a:pt x="821" y="615"/>
                      <a:pt x="821" y="615"/>
                    </a:cubicBezTo>
                    <a:cubicBezTo>
                      <a:pt x="822" y="613"/>
                      <a:pt x="822" y="613"/>
                      <a:pt x="822" y="613"/>
                    </a:cubicBezTo>
                    <a:cubicBezTo>
                      <a:pt x="824" y="612"/>
                      <a:pt x="824" y="612"/>
                      <a:pt x="824" y="612"/>
                    </a:cubicBezTo>
                    <a:cubicBezTo>
                      <a:pt x="824" y="615"/>
                      <a:pt x="824" y="615"/>
                      <a:pt x="824" y="615"/>
                    </a:cubicBezTo>
                    <a:cubicBezTo>
                      <a:pt x="826" y="617"/>
                      <a:pt x="826" y="617"/>
                      <a:pt x="826" y="617"/>
                    </a:cubicBezTo>
                    <a:cubicBezTo>
                      <a:pt x="826" y="619"/>
                      <a:pt x="826" y="619"/>
                      <a:pt x="826" y="619"/>
                    </a:cubicBezTo>
                    <a:cubicBezTo>
                      <a:pt x="824" y="621"/>
                      <a:pt x="824" y="621"/>
                      <a:pt x="824" y="621"/>
                    </a:cubicBezTo>
                    <a:cubicBezTo>
                      <a:pt x="823" y="621"/>
                      <a:pt x="823" y="621"/>
                      <a:pt x="823" y="621"/>
                    </a:cubicBezTo>
                    <a:cubicBezTo>
                      <a:pt x="821" y="623"/>
                      <a:pt x="821" y="623"/>
                      <a:pt x="821" y="623"/>
                    </a:cubicBezTo>
                    <a:cubicBezTo>
                      <a:pt x="820" y="622"/>
                      <a:pt x="820" y="622"/>
                      <a:pt x="820" y="622"/>
                    </a:cubicBezTo>
                    <a:close/>
                    <a:moveTo>
                      <a:pt x="787" y="651"/>
                    </a:moveTo>
                    <a:cubicBezTo>
                      <a:pt x="790" y="649"/>
                      <a:pt x="790" y="649"/>
                      <a:pt x="790" y="649"/>
                    </a:cubicBezTo>
                    <a:cubicBezTo>
                      <a:pt x="791" y="647"/>
                      <a:pt x="791" y="647"/>
                      <a:pt x="791" y="647"/>
                    </a:cubicBezTo>
                    <a:cubicBezTo>
                      <a:pt x="791" y="645"/>
                      <a:pt x="791" y="645"/>
                      <a:pt x="791" y="645"/>
                    </a:cubicBezTo>
                    <a:cubicBezTo>
                      <a:pt x="792" y="643"/>
                      <a:pt x="792" y="643"/>
                      <a:pt x="792" y="643"/>
                    </a:cubicBezTo>
                    <a:cubicBezTo>
                      <a:pt x="791" y="642"/>
                      <a:pt x="791" y="642"/>
                      <a:pt x="791" y="642"/>
                    </a:cubicBezTo>
                    <a:cubicBezTo>
                      <a:pt x="788" y="644"/>
                      <a:pt x="788" y="644"/>
                      <a:pt x="788" y="644"/>
                    </a:cubicBezTo>
                    <a:cubicBezTo>
                      <a:pt x="788" y="645"/>
                      <a:pt x="788" y="645"/>
                      <a:pt x="788" y="645"/>
                    </a:cubicBezTo>
                    <a:cubicBezTo>
                      <a:pt x="784" y="645"/>
                      <a:pt x="784" y="645"/>
                      <a:pt x="784" y="645"/>
                    </a:cubicBezTo>
                    <a:cubicBezTo>
                      <a:pt x="783" y="647"/>
                      <a:pt x="783" y="647"/>
                      <a:pt x="783" y="647"/>
                    </a:cubicBezTo>
                    <a:cubicBezTo>
                      <a:pt x="786" y="650"/>
                      <a:pt x="786" y="650"/>
                      <a:pt x="786" y="650"/>
                    </a:cubicBezTo>
                    <a:cubicBezTo>
                      <a:pt x="787" y="651"/>
                      <a:pt x="787" y="651"/>
                      <a:pt x="787" y="651"/>
                    </a:cubicBezTo>
                    <a:close/>
                    <a:moveTo>
                      <a:pt x="826" y="644"/>
                    </a:moveTo>
                    <a:cubicBezTo>
                      <a:pt x="822" y="646"/>
                      <a:pt x="822" y="646"/>
                      <a:pt x="822" y="646"/>
                    </a:cubicBezTo>
                    <a:cubicBezTo>
                      <a:pt x="822" y="649"/>
                      <a:pt x="822" y="649"/>
                      <a:pt x="822" y="649"/>
                    </a:cubicBezTo>
                    <a:cubicBezTo>
                      <a:pt x="820" y="650"/>
                      <a:pt x="820" y="650"/>
                      <a:pt x="820" y="650"/>
                    </a:cubicBezTo>
                    <a:cubicBezTo>
                      <a:pt x="818" y="647"/>
                      <a:pt x="818" y="647"/>
                      <a:pt x="818" y="647"/>
                    </a:cubicBezTo>
                    <a:cubicBezTo>
                      <a:pt x="818" y="645"/>
                      <a:pt x="818" y="645"/>
                      <a:pt x="818" y="645"/>
                    </a:cubicBezTo>
                    <a:cubicBezTo>
                      <a:pt x="822" y="640"/>
                      <a:pt x="822" y="640"/>
                      <a:pt x="822" y="640"/>
                    </a:cubicBezTo>
                    <a:cubicBezTo>
                      <a:pt x="821" y="637"/>
                      <a:pt x="821" y="637"/>
                      <a:pt x="821" y="637"/>
                    </a:cubicBezTo>
                    <a:cubicBezTo>
                      <a:pt x="823" y="635"/>
                      <a:pt x="823" y="635"/>
                      <a:pt x="823" y="635"/>
                    </a:cubicBezTo>
                    <a:cubicBezTo>
                      <a:pt x="825" y="636"/>
                      <a:pt x="825" y="636"/>
                      <a:pt x="825" y="636"/>
                    </a:cubicBezTo>
                    <a:cubicBezTo>
                      <a:pt x="826" y="638"/>
                      <a:pt x="826" y="638"/>
                      <a:pt x="826" y="638"/>
                    </a:cubicBezTo>
                    <a:cubicBezTo>
                      <a:pt x="828" y="641"/>
                      <a:pt x="828" y="641"/>
                      <a:pt x="828" y="641"/>
                    </a:cubicBezTo>
                    <a:cubicBezTo>
                      <a:pt x="826" y="644"/>
                      <a:pt x="826" y="644"/>
                      <a:pt x="826" y="644"/>
                    </a:cubicBezTo>
                    <a:close/>
                    <a:moveTo>
                      <a:pt x="830" y="640"/>
                    </a:moveTo>
                    <a:cubicBezTo>
                      <a:pt x="830" y="637"/>
                      <a:pt x="830" y="637"/>
                      <a:pt x="830" y="637"/>
                    </a:cubicBezTo>
                    <a:cubicBezTo>
                      <a:pt x="829" y="636"/>
                      <a:pt x="829" y="636"/>
                      <a:pt x="829" y="636"/>
                    </a:cubicBezTo>
                    <a:cubicBezTo>
                      <a:pt x="831" y="631"/>
                      <a:pt x="831" y="631"/>
                      <a:pt x="831" y="631"/>
                    </a:cubicBezTo>
                    <a:cubicBezTo>
                      <a:pt x="833" y="631"/>
                      <a:pt x="833" y="631"/>
                      <a:pt x="833" y="631"/>
                    </a:cubicBezTo>
                    <a:cubicBezTo>
                      <a:pt x="835" y="634"/>
                      <a:pt x="835" y="634"/>
                      <a:pt x="835" y="634"/>
                    </a:cubicBezTo>
                    <a:cubicBezTo>
                      <a:pt x="833" y="636"/>
                      <a:pt x="833" y="636"/>
                      <a:pt x="833" y="636"/>
                    </a:cubicBezTo>
                    <a:cubicBezTo>
                      <a:pt x="832" y="639"/>
                      <a:pt x="832" y="639"/>
                      <a:pt x="832" y="639"/>
                    </a:cubicBezTo>
                    <a:cubicBezTo>
                      <a:pt x="830" y="640"/>
                      <a:pt x="830" y="640"/>
                      <a:pt x="830" y="640"/>
                    </a:cubicBezTo>
                    <a:close/>
                    <a:moveTo>
                      <a:pt x="901" y="641"/>
                    </a:moveTo>
                    <a:cubicBezTo>
                      <a:pt x="903" y="635"/>
                      <a:pt x="903" y="635"/>
                      <a:pt x="903" y="635"/>
                    </a:cubicBezTo>
                    <a:cubicBezTo>
                      <a:pt x="907" y="631"/>
                      <a:pt x="907" y="631"/>
                      <a:pt x="907" y="631"/>
                    </a:cubicBezTo>
                    <a:cubicBezTo>
                      <a:pt x="912" y="633"/>
                      <a:pt x="912" y="633"/>
                      <a:pt x="912" y="633"/>
                    </a:cubicBezTo>
                    <a:cubicBezTo>
                      <a:pt x="912" y="636"/>
                      <a:pt x="912" y="636"/>
                      <a:pt x="912" y="636"/>
                    </a:cubicBezTo>
                    <a:cubicBezTo>
                      <a:pt x="908" y="642"/>
                      <a:pt x="908" y="642"/>
                      <a:pt x="908" y="642"/>
                    </a:cubicBezTo>
                    <a:cubicBezTo>
                      <a:pt x="906" y="643"/>
                      <a:pt x="906" y="643"/>
                      <a:pt x="906" y="643"/>
                    </a:cubicBezTo>
                    <a:cubicBezTo>
                      <a:pt x="906" y="640"/>
                      <a:pt x="906" y="640"/>
                      <a:pt x="906" y="640"/>
                    </a:cubicBezTo>
                    <a:cubicBezTo>
                      <a:pt x="906" y="637"/>
                      <a:pt x="906" y="637"/>
                      <a:pt x="906" y="637"/>
                    </a:cubicBezTo>
                    <a:cubicBezTo>
                      <a:pt x="904" y="639"/>
                      <a:pt x="904" y="639"/>
                      <a:pt x="904" y="639"/>
                    </a:cubicBezTo>
                    <a:cubicBezTo>
                      <a:pt x="904" y="641"/>
                      <a:pt x="904" y="641"/>
                      <a:pt x="904" y="641"/>
                    </a:cubicBezTo>
                    <a:cubicBezTo>
                      <a:pt x="901" y="641"/>
                      <a:pt x="901" y="641"/>
                      <a:pt x="901" y="641"/>
                    </a:cubicBezTo>
                    <a:close/>
                    <a:moveTo>
                      <a:pt x="899" y="636"/>
                    </a:moveTo>
                    <a:cubicBezTo>
                      <a:pt x="900" y="637"/>
                      <a:pt x="900" y="637"/>
                      <a:pt x="900" y="637"/>
                    </a:cubicBezTo>
                    <a:cubicBezTo>
                      <a:pt x="902" y="633"/>
                      <a:pt x="902" y="633"/>
                      <a:pt x="902" y="633"/>
                    </a:cubicBezTo>
                    <a:cubicBezTo>
                      <a:pt x="900" y="629"/>
                      <a:pt x="900" y="629"/>
                      <a:pt x="900" y="629"/>
                    </a:cubicBezTo>
                    <a:cubicBezTo>
                      <a:pt x="898" y="631"/>
                      <a:pt x="898" y="631"/>
                      <a:pt x="898" y="631"/>
                    </a:cubicBezTo>
                    <a:cubicBezTo>
                      <a:pt x="899" y="636"/>
                      <a:pt x="899" y="636"/>
                      <a:pt x="899" y="636"/>
                    </a:cubicBezTo>
                    <a:close/>
                    <a:moveTo>
                      <a:pt x="896" y="668"/>
                    </a:moveTo>
                    <a:cubicBezTo>
                      <a:pt x="898" y="667"/>
                      <a:pt x="898" y="667"/>
                      <a:pt x="898" y="667"/>
                    </a:cubicBezTo>
                    <a:cubicBezTo>
                      <a:pt x="903" y="663"/>
                      <a:pt x="903" y="663"/>
                      <a:pt x="903" y="663"/>
                    </a:cubicBezTo>
                    <a:cubicBezTo>
                      <a:pt x="903" y="660"/>
                      <a:pt x="903" y="660"/>
                      <a:pt x="903" y="660"/>
                    </a:cubicBezTo>
                    <a:cubicBezTo>
                      <a:pt x="899" y="662"/>
                      <a:pt x="899" y="662"/>
                      <a:pt x="899" y="662"/>
                    </a:cubicBezTo>
                    <a:cubicBezTo>
                      <a:pt x="897" y="659"/>
                      <a:pt x="897" y="659"/>
                      <a:pt x="897" y="659"/>
                    </a:cubicBezTo>
                    <a:cubicBezTo>
                      <a:pt x="901" y="651"/>
                      <a:pt x="901" y="651"/>
                      <a:pt x="901" y="651"/>
                    </a:cubicBezTo>
                    <a:cubicBezTo>
                      <a:pt x="902" y="648"/>
                      <a:pt x="902" y="648"/>
                      <a:pt x="902" y="648"/>
                    </a:cubicBezTo>
                    <a:cubicBezTo>
                      <a:pt x="898" y="650"/>
                      <a:pt x="898" y="650"/>
                      <a:pt x="898" y="650"/>
                    </a:cubicBezTo>
                    <a:cubicBezTo>
                      <a:pt x="895" y="656"/>
                      <a:pt x="895" y="656"/>
                      <a:pt x="895" y="656"/>
                    </a:cubicBezTo>
                    <a:cubicBezTo>
                      <a:pt x="895" y="652"/>
                      <a:pt x="895" y="652"/>
                      <a:pt x="895" y="652"/>
                    </a:cubicBezTo>
                    <a:cubicBezTo>
                      <a:pt x="897" y="644"/>
                      <a:pt x="897" y="644"/>
                      <a:pt x="897" y="644"/>
                    </a:cubicBezTo>
                    <a:cubicBezTo>
                      <a:pt x="895" y="631"/>
                      <a:pt x="895" y="631"/>
                      <a:pt x="895" y="631"/>
                    </a:cubicBezTo>
                    <a:cubicBezTo>
                      <a:pt x="890" y="628"/>
                      <a:pt x="890" y="628"/>
                      <a:pt x="890" y="628"/>
                    </a:cubicBezTo>
                    <a:cubicBezTo>
                      <a:pt x="890" y="624"/>
                      <a:pt x="890" y="624"/>
                      <a:pt x="890" y="624"/>
                    </a:cubicBezTo>
                    <a:cubicBezTo>
                      <a:pt x="887" y="624"/>
                      <a:pt x="887" y="624"/>
                      <a:pt x="887" y="624"/>
                    </a:cubicBezTo>
                    <a:cubicBezTo>
                      <a:pt x="884" y="627"/>
                      <a:pt x="884" y="627"/>
                      <a:pt x="884" y="627"/>
                    </a:cubicBezTo>
                    <a:cubicBezTo>
                      <a:pt x="884" y="623"/>
                      <a:pt x="884" y="623"/>
                      <a:pt x="884" y="623"/>
                    </a:cubicBezTo>
                    <a:cubicBezTo>
                      <a:pt x="887" y="621"/>
                      <a:pt x="887" y="621"/>
                      <a:pt x="887" y="621"/>
                    </a:cubicBezTo>
                    <a:cubicBezTo>
                      <a:pt x="885" y="617"/>
                      <a:pt x="885" y="617"/>
                      <a:pt x="885" y="617"/>
                    </a:cubicBezTo>
                    <a:cubicBezTo>
                      <a:pt x="886" y="614"/>
                      <a:pt x="886" y="614"/>
                      <a:pt x="886" y="614"/>
                    </a:cubicBezTo>
                    <a:cubicBezTo>
                      <a:pt x="886" y="610"/>
                      <a:pt x="886" y="610"/>
                      <a:pt x="886" y="610"/>
                    </a:cubicBezTo>
                    <a:cubicBezTo>
                      <a:pt x="880" y="612"/>
                      <a:pt x="880" y="612"/>
                      <a:pt x="880" y="612"/>
                    </a:cubicBezTo>
                    <a:cubicBezTo>
                      <a:pt x="875" y="616"/>
                      <a:pt x="875" y="616"/>
                      <a:pt x="875" y="616"/>
                    </a:cubicBezTo>
                    <a:cubicBezTo>
                      <a:pt x="872" y="623"/>
                      <a:pt x="872" y="623"/>
                      <a:pt x="872" y="623"/>
                    </a:cubicBezTo>
                    <a:cubicBezTo>
                      <a:pt x="874" y="628"/>
                      <a:pt x="874" y="628"/>
                      <a:pt x="874" y="628"/>
                    </a:cubicBezTo>
                    <a:cubicBezTo>
                      <a:pt x="871" y="627"/>
                      <a:pt x="871" y="627"/>
                      <a:pt x="871" y="627"/>
                    </a:cubicBezTo>
                    <a:cubicBezTo>
                      <a:pt x="869" y="622"/>
                      <a:pt x="869" y="622"/>
                      <a:pt x="869" y="622"/>
                    </a:cubicBezTo>
                    <a:cubicBezTo>
                      <a:pt x="868" y="622"/>
                      <a:pt x="868" y="622"/>
                      <a:pt x="868" y="622"/>
                    </a:cubicBezTo>
                    <a:cubicBezTo>
                      <a:pt x="867" y="626"/>
                      <a:pt x="867" y="626"/>
                      <a:pt x="867" y="626"/>
                    </a:cubicBezTo>
                    <a:cubicBezTo>
                      <a:pt x="864" y="627"/>
                      <a:pt x="864" y="627"/>
                      <a:pt x="864" y="627"/>
                    </a:cubicBezTo>
                    <a:cubicBezTo>
                      <a:pt x="866" y="630"/>
                      <a:pt x="866" y="630"/>
                      <a:pt x="866" y="630"/>
                    </a:cubicBezTo>
                    <a:cubicBezTo>
                      <a:pt x="864" y="633"/>
                      <a:pt x="864" y="633"/>
                      <a:pt x="864" y="633"/>
                    </a:cubicBezTo>
                    <a:cubicBezTo>
                      <a:pt x="861" y="633"/>
                      <a:pt x="861" y="633"/>
                      <a:pt x="861" y="633"/>
                    </a:cubicBezTo>
                    <a:cubicBezTo>
                      <a:pt x="859" y="637"/>
                      <a:pt x="859" y="637"/>
                      <a:pt x="859" y="637"/>
                    </a:cubicBezTo>
                    <a:cubicBezTo>
                      <a:pt x="853" y="636"/>
                      <a:pt x="853" y="636"/>
                      <a:pt x="853" y="636"/>
                    </a:cubicBezTo>
                    <a:cubicBezTo>
                      <a:pt x="850" y="637"/>
                      <a:pt x="850" y="637"/>
                      <a:pt x="850" y="637"/>
                    </a:cubicBezTo>
                    <a:cubicBezTo>
                      <a:pt x="848" y="637"/>
                      <a:pt x="848" y="637"/>
                      <a:pt x="848" y="637"/>
                    </a:cubicBezTo>
                    <a:cubicBezTo>
                      <a:pt x="839" y="642"/>
                      <a:pt x="839" y="642"/>
                      <a:pt x="839" y="642"/>
                    </a:cubicBezTo>
                    <a:cubicBezTo>
                      <a:pt x="840" y="645"/>
                      <a:pt x="840" y="645"/>
                      <a:pt x="840" y="645"/>
                    </a:cubicBezTo>
                    <a:cubicBezTo>
                      <a:pt x="844" y="650"/>
                      <a:pt x="844" y="650"/>
                      <a:pt x="844" y="650"/>
                    </a:cubicBezTo>
                    <a:cubicBezTo>
                      <a:pt x="847" y="648"/>
                      <a:pt x="847" y="648"/>
                      <a:pt x="847" y="648"/>
                    </a:cubicBezTo>
                    <a:cubicBezTo>
                      <a:pt x="846" y="646"/>
                      <a:pt x="846" y="646"/>
                      <a:pt x="846" y="646"/>
                    </a:cubicBezTo>
                    <a:cubicBezTo>
                      <a:pt x="847" y="644"/>
                      <a:pt x="847" y="644"/>
                      <a:pt x="847" y="644"/>
                    </a:cubicBezTo>
                    <a:cubicBezTo>
                      <a:pt x="851" y="646"/>
                      <a:pt x="851" y="646"/>
                      <a:pt x="851" y="646"/>
                    </a:cubicBezTo>
                    <a:cubicBezTo>
                      <a:pt x="850" y="652"/>
                      <a:pt x="850" y="652"/>
                      <a:pt x="850" y="652"/>
                    </a:cubicBezTo>
                    <a:cubicBezTo>
                      <a:pt x="854" y="655"/>
                      <a:pt x="854" y="655"/>
                      <a:pt x="854" y="655"/>
                    </a:cubicBezTo>
                    <a:cubicBezTo>
                      <a:pt x="856" y="651"/>
                      <a:pt x="856" y="651"/>
                      <a:pt x="856" y="651"/>
                    </a:cubicBezTo>
                    <a:cubicBezTo>
                      <a:pt x="857" y="653"/>
                      <a:pt x="857" y="653"/>
                      <a:pt x="857" y="653"/>
                    </a:cubicBezTo>
                    <a:cubicBezTo>
                      <a:pt x="856" y="657"/>
                      <a:pt x="856" y="657"/>
                      <a:pt x="856" y="657"/>
                    </a:cubicBezTo>
                    <a:cubicBezTo>
                      <a:pt x="860" y="661"/>
                      <a:pt x="860" y="661"/>
                      <a:pt x="860" y="661"/>
                    </a:cubicBezTo>
                    <a:cubicBezTo>
                      <a:pt x="864" y="662"/>
                      <a:pt x="864" y="662"/>
                      <a:pt x="864" y="662"/>
                    </a:cubicBezTo>
                    <a:cubicBezTo>
                      <a:pt x="866" y="668"/>
                      <a:pt x="866" y="668"/>
                      <a:pt x="866" y="668"/>
                    </a:cubicBezTo>
                    <a:cubicBezTo>
                      <a:pt x="868" y="670"/>
                      <a:pt x="868" y="670"/>
                      <a:pt x="868" y="670"/>
                    </a:cubicBezTo>
                    <a:cubicBezTo>
                      <a:pt x="872" y="666"/>
                      <a:pt x="872" y="666"/>
                      <a:pt x="872" y="666"/>
                    </a:cubicBezTo>
                    <a:cubicBezTo>
                      <a:pt x="872" y="669"/>
                      <a:pt x="872" y="669"/>
                      <a:pt x="872" y="669"/>
                    </a:cubicBezTo>
                    <a:cubicBezTo>
                      <a:pt x="877" y="673"/>
                      <a:pt x="877" y="673"/>
                      <a:pt x="877" y="673"/>
                    </a:cubicBezTo>
                    <a:cubicBezTo>
                      <a:pt x="880" y="673"/>
                      <a:pt x="880" y="673"/>
                      <a:pt x="880" y="673"/>
                    </a:cubicBezTo>
                    <a:cubicBezTo>
                      <a:pt x="883" y="673"/>
                      <a:pt x="883" y="673"/>
                      <a:pt x="883" y="673"/>
                    </a:cubicBezTo>
                    <a:cubicBezTo>
                      <a:pt x="887" y="669"/>
                      <a:pt x="887" y="669"/>
                      <a:pt x="887" y="669"/>
                    </a:cubicBezTo>
                    <a:cubicBezTo>
                      <a:pt x="890" y="669"/>
                      <a:pt x="890" y="669"/>
                      <a:pt x="890" y="669"/>
                    </a:cubicBezTo>
                    <a:cubicBezTo>
                      <a:pt x="894" y="665"/>
                      <a:pt x="894" y="665"/>
                      <a:pt x="894" y="665"/>
                    </a:cubicBezTo>
                    <a:cubicBezTo>
                      <a:pt x="896" y="668"/>
                      <a:pt x="896" y="668"/>
                      <a:pt x="896" y="668"/>
                    </a:cubicBezTo>
                    <a:close/>
                    <a:moveTo>
                      <a:pt x="1289" y="643"/>
                    </a:moveTo>
                    <a:cubicBezTo>
                      <a:pt x="1289" y="640"/>
                      <a:pt x="1289" y="640"/>
                      <a:pt x="1289" y="640"/>
                    </a:cubicBezTo>
                    <a:cubicBezTo>
                      <a:pt x="1288" y="638"/>
                      <a:pt x="1288" y="638"/>
                      <a:pt x="1288" y="638"/>
                    </a:cubicBezTo>
                    <a:cubicBezTo>
                      <a:pt x="1289" y="635"/>
                      <a:pt x="1289" y="635"/>
                      <a:pt x="1289" y="635"/>
                    </a:cubicBezTo>
                    <a:cubicBezTo>
                      <a:pt x="1293" y="633"/>
                      <a:pt x="1293" y="633"/>
                      <a:pt x="1293" y="633"/>
                    </a:cubicBezTo>
                    <a:cubicBezTo>
                      <a:pt x="1296" y="634"/>
                      <a:pt x="1296" y="634"/>
                      <a:pt x="1296" y="634"/>
                    </a:cubicBezTo>
                    <a:cubicBezTo>
                      <a:pt x="1296" y="636"/>
                      <a:pt x="1296" y="636"/>
                      <a:pt x="1296" y="636"/>
                    </a:cubicBezTo>
                    <a:cubicBezTo>
                      <a:pt x="1299" y="636"/>
                      <a:pt x="1299" y="636"/>
                      <a:pt x="1299" y="636"/>
                    </a:cubicBezTo>
                    <a:cubicBezTo>
                      <a:pt x="1300" y="638"/>
                      <a:pt x="1300" y="638"/>
                      <a:pt x="1300" y="638"/>
                    </a:cubicBezTo>
                    <a:cubicBezTo>
                      <a:pt x="1298" y="641"/>
                      <a:pt x="1298" y="641"/>
                      <a:pt x="1298" y="641"/>
                    </a:cubicBezTo>
                    <a:cubicBezTo>
                      <a:pt x="1295" y="642"/>
                      <a:pt x="1295" y="642"/>
                      <a:pt x="1295" y="642"/>
                    </a:cubicBezTo>
                    <a:cubicBezTo>
                      <a:pt x="1294" y="641"/>
                      <a:pt x="1294" y="641"/>
                      <a:pt x="1294" y="641"/>
                    </a:cubicBezTo>
                    <a:cubicBezTo>
                      <a:pt x="1291" y="642"/>
                      <a:pt x="1291" y="642"/>
                      <a:pt x="1291" y="642"/>
                    </a:cubicBezTo>
                    <a:cubicBezTo>
                      <a:pt x="1290" y="644"/>
                      <a:pt x="1290" y="644"/>
                      <a:pt x="1290" y="644"/>
                    </a:cubicBezTo>
                    <a:cubicBezTo>
                      <a:pt x="1289" y="643"/>
                      <a:pt x="1289" y="643"/>
                      <a:pt x="1289" y="643"/>
                    </a:cubicBezTo>
                    <a:close/>
                    <a:moveTo>
                      <a:pt x="1280" y="968"/>
                    </a:moveTo>
                    <a:cubicBezTo>
                      <a:pt x="1277" y="968"/>
                      <a:pt x="1277" y="968"/>
                      <a:pt x="1277" y="968"/>
                    </a:cubicBezTo>
                    <a:cubicBezTo>
                      <a:pt x="1274" y="966"/>
                      <a:pt x="1274" y="966"/>
                      <a:pt x="1274" y="966"/>
                    </a:cubicBezTo>
                    <a:cubicBezTo>
                      <a:pt x="1268" y="964"/>
                      <a:pt x="1268" y="964"/>
                      <a:pt x="1268" y="964"/>
                    </a:cubicBezTo>
                    <a:cubicBezTo>
                      <a:pt x="1265" y="962"/>
                      <a:pt x="1265" y="962"/>
                      <a:pt x="1265" y="962"/>
                    </a:cubicBezTo>
                    <a:cubicBezTo>
                      <a:pt x="1262" y="961"/>
                      <a:pt x="1262" y="961"/>
                      <a:pt x="1262" y="961"/>
                    </a:cubicBezTo>
                    <a:cubicBezTo>
                      <a:pt x="1257" y="957"/>
                      <a:pt x="1257" y="957"/>
                      <a:pt x="1257" y="957"/>
                    </a:cubicBezTo>
                    <a:cubicBezTo>
                      <a:pt x="1256" y="955"/>
                      <a:pt x="1256" y="955"/>
                      <a:pt x="1256" y="955"/>
                    </a:cubicBezTo>
                    <a:cubicBezTo>
                      <a:pt x="1253" y="953"/>
                      <a:pt x="1253" y="953"/>
                      <a:pt x="1253" y="953"/>
                    </a:cubicBezTo>
                    <a:cubicBezTo>
                      <a:pt x="1251" y="954"/>
                      <a:pt x="1251" y="954"/>
                      <a:pt x="1251" y="954"/>
                    </a:cubicBezTo>
                    <a:cubicBezTo>
                      <a:pt x="1249" y="953"/>
                      <a:pt x="1249" y="953"/>
                      <a:pt x="1249" y="953"/>
                    </a:cubicBezTo>
                    <a:cubicBezTo>
                      <a:pt x="1248" y="954"/>
                      <a:pt x="1248" y="954"/>
                      <a:pt x="1248" y="954"/>
                    </a:cubicBezTo>
                    <a:cubicBezTo>
                      <a:pt x="1242" y="952"/>
                      <a:pt x="1242" y="952"/>
                      <a:pt x="1242" y="952"/>
                    </a:cubicBezTo>
                    <a:cubicBezTo>
                      <a:pt x="1241" y="950"/>
                      <a:pt x="1241" y="950"/>
                      <a:pt x="1241" y="950"/>
                    </a:cubicBezTo>
                    <a:cubicBezTo>
                      <a:pt x="1239" y="948"/>
                      <a:pt x="1239" y="948"/>
                      <a:pt x="1239" y="948"/>
                    </a:cubicBezTo>
                    <a:cubicBezTo>
                      <a:pt x="1236" y="948"/>
                      <a:pt x="1236" y="948"/>
                      <a:pt x="1236" y="948"/>
                    </a:cubicBezTo>
                    <a:cubicBezTo>
                      <a:pt x="1232" y="943"/>
                      <a:pt x="1232" y="943"/>
                      <a:pt x="1232" y="943"/>
                    </a:cubicBezTo>
                    <a:cubicBezTo>
                      <a:pt x="1233" y="941"/>
                      <a:pt x="1233" y="941"/>
                      <a:pt x="1233" y="941"/>
                    </a:cubicBezTo>
                    <a:cubicBezTo>
                      <a:pt x="1231" y="941"/>
                      <a:pt x="1231" y="941"/>
                      <a:pt x="1231" y="941"/>
                    </a:cubicBezTo>
                    <a:cubicBezTo>
                      <a:pt x="1228" y="940"/>
                      <a:pt x="1228" y="940"/>
                      <a:pt x="1228" y="940"/>
                    </a:cubicBezTo>
                    <a:cubicBezTo>
                      <a:pt x="1227" y="936"/>
                      <a:pt x="1227" y="936"/>
                      <a:pt x="1227" y="936"/>
                    </a:cubicBezTo>
                    <a:cubicBezTo>
                      <a:pt x="1228" y="935"/>
                      <a:pt x="1228" y="935"/>
                      <a:pt x="1228" y="935"/>
                    </a:cubicBezTo>
                    <a:cubicBezTo>
                      <a:pt x="1230" y="934"/>
                      <a:pt x="1230" y="934"/>
                      <a:pt x="1230" y="934"/>
                    </a:cubicBezTo>
                    <a:cubicBezTo>
                      <a:pt x="1227" y="932"/>
                      <a:pt x="1227" y="932"/>
                      <a:pt x="1227" y="932"/>
                    </a:cubicBezTo>
                    <a:cubicBezTo>
                      <a:pt x="1226" y="933"/>
                      <a:pt x="1226" y="933"/>
                      <a:pt x="1226" y="933"/>
                    </a:cubicBezTo>
                    <a:cubicBezTo>
                      <a:pt x="1225" y="935"/>
                      <a:pt x="1225" y="935"/>
                      <a:pt x="1225" y="935"/>
                    </a:cubicBezTo>
                    <a:cubicBezTo>
                      <a:pt x="1223" y="933"/>
                      <a:pt x="1223" y="933"/>
                      <a:pt x="1223" y="933"/>
                    </a:cubicBezTo>
                    <a:cubicBezTo>
                      <a:pt x="1223" y="932"/>
                      <a:pt x="1223" y="932"/>
                      <a:pt x="1223" y="932"/>
                    </a:cubicBezTo>
                    <a:cubicBezTo>
                      <a:pt x="1220" y="932"/>
                      <a:pt x="1220" y="932"/>
                      <a:pt x="1220" y="932"/>
                    </a:cubicBezTo>
                    <a:cubicBezTo>
                      <a:pt x="1214" y="928"/>
                      <a:pt x="1214" y="928"/>
                      <a:pt x="1214" y="928"/>
                    </a:cubicBezTo>
                    <a:cubicBezTo>
                      <a:pt x="1211" y="928"/>
                      <a:pt x="1211" y="928"/>
                      <a:pt x="1211" y="928"/>
                    </a:cubicBezTo>
                    <a:cubicBezTo>
                      <a:pt x="1209" y="926"/>
                      <a:pt x="1209" y="926"/>
                      <a:pt x="1209" y="926"/>
                    </a:cubicBezTo>
                    <a:cubicBezTo>
                      <a:pt x="1206" y="923"/>
                      <a:pt x="1206" y="923"/>
                      <a:pt x="1206" y="923"/>
                    </a:cubicBezTo>
                    <a:cubicBezTo>
                      <a:pt x="1206" y="921"/>
                      <a:pt x="1206" y="921"/>
                      <a:pt x="1206" y="921"/>
                    </a:cubicBezTo>
                    <a:cubicBezTo>
                      <a:pt x="1204" y="921"/>
                      <a:pt x="1204" y="921"/>
                      <a:pt x="1204" y="921"/>
                    </a:cubicBezTo>
                    <a:cubicBezTo>
                      <a:pt x="1201" y="918"/>
                      <a:pt x="1201" y="918"/>
                      <a:pt x="1201" y="918"/>
                    </a:cubicBezTo>
                    <a:cubicBezTo>
                      <a:pt x="1199" y="915"/>
                      <a:pt x="1199" y="915"/>
                      <a:pt x="1199" y="915"/>
                    </a:cubicBezTo>
                    <a:cubicBezTo>
                      <a:pt x="1199" y="911"/>
                      <a:pt x="1199" y="911"/>
                      <a:pt x="1199" y="911"/>
                    </a:cubicBezTo>
                    <a:cubicBezTo>
                      <a:pt x="1195" y="909"/>
                      <a:pt x="1195" y="909"/>
                      <a:pt x="1195" y="909"/>
                    </a:cubicBezTo>
                    <a:cubicBezTo>
                      <a:pt x="1196" y="908"/>
                      <a:pt x="1196" y="908"/>
                      <a:pt x="1196" y="908"/>
                    </a:cubicBezTo>
                    <a:cubicBezTo>
                      <a:pt x="1201" y="908"/>
                      <a:pt x="1201" y="908"/>
                      <a:pt x="1201" y="908"/>
                    </a:cubicBezTo>
                    <a:cubicBezTo>
                      <a:pt x="1208" y="904"/>
                      <a:pt x="1208" y="904"/>
                      <a:pt x="1208" y="904"/>
                    </a:cubicBezTo>
                    <a:cubicBezTo>
                      <a:pt x="1210" y="902"/>
                      <a:pt x="1210" y="902"/>
                      <a:pt x="1210" y="902"/>
                    </a:cubicBezTo>
                    <a:cubicBezTo>
                      <a:pt x="1204" y="902"/>
                      <a:pt x="1204" y="902"/>
                      <a:pt x="1204" y="902"/>
                    </a:cubicBezTo>
                    <a:cubicBezTo>
                      <a:pt x="1202" y="898"/>
                      <a:pt x="1202" y="898"/>
                      <a:pt x="1202" y="898"/>
                    </a:cubicBezTo>
                    <a:cubicBezTo>
                      <a:pt x="1200" y="894"/>
                      <a:pt x="1200" y="894"/>
                      <a:pt x="1200" y="894"/>
                    </a:cubicBezTo>
                    <a:cubicBezTo>
                      <a:pt x="1201" y="893"/>
                      <a:pt x="1201" y="893"/>
                      <a:pt x="1201" y="893"/>
                    </a:cubicBezTo>
                    <a:cubicBezTo>
                      <a:pt x="1199" y="894"/>
                      <a:pt x="1199" y="894"/>
                      <a:pt x="1199" y="894"/>
                    </a:cubicBezTo>
                    <a:cubicBezTo>
                      <a:pt x="1197" y="897"/>
                      <a:pt x="1197" y="897"/>
                      <a:pt x="1197" y="897"/>
                    </a:cubicBezTo>
                    <a:cubicBezTo>
                      <a:pt x="1197" y="900"/>
                      <a:pt x="1197" y="900"/>
                      <a:pt x="1197" y="900"/>
                    </a:cubicBezTo>
                    <a:cubicBezTo>
                      <a:pt x="1194" y="897"/>
                      <a:pt x="1194" y="897"/>
                      <a:pt x="1194" y="897"/>
                    </a:cubicBezTo>
                    <a:cubicBezTo>
                      <a:pt x="1196" y="894"/>
                      <a:pt x="1196" y="894"/>
                      <a:pt x="1196" y="894"/>
                    </a:cubicBezTo>
                    <a:cubicBezTo>
                      <a:pt x="1197" y="889"/>
                      <a:pt x="1197" y="889"/>
                      <a:pt x="1197" y="889"/>
                    </a:cubicBezTo>
                    <a:cubicBezTo>
                      <a:pt x="1194" y="893"/>
                      <a:pt x="1194" y="893"/>
                      <a:pt x="1194" y="893"/>
                    </a:cubicBezTo>
                    <a:cubicBezTo>
                      <a:pt x="1193" y="891"/>
                      <a:pt x="1193" y="891"/>
                      <a:pt x="1193" y="891"/>
                    </a:cubicBezTo>
                    <a:cubicBezTo>
                      <a:pt x="1193" y="887"/>
                      <a:pt x="1193" y="887"/>
                      <a:pt x="1193" y="887"/>
                    </a:cubicBezTo>
                    <a:cubicBezTo>
                      <a:pt x="1190" y="888"/>
                      <a:pt x="1190" y="888"/>
                      <a:pt x="1190" y="888"/>
                    </a:cubicBezTo>
                    <a:cubicBezTo>
                      <a:pt x="1189" y="884"/>
                      <a:pt x="1189" y="884"/>
                      <a:pt x="1189" y="884"/>
                    </a:cubicBezTo>
                    <a:cubicBezTo>
                      <a:pt x="1189" y="881"/>
                      <a:pt x="1189" y="881"/>
                      <a:pt x="1189" y="881"/>
                    </a:cubicBezTo>
                    <a:cubicBezTo>
                      <a:pt x="1187" y="876"/>
                      <a:pt x="1187" y="876"/>
                      <a:pt x="1187" y="876"/>
                    </a:cubicBezTo>
                    <a:cubicBezTo>
                      <a:pt x="1184" y="875"/>
                      <a:pt x="1184" y="875"/>
                      <a:pt x="1184" y="875"/>
                    </a:cubicBezTo>
                    <a:cubicBezTo>
                      <a:pt x="1184" y="872"/>
                      <a:pt x="1184" y="872"/>
                      <a:pt x="1184" y="872"/>
                    </a:cubicBezTo>
                    <a:cubicBezTo>
                      <a:pt x="1188" y="868"/>
                      <a:pt x="1188" y="868"/>
                      <a:pt x="1188" y="868"/>
                    </a:cubicBezTo>
                    <a:cubicBezTo>
                      <a:pt x="1187" y="866"/>
                      <a:pt x="1187" y="866"/>
                      <a:pt x="1187" y="866"/>
                    </a:cubicBezTo>
                    <a:cubicBezTo>
                      <a:pt x="1181" y="872"/>
                      <a:pt x="1181" y="872"/>
                      <a:pt x="1181" y="872"/>
                    </a:cubicBezTo>
                    <a:cubicBezTo>
                      <a:pt x="1181" y="875"/>
                      <a:pt x="1181" y="875"/>
                      <a:pt x="1181" y="875"/>
                    </a:cubicBezTo>
                    <a:cubicBezTo>
                      <a:pt x="1180" y="872"/>
                      <a:pt x="1180" y="872"/>
                      <a:pt x="1180" y="872"/>
                    </a:cubicBezTo>
                    <a:cubicBezTo>
                      <a:pt x="1182" y="868"/>
                      <a:pt x="1182" y="868"/>
                      <a:pt x="1182" y="868"/>
                    </a:cubicBezTo>
                    <a:cubicBezTo>
                      <a:pt x="1179" y="867"/>
                      <a:pt x="1179" y="867"/>
                      <a:pt x="1179" y="867"/>
                    </a:cubicBezTo>
                    <a:cubicBezTo>
                      <a:pt x="1177" y="868"/>
                      <a:pt x="1177" y="868"/>
                      <a:pt x="1177" y="868"/>
                    </a:cubicBezTo>
                    <a:cubicBezTo>
                      <a:pt x="1176" y="867"/>
                      <a:pt x="1176" y="867"/>
                      <a:pt x="1176" y="867"/>
                    </a:cubicBezTo>
                    <a:cubicBezTo>
                      <a:pt x="1174" y="873"/>
                      <a:pt x="1174" y="873"/>
                      <a:pt x="1174" y="873"/>
                    </a:cubicBezTo>
                    <a:cubicBezTo>
                      <a:pt x="1171" y="875"/>
                      <a:pt x="1171" y="875"/>
                      <a:pt x="1171" y="875"/>
                    </a:cubicBezTo>
                    <a:cubicBezTo>
                      <a:pt x="1171" y="871"/>
                      <a:pt x="1171" y="871"/>
                      <a:pt x="1171" y="871"/>
                    </a:cubicBezTo>
                    <a:cubicBezTo>
                      <a:pt x="1173" y="868"/>
                      <a:pt x="1173" y="868"/>
                      <a:pt x="1173" y="868"/>
                    </a:cubicBezTo>
                    <a:cubicBezTo>
                      <a:pt x="1173" y="865"/>
                      <a:pt x="1173" y="865"/>
                      <a:pt x="1173" y="865"/>
                    </a:cubicBezTo>
                    <a:cubicBezTo>
                      <a:pt x="1174" y="862"/>
                      <a:pt x="1174" y="862"/>
                      <a:pt x="1174" y="862"/>
                    </a:cubicBezTo>
                    <a:cubicBezTo>
                      <a:pt x="1170" y="863"/>
                      <a:pt x="1170" y="863"/>
                      <a:pt x="1170" y="863"/>
                    </a:cubicBezTo>
                    <a:cubicBezTo>
                      <a:pt x="1168" y="866"/>
                      <a:pt x="1168" y="866"/>
                      <a:pt x="1168" y="866"/>
                    </a:cubicBezTo>
                    <a:cubicBezTo>
                      <a:pt x="1166" y="866"/>
                      <a:pt x="1166" y="866"/>
                      <a:pt x="1166" y="866"/>
                    </a:cubicBezTo>
                    <a:cubicBezTo>
                      <a:pt x="1164" y="869"/>
                      <a:pt x="1164" y="869"/>
                      <a:pt x="1164" y="869"/>
                    </a:cubicBezTo>
                    <a:cubicBezTo>
                      <a:pt x="1162" y="871"/>
                      <a:pt x="1162" y="871"/>
                      <a:pt x="1162" y="871"/>
                    </a:cubicBezTo>
                    <a:cubicBezTo>
                      <a:pt x="1158" y="871"/>
                      <a:pt x="1158" y="871"/>
                      <a:pt x="1158" y="871"/>
                    </a:cubicBezTo>
                    <a:cubicBezTo>
                      <a:pt x="1155" y="868"/>
                      <a:pt x="1155" y="868"/>
                      <a:pt x="1155" y="868"/>
                    </a:cubicBezTo>
                    <a:cubicBezTo>
                      <a:pt x="1153" y="868"/>
                      <a:pt x="1153" y="868"/>
                      <a:pt x="1153" y="868"/>
                    </a:cubicBezTo>
                    <a:cubicBezTo>
                      <a:pt x="1149" y="862"/>
                      <a:pt x="1149" y="862"/>
                      <a:pt x="1149" y="862"/>
                    </a:cubicBezTo>
                    <a:cubicBezTo>
                      <a:pt x="1147" y="862"/>
                      <a:pt x="1147" y="862"/>
                      <a:pt x="1147" y="862"/>
                    </a:cubicBezTo>
                    <a:cubicBezTo>
                      <a:pt x="1146" y="864"/>
                      <a:pt x="1146" y="864"/>
                      <a:pt x="1146" y="864"/>
                    </a:cubicBezTo>
                    <a:cubicBezTo>
                      <a:pt x="1146" y="868"/>
                      <a:pt x="1146" y="868"/>
                      <a:pt x="1146" y="868"/>
                    </a:cubicBezTo>
                    <a:cubicBezTo>
                      <a:pt x="1144" y="870"/>
                      <a:pt x="1144" y="870"/>
                      <a:pt x="1144" y="870"/>
                    </a:cubicBezTo>
                    <a:cubicBezTo>
                      <a:pt x="1141" y="869"/>
                      <a:pt x="1141" y="869"/>
                      <a:pt x="1141" y="869"/>
                    </a:cubicBezTo>
                    <a:cubicBezTo>
                      <a:pt x="1139" y="870"/>
                      <a:pt x="1139" y="870"/>
                      <a:pt x="1139" y="870"/>
                    </a:cubicBezTo>
                    <a:cubicBezTo>
                      <a:pt x="1135" y="870"/>
                      <a:pt x="1135" y="870"/>
                      <a:pt x="1135" y="870"/>
                    </a:cubicBezTo>
                    <a:cubicBezTo>
                      <a:pt x="1134" y="872"/>
                      <a:pt x="1134" y="872"/>
                      <a:pt x="1134" y="872"/>
                    </a:cubicBezTo>
                    <a:cubicBezTo>
                      <a:pt x="1130" y="871"/>
                      <a:pt x="1130" y="871"/>
                      <a:pt x="1130" y="871"/>
                    </a:cubicBezTo>
                    <a:cubicBezTo>
                      <a:pt x="1128" y="873"/>
                      <a:pt x="1128" y="873"/>
                      <a:pt x="1128" y="873"/>
                    </a:cubicBezTo>
                    <a:cubicBezTo>
                      <a:pt x="1125" y="872"/>
                      <a:pt x="1125" y="872"/>
                      <a:pt x="1125" y="872"/>
                    </a:cubicBezTo>
                    <a:cubicBezTo>
                      <a:pt x="1119" y="871"/>
                      <a:pt x="1119" y="871"/>
                      <a:pt x="1119" y="871"/>
                    </a:cubicBezTo>
                    <a:cubicBezTo>
                      <a:pt x="1120" y="869"/>
                      <a:pt x="1120" y="869"/>
                      <a:pt x="1120" y="869"/>
                    </a:cubicBezTo>
                    <a:cubicBezTo>
                      <a:pt x="1116" y="865"/>
                      <a:pt x="1116" y="865"/>
                      <a:pt x="1116" y="865"/>
                    </a:cubicBezTo>
                    <a:cubicBezTo>
                      <a:pt x="1114" y="866"/>
                      <a:pt x="1114" y="866"/>
                      <a:pt x="1114" y="866"/>
                    </a:cubicBezTo>
                    <a:cubicBezTo>
                      <a:pt x="1111" y="863"/>
                      <a:pt x="1111" y="863"/>
                      <a:pt x="1111" y="863"/>
                    </a:cubicBezTo>
                    <a:cubicBezTo>
                      <a:pt x="1108" y="856"/>
                      <a:pt x="1108" y="856"/>
                      <a:pt x="1108" y="856"/>
                    </a:cubicBezTo>
                    <a:cubicBezTo>
                      <a:pt x="1110" y="852"/>
                      <a:pt x="1110" y="852"/>
                      <a:pt x="1110" y="852"/>
                    </a:cubicBezTo>
                    <a:cubicBezTo>
                      <a:pt x="1113" y="850"/>
                      <a:pt x="1113" y="850"/>
                      <a:pt x="1113" y="850"/>
                    </a:cubicBezTo>
                    <a:cubicBezTo>
                      <a:pt x="1113" y="847"/>
                      <a:pt x="1113" y="847"/>
                      <a:pt x="1113" y="847"/>
                    </a:cubicBezTo>
                    <a:cubicBezTo>
                      <a:pt x="1115" y="844"/>
                      <a:pt x="1115" y="844"/>
                      <a:pt x="1115" y="844"/>
                    </a:cubicBezTo>
                    <a:cubicBezTo>
                      <a:pt x="1119" y="843"/>
                      <a:pt x="1119" y="843"/>
                      <a:pt x="1119" y="843"/>
                    </a:cubicBezTo>
                    <a:cubicBezTo>
                      <a:pt x="1122" y="841"/>
                      <a:pt x="1122" y="841"/>
                      <a:pt x="1122" y="841"/>
                    </a:cubicBezTo>
                    <a:cubicBezTo>
                      <a:pt x="1125" y="840"/>
                      <a:pt x="1125" y="840"/>
                      <a:pt x="1125" y="840"/>
                    </a:cubicBezTo>
                    <a:cubicBezTo>
                      <a:pt x="1127" y="840"/>
                      <a:pt x="1127" y="840"/>
                      <a:pt x="1127" y="840"/>
                    </a:cubicBezTo>
                    <a:cubicBezTo>
                      <a:pt x="1127" y="838"/>
                      <a:pt x="1127" y="838"/>
                      <a:pt x="1127" y="838"/>
                    </a:cubicBezTo>
                    <a:cubicBezTo>
                      <a:pt x="1126" y="835"/>
                      <a:pt x="1126" y="835"/>
                      <a:pt x="1126" y="835"/>
                    </a:cubicBezTo>
                    <a:cubicBezTo>
                      <a:pt x="1126" y="833"/>
                      <a:pt x="1126" y="833"/>
                      <a:pt x="1126" y="833"/>
                    </a:cubicBezTo>
                    <a:cubicBezTo>
                      <a:pt x="1127" y="832"/>
                      <a:pt x="1127" y="832"/>
                      <a:pt x="1127" y="832"/>
                    </a:cubicBezTo>
                    <a:cubicBezTo>
                      <a:pt x="1129" y="833"/>
                      <a:pt x="1129" y="833"/>
                      <a:pt x="1129" y="833"/>
                    </a:cubicBezTo>
                    <a:cubicBezTo>
                      <a:pt x="1129" y="831"/>
                      <a:pt x="1129" y="831"/>
                      <a:pt x="1129" y="831"/>
                    </a:cubicBezTo>
                    <a:cubicBezTo>
                      <a:pt x="1129" y="829"/>
                      <a:pt x="1129" y="829"/>
                      <a:pt x="1129" y="829"/>
                    </a:cubicBezTo>
                    <a:cubicBezTo>
                      <a:pt x="1130" y="828"/>
                      <a:pt x="1130" y="828"/>
                      <a:pt x="1130" y="828"/>
                    </a:cubicBezTo>
                    <a:cubicBezTo>
                      <a:pt x="1134" y="833"/>
                      <a:pt x="1134" y="833"/>
                      <a:pt x="1134" y="833"/>
                    </a:cubicBezTo>
                    <a:cubicBezTo>
                      <a:pt x="1138" y="834"/>
                      <a:pt x="1138" y="834"/>
                      <a:pt x="1138" y="834"/>
                    </a:cubicBezTo>
                    <a:cubicBezTo>
                      <a:pt x="1142" y="837"/>
                      <a:pt x="1142" y="837"/>
                      <a:pt x="1142" y="837"/>
                    </a:cubicBezTo>
                    <a:cubicBezTo>
                      <a:pt x="1145" y="840"/>
                      <a:pt x="1145" y="840"/>
                      <a:pt x="1145" y="840"/>
                    </a:cubicBezTo>
                    <a:cubicBezTo>
                      <a:pt x="1147" y="840"/>
                      <a:pt x="1147" y="840"/>
                      <a:pt x="1147" y="840"/>
                    </a:cubicBezTo>
                    <a:cubicBezTo>
                      <a:pt x="1151" y="842"/>
                      <a:pt x="1151" y="842"/>
                      <a:pt x="1151" y="842"/>
                    </a:cubicBezTo>
                    <a:cubicBezTo>
                      <a:pt x="1154" y="840"/>
                      <a:pt x="1154" y="840"/>
                      <a:pt x="1154" y="840"/>
                    </a:cubicBezTo>
                    <a:cubicBezTo>
                      <a:pt x="1156" y="840"/>
                      <a:pt x="1156" y="840"/>
                      <a:pt x="1156" y="840"/>
                    </a:cubicBezTo>
                    <a:cubicBezTo>
                      <a:pt x="1158" y="842"/>
                      <a:pt x="1158" y="842"/>
                      <a:pt x="1158" y="842"/>
                    </a:cubicBezTo>
                    <a:cubicBezTo>
                      <a:pt x="1160" y="842"/>
                      <a:pt x="1160" y="842"/>
                      <a:pt x="1160" y="842"/>
                    </a:cubicBezTo>
                    <a:cubicBezTo>
                      <a:pt x="1165" y="843"/>
                      <a:pt x="1165" y="843"/>
                      <a:pt x="1165" y="843"/>
                    </a:cubicBezTo>
                    <a:cubicBezTo>
                      <a:pt x="1167" y="840"/>
                      <a:pt x="1167" y="840"/>
                      <a:pt x="1167" y="840"/>
                    </a:cubicBezTo>
                    <a:cubicBezTo>
                      <a:pt x="1169" y="837"/>
                      <a:pt x="1169" y="837"/>
                      <a:pt x="1169" y="837"/>
                    </a:cubicBezTo>
                    <a:cubicBezTo>
                      <a:pt x="1174" y="837"/>
                      <a:pt x="1174" y="837"/>
                      <a:pt x="1174" y="837"/>
                    </a:cubicBezTo>
                    <a:cubicBezTo>
                      <a:pt x="1174" y="838"/>
                      <a:pt x="1174" y="838"/>
                      <a:pt x="1174" y="838"/>
                    </a:cubicBezTo>
                    <a:cubicBezTo>
                      <a:pt x="1173" y="840"/>
                      <a:pt x="1173" y="840"/>
                      <a:pt x="1173" y="840"/>
                    </a:cubicBezTo>
                    <a:cubicBezTo>
                      <a:pt x="1175" y="841"/>
                      <a:pt x="1175" y="841"/>
                      <a:pt x="1175" y="841"/>
                    </a:cubicBezTo>
                    <a:cubicBezTo>
                      <a:pt x="1179" y="838"/>
                      <a:pt x="1179" y="838"/>
                      <a:pt x="1179" y="838"/>
                    </a:cubicBezTo>
                    <a:cubicBezTo>
                      <a:pt x="1181" y="835"/>
                      <a:pt x="1181" y="835"/>
                      <a:pt x="1181" y="835"/>
                    </a:cubicBezTo>
                    <a:cubicBezTo>
                      <a:pt x="1184" y="833"/>
                      <a:pt x="1184" y="833"/>
                      <a:pt x="1184" y="833"/>
                    </a:cubicBezTo>
                    <a:cubicBezTo>
                      <a:pt x="1186" y="835"/>
                      <a:pt x="1186" y="835"/>
                      <a:pt x="1186" y="835"/>
                    </a:cubicBezTo>
                    <a:cubicBezTo>
                      <a:pt x="1186" y="840"/>
                      <a:pt x="1186" y="840"/>
                      <a:pt x="1186" y="840"/>
                    </a:cubicBezTo>
                    <a:cubicBezTo>
                      <a:pt x="1187" y="843"/>
                      <a:pt x="1187" y="843"/>
                      <a:pt x="1187" y="843"/>
                    </a:cubicBezTo>
                    <a:cubicBezTo>
                      <a:pt x="1188" y="839"/>
                      <a:pt x="1188" y="839"/>
                      <a:pt x="1188" y="839"/>
                    </a:cubicBezTo>
                    <a:cubicBezTo>
                      <a:pt x="1190" y="838"/>
                      <a:pt x="1190" y="838"/>
                      <a:pt x="1190" y="838"/>
                    </a:cubicBezTo>
                    <a:cubicBezTo>
                      <a:pt x="1191" y="839"/>
                      <a:pt x="1191" y="839"/>
                      <a:pt x="1191" y="839"/>
                    </a:cubicBezTo>
                    <a:cubicBezTo>
                      <a:pt x="1193" y="837"/>
                      <a:pt x="1193" y="837"/>
                      <a:pt x="1193" y="837"/>
                    </a:cubicBezTo>
                    <a:cubicBezTo>
                      <a:pt x="1192" y="828"/>
                      <a:pt x="1192" y="828"/>
                      <a:pt x="1192" y="828"/>
                    </a:cubicBezTo>
                    <a:cubicBezTo>
                      <a:pt x="1189" y="823"/>
                      <a:pt x="1189" y="823"/>
                      <a:pt x="1189" y="823"/>
                    </a:cubicBezTo>
                    <a:cubicBezTo>
                      <a:pt x="1189" y="820"/>
                      <a:pt x="1189" y="820"/>
                      <a:pt x="1189" y="820"/>
                    </a:cubicBezTo>
                    <a:cubicBezTo>
                      <a:pt x="1186" y="817"/>
                      <a:pt x="1186" y="817"/>
                      <a:pt x="1186" y="817"/>
                    </a:cubicBezTo>
                    <a:cubicBezTo>
                      <a:pt x="1187" y="812"/>
                      <a:pt x="1187" y="812"/>
                      <a:pt x="1187" y="812"/>
                    </a:cubicBezTo>
                    <a:cubicBezTo>
                      <a:pt x="1189" y="811"/>
                      <a:pt x="1189" y="811"/>
                      <a:pt x="1189" y="811"/>
                    </a:cubicBezTo>
                    <a:cubicBezTo>
                      <a:pt x="1191" y="811"/>
                      <a:pt x="1191" y="811"/>
                      <a:pt x="1191" y="811"/>
                    </a:cubicBezTo>
                    <a:cubicBezTo>
                      <a:pt x="1197" y="806"/>
                      <a:pt x="1197" y="806"/>
                      <a:pt x="1197" y="806"/>
                    </a:cubicBezTo>
                    <a:cubicBezTo>
                      <a:pt x="1203" y="803"/>
                      <a:pt x="1203" y="803"/>
                      <a:pt x="1203" y="803"/>
                    </a:cubicBezTo>
                    <a:cubicBezTo>
                      <a:pt x="1206" y="801"/>
                      <a:pt x="1206" y="801"/>
                      <a:pt x="1206" y="801"/>
                    </a:cubicBezTo>
                    <a:cubicBezTo>
                      <a:pt x="1211" y="796"/>
                      <a:pt x="1211" y="796"/>
                      <a:pt x="1211" y="796"/>
                    </a:cubicBezTo>
                    <a:cubicBezTo>
                      <a:pt x="1213" y="796"/>
                      <a:pt x="1213" y="796"/>
                      <a:pt x="1213" y="796"/>
                    </a:cubicBezTo>
                    <a:cubicBezTo>
                      <a:pt x="1215" y="798"/>
                      <a:pt x="1215" y="798"/>
                      <a:pt x="1215" y="798"/>
                    </a:cubicBezTo>
                    <a:cubicBezTo>
                      <a:pt x="1218" y="797"/>
                      <a:pt x="1218" y="797"/>
                      <a:pt x="1218" y="797"/>
                    </a:cubicBezTo>
                    <a:cubicBezTo>
                      <a:pt x="1219" y="797"/>
                      <a:pt x="1219" y="797"/>
                      <a:pt x="1219" y="797"/>
                    </a:cubicBezTo>
                    <a:cubicBezTo>
                      <a:pt x="1214" y="794"/>
                      <a:pt x="1214" y="794"/>
                      <a:pt x="1214" y="794"/>
                    </a:cubicBezTo>
                    <a:cubicBezTo>
                      <a:pt x="1214" y="792"/>
                      <a:pt x="1214" y="792"/>
                      <a:pt x="1214" y="792"/>
                    </a:cubicBezTo>
                    <a:cubicBezTo>
                      <a:pt x="1221" y="786"/>
                      <a:pt x="1221" y="786"/>
                      <a:pt x="1221" y="786"/>
                    </a:cubicBezTo>
                    <a:cubicBezTo>
                      <a:pt x="1222" y="784"/>
                      <a:pt x="1222" y="784"/>
                      <a:pt x="1222" y="784"/>
                    </a:cubicBezTo>
                    <a:cubicBezTo>
                      <a:pt x="1224" y="782"/>
                      <a:pt x="1224" y="782"/>
                      <a:pt x="1224" y="782"/>
                    </a:cubicBezTo>
                    <a:cubicBezTo>
                      <a:pt x="1230" y="784"/>
                      <a:pt x="1230" y="784"/>
                      <a:pt x="1230" y="784"/>
                    </a:cubicBezTo>
                    <a:cubicBezTo>
                      <a:pt x="1235" y="782"/>
                      <a:pt x="1235" y="782"/>
                      <a:pt x="1235" y="782"/>
                    </a:cubicBezTo>
                    <a:cubicBezTo>
                      <a:pt x="1236" y="779"/>
                      <a:pt x="1236" y="779"/>
                      <a:pt x="1236" y="779"/>
                    </a:cubicBezTo>
                    <a:cubicBezTo>
                      <a:pt x="1234" y="776"/>
                      <a:pt x="1234" y="776"/>
                      <a:pt x="1234" y="776"/>
                    </a:cubicBezTo>
                    <a:cubicBezTo>
                      <a:pt x="1236" y="773"/>
                      <a:pt x="1236" y="773"/>
                      <a:pt x="1236" y="773"/>
                    </a:cubicBezTo>
                    <a:cubicBezTo>
                      <a:pt x="1237" y="766"/>
                      <a:pt x="1237" y="766"/>
                      <a:pt x="1237" y="766"/>
                    </a:cubicBezTo>
                    <a:cubicBezTo>
                      <a:pt x="1237" y="765"/>
                      <a:pt x="1237" y="765"/>
                      <a:pt x="1237" y="765"/>
                    </a:cubicBezTo>
                    <a:cubicBezTo>
                      <a:pt x="1236" y="764"/>
                      <a:pt x="1236" y="764"/>
                      <a:pt x="1236" y="764"/>
                    </a:cubicBezTo>
                    <a:cubicBezTo>
                      <a:pt x="1236" y="761"/>
                      <a:pt x="1236" y="761"/>
                      <a:pt x="1236" y="761"/>
                    </a:cubicBezTo>
                    <a:cubicBezTo>
                      <a:pt x="1238" y="758"/>
                      <a:pt x="1238" y="758"/>
                      <a:pt x="1238" y="758"/>
                    </a:cubicBezTo>
                    <a:cubicBezTo>
                      <a:pt x="1238" y="754"/>
                      <a:pt x="1238" y="754"/>
                      <a:pt x="1238" y="754"/>
                    </a:cubicBezTo>
                    <a:cubicBezTo>
                      <a:pt x="1236" y="754"/>
                      <a:pt x="1236" y="754"/>
                      <a:pt x="1236" y="754"/>
                    </a:cubicBezTo>
                    <a:cubicBezTo>
                      <a:pt x="1235" y="752"/>
                      <a:pt x="1235" y="752"/>
                      <a:pt x="1235" y="752"/>
                    </a:cubicBezTo>
                    <a:cubicBezTo>
                      <a:pt x="1237" y="747"/>
                      <a:pt x="1237" y="747"/>
                      <a:pt x="1237" y="747"/>
                    </a:cubicBezTo>
                    <a:cubicBezTo>
                      <a:pt x="1240" y="747"/>
                      <a:pt x="1240" y="747"/>
                      <a:pt x="1240" y="747"/>
                    </a:cubicBezTo>
                    <a:cubicBezTo>
                      <a:pt x="1240" y="744"/>
                      <a:pt x="1240" y="744"/>
                      <a:pt x="1240" y="744"/>
                    </a:cubicBezTo>
                    <a:cubicBezTo>
                      <a:pt x="1242" y="741"/>
                      <a:pt x="1242" y="741"/>
                      <a:pt x="1242" y="741"/>
                    </a:cubicBezTo>
                    <a:cubicBezTo>
                      <a:pt x="1242" y="739"/>
                      <a:pt x="1242" y="739"/>
                      <a:pt x="1242" y="739"/>
                    </a:cubicBezTo>
                    <a:cubicBezTo>
                      <a:pt x="1240" y="739"/>
                      <a:pt x="1240" y="739"/>
                      <a:pt x="1240" y="739"/>
                    </a:cubicBezTo>
                    <a:cubicBezTo>
                      <a:pt x="1238" y="741"/>
                      <a:pt x="1238" y="741"/>
                      <a:pt x="1238" y="741"/>
                    </a:cubicBezTo>
                    <a:cubicBezTo>
                      <a:pt x="1238" y="743"/>
                      <a:pt x="1238" y="743"/>
                      <a:pt x="1238" y="743"/>
                    </a:cubicBezTo>
                    <a:cubicBezTo>
                      <a:pt x="1236" y="744"/>
                      <a:pt x="1236" y="744"/>
                      <a:pt x="1236" y="744"/>
                    </a:cubicBezTo>
                    <a:cubicBezTo>
                      <a:pt x="1236" y="742"/>
                      <a:pt x="1236" y="742"/>
                      <a:pt x="1236" y="742"/>
                    </a:cubicBezTo>
                    <a:cubicBezTo>
                      <a:pt x="1236" y="738"/>
                      <a:pt x="1236" y="738"/>
                      <a:pt x="1236" y="738"/>
                    </a:cubicBezTo>
                    <a:cubicBezTo>
                      <a:pt x="1235" y="737"/>
                      <a:pt x="1235" y="737"/>
                      <a:pt x="1235" y="737"/>
                    </a:cubicBezTo>
                    <a:cubicBezTo>
                      <a:pt x="1227" y="737"/>
                      <a:pt x="1227" y="737"/>
                      <a:pt x="1227" y="737"/>
                    </a:cubicBezTo>
                    <a:cubicBezTo>
                      <a:pt x="1225" y="735"/>
                      <a:pt x="1225" y="735"/>
                      <a:pt x="1225" y="735"/>
                    </a:cubicBezTo>
                    <a:cubicBezTo>
                      <a:pt x="1225" y="733"/>
                      <a:pt x="1225" y="733"/>
                      <a:pt x="1225" y="733"/>
                    </a:cubicBezTo>
                    <a:cubicBezTo>
                      <a:pt x="1231" y="731"/>
                      <a:pt x="1231" y="731"/>
                      <a:pt x="1231" y="731"/>
                    </a:cubicBezTo>
                    <a:cubicBezTo>
                      <a:pt x="1230" y="730"/>
                      <a:pt x="1230" y="730"/>
                      <a:pt x="1230" y="730"/>
                    </a:cubicBezTo>
                    <a:cubicBezTo>
                      <a:pt x="1227" y="728"/>
                      <a:pt x="1227" y="728"/>
                      <a:pt x="1227" y="728"/>
                    </a:cubicBezTo>
                    <a:cubicBezTo>
                      <a:pt x="1229" y="725"/>
                      <a:pt x="1229" y="725"/>
                      <a:pt x="1229" y="725"/>
                    </a:cubicBezTo>
                    <a:cubicBezTo>
                      <a:pt x="1229" y="722"/>
                      <a:pt x="1229" y="722"/>
                      <a:pt x="1229" y="722"/>
                    </a:cubicBezTo>
                    <a:cubicBezTo>
                      <a:pt x="1225" y="719"/>
                      <a:pt x="1225" y="719"/>
                      <a:pt x="1225" y="719"/>
                    </a:cubicBezTo>
                    <a:cubicBezTo>
                      <a:pt x="1224" y="720"/>
                      <a:pt x="1224" y="720"/>
                      <a:pt x="1224" y="720"/>
                    </a:cubicBezTo>
                    <a:cubicBezTo>
                      <a:pt x="1223" y="722"/>
                      <a:pt x="1223" y="722"/>
                      <a:pt x="1223" y="722"/>
                    </a:cubicBezTo>
                    <a:cubicBezTo>
                      <a:pt x="1225" y="724"/>
                      <a:pt x="1225" y="724"/>
                      <a:pt x="1225" y="724"/>
                    </a:cubicBezTo>
                    <a:cubicBezTo>
                      <a:pt x="1224" y="726"/>
                      <a:pt x="1224" y="726"/>
                      <a:pt x="1224" y="726"/>
                    </a:cubicBezTo>
                    <a:cubicBezTo>
                      <a:pt x="1219" y="727"/>
                      <a:pt x="1219" y="727"/>
                      <a:pt x="1219" y="727"/>
                    </a:cubicBezTo>
                    <a:cubicBezTo>
                      <a:pt x="1218" y="724"/>
                      <a:pt x="1218" y="724"/>
                      <a:pt x="1218" y="724"/>
                    </a:cubicBezTo>
                    <a:cubicBezTo>
                      <a:pt x="1216" y="723"/>
                      <a:pt x="1216" y="723"/>
                      <a:pt x="1216" y="723"/>
                    </a:cubicBezTo>
                    <a:cubicBezTo>
                      <a:pt x="1215" y="719"/>
                      <a:pt x="1215" y="719"/>
                      <a:pt x="1215" y="719"/>
                    </a:cubicBezTo>
                    <a:cubicBezTo>
                      <a:pt x="1218" y="716"/>
                      <a:pt x="1218" y="716"/>
                      <a:pt x="1218" y="716"/>
                    </a:cubicBezTo>
                    <a:cubicBezTo>
                      <a:pt x="1217" y="714"/>
                      <a:pt x="1217" y="714"/>
                      <a:pt x="1217" y="714"/>
                    </a:cubicBezTo>
                    <a:cubicBezTo>
                      <a:pt x="1212" y="714"/>
                      <a:pt x="1212" y="714"/>
                      <a:pt x="1212" y="714"/>
                    </a:cubicBezTo>
                    <a:cubicBezTo>
                      <a:pt x="1213" y="713"/>
                      <a:pt x="1213" y="713"/>
                      <a:pt x="1213" y="713"/>
                    </a:cubicBezTo>
                    <a:cubicBezTo>
                      <a:pt x="1217" y="712"/>
                      <a:pt x="1217" y="712"/>
                      <a:pt x="1217" y="712"/>
                    </a:cubicBezTo>
                    <a:cubicBezTo>
                      <a:pt x="1217" y="710"/>
                      <a:pt x="1217" y="710"/>
                      <a:pt x="1217" y="710"/>
                    </a:cubicBezTo>
                    <a:cubicBezTo>
                      <a:pt x="1215" y="710"/>
                      <a:pt x="1215" y="710"/>
                      <a:pt x="1215" y="710"/>
                    </a:cubicBezTo>
                    <a:cubicBezTo>
                      <a:pt x="1217" y="708"/>
                      <a:pt x="1217" y="708"/>
                      <a:pt x="1217" y="708"/>
                    </a:cubicBezTo>
                    <a:cubicBezTo>
                      <a:pt x="1220" y="707"/>
                      <a:pt x="1220" y="707"/>
                      <a:pt x="1220" y="707"/>
                    </a:cubicBezTo>
                    <a:cubicBezTo>
                      <a:pt x="1220" y="705"/>
                      <a:pt x="1220" y="705"/>
                      <a:pt x="1220" y="705"/>
                    </a:cubicBezTo>
                    <a:cubicBezTo>
                      <a:pt x="1218" y="704"/>
                      <a:pt x="1218" y="704"/>
                      <a:pt x="1218" y="704"/>
                    </a:cubicBezTo>
                    <a:cubicBezTo>
                      <a:pt x="1215" y="706"/>
                      <a:pt x="1215" y="706"/>
                      <a:pt x="1215" y="706"/>
                    </a:cubicBezTo>
                    <a:cubicBezTo>
                      <a:pt x="1212" y="710"/>
                      <a:pt x="1212" y="710"/>
                      <a:pt x="1212" y="710"/>
                    </a:cubicBezTo>
                    <a:cubicBezTo>
                      <a:pt x="1210" y="712"/>
                      <a:pt x="1210" y="712"/>
                      <a:pt x="1210" y="712"/>
                    </a:cubicBezTo>
                    <a:cubicBezTo>
                      <a:pt x="1208" y="711"/>
                      <a:pt x="1208" y="711"/>
                      <a:pt x="1208" y="711"/>
                    </a:cubicBezTo>
                    <a:cubicBezTo>
                      <a:pt x="1208" y="706"/>
                      <a:pt x="1208" y="706"/>
                      <a:pt x="1208" y="706"/>
                    </a:cubicBezTo>
                    <a:cubicBezTo>
                      <a:pt x="1206" y="708"/>
                      <a:pt x="1206" y="708"/>
                      <a:pt x="1206" y="708"/>
                    </a:cubicBezTo>
                    <a:cubicBezTo>
                      <a:pt x="1204" y="711"/>
                      <a:pt x="1204" y="711"/>
                      <a:pt x="1204" y="711"/>
                    </a:cubicBezTo>
                    <a:cubicBezTo>
                      <a:pt x="1201" y="711"/>
                      <a:pt x="1201" y="711"/>
                      <a:pt x="1201" y="711"/>
                    </a:cubicBezTo>
                    <a:cubicBezTo>
                      <a:pt x="1199" y="712"/>
                      <a:pt x="1199" y="712"/>
                      <a:pt x="1199" y="712"/>
                    </a:cubicBezTo>
                    <a:cubicBezTo>
                      <a:pt x="1195" y="712"/>
                      <a:pt x="1195" y="712"/>
                      <a:pt x="1195" y="712"/>
                    </a:cubicBezTo>
                    <a:cubicBezTo>
                      <a:pt x="1193" y="713"/>
                      <a:pt x="1193" y="713"/>
                      <a:pt x="1193" y="713"/>
                    </a:cubicBezTo>
                    <a:cubicBezTo>
                      <a:pt x="1192" y="714"/>
                      <a:pt x="1192" y="714"/>
                      <a:pt x="1192" y="714"/>
                    </a:cubicBezTo>
                    <a:cubicBezTo>
                      <a:pt x="1190" y="714"/>
                      <a:pt x="1190" y="714"/>
                      <a:pt x="1190" y="714"/>
                    </a:cubicBezTo>
                    <a:cubicBezTo>
                      <a:pt x="1190" y="713"/>
                      <a:pt x="1190" y="713"/>
                      <a:pt x="1190" y="713"/>
                    </a:cubicBezTo>
                    <a:cubicBezTo>
                      <a:pt x="1192" y="710"/>
                      <a:pt x="1192" y="710"/>
                      <a:pt x="1192" y="710"/>
                    </a:cubicBezTo>
                    <a:cubicBezTo>
                      <a:pt x="1192" y="708"/>
                      <a:pt x="1192" y="708"/>
                      <a:pt x="1192" y="708"/>
                    </a:cubicBezTo>
                    <a:cubicBezTo>
                      <a:pt x="1190" y="708"/>
                      <a:pt x="1190" y="708"/>
                      <a:pt x="1190" y="708"/>
                    </a:cubicBezTo>
                    <a:cubicBezTo>
                      <a:pt x="1193" y="704"/>
                      <a:pt x="1193" y="704"/>
                      <a:pt x="1193" y="704"/>
                    </a:cubicBezTo>
                    <a:cubicBezTo>
                      <a:pt x="1195" y="703"/>
                      <a:pt x="1195" y="703"/>
                      <a:pt x="1195" y="703"/>
                    </a:cubicBezTo>
                    <a:cubicBezTo>
                      <a:pt x="1197" y="704"/>
                      <a:pt x="1197" y="704"/>
                      <a:pt x="1197" y="704"/>
                    </a:cubicBezTo>
                    <a:cubicBezTo>
                      <a:pt x="1199" y="706"/>
                      <a:pt x="1199" y="706"/>
                      <a:pt x="1199" y="706"/>
                    </a:cubicBezTo>
                    <a:cubicBezTo>
                      <a:pt x="1201" y="705"/>
                      <a:pt x="1201" y="705"/>
                      <a:pt x="1201" y="705"/>
                    </a:cubicBezTo>
                    <a:cubicBezTo>
                      <a:pt x="1203" y="704"/>
                      <a:pt x="1203" y="704"/>
                      <a:pt x="1203" y="704"/>
                    </a:cubicBezTo>
                    <a:cubicBezTo>
                      <a:pt x="1206" y="702"/>
                      <a:pt x="1206" y="702"/>
                      <a:pt x="1206" y="702"/>
                    </a:cubicBezTo>
                    <a:cubicBezTo>
                      <a:pt x="1207" y="698"/>
                      <a:pt x="1207" y="698"/>
                      <a:pt x="1207" y="698"/>
                    </a:cubicBezTo>
                    <a:cubicBezTo>
                      <a:pt x="1206" y="696"/>
                      <a:pt x="1206" y="696"/>
                      <a:pt x="1206" y="696"/>
                    </a:cubicBezTo>
                    <a:cubicBezTo>
                      <a:pt x="1204" y="694"/>
                      <a:pt x="1204" y="694"/>
                      <a:pt x="1204" y="694"/>
                    </a:cubicBezTo>
                    <a:cubicBezTo>
                      <a:pt x="1200" y="693"/>
                      <a:pt x="1200" y="693"/>
                      <a:pt x="1200" y="693"/>
                    </a:cubicBezTo>
                    <a:cubicBezTo>
                      <a:pt x="1199" y="690"/>
                      <a:pt x="1199" y="690"/>
                      <a:pt x="1199" y="690"/>
                    </a:cubicBezTo>
                    <a:cubicBezTo>
                      <a:pt x="1198" y="688"/>
                      <a:pt x="1198" y="688"/>
                      <a:pt x="1198" y="688"/>
                    </a:cubicBezTo>
                    <a:cubicBezTo>
                      <a:pt x="1197" y="686"/>
                      <a:pt x="1197" y="686"/>
                      <a:pt x="1197" y="686"/>
                    </a:cubicBezTo>
                    <a:cubicBezTo>
                      <a:pt x="1197" y="684"/>
                      <a:pt x="1197" y="684"/>
                      <a:pt x="1197" y="684"/>
                    </a:cubicBezTo>
                    <a:cubicBezTo>
                      <a:pt x="1194" y="684"/>
                      <a:pt x="1194" y="684"/>
                      <a:pt x="1194" y="684"/>
                    </a:cubicBezTo>
                    <a:cubicBezTo>
                      <a:pt x="1193" y="683"/>
                      <a:pt x="1193" y="683"/>
                      <a:pt x="1193" y="683"/>
                    </a:cubicBezTo>
                    <a:cubicBezTo>
                      <a:pt x="1191" y="681"/>
                      <a:pt x="1191" y="681"/>
                      <a:pt x="1191" y="681"/>
                    </a:cubicBezTo>
                    <a:cubicBezTo>
                      <a:pt x="1190" y="679"/>
                      <a:pt x="1190" y="679"/>
                      <a:pt x="1190" y="679"/>
                    </a:cubicBezTo>
                    <a:cubicBezTo>
                      <a:pt x="1193" y="678"/>
                      <a:pt x="1193" y="678"/>
                      <a:pt x="1193" y="678"/>
                    </a:cubicBezTo>
                    <a:cubicBezTo>
                      <a:pt x="1194" y="680"/>
                      <a:pt x="1194" y="680"/>
                      <a:pt x="1194" y="680"/>
                    </a:cubicBezTo>
                    <a:cubicBezTo>
                      <a:pt x="1196" y="679"/>
                      <a:pt x="1196" y="679"/>
                      <a:pt x="1196" y="679"/>
                    </a:cubicBezTo>
                    <a:cubicBezTo>
                      <a:pt x="1197" y="677"/>
                      <a:pt x="1197" y="677"/>
                      <a:pt x="1197" y="677"/>
                    </a:cubicBezTo>
                    <a:cubicBezTo>
                      <a:pt x="1200" y="675"/>
                      <a:pt x="1200" y="675"/>
                      <a:pt x="1200" y="675"/>
                    </a:cubicBezTo>
                    <a:cubicBezTo>
                      <a:pt x="1195" y="674"/>
                      <a:pt x="1195" y="674"/>
                      <a:pt x="1195" y="674"/>
                    </a:cubicBezTo>
                    <a:cubicBezTo>
                      <a:pt x="1193" y="672"/>
                      <a:pt x="1193" y="672"/>
                      <a:pt x="1193" y="672"/>
                    </a:cubicBezTo>
                    <a:cubicBezTo>
                      <a:pt x="1191" y="672"/>
                      <a:pt x="1191" y="672"/>
                      <a:pt x="1191" y="672"/>
                    </a:cubicBezTo>
                    <a:cubicBezTo>
                      <a:pt x="1190" y="671"/>
                      <a:pt x="1190" y="671"/>
                      <a:pt x="1190" y="671"/>
                    </a:cubicBezTo>
                    <a:cubicBezTo>
                      <a:pt x="1187" y="670"/>
                      <a:pt x="1187" y="670"/>
                      <a:pt x="1187" y="670"/>
                    </a:cubicBezTo>
                    <a:cubicBezTo>
                      <a:pt x="1186" y="673"/>
                      <a:pt x="1186" y="673"/>
                      <a:pt x="1186" y="673"/>
                    </a:cubicBezTo>
                    <a:cubicBezTo>
                      <a:pt x="1184" y="673"/>
                      <a:pt x="1184" y="673"/>
                      <a:pt x="1184" y="673"/>
                    </a:cubicBezTo>
                    <a:cubicBezTo>
                      <a:pt x="1184" y="671"/>
                      <a:pt x="1184" y="671"/>
                      <a:pt x="1184" y="671"/>
                    </a:cubicBezTo>
                    <a:cubicBezTo>
                      <a:pt x="1187" y="666"/>
                      <a:pt x="1187" y="666"/>
                      <a:pt x="1187" y="666"/>
                    </a:cubicBezTo>
                    <a:cubicBezTo>
                      <a:pt x="1190" y="661"/>
                      <a:pt x="1190" y="661"/>
                      <a:pt x="1190" y="661"/>
                    </a:cubicBezTo>
                    <a:cubicBezTo>
                      <a:pt x="1191" y="659"/>
                      <a:pt x="1191" y="659"/>
                      <a:pt x="1191" y="659"/>
                    </a:cubicBezTo>
                    <a:cubicBezTo>
                      <a:pt x="1193" y="654"/>
                      <a:pt x="1193" y="654"/>
                      <a:pt x="1193" y="654"/>
                    </a:cubicBezTo>
                    <a:cubicBezTo>
                      <a:pt x="1193" y="651"/>
                      <a:pt x="1193" y="651"/>
                      <a:pt x="1193" y="651"/>
                    </a:cubicBezTo>
                    <a:cubicBezTo>
                      <a:pt x="1194" y="649"/>
                      <a:pt x="1194" y="649"/>
                      <a:pt x="1194" y="649"/>
                    </a:cubicBezTo>
                    <a:cubicBezTo>
                      <a:pt x="1193" y="647"/>
                      <a:pt x="1193" y="647"/>
                      <a:pt x="1193" y="647"/>
                    </a:cubicBezTo>
                    <a:cubicBezTo>
                      <a:pt x="1189" y="649"/>
                      <a:pt x="1189" y="649"/>
                      <a:pt x="1189" y="649"/>
                    </a:cubicBezTo>
                    <a:cubicBezTo>
                      <a:pt x="1187" y="647"/>
                      <a:pt x="1187" y="647"/>
                      <a:pt x="1187" y="647"/>
                    </a:cubicBezTo>
                    <a:cubicBezTo>
                      <a:pt x="1186" y="648"/>
                      <a:pt x="1186" y="648"/>
                      <a:pt x="1186" y="648"/>
                    </a:cubicBezTo>
                    <a:cubicBezTo>
                      <a:pt x="1186" y="650"/>
                      <a:pt x="1186" y="650"/>
                      <a:pt x="1186" y="650"/>
                    </a:cubicBezTo>
                    <a:cubicBezTo>
                      <a:pt x="1183" y="650"/>
                      <a:pt x="1183" y="650"/>
                      <a:pt x="1183" y="650"/>
                    </a:cubicBezTo>
                    <a:cubicBezTo>
                      <a:pt x="1179" y="645"/>
                      <a:pt x="1179" y="645"/>
                      <a:pt x="1179" y="645"/>
                    </a:cubicBezTo>
                    <a:cubicBezTo>
                      <a:pt x="1178" y="642"/>
                      <a:pt x="1178" y="642"/>
                      <a:pt x="1178" y="642"/>
                    </a:cubicBezTo>
                    <a:cubicBezTo>
                      <a:pt x="1177" y="640"/>
                      <a:pt x="1177" y="640"/>
                      <a:pt x="1177" y="640"/>
                    </a:cubicBezTo>
                    <a:cubicBezTo>
                      <a:pt x="1175" y="639"/>
                      <a:pt x="1175" y="639"/>
                      <a:pt x="1175" y="639"/>
                    </a:cubicBezTo>
                    <a:cubicBezTo>
                      <a:pt x="1176" y="635"/>
                      <a:pt x="1176" y="635"/>
                      <a:pt x="1176" y="635"/>
                    </a:cubicBezTo>
                    <a:cubicBezTo>
                      <a:pt x="1179" y="634"/>
                      <a:pt x="1179" y="634"/>
                      <a:pt x="1179" y="634"/>
                    </a:cubicBezTo>
                    <a:cubicBezTo>
                      <a:pt x="1180" y="632"/>
                      <a:pt x="1180" y="632"/>
                      <a:pt x="1180" y="632"/>
                    </a:cubicBezTo>
                    <a:cubicBezTo>
                      <a:pt x="1179" y="630"/>
                      <a:pt x="1179" y="630"/>
                      <a:pt x="1179" y="630"/>
                    </a:cubicBezTo>
                    <a:cubicBezTo>
                      <a:pt x="1179" y="626"/>
                      <a:pt x="1179" y="626"/>
                      <a:pt x="1179" y="626"/>
                    </a:cubicBezTo>
                    <a:cubicBezTo>
                      <a:pt x="1176" y="627"/>
                      <a:pt x="1176" y="627"/>
                      <a:pt x="1176" y="627"/>
                    </a:cubicBezTo>
                    <a:cubicBezTo>
                      <a:pt x="1174" y="629"/>
                      <a:pt x="1174" y="629"/>
                      <a:pt x="1174" y="629"/>
                    </a:cubicBezTo>
                    <a:cubicBezTo>
                      <a:pt x="1174" y="634"/>
                      <a:pt x="1174" y="634"/>
                      <a:pt x="1174" y="634"/>
                    </a:cubicBezTo>
                    <a:cubicBezTo>
                      <a:pt x="1172" y="637"/>
                      <a:pt x="1172" y="637"/>
                      <a:pt x="1172" y="637"/>
                    </a:cubicBezTo>
                    <a:cubicBezTo>
                      <a:pt x="1171" y="634"/>
                      <a:pt x="1171" y="634"/>
                      <a:pt x="1171" y="634"/>
                    </a:cubicBezTo>
                    <a:cubicBezTo>
                      <a:pt x="1169" y="632"/>
                      <a:pt x="1169" y="632"/>
                      <a:pt x="1169" y="632"/>
                    </a:cubicBezTo>
                    <a:cubicBezTo>
                      <a:pt x="1169" y="633"/>
                      <a:pt x="1169" y="633"/>
                      <a:pt x="1169" y="633"/>
                    </a:cubicBezTo>
                    <a:cubicBezTo>
                      <a:pt x="1168" y="635"/>
                      <a:pt x="1168" y="635"/>
                      <a:pt x="1168" y="635"/>
                    </a:cubicBezTo>
                    <a:cubicBezTo>
                      <a:pt x="1166" y="636"/>
                      <a:pt x="1166" y="636"/>
                      <a:pt x="1166" y="636"/>
                    </a:cubicBezTo>
                    <a:cubicBezTo>
                      <a:pt x="1166" y="640"/>
                      <a:pt x="1166" y="640"/>
                      <a:pt x="1166" y="640"/>
                    </a:cubicBezTo>
                    <a:cubicBezTo>
                      <a:pt x="1169" y="644"/>
                      <a:pt x="1169" y="644"/>
                      <a:pt x="1169" y="644"/>
                    </a:cubicBezTo>
                    <a:cubicBezTo>
                      <a:pt x="1171" y="644"/>
                      <a:pt x="1171" y="644"/>
                      <a:pt x="1171" y="644"/>
                    </a:cubicBezTo>
                    <a:cubicBezTo>
                      <a:pt x="1174" y="650"/>
                      <a:pt x="1174" y="650"/>
                      <a:pt x="1174" y="650"/>
                    </a:cubicBezTo>
                    <a:cubicBezTo>
                      <a:pt x="1176" y="652"/>
                      <a:pt x="1176" y="652"/>
                      <a:pt x="1176" y="652"/>
                    </a:cubicBezTo>
                    <a:cubicBezTo>
                      <a:pt x="1175" y="656"/>
                      <a:pt x="1175" y="656"/>
                      <a:pt x="1175" y="656"/>
                    </a:cubicBezTo>
                    <a:cubicBezTo>
                      <a:pt x="1174" y="659"/>
                      <a:pt x="1174" y="659"/>
                      <a:pt x="1174" y="659"/>
                    </a:cubicBezTo>
                    <a:cubicBezTo>
                      <a:pt x="1172" y="662"/>
                      <a:pt x="1172" y="662"/>
                      <a:pt x="1172" y="662"/>
                    </a:cubicBezTo>
                    <a:cubicBezTo>
                      <a:pt x="1169" y="664"/>
                      <a:pt x="1169" y="664"/>
                      <a:pt x="1169" y="664"/>
                    </a:cubicBezTo>
                    <a:cubicBezTo>
                      <a:pt x="1161" y="664"/>
                      <a:pt x="1161" y="664"/>
                      <a:pt x="1161" y="664"/>
                    </a:cubicBezTo>
                    <a:cubicBezTo>
                      <a:pt x="1160" y="663"/>
                      <a:pt x="1160" y="663"/>
                      <a:pt x="1160" y="663"/>
                    </a:cubicBezTo>
                    <a:cubicBezTo>
                      <a:pt x="1156" y="663"/>
                      <a:pt x="1156" y="663"/>
                      <a:pt x="1156" y="663"/>
                    </a:cubicBezTo>
                    <a:cubicBezTo>
                      <a:pt x="1153" y="661"/>
                      <a:pt x="1153" y="661"/>
                      <a:pt x="1153" y="661"/>
                    </a:cubicBezTo>
                    <a:cubicBezTo>
                      <a:pt x="1153" y="660"/>
                      <a:pt x="1153" y="660"/>
                      <a:pt x="1153" y="660"/>
                    </a:cubicBezTo>
                    <a:cubicBezTo>
                      <a:pt x="1153" y="656"/>
                      <a:pt x="1153" y="656"/>
                      <a:pt x="1153" y="656"/>
                    </a:cubicBezTo>
                    <a:cubicBezTo>
                      <a:pt x="1147" y="656"/>
                      <a:pt x="1147" y="656"/>
                      <a:pt x="1147" y="656"/>
                    </a:cubicBezTo>
                    <a:cubicBezTo>
                      <a:pt x="1141" y="653"/>
                      <a:pt x="1141" y="653"/>
                      <a:pt x="1141" y="653"/>
                    </a:cubicBezTo>
                    <a:cubicBezTo>
                      <a:pt x="1136" y="653"/>
                      <a:pt x="1136" y="653"/>
                      <a:pt x="1136" y="653"/>
                    </a:cubicBezTo>
                    <a:cubicBezTo>
                      <a:pt x="1138" y="659"/>
                      <a:pt x="1138" y="659"/>
                      <a:pt x="1138" y="659"/>
                    </a:cubicBezTo>
                    <a:cubicBezTo>
                      <a:pt x="1140" y="663"/>
                      <a:pt x="1140" y="663"/>
                      <a:pt x="1140" y="663"/>
                    </a:cubicBezTo>
                    <a:cubicBezTo>
                      <a:pt x="1139" y="664"/>
                      <a:pt x="1139" y="664"/>
                      <a:pt x="1139" y="664"/>
                    </a:cubicBezTo>
                    <a:cubicBezTo>
                      <a:pt x="1136" y="664"/>
                      <a:pt x="1136" y="664"/>
                      <a:pt x="1136" y="664"/>
                    </a:cubicBezTo>
                    <a:cubicBezTo>
                      <a:pt x="1135" y="661"/>
                      <a:pt x="1135" y="661"/>
                      <a:pt x="1135" y="661"/>
                    </a:cubicBezTo>
                    <a:cubicBezTo>
                      <a:pt x="1131" y="657"/>
                      <a:pt x="1131" y="657"/>
                      <a:pt x="1131" y="657"/>
                    </a:cubicBezTo>
                    <a:cubicBezTo>
                      <a:pt x="1130" y="657"/>
                      <a:pt x="1130" y="657"/>
                      <a:pt x="1130" y="657"/>
                    </a:cubicBezTo>
                    <a:cubicBezTo>
                      <a:pt x="1129" y="654"/>
                      <a:pt x="1129" y="654"/>
                      <a:pt x="1129" y="654"/>
                    </a:cubicBezTo>
                    <a:cubicBezTo>
                      <a:pt x="1125" y="650"/>
                      <a:pt x="1125" y="650"/>
                      <a:pt x="1125" y="650"/>
                    </a:cubicBezTo>
                    <a:cubicBezTo>
                      <a:pt x="1123" y="647"/>
                      <a:pt x="1123" y="647"/>
                      <a:pt x="1123" y="647"/>
                    </a:cubicBezTo>
                    <a:cubicBezTo>
                      <a:pt x="1122" y="645"/>
                      <a:pt x="1122" y="645"/>
                      <a:pt x="1122" y="645"/>
                    </a:cubicBezTo>
                    <a:cubicBezTo>
                      <a:pt x="1119" y="645"/>
                      <a:pt x="1119" y="645"/>
                      <a:pt x="1119" y="645"/>
                    </a:cubicBezTo>
                    <a:cubicBezTo>
                      <a:pt x="1116" y="641"/>
                      <a:pt x="1116" y="641"/>
                      <a:pt x="1116" y="641"/>
                    </a:cubicBezTo>
                    <a:cubicBezTo>
                      <a:pt x="1114" y="640"/>
                      <a:pt x="1114" y="640"/>
                      <a:pt x="1114" y="640"/>
                    </a:cubicBezTo>
                    <a:cubicBezTo>
                      <a:pt x="1113" y="638"/>
                      <a:pt x="1113" y="638"/>
                      <a:pt x="1113" y="638"/>
                    </a:cubicBezTo>
                    <a:cubicBezTo>
                      <a:pt x="1110" y="637"/>
                      <a:pt x="1110" y="637"/>
                      <a:pt x="1110" y="637"/>
                    </a:cubicBezTo>
                    <a:cubicBezTo>
                      <a:pt x="1110" y="640"/>
                      <a:pt x="1110" y="640"/>
                      <a:pt x="1110" y="640"/>
                    </a:cubicBezTo>
                    <a:cubicBezTo>
                      <a:pt x="1118" y="645"/>
                      <a:pt x="1118" y="645"/>
                      <a:pt x="1118" y="645"/>
                    </a:cubicBezTo>
                    <a:cubicBezTo>
                      <a:pt x="1119" y="648"/>
                      <a:pt x="1119" y="648"/>
                      <a:pt x="1119" y="648"/>
                    </a:cubicBezTo>
                    <a:cubicBezTo>
                      <a:pt x="1122" y="651"/>
                      <a:pt x="1122" y="651"/>
                      <a:pt x="1122" y="651"/>
                    </a:cubicBezTo>
                    <a:cubicBezTo>
                      <a:pt x="1125" y="653"/>
                      <a:pt x="1125" y="653"/>
                      <a:pt x="1125" y="653"/>
                    </a:cubicBezTo>
                    <a:cubicBezTo>
                      <a:pt x="1126" y="656"/>
                      <a:pt x="1126" y="656"/>
                      <a:pt x="1126" y="656"/>
                    </a:cubicBezTo>
                    <a:cubicBezTo>
                      <a:pt x="1124" y="658"/>
                      <a:pt x="1124" y="658"/>
                      <a:pt x="1124" y="658"/>
                    </a:cubicBezTo>
                    <a:cubicBezTo>
                      <a:pt x="1123" y="657"/>
                      <a:pt x="1123" y="657"/>
                      <a:pt x="1123" y="657"/>
                    </a:cubicBezTo>
                    <a:cubicBezTo>
                      <a:pt x="1121" y="659"/>
                      <a:pt x="1121" y="659"/>
                      <a:pt x="1121" y="659"/>
                    </a:cubicBezTo>
                    <a:cubicBezTo>
                      <a:pt x="1115" y="655"/>
                      <a:pt x="1115" y="655"/>
                      <a:pt x="1115" y="655"/>
                    </a:cubicBezTo>
                    <a:cubicBezTo>
                      <a:pt x="1113" y="656"/>
                      <a:pt x="1113" y="656"/>
                      <a:pt x="1113" y="656"/>
                    </a:cubicBezTo>
                    <a:cubicBezTo>
                      <a:pt x="1112" y="653"/>
                      <a:pt x="1112" y="653"/>
                      <a:pt x="1112" y="653"/>
                    </a:cubicBezTo>
                    <a:cubicBezTo>
                      <a:pt x="1108" y="652"/>
                      <a:pt x="1108" y="652"/>
                      <a:pt x="1108" y="652"/>
                    </a:cubicBezTo>
                    <a:cubicBezTo>
                      <a:pt x="1107" y="649"/>
                      <a:pt x="1107" y="649"/>
                      <a:pt x="1107" y="649"/>
                    </a:cubicBezTo>
                    <a:cubicBezTo>
                      <a:pt x="1100" y="650"/>
                      <a:pt x="1100" y="650"/>
                      <a:pt x="1100" y="650"/>
                    </a:cubicBezTo>
                    <a:cubicBezTo>
                      <a:pt x="1097" y="651"/>
                      <a:pt x="1097" y="651"/>
                      <a:pt x="1097" y="651"/>
                    </a:cubicBezTo>
                    <a:cubicBezTo>
                      <a:pt x="1095" y="649"/>
                      <a:pt x="1095" y="649"/>
                      <a:pt x="1095" y="649"/>
                    </a:cubicBezTo>
                    <a:cubicBezTo>
                      <a:pt x="1090" y="648"/>
                      <a:pt x="1090" y="648"/>
                      <a:pt x="1090" y="648"/>
                    </a:cubicBezTo>
                    <a:cubicBezTo>
                      <a:pt x="1087" y="649"/>
                      <a:pt x="1087" y="649"/>
                      <a:pt x="1087" y="649"/>
                    </a:cubicBezTo>
                    <a:cubicBezTo>
                      <a:pt x="1085" y="646"/>
                      <a:pt x="1085" y="646"/>
                      <a:pt x="1085" y="646"/>
                    </a:cubicBezTo>
                    <a:cubicBezTo>
                      <a:pt x="1081" y="643"/>
                      <a:pt x="1081" y="643"/>
                      <a:pt x="1081" y="643"/>
                    </a:cubicBezTo>
                    <a:cubicBezTo>
                      <a:pt x="1080" y="641"/>
                      <a:pt x="1080" y="641"/>
                      <a:pt x="1080" y="641"/>
                    </a:cubicBezTo>
                    <a:cubicBezTo>
                      <a:pt x="1086" y="636"/>
                      <a:pt x="1086" y="636"/>
                      <a:pt x="1086" y="636"/>
                    </a:cubicBezTo>
                    <a:cubicBezTo>
                      <a:pt x="1088" y="635"/>
                      <a:pt x="1088" y="635"/>
                      <a:pt x="1088" y="635"/>
                    </a:cubicBezTo>
                    <a:cubicBezTo>
                      <a:pt x="1088" y="634"/>
                      <a:pt x="1088" y="634"/>
                      <a:pt x="1088" y="634"/>
                    </a:cubicBezTo>
                    <a:cubicBezTo>
                      <a:pt x="1085" y="634"/>
                      <a:pt x="1085" y="634"/>
                      <a:pt x="1085" y="634"/>
                    </a:cubicBezTo>
                    <a:cubicBezTo>
                      <a:pt x="1082" y="637"/>
                      <a:pt x="1082" y="637"/>
                      <a:pt x="1082" y="637"/>
                    </a:cubicBezTo>
                    <a:cubicBezTo>
                      <a:pt x="1079" y="640"/>
                      <a:pt x="1079" y="640"/>
                      <a:pt x="1079" y="640"/>
                    </a:cubicBezTo>
                    <a:cubicBezTo>
                      <a:pt x="1077" y="641"/>
                      <a:pt x="1077" y="641"/>
                      <a:pt x="1077" y="641"/>
                    </a:cubicBezTo>
                    <a:cubicBezTo>
                      <a:pt x="1074" y="638"/>
                      <a:pt x="1074" y="638"/>
                      <a:pt x="1074" y="638"/>
                    </a:cubicBezTo>
                    <a:cubicBezTo>
                      <a:pt x="1071" y="638"/>
                      <a:pt x="1071" y="638"/>
                      <a:pt x="1071" y="638"/>
                    </a:cubicBezTo>
                    <a:cubicBezTo>
                      <a:pt x="1069" y="638"/>
                      <a:pt x="1069" y="638"/>
                      <a:pt x="1069" y="638"/>
                    </a:cubicBezTo>
                    <a:cubicBezTo>
                      <a:pt x="1072" y="640"/>
                      <a:pt x="1072" y="640"/>
                      <a:pt x="1072" y="640"/>
                    </a:cubicBezTo>
                    <a:cubicBezTo>
                      <a:pt x="1071" y="642"/>
                      <a:pt x="1071" y="642"/>
                      <a:pt x="1071" y="642"/>
                    </a:cubicBezTo>
                    <a:cubicBezTo>
                      <a:pt x="1066" y="641"/>
                      <a:pt x="1066" y="641"/>
                      <a:pt x="1066" y="641"/>
                    </a:cubicBezTo>
                    <a:cubicBezTo>
                      <a:pt x="1061" y="637"/>
                      <a:pt x="1061" y="637"/>
                      <a:pt x="1061" y="637"/>
                    </a:cubicBezTo>
                    <a:cubicBezTo>
                      <a:pt x="1060" y="633"/>
                      <a:pt x="1060" y="633"/>
                      <a:pt x="1060" y="633"/>
                    </a:cubicBezTo>
                    <a:cubicBezTo>
                      <a:pt x="1057" y="630"/>
                      <a:pt x="1057" y="630"/>
                      <a:pt x="1057" y="630"/>
                    </a:cubicBezTo>
                    <a:cubicBezTo>
                      <a:pt x="1058" y="627"/>
                      <a:pt x="1058" y="627"/>
                      <a:pt x="1058" y="627"/>
                    </a:cubicBezTo>
                    <a:cubicBezTo>
                      <a:pt x="1064" y="624"/>
                      <a:pt x="1064" y="624"/>
                      <a:pt x="1064" y="624"/>
                    </a:cubicBezTo>
                    <a:cubicBezTo>
                      <a:pt x="1066" y="622"/>
                      <a:pt x="1066" y="622"/>
                      <a:pt x="1066" y="622"/>
                    </a:cubicBezTo>
                    <a:cubicBezTo>
                      <a:pt x="1064" y="621"/>
                      <a:pt x="1064" y="621"/>
                      <a:pt x="1064" y="621"/>
                    </a:cubicBezTo>
                    <a:cubicBezTo>
                      <a:pt x="1061" y="623"/>
                      <a:pt x="1061" y="623"/>
                      <a:pt x="1061" y="623"/>
                    </a:cubicBezTo>
                    <a:cubicBezTo>
                      <a:pt x="1057" y="623"/>
                      <a:pt x="1057" y="623"/>
                      <a:pt x="1057" y="623"/>
                    </a:cubicBezTo>
                    <a:cubicBezTo>
                      <a:pt x="1055" y="627"/>
                      <a:pt x="1055" y="627"/>
                      <a:pt x="1055" y="627"/>
                    </a:cubicBezTo>
                    <a:cubicBezTo>
                      <a:pt x="1053" y="628"/>
                      <a:pt x="1053" y="628"/>
                      <a:pt x="1053" y="628"/>
                    </a:cubicBezTo>
                    <a:cubicBezTo>
                      <a:pt x="1053" y="625"/>
                      <a:pt x="1053" y="625"/>
                      <a:pt x="1053" y="625"/>
                    </a:cubicBezTo>
                    <a:cubicBezTo>
                      <a:pt x="1053" y="622"/>
                      <a:pt x="1053" y="622"/>
                      <a:pt x="1053" y="622"/>
                    </a:cubicBezTo>
                    <a:cubicBezTo>
                      <a:pt x="1052" y="621"/>
                      <a:pt x="1052" y="621"/>
                      <a:pt x="1052" y="621"/>
                    </a:cubicBezTo>
                    <a:cubicBezTo>
                      <a:pt x="1050" y="621"/>
                      <a:pt x="1050" y="621"/>
                      <a:pt x="1050" y="621"/>
                    </a:cubicBezTo>
                    <a:cubicBezTo>
                      <a:pt x="1049" y="624"/>
                      <a:pt x="1049" y="624"/>
                      <a:pt x="1049" y="624"/>
                    </a:cubicBezTo>
                    <a:cubicBezTo>
                      <a:pt x="1050" y="625"/>
                      <a:pt x="1050" y="625"/>
                      <a:pt x="1050" y="625"/>
                    </a:cubicBezTo>
                    <a:cubicBezTo>
                      <a:pt x="1049" y="627"/>
                      <a:pt x="1049" y="627"/>
                      <a:pt x="1049" y="627"/>
                    </a:cubicBezTo>
                    <a:cubicBezTo>
                      <a:pt x="1046" y="627"/>
                      <a:pt x="1046" y="627"/>
                      <a:pt x="1046" y="627"/>
                    </a:cubicBezTo>
                    <a:cubicBezTo>
                      <a:pt x="1044" y="624"/>
                      <a:pt x="1044" y="624"/>
                      <a:pt x="1044" y="624"/>
                    </a:cubicBezTo>
                    <a:cubicBezTo>
                      <a:pt x="1041" y="623"/>
                      <a:pt x="1041" y="623"/>
                      <a:pt x="1041" y="623"/>
                    </a:cubicBezTo>
                    <a:cubicBezTo>
                      <a:pt x="1038" y="624"/>
                      <a:pt x="1038" y="624"/>
                      <a:pt x="1038" y="624"/>
                    </a:cubicBezTo>
                    <a:cubicBezTo>
                      <a:pt x="1038" y="626"/>
                      <a:pt x="1038" y="626"/>
                      <a:pt x="1038" y="626"/>
                    </a:cubicBezTo>
                    <a:cubicBezTo>
                      <a:pt x="1036" y="626"/>
                      <a:pt x="1036" y="626"/>
                      <a:pt x="1036" y="626"/>
                    </a:cubicBezTo>
                    <a:cubicBezTo>
                      <a:pt x="1033" y="624"/>
                      <a:pt x="1033" y="624"/>
                      <a:pt x="1033" y="624"/>
                    </a:cubicBezTo>
                    <a:cubicBezTo>
                      <a:pt x="1032" y="621"/>
                      <a:pt x="1032" y="621"/>
                      <a:pt x="1032" y="621"/>
                    </a:cubicBezTo>
                    <a:cubicBezTo>
                      <a:pt x="1033" y="621"/>
                      <a:pt x="1033" y="621"/>
                      <a:pt x="1033" y="621"/>
                    </a:cubicBezTo>
                    <a:cubicBezTo>
                      <a:pt x="1035" y="622"/>
                      <a:pt x="1035" y="622"/>
                      <a:pt x="1035" y="622"/>
                    </a:cubicBezTo>
                    <a:cubicBezTo>
                      <a:pt x="1035" y="621"/>
                      <a:pt x="1035" y="621"/>
                      <a:pt x="1035" y="621"/>
                    </a:cubicBezTo>
                    <a:cubicBezTo>
                      <a:pt x="1032" y="618"/>
                      <a:pt x="1032" y="618"/>
                      <a:pt x="1032" y="618"/>
                    </a:cubicBezTo>
                    <a:cubicBezTo>
                      <a:pt x="1027" y="615"/>
                      <a:pt x="1027" y="615"/>
                      <a:pt x="1027" y="615"/>
                    </a:cubicBezTo>
                    <a:cubicBezTo>
                      <a:pt x="1027" y="612"/>
                      <a:pt x="1027" y="612"/>
                      <a:pt x="1027" y="612"/>
                    </a:cubicBezTo>
                    <a:cubicBezTo>
                      <a:pt x="1027" y="608"/>
                      <a:pt x="1027" y="608"/>
                      <a:pt x="1027" y="608"/>
                    </a:cubicBezTo>
                    <a:cubicBezTo>
                      <a:pt x="1027" y="603"/>
                      <a:pt x="1027" y="603"/>
                      <a:pt x="1027" y="603"/>
                    </a:cubicBezTo>
                    <a:cubicBezTo>
                      <a:pt x="1025" y="598"/>
                      <a:pt x="1025" y="598"/>
                      <a:pt x="1025" y="598"/>
                    </a:cubicBezTo>
                    <a:cubicBezTo>
                      <a:pt x="1026" y="595"/>
                      <a:pt x="1026" y="595"/>
                      <a:pt x="1026" y="595"/>
                    </a:cubicBezTo>
                    <a:cubicBezTo>
                      <a:pt x="1028" y="595"/>
                      <a:pt x="1028" y="595"/>
                      <a:pt x="1028" y="595"/>
                    </a:cubicBezTo>
                    <a:cubicBezTo>
                      <a:pt x="1028" y="593"/>
                      <a:pt x="1028" y="593"/>
                      <a:pt x="1028" y="593"/>
                    </a:cubicBezTo>
                    <a:cubicBezTo>
                      <a:pt x="1027" y="589"/>
                      <a:pt x="1027" y="589"/>
                      <a:pt x="1027" y="589"/>
                    </a:cubicBezTo>
                    <a:cubicBezTo>
                      <a:pt x="1028" y="587"/>
                      <a:pt x="1028" y="587"/>
                      <a:pt x="1028" y="587"/>
                    </a:cubicBezTo>
                    <a:cubicBezTo>
                      <a:pt x="1031" y="588"/>
                      <a:pt x="1031" y="588"/>
                      <a:pt x="1031" y="588"/>
                    </a:cubicBezTo>
                    <a:cubicBezTo>
                      <a:pt x="1033" y="590"/>
                      <a:pt x="1033" y="590"/>
                      <a:pt x="1033" y="590"/>
                    </a:cubicBezTo>
                    <a:cubicBezTo>
                      <a:pt x="1039" y="590"/>
                      <a:pt x="1039" y="590"/>
                      <a:pt x="1039" y="590"/>
                    </a:cubicBezTo>
                    <a:cubicBezTo>
                      <a:pt x="1042" y="593"/>
                      <a:pt x="1042" y="593"/>
                      <a:pt x="1042" y="593"/>
                    </a:cubicBezTo>
                    <a:cubicBezTo>
                      <a:pt x="1043" y="596"/>
                      <a:pt x="1043" y="596"/>
                      <a:pt x="1043" y="596"/>
                    </a:cubicBezTo>
                    <a:cubicBezTo>
                      <a:pt x="1050" y="599"/>
                      <a:pt x="1050" y="599"/>
                      <a:pt x="1050" y="599"/>
                    </a:cubicBezTo>
                    <a:cubicBezTo>
                      <a:pt x="1056" y="599"/>
                      <a:pt x="1056" y="599"/>
                      <a:pt x="1056" y="599"/>
                    </a:cubicBezTo>
                    <a:cubicBezTo>
                      <a:pt x="1058" y="598"/>
                      <a:pt x="1058" y="598"/>
                      <a:pt x="1058" y="598"/>
                    </a:cubicBezTo>
                    <a:cubicBezTo>
                      <a:pt x="1063" y="598"/>
                      <a:pt x="1063" y="598"/>
                      <a:pt x="1063" y="598"/>
                    </a:cubicBezTo>
                    <a:cubicBezTo>
                      <a:pt x="1061" y="596"/>
                      <a:pt x="1061" y="596"/>
                      <a:pt x="1061" y="596"/>
                    </a:cubicBezTo>
                    <a:cubicBezTo>
                      <a:pt x="1060" y="594"/>
                      <a:pt x="1060" y="594"/>
                      <a:pt x="1060" y="594"/>
                    </a:cubicBezTo>
                    <a:cubicBezTo>
                      <a:pt x="1055" y="591"/>
                      <a:pt x="1055" y="591"/>
                      <a:pt x="1055" y="591"/>
                    </a:cubicBezTo>
                    <a:cubicBezTo>
                      <a:pt x="1055" y="586"/>
                      <a:pt x="1055" y="586"/>
                      <a:pt x="1055" y="586"/>
                    </a:cubicBezTo>
                    <a:cubicBezTo>
                      <a:pt x="1050" y="586"/>
                      <a:pt x="1050" y="586"/>
                      <a:pt x="1050" y="586"/>
                    </a:cubicBezTo>
                    <a:cubicBezTo>
                      <a:pt x="1046" y="583"/>
                      <a:pt x="1046" y="583"/>
                      <a:pt x="1046" y="583"/>
                    </a:cubicBezTo>
                    <a:cubicBezTo>
                      <a:pt x="1043" y="583"/>
                      <a:pt x="1043" y="583"/>
                      <a:pt x="1043" y="583"/>
                    </a:cubicBezTo>
                    <a:cubicBezTo>
                      <a:pt x="1038" y="580"/>
                      <a:pt x="1038" y="580"/>
                      <a:pt x="1038" y="580"/>
                    </a:cubicBezTo>
                    <a:cubicBezTo>
                      <a:pt x="1035" y="580"/>
                      <a:pt x="1035" y="580"/>
                      <a:pt x="1035" y="580"/>
                    </a:cubicBezTo>
                    <a:cubicBezTo>
                      <a:pt x="1028" y="577"/>
                      <a:pt x="1028" y="577"/>
                      <a:pt x="1028" y="577"/>
                    </a:cubicBezTo>
                    <a:cubicBezTo>
                      <a:pt x="1026" y="573"/>
                      <a:pt x="1026" y="573"/>
                      <a:pt x="1026" y="573"/>
                    </a:cubicBezTo>
                    <a:cubicBezTo>
                      <a:pt x="1027" y="567"/>
                      <a:pt x="1027" y="567"/>
                      <a:pt x="1027" y="567"/>
                    </a:cubicBezTo>
                    <a:cubicBezTo>
                      <a:pt x="1031" y="565"/>
                      <a:pt x="1031" y="565"/>
                      <a:pt x="1031" y="565"/>
                    </a:cubicBezTo>
                    <a:cubicBezTo>
                      <a:pt x="1030" y="563"/>
                      <a:pt x="1030" y="563"/>
                      <a:pt x="1030" y="563"/>
                    </a:cubicBezTo>
                    <a:cubicBezTo>
                      <a:pt x="1031" y="559"/>
                      <a:pt x="1031" y="559"/>
                      <a:pt x="1031" y="559"/>
                    </a:cubicBezTo>
                    <a:cubicBezTo>
                      <a:pt x="1035" y="559"/>
                      <a:pt x="1035" y="559"/>
                      <a:pt x="1035" y="559"/>
                    </a:cubicBezTo>
                    <a:cubicBezTo>
                      <a:pt x="1036" y="555"/>
                      <a:pt x="1036" y="555"/>
                      <a:pt x="1036" y="555"/>
                    </a:cubicBezTo>
                    <a:cubicBezTo>
                      <a:pt x="1036" y="548"/>
                      <a:pt x="1036" y="548"/>
                      <a:pt x="1036" y="548"/>
                    </a:cubicBezTo>
                    <a:cubicBezTo>
                      <a:pt x="1038" y="546"/>
                      <a:pt x="1038" y="546"/>
                      <a:pt x="1038" y="546"/>
                    </a:cubicBezTo>
                    <a:cubicBezTo>
                      <a:pt x="1040" y="545"/>
                      <a:pt x="1040" y="545"/>
                      <a:pt x="1040" y="545"/>
                    </a:cubicBezTo>
                    <a:cubicBezTo>
                      <a:pt x="1041" y="542"/>
                      <a:pt x="1041" y="542"/>
                      <a:pt x="1041" y="542"/>
                    </a:cubicBezTo>
                    <a:cubicBezTo>
                      <a:pt x="1047" y="539"/>
                      <a:pt x="1047" y="539"/>
                      <a:pt x="1047" y="539"/>
                    </a:cubicBezTo>
                    <a:cubicBezTo>
                      <a:pt x="1050" y="539"/>
                      <a:pt x="1050" y="539"/>
                      <a:pt x="1050" y="539"/>
                    </a:cubicBezTo>
                    <a:cubicBezTo>
                      <a:pt x="1050" y="536"/>
                      <a:pt x="1050" y="536"/>
                      <a:pt x="1050" y="536"/>
                    </a:cubicBezTo>
                    <a:cubicBezTo>
                      <a:pt x="1049" y="536"/>
                      <a:pt x="1049" y="536"/>
                      <a:pt x="1049" y="536"/>
                    </a:cubicBezTo>
                    <a:cubicBezTo>
                      <a:pt x="1047" y="537"/>
                      <a:pt x="1047" y="537"/>
                      <a:pt x="1047" y="537"/>
                    </a:cubicBezTo>
                    <a:cubicBezTo>
                      <a:pt x="1047" y="534"/>
                      <a:pt x="1047" y="534"/>
                      <a:pt x="1047" y="534"/>
                    </a:cubicBezTo>
                    <a:cubicBezTo>
                      <a:pt x="1051" y="528"/>
                      <a:pt x="1051" y="528"/>
                      <a:pt x="1051" y="528"/>
                    </a:cubicBezTo>
                    <a:cubicBezTo>
                      <a:pt x="1054" y="523"/>
                      <a:pt x="1054" y="523"/>
                      <a:pt x="1054" y="523"/>
                    </a:cubicBezTo>
                    <a:cubicBezTo>
                      <a:pt x="1055" y="522"/>
                      <a:pt x="1055" y="522"/>
                      <a:pt x="1055" y="522"/>
                    </a:cubicBezTo>
                    <a:cubicBezTo>
                      <a:pt x="1058" y="518"/>
                      <a:pt x="1058" y="518"/>
                      <a:pt x="1058" y="518"/>
                    </a:cubicBezTo>
                    <a:cubicBezTo>
                      <a:pt x="1061" y="518"/>
                      <a:pt x="1061" y="518"/>
                      <a:pt x="1061" y="518"/>
                    </a:cubicBezTo>
                    <a:cubicBezTo>
                      <a:pt x="1062" y="519"/>
                      <a:pt x="1062" y="519"/>
                      <a:pt x="1062" y="519"/>
                    </a:cubicBezTo>
                    <a:cubicBezTo>
                      <a:pt x="1064" y="513"/>
                      <a:pt x="1064" y="513"/>
                      <a:pt x="1064" y="513"/>
                    </a:cubicBezTo>
                    <a:cubicBezTo>
                      <a:pt x="1066" y="513"/>
                      <a:pt x="1066" y="513"/>
                      <a:pt x="1066" y="513"/>
                    </a:cubicBezTo>
                    <a:cubicBezTo>
                      <a:pt x="1067" y="516"/>
                      <a:pt x="1067" y="516"/>
                      <a:pt x="1067" y="516"/>
                    </a:cubicBezTo>
                    <a:cubicBezTo>
                      <a:pt x="1069" y="513"/>
                      <a:pt x="1069" y="513"/>
                      <a:pt x="1069" y="513"/>
                    </a:cubicBezTo>
                    <a:cubicBezTo>
                      <a:pt x="1068" y="511"/>
                      <a:pt x="1068" y="511"/>
                      <a:pt x="1068" y="511"/>
                    </a:cubicBezTo>
                    <a:cubicBezTo>
                      <a:pt x="1072" y="504"/>
                      <a:pt x="1072" y="504"/>
                      <a:pt x="1072" y="504"/>
                    </a:cubicBezTo>
                    <a:cubicBezTo>
                      <a:pt x="1075" y="504"/>
                      <a:pt x="1075" y="504"/>
                      <a:pt x="1075" y="504"/>
                    </a:cubicBezTo>
                    <a:cubicBezTo>
                      <a:pt x="1075" y="501"/>
                      <a:pt x="1075" y="501"/>
                      <a:pt x="1075" y="501"/>
                    </a:cubicBezTo>
                    <a:cubicBezTo>
                      <a:pt x="1078" y="497"/>
                      <a:pt x="1078" y="497"/>
                      <a:pt x="1078" y="497"/>
                    </a:cubicBezTo>
                    <a:cubicBezTo>
                      <a:pt x="1082" y="497"/>
                      <a:pt x="1082" y="497"/>
                      <a:pt x="1082" y="497"/>
                    </a:cubicBezTo>
                    <a:cubicBezTo>
                      <a:pt x="1084" y="493"/>
                      <a:pt x="1084" y="493"/>
                      <a:pt x="1084" y="493"/>
                    </a:cubicBezTo>
                    <a:cubicBezTo>
                      <a:pt x="1087" y="494"/>
                      <a:pt x="1087" y="494"/>
                      <a:pt x="1087" y="494"/>
                    </a:cubicBezTo>
                    <a:cubicBezTo>
                      <a:pt x="1090" y="495"/>
                      <a:pt x="1090" y="495"/>
                      <a:pt x="1090" y="495"/>
                    </a:cubicBezTo>
                    <a:cubicBezTo>
                      <a:pt x="1088" y="491"/>
                      <a:pt x="1088" y="491"/>
                      <a:pt x="1088" y="491"/>
                    </a:cubicBezTo>
                    <a:cubicBezTo>
                      <a:pt x="1089" y="488"/>
                      <a:pt x="1089" y="488"/>
                      <a:pt x="1089" y="488"/>
                    </a:cubicBezTo>
                    <a:cubicBezTo>
                      <a:pt x="1096" y="485"/>
                      <a:pt x="1096" y="485"/>
                      <a:pt x="1096" y="485"/>
                    </a:cubicBezTo>
                    <a:cubicBezTo>
                      <a:pt x="1103" y="480"/>
                      <a:pt x="1103" y="480"/>
                      <a:pt x="1103" y="480"/>
                    </a:cubicBezTo>
                    <a:cubicBezTo>
                      <a:pt x="1113" y="476"/>
                      <a:pt x="1113" y="476"/>
                      <a:pt x="1113" y="476"/>
                    </a:cubicBezTo>
                    <a:cubicBezTo>
                      <a:pt x="1120" y="476"/>
                      <a:pt x="1120" y="476"/>
                      <a:pt x="1120" y="476"/>
                    </a:cubicBezTo>
                    <a:cubicBezTo>
                      <a:pt x="1123" y="475"/>
                      <a:pt x="1123" y="475"/>
                      <a:pt x="1123" y="475"/>
                    </a:cubicBezTo>
                    <a:cubicBezTo>
                      <a:pt x="1128" y="476"/>
                      <a:pt x="1128" y="476"/>
                      <a:pt x="1128" y="476"/>
                    </a:cubicBezTo>
                    <a:cubicBezTo>
                      <a:pt x="1131" y="475"/>
                      <a:pt x="1131" y="475"/>
                      <a:pt x="1131" y="475"/>
                    </a:cubicBezTo>
                    <a:cubicBezTo>
                      <a:pt x="1133" y="476"/>
                      <a:pt x="1133" y="476"/>
                      <a:pt x="1133" y="476"/>
                    </a:cubicBezTo>
                    <a:cubicBezTo>
                      <a:pt x="1139" y="476"/>
                      <a:pt x="1139" y="476"/>
                      <a:pt x="1139" y="476"/>
                    </a:cubicBezTo>
                    <a:cubicBezTo>
                      <a:pt x="1143" y="478"/>
                      <a:pt x="1143" y="478"/>
                      <a:pt x="1143" y="478"/>
                    </a:cubicBezTo>
                    <a:cubicBezTo>
                      <a:pt x="1151" y="482"/>
                      <a:pt x="1151" y="482"/>
                      <a:pt x="1151" y="482"/>
                    </a:cubicBezTo>
                    <a:cubicBezTo>
                      <a:pt x="1152" y="484"/>
                      <a:pt x="1152" y="484"/>
                      <a:pt x="1152" y="484"/>
                    </a:cubicBezTo>
                    <a:cubicBezTo>
                      <a:pt x="1151" y="487"/>
                      <a:pt x="1151" y="487"/>
                      <a:pt x="1151" y="487"/>
                    </a:cubicBezTo>
                    <a:cubicBezTo>
                      <a:pt x="1146" y="489"/>
                      <a:pt x="1146" y="489"/>
                      <a:pt x="1146" y="489"/>
                    </a:cubicBezTo>
                    <a:cubicBezTo>
                      <a:pt x="1140" y="492"/>
                      <a:pt x="1140" y="492"/>
                      <a:pt x="1140" y="492"/>
                    </a:cubicBezTo>
                    <a:cubicBezTo>
                      <a:pt x="1136" y="492"/>
                      <a:pt x="1136" y="492"/>
                      <a:pt x="1136" y="492"/>
                    </a:cubicBezTo>
                    <a:cubicBezTo>
                      <a:pt x="1134" y="494"/>
                      <a:pt x="1134" y="494"/>
                      <a:pt x="1134" y="494"/>
                    </a:cubicBezTo>
                    <a:cubicBezTo>
                      <a:pt x="1131" y="498"/>
                      <a:pt x="1131" y="498"/>
                      <a:pt x="1131" y="498"/>
                    </a:cubicBezTo>
                    <a:cubicBezTo>
                      <a:pt x="1127" y="499"/>
                      <a:pt x="1127" y="499"/>
                      <a:pt x="1127" y="499"/>
                    </a:cubicBezTo>
                    <a:cubicBezTo>
                      <a:pt x="1120" y="506"/>
                      <a:pt x="1120" y="506"/>
                      <a:pt x="1120" y="506"/>
                    </a:cubicBezTo>
                    <a:cubicBezTo>
                      <a:pt x="1113" y="514"/>
                      <a:pt x="1113" y="514"/>
                      <a:pt x="1113" y="514"/>
                    </a:cubicBezTo>
                    <a:cubicBezTo>
                      <a:pt x="1107" y="518"/>
                      <a:pt x="1107" y="518"/>
                      <a:pt x="1107" y="518"/>
                    </a:cubicBezTo>
                    <a:cubicBezTo>
                      <a:pt x="1105" y="519"/>
                      <a:pt x="1105" y="519"/>
                      <a:pt x="1105" y="519"/>
                    </a:cubicBezTo>
                    <a:cubicBezTo>
                      <a:pt x="1101" y="526"/>
                      <a:pt x="1101" y="526"/>
                      <a:pt x="1101" y="526"/>
                    </a:cubicBezTo>
                    <a:cubicBezTo>
                      <a:pt x="1101" y="530"/>
                      <a:pt x="1101" y="530"/>
                      <a:pt x="1101" y="530"/>
                    </a:cubicBezTo>
                    <a:cubicBezTo>
                      <a:pt x="1102" y="534"/>
                      <a:pt x="1102" y="534"/>
                      <a:pt x="1102" y="534"/>
                    </a:cubicBezTo>
                    <a:cubicBezTo>
                      <a:pt x="1104" y="536"/>
                      <a:pt x="1104" y="536"/>
                      <a:pt x="1104" y="536"/>
                    </a:cubicBezTo>
                    <a:cubicBezTo>
                      <a:pt x="1104" y="539"/>
                      <a:pt x="1104" y="539"/>
                      <a:pt x="1104" y="539"/>
                    </a:cubicBezTo>
                    <a:cubicBezTo>
                      <a:pt x="1101" y="541"/>
                      <a:pt x="1101" y="541"/>
                      <a:pt x="1101" y="541"/>
                    </a:cubicBezTo>
                    <a:cubicBezTo>
                      <a:pt x="1098" y="545"/>
                      <a:pt x="1098" y="545"/>
                      <a:pt x="1098" y="545"/>
                    </a:cubicBezTo>
                    <a:cubicBezTo>
                      <a:pt x="1095" y="548"/>
                      <a:pt x="1095" y="548"/>
                      <a:pt x="1095" y="548"/>
                    </a:cubicBezTo>
                    <a:cubicBezTo>
                      <a:pt x="1095" y="552"/>
                      <a:pt x="1095" y="552"/>
                      <a:pt x="1095" y="552"/>
                    </a:cubicBezTo>
                    <a:cubicBezTo>
                      <a:pt x="1092" y="557"/>
                      <a:pt x="1092" y="557"/>
                      <a:pt x="1092" y="557"/>
                    </a:cubicBezTo>
                    <a:cubicBezTo>
                      <a:pt x="1090" y="558"/>
                      <a:pt x="1090" y="558"/>
                      <a:pt x="1090" y="558"/>
                    </a:cubicBezTo>
                    <a:cubicBezTo>
                      <a:pt x="1090" y="561"/>
                      <a:pt x="1090" y="561"/>
                      <a:pt x="1090" y="561"/>
                    </a:cubicBezTo>
                    <a:cubicBezTo>
                      <a:pt x="1092" y="564"/>
                      <a:pt x="1092" y="564"/>
                      <a:pt x="1092" y="564"/>
                    </a:cubicBezTo>
                    <a:cubicBezTo>
                      <a:pt x="1093" y="569"/>
                      <a:pt x="1093" y="569"/>
                      <a:pt x="1093" y="569"/>
                    </a:cubicBezTo>
                    <a:cubicBezTo>
                      <a:pt x="1094" y="572"/>
                      <a:pt x="1094" y="572"/>
                      <a:pt x="1094" y="572"/>
                    </a:cubicBezTo>
                    <a:cubicBezTo>
                      <a:pt x="1094" y="577"/>
                      <a:pt x="1094" y="577"/>
                      <a:pt x="1094" y="577"/>
                    </a:cubicBezTo>
                    <a:cubicBezTo>
                      <a:pt x="1097" y="581"/>
                      <a:pt x="1097" y="581"/>
                      <a:pt x="1097" y="581"/>
                    </a:cubicBezTo>
                    <a:cubicBezTo>
                      <a:pt x="1098" y="583"/>
                      <a:pt x="1098" y="583"/>
                      <a:pt x="1098" y="583"/>
                    </a:cubicBezTo>
                    <a:cubicBezTo>
                      <a:pt x="1102" y="585"/>
                      <a:pt x="1102" y="585"/>
                      <a:pt x="1102" y="585"/>
                    </a:cubicBezTo>
                    <a:cubicBezTo>
                      <a:pt x="1102" y="589"/>
                      <a:pt x="1102" y="589"/>
                      <a:pt x="1102" y="589"/>
                    </a:cubicBezTo>
                    <a:cubicBezTo>
                      <a:pt x="1100" y="592"/>
                      <a:pt x="1100" y="592"/>
                      <a:pt x="1100" y="592"/>
                    </a:cubicBezTo>
                    <a:cubicBezTo>
                      <a:pt x="1099" y="589"/>
                      <a:pt x="1099" y="589"/>
                      <a:pt x="1099" y="589"/>
                    </a:cubicBezTo>
                    <a:cubicBezTo>
                      <a:pt x="1097" y="589"/>
                      <a:pt x="1097" y="589"/>
                      <a:pt x="1097" y="589"/>
                    </a:cubicBezTo>
                    <a:cubicBezTo>
                      <a:pt x="1097" y="591"/>
                      <a:pt x="1097" y="591"/>
                      <a:pt x="1097" y="591"/>
                    </a:cubicBezTo>
                    <a:cubicBezTo>
                      <a:pt x="1094" y="591"/>
                      <a:pt x="1094" y="591"/>
                      <a:pt x="1094" y="591"/>
                    </a:cubicBezTo>
                    <a:cubicBezTo>
                      <a:pt x="1092" y="592"/>
                      <a:pt x="1092" y="592"/>
                      <a:pt x="1092" y="592"/>
                    </a:cubicBezTo>
                    <a:cubicBezTo>
                      <a:pt x="1090" y="593"/>
                      <a:pt x="1090" y="593"/>
                      <a:pt x="1090" y="593"/>
                    </a:cubicBezTo>
                    <a:cubicBezTo>
                      <a:pt x="1091" y="593"/>
                      <a:pt x="1091" y="593"/>
                      <a:pt x="1091" y="593"/>
                    </a:cubicBezTo>
                    <a:cubicBezTo>
                      <a:pt x="1094" y="596"/>
                      <a:pt x="1094" y="596"/>
                      <a:pt x="1094" y="596"/>
                    </a:cubicBezTo>
                    <a:cubicBezTo>
                      <a:pt x="1097" y="596"/>
                      <a:pt x="1097" y="596"/>
                      <a:pt x="1097" y="596"/>
                    </a:cubicBezTo>
                    <a:cubicBezTo>
                      <a:pt x="1097" y="595"/>
                      <a:pt x="1097" y="595"/>
                      <a:pt x="1097" y="595"/>
                    </a:cubicBezTo>
                    <a:cubicBezTo>
                      <a:pt x="1099" y="596"/>
                      <a:pt x="1099" y="596"/>
                      <a:pt x="1099" y="596"/>
                    </a:cubicBezTo>
                    <a:cubicBezTo>
                      <a:pt x="1096" y="599"/>
                      <a:pt x="1096" y="599"/>
                      <a:pt x="1096" y="599"/>
                    </a:cubicBezTo>
                    <a:cubicBezTo>
                      <a:pt x="1094" y="605"/>
                      <a:pt x="1094" y="605"/>
                      <a:pt x="1094" y="605"/>
                    </a:cubicBezTo>
                    <a:cubicBezTo>
                      <a:pt x="1094" y="608"/>
                      <a:pt x="1094" y="608"/>
                      <a:pt x="1094" y="608"/>
                    </a:cubicBezTo>
                    <a:cubicBezTo>
                      <a:pt x="1093" y="610"/>
                      <a:pt x="1093" y="610"/>
                      <a:pt x="1093" y="610"/>
                    </a:cubicBezTo>
                    <a:cubicBezTo>
                      <a:pt x="1098" y="606"/>
                      <a:pt x="1098" y="606"/>
                      <a:pt x="1098" y="606"/>
                    </a:cubicBezTo>
                    <a:cubicBezTo>
                      <a:pt x="1098" y="603"/>
                      <a:pt x="1098" y="603"/>
                      <a:pt x="1098" y="603"/>
                    </a:cubicBezTo>
                    <a:cubicBezTo>
                      <a:pt x="1102" y="596"/>
                      <a:pt x="1102" y="596"/>
                      <a:pt x="1102" y="596"/>
                    </a:cubicBezTo>
                    <a:cubicBezTo>
                      <a:pt x="1104" y="595"/>
                      <a:pt x="1104" y="595"/>
                      <a:pt x="1104" y="595"/>
                    </a:cubicBezTo>
                    <a:cubicBezTo>
                      <a:pt x="1105" y="588"/>
                      <a:pt x="1105" y="588"/>
                      <a:pt x="1105" y="588"/>
                    </a:cubicBezTo>
                    <a:cubicBezTo>
                      <a:pt x="1106" y="586"/>
                      <a:pt x="1106" y="586"/>
                      <a:pt x="1106" y="586"/>
                    </a:cubicBezTo>
                    <a:cubicBezTo>
                      <a:pt x="1110" y="583"/>
                      <a:pt x="1110" y="583"/>
                      <a:pt x="1110" y="583"/>
                    </a:cubicBezTo>
                    <a:cubicBezTo>
                      <a:pt x="1110" y="580"/>
                      <a:pt x="1110" y="580"/>
                      <a:pt x="1110" y="580"/>
                    </a:cubicBezTo>
                    <a:cubicBezTo>
                      <a:pt x="1109" y="578"/>
                      <a:pt x="1109" y="578"/>
                      <a:pt x="1109" y="578"/>
                    </a:cubicBezTo>
                    <a:cubicBezTo>
                      <a:pt x="1109" y="575"/>
                      <a:pt x="1109" y="575"/>
                      <a:pt x="1109" y="575"/>
                    </a:cubicBezTo>
                    <a:cubicBezTo>
                      <a:pt x="1107" y="574"/>
                      <a:pt x="1107" y="574"/>
                      <a:pt x="1107" y="574"/>
                    </a:cubicBezTo>
                    <a:cubicBezTo>
                      <a:pt x="1105" y="573"/>
                      <a:pt x="1105" y="573"/>
                      <a:pt x="1105" y="573"/>
                    </a:cubicBezTo>
                    <a:cubicBezTo>
                      <a:pt x="1104" y="568"/>
                      <a:pt x="1104" y="568"/>
                      <a:pt x="1104" y="568"/>
                    </a:cubicBezTo>
                    <a:cubicBezTo>
                      <a:pt x="1104" y="567"/>
                      <a:pt x="1104" y="567"/>
                      <a:pt x="1104" y="567"/>
                    </a:cubicBezTo>
                    <a:cubicBezTo>
                      <a:pt x="1103" y="563"/>
                      <a:pt x="1103" y="563"/>
                      <a:pt x="1103" y="563"/>
                    </a:cubicBezTo>
                    <a:cubicBezTo>
                      <a:pt x="1101" y="559"/>
                      <a:pt x="1101" y="559"/>
                      <a:pt x="1101" y="559"/>
                    </a:cubicBezTo>
                    <a:cubicBezTo>
                      <a:pt x="1101" y="555"/>
                      <a:pt x="1101" y="555"/>
                      <a:pt x="1101" y="555"/>
                    </a:cubicBezTo>
                    <a:cubicBezTo>
                      <a:pt x="1103" y="554"/>
                      <a:pt x="1103" y="554"/>
                      <a:pt x="1103" y="554"/>
                    </a:cubicBezTo>
                    <a:cubicBezTo>
                      <a:pt x="1104" y="557"/>
                      <a:pt x="1104" y="557"/>
                      <a:pt x="1104" y="557"/>
                    </a:cubicBezTo>
                    <a:cubicBezTo>
                      <a:pt x="1105" y="556"/>
                      <a:pt x="1105" y="556"/>
                      <a:pt x="1105" y="556"/>
                    </a:cubicBezTo>
                    <a:cubicBezTo>
                      <a:pt x="1109" y="555"/>
                      <a:pt x="1109" y="555"/>
                      <a:pt x="1109" y="555"/>
                    </a:cubicBezTo>
                    <a:cubicBezTo>
                      <a:pt x="1112" y="552"/>
                      <a:pt x="1112" y="552"/>
                      <a:pt x="1112" y="552"/>
                    </a:cubicBezTo>
                    <a:cubicBezTo>
                      <a:pt x="1111" y="549"/>
                      <a:pt x="1111" y="549"/>
                      <a:pt x="1111" y="549"/>
                    </a:cubicBezTo>
                    <a:cubicBezTo>
                      <a:pt x="1113" y="546"/>
                      <a:pt x="1113" y="546"/>
                      <a:pt x="1113" y="546"/>
                    </a:cubicBezTo>
                    <a:cubicBezTo>
                      <a:pt x="1116" y="547"/>
                      <a:pt x="1116" y="547"/>
                      <a:pt x="1116" y="547"/>
                    </a:cubicBezTo>
                    <a:cubicBezTo>
                      <a:pt x="1118" y="552"/>
                      <a:pt x="1118" y="552"/>
                      <a:pt x="1118" y="552"/>
                    </a:cubicBezTo>
                    <a:cubicBezTo>
                      <a:pt x="1117" y="554"/>
                      <a:pt x="1117" y="554"/>
                      <a:pt x="1117" y="554"/>
                    </a:cubicBezTo>
                    <a:cubicBezTo>
                      <a:pt x="1119" y="556"/>
                      <a:pt x="1119" y="556"/>
                      <a:pt x="1119" y="556"/>
                    </a:cubicBezTo>
                    <a:cubicBezTo>
                      <a:pt x="1121" y="553"/>
                      <a:pt x="1121" y="553"/>
                      <a:pt x="1121" y="553"/>
                    </a:cubicBezTo>
                    <a:cubicBezTo>
                      <a:pt x="1121" y="549"/>
                      <a:pt x="1121" y="549"/>
                      <a:pt x="1121" y="549"/>
                    </a:cubicBezTo>
                    <a:cubicBezTo>
                      <a:pt x="1124" y="546"/>
                      <a:pt x="1124" y="546"/>
                      <a:pt x="1124" y="546"/>
                    </a:cubicBezTo>
                    <a:cubicBezTo>
                      <a:pt x="1126" y="546"/>
                      <a:pt x="1126" y="546"/>
                      <a:pt x="1126" y="546"/>
                    </a:cubicBezTo>
                    <a:cubicBezTo>
                      <a:pt x="1126" y="544"/>
                      <a:pt x="1126" y="544"/>
                      <a:pt x="1126" y="544"/>
                    </a:cubicBezTo>
                    <a:cubicBezTo>
                      <a:pt x="1127" y="543"/>
                      <a:pt x="1127" y="543"/>
                      <a:pt x="1127" y="543"/>
                    </a:cubicBezTo>
                    <a:cubicBezTo>
                      <a:pt x="1131" y="542"/>
                      <a:pt x="1131" y="542"/>
                      <a:pt x="1131" y="542"/>
                    </a:cubicBezTo>
                    <a:cubicBezTo>
                      <a:pt x="1130" y="540"/>
                      <a:pt x="1130" y="540"/>
                      <a:pt x="1130" y="540"/>
                    </a:cubicBezTo>
                    <a:cubicBezTo>
                      <a:pt x="1127" y="540"/>
                      <a:pt x="1127" y="540"/>
                      <a:pt x="1127" y="540"/>
                    </a:cubicBezTo>
                    <a:cubicBezTo>
                      <a:pt x="1121" y="544"/>
                      <a:pt x="1121" y="544"/>
                      <a:pt x="1121" y="544"/>
                    </a:cubicBezTo>
                    <a:cubicBezTo>
                      <a:pt x="1118" y="544"/>
                      <a:pt x="1118" y="544"/>
                      <a:pt x="1118" y="544"/>
                    </a:cubicBezTo>
                    <a:cubicBezTo>
                      <a:pt x="1117" y="540"/>
                      <a:pt x="1117" y="540"/>
                      <a:pt x="1117" y="540"/>
                    </a:cubicBezTo>
                    <a:cubicBezTo>
                      <a:pt x="1115" y="538"/>
                      <a:pt x="1115" y="538"/>
                      <a:pt x="1115" y="538"/>
                    </a:cubicBezTo>
                    <a:cubicBezTo>
                      <a:pt x="1115" y="536"/>
                      <a:pt x="1115" y="536"/>
                      <a:pt x="1115" y="536"/>
                    </a:cubicBezTo>
                    <a:cubicBezTo>
                      <a:pt x="1119" y="535"/>
                      <a:pt x="1119" y="535"/>
                      <a:pt x="1119" y="535"/>
                    </a:cubicBezTo>
                    <a:cubicBezTo>
                      <a:pt x="1117" y="532"/>
                      <a:pt x="1117" y="532"/>
                      <a:pt x="1117" y="532"/>
                    </a:cubicBezTo>
                    <a:cubicBezTo>
                      <a:pt x="1118" y="527"/>
                      <a:pt x="1118" y="527"/>
                      <a:pt x="1118" y="527"/>
                    </a:cubicBezTo>
                    <a:cubicBezTo>
                      <a:pt x="1121" y="522"/>
                      <a:pt x="1121" y="522"/>
                      <a:pt x="1121" y="522"/>
                    </a:cubicBezTo>
                    <a:cubicBezTo>
                      <a:pt x="1122" y="519"/>
                      <a:pt x="1122" y="519"/>
                      <a:pt x="1122" y="519"/>
                    </a:cubicBezTo>
                    <a:cubicBezTo>
                      <a:pt x="1124" y="516"/>
                      <a:pt x="1124" y="516"/>
                      <a:pt x="1124" y="516"/>
                    </a:cubicBezTo>
                    <a:cubicBezTo>
                      <a:pt x="1129" y="516"/>
                      <a:pt x="1129" y="516"/>
                      <a:pt x="1129" y="516"/>
                    </a:cubicBezTo>
                    <a:cubicBezTo>
                      <a:pt x="1132" y="520"/>
                      <a:pt x="1132" y="520"/>
                      <a:pt x="1132" y="520"/>
                    </a:cubicBezTo>
                    <a:cubicBezTo>
                      <a:pt x="1133" y="522"/>
                      <a:pt x="1133" y="522"/>
                      <a:pt x="1133" y="522"/>
                    </a:cubicBezTo>
                    <a:cubicBezTo>
                      <a:pt x="1138" y="525"/>
                      <a:pt x="1138" y="525"/>
                      <a:pt x="1138" y="525"/>
                    </a:cubicBezTo>
                    <a:cubicBezTo>
                      <a:pt x="1140" y="528"/>
                      <a:pt x="1140" y="528"/>
                      <a:pt x="1140" y="528"/>
                    </a:cubicBezTo>
                    <a:cubicBezTo>
                      <a:pt x="1144" y="528"/>
                      <a:pt x="1144" y="528"/>
                      <a:pt x="1144" y="528"/>
                    </a:cubicBezTo>
                    <a:cubicBezTo>
                      <a:pt x="1141" y="526"/>
                      <a:pt x="1141" y="526"/>
                      <a:pt x="1141" y="526"/>
                    </a:cubicBezTo>
                    <a:cubicBezTo>
                      <a:pt x="1140" y="524"/>
                      <a:pt x="1140" y="524"/>
                      <a:pt x="1140" y="524"/>
                    </a:cubicBezTo>
                    <a:cubicBezTo>
                      <a:pt x="1135" y="520"/>
                      <a:pt x="1135" y="520"/>
                      <a:pt x="1135" y="520"/>
                    </a:cubicBezTo>
                    <a:cubicBezTo>
                      <a:pt x="1134" y="516"/>
                      <a:pt x="1134" y="516"/>
                      <a:pt x="1134" y="516"/>
                    </a:cubicBezTo>
                    <a:cubicBezTo>
                      <a:pt x="1133" y="514"/>
                      <a:pt x="1133" y="514"/>
                      <a:pt x="1133" y="514"/>
                    </a:cubicBezTo>
                    <a:cubicBezTo>
                      <a:pt x="1129" y="514"/>
                      <a:pt x="1129" y="514"/>
                      <a:pt x="1129" y="514"/>
                    </a:cubicBezTo>
                    <a:cubicBezTo>
                      <a:pt x="1127" y="513"/>
                      <a:pt x="1127" y="513"/>
                      <a:pt x="1127" y="513"/>
                    </a:cubicBezTo>
                    <a:cubicBezTo>
                      <a:pt x="1128" y="512"/>
                      <a:pt x="1128" y="512"/>
                      <a:pt x="1128" y="512"/>
                    </a:cubicBezTo>
                    <a:cubicBezTo>
                      <a:pt x="1135" y="512"/>
                      <a:pt x="1135" y="512"/>
                      <a:pt x="1135" y="512"/>
                    </a:cubicBezTo>
                    <a:cubicBezTo>
                      <a:pt x="1136" y="510"/>
                      <a:pt x="1136" y="510"/>
                      <a:pt x="1136" y="510"/>
                    </a:cubicBezTo>
                    <a:cubicBezTo>
                      <a:pt x="1138" y="510"/>
                      <a:pt x="1138" y="510"/>
                      <a:pt x="1138" y="510"/>
                    </a:cubicBezTo>
                    <a:cubicBezTo>
                      <a:pt x="1144" y="516"/>
                      <a:pt x="1144" y="516"/>
                      <a:pt x="1144" y="516"/>
                    </a:cubicBezTo>
                    <a:cubicBezTo>
                      <a:pt x="1149" y="519"/>
                      <a:pt x="1149" y="519"/>
                      <a:pt x="1149" y="519"/>
                    </a:cubicBezTo>
                    <a:cubicBezTo>
                      <a:pt x="1150" y="519"/>
                      <a:pt x="1150" y="519"/>
                      <a:pt x="1150" y="519"/>
                    </a:cubicBezTo>
                    <a:cubicBezTo>
                      <a:pt x="1146" y="516"/>
                      <a:pt x="1146" y="516"/>
                      <a:pt x="1146" y="516"/>
                    </a:cubicBezTo>
                    <a:cubicBezTo>
                      <a:pt x="1142" y="511"/>
                      <a:pt x="1142" y="511"/>
                      <a:pt x="1142" y="511"/>
                    </a:cubicBezTo>
                    <a:cubicBezTo>
                      <a:pt x="1138" y="508"/>
                      <a:pt x="1138" y="508"/>
                      <a:pt x="1138" y="508"/>
                    </a:cubicBezTo>
                    <a:cubicBezTo>
                      <a:pt x="1138" y="505"/>
                      <a:pt x="1138" y="505"/>
                      <a:pt x="1138" y="505"/>
                    </a:cubicBezTo>
                    <a:cubicBezTo>
                      <a:pt x="1139" y="502"/>
                      <a:pt x="1139" y="502"/>
                      <a:pt x="1139" y="502"/>
                    </a:cubicBezTo>
                    <a:cubicBezTo>
                      <a:pt x="1145" y="501"/>
                      <a:pt x="1145" y="501"/>
                      <a:pt x="1145" y="501"/>
                    </a:cubicBezTo>
                    <a:cubicBezTo>
                      <a:pt x="1147" y="502"/>
                      <a:pt x="1147" y="502"/>
                      <a:pt x="1147" y="502"/>
                    </a:cubicBezTo>
                    <a:cubicBezTo>
                      <a:pt x="1146" y="505"/>
                      <a:pt x="1146" y="505"/>
                      <a:pt x="1146" y="505"/>
                    </a:cubicBezTo>
                    <a:cubicBezTo>
                      <a:pt x="1147" y="508"/>
                      <a:pt x="1147" y="508"/>
                      <a:pt x="1147" y="508"/>
                    </a:cubicBezTo>
                    <a:cubicBezTo>
                      <a:pt x="1149" y="506"/>
                      <a:pt x="1149" y="506"/>
                      <a:pt x="1149" y="506"/>
                    </a:cubicBezTo>
                    <a:cubicBezTo>
                      <a:pt x="1148" y="503"/>
                      <a:pt x="1148" y="503"/>
                      <a:pt x="1148" y="503"/>
                    </a:cubicBezTo>
                    <a:cubicBezTo>
                      <a:pt x="1151" y="501"/>
                      <a:pt x="1151" y="501"/>
                      <a:pt x="1151" y="501"/>
                    </a:cubicBezTo>
                    <a:cubicBezTo>
                      <a:pt x="1155" y="501"/>
                      <a:pt x="1155" y="501"/>
                      <a:pt x="1155" y="501"/>
                    </a:cubicBezTo>
                    <a:cubicBezTo>
                      <a:pt x="1157" y="505"/>
                      <a:pt x="1157" y="505"/>
                      <a:pt x="1157" y="505"/>
                    </a:cubicBezTo>
                    <a:cubicBezTo>
                      <a:pt x="1159" y="506"/>
                      <a:pt x="1159" y="506"/>
                      <a:pt x="1159" y="506"/>
                    </a:cubicBezTo>
                    <a:cubicBezTo>
                      <a:pt x="1160" y="511"/>
                      <a:pt x="1160" y="511"/>
                      <a:pt x="1160" y="511"/>
                    </a:cubicBezTo>
                    <a:cubicBezTo>
                      <a:pt x="1162" y="509"/>
                      <a:pt x="1162" y="509"/>
                      <a:pt x="1162" y="509"/>
                    </a:cubicBezTo>
                    <a:cubicBezTo>
                      <a:pt x="1162" y="506"/>
                      <a:pt x="1162" y="506"/>
                      <a:pt x="1162" y="506"/>
                    </a:cubicBezTo>
                    <a:cubicBezTo>
                      <a:pt x="1158" y="502"/>
                      <a:pt x="1158" y="502"/>
                      <a:pt x="1158" y="502"/>
                    </a:cubicBezTo>
                    <a:cubicBezTo>
                      <a:pt x="1159" y="500"/>
                      <a:pt x="1159" y="500"/>
                      <a:pt x="1159" y="500"/>
                    </a:cubicBezTo>
                    <a:cubicBezTo>
                      <a:pt x="1169" y="498"/>
                      <a:pt x="1169" y="498"/>
                      <a:pt x="1169" y="498"/>
                    </a:cubicBezTo>
                    <a:cubicBezTo>
                      <a:pt x="1174" y="495"/>
                      <a:pt x="1174" y="495"/>
                      <a:pt x="1174" y="495"/>
                    </a:cubicBezTo>
                    <a:cubicBezTo>
                      <a:pt x="1179" y="495"/>
                      <a:pt x="1179" y="495"/>
                      <a:pt x="1179" y="495"/>
                    </a:cubicBezTo>
                    <a:cubicBezTo>
                      <a:pt x="1183" y="492"/>
                      <a:pt x="1183" y="492"/>
                      <a:pt x="1183" y="492"/>
                    </a:cubicBezTo>
                    <a:cubicBezTo>
                      <a:pt x="1189" y="494"/>
                      <a:pt x="1189" y="494"/>
                      <a:pt x="1189" y="494"/>
                    </a:cubicBezTo>
                    <a:cubicBezTo>
                      <a:pt x="1195" y="494"/>
                      <a:pt x="1195" y="494"/>
                      <a:pt x="1195" y="494"/>
                    </a:cubicBezTo>
                    <a:cubicBezTo>
                      <a:pt x="1201" y="495"/>
                      <a:pt x="1201" y="495"/>
                      <a:pt x="1201" y="495"/>
                    </a:cubicBezTo>
                    <a:cubicBezTo>
                      <a:pt x="1201" y="498"/>
                      <a:pt x="1201" y="498"/>
                      <a:pt x="1201" y="498"/>
                    </a:cubicBezTo>
                    <a:cubicBezTo>
                      <a:pt x="1200" y="499"/>
                      <a:pt x="1200" y="499"/>
                      <a:pt x="1200" y="499"/>
                    </a:cubicBezTo>
                    <a:cubicBezTo>
                      <a:pt x="1200" y="507"/>
                      <a:pt x="1200" y="507"/>
                      <a:pt x="1200" y="507"/>
                    </a:cubicBezTo>
                    <a:cubicBezTo>
                      <a:pt x="1199" y="509"/>
                      <a:pt x="1199" y="509"/>
                      <a:pt x="1199" y="509"/>
                    </a:cubicBezTo>
                    <a:cubicBezTo>
                      <a:pt x="1196" y="512"/>
                      <a:pt x="1196" y="512"/>
                      <a:pt x="1196" y="512"/>
                    </a:cubicBezTo>
                    <a:cubicBezTo>
                      <a:pt x="1194" y="517"/>
                      <a:pt x="1194" y="517"/>
                      <a:pt x="1194" y="517"/>
                    </a:cubicBezTo>
                    <a:cubicBezTo>
                      <a:pt x="1195" y="519"/>
                      <a:pt x="1195" y="519"/>
                      <a:pt x="1195" y="519"/>
                    </a:cubicBezTo>
                    <a:cubicBezTo>
                      <a:pt x="1198" y="520"/>
                      <a:pt x="1198" y="520"/>
                      <a:pt x="1198" y="520"/>
                    </a:cubicBezTo>
                    <a:cubicBezTo>
                      <a:pt x="1199" y="523"/>
                      <a:pt x="1199" y="523"/>
                      <a:pt x="1199" y="523"/>
                    </a:cubicBezTo>
                    <a:cubicBezTo>
                      <a:pt x="1199" y="525"/>
                      <a:pt x="1199" y="525"/>
                      <a:pt x="1199" y="525"/>
                    </a:cubicBezTo>
                    <a:cubicBezTo>
                      <a:pt x="1193" y="531"/>
                      <a:pt x="1193" y="531"/>
                      <a:pt x="1193" y="531"/>
                    </a:cubicBezTo>
                    <a:cubicBezTo>
                      <a:pt x="1192" y="533"/>
                      <a:pt x="1192" y="533"/>
                      <a:pt x="1192" y="533"/>
                    </a:cubicBezTo>
                    <a:cubicBezTo>
                      <a:pt x="1192" y="536"/>
                      <a:pt x="1192" y="536"/>
                      <a:pt x="1192" y="536"/>
                    </a:cubicBezTo>
                    <a:cubicBezTo>
                      <a:pt x="1195" y="539"/>
                      <a:pt x="1195" y="539"/>
                      <a:pt x="1195" y="539"/>
                    </a:cubicBezTo>
                    <a:cubicBezTo>
                      <a:pt x="1195" y="541"/>
                      <a:pt x="1195" y="541"/>
                      <a:pt x="1195" y="541"/>
                    </a:cubicBezTo>
                    <a:cubicBezTo>
                      <a:pt x="1192" y="545"/>
                      <a:pt x="1192" y="545"/>
                      <a:pt x="1192" y="545"/>
                    </a:cubicBezTo>
                    <a:cubicBezTo>
                      <a:pt x="1190" y="545"/>
                      <a:pt x="1190" y="545"/>
                      <a:pt x="1190" y="545"/>
                    </a:cubicBezTo>
                    <a:cubicBezTo>
                      <a:pt x="1187" y="548"/>
                      <a:pt x="1187" y="548"/>
                      <a:pt x="1187" y="548"/>
                    </a:cubicBezTo>
                    <a:cubicBezTo>
                      <a:pt x="1184" y="549"/>
                      <a:pt x="1184" y="549"/>
                      <a:pt x="1184" y="549"/>
                    </a:cubicBezTo>
                    <a:cubicBezTo>
                      <a:pt x="1181" y="551"/>
                      <a:pt x="1181" y="551"/>
                      <a:pt x="1181" y="551"/>
                    </a:cubicBezTo>
                    <a:cubicBezTo>
                      <a:pt x="1179" y="555"/>
                      <a:pt x="1179" y="555"/>
                      <a:pt x="1179" y="555"/>
                    </a:cubicBezTo>
                    <a:cubicBezTo>
                      <a:pt x="1176" y="557"/>
                      <a:pt x="1176" y="557"/>
                      <a:pt x="1176" y="557"/>
                    </a:cubicBezTo>
                    <a:cubicBezTo>
                      <a:pt x="1179" y="557"/>
                      <a:pt x="1179" y="557"/>
                      <a:pt x="1179" y="557"/>
                    </a:cubicBezTo>
                    <a:cubicBezTo>
                      <a:pt x="1183" y="553"/>
                      <a:pt x="1183" y="553"/>
                      <a:pt x="1183" y="553"/>
                    </a:cubicBezTo>
                    <a:cubicBezTo>
                      <a:pt x="1188" y="550"/>
                      <a:pt x="1188" y="550"/>
                      <a:pt x="1188" y="550"/>
                    </a:cubicBezTo>
                    <a:cubicBezTo>
                      <a:pt x="1190" y="550"/>
                      <a:pt x="1190" y="550"/>
                      <a:pt x="1190" y="550"/>
                    </a:cubicBezTo>
                    <a:cubicBezTo>
                      <a:pt x="1191" y="549"/>
                      <a:pt x="1191" y="549"/>
                      <a:pt x="1191" y="549"/>
                    </a:cubicBezTo>
                    <a:cubicBezTo>
                      <a:pt x="1189" y="552"/>
                      <a:pt x="1189" y="552"/>
                      <a:pt x="1189" y="552"/>
                    </a:cubicBezTo>
                    <a:cubicBezTo>
                      <a:pt x="1188" y="555"/>
                      <a:pt x="1188" y="555"/>
                      <a:pt x="1188" y="555"/>
                    </a:cubicBezTo>
                    <a:cubicBezTo>
                      <a:pt x="1182" y="560"/>
                      <a:pt x="1182" y="560"/>
                      <a:pt x="1182" y="560"/>
                    </a:cubicBezTo>
                    <a:cubicBezTo>
                      <a:pt x="1179" y="561"/>
                      <a:pt x="1179" y="561"/>
                      <a:pt x="1179" y="561"/>
                    </a:cubicBezTo>
                    <a:cubicBezTo>
                      <a:pt x="1179" y="563"/>
                      <a:pt x="1179" y="563"/>
                      <a:pt x="1179" y="563"/>
                    </a:cubicBezTo>
                    <a:cubicBezTo>
                      <a:pt x="1179" y="564"/>
                      <a:pt x="1179" y="564"/>
                      <a:pt x="1179" y="564"/>
                    </a:cubicBezTo>
                    <a:cubicBezTo>
                      <a:pt x="1178" y="566"/>
                      <a:pt x="1178" y="566"/>
                      <a:pt x="1178" y="566"/>
                    </a:cubicBezTo>
                    <a:cubicBezTo>
                      <a:pt x="1176" y="565"/>
                      <a:pt x="1176" y="565"/>
                      <a:pt x="1176" y="565"/>
                    </a:cubicBezTo>
                    <a:cubicBezTo>
                      <a:pt x="1174" y="565"/>
                      <a:pt x="1174" y="565"/>
                      <a:pt x="1174" y="565"/>
                    </a:cubicBezTo>
                    <a:cubicBezTo>
                      <a:pt x="1174" y="567"/>
                      <a:pt x="1174" y="567"/>
                      <a:pt x="1174" y="567"/>
                    </a:cubicBezTo>
                    <a:cubicBezTo>
                      <a:pt x="1176" y="568"/>
                      <a:pt x="1176" y="568"/>
                      <a:pt x="1176" y="568"/>
                    </a:cubicBezTo>
                    <a:cubicBezTo>
                      <a:pt x="1177" y="569"/>
                      <a:pt x="1177" y="569"/>
                      <a:pt x="1177" y="569"/>
                    </a:cubicBezTo>
                    <a:cubicBezTo>
                      <a:pt x="1177" y="572"/>
                      <a:pt x="1177" y="572"/>
                      <a:pt x="1177" y="572"/>
                    </a:cubicBezTo>
                    <a:cubicBezTo>
                      <a:pt x="1174" y="574"/>
                      <a:pt x="1174" y="574"/>
                      <a:pt x="1174" y="574"/>
                    </a:cubicBezTo>
                    <a:cubicBezTo>
                      <a:pt x="1177" y="574"/>
                      <a:pt x="1177" y="574"/>
                      <a:pt x="1177" y="574"/>
                    </a:cubicBezTo>
                    <a:cubicBezTo>
                      <a:pt x="1179" y="572"/>
                      <a:pt x="1179" y="572"/>
                      <a:pt x="1179" y="572"/>
                    </a:cubicBezTo>
                    <a:cubicBezTo>
                      <a:pt x="1181" y="571"/>
                      <a:pt x="1181" y="571"/>
                      <a:pt x="1181" y="571"/>
                    </a:cubicBezTo>
                    <a:cubicBezTo>
                      <a:pt x="1184" y="568"/>
                      <a:pt x="1184" y="568"/>
                      <a:pt x="1184" y="568"/>
                    </a:cubicBezTo>
                    <a:cubicBezTo>
                      <a:pt x="1184" y="565"/>
                      <a:pt x="1184" y="565"/>
                      <a:pt x="1184" y="565"/>
                    </a:cubicBezTo>
                    <a:cubicBezTo>
                      <a:pt x="1187" y="564"/>
                      <a:pt x="1187" y="564"/>
                      <a:pt x="1187" y="564"/>
                    </a:cubicBezTo>
                    <a:cubicBezTo>
                      <a:pt x="1189" y="561"/>
                      <a:pt x="1189" y="561"/>
                      <a:pt x="1189" y="561"/>
                    </a:cubicBezTo>
                    <a:cubicBezTo>
                      <a:pt x="1190" y="562"/>
                      <a:pt x="1190" y="562"/>
                      <a:pt x="1190" y="562"/>
                    </a:cubicBezTo>
                    <a:cubicBezTo>
                      <a:pt x="1190" y="566"/>
                      <a:pt x="1190" y="566"/>
                      <a:pt x="1190" y="566"/>
                    </a:cubicBezTo>
                    <a:cubicBezTo>
                      <a:pt x="1192" y="568"/>
                      <a:pt x="1192" y="568"/>
                      <a:pt x="1192" y="568"/>
                    </a:cubicBezTo>
                    <a:cubicBezTo>
                      <a:pt x="1192" y="564"/>
                      <a:pt x="1192" y="564"/>
                      <a:pt x="1192" y="564"/>
                    </a:cubicBezTo>
                    <a:cubicBezTo>
                      <a:pt x="1191" y="560"/>
                      <a:pt x="1191" y="560"/>
                      <a:pt x="1191" y="560"/>
                    </a:cubicBezTo>
                    <a:cubicBezTo>
                      <a:pt x="1192" y="557"/>
                      <a:pt x="1192" y="557"/>
                      <a:pt x="1192" y="557"/>
                    </a:cubicBezTo>
                    <a:cubicBezTo>
                      <a:pt x="1194" y="556"/>
                      <a:pt x="1194" y="556"/>
                      <a:pt x="1194" y="556"/>
                    </a:cubicBezTo>
                    <a:cubicBezTo>
                      <a:pt x="1197" y="557"/>
                      <a:pt x="1197" y="557"/>
                      <a:pt x="1197" y="557"/>
                    </a:cubicBezTo>
                    <a:cubicBezTo>
                      <a:pt x="1197" y="561"/>
                      <a:pt x="1197" y="561"/>
                      <a:pt x="1197" y="561"/>
                    </a:cubicBezTo>
                    <a:cubicBezTo>
                      <a:pt x="1198" y="563"/>
                      <a:pt x="1198" y="563"/>
                      <a:pt x="1198" y="563"/>
                    </a:cubicBezTo>
                    <a:cubicBezTo>
                      <a:pt x="1200" y="561"/>
                      <a:pt x="1200" y="561"/>
                      <a:pt x="1200" y="561"/>
                    </a:cubicBezTo>
                    <a:cubicBezTo>
                      <a:pt x="1204" y="557"/>
                      <a:pt x="1204" y="557"/>
                      <a:pt x="1204" y="557"/>
                    </a:cubicBezTo>
                    <a:cubicBezTo>
                      <a:pt x="1205" y="560"/>
                      <a:pt x="1205" y="560"/>
                      <a:pt x="1205" y="560"/>
                    </a:cubicBezTo>
                    <a:cubicBezTo>
                      <a:pt x="1207" y="563"/>
                      <a:pt x="1207" y="563"/>
                      <a:pt x="1207" y="563"/>
                    </a:cubicBezTo>
                    <a:cubicBezTo>
                      <a:pt x="1206" y="566"/>
                      <a:pt x="1206" y="566"/>
                      <a:pt x="1206" y="566"/>
                    </a:cubicBezTo>
                    <a:cubicBezTo>
                      <a:pt x="1202" y="572"/>
                      <a:pt x="1202" y="572"/>
                      <a:pt x="1202" y="572"/>
                    </a:cubicBezTo>
                    <a:cubicBezTo>
                      <a:pt x="1198" y="575"/>
                      <a:pt x="1198" y="575"/>
                      <a:pt x="1198" y="575"/>
                    </a:cubicBezTo>
                    <a:cubicBezTo>
                      <a:pt x="1196" y="578"/>
                      <a:pt x="1196" y="578"/>
                      <a:pt x="1196" y="578"/>
                    </a:cubicBezTo>
                    <a:cubicBezTo>
                      <a:pt x="1200" y="578"/>
                      <a:pt x="1200" y="578"/>
                      <a:pt x="1200" y="578"/>
                    </a:cubicBezTo>
                    <a:cubicBezTo>
                      <a:pt x="1203" y="580"/>
                      <a:pt x="1203" y="580"/>
                      <a:pt x="1203" y="580"/>
                    </a:cubicBezTo>
                    <a:cubicBezTo>
                      <a:pt x="1205" y="578"/>
                      <a:pt x="1205" y="578"/>
                      <a:pt x="1205" y="578"/>
                    </a:cubicBezTo>
                    <a:cubicBezTo>
                      <a:pt x="1203" y="576"/>
                      <a:pt x="1203" y="576"/>
                      <a:pt x="1203" y="576"/>
                    </a:cubicBezTo>
                    <a:cubicBezTo>
                      <a:pt x="1205" y="572"/>
                      <a:pt x="1205" y="572"/>
                      <a:pt x="1205" y="572"/>
                    </a:cubicBezTo>
                    <a:cubicBezTo>
                      <a:pt x="1208" y="569"/>
                      <a:pt x="1208" y="569"/>
                      <a:pt x="1208" y="569"/>
                    </a:cubicBezTo>
                    <a:cubicBezTo>
                      <a:pt x="1211" y="574"/>
                      <a:pt x="1211" y="574"/>
                      <a:pt x="1211" y="574"/>
                    </a:cubicBezTo>
                    <a:cubicBezTo>
                      <a:pt x="1211" y="577"/>
                      <a:pt x="1211" y="577"/>
                      <a:pt x="1211" y="577"/>
                    </a:cubicBezTo>
                    <a:cubicBezTo>
                      <a:pt x="1212" y="575"/>
                      <a:pt x="1212" y="575"/>
                      <a:pt x="1212" y="575"/>
                    </a:cubicBezTo>
                    <a:cubicBezTo>
                      <a:pt x="1211" y="570"/>
                      <a:pt x="1211" y="570"/>
                      <a:pt x="1211" y="570"/>
                    </a:cubicBezTo>
                    <a:cubicBezTo>
                      <a:pt x="1209" y="567"/>
                      <a:pt x="1209" y="567"/>
                      <a:pt x="1209" y="567"/>
                    </a:cubicBezTo>
                    <a:cubicBezTo>
                      <a:pt x="1209" y="560"/>
                      <a:pt x="1209" y="560"/>
                      <a:pt x="1209" y="560"/>
                    </a:cubicBezTo>
                    <a:cubicBezTo>
                      <a:pt x="1211" y="559"/>
                      <a:pt x="1211" y="559"/>
                      <a:pt x="1211" y="559"/>
                    </a:cubicBezTo>
                    <a:cubicBezTo>
                      <a:pt x="1215" y="561"/>
                      <a:pt x="1215" y="561"/>
                      <a:pt x="1215" y="561"/>
                    </a:cubicBezTo>
                    <a:cubicBezTo>
                      <a:pt x="1214" y="564"/>
                      <a:pt x="1214" y="564"/>
                      <a:pt x="1214" y="564"/>
                    </a:cubicBezTo>
                    <a:cubicBezTo>
                      <a:pt x="1213" y="567"/>
                      <a:pt x="1213" y="567"/>
                      <a:pt x="1213" y="567"/>
                    </a:cubicBezTo>
                    <a:cubicBezTo>
                      <a:pt x="1215" y="566"/>
                      <a:pt x="1215" y="566"/>
                      <a:pt x="1215" y="566"/>
                    </a:cubicBezTo>
                    <a:cubicBezTo>
                      <a:pt x="1218" y="565"/>
                      <a:pt x="1218" y="565"/>
                      <a:pt x="1218" y="565"/>
                    </a:cubicBezTo>
                    <a:cubicBezTo>
                      <a:pt x="1224" y="571"/>
                      <a:pt x="1224" y="571"/>
                      <a:pt x="1224" y="571"/>
                    </a:cubicBezTo>
                    <a:cubicBezTo>
                      <a:pt x="1224" y="574"/>
                      <a:pt x="1224" y="574"/>
                      <a:pt x="1224" y="574"/>
                    </a:cubicBezTo>
                    <a:cubicBezTo>
                      <a:pt x="1228" y="574"/>
                      <a:pt x="1228" y="574"/>
                      <a:pt x="1228" y="574"/>
                    </a:cubicBezTo>
                    <a:cubicBezTo>
                      <a:pt x="1231" y="575"/>
                      <a:pt x="1231" y="575"/>
                      <a:pt x="1231" y="575"/>
                    </a:cubicBezTo>
                    <a:cubicBezTo>
                      <a:pt x="1233" y="575"/>
                      <a:pt x="1233" y="575"/>
                      <a:pt x="1233" y="575"/>
                    </a:cubicBezTo>
                    <a:cubicBezTo>
                      <a:pt x="1231" y="571"/>
                      <a:pt x="1231" y="571"/>
                      <a:pt x="1231" y="571"/>
                    </a:cubicBezTo>
                    <a:cubicBezTo>
                      <a:pt x="1228" y="571"/>
                      <a:pt x="1228" y="571"/>
                      <a:pt x="1228" y="571"/>
                    </a:cubicBezTo>
                    <a:cubicBezTo>
                      <a:pt x="1227" y="569"/>
                      <a:pt x="1227" y="569"/>
                      <a:pt x="1227" y="569"/>
                    </a:cubicBezTo>
                    <a:cubicBezTo>
                      <a:pt x="1220" y="563"/>
                      <a:pt x="1220" y="563"/>
                      <a:pt x="1220" y="563"/>
                    </a:cubicBezTo>
                    <a:cubicBezTo>
                      <a:pt x="1218" y="563"/>
                      <a:pt x="1218" y="563"/>
                      <a:pt x="1218" y="563"/>
                    </a:cubicBezTo>
                    <a:cubicBezTo>
                      <a:pt x="1217" y="561"/>
                      <a:pt x="1217" y="561"/>
                      <a:pt x="1217" y="561"/>
                    </a:cubicBezTo>
                    <a:cubicBezTo>
                      <a:pt x="1220" y="555"/>
                      <a:pt x="1220" y="555"/>
                      <a:pt x="1220" y="555"/>
                    </a:cubicBezTo>
                    <a:cubicBezTo>
                      <a:pt x="1225" y="555"/>
                      <a:pt x="1225" y="555"/>
                      <a:pt x="1225" y="555"/>
                    </a:cubicBezTo>
                    <a:cubicBezTo>
                      <a:pt x="1228" y="552"/>
                      <a:pt x="1228" y="552"/>
                      <a:pt x="1228" y="552"/>
                    </a:cubicBezTo>
                    <a:cubicBezTo>
                      <a:pt x="1234" y="551"/>
                      <a:pt x="1234" y="551"/>
                      <a:pt x="1234" y="551"/>
                    </a:cubicBezTo>
                    <a:cubicBezTo>
                      <a:pt x="1239" y="551"/>
                      <a:pt x="1239" y="551"/>
                      <a:pt x="1239" y="551"/>
                    </a:cubicBezTo>
                    <a:cubicBezTo>
                      <a:pt x="1240" y="553"/>
                      <a:pt x="1240" y="553"/>
                      <a:pt x="1240" y="553"/>
                    </a:cubicBezTo>
                    <a:cubicBezTo>
                      <a:pt x="1242" y="553"/>
                      <a:pt x="1242" y="553"/>
                      <a:pt x="1242" y="553"/>
                    </a:cubicBezTo>
                    <a:cubicBezTo>
                      <a:pt x="1247" y="555"/>
                      <a:pt x="1247" y="555"/>
                      <a:pt x="1247" y="555"/>
                    </a:cubicBezTo>
                    <a:cubicBezTo>
                      <a:pt x="1248" y="557"/>
                      <a:pt x="1248" y="557"/>
                      <a:pt x="1248" y="557"/>
                    </a:cubicBezTo>
                    <a:cubicBezTo>
                      <a:pt x="1251" y="560"/>
                      <a:pt x="1251" y="560"/>
                      <a:pt x="1251" y="560"/>
                    </a:cubicBezTo>
                    <a:cubicBezTo>
                      <a:pt x="1253" y="561"/>
                      <a:pt x="1253" y="561"/>
                      <a:pt x="1253" y="561"/>
                    </a:cubicBezTo>
                    <a:cubicBezTo>
                      <a:pt x="1254" y="564"/>
                      <a:pt x="1254" y="564"/>
                      <a:pt x="1254" y="564"/>
                    </a:cubicBezTo>
                    <a:cubicBezTo>
                      <a:pt x="1255" y="564"/>
                      <a:pt x="1255" y="564"/>
                      <a:pt x="1255" y="564"/>
                    </a:cubicBezTo>
                    <a:cubicBezTo>
                      <a:pt x="1256" y="562"/>
                      <a:pt x="1256" y="562"/>
                      <a:pt x="1256" y="562"/>
                    </a:cubicBezTo>
                    <a:cubicBezTo>
                      <a:pt x="1259" y="563"/>
                      <a:pt x="1259" y="563"/>
                      <a:pt x="1259" y="563"/>
                    </a:cubicBezTo>
                    <a:cubicBezTo>
                      <a:pt x="1261" y="566"/>
                      <a:pt x="1261" y="566"/>
                      <a:pt x="1261" y="566"/>
                    </a:cubicBezTo>
                    <a:cubicBezTo>
                      <a:pt x="1265" y="568"/>
                      <a:pt x="1265" y="568"/>
                      <a:pt x="1265" y="568"/>
                    </a:cubicBezTo>
                    <a:cubicBezTo>
                      <a:pt x="1265" y="570"/>
                      <a:pt x="1265" y="570"/>
                      <a:pt x="1265" y="570"/>
                    </a:cubicBezTo>
                    <a:cubicBezTo>
                      <a:pt x="1265" y="573"/>
                      <a:pt x="1265" y="573"/>
                      <a:pt x="1265" y="573"/>
                    </a:cubicBezTo>
                    <a:cubicBezTo>
                      <a:pt x="1266" y="574"/>
                      <a:pt x="1266" y="574"/>
                      <a:pt x="1266" y="574"/>
                    </a:cubicBezTo>
                    <a:cubicBezTo>
                      <a:pt x="1266" y="577"/>
                      <a:pt x="1266" y="577"/>
                      <a:pt x="1266" y="577"/>
                    </a:cubicBezTo>
                    <a:cubicBezTo>
                      <a:pt x="1263" y="581"/>
                      <a:pt x="1263" y="581"/>
                      <a:pt x="1263" y="581"/>
                    </a:cubicBezTo>
                    <a:cubicBezTo>
                      <a:pt x="1260" y="580"/>
                      <a:pt x="1260" y="580"/>
                      <a:pt x="1260" y="580"/>
                    </a:cubicBezTo>
                    <a:cubicBezTo>
                      <a:pt x="1256" y="579"/>
                      <a:pt x="1256" y="579"/>
                      <a:pt x="1256" y="579"/>
                    </a:cubicBezTo>
                    <a:cubicBezTo>
                      <a:pt x="1251" y="581"/>
                      <a:pt x="1251" y="581"/>
                      <a:pt x="1251" y="581"/>
                    </a:cubicBezTo>
                    <a:cubicBezTo>
                      <a:pt x="1245" y="586"/>
                      <a:pt x="1245" y="586"/>
                      <a:pt x="1245" y="586"/>
                    </a:cubicBezTo>
                    <a:cubicBezTo>
                      <a:pt x="1252" y="582"/>
                      <a:pt x="1252" y="582"/>
                      <a:pt x="1252" y="582"/>
                    </a:cubicBezTo>
                    <a:cubicBezTo>
                      <a:pt x="1258" y="581"/>
                      <a:pt x="1258" y="581"/>
                      <a:pt x="1258" y="581"/>
                    </a:cubicBezTo>
                    <a:cubicBezTo>
                      <a:pt x="1259" y="583"/>
                      <a:pt x="1259" y="583"/>
                      <a:pt x="1259" y="583"/>
                    </a:cubicBezTo>
                    <a:cubicBezTo>
                      <a:pt x="1256" y="586"/>
                      <a:pt x="1256" y="586"/>
                      <a:pt x="1256" y="586"/>
                    </a:cubicBezTo>
                    <a:cubicBezTo>
                      <a:pt x="1252" y="588"/>
                      <a:pt x="1252" y="588"/>
                      <a:pt x="1252" y="588"/>
                    </a:cubicBezTo>
                    <a:cubicBezTo>
                      <a:pt x="1248" y="594"/>
                      <a:pt x="1248" y="594"/>
                      <a:pt x="1248" y="594"/>
                    </a:cubicBezTo>
                    <a:cubicBezTo>
                      <a:pt x="1245" y="597"/>
                      <a:pt x="1245" y="597"/>
                      <a:pt x="1245" y="597"/>
                    </a:cubicBezTo>
                    <a:cubicBezTo>
                      <a:pt x="1243" y="597"/>
                      <a:pt x="1243" y="597"/>
                      <a:pt x="1243" y="597"/>
                    </a:cubicBezTo>
                    <a:cubicBezTo>
                      <a:pt x="1242" y="600"/>
                      <a:pt x="1242" y="600"/>
                      <a:pt x="1242" y="600"/>
                    </a:cubicBezTo>
                    <a:cubicBezTo>
                      <a:pt x="1244" y="600"/>
                      <a:pt x="1244" y="600"/>
                      <a:pt x="1244" y="600"/>
                    </a:cubicBezTo>
                    <a:cubicBezTo>
                      <a:pt x="1251" y="593"/>
                      <a:pt x="1251" y="593"/>
                      <a:pt x="1251" y="593"/>
                    </a:cubicBezTo>
                    <a:cubicBezTo>
                      <a:pt x="1254" y="589"/>
                      <a:pt x="1254" y="589"/>
                      <a:pt x="1254" y="589"/>
                    </a:cubicBezTo>
                    <a:cubicBezTo>
                      <a:pt x="1259" y="587"/>
                      <a:pt x="1259" y="587"/>
                      <a:pt x="1259" y="587"/>
                    </a:cubicBezTo>
                    <a:cubicBezTo>
                      <a:pt x="1263" y="583"/>
                      <a:pt x="1263" y="583"/>
                      <a:pt x="1263" y="583"/>
                    </a:cubicBezTo>
                    <a:cubicBezTo>
                      <a:pt x="1267" y="584"/>
                      <a:pt x="1267" y="584"/>
                      <a:pt x="1267" y="584"/>
                    </a:cubicBezTo>
                    <a:cubicBezTo>
                      <a:pt x="1269" y="586"/>
                      <a:pt x="1269" y="586"/>
                      <a:pt x="1269" y="586"/>
                    </a:cubicBezTo>
                    <a:cubicBezTo>
                      <a:pt x="1271" y="586"/>
                      <a:pt x="1271" y="586"/>
                      <a:pt x="1271" y="586"/>
                    </a:cubicBezTo>
                    <a:cubicBezTo>
                      <a:pt x="1271" y="589"/>
                      <a:pt x="1271" y="589"/>
                      <a:pt x="1271" y="589"/>
                    </a:cubicBezTo>
                    <a:cubicBezTo>
                      <a:pt x="1270" y="592"/>
                      <a:pt x="1270" y="592"/>
                      <a:pt x="1270" y="592"/>
                    </a:cubicBezTo>
                    <a:cubicBezTo>
                      <a:pt x="1270" y="595"/>
                      <a:pt x="1270" y="595"/>
                      <a:pt x="1270" y="595"/>
                    </a:cubicBezTo>
                    <a:cubicBezTo>
                      <a:pt x="1266" y="596"/>
                      <a:pt x="1266" y="596"/>
                      <a:pt x="1266" y="596"/>
                    </a:cubicBezTo>
                    <a:cubicBezTo>
                      <a:pt x="1264" y="600"/>
                      <a:pt x="1264" y="600"/>
                      <a:pt x="1264" y="600"/>
                    </a:cubicBezTo>
                    <a:cubicBezTo>
                      <a:pt x="1260" y="600"/>
                      <a:pt x="1260" y="600"/>
                      <a:pt x="1260" y="600"/>
                    </a:cubicBezTo>
                    <a:cubicBezTo>
                      <a:pt x="1258" y="599"/>
                      <a:pt x="1258" y="599"/>
                      <a:pt x="1258" y="599"/>
                    </a:cubicBezTo>
                    <a:cubicBezTo>
                      <a:pt x="1255" y="599"/>
                      <a:pt x="1255" y="599"/>
                      <a:pt x="1255" y="599"/>
                    </a:cubicBezTo>
                    <a:cubicBezTo>
                      <a:pt x="1253" y="601"/>
                      <a:pt x="1253" y="601"/>
                      <a:pt x="1253" y="601"/>
                    </a:cubicBezTo>
                    <a:cubicBezTo>
                      <a:pt x="1257" y="601"/>
                      <a:pt x="1257" y="601"/>
                      <a:pt x="1257" y="601"/>
                    </a:cubicBezTo>
                    <a:cubicBezTo>
                      <a:pt x="1257" y="603"/>
                      <a:pt x="1257" y="603"/>
                      <a:pt x="1257" y="603"/>
                    </a:cubicBezTo>
                    <a:cubicBezTo>
                      <a:pt x="1251" y="606"/>
                      <a:pt x="1251" y="606"/>
                      <a:pt x="1251" y="606"/>
                    </a:cubicBezTo>
                    <a:cubicBezTo>
                      <a:pt x="1253" y="607"/>
                      <a:pt x="1253" y="607"/>
                      <a:pt x="1253" y="607"/>
                    </a:cubicBezTo>
                    <a:cubicBezTo>
                      <a:pt x="1255" y="605"/>
                      <a:pt x="1255" y="605"/>
                      <a:pt x="1255" y="605"/>
                    </a:cubicBezTo>
                    <a:cubicBezTo>
                      <a:pt x="1260" y="604"/>
                      <a:pt x="1260" y="604"/>
                      <a:pt x="1260" y="604"/>
                    </a:cubicBezTo>
                    <a:cubicBezTo>
                      <a:pt x="1262" y="602"/>
                      <a:pt x="1262" y="602"/>
                      <a:pt x="1262" y="602"/>
                    </a:cubicBezTo>
                    <a:cubicBezTo>
                      <a:pt x="1262" y="604"/>
                      <a:pt x="1262" y="604"/>
                      <a:pt x="1262" y="604"/>
                    </a:cubicBezTo>
                    <a:cubicBezTo>
                      <a:pt x="1261" y="606"/>
                      <a:pt x="1261" y="606"/>
                      <a:pt x="1261" y="606"/>
                    </a:cubicBezTo>
                    <a:cubicBezTo>
                      <a:pt x="1257" y="607"/>
                      <a:pt x="1257" y="607"/>
                      <a:pt x="1257" y="607"/>
                    </a:cubicBezTo>
                    <a:cubicBezTo>
                      <a:pt x="1253" y="610"/>
                      <a:pt x="1253" y="610"/>
                      <a:pt x="1253" y="610"/>
                    </a:cubicBezTo>
                    <a:cubicBezTo>
                      <a:pt x="1256" y="609"/>
                      <a:pt x="1256" y="609"/>
                      <a:pt x="1256" y="609"/>
                    </a:cubicBezTo>
                    <a:cubicBezTo>
                      <a:pt x="1257" y="610"/>
                      <a:pt x="1257" y="610"/>
                      <a:pt x="1257" y="610"/>
                    </a:cubicBezTo>
                    <a:cubicBezTo>
                      <a:pt x="1255" y="613"/>
                      <a:pt x="1255" y="613"/>
                      <a:pt x="1255" y="613"/>
                    </a:cubicBezTo>
                    <a:cubicBezTo>
                      <a:pt x="1251" y="617"/>
                      <a:pt x="1251" y="617"/>
                      <a:pt x="1251" y="617"/>
                    </a:cubicBezTo>
                    <a:cubicBezTo>
                      <a:pt x="1248" y="619"/>
                      <a:pt x="1248" y="619"/>
                      <a:pt x="1248" y="619"/>
                    </a:cubicBezTo>
                    <a:cubicBezTo>
                      <a:pt x="1251" y="619"/>
                      <a:pt x="1251" y="619"/>
                      <a:pt x="1251" y="619"/>
                    </a:cubicBezTo>
                    <a:cubicBezTo>
                      <a:pt x="1255" y="617"/>
                      <a:pt x="1255" y="617"/>
                      <a:pt x="1255" y="617"/>
                    </a:cubicBezTo>
                    <a:cubicBezTo>
                      <a:pt x="1258" y="611"/>
                      <a:pt x="1258" y="611"/>
                      <a:pt x="1258" y="611"/>
                    </a:cubicBezTo>
                    <a:cubicBezTo>
                      <a:pt x="1261" y="608"/>
                      <a:pt x="1261" y="608"/>
                      <a:pt x="1261" y="608"/>
                    </a:cubicBezTo>
                    <a:cubicBezTo>
                      <a:pt x="1267" y="604"/>
                      <a:pt x="1267" y="604"/>
                      <a:pt x="1267" y="604"/>
                    </a:cubicBezTo>
                    <a:cubicBezTo>
                      <a:pt x="1268" y="605"/>
                      <a:pt x="1268" y="605"/>
                      <a:pt x="1268" y="605"/>
                    </a:cubicBezTo>
                    <a:cubicBezTo>
                      <a:pt x="1268" y="607"/>
                      <a:pt x="1268" y="607"/>
                      <a:pt x="1268" y="607"/>
                    </a:cubicBezTo>
                    <a:cubicBezTo>
                      <a:pt x="1271" y="606"/>
                      <a:pt x="1271" y="606"/>
                      <a:pt x="1271" y="606"/>
                    </a:cubicBezTo>
                    <a:cubicBezTo>
                      <a:pt x="1271" y="603"/>
                      <a:pt x="1271" y="603"/>
                      <a:pt x="1271" y="603"/>
                    </a:cubicBezTo>
                    <a:cubicBezTo>
                      <a:pt x="1276" y="600"/>
                      <a:pt x="1276" y="600"/>
                      <a:pt x="1276" y="600"/>
                    </a:cubicBezTo>
                    <a:cubicBezTo>
                      <a:pt x="1278" y="600"/>
                      <a:pt x="1278" y="600"/>
                      <a:pt x="1278" y="600"/>
                    </a:cubicBezTo>
                    <a:cubicBezTo>
                      <a:pt x="1278" y="603"/>
                      <a:pt x="1278" y="603"/>
                      <a:pt x="1278" y="603"/>
                    </a:cubicBezTo>
                    <a:cubicBezTo>
                      <a:pt x="1272" y="607"/>
                      <a:pt x="1272" y="607"/>
                      <a:pt x="1272" y="607"/>
                    </a:cubicBezTo>
                    <a:cubicBezTo>
                      <a:pt x="1266" y="612"/>
                      <a:pt x="1266" y="612"/>
                      <a:pt x="1266" y="612"/>
                    </a:cubicBezTo>
                    <a:cubicBezTo>
                      <a:pt x="1263" y="612"/>
                      <a:pt x="1263" y="612"/>
                      <a:pt x="1263" y="612"/>
                    </a:cubicBezTo>
                    <a:cubicBezTo>
                      <a:pt x="1263" y="614"/>
                      <a:pt x="1263" y="614"/>
                      <a:pt x="1263" y="614"/>
                    </a:cubicBezTo>
                    <a:cubicBezTo>
                      <a:pt x="1265" y="615"/>
                      <a:pt x="1265" y="615"/>
                      <a:pt x="1265" y="615"/>
                    </a:cubicBezTo>
                    <a:cubicBezTo>
                      <a:pt x="1263" y="618"/>
                      <a:pt x="1263" y="618"/>
                      <a:pt x="1263" y="618"/>
                    </a:cubicBezTo>
                    <a:cubicBezTo>
                      <a:pt x="1262" y="621"/>
                      <a:pt x="1262" y="621"/>
                      <a:pt x="1262" y="621"/>
                    </a:cubicBezTo>
                    <a:cubicBezTo>
                      <a:pt x="1263" y="622"/>
                      <a:pt x="1263" y="622"/>
                      <a:pt x="1263" y="622"/>
                    </a:cubicBezTo>
                    <a:cubicBezTo>
                      <a:pt x="1266" y="619"/>
                      <a:pt x="1266" y="619"/>
                      <a:pt x="1266" y="619"/>
                    </a:cubicBezTo>
                    <a:cubicBezTo>
                      <a:pt x="1266" y="616"/>
                      <a:pt x="1266" y="616"/>
                      <a:pt x="1266" y="616"/>
                    </a:cubicBezTo>
                    <a:cubicBezTo>
                      <a:pt x="1272" y="611"/>
                      <a:pt x="1272" y="611"/>
                      <a:pt x="1272" y="611"/>
                    </a:cubicBezTo>
                    <a:cubicBezTo>
                      <a:pt x="1276" y="609"/>
                      <a:pt x="1276" y="609"/>
                      <a:pt x="1276" y="609"/>
                    </a:cubicBezTo>
                    <a:cubicBezTo>
                      <a:pt x="1275" y="611"/>
                      <a:pt x="1275" y="611"/>
                      <a:pt x="1275" y="611"/>
                    </a:cubicBezTo>
                    <a:cubicBezTo>
                      <a:pt x="1276" y="613"/>
                      <a:pt x="1276" y="613"/>
                      <a:pt x="1276" y="613"/>
                    </a:cubicBezTo>
                    <a:cubicBezTo>
                      <a:pt x="1274" y="616"/>
                      <a:pt x="1274" y="616"/>
                      <a:pt x="1274" y="616"/>
                    </a:cubicBezTo>
                    <a:cubicBezTo>
                      <a:pt x="1269" y="620"/>
                      <a:pt x="1269" y="620"/>
                      <a:pt x="1269" y="620"/>
                    </a:cubicBezTo>
                    <a:cubicBezTo>
                      <a:pt x="1269" y="622"/>
                      <a:pt x="1269" y="622"/>
                      <a:pt x="1269" y="622"/>
                    </a:cubicBezTo>
                    <a:cubicBezTo>
                      <a:pt x="1266" y="627"/>
                      <a:pt x="1266" y="627"/>
                      <a:pt x="1266" y="627"/>
                    </a:cubicBezTo>
                    <a:cubicBezTo>
                      <a:pt x="1264" y="629"/>
                      <a:pt x="1264" y="629"/>
                      <a:pt x="1264" y="629"/>
                    </a:cubicBezTo>
                    <a:cubicBezTo>
                      <a:pt x="1264" y="630"/>
                      <a:pt x="1264" y="630"/>
                      <a:pt x="1264" y="630"/>
                    </a:cubicBezTo>
                    <a:cubicBezTo>
                      <a:pt x="1268" y="629"/>
                      <a:pt x="1268" y="629"/>
                      <a:pt x="1268" y="629"/>
                    </a:cubicBezTo>
                    <a:cubicBezTo>
                      <a:pt x="1269" y="626"/>
                      <a:pt x="1269" y="626"/>
                      <a:pt x="1269" y="626"/>
                    </a:cubicBezTo>
                    <a:cubicBezTo>
                      <a:pt x="1274" y="620"/>
                      <a:pt x="1274" y="620"/>
                      <a:pt x="1274" y="620"/>
                    </a:cubicBezTo>
                    <a:cubicBezTo>
                      <a:pt x="1277" y="619"/>
                      <a:pt x="1277" y="619"/>
                      <a:pt x="1277" y="619"/>
                    </a:cubicBezTo>
                    <a:cubicBezTo>
                      <a:pt x="1278" y="621"/>
                      <a:pt x="1278" y="621"/>
                      <a:pt x="1278" y="621"/>
                    </a:cubicBezTo>
                    <a:cubicBezTo>
                      <a:pt x="1279" y="622"/>
                      <a:pt x="1279" y="622"/>
                      <a:pt x="1279" y="622"/>
                    </a:cubicBezTo>
                    <a:cubicBezTo>
                      <a:pt x="1279" y="624"/>
                      <a:pt x="1279" y="624"/>
                      <a:pt x="1279" y="624"/>
                    </a:cubicBezTo>
                    <a:cubicBezTo>
                      <a:pt x="1277" y="625"/>
                      <a:pt x="1277" y="625"/>
                      <a:pt x="1277" y="625"/>
                    </a:cubicBezTo>
                    <a:cubicBezTo>
                      <a:pt x="1273" y="629"/>
                      <a:pt x="1273" y="629"/>
                      <a:pt x="1273" y="629"/>
                    </a:cubicBezTo>
                    <a:cubicBezTo>
                      <a:pt x="1272" y="634"/>
                      <a:pt x="1272" y="634"/>
                      <a:pt x="1272" y="634"/>
                    </a:cubicBezTo>
                    <a:cubicBezTo>
                      <a:pt x="1274" y="635"/>
                      <a:pt x="1274" y="635"/>
                      <a:pt x="1274" y="635"/>
                    </a:cubicBezTo>
                    <a:cubicBezTo>
                      <a:pt x="1275" y="632"/>
                      <a:pt x="1275" y="632"/>
                      <a:pt x="1275" y="632"/>
                    </a:cubicBezTo>
                    <a:cubicBezTo>
                      <a:pt x="1276" y="629"/>
                      <a:pt x="1276" y="629"/>
                      <a:pt x="1276" y="629"/>
                    </a:cubicBezTo>
                    <a:cubicBezTo>
                      <a:pt x="1278" y="626"/>
                      <a:pt x="1278" y="626"/>
                      <a:pt x="1278" y="626"/>
                    </a:cubicBezTo>
                    <a:cubicBezTo>
                      <a:pt x="1282" y="624"/>
                      <a:pt x="1282" y="624"/>
                      <a:pt x="1282" y="624"/>
                    </a:cubicBezTo>
                    <a:cubicBezTo>
                      <a:pt x="1282" y="620"/>
                      <a:pt x="1282" y="620"/>
                      <a:pt x="1282" y="620"/>
                    </a:cubicBezTo>
                    <a:cubicBezTo>
                      <a:pt x="1284" y="618"/>
                      <a:pt x="1284" y="618"/>
                      <a:pt x="1284" y="618"/>
                    </a:cubicBezTo>
                    <a:cubicBezTo>
                      <a:pt x="1287" y="616"/>
                      <a:pt x="1287" y="616"/>
                      <a:pt x="1287" y="616"/>
                    </a:cubicBezTo>
                    <a:cubicBezTo>
                      <a:pt x="1287" y="613"/>
                      <a:pt x="1287" y="613"/>
                      <a:pt x="1287" y="613"/>
                    </a:cubicBezTo>
                    <a:cubicBezTo>
                      <a:pt x="1288" y="611"/>
                      <a:pt x="1288" y="611"/>
                      <a:pt x="1288" y="611"/>
                    </a:cubicBezTo>
                    <a:cubicBezTo>
                      <a:pt x="1290" y="611"/>
                      <a:pt x="1290" y="611"/>
                      <a:pt x="1290" y="611"/>
                    </a:cubicBezTo>
                    <a:cubicBezTo>
                      <a:pt x="1292" y="608"/>
                      <a:pt x="1292" y="608"/>
                      <a:pt x="1292" y="608"/>
                    </a:cubicBezTo>
                    <a:cubicBezTo>
                      <a:pt x="1292" y="606"/>
                      <a:pt x="1292" y="606"/>
                      <a:pt x="1292" y="606"/>
                    </a:cubicBezTo>
                    <a:cubicBezTo>
                      <a:pt x="1293" y="605"/>
                      <a:pt x="1293" y="605"/>
                      <a:pt x="1293" y="605"/>
                    </a:cubicBezTo>
                    <a:cubicBezTo>
                      <a:pt x="1296" y="611"/>
                      <a:pt x="1296" y="611"/>
                      <a:pt x="1296" y="611"/>
                    </a:cubicBezTo>
                    <a:cubicBezTo>
                      <a:pt x="1299" y="612"/>
                      <a:pt x="1299" y="612"/>
                      <a:pt x="1299" y="612"/>
                    </a:cubicBezTo>
                    <a:cubicBezTo>
                      <a:pt x="1302" y="616"/>
                      <a:pt x="1302" y="616"/>
                      <a:pt x="1302" y="616"/>
                    </a:cubicBezTo>
                    <a:cubicBezTo>
                      <a:pt x="1303" y="619"/>
                      <a:pt x="1303" y="619"/>
                      <a:pt x="1303" y="619"/>
                    </a:cubicBezTo>
                    <a:cubicBezTo>
                      <a:pt x="1304" y="622"/>
                      <a:pt x="1304" y="622"/>
                      <a:pt x="1304" y="622"/>
                    </a:cubicBezTo>
                    <a:cubicBezTo>
                      <a:pt x="1308" y="626"/>
                      <a:pt x="1308" y="626"/>
                      <a:pt x="1308" y="626"/>
                    </a:cubicBezTo>
                    <a:cubicBezTo>
                      <a:pt x="1308" y="628"/>
                      <a:pt x="1308" y="628"/>
                      <a:pt x="1308" y="628"/>
                    </a:cubicBezTo>
                    <a:cubicBezTo>
                      <a:pt x="1305" y="630"/>
                      <a:pt x="1305" y="630"/>
                      <a:pt x="1305" y="630"/>
                    </a:cubicBezTo>
                    <a:cubicBezTo>
                      <a:pt x="1302" y="635"/>
                      <a:pt x="1302" y="635"/>
                      <a:pt x="1302" y="635"/>
                    </a:cubicBezTo>
                    <a:cubicBezTo>
                      <a:pt x="1299" y="635"/>
                      <a:pt x="1299" y="635"/>
                      <a:pt x="1299" y="635"/>
                    </a:cubicBezTo>
                    <a:cubicBezTo>
                      <a:pt x="1297" y="633"/>
                      <a:pt x="1297" y="633"/>
                      <a:pt x="1297" y="633"/>
                    </a:cubicBezTo>
                    <a:cubicBezTo>
                      <a:pt x="1294" y="630"/>
                      <a:pt x="1294" y="630"/>
                      <a:pt x="1294" y="630"/>
                    </a:cubicBezTo>
                    <a:cubicBezTo>
                      <a:pt x="1292" y="630"/>
                      <a:pt x="1292" y="630"/>
                      <a:pt x="1292" y="630"/>
                    </a:cubicBezTo>
                    <a:cubicBezTo>
                      <a:pt x="1290" y="632"/>
                      <a:pt x="1290" y="632"/>
                      <a:pt x="1290" y="632"/>
                    </a:cubicBezTo>
                    <a:cubicBezTo>
                      <a:pt x="1288" y="632"/>
                      <a:pt x="1288" y="632"/>
                      <a:pt x="1288" y="632"/>
                    </a:cubicBezTo>
                    <a:cubicBezTo>
                      <a:pt x="1286" y="636"/>
                      <a:pt x="1286" y="636"/>
                      <a:pt x="1286" y="636"/>
                    </a:cubicBezTo>
                    <a:cubicBezTo>
                      <a:pt x="1283" y="637"/>
                      <a:pt x="1283" y="637"/>
                      <a:pt x="1283" y="637"/>
                    </a:cubicBezTo>
                    <a:cubicBezTo>
                      <a:pt x="1281" y="637"/>
                      <a:pt x="1281" y="637"/>
                      <a:pt x="1281" y="637"/>
                    </a:cubicBezTo>
                    <a:cubicBezTo>
                      <a:pt x="1279" y="640"/>
                      <a:pt x="1279" y="640"/>
                      <a:pt x="1279" y="640"/>
                    </a:cubicBezTo>
                    <a:cubicBezTo>
                      <a:pt x="1283" y="639"/>
                      <a:pt x="1283" y="639"/>
                      <a:pt x="1283" y="639"/>
                    </a:cubicBezTo>
                    <a:cubicBezTo>
                      <a:pt x="1285" y="639"/>
                      <a:pt x="1285" y="639"/>
                      <a:pt x="1285" y="639"/>
                    </a:cubicBezTo>
                    <a:cubicBezTo>
                      <a:pt x="1286" y="641"/>
                      <a:pt x="1286" y="641"/>
                      <a:pt x="1286" y="641"/>
                    </a:cubicBezTo>
                    <a:cubicBezTo>
                      <a:pt x="1283" y="644"/>
                      <a:pt x="1283" y="644"/>
                      <a:pt x="1283" y="644"/>
                    </a:cubicBezTo>
                    <a:cubicBezTo>
                      <a:pt x="1280" y="646"/>
                      <a:pt x="1280" y="646"/>
                      <a:pt x="1280" y="646"/>
                    </a:cubicBezTo>
                    <a:cubicBezTo>
                      <a:pt x="1277" y="647"/>
                      <a:pt x="1277" y="647"/>
                      <a:pt x="1277" y="647"/>
                    </a:cubicBezTo>
                    <a:cubicBezTo>
                      <a:pt x="1281" y="648"/>
                      <a:pt x="1281" y="648"/>
                      <a:pt x="1281" y="648"/>
                    </a:cubicBezTo>
                    <a:cubicBezTo>
                      <a:pt x="1284" y="646"/>
                      <a:pt x="1284" y="646"/>
                      <a:pt x="1284" y="646"/>
                    </a:cubicBezTo>
                    <a:cubicBezTo>
                      <a:pt x="1289" y="645"/>
                      <a:pt x="1289" y="645"/>
                      <a:pt x="1289" y="645"/>
                    </a:cubicBezTo>
                    <a:cubicBezTo>
                      <a:pt x="1292" y="646"/>
                      <a:pt x="1292" y="646"/>
                      <a:pt x="1292" y="646"/>
                    </a:cubicBezTo>
                    <a:cubicBezTo>
                      <a:pt x="1295" y="643"/>
                      <a:pt x="1295" y="643"/>
                      <a:pt x="1295" y="643"/>
                    </a:cubicBezTo>
                    <a:cubicBezTo>
                      <a:pt x="1298" y="643"/>
                      <a:pt x="1298" y="643"/>
                      <a:pt x="1298" y="643"/>
                    </a:cubicBezTo>
                    <a:cubicBezTo>
                      <a:pt x="1300" y="645"/>
                      <a:pt x="1300" y="645"/>
                      <a:pt x="1300" y="645"/>
                    </a:cubicBezTo>
                    <a:cubicBezTo>
                      <a:pt x="1301" y="646"/>
                      <a:pt x="1301" y="646"/>
                      <a:pt x="1301" y="646"/>
                    </a:cubicBezTo>
                    <a:cubicBezTo>
                      <a:pt x="1300" y="648"/>
                      <a:pt x="1300" y="648"/>
                      <a:pt x="1300" y="648"/>
                    </a:cubicBezTo>
                    <a:cubicBezTo>
                      <a:pt x="1302" y="647"/>
                      <a:pt x="1302" y="647"/>
                      <a:pt x="1302" y="647"/>
                    </a:cubicBezTo>
                    <a:cubicBezTo>
                      <a:pt x="1303" y="643"/>
                      <a:pt x="1303" y="643"/>
                      <a:pt x="1303" y="643"/>
                    </a:cubicBezTo>
                    <a:cubicBezTo>
                      <a:pt x="1302" y="640"/>
                      <a:pt x="1302" y="640"/>
                      <a:pt x="1302" y="640"/>
                    </a:cubicBezTo>
                    <a:cubicBezTo>
                      <a:pt x="1305" y="637"/>
                      <a:pt x="1305" y="637"/>
                      <a:pt x="1305" y="637"/>
                    </a:cubicBezTo>
                    <a:cubicBezTo>
                      <a:pt x="1310" y="634"/>
                      <a:pt x="1310" y="634"/>
                      <a:pt x="1310" y="634"/>
                    </a:cubicBezTo>
                    <a:cubicBezTo>
                      <a:pt x="1311" y="635"/>
                      <a:pt x="1311" y="635"/>
                      <a:pt x="1311" y="635"/>
                    </a:cubicBezTo>
                    <a:cubicBezTo>
                      <a:pt x="1311" y="638"/>
                      <a:pt x="1311" y="638"/>
                      <a:pt x="1311" y="638"/>
                    </a:cubicBezTo>
                    <a:cubicBezTo>
                      <a:pt x="1312" y="641"/>
                      <a:pt x="1312" y="641"/>
                      <a:pt x="1312" y="641"/>
                    </a:cubicBezTo>
                    <a:cubicBezTo>
                      <a:pt x="1310" y="644"/>
                      <a:pt x="1310" y="644"/>
                      <a:pt x="1310" y="644"/>
                    </a:cubicBezTo>
                    <a:cubicBezTo>
                      <a:pt x="1307" y="648"/>
                      <a:pt x="1307" y="648"/>
                      <a:pt x="1307" y="648"/>
                    </a:cubicBezTo>
                    <a:cubicBezTo>
                      <a:pt x="1303" y="650"/>
                      <a:pt x="1303" y="650"/>
                      <a:pt x="1303" y="650"/>
                    </a:cubicBezTo>
                    <a:cubicBezTo>
                      <a:pt x="1300" y="652"/>
                      <a:pt x="1300" y="652"/>
                      <a:pt x="1300" y="652"/>
                    </a:cubicBezTo>
                    <a:cubicBezTo>
                      <a:pt x="1299" y="654"/>
                      <a:pt x="1299" y="654"/>
                      <a:pt x="1299" y="654"/>
                    </a:cubicBezTo>
                    <a:cubicBezTo>
                      <a:pt x="1296" y="654"/>
                      <a:pt x="1296" y="654"/>
                      <a:pt x="1296" y="654"/>
                    </a:cubicBezTo>
                    <a:cubicBezTo>
                      <a:pt x="1294" y="653"/>
                      <a:pt x="1294" y="653"/>
                      <a:pt x="1294" y="653"/>
                    </a:cubicBezTo>
                    <a:cubicBezTo>
                      <a:pt x="1291" y="653"/>
                      <a:pt x="1291" y="653"/>
                      <a:pt x="1291" y="653"/>
                    </a:cubicBezTo>
                    <a:cubicBezTo>
                      <a:pt x="1289" y="655"/>
                      <a:pt x="1289" y="655"/>
                      <a:pt x="1289" y="655"/>
                    </a:cubicBezTo>
                    <a:cubicBezTo>
                      <a:pt x="1289" y="658"/>
                      <a:pt x="1289" y="658"/>
                      <a:pt x="1289" y="658"/>
                    </a:cubicBezTo>
                    <a:cubicBezTo>
                      <a:pt x="1285" y="661"/>
                      <a:pt x="1285" y="661"/>
                      <a:pt x="1285" y="661"/>
                    </a:cubicBezTo>
                    <a:cubicBezTo>
                      <a:pt x="1285" y="663"/>
                      <a:pt x="1285" y="663"/>
                      <a:pt x="1285" y="663"/>
                    </a:cubicBezTo>
                    <a:cubicBezTo>
                      <a:pt x="1284" y="665"/>
                      <a:pt x="1284" y="665"/>
                      <a:pt x="1284" y="665"/>
                    </a:cubicBezTo>
                    <a:cubicBezTo>
                      <a:pt x="1286" y="665"/>
                      <a:pt x="1286" y="665"/>
                      <a:pt x="1286" y="665"/>
                    </a:cubicBezTo>
                    <a:cubicBezTo>
                      <a:pt x="1290" y="660"/>
                      <a:pt x="1290" y="660"/>
                      <a:pt x="1290" y="660"/>
                    </a:cubicBezTo>
                    <a:cubicBezTo>
                      <a:pt x="1293" y="656"/>
                      <a:pt x="1293" y="656"/>
                      <a:pt x="1293" y="656"/>
                    </a:cubicBezTo>
                    <a:cubicBezTo>
                      <a:pt x="1295" y="655"/>
                      <a:pt x="1295" y="655"/>
                      <a:pt x="1295" y="655"/>
                    </a:cubicBezTo>
                    <a:cubicBezTo>
                      <a:pt x="1296" y="656"/>
                      <a:pt x="1296" y="656"/>
                      <a:pt x="1296" y="656"/>
                    </a:cubicBezTo>
                    <a:cubicBezTo>
                      <a:pt x="1297" y="656"/>
                      <a:pt x="1297" y="656"/>
                      <a:pt x="1297" y="656"/>
                    </a:cubicBezTo>
                    <a:cubicBezTo>
                      <a:pt x="1298" y="657"/>
                      <a:pt x="1298" y="657"/>
                      <a:pt x="1298" y="657"/>
                    </a:cubicBezTo>
                    <a:cubicBezTo>
                      <a:pt x="1296" y="659"/>
                      <a:pt x="1296" y="659"/>
                      <a:pt x="1296" y="659"/>
                    </a:cubicBezTo>
                    <a:cubicBezTo>
                      <a:pt x="1294" y="663"/>
                      <a:pt x="1294" y="663"/>
                      <a:pt x="1294" y="663"/>
                    </a:cubicBezTo>
                    <a:cubicBezTo>
                      <a:pt x="1289" y="668"/>
                      <a:pt x="1289" y="668"/>
                      <a:pt x="1289" y="668"/>
                    </a:cubicBezTo>
                    <a:cubicBezTo>
                      <a:pt x="1286" y="670"/>
                      <a:pt x="1286" y="670"/>
                      <a:pt x="1286" y="670"/>
                    </a:cubicBezTo>
                    <a:cubicBezTo>
                      <a:pt x="1286" y="672"/>
                      <a:pt x="1286" y="672"/>
                      <a:pt x="1286" y="672"/>
                    </a:cubicBezTo>
                    <a:cubicBezTo>
                      <a:pt x="1292" y="668"/>
                      <a:pt x="1292" y="668"/>
                      <a:pt x="1292" y="668"/>
                    </a:cubicBezTo>
                    <a:cubicBezTo>
                      <a:pt x="1299" y="662"/>
                      <a:pt x="1299" y="662"/>
                      <a:pt x="1299" y="662"/>
                    </a:cubicBezTo>
                    <a:cubicBezTo>
                      <a:pt x="1301" y="656"/>
                      <a:pt x="1301" y="656"/>
                      <a:pt x="1301" y="656"/>
                    </a:cubicBezTo>
                    <a:cubicBezTo>
                      <a:pt x="1302" y="653"/>
                      <a:pt x="1302" y="653"/>
                      <a:pt x="1302" y="653"/>
                    </a:cubicBezTo>
                    <a:cubicBezTo>
                      <a:pt x="1303" y="651"/>
                      <a:pt x="1303" y="651"/>
                      <a:pt x="1303" y="651"/>
                    </a:cubicBezTo>
                    <a:cubicBezTo>
                      <a:pt x="1306" y="651"/>
                      <a:pt x="1306" y="651"/>
                      <a:pt x="1306" y="651"/>
                    </a:cubicBezTo>
                    <a:cubicBezTo>
                      <a:pt x="1311" y="648"/>
                      <a:pt x="1311" y="648"/>
                      <a:pt x="1311" y="648"/>
                    </a:cubicBezTo>
                    <a:cubicBezTo>
                      <a:pt x="1316" y="646"/>
                      <a:pt x="1316" y="646"/>
                      <a:pt x="1316" y="646"/>
                    </a:cubicBezTo>
                    <a:cubicBezTo>
                      <a:pt x="1318" y="645"/>
                      <a:pt x="1318" y="645"/>
                      <a:pt x="1318" y="645"/>
                    </a:cubicBezTo>
                    <a:cubicBezTo>
                      <a:pt x="1319" y="646"/>
                      <a:pt x="1319" y="646"/>
                      <a:pt x="1319" y="646"/>
                    </a:cubicBezTo>
                    <a:cubicBezTo>
                      <a:pt x="1317" y="649"/>
                      <a:pt x="1317" y="649"/>
                      <a:pt x="1317" y="649"/>
                    </a:cubicBezTo>
                    <a:cubicBezTo>
                      <a:pt x="1313" y="652"/>
                      <a:pt x="1313" y="652"/>
                      <a:pt x="1313" y="652"/>
                    </a:cubicBezTo>
                    <a:cubicBezTo>
                      <a:pt x="1310" y="652"/>
                      <a:pt x="1310" y="652"/>
                      <a:pt x="1310" y="652"/>
                    </a:cubicBezTo>
                    <a:cubicBezTo>
                      <a:pt x="1308" y="654"/>
                      <a:pt x="1308" y="654"/>
                      <a:pt x="1308" y="654"/>
                    </a:cubicBezTo>
                    <a:cubicBezTo>
                      <a:pt x="1307" y="657"/>
                      <a:pt x="1307" y="657"/>
                      <a:pt x="1307" y="657"/>
                    </a:cubicBezTo>
                    <a:cubicBezTo>
                      <a:pt x="1308" y="658"/>
                      <a:pt x="1308" y="658"/>
                      <a:pt x="1308" y="658"/>
                    </a:cubicBezTo>
                    <a:cubicBezTo>
                      <a:pt x="1310" y="656"/>
                      <a:pt x="1310" y="656"/>
                      <a:pt x="1310" y="656"/>
                    </a:cubicBezTo>
                    <a:cubicBezTo>
                      <a:pt x="1314" y="655"/>
                      <a:pt x="1314" y="655"/>
                      <a:pt x="1314" y="655"/>
                    </a:cubicBezTo>
                    <a:cubicBezTo>
                      <a:pt x="1318" y="652"/>
                      <a:pt x="1318" y="652"/>
                      <a:pt x="1318" y="652"/>
                    </a:cubicBezTo>
                    <a:cubicBezTo>
                      <a:pt x="1320" y="651"/>
                      <a:pt x="1320" y="651"/>
                      <a:pt x="1320" y="651"/>
                    </a:cubicBezTo>
                    <a:cubicBezTo>
                      <a:pt x="1322" y="650"/>
                      <a:pt x="1322" y="650"/>
                      <a:pt x="1322" y="650"/>
                    </a:cubicBezTo>
                    <a:cubicBezTo>
                      <a:pt x="1325" y="648"/>
                      <a:pt x="1325" y="648"/>
                      <a:pt x="1325" y="648"/>
                    </a:cubicBezTo>
                    <a:cubicBezTo>
                      <a:pt x="1328" y="649"/>
                      <a:pt x="1328" y="649"/>
                      <a:pt x="1328" y="649"/>
                    </a:cubicBezTo>
                    <a:cubicBezTo>
                      <a:pt x="1329" y="652"/>
                      <a:pt x="1329" y="652"/>
                      <a:pt x="1329" y="652"/>
                    </a:cubicBezTo>
                    <a:cubicBezTo>
                      <a:pt x="1333" y="656"/>
                      <a:pt x="1333" y="656"/>
                      <a:pt x="1333" y="656"/>
                    </a:cubicBezTo>
                    <a:cubicBezTo>
                      <a:pt x="1335" y="660"/>
                      <a:pt x="1335" y="660"/>
                      <a:pt x="1335" y="660"/>
                    </a:cubicBezTo>
                    <a:cubicBezTo>
                      <a:pt x="1338" y="661"/>
                      <a:pt x="1338" y="661"/>
                      <a:pt x="1338" y="661"/>
                    </a:cubicBezTo>
                    <a:cubicBezTo>
                      <a:pt x="1339" y="663"/>
                      <a:pt x="1339" y="663"/>
                      <a:pt x="1339" y="663"/>
                    </a:cubicBezTo>
                    <a:cubicBezTo>
                      <a:pt x="1339" y="666"/>
                      <a:pt x="1339" y="666"/>
                      <a:pt x="1339" y="666"/>
                    </a:cubicBezTo>
                    <a:cubicBezTo>
                      <a:pt x="1335" y="669"/>
                      <a:pt x="1335" y="669"/>
                      <a:pt x="1335" y="669"/>
                    </a:cubicBezTo>
                    <a:cubicBezTo>
                      <a:pt x="1333" y="669"/>
                      <a:pt x="1333" y="669"/>
                      <a:pt x="1333" y="669"/>
                    </a:cubicBezTo>
                    <a:cubicBezTo>
                      <a:pt x="1334" y="665"/>
                      <a:pt x="1334" y="665"/>
                      <a:pt x="1334" y="665"/>
                    </a:cubicBezTo>
                    <a:cubicBezTo>
                      <a:pt x="1331" y="666"/>
                      <a:pt x="1331" y="666"/>
                      <a:pt x="1331" y="666"/>
                    </a:cubicBezTo>
                    <a:cubicBezTo>
                      <a:pt x="1331" y="667"/>
                      <a:pt x="1331" y="667"/>
                      <a:pt x="1331" y="667"/>
                    </a:cubicBezTo>
                    <a:cubicBezTo>
                      <a:pt x="1329" y="669"/>
                      <a:pt x="1329" y="669"/>
                      <a:pt x="1329" y="669"/>
                    </a:cubicBezTo>
                    <a:cubicBezTo>
                      <a:pt x="1326" y="672"/>
                      <a:pt x="1326" y="672"/>
                      <a:pt x="1326" y="672"/>
                    </a:cubicBezTo>
                    <a:cubicBezTo>
                      <a:pt x="1320" y="672"/>
                      <a:pt x="1320" y="672"/>
                      <a:pt x="1320" y="672"/>
                    </a:cubicBezTo>
                    <a:cubicBezTo>
                      <a:pt x="1318" y="673"/>
                      <a:pt x="1318" y="673"/>
                      <a:pt x="1318" y="673"/>
                    </a:cubicBezTo>
                    <a:cubicBezTo>
                      <a:pt x="1314" y="673"/>
                      <a:pt x="1314" y="673"/>
                      <a:pt x="1314" y="673"/>
                    </a:cubicBezTo>
                    <a:cubicBezTo>
                      <a:pt x="1309" y="676"/>
                      <a:pt x="1309" y="676"/>
                      <a:pt x="1309" y="676"/>
                    </a:cubicBezTo>
                    <a:cubicBezTo>
                      <a:pt x="1305" y="677"/>
                      <a:pt x="1305" y="677"/>
                      <a:pt x="1305" y="677"/>
                    </a:cubicBezTo>
                    <a:cubicBezTo>
                      <a:pt x="1300" y="679"/>
                      <a:pt x="1300" y="679"/>
                      <a:pt x="1300" y="679"/>
                    </a:cubicBezTo>
                    <a:cubicBezTo>
                      <a:pt x="1304" y="679"/>
                      <a:pt x="1304" y="679"/>
                      <a:pt x="1304" y="679"/>
                    </a:cubicBezTo>
                    <a:cubicBezTo>
                      <a:pt x="1305" y="680"/>
                      <a:pt x="1305" y="680"/>
                      <a:pt x="1305" y="680"/>
                    </a:cubicBezTo>
                    <a:cubicBezTo>
                      <a:pt x="1304" y="682"/>
                      <a:pt x="1304" y="682"/>
                      <a:pt x="1304" y="682"/>
                    </a:cubicBezTo>
                    <a:cubicBezTo>
                      <a:pt x="1300" y="683"/>
                      <a:pt x="1300" y="683"/>
                      <a:pt x="1300" y="683"/>
                    </a:cubicBezTo>
                    <a:cubicBezTo>
                      <a:pt x="1298" y="685"/>
                      <a:pt x="1298" y="685"/>
                      <a:pt x="1298" y="685"/>
                    </a:cubicBezTo>
                    <a:cubicBezTo>
                      <a:pt x="1305" y="684"/>
                      <a:pt x="1305" y="684"/>
                      <a:pt x="1305" y="684"/>
                    </a:cubicBezTo>
                    <a:cubicBezTo>
                      <a:pt x="1308" y="681"/>
                      <a:pt x="1308" y="681"/>
                      <a:pt x="1308" y="681"/>
                    </a:cubicBezTo>
                    <a:cubicBezTo>
                      <a:pt x="1314" y="676"/>
                      <a:pt x="1314" y="676"/>
                      <a:pt x="1314" y="676"/>
                    </a:cubicBezTo>
                    <a:cubicBezTo>
                      <a:pt x="1318" y="675"/>
                      <a:pt x="1318" y="675"/>
                      <a:pt x="1318" y="675"/>
                    </a:cubicBezTo>
                    <a:cubicBezTo>
                      <a:pt x="1321" y="676"/>
                      <a:pt x="1321" y="676"/>
                      <a:pt x="1321" y="676"/>
                    </a:cubicBezTo>
                    <a:cubicBezTo>
                      <a:pt x="1324" y="675"/>
                      <a:pt x="1324" y="675"/>
                      <a:pt x="1324" y="675"/>
                    </a:cubicBezTo>
                    <a:cubicBezTo>
                      <a:pt x="1326" y="675"/>
                      <a:pt x="1326" y="675"/>
                      <a:pt x="1326" y="675"/>
                    </a:cubicBezTo>
                    <a:cubicBezTo>
                      <a:pt x="1326" y="677"/>
                      <a:pt x="1326" y="677"/>
                      <a:pt x="1326" y="677"/>
                    </a:cubicBezTo>
                    <a:cubicBezTo>
                      <a:pt x="1326" y="680"/>
                      <a:pt x="1326" y="680"/>
                      <a:pt x="1326" y="680"/>
                    </a:cubicBezTo>
                    <a:cubicBezTo>
                      <a:pt x="1323" y="682"/>
                      <a:pt x="1323" y="682"/>
                      <a:pt x="1323" y="682"/>
                    </a:cubicBezTo>
                    <a:cubicBezTo>
                      <a:pt x="1320" y="684"/>
                      <a:pt x="1320" y="684"/>
                      <a:pt x="1320" y="684"/>
                    </a:cubicBezTo>
                    <a:cubicBezTo>
                      <a:pt x="1318" y="684"/>
                      <a:pt x="1318" y="684"/>
                      <a:pt x="1318" y="684"/>
                    </a:cubicBezTo>
                    <a:cubicBezTo>
                      <a:pt x="1315" y="685"/>
                      <a:pt x="1315" y="685"/>
                      <a:pt x="1315" y="685"/>
                    </a:cubicBezTo>
                    <a:cubicBezTo>
                      <a:pt x="1313" y="689"/>
                      <a:pt x="1313" y="689"/>
                      <a:pt x="1313" y="689"/>
                    </a:cubicBezTo>
                    <a:cubicBezTo>
                      <a:pt x="1310" y="690"/>
                      <a:pt x="1310" y="690"/>
                      <a:pt x="1310" y="690"/>
                    </a:cubicBezTo>
                    <a:cubicBezTo>
                      <a:pt x="1307" y="688"/>
                      <a:pt x="1307" y="688"/>
                      <a:pt x="1307" y="688"/>
                    </a:cubicBezTo>
                    <a:cubicBezTo>
                      <a:pt x="1305" y="689"/>
                      <a:pt x="1305" y="689"/>
                      <a:pt x="1305" y="689"/>
                    </a:cubicBezTo>
                    <a:cubicBezTo>
                      <a:pt x="1301" y="692"/>
                      <a:pt x="1301" y="692"/>
                      <a:pt x="1301" y="692"/>
                    </a:cubicBezTo>
                    <a:cubicBezTo>
                      <a:pt x="1303" y="692"/>
                      <a:pt x="1303" y="692"/>
                      <a:pt x="1303" y="692"/>
                    </a:cubicBezTo>
                    <a:cubicBezTo>
                      <a:pt x="1307" y="691"/>
                      <a:pt x="1307" y="691"/>
                      <a:pt x="1307" y="691"/>
                    </a:cubicBezTo>
                    <a:cubicBezTo>
                      <a:pt x="1309" y="691"/>
                      <a:pt x="1309" y="691"/>
                      <a:pt x="1309" y="691"/>
                    </a:cubicBezTo>
                    <a:cubicBezTo>
                      <a:pt x="1311" y="692"/>
                      <a:pt x="1311" y="692"/>
                      <a:pt x="1311" y="692"/>
                    </a:cubicBezTo>
                    <a:cubicBezTo>
                      <a:pt x="1315" y="689"/>
                      <a:pt x="1315" y="689"/>
                      <a:pt x="1315" y="689"/>
                    </a:cubicBezTo>
                    <a:cubicBezTo>
                      <a:pt x="1317" y="686"/>
                      <a:pt x="1317" y="686"/>
                      <a:pt x="1317" y="686"/>
                    </a:cubicBezTo>
                    <a:cubicBezTo>
                      <a:pt x="1321" y="685"/>
                      <a:pt x="1321" y="685"/>
                      <a:pt x="1321" y="685"/>
                    </a:cubicBezTo>
                    <a:cubicBezTo>
                      <a:pt x="1323" y="686"/>
                      <a:pt x="1323" y="686"/>
                      <a:pt x="1323" y="686"/>
                    </a:cubicBezTo>
                    <a:cubicBezTo>
                      <a:pt x="1327" y="686"/>
                      <a:pt x="1327" y="686"/>
                      <a:pt x="1327" y="686"/>
                    </a:cubicBezTo>
                    <a:cubicBezTo>
                      <a:pt x="1329" y="684"/>
                      <a:pt x="1329" y="684"/>
                      <a:pt x="1329" y="684"/>
                    </a:cubicBezTo>
                    <a:cubicBezTo>
                      <a:pt x="1333" y="682"/>
                      <a:pt x="1333" y="682"/>
                      <a:pt x="1333" y="682"/>
                    </a:cubicBezTo>
                    <a:cubicBezTo>
                      <a:pt x="1334" y="681"/>
                      <a:pt x="1334" y="681"/>
                      <a:pt x="1334" y="681"/>
                    </a:cubicBezTo>
                    <a:cubicBezTo>
                      <a:pt x="1334" y="679"/>
                      <a:pt x="1334" y="679"/>
                      <a:pt x="1334" y="679"/>
                    </a:cubicBezTo>
                    <a:cubicBezTo>
                      <a:pt x="1333" y="678"/>
                      <a:pt x="1333" y="678"/>
                      <a:pt x="1333" y="678"/>
                    </a:cubicBezTo>
                    <a:cubicBezTo>
                      <a:pt x="1335" y="675"/>
                      <a:pt x="1335" y="675"/>
                      <a:pt x="1335" y="675"/>
                    </a:cubicBezTo>
                    <a:cubicBezTo>
                      <a:pt x="1335" y="673"/>
                      <a:pt x="1335" y="673"/>
                      <a:pt x="1335" y="673"/>
                    </a:cubicBezTo>
                    <a:cubicBezTo>
                      <a:pt x="1338" y="672"/>
                      <a:pt x="1338" y="672"/>
                      <a:pt x="1338" y="672"/>
                    </a:cubicBezTo>
                    <a:cubicBezTo>
                      <a:pt x="1338" y="673"/>
                      <a:pt x="1338" y="673"/>
                      <a:pt x="1338" y="673"/>
                    </a:cubicBezTo>
                    <a:cubicBezTo>
                      <a:pt x="1340" y="672"/>
                      <a:pt x="1340" y="672"/>
                      <a:pt x="1340" y="672"/>
                    </a:cubicBezTo>
                    <a:cubicBezTo>
                      <a:pt x="1341" y="676"/>
                      <a:pt x="1341" y="676"/>
                      <a:pt x="1341" y="676"/>
                    </a:cubicBezTo>
                    <a:cubicBezTo>
                      <a:pt x="1344" y="684"/>
                      <a:pt x="1344" y="684"/>
                      <a:pt x="1344" y="684"/>
                    </a:cubicBezTo>
                    <a:cubicBezTo>
                      <a:pt x="1345" y="688"/>
                      <a:pt x="1345" y="688"/>
                      <a:pt x="1345" y="688"/>
                    </a:cubicBezTo>
                    <a:cubicBezTo>
                      <a:pt x="1347" y="691"/>
                      <a:pt x="1347" y="691"/>
                      <a:pt x="1347" y="691"/>
                    </a:cubicBezTo>
                    <a:cubicBezTo>
                      <a:pt x="1347" y="694"/>
                      <a:pt x="1347" y="694"/>
                      <a:pt x="1347" y="694"/>
                    </a:cubicBezTo>
                    <a:cubicBezTo>
                      <a:pt x="1345" y="696"/>
                      <a:pt x="1345" y="696"/>
                      <a:pt x="1345" y="696"/>
                    </a:cubicBezTo>
                    <a:cubicBezTo>
                      <a:pt x="1341" y="696"/>
                      <a:pt x="1341" y="696"/>
                      <a:pt x="1341" y="696"/>
                    </a:cubicBezTo>
                    <a:cubicBezTo>
                      <a:pt x="1339" y="694"/>
                      <a:pt x="1339" y="694"/>
                      <a:pt x="1339" y="694"/>
                    </a:cubicBezTo>
                    <a:cubicBezTo>
                      <a:pt x="1333" y="694"/>
                      <a:pt x="1333" y="694"/>
                      <a:pt x="1333" y="694"/>
                    </a:cubicBezTo>
                    <a:cubicBezTo>
                      <a:pt x="1330" y="695"/>
                      <a:pt x="1330" y="695"/>
                      <a:pt x="1330" y="695"/>
                    </a:cubicBezTo>
                    <a:cubicBezTo>
                      <a:pt x="1327" y="697"/>
                      <a:pt x="1327" y="697"/>
                      <a:pt x="1327" y="697"/>
                    </a:cubicBezTo>
                    <a:cubicBezTo>
                      <a:pt x="1325" y="697"/>
                      <a:pt x="1325" y="697"/>
                      <a:pt x="1325" y="697"/>
                    </a:cubicBezTo>
                    <a:cubicBezTo>
                      <a:pt x="1324" y="696"/>
                      <a:pt x="1324" y="696"/>
                      <a:pt x="1324" y="696"/>
                    </a:cubicBezTo>
                    <a:cubicBezTo>
                      <a:pt x="1321" y="696"/>
                      <a:pt x="1321" y="696"/>
                      <a:pt x="1321" y="696"/>
                    </a:cubicBezTo>
                    <a:cubicBezTo>
                      <a:pt x="1319" y="699"/>
                      <a:pt x="1319" y="699"/>
                      <a:pt x="1319" y="699"/>
                    </a:cubicBezTo>
                    <a:cubicBezTo>
                      <a:pt x="1313" y="699"/>
                      <a:pt x="1313" y="699"/>
                      <a:pt x="1313" y="699"/>
                    </a:cubicBezTo>
                    <a:cubicBezTo>
                      <a:pt x="1315" y="700"/>
                      <a:pt x="1315" y="700"/>
                      <a:pt x="1315" y="700"/>
                    </a:cubicBezTo>
                    <a:cubicBezTo>
                      <a:pt x="1322" y="699"/>
                      <a:pt x="1322" y="699"/>
                      <a:pt x="1322" y="699"/>
                    </a:cubicBezTo>
                    <a:cubicBezTo>
                      <a:pt x="1325" y="700"/>
                      <a:pt x="1325" y="700"/>
                      <a:pt x="1325" y="700"/>
                    </a:cubicBezTo>
                    <a:cubicBezTo>
                      <a:pt x="1331" y="705"/>
                      <a:pt x="1331" y="705"/>
                      <a:pt x="1331" y="705"/>
                    </a:cubicBezTo>
                    <a:cubicBezTo>
                      <a:pt x="1333" y="706"/>
                      <a:pt x="1333" y="706"/>
                      <a:pt x="1333" y="706"/>
                    </a:cubicBezTo>
                    <a:cubicBezTo>
                      <a:pt x="1335" y="705"/>
                      <a:pt x="1335" y="705"/>
                      <a:pt x="1335" y="705"/>
                    </a:cubicBezTo>
                    <a:cubicBezTo>
                      <a:pt x="1337" y="705"/>
                      <a:pt x="1337" y="705"/>
                      <a:pt x="1337" y="705"/>
                    </a:cubicBezTo>
                    <a:cubicBezTo>
                      <a:pt x="1339" y="706"/>
                      <a:pt x="1339" y="706"/>
                      <a:pt x="1339" y="706"/>
                    </a:cubicBezTo>
                    <a:cubicBezTo>
                      <a:pt x="1342" y="708"/>
                      <a:pt x="1342" y="708"/>
                      <a:pt x="1342" y="708"/>
                    </a:cubicBezTo>
                    <a:cubicBezTo>
                      <a:pt x="1346" y="709"/>
                      <a:pt x="1346" y="709"/>
                      <a:pt x="1346" y="709"/>
                    </a:cubicBezTo>
                    <a:cubicBezTo>
                      <a:pt x="1347" y="712"/>
                      <a:pt x="1347" y="712"/>
                      <a:pt x="1347" y="712"/>
                    </a:cubicBezTo>
                    <a:cubicBezTo>
                      <a:pt x="1348" y="715"/>
                      <a:pt x="1348" y="715"/>
                      <a:pt x="1348" y="715"/>
                    </a:cubicBezTo>
                    <a:cubicBezTo>
                      <a:pt x="1349" y="719"/>
                      <a:pt x="1349" y="719"/>
                      <a:pt x="1349" y="719"/>
                    </a:cubicBezTo>
                    <a:cubicBezTo>
                      <a:pt x="1347" y="720"/>
                      <a:pt x="1347" y="720"/>
                      <a:pt x="1347" y="720"/>
                    </a:cubicBezTo>
                    <a:cubicBezTo>
                      <a:pt x="1344" y="720"/>
                      <a:pt x="1344" y="720"/>
                      <a:pt x="1344" y="720"/>
                    </a:cubicBezTo>
                    <a:cubicBezTo>
                      <a:pt x="1343" y="717"/>
                      <a:pt x="1343" y="717"/>
                      <a:pt x="1343" y="717"/>
                    </a:cubicBezTo>
                    <a:cubicBezTo>
                      <a:pt x="1341" y="717"/>
                      <a:pt x="1341" y="717"/>
                      <a:pt x="1341" y="717"/>
                    </a:cubicBezTo>
                    <a:cubicBezTo>
                      <a:pt x="1340" y="719"/>
                      <a:pt x="1340" y="719"/>
                      <a:pt x="1340" y="719"/>
                    </a:cubicBezTo>
                    <a:cubicBezTo>
                      <a:pt x="1338" y="718"/>
                      <a:pt x="1338" y="718"/>
                      <a:pt x="1338" y="718"/>
                    </a:cubicBezTo>
                    <a:cubicBezTo>
                      <a:pt x="1337" y="717"/>
                      <a:pt x="1337" y="717"/>
                      <a:pt x="1337" y="717"/>
                    </a:cubicBezTo>
                    <a:cubicBezTo>
                      <a:pt x="1335" y="718"/>
                      <a:pt x="1335" y="718"/>
                      <a:pt x="1335" y="718"/>
                    </a:cubicBezTo>
                    <a:cubicBezTo>
                      <a:pt x="1332" y="717"/>
                      <a:pt x="1332" y="717"/>
                      <a:pt x="1332" y="717"/>
                    </a:cubicBezTo>
                    <a:cubicBezTo>
                      <a:pt x="1328" y="712"/>
                      <a:pt x="1328" y="712"/>
                      <a:pt x="1328" y="712"/>
                    </a:cubicBezTo>
                    <a:cubicBezTo>
                      <a:pt x="1326" y="712"/>
                      <a:pt x="1326" y="712"/>
                      <a:pt x="1326" y="712"/>
                    </a:cubicBezTo>
                    <a:cubicBezTo>
                      <a:pt x="1324" y="712"/>
                      <a:pt x="1324" y="712"/>
                      <a:pt x="1324" y="712"/>
                    </a:cubicBezTo>
                    <a:cubicBezTo>
                      <a:pt x="1320" y="712"/>
                      <a:pt x="1320" y="712"/>
                      <a:pt x="1320" y="712"/>
                    </a:cubicBezTo>
                    <a:cubicBezTo>
                      <a:pt x="1318" y="711"/>
                      <a:pt x="1318" y="711"/>
                      <a:pt x="1318" y="711"/>
                    </a:cubicBezTo>
                    <a:cubicBezTo>
                      <a:pt x="1319" y="712"/>
                      <a:pt x="1319" y="712"/>
                      <a:pt x="1319" y="712"/>
                    </a:cubicBezTo>
                    <a:cubicBezTo>
                      <a:pt x="1322" y="714"/>
                      <a:pt x="1322" y="714"/>
                      <a:pt x="1322" y="714"/>
                    </a:cubicBezTo>
                    <a:cubicBezTo>
                      <a:pt x="1325" y="714"/>
                      <a:pt x="1325" y="714"/>
                      <a:pt x="1325" y="714"/>
                    </a:cubicBezTo>
                    <a:cubicBezTo>
                      <a:pt x="1324" y="716"/>
                      <a:pt x="1324" y="716"/>
                      <a:pt x="1324" y="716"/>
                    </a:cubicBezTo>
                    <a:cubicBezTo>
                      <a:pt x="1320" y="716"/>
                      <a:pt x="1320" y="716"/>
                      <a:pt x="1320" y="716"/>
                    </a:cubicBezTo>
                    <a:cubicBezTo>
                      <a:pt x="1318" y="717"/>
                      <a:pt x="1318" y="717"/>
                      <a:pt x="1318" y="717"/>
                    </a:cubicBezTo>
                    <a:cubicBezTo>
                      <a:pt x="1314" y="717"/>
                      <a:pt x="1314" y="717"/>
                      <a:pt x="1314" y="717"/>
                    </a:cubicBezTo>
                    <a:cubicBezTo>
                      <a:pt x="1311" y="719"/>
                      <a:pt x="1311" y="719"/>
                      <a:pt x="1311" y="719"/>
                    </a:cubicBezTo>
                    <a:cubicBezTo>
                      <a:pt x="1311" y="721"/>
                      <a:pt x="1311" y="721"/>
                      <a:pt x="1311" y="721"/>
                    </a:cubicBezTo>
                    <a:cubicBezTo>
                      <a:pt x="1313" y="721"/>
                      <a:pt x="1313" y="721"/>
                      <a:pt x="1313" y="721"/>
                    </a:cubicBezTo>
                    <a:cubicBezTo>
                      <a:pt x="1314" y="719"/>
                      <a:pt x="1314" y="719"/>
                      <a:pt x="1314" y="719"/>
                    </a:cubicBezTo>
                    <a:cubicBezTo>
                      <a:pt x="1319" y="719"/>
                      <a:pt x="1319" y="719"/>
                      <a:pt x="1319" y="719"/>
                    </a:cubicBezTo>
                    <a:cubicBezTo>
                      <a:pt x="1321" y="718"/>
                      <a:pt x="1321" y="718"/>
                      <a:pt x="1321" y="718"/>
                    </a:cubicBezTo>
                    <a:cubicBezTo>
                      <a:pt x="1324" y="717"/>
                      <a:pt x="1324" y="717"/>
                      <a:pt x="1324" y="717"/>
                    </a:cubicBezTo>
                    <a:cubicBezTo>
                      <a:pt x="1326" y="720"/>
                      <a:pt x="1326" y="720"/>
                      <a:pt x="1326" y="720"/>
                    </a:cubicBezTo>
                    <a:cubicBezTo>
                      <a:pt x="1326" y="721"/>
                      <a:pt x="1326" y="721"/>
                      <a:pt x="1326" y="721"/>
                    </a:cubicBezTo>
                    <a:cubicBezTo>
                      <a:pt x="1329" y="722"/>
                      <a:pt x="1329" y="722"/>
                      <a:pt x="1329" y="722"/>
                    </a:cubicBezTo>
                    <a:cubicBezTo>
                      <a:pt x="1329" y="724"/>
                      <a:pt x="1329" y="724"/>
                      <a:pt x="1329" y="724"/>
                    </a:cubicBezTo>
                    <a:cubicBezTo>
                      <a:pt x="1328" y="724"/>
                      <a:pt x="1328" y="724"/>
                      <a:pt x="1328" y="724"/>
                    </a:cubicBezTo>
                    <a:cubicBezTo>
                      <a:pt x="1325" y="724"/>
                      <a:pt x="1325" y="724"/>
                      <a:pt x="1325" y="724"/>
                    </a:cubicBezTo>
                    <a:cubicBezTo>
                      <a:pt x="1323" y="725"/>
                      <a:pt x="1323" y="725"/>
                      <a:pt x="1323" y="725"/>
                    </a:cubicBezTo>
                    <a:cubicBezTo>
                      <a:pt x="1321" y="724"/>
                      <a:pt x="1321" y="724"/>
                      <a:pt x="1321" y="724"/>
                    </a:cubicBezTo>
                    <a:cubicBezTo>
                      <a:pt x="1320" y="723"/>
                      <a:pt x="1320" y="723"/>
                      <a:pt x="1320" y="723"/>
                    </a:cubicBezTo>
                    <a:cubicBezTo>
                      <a:pt x="1318" y="723"/>
                      <a:pt x="1318" y="723"/>
                      <a:pt x="1318" y="723"/>
                    </a:cubicBezTo>
                    <a:cubicBezTo>
                      <a:pt x="1317" y="724"/>
                      <a:pt x="1317" y="724"/>
                      <a:pt x="1317" y="724"/>
                    </a:cubicBezTo>
                    <a:cubicBezTo>
                      <a:pt x="1320" y="726"/>
                      <a:pt x="1320" y="726"/>
                      <a:pt x="1320" y="726"/>
                    </a:cubicBezTo>
                    <a:cubicBezTo>
                      <a:pt x="1323" y="727"/>
                      <a:pt x="1323" y="727"/>
                      <a:pt x="1323" y="727"/>
                    </a:cubicBezTo>
                    <a:cubicBezTo>
                      <a:pt x="1324" y="729"/>
                      <a:pt x="1324" y="729"/>
                      <a:pt x="1324" y="729"/>
                    </a:cubicBezTo>
                    <a:cubicBezTo>
                      <a:pt x="1324" y="731"/>
                      <a:pt x="1324" y="731"/>
                      <a:pt x="1324" y="731"/>
                    </a:cubicBezTo>
                    <a:cubicBezTo>
                      <a:pt x="1325" y="732"/>
                      <a:pt x="1325" y="732"/>
                      <a:pt x="1325" y="732"/>
                    </a:cubicBezTo>
                    <a:cubicBezTo>
                      <a:pt x="1323" y="733"/>
                      <a:pt x="1323" y="733"/>
                      <a:pt x="1323" y="733"/>
                    </a:cubicBezTo>
                    <a:cubicBezTo>
                      <a:pt x="1316" y="731"/>
                      <a:pt x="1316" y="731"/>
                      <a:pt x="1316" y="731"/>
                    </a:cubicBezTo>
                    <a:cubicBezTo>
                      <a:pt x="1311" y="731"/>
                      <a:pt x="1311" y="731"/>
                      <a:pt x="1311" y="731"/>
                    </a:cubicBezTo>
                    <a:cubicBezTo>
                      <a:pt x="1304" y="728"/>
                      <a:pt x="1304" y="728"/>
                      <a:pt x="1304" y="728"/>
                    </a:cubicBezTo>
                    <a:cubicBezTo>
                      <a:pt x="1301" y="728"/>
                      <a:pt x="1301" y="728"/>
                      <a:pt x="1301" y="728"/>
                    </a:cubicBezTo>
                    <a:cubicBezTo>
                      <a:pt x="1302" y="730"/>
                      <a:pt x="1302" y="730"/>
                      <a:pt x="1302" y="730"/>
                    </a:cubicBezTo>
                    <a:cubicBezTo>
                      <a:pt x="1307" y="731"/>
                      <a:pt x="1307" y="731"/>
                      <a:pt x="1307" y="731"/>
                    </a:cubicBezTo>
                    <a:cubicBezTo>
                      <a:pt x="1316" y="735"/>
                      <a:pt x="1316" y="735"/>
                      <a:pt x="1316" y="735"/>
                    </a:cubicBezTo>
                    <a:cubicBezTo>
                      <a:pt x="1317" y="737"/>
                      <a:pt x="1317" y="737"/>
                      <a:pt x="1317" y="737"/>
                    </a:cubicBezTo>
                    <a:cubicBezTo>
                      <a:pt x="1315" y="738"/>
                      <a:pt x="1315" y="738"/>
                      <a:pt x="1315" y="738"/>
                    </a:cubicBezTo>
                    <a:cubicBezTo>
                      <a:pt x="1310" y="734"/>
                      <a:pt x="1310" y="734"/>
                      <a:pt x="1310" y="734"/>
                    </a:cubicBezTo>
                    <a:cubicBezTo>
                      <a:pt x="1308" y="735"/>
                      <a:pt x="1308" y="735"/>
                      <a:pt x="1308" y="735"/>
                    </a:cubicBezTo>
                    <a:cubicBezTo>
                      <a:pt x="1306" y="738"/>
                      <a:pt x="1306" y="738"/>
                      <a:pt x="1306" y="738"/>
                    </a:cubicBezTo>
                    <a:cubicBezTo>
                      <a:pt x="1308" y="737"/>
                      <a:pt x="1308" y="737"/>
                      <a:pt x="1308" y="737"/>
                    </a:cubicBezTo>
                    <a:cubicBezTo>
                      <a:pt x="1310" y="738"/>
                      <a:pt x="1310" y="738"/>
                      <a:pt x="1310" y="738"/>
                    </a:cubicBezTo>
                    <a:cubicBezTo>
                      <a:pt x="1312" y="740"/>
                      <a:pt x="1312" y="740"/>
                      <a:pt x="1312" y="740"/>
                    </a:cubicBezTo>
                    <a:cubicBezTo>
                      <a:pt x="1313" y="740"/>
                      <a:pt x="1313" y="740"/>
                      <a:pt x="1313" y="740"/>
                    </a:cubicBezTo>
                    <a:cubicBezTo>
                      <a:pt x="1315" y="740"/>
                      <a:pt x="1315" y="740"/>
                      <a:pt x="1315" y="740"/>
                    </a:cubicBezTo>
                    <a:cubicBezTo>
                      <a:pt x="1315" y="743"/>
                      <a:pt x="1315" y="743"/>
                      <a:pt x="1315" y="743"/>
                    </a:cubicBezTo>
                    <a:cubicBezTo>
                      <a:pt x="1316" y="745"/>
                      <a:pt x="1316" y="745"/>
                      <a:pt x="1316" y="745"/>
                    </a:cubicBezTo>
                    <a:cubicBezTo>
                      <a:pt x="1318" y="744"/>
                      <a:pt x="1318" y="744"/>
                      <a:pt x="1318" y="744"/>
                    </a:cubicBezTo>
                    <a:cubicBezTo>
                      <a:pt x="1318" y="742"/>
                      <a:pt x="1318" y="742"/>
                      <a:pt x="1318" y="742"/>
                    </a:cubicBezTo>
                    <a:cubicBezTo>
                      <a:pt x="1321" y="742"/>
                      <a:pt x="1321" y="742"/>
                      <a:pt x="1321" y="742"/>
                    </a:cubicBezTo>
                    <a:cubicBezTo>
                      <a:pt x="1321" y="744"/>
                      <a:pt x="1321" y="744"/>
                      <a:pt x="1321" y="744"/>
                    </a:cubicBezTo>
                    <a:cubicBezTo>
                      <a:pt x="1320" y="745"/>
                      <a:pt x="1320" y="745"/>
                      <a:pt x="1320" y="745"/>
                    </a:cubicBezTo>
                    <a:cubicBezTo>
                      <a:pt x="1320" y="747"/>
                      <a:pt x="1320" y="747"/>
                      <a:pt x="1320" y="747"/>
                    </a:cubicBezTo>
                    <a:cubicBezTo>
                      <a:pt x="1322" y="746"/>
                      <a:pt x="1322" y="746"/>
                      <a:pt x="1322" y="746"/>
                    </a:cubicBezTo>
                    <a:cubicBezTo>
                      <a:pt x="1322" y="743"/>
                      <a:pt x="1322" y="743"/>
                      <a:pt x="1322" y="743"/>
                    </a:cubicBezTo>
                    <a:cubicBezTo>
                      <a:pt x="1325" y="743"/>
                      <a:pt x="1325" y="743"/>
                      <a:pt x="1325" y="743"/>
                    </a:cubicBezTo>
                    <a:cubicBezTo>
                      <a:pt x="1328" y="745"/>
                      <a:pt x="1328" y="745"/>
                      <a:pt x="1328" y="745"/>
                    </a:cubicBezTo>
                    <a:cubicBezTo>
                      <a:pt x="1332" y="746"/>
                      <a:pt x="1332" y="746"/>
                      <a:pt x="1332" y="746"/>
                    </a:cubicBezTo>
                    <a:cubicBezTo>
                      <a:pt x="1335" y="746"/>
                      <a:pt x="1335" y="746"/>
                      <a:pt x="1335" y="746"/>
                    </a:cubicBezTo>
                    <a:cubicBezTo>
                      <a:pt x="1333" y="749"/>
                      <a:pt x="1333" y="749"/>
                      <a:pt x="1333" y="749"/>
                    </a:cubicBezTo>
                    <a:cubicBezTo>
                      <a:pt x="1333" y="750"/>
                      <a:pt x="1333" y="750"/>
                      <a:pt x="1333" y="750"/>
                    </a:cubicBezTo>
                    <a:cubicBezTo>
                      <a:pt x="1330" y="749"/>
                      <a:pt x="1330" y="749"/>
                      <a:pt x="1330" y="749"/>
                    </a:cubicBezTo>
                    <a:cubicBezTo>
                      <a:pt x="1328" y="748"/>
                      <a:pt x="1328" y="748"/>
                      <a:pt x="1328" y="748"/>
                    </a:cubicBezTo>
                    <a:cubicBezTo>
                      <a:pt x="1323" y="749"/>
                      <a:pt x="1323" y="749"/>
                      <a:pt x="1323" y="749"/>
                    </a:cubicBezTo>
                    <a:cubicBezTo>
                      <a:pt x="1317" y="751"/>
                      <a:pt x="1317" y="751"/>
                      <a:pt x="1317" y="751"/>
                    </a:cubicBezTo>
                    <a:cubicBezTo>
                      <a:pt x="1317" y="754"/>
                      <a:pt x="1317" y="754"/>
                      <a:pt x="1317" y="754"/>
                    </a:cubicBezTo>
                    <a:cubicBezTo>
                      <a:pt x="1320" y="752"/>
                      <a:pt x="1320" y="752"/>
                      <a:pt x="1320" y="752"/>
                    </a:cubicBezTo>
                    <a:cubicBezTo>
                      <a:pt x="1324" y="752"/>
                      <a:pt x="1324" y="752"/>
                      <a:pt x="1324" y="752"/>
                    </a:cubicBezTo>
                    <a:cubicBezTo>
                      <a:pt x="1328" y="752"/>
                      <a:pt x="1328" y="752"/>
                      <a:pt x="1328" y="752"/>
                    </a:cubicBezTo>
                    <a:cubicBezTo>
                      <a:pt x="1325" y="753"/>
                      <a:pt x="1325" y="753"/>
                      <a:pt x="1325" y="753"/>
                    </a:cubicBezTo>
                    <a:cubicBezTo>
                      <a:pt x="1323" y="755"/>
                      <a:pt x="1323" y="755"/>
                      <a:pt x="1323" y="755"/>
                    </a:cubicBezTo>
                    <a:cubicBezTo>
                      <a:pt x="1326" y="754"/>
                      <a:pt x="1326" y="754"/>
                      <a:pt x="1326" y="754"/>
                    </a:cubicBezTo>
                    <a:cubicBezTo>
                      <a:pt x="1331" y="754"/>
                      <a:pt x="1331" y="754"/>
                      <a:pt x="1331" y="754"/>
                    </a:cubicBezTo>
                    <a:cubicBezTo>
                      <a:pt x="1332" y="756"/>
                      <a:pt x="1332" y="756"/>
                      <a:pt x="1332" y="756"/>
                    </a:cubicBezTo>
                    <a:cubicBezTo>
                      <a:pt x="1331" y="757"/>
                      <a:pt x="1331" y="757"/>
                      <a:pt x="1331" y="757"/>
                    </a:cubicBezTo>
                    <a:cubicBezTo>
                      <a:pt x="1334" y="758"/>
                      <a:pt x="1334" y="758"/>
                      <a:pt x="1334" y="758"/>
                    </a:cubicBezTo>
                    <a:cubicBezTo>
                      <a:pt x="1336" y="760"/>
                      <a:pt x="1336" y="760"/>
                      <a:pt x="1336" y="760"/>
                    </a:cubicBezTo>
                    <a:cubicBezTo>
                      <a:pt x="1335" y="762"/>
                      <a:pt x="1335" y="762"/>
                      <a:pt x="1335" y="762"/>
                    </a:cubicBezTo>
                    <a:cubicBezTo>
                      <a:pt x="1333" y="767"/>
                      <a:pt x="1333" y="767"/>
                      <a:pt x="1333" y="767"/>
                    </a:cubicBezTo>
                    <a:cubicBezTo>
                      <a:pt x="1333" y="769"/>
                      <a:pt x="1333" y="769"/>
                      <a:pt x="1333" y="769"/>
                    </a:cubicBezTo>
                    <a:cubicBezTo>
                      <a:pt x="1335" y="768"/>
                      <a:pt x="1335" y="768"/>
                      <a:pt x="1335" y="768"/>
                    </a:cubicBezTo>
                    <a:cubicBezTo>
                      <a:pt x="1335" y="765"/>
                      <a:pt x="1335" y="765"/>
                      <a:pt x="1335" y="765"/>
                    </a:cubicBezTo>
                    <a:cubicBezTo>
                      <a:pt x="1337" y="763"/>
                      <a:pt x="1337" y="763"/>
                      <a:pt x="1337" y="763"/>
                    </a:cubicBezTo>
                    <a:cubicBezTo>
                      <a:pt x="1340" y="762"/>
                      <a:pt x="1340" y="762"/>
                      <a:pt x="1340" y="762"/>
                    </a:cubicBezTo>
                    <a:cubicBezTo>
                      <a:pt x="1341" y="765"/>
                      <a:pt x="1341" y="765"/>
                      <a:pt x="1341" y="765"/>
                    </a:cubicBezTo>
                    <a:cubicBezTo>
                      <a:pt x="1339" y="767"/>
                      <a:pt x="1339" y="767"/>
                      <a:pt x="1339" y="767"/>
                    </a:cubicBezTo>
                    <a:cubicBezTo>
                      <a:pt x="1336" y="773"/>
                      <a:pt x="1336" y="773"/>
                      <a:pt x="1336" y="773"/>
                    </a:cubicBezTo>
                    <a:cubicBezTo>
                      <a:pt x="1334" y="776"/>
                      <a:pt x="1334" y="776"/>
                      <a:pt x="1334" y="776"/>
                    </a:cubicBezTo>
                    <a:cubicBezTo>
                      <a:pt x="1334" y="779"/>
                      <a:pt x="1334" y="779"/>
                      <a:pt x="1334" y="779"/>
                    </a:cubicBezTo>
                    <a:cubicBezTo>
                      <a:pt x="1336" y="778"/>
                      <a:pt x="1336" y="778"/>
                      <a:pt x="1336" y="778"/>
                    </a:cubicBezTo>
                    <a:cubicBezTo>
                      <a:pt x="1339" y="774"/>
                      <a:pt x="1339" y="774"/>
                      <a:pt x="1339" y="774"/>
                    </a:cubicBezTo>
                    <a:cubicBezTo>
                      <a:pt x="1339" y="771"/>
                      <a:pt x="1339" y="771"/>
                      <a:pt x="1339" y="771"/>
                    </a:cubicBezTo>
                    <a:cubicBezTo>
                      <a:pt x="1340" y="769"/>
                      <a:pt x="1340" y="769"/>
                      <a:pt x="1340" y="769"/>
                    </a:cubicBezTo>
                    <a:cubicBezTo>
                      <a:pt x="1344" y="768"/>
                      <a:pt x="1344" y="768"/>
                      <a:pt x="1344" y="768"/>
                    </a:cubicBezTo>
                    <a:cubicBezTo>
                      <a:pt x="1344" y="767"/>
                      <a:pt x="1344" y="767"/>
                      <a:pt x="1344" y="767"/>
                    </a:cubicBezTo>
                    <a:cubicBezTo>
                      <a:pt x="1345" y="764"/>
                      <a:pt x="1345" y="764"/>
                      <a:pt x="1345" y="764"/>
                    </a:cubicBezTo>
                    <a:cubicBezTo>
                      <a:pt x="1348" y="762"/>
                      <a:pt x="1348" y="762"/>
                      <a:pt x="1348" y="762"/>
                    </a:cubicBezTo>
                    <a:cubicBezTo>
                      <a:pt x="1349" y="763"/>
                      <a:pt x="1349" y="763"/>
                      <a:pt x="1349" y="763"/>
                    </a:cubicBezTo>
                    <a:cubicBezTo>
                      <a:pt x="1348" y="766"/>
                      <a:pt x="1348" y="766"/>
                      <a:pt x="1348" y="766"/>
                    </a:cubicBezTo>
                    <a:cubicBezTo>
                      <a:pt x="1344" y="770"/>
                      <a:pt x="1344" y="770"/>
                      <a:pt x="1344" y="770"/>
                    </a:cubicBezTo>
                    <a:cubicBezTo>
                      <a:pt x="1343" y="773"/>
                      <a:pt x="1343" y="773"/>
                      <a:pt x="1343" y="773"/>
                    </a:cubicBezTo>
                    <a:cubicBezTo>
                      <a:pt x="1342" y="776"/>
                      <a:pt x="1342" y="776"/>
                      <a:pt x="1342" y="776"/>
                    </a:cubicBezTo>
                    <a:cubicBezTo>
                      <a:pt x="1343" y="779"/>
                      <a:pt x="1343" y="779"/>
                      <a:pt x="1343" y="779"/>
                    </a:cubicBezTo>
                    <a:cubicBezTo>
                      <a:pt x="1344" y="778"/>
                      <a:pt x="1344" y="778"/>
                      <a:pt x="1344" y="778"/>
                    </a:cubicBezTo>
                    <a:cubicBezTo>
                      <a:pt x="1344" y="776"/>
                      <a:pt x="1344" y="776"/>
                      <a:pt x="1344" y="776"/>
                    </a:cubicBezTo>
                    <a:cubicBezTo>
                      <a:pt x="1344" y="773"/>
                      <a:pt x="1344" y="773"/>
                      <a:pt x="1344" y="773"/>
                    </a:cubicBezTo>
                    <a:cubicBezTo>
                      <a:pt x="1347" y="771"/>
                      <a:pt x="1347" y="771"/>
                      <a:pt x="1347" y="771"/>
                    </a:cubicBezTo>
                    <a:cubicBezTo>
                      <a:pt x="1349" y="768"/>
                      <a:pt x="1349" y="768"/>
                      <a:pt x="1349" y="768"/>
                    </a:cubicBezTo>
                    <a:cubicBezTo>
                      <a:pt x="1353" y="765"/>
                      <a:pt x="1353" y="765"/>
                      <a:pt x="1353" y="765"/>
                    </a:cubicBezTo>
                    <a:cubicBezTo>
                      <a:pt x="1356" y="762"/>
                      <a:pt x="1356" y="762"/>
                      <a:pt x="1356" y="762"/>
                    </a:cubicBezTo>
                    <a:cubicBezTo>
                      <a:pt x="1357" y="764"/>
                      <a:pt x="1357" y="764"/>
                      <a:pt x="1357" y="764"/>
                    </a:cubicBezTo>
                    <a:cubicBezTo>
                      <a:pt x="1357" y="768"/>
                      <a:pt x="1357" y="768"/>
                      <a:pt x="1357" y="768"/>
                    </a:cubicBezTo>
                    <a:cubicBezTo>
                      <a:pt x="1355" y="769"/>
                      <a:pt x="1355" y="769"/>
                      <a:pt x="1355" y="769"/>
                    </a:cubicBezTo>
                    <a:cubicBezTo>
                      <a:pt x="1351" y="770"/>
                      <a:pt x="1351" y="770"/>
                      <a:pt x="1351" y="770"/>
                    </a:cubicBezTo>
                    <a:cubicBezTo>
                      <a:pt x="1351" y="773"/>
                      <a:pt x="1351" y="773"/>
                      <a:pt x="1351" y="773"/>
                    </a:cubicBezTo>
                    <a:cubicBezTo>
                      <a:pt x="1349" y="776"/>
                      <a:pt x="1349" y="776"/>
                      <a:pt x="1349" y="776"/>
                    </a:cubicBezTo>
                    <a:cubicBezTo>
                      <a:pt x="1350" y="777"/>
                      <a:pt x="1350" y="777"/>
                      <a:pt x="1350" y="777"/>
                    </a:cubicBezTo>
                    <a:cubicBezTo>
                      <a:pt x="1351" y="776"/>
                      <a:pt x="1351" y="776"/>
                      <a:pt x="1351" y="776"/>
                    </a:cubicBezTo>
                    <a:cubicBezTo>
                      <a:pt x="1353" y="777"/>
                      <a:pt x="1353" y="777"/>
                      <a:pt x="1353" y="777"/>
                    </a:cubicBezTo>
                    <a:cubicBezTo>
                      <a:pt x="1355" y="776"/>
                      <a:pt x="1355" y="776"/>
                      <a:pt x="1355" y="776"/>
                    </a:cubicBezTo>
                    <a:cubicBezTo>
                      <a:pt x="1359" y="774"/>
                      <a:pt x="1359" y="774"/>
                      <a:pt x="1359" y="774"/>
                    </a:cubicBezTo>
                    <a:cubicBezTo>
                      <a:pt x="1361" y="776"/>
                      <a:pt x="1361" y="776"/>
                      <a:pt x="1361" y="776"/>
                    </a:cubicBezTo>
                    <a:cubicBezTo>
                      <a:pt x="1362" y="781"/>
                      <a:pt x="1362" y="781"/>
                      <a:pt x="1362" y="781"/>
                    </a:cubicBezTo>
                    <a:cubicBezTo>
                      <a:pt x="1362" y="783"/>
                      <a:pt x="1362" y="783"/>
                      <a:pt x="1362" y="783"/>
                    </a:cubicBezTo>
                    <a:cubicBezTo>
                      <a:pt x="1359" y="784"/>
                      <a:pt x="1359" y="784"/>
                      <a:pt x="1359" y="784"/>
                    </a:cubicBezTo>
                    <a:cubicBezTo>
                      <a:pt x="1359" y="785"/>
                      <a:pt x="1359" y="785"/>
                      <a:pt x="1359" y="785"/>
                    </a:cubicBezTo>
                    <a:cubicBezTo>
                      <a:pt x="1361" y="786"/>
                      <a:pt x="1361" y="786"/>
                      <a:pt x="1361" y="786"/>
                    </a:cubicBezTo>
                    <a:cubicBezTo>
                      <a:pt x="1363" y="788"/>
                      <a:pt x="1363" y="788"/>
                      <a:pt x="1363" y="788"/>
                    </a:cubicBezTo>
                    <a:cubicBezTo>
                      <a:pt x="1360" y="789"/>
                      <a:pt x="1360" y="789"/>
                      <a:pt x="1360" y="789"/>
                    </a:cubicBezTo>
                    <a:cubicBezTo>
                      <a:pt x="1358" y="789"/>
                      <a:pt x="1358" y="789"/>
                      <a:pt x="1358" y="789"/>
                    </a:cubicBezTo>
                    <a:cubicBezTo>
                      <a:pt x="1360" y="790"/>
                      <a:pt x="1360" y="790"/>
                      <a:pt x="1360" y="790"/>
                    </a:cubicBezTo>
                    <a:cubicBezTo>
                      <a:pt x="1363" y="792"/>
                      <a:pt x="1363" y="792"/>
                      <a:pt x="1363" y="792"/>
                    </a:cubicBezTo>
                    <a:cubicBezTo>
                      <a:pt x="1356" y="793"/>
                      <a:pt x="1356" y="793"/>
                      <a:pt x="1356" y="793"/>
                    </a:cubicBezTo>
                    <a:cubicBezTo>
                      <a:pt x="1352" y="793"/>
                      <a:pt x="1352" y="793"/>
                      <a:pt x="1352" y="793"/>
                    </a:cubicBezTo>
                    <a:cubicBezTo>
                      <a:pt x="1354" y="795"/>
                      <a:pt x="1354" y="795"/>
                      <a:pt x="1354" y="795"/>
                    </a:cubicBezTo>
                    <a:cubicBezTo>
                      <a:pt x="1358" y="795"/>
                      <a:pt x="1358" y="795"/>
                      <a:pt x="1358" y="795"/>
                    </a:cubicBezTo>
                    <a:cubicBezTo>
                      <a:pt x="1363" y="796"/>
                      <a:pt x="1363" y="796"/>
                      <a:pt x="1363" y="796"/>
                    </a:cubicBezTo>
                    <a:cubicBezTo>
                      <a:pt x="1364" y="794"/>
                      <a:pt x="1364" y="794"/>
                      <a:pt x="1364" y="794"/>
                    </a:cubicBezTo>
                    <a:cubicBezTo>
                      <a:pt x="1368" y="793"/>
                      <a:pt x="1368" y="793"/>
                      <a:pt x="1368" y="793"/>
                    </a:cubicBezTo>
                    <a:cubicBezTo>
                      <a:pt x="1368" y="794"/>
                      <a:pt x="1368" y="794"/>
                      <a:pt x="1368" y="794"/>
                    </a:cubicBezTo>
                    <a:cubicBezTo>
                      <a:pt x="1366" y="797"/>
                      <a:pt x="1366" y="797"/>
                      <a:pt x="1366" y="797"/>
                    </a:cubicBezTo>
                    <a:cubicBezTo>
                      <a:pt x="1364" y="801"/>
                      <a:pt x="1364" y="801"/>
                      <a:pt x="1364" y="801"/>
                    </a:cubicBezTo>
                    <a:cubicBezTo>
                      <a:pt x="1367" y="798"/>
                      <a:pt x="1367" y="798"/>
                      <a:pt x="1367" y="798"/>
                    </a:cubicBezTo>
                    <a:cubicBezTo>
                      <a:pt x="1370" y="797"/>
                      <a:pt x="1370" y="797"/>
                      <a:pt x="1370" y="797"/>
                    </a:cubicBezTo>
                    <a:cubicBezTo>
                      <a:pt x="1373" y="794"/>
                      <a:pt x="1373" y="794"/>
                      <a:pt x="1373" y="794"/>
                    </a:cubicBezTo>
                    <a:cubicBezTo>
                      <a:pt x="1376" y="792"/>
                      <a:pt x="1376" y="792"/>
                      <a:pt x="1376" y="792"/>
                    </a:cubicBezTo>
                    <a:cubicBezTo>
                      <a:pt x="1379" y="793"/>
                      <a:pt x="1379" y="793"/>
                      <a:pt x="1379" y="793"/>
                    </a:cubicBezTo>
                    <a:cubicBezTo>
                      <a:pt x="1378" y="794"/>
                      <a:pt x="1378" y="794"/>
                      <a:pt x="1378" y="794"/>
                    </a:cubicBezTo>
                    <a:cubicBezTo>
                      <a:pt x="1376" y="797"/>
                      <a:pt x="1376" y="797"/>
                      <a:pt x="1376" y="797"/>
                    </a:cubicBezTo>
                    <a:cubicBezTo>
                      <a:pt x="1374" y="797"/>
                      <a:pt x="1374" y="797"/>
                      <a:pt x="1374" y="797"/>
                    </a:cubicBezTo>
                    <a:cubicBezTo>
                      <a:pt x="1373" y="800"/>
                      <a:pt x="1373" y="800"/>
                      <a:pt x="1373" y="800"/>
                    </a:cubicBezTo>
                    <a:cubicBezTo>
                      <a:pt x="1371" y="803"/>
                      <a:pt x="1371" y="803"/>
                      <a:pt x="1371" y="803"/>
                    </a:cubicBezTo>
                    <a:cubicBezTo>
                      <a:pt x="1367" y="805"/>
                      <a:pt x="1367" y="805"/>
                      <a:pt x="1367" y="805"/>
                    </a:cubicBezTo>
                    <a:cubicBezTo>
                      <a:pt x="1365" y="808"/>
                      <a:pt x="1365" y="808"/>
                      <a:pt x="1365" y="808"/>
                    </a:cubicBezTo>
                    <a:cubicBezTo>
                      <a:pt x="1365" y="810"/>
                      <a:pt x="1365" y="810"/>
                      <a:pt x="1365" y="810"/>
                    </a:cubicBezTo>
                    <a:cubicBezTo>
                      <a:pt x="1367" y="811"/>
                      <a:pt x="1367" y="811"/>
                      <a:pt x="1367" y="811"/>
                    </a:cubicBezTo>
                    <a:cubicBezTo>
                      <a:pt x="1370" y="808"/>
                      <a:pt x="1370" y="808"/>
                      <a:pt x="1370" y="808"/>
                    </a:cubicBezTo>
                    <a:cubicBezTo>
                      <a:pt x="1370" y="806"/>
                      <a:pt x="1370" y="806"/>
                      <a:pt x="1370" y="806"/>
                    </a:cubicBezTo>
                    <a:cubicBezTo>
                      <a:pt x="1374" y="802"/>
                      <a:pt x="1374" y="802"/>
                      <a:pt x="1374" y="802"/>
                    </a:cubicBezTo>
                    <a:cubicBezTo>
                      <a:pt x="1377" y="801"/>
                      <a:pt x="1377" y="801"/>
                      <a:pt x="1377" y="801"/>
                    </a:cubicBezTo>
                    <a:cubicBezTo>
                      <a:pt x="1377" y="803"/>
                      <a:pt x="1377" y="803"/>
                      <a:pt x="1377" y="803"/>
                    </a:cubicBezTo>
                    <a:cubicBezTo>
                      <a:pt x="1374" y="807"/>
                      <a:pt x="1374" y="807"/>
                      <a:pt x="1374" y="807"/>
                    </a:cubicBezTo>
                    <a:cubicBezTo>
                      <a:pt x="1374" y="811"/>
                      <a:pt x="1374" y="811"/>
                      <a:pt x="1374" y="811"/>
                    </a:cubicBezTo>
                    <a:cubicBezTo>
                      <a:pt x="1373" y="814"/>
                      <a:pt x="1373" y="814"/>
                      <a:pt x="1373" y="814"/>
                    </a:cubicBezTo>
                    <a:cubicBezTo>
                      <a:pt x="1375" y="812"/>
                      <a:pt x="1375" y="812"/>
                      <a:pt x="1375" y="812"/>
                    </a:cubicBezTo>
                    <a:cubicBezTo>
                      <a:pt x="1378" y="808"/>
                      <a:pt x="1378" y="808"/>
                      <a:pt x="1378" y="808"/>
                    </a:cubicBezTo>
                    <a:cubicBezTo>
                      <a:pt x="1378" y="805"/>
                      <a:pt x="1378" y="805"/>
                      <a:pt x="1378" y="805"/>
                    </a:cubicBezTo>
                    <a:cubicBezTo>
                      <a:pt x="1379" y="805"/>
                      <a:pt x="1379" y="805"/>
                      <a:pt x="1379" y="805"/>
                    </a:cubicBezTo>
                    <a:cubicBezTo>
                      <a:pt x="1380" y="806"/>
                      <a:pt x="1380" y="806"/>
                      <a:pt x="1380" y="806"/>
                    </a:cubicBezTo>
                    <a:cubicBezTo>
                      <a:pt x="1381" y="811"/>
                      <a:pt x="1381" y="811"/>
                      <a:pt x="1381" y="811"/>
                    </a:cubicBezTo>
                    <a:cubicBezTo>
                      <a:pt x="1383" y="812"/>
                      <a:pt x="1383" y="812"/>
                      <a:pt x="1383" y="812"/>
                    </a:cubicBezTo>
                    <a:cubicBezTo>
                      <a:pt x="1384" y="812"/>
                      <a:pt x="1384" y="812"/>
                      <a:pt x="1384" y="812"/>
                    </a:cubicBezTo>
                    <a:cubicBezTo>
                      <a:pt x="1383" y="808"/>
                      <a:pt x="1383" y="808"/>
                      <a:pt x="1383" y="808"/>
                    </a:cubicBezTo>
                    <a:cubicBezTo>
                      <a:pt x="1385" y="806"/>
                      <a:pt x="1385" y="806"/>
                      <a:pt x="1385" y="806"/>
                    </a:cubicBezTo>
                    <a:cubicBezTo>
                      <a:pt x="1389" y="803"/>
                      <a:pt x="1389" y="803"/>
                      <a:pt x="1389" y="803"/>
                    </a:cubicBezTo>
                    <a:cubicBezTo>
                      <a:pt x="1390" y="805"/>
                      <a:pt x="1390" y="805"/>
                      <a:pt x="1390" y="805"/>
                    </a:cubicBezTo>
                    <a:cubicBezTo>
                      <a:pt x="1389" y="807"/>
                      <a:pt x="1389" y="807"/>
                      <a:pt x="1389" y="807"/>
                    </a:cubicBezTo>
                    <a:cubicBezTo>
                      <a:pt x="1390" y="807"/>
                      <a:pt x="1390" y="807"/>
                      <a:pt x="1390" y="807"/>
                    </a:cubicBezTo>
                    <a:cubicBezTo>
                      <a:pt x="1393" y="807"/>
                      <a:pt x="1393" y="807"/>
                      <a:pt x="1393" y="807"/>
                    </a:cubicBezTo>
                    <a:cubicBezTo>
                      <a:pt x="1395" y="809"/>
                      <a:pt x="1395" y="809"/>
                      <a:pt x="1395" y="809"/>
                    </a:cubicBezTo>
                    <a:cubicBezTo>
                      <a:pt x="1393" y="813"/>
                      <a:pt x="1393" y="813"/>
                      <a:pt x="1393" y="813"/>
                    </a:cubicBezTo>
                    <a:cubicBezTo>
                      <a:pt x="1397" y="813"/>
                      <a:pt x="1397" y="813"/>
                      <a:pt x="1397" y="813"/>
                    </a:cubicBezTo>
                    <a:cubicBezTo>
                      <a:pt x="1398" y="814"/>
                      <a:pt x="1398" y="814"/>
                      <a:pt x="1398" y="814"/>
                    </a:cubicBezTo>
                    <a:cubicBezTo>
                      <a:pt x="1398" y="817"/>
                      <a:pt x="1398" y="817"/>
                      <a:pt x="1398" y="817"/>
                    </a:cubicBezTo>
                    <a:cubicBezTo>
                      <a:pt x="1400" y="819"/>
                      <a:pt x="1400" y="819"/>
                      <a:pt x="1400" y="819"/>
                    </a:cubicBezTo>
                    <a:cubicBezTo>
                      <a:pt x="1401" y="821"/>
                      <a:pt x="1401" y="821"/>
                      <a:pt x="1401" y="821"/>
                    </a:cubicBezTo>
                    <a:cubicBezTo>
                      <a:pt x="1400" y="822"/>
                      <a:pt x="1400" y="822"/>
                      <a:pt x="1400" y="822"/>
                    </a:cubicBezTo>
                    <a:cubicBezTo>
                      <a:pt x="1398" y="823"/>
                      <a:pt x="1398" y="823"/>
                      <a:pt x="1398" y="823"/>
                    </a:cubicBezTo>
                    <a:cubicBezTo>
                      <a:pt x="1394" y="823"/>
                      <a:pt x="1394" y="823"/>
                      <a:pt x="1394" y="823"/>
                    </a:cubicBezTo>
                    <a:cubicBezTo>
                      <a:pt x="1395" y="821"/>
                      <a:pt x="1395" y="821"/>
                      <a:pt x="1395" y="821"/>
                    </a:cubicBezTo>
                    <a:cubicBezTo>
                      <a:pt x="1393" y="819"/>
                      <a:pt x="1393" y="819"/>
                      <a:pt x="1393" y="819"/>
                    </a:cubicBezTo>
                    <a:cubicBezTo>
                      <a:pt x="1391" y="818"/>
                      <a:pt x="1391" y="818"/>
                      <a:pt x="1391" y="818"/>
                    </a:cubicBezTo>
                    <a:cubicBezTo>
                      <a:pt x="1390" y="817"/>
                      <a:pt x="1390" y="817"/>
                      <a:pt x="1390" y="817"/>
                    </a:cubicBezTo>
                    <a:cubicBezTo>
                      <a:pt x="1388" y="818"/>
                      <a:pt x="1388" y="818"/>
                      <a:pt x="1388" y="818"/>
                    </a:cubicBezTo>
                    <a:cubicBezTo>
                      <a:pt x="1386" y="821"/>
                      <a:pt x="1386" y="821"/>
                      <a:pt x="1386" y="821"/>
                    </a:cubicBezTo>
                    <a:cubicBezTo>
                      <a:pt x="1388" y="819"/>
                      <a:pt x="1388" y="819"/>
                      <a:pt x="1388" y="819"/>
                    </a:cubicBezTo>
                    <a:cubicBezTo>
                      <a:pt x="1390" y="820"/>
                      <a:pt x="1390" y="820"/>
                      <a:pt x="1390" y="820"/>
                    </a:cubicBezTo>
                    <a:cubicBezTo>
                      <a:pt x="1392" y="821"/>
                      <a:pt x="1392" y="821"/>
                      <a:pt x="1392" y="821"/>
                    </a:cubicBezTo>
                    <a:cubicBezTo>
                      <a:pt x="1390" y="822"/>
                      <a:pt x="1390" y="822"/>
                      <a:pt x="1390" y="822"/>
                    </a:cubicBezTo>
                    <a:cubicBezTo>
                      <a:pt x="1392" y="823"/>
                      <a:pt x="1392" y="823"/>
                      <a:pt x="1392" y="823"/>
                    </a:cubicBezTo>
                    <a:cubicBezTo>
                      <a:pt x="1393" y="825"/>
                      <a:pt x="1393" y="825"/>
                      <a:pt x="1393" y="825"/>
                    </a:cubicBezTo>
                    <a:cubicBezTo>
                      <a:pt x="1391" y="826"/>
                      <a:pt x="1391" y="826"/>
                      <a:pt x="1391" y="826"/>
                    </a:cubicBezTo>
                    <a:cubicBezTo>
                      <a:pt x="1388" y="825"/>
                      <a:pt x="1388" y="825"/>
                      <a:pt x="1388" y="825"/>
                    </a:cubicBezTo>
                    <a:cubicBezTo>
                      <a:pt x="1386" y="826"/>
                      <a:pt x="1386" y="826"/>
                      <a:pt x="1386" y="826"/>
                    </a:cubicBezTo>
                    <a:cubicBezTo>
                      <a:pt x="1388" y="827"/>
                      <a:pt x="1388" y="827"/>
                      <a:pt x="1388" y="827"/>
                    </a:cubicBezTo>
                    <a:cubicBezTo>
                      <a:pt x="1392" y="827"/>
                      <a:pt x="1392" y="827"/>
                      <a:pt x="1392" y="827"/>
                    </a:cubicBezTo>
                    <a:cubicBezTo>
                      <a:pt x="1394" y="827"/>
                      <a:pt x="1394" y="827"/>
                      <a:pt x="1394" y="827"/>
                    </a:cubicBezTo>
                    <a:cubicBezTo>
                      <a:pt x="1394" y="829"/>
                      <a:pt x="1394" y="829"/>
                      <a:pt x="1394" y="829"/>
                    </a:cubicBezTo>
                    <a:cubicBezTo>
                      <a:pt x="1393" y="831"/>
                      <a:pt x="1393" y="831"/>
                      <a:pt x="1393" y="831"/>
                    </a:cubicBezTo>
                    <a:cubicBezTo>
                      <a:pt x="1390" y="831"/>
                      <a:pt x="1390" y="831"/>
                      <a:pt x="1390" y="831"/>
                    </a:cubicBezTo>
                    <a:cubicBezTo>
                      <a:pt x="1387" y="832"/>
                      <a:pt x="1387" y="832"/>
                      <a:pt x="1387" y="832"/>
                    </a:cubicBezTo>
                    <a:cubicBezTo>
                      <a:pt x="1383" y="831"/>
                      <a:pt x="1383" y="831"/>
                      <a:pt x="1383" y="831"/>
                    </a:cubicBezTo>
                    <a:cubicBezTo>
                      <a:pt x="1380" y="830"/>
                      <a:pt x="1380" y="830"/>
                      <a:pt x="1380" y="830"/>
                    </a:cubicBezTo>
                    <a:cubicBezTo>
                      <a:pt x="1381" y="828"/>
                      <a:pt x="1381" y="828"/>
                      <a:pt x="1381" y="828"/>
                    </a:cubicBezTo>
                    <a:cubicBezTo>
                      <a:pt x="1381" y="826"/>
                      <a:pt x="1381" y="826"/>
                      <a:pt x="1381" y="826"/>
                    </a:cubicBezTo>
                    <a:cubicBezTo>
                      <a:pt x="1378" y="825"/>
                      <a:pt x="1378" y="825"/>
                      <a:pt x="1378" y="825"/>
                    </a:cubicBezTo>
                    <a:cubicBezTo>
                      <a:pt x="1377" y="824"/>
                      <a:pt x="1377" y="824"/>
                      <a:pt x="1377" y="824"/>
                    </a:cubicBezTo>
                    <a:cubicBezTo>
                      <a:pt x="1376" y="824"/>
                      <a:pt x="1376" y="824"/>
                      <a:pt x="1376" y="824"/>
                    </a:cubicBezTo>
                    <a:cubicBezTo>
                      <a:pt x="1376" y="826"/>
                      <a:pt x="1376" y="826"/>
                      <a:pt x="1376" y="826"/>
                    </a:cubicBezTo>
                    <a:cubicBezTo>
                      <a:pt x="1378" y="827"/>
                      <a:pt x="1378" y="827"/>
                      <a:pt x="1378" y="827"/>
                    </a:cubicBezTo>
                    <a:cubicBezTo>
                      <a:pt x="1379" y="830"/>
                      <a:pt x="1379" y="830"/>
                      <a:pt x="1379" y="830"/>
                    </a:cubicBezTo>
                    <a:cubicBezTo>
                      <a:pt x="1378" y="831"/>
                      <a:pt x="1378" y="831"/>
                      <a:pt x="1378" y="831"/>
                    </a:cubicBezTo>
                    <a:cubicBezTo>
                      <a:pt x="1375" y="832"/>
                      <a:pt x="1375" y="832"/>
                      <a:pt x="1375" y="832"/>
                    </a:cubicBezTo>
                    <a:cubicBezTo>
                      <a:pt x="1373" y="830"/>
                      <a:pt x="1373" y="830"/>
                      <a:pt x="1373" y="830"/>
                    </a:cubicBezTo>
                    <a:cubicBezTo>
                      <a:pt x="1372" y="828"/>
                      <a:pt x="1372" y="828"/>
                      <a:pt x="1372" y="828"/>
                    </a:cubicBezTo>
                    <a:cubicBezTo>
                      <a:pt x="1372" y="831"/>
                      <a:pt x="1372" y="831"/>
                      <a:pt x="1372" y="831"/>
                    </a:cubicBezTo>
                    <a:cubicBezTo>
                      <a:pt x="1374" y="833"/>
                      <a:pt x="1374" y="833"/>
                      <a:pt x="1374" y="833"/>
                    </a:cubicBezTo>
                    <a:cubicBezTo>
                      <a:pt x="1377" y="833"/>
                      <a:pt x="1377" y="833"/>
                      <a:pt x="1377" y="833"/>
                    </a:cubicBezTo>
                    <a:cubicBezTo>
                      <a:pt x="1379" y="835"/>
                      <a:pt x="1379" y="835"/>
                      <a:pt x="1379" y="835"/>
                    </a:cubicBezTo>
                    <a:cubicBezTo>
                      <a:pt x="1381" y="836"/>
                      <a:pt x="1381" y="836"/>
                      <a:pt x="1381" y="836"/>
                    </a:cubicBezTo>
                    <a:cubicBezTo>
                      <a:pt x="1382" y="838"/>
                      <a:pt x="1382" y="838"/>
                      <a:pt x="1382" y="838"/>
                    </a:cubicBezTo>
                    <a:cubicBezTo>
                      <a:pt x="1381" y="840"/>
                      <a:pt x="1381" y="840"/>
                      <a:pt x="1381" y="840"/>
                    </a:cubicBezTo>
                    <a:cubicBezTo>
                      <a:pt x="1375" y="840"/>
                      <a:pt x="1375" y="840"/>
                      <a:pt x="1375" y="840"/>
                    </a:cubicBezTo>
                    <a:cubicBezTo>
                      <a:pt x="1374" y="838"/>
                      <a:pt x="1374" y="838"/>
                      <a:pt x="1374" y="838"/>
                    </a:cubicBezTo>
                    <a:cubicBezTo>
                      <a:pt x="1371" y="836"/>
                      <a:pt x="1371" y="836"/>
                      <a:pt x="1371" y="836"/>
                    </a:cubicBezTo>
                    <a:cubicBezTo>
                      <a:pt x="1369" y="834"/>
                      <a:pt x="1369" y="834"/>
                      <a:pt x="1369" y="834"/>
                    </a:cubicBezTo>
                    <a:cubicBezTo>
                      <a:pt x="1368" y="834"/>
                      <a:pt x="1368" y="834"/>
                      <a:pt x="1368" y="834"/>
                    </a:cubicBezTo>
                    <a:cubicBezTo>
                      <a:pt x="1369" y="836"/>
                      <a:pt x="1369" y="836"/>
                      <a:pt x="1369" y="836"/>
                    </a:cubicBezTo>
                    <a:cubicBezTo>
                      <a:pt x="1373" y="839"/>
                      <a:pt x="1373" y="839"/>
                      <a:pt x="1373" y="839"/>
                    </a:cubicBezTo>
                    <a:cubicBezTo>
                      <a:pt x="1374" y="841"/>
                      <a:pt x="1374" y="841"/>
                      <a:pt x="1374" y="841"/>
                    </a:cubicBezTo>
                    <a:cubicBezTo>
                      <a:pt x="1374" y="845"/>
                      <a:pt x="1374" y="845"/>
                      <a:pt x="1374" y="845"/>
                    </a:cubicBezTo>
                    <a:cubicBezTo>
                      <a:pt x="1373" y="847"/>
                      <a:pt x="1373" y="847"/>
                      <a:pt x="1373" y="847"/>
                    </a:cubicBezTo>
                    <a:cubicBezTo>
                      <a:pt x="1371" y="847"/>
                      <a:pt x="1371" y="847"/>
                      <a:pt x="1371" y="847"/>
                    </a:cubicBezTo>
                    <a:cubicBezTo>
                      <a:pt x="1370" y="845"/>
                      <a:pt x="1370" y="845"/>
                      <a:pt x="1370" y="845"/>
                    </a:cubicBezTo>
                    <a:cubicBezTo>
                      <a:pt x="1368" y="843"/>
                      <a:pt x="1368" y="843"/>
                      <a:pt x="1368" y="843"/>
                    </a:cubicBezTo>
                    <a:cubicBezTo>
                      <a:pt x="1365" y="842"/>
                      <a:pt x="1365" y="842"/>
                      <a:pt x="1365" y="842"/>
                    </a:cubicBezTo>
                    <a:cubicBezTo>
                      <a:pt x="1366" y="843"/>
                      <a:pt x="1366" y="843"/>
                      <a:pt x="1366" y="843"/>
                    </a:cubicBezTo>
                    <a:cubicBezTo>
                      <a:pt x="1367" y="844"/>
                      <a:pt x="1367" y="844"/>
                      <a:pt x="1367" y="844"/>
                    </a:cubicBezTo>
                    <a:cubicBezTo>
                      <a:pt x="1367" y="847"/>
                      <a:pt x="1367" y="847"/>
                      <a:pt x="1367" y="847"/>
                    </a:cubicBezTo>
                    <a:cubicBezTo>
                      <a:pt x="1367" y="852"/>
                      <a:pt x="1367" y="852"/>
                      <a:pt x="1367" y="852"/>
                    </a:cubicBezTo>
                    <a:cubicBezTo>
                      <a:pt x="1366" y="853"/>
                      <a:pt x="1366" y="853"/>
                      <a:pt x="1366" y="853"/>
                    </a:cubicBezTo>
                    <a:cubicBezTo>
                      <a:pt x="1364" y="853"/>
                      <a:pt x="1364" y="853"/>
                      <a:pt x="1364" y="853"/>
                    </a:cubicBezTo>
                    <a:cubicBezTo>
                      <a:pt x="1363" y="851"/>
                      <a:pt x="1363" y="851"/>
                      <a:pt x="1363" y="851"/>
                    </a:cubicBezTo>
                    <a:cubicBezTo>
                      <a:pt x="1363" y="848"/>
                      <a:pt x="1363" y="848"/>
                      <a:pt x="1363" y="848"/>
                    </a:cubicBezTo>
                    <a:cubicBezTo>
                      <a:pt x="1362" y="849"/>
                      <a:pt x="1362" y="849"/>
                      <a:pt x="1362" y="849"/>
                    </a:cubicBezTo>
                    <a:cubicBezTo>
                      <a:pt x="1361" y="851"/>
                      <a:pt x="1361" y="851"/>
                      <a:pt x="1361" y="851"/>
                    </a:cubicBezTo>
                    <a:cubicBezTo>
                      <a:pt x="1359" y="851"/>
                      <a:pt x="1359" y="851"/>
                      <a:pt x="1359" y="851"/>
                    </a:cubicBezTo>
                    <a:cubicBezTo>
                      <a:pt x="1357" y="850"/>
                      <a:pt x="1357" y="850"/>
                      <a:pt x="1357" y="850"/>
                    </a:cubicBezTo>
                    <a:cubicBezTo>
                      <a:pt x="1357" y="848"/>
                      <a:pt x="1357" y="848"/>
                      <a:pt x="1357" y="848"/>
                    </a:cubicBezTo>
                    <a:cubicBezTo>
                      <a:pt x="1356" y="845"/>
                      <a:pt x="1356" y="845"/>
                      <a:pt x="1356" y="845"/>
                    </a:cubicBezTo>
                    <a:cubicBezTo>
                      <a:pt x="1356" y="843"/>
                      <a:pt x="1356" y="843"/>
                      <a:pt x="1356" y="843"/>
                    </a:cubicBezTo>
                    <a:cubicBezTo>
                      <a:pt x="1355" y="841"/>
                      <a:pt x="1355" y="841"/>
                      <a:pt x="1355" y="841"/>
                    </a:cubicBezTo>
                    <a:cubicBezTo>
                      <a:pt x="1354" y="843"/>
                      <a:pt x="1354" y="843"/>
                      <a:pt x="1354" y="843"/>
                    </a:cubicBezTo>
                    <a:cubicBezTo>
                      <a:pt x="1354" y="848"/>
                      <a:pt x="1354" y="848"/>
                      <a:pt x="1354" y="848"/>
                    </a:cubicBezTo>
                    <a:cubicBezTo>
                      <a:pt x="1353" y="849"/>
                      <a:pt x="1353" y="849"/>
                      <a:pt x="1353" y="849"/>
                    </a:cubicBezTo>
                    <a:cubicBezTo>
                      <a:pt x="1350" y="850"/>
                      <a:pt x="1350" y="850"/>
                      <a:pt x="1350" y="850"/>
                    </a:cubicBezTo>
                    <a:cubicBezTo>
                      <a:pt x="1351" y="851"/>
                      <a:pt x="1351" y="851"/>
                      <a:pt x="1351" y="851"/>
                    </a:cubicBezTo>
                    <a:cubicBezTo>
                      <a:pt x="1353" y="851"/>
                      <a:pt x="1353" y="851"/>
                      <a:pt x="1353" y="851"/>
                    </a:cubicBezTo>
                    <a:cubicBezTo>
                      <a:pt x="1354" y="852"/>
                      <a:pt x="1354" y="852"/>
                      <a:pt x="1354" y="852"/>
                    </a:cubicBezTo>
                    <a:cubicBezTo>
                      <a:pt x="1352" y="854"/>
                      <a:pt x="1352" y="854"/>
                      <a:pt x="1352" y="854"/>
                    </a:cubicBezTo>
                    <a:cubicBezTo>
                      <a:pt x="1350" y="854"/>
                      <a:pt x="1350" y="854"/>
                      <a:pt x="1350" y="854"/>
                    </a:cubicBezTo>
                    <a:cubicBezTo>
                      <a:pt x="1349" y="853"/>
                      <a:pt x="1349" y="853"/>
                      <a:pt x="1349" y="853"/>
                    </a:cubicBezTo>
                    <a:cubicBezTo>
                      <a:pt x="1349" y="854"/>
                      <a:pt x="1349" y="854"/>
                      <a:pt x="1349" y="854"/>
                    </a:cubicBezTo>
                    <a:cubicBezTo>
                      <a:pt x="1351" y="856"/>
                      <a:pt x="1351" y="856"/>
                      <a:pt x="1351" y="856"/>
                    </a:cubicBezTo>
                    <a:cubicBezTo>
                      <a:pt x="1352" y="856"/>
                      <a:pt x="1352" y="856"/>
                      <a:pt x="1352" y="856"/>
                    </a:cubicBezTo>
                    <a:cubicBezTo>
                      <a:pt x="1353" y="857"/>
                      <a:pt x="1353" y="857"/>
                      <a:pt x="1353" y="857"/>
                    </a:cubicBezTo>
                    <a:cubicBezTo>
                      <a:pt x="1352" y="860"/>
                      <a:pt x="1352" y="860"/>
                      <a:pt x="1352" y="860"/>
                    </a:cubicBezTo>
                    <a:cubicBezTo>
                      <a:pt x="1351" y="860"/>
                      <a:pt x="1351" y="860"/>
                      <a:pt x="1351" y="860"/>
                    </a:cubicBezTo>
                    <a:cubicBezTo>
                      <a:pt x="1351" y="862"/>
                      <a:pt x="1351" y="862"/>
                      <a:pt x="1351" y="862"/>
                    </a:cubicBezTo>
                    <a:cubicBezTo>
                      <a:pt x="1352" y="864"/>
                      <a:pt x="1352" y="864"/>
                      <a:pt x="1352" y="864"/>
                    </a:cubicBezTo>
                    <a:cubicBezTo>
                      <a:pt x="1352" y="866"/>
                      <a:pt x="1352" y="866"/>
                      <a:pt x="1352" y="866"/>
                    </a:cubicBezTo>
                    <a:cubicBezTo>
                      <a:pt x="1351" y="866"/>
                      <a:pt x="1351" y="866"/>
                      <a:pt x="1351" y="866"/>
                    </a:cubicBezTo>
                    <a:cubicBezTo>
                      <a:pt x="1349" y="865"/>
                      <a:pt x="1349" y="865"/>
                      <a:pt x="1349" y="865"/>
                    </a:cubicBezTo>
                    <a:cubicBezTo>
                      <a:pt x="1348" y="866"/>
                      <a:pt x="1348" y="866"/>
                      <a:pt x="1348" y="866"/>
                    </a:cubicBezTo>
                    <a:cubicBezTo>
                      <a:pt x="1351" y="868"/>
                      <a:pt x="1351" y="868"/>
                      <a:pt x="1351" y="868"/>
                    </a:cubicBezTo>
                    <a:cubicBezTo>
                      <a:pt x="1351" y="870"/>
                      <a:pt x="1351" y="870"/>
                      <a:pt x="1351" y="870"/>
                    </a:cubicBezTo>
                    <a:cubicBezTo>
                      <a:pt x="1351" y="873"/>
                      <a:pt x="1351" y="873"/>
                      <a:pt x="1351" y="873"/>
                    </a:cubicBezTo>
                    <a:cubicBezTo>
                      <a:pt x="1347" y="874"/>
                      <a:pt x="1347" y="874"/>
                      <a:pt x="1347" y="874"/>
                    </a:cubicBezTo>
                    <a:cubicBezTo>
                      <a:pt x="1346" y="876"/>
                      <a:pt x="1346" y="876"/>
                      <a:pt x="1346" y="876"/>
                    </a:cubicBezTo>
                    <a:cubicBezTo>
                      <a:pt x="1344" y="875"/>
                      <a:pt x="1344" y="875"/>
                      <a:pt x="1344" y="875"/>
                    </a:cubicBezTo>
                    <a:cubicBezTo>
                      <a:pt x="1344" y="873"/>
                      <a:pt x="1344" y="873"/>
                      <a:pt x="1344" y="873"/>
                    </a:cubicBezTo>
                    <a:cubicBezTo>
                      <a:pt x="1343" y="873"/>
                      <a:pt x="1343" y="873"/>
                      <a:pt x="1343" y="873"/>
                    </a:cubicBezTo>
                    <a:cubicBezTo>
                      <a:pt x="1343" y="871"/>
                      <a:pt x="1343" y="871"/>
                      <a:pt x="1343" y="871"/>
                    </a:cubicBezTo>
                    <a:cubicBezTo>
                      <a:pt x="1341" y="871"/>
                      <a:pt x="1341" y="871"/>
                      <a:pt x="1341" y="871"/>
                    </a:cubicBezTo>
                    <a:cubicBezTo>
                      <a:pt x="1341" y="869"/>
                      <a:pt x="1341" y="869"/>
                      <a:pt x="1341" y="869"/>
                    </a:cubicBezTo>
                    <a:cubicBezTo>
                      <a:pt x="1342" y="867"/>
                      <a:pt x="1342" y="867"/>
                      <a:pt x="1342" y="867"/>
                    </a:cubicBezTo>
                    <a:cubicBezTo>
                      <a:pt x="1342" y="866"/>
                      <a:pt x="1342" y="866"/>
                      <a:pt x="1342" y="866"/>
                    </a:cubicBezTo>
                    <a:cubicBezTo>
                      <a:pt x="1341" y="866"/>
                      <a:pt x="1341" y="866"/>
                      <a:pt x="1341" y="866"/>
                    </a:cubicBezTo>
                    <a:cubicBezTo>
                      <a:pt x="1339" y="867"/>
                      <a:pt x="1339" y="867"/>
                      <a:pt x="1339" y="867"/>
                    </a:cubicBezTo>
                    <a:cubicBezTo>
                      <a:pt x="1338" y="869"/>
                      <a:pt x="1338" y="869"/>
                      <a:pt x="1338" y="869"/>
                    </a:cubicBezTo>
                    <a:cubicBezTo>
                      <a:pt x="1337" y="869"/>
                      <a:pt x="1337" y="869"/>
                      <a:pt x="1337" y="869"/>
                    </a:cubicBezTo>
                    <a:cubicBezTo>
                      <a:pt x="1335" y="867"/>
                      <a:pt x="1335" y="867"/>
                      <a:pt x="1335" y="867"/>
                    </a:cubicBezTo>
                    <a:cubicBezTo>
                      <a:pt x="1336" y="865"/>
                      <a:pt x="1336" y="865"/>
                      <a:pt x="1336" y="865"/>
                    </a:cubicBezTo>
                    <a:cubicBezTo>
                      <a:pt x="1335" y="863"/>
                      <a:pt x="1335" y="863"/>
                      <a:pt x="1335" y="863"/>
                    </a:cubicBezTo>
                    <a:cubicBezTo>
                      <a:pt x="1335" y="862"/>
                      <a:pt x="1335" y="862"/>
                      <a:pt x="1335" y="862"/>
                    </a:cubicBezTo>
                    <a:cubicBezTo>
                      <a:pt x="1336" y="861"/>
                      <a:pt x="1336" y="861"/>
                      <a:pt x="1336" y="861"/>
                    </a:cubicBezTo>
                    <a:cubicBezTo>
                      <a:pt x="1336" y="860"/>
                      <a:pt x="1336" y="860"/>
                      <a:pt x="1336" y="860"/>
                    </a:cubicBezTo>
                    <a:cubicBezTo>
                      <a:pt x="1337" y="858"/>
                      <a:pt x="1337" y="858"/>
                      <a:pt x="1337" y="858"/>
                    </a:cubicBezTo>
                    <a:cubicBezTo>
                      <a:pt x="1336" y="858"/>
                      <a:pt x="1336" y="858"/>
                      <a:pt x="1336" y="858"/>
                    </a:cubicBezTo>
                    <a:cubicBezTo>
                      <a:pt x="1334" y="860"/>
                      <a:pt x="1334" y="860"/>
                      <a:pt x="1334" y="860"/>
                    </a:cubicBezTo>
                    <a:cubicBezTo>
                      <a:pt x="1332" y="863"/>
                      <a:pt x="1332" y="863"/>
                      <a:pt x="1332" y="863"/>
                    </a:cubicBezTo>
                    <a:cubicBezTo>
                      <a:pt x="1330" y="866"/>
                      <a:pt x="1330" y="866"/>
                      <a:pt x="1330" y="866"/>
                    </a:cubicBezTo>
                    <a:cubicBezTo>
                      <a:pt x="1330" y="865"/>
                      <a:pt x="1330" y="865"/>
                      <a:pt x="1330" y="865"/>
                    </a:cubicBezTo>
                    <a:cubicBezTo>
                      <a:pt x="1330" y="863"/>
                      <a:pt x="1330" y="863"/>
                      <a:pt x="1330" y="863"/>
                    </a:cubicBezTo>
                    <a:cubicBezTo>
                      <a:pt x="1328" y="860"/>
                      <a:pt x="1328" y="860"/>
                      <a:pt x="1328" y="860"/>
                    </a:cubicBezTo>
                    <a:cubicBezTo>
                      <a:pt x="1328" y="858"/>
                      <a:pt x="1328" y="858"/>
                      <a:pt x="1328" y="858"/>
                    </a:cubicBezTo>
                    <a:cubicBezTo>
                      <a:pt x="1329" y="857"/>
                      <a:pt x="1329" y="857"/>
                      <a:pt x="1329" y="857"/>
                    </a:cubicBezTo>
                    <a:cubicBezTo>
                      <a:pt x="1332" y="855"/>
                      <a:pt x="1332" y="855"/>
                      <a:pt x="1332" y="855"/>
                    </a:cubicBezTo>
                    <a:cubicBezTo>
                      <a:pt x="1332" y="855"/>
                      <a:pt x="1332" y="855"/>
                      <a:pt x="1332" y="855"/>
                    </a:cubicBezTo>
                    <a:cubicBezTo>
                      <a:pt x="1334" y="854"/>
                      <a:pt x="1334" y="854"/>
                      <a:pt x="1334" y="854"/>
                    </a:cubicBezTo>
                    <a:cubicBezTo>
                      <a:pt x="1334" y="853"/>
                      <a:pt x="1334" y="853"/>
                      <a:pt x="1334" y="853"/>
                    </a:cubicBezTo>
                    <a:cubicBezTo>
                      <a:pt x="1331" y="853"/>
                      <a:pt x="1331" y="853"/>
                      <a:pt x="1331" y="853"/>
                    </a:cubicBezTo>
                    <a:cubicBezTo>
                      <a:pt x="1328" y="853"/>
                      <a:pt x="1328" y="853"/>
                      <a:pt x="1328" y="853"/>
                    </a:cubicBezTo>
                    <a:cubicBezTo>
                      <a:pt x="1326" y="853"/>
                      <a:pt x="1326" y="853"/>
                      <a:pt x="1326" y="853"/>
                    </a:cubicBezTo>
                    <a:cubicBezTo>
                      <a:pt x="1325" y="851"/>
                      <a:pt x="1325" y="851"/>
                      <a:pt x="1325" y="851"/>
                    </a:cubicBezTo>
                    <a:cubicBezTo>
                      <a:pt x="1326" y="850"/>
                      <a:pt x="1326" y="850"/>
                      <a:pt x="1326" y="850"/>
                    </a:cubicBezTo>
                    <a:cubicBezTo>
                      <a:pt x="1329" y="849"/>
                      <a:pt x="1329" y="849"/>
                      <a:pt x="1329" y="849"/>
                    </a:cubicBezTo>
                    <a:cubicBezTo>
                      <a:pt x="1331" y="846"/>
                      <a:pt x="1331" y="846"/>
                      <a:pt x="1331" y="846"/>
                    </a:cubicBezTo>
                    <a:cubicBezTo>
                      <a:pt x="1330" y="847"/>
                      <a:pt x="1330" y="847"/>
                      <a:pt x="1330" y="847"/>
                    </a:cubicBezTo>
                    <a:cubicBezTo>
                      <a:pt x="1327" y="847"/>
                      <a:pt x="1327" y="847"/>
                      <a:pt x="1327" y="847"/>
                    </a:cubicBezTo>
                    <a:cubicBezTo>
                      <a:pt x="1326" y="847"/>
                      <a:pt x="1326" y="847"/>
                      <a:pt x="1326" y="847"/>
                    </a:cubicBezTo>
                    <a:cubicBezTo>
                      <a:pt x="1326" y="845"/>
                      <a:pt x="1326" y="845"/>
                      <a:pt x="1326" y="845"/>
                    </a:cubicBezTo>
                    <a:cubicBezTo>
                      <a:pt x="1327" y="844"/>
                      <a:pt x="1327" y="844"/>
                      <a:pt x="1327" y="844"/>
                    </a:cubicBezTo>
                    <a:cubicBezTo>
                      <a:pt x="1330" y="843"/>
                      <a:pt x="1330" y="843"/>
                      <a:pt x="1330" y="843"/>
                    </a:cubicBezTo>
                    <a:cubicBezTo>
                      <a:pt x="1333" y="842"/>
                      <a:pt x="1333" y="842"/>
                      <a:pt x="1333" y="842"/>
                    </a:cubicBezTo>
                    <a:cubicBezTo>
                      <a:pt x="1330" y="842"/>
                      <a:pt x="1330" y="842"/>
                      <a:pt x="1330" y="842"/>
                    </a:cubicBezTo>
                    <a:cubicBezTo>
                      <a:pt x="1328" y="842"/>
                      <a:pt x="1328" y="842"/>
                      <a:pt x="1328" y="842"/>
                    </a:cubicBezTo>
                    <a:cubicBezTo>
                      <a:pt x="1326" y="843"/>
                      <a:pt x="1326" y="843"/>
                      <a:pt x="1326" y="843"/>
                    </a:cubicBezTo>
                    <a:cubicBezTo>
                      <a:pt x="1325" y="842"/>
                      <a:pt x="1325" y="842"/>
                      <a:pt x="1325" y="842"/>
                    </a:cubicBezTo>
                    <a:cubicBezTo>
                      <a:pt x="1325" y="840"/>
                      <a:pt x="1325" y="840"/>
                      <a:pt x="1325" y="840"/>
                    </a:cubicBezTo>
                    <a:cubicBezTo>
                      <a:pt x="1328" y="836"/>
                      <a:pt x="1328" y="836"/>
                      <a:pt x="1328" y="836"/>
                    </a:cubicBezTo>
                    <a:cubicBezTo>
                      <a:pt x="1330" y="836"/>
                      <a:pt x="1330" y="836"/>
                      <a:pt x="1330" y="836"/>
                    </a:cubicBezTo>
                    <a:cubicBezTo>
                      <a:pt x="1333" y="835"/>
                      <a:pt x="1333" y="835"/>
                      <a:pt x="1333" y="835"/>
                    </a:cubicBezTo>
                    <a:cubicBezTo>
                      <a:pt x="1336" y="833"/>
                      <a:pt x="1336" y="833"/>
                      <a:pt x="1336" y="833"/>
                    </a:cubicBezTo>
                    <a:cubicBezTo>
                      <a:pt x="1339" y="831"/>
                      <a:pt x="1339" y="831"/>
                      <a:pt x="1339" y="831"/>
                    </a:cubicBezTo>
                    <a:cubicBezTo>
                      <a:pt x="1340" y="828"/>
                      <a:pt x="1340" y="828"/>
                      <a:pt x="1340" y="828"/>
                    </a:cubicBezTo>
                    <a:cubicBezTo>
                      <a:pt x="1343" y="825"/>
                      <a:pt x="1343" y="825"/>
                      <a:pt x="1343" y="825"/>
                    </a:cubicBezTo>
                    <a:cubicBezTo>
                      <a:pt x="1345" y="824"/>
                      <a:pt x="1345" y="824"/>
                      <a:pt x="1345" y="824"/>
                    </a:cubicBezTo>
                    <a:cubicBezTo>
                      <a:pt x="1344" y="823"/>
                      <a:pt x="1344" y="823"/>
                      <a:pt x="1344" y="823"/>
                    </a:cubicBezTo>
                    <a:cubicBezTo>
                      <a:pt x="1343" y="823"/>
                      <a:pt x="1343" y="823"/>
                      <a:pt x="1343" y="823"/>
                    </a:cubicBezTo>
                    <a:cubicBezTo>
                      <a:pt x="1339" y="826"/>
                      <a:pt x="1339" y="826"/>
                      <a:pt x="1339" y="826"/>
                    </a:cubicBezTo>
                    <a:cubicBezTo>
                      <a:pt x="1337" y="827"/>
                      <a:pt x="1337" y="827"/>
                      <a:pt x="1337" y="827"/>
                    </a:cubicBezTo>
                    <a:cubicBezTo>
                      <a:pt x="1336" y="830"/>
                      <a:pt x="1336" y="830"/>
                      <a:pt x="1336" y="830"/>
                    </a:cubicBezTo>
                    <a:cubicBezTo>
                      <a:pt x="1331" y="832"/>
                      <a:pt x="1331" y="832"/>
                      <a:pt x="1331" y="832"/>
                    </a:cubicBezTo>
                    <a:cubicBezTo>
                      <a:pt x="1329" y="832"/>
                      <a:pt x="1329" y="832"/>
                      <a:pt x="1329" y="832"/>
                    </a:cubicBezTo>
                    <a:cubicBezTo>
                      <a:pt x="1324" y="835"/>
                      <a:pt x="1324" y="835"/>
                      <a:pt x="1324" y="835"/>
                    </a:cubicBezTo>
                    <a:cubicBezTo>
                      <a:pt x="1320" y="836"/>
                      <a:pt x="1320" y="836"/>
                      <a:pt x="1320" y="836"/>
                    </a:cubicBezTo>
                    <a:cubicBezTo>
                      <a:pt x="1318" y="835"/>
                      <a:pt x="1318" y="835"/>
                      <a:pt x="1318" y="835"/>
                    </a:cubicBezTo>
                    <a:cubicBezTo>
                      <a:pt x="1318" y="833"/>
                      <a:pt x="1318" y="833"/>
                      <a:pt x="1318" y="833"/>
                    </a:cubicBezTo>
                    <a:cubicBezTo>
                      <a:pt x="1323" y="828"/>
                      <a:pt x="1323" y="828"/>
                      <a:pt x="1323" y="828"/>
                    </a:cubicBezTo>
                    <a:cubicBezTo>
                      <a:pt x="1327" y="826"/>
                      <a:pt x="1327" y="826"/>
                      <a:pt x="1327" y="826"/>
                    </a:cubicBezTo>
                    <a:cubicBezTo>
                      <a:pt x="1328" y="824"/>
                      <a:pt x="1328" y="824"/>
                      <a:pt x="1328" y="824"/>
                    </a:cubicBezTo>
                    <a:cubicBezTo>
                      <a:pt x="1329" y="823"/>
                      <a:pt x="1329" y="823"/>
                      <a:pt x="1329" y="823"/>
                    </a:cubicBezTo>
                    <a:cubicBezTo>
                      <a:pt x="1329" y="820"/>
                      <a:pt x="1329" y="820"/>
                      <a:pt x="1329" y="820"/>
                    </a:cubicBezTo>
                    <a:cubicBezTo>
                      <a:pt x="1326" y="824"/>
                      <a:pt x="1326" y="824"/>
                      <a:pt x="1326" y="824"/>
                    </a:cubicBezTo>
                    <a:cubicBezTo>
                      <a:pt x="1319" y="828"/>
                      <a:pt x="1319" y="828"/>
                      <a:pt x="1319" y="828"/>
                    </a:cubicBezTo>
                    <a:cubicBezTo>
                      <a:pt x="1317" y="830"/>
                      <a:pt x="1317" y="830"/>
                      <a:pt x="1317" y="830"/>
                    </a:cubicBezTo>
                    <a:cubicBezTo>
                      <a:pt x="1315" y="829"/>
                      <a:pt x="1315" y="829"/>
                      <a:pt x="1315" y="829"/>
                    </a:cubicBezTo>
                    <a:cubicBezTo>
                      <a:pt x="1314" y="828"/>
                      <a:pt x="1314" y="828"/>
                      <a:pt x="1314" y="828"/>
                    </a:cubicBezTo>
                    <a:cubicBezTo>
                      <a:pt x="1315" y="825"/>
                      <a:pt x="1315" y="825"/>
                      <a:pt x="1315" y="825"/>
                    </a:cubicBezTo>
                    <a:cubicBezTo>
                      <a:pt x="1314" y="824"/>
                      <a:pt x="1314" y="824"/>
                      <a:pt x="1314" y="824"/>
                    </a:cubicBezTo>
                    <a:cubicBezTo>
                      <a:pt x="1312" y="824"/>
                      <a:pt x="1312" y="824"/>
                      <a:pt x="1312" y="824"/>
                    </a:cubicBezTo>
                    <a:cubicBezTo>
                      <a:pt x="1310" y="823"/>
                      <a:pt x="1310" y="823"/>
                      <a:pt x="1310" y="823"/>
                    </a:cubicBezTo>
                    <a:cubicBezTo>
                      <a:pt x="1311" y="822"/>
                      <a:pt x="1311" y="822"/>
                      <a:pt x="1311" y="822"/>
                    </a:cubicBezTo>
                    <a:cubicBezTo>
                      <a:pt x="1313" y="821"/>
                      <a:pt x="1313" y="821"/>
                      <a:pt x="1313" y="821"/>
                    </a:cubicBezTo>
                    <a:cubicBezTo>
                      <a:pt x="1313" y="820"/>
                      <a:pt x="1313" y="820"/>
                      <a:pt x="1313" y="820"/>
                    </a:cubicBezTo>
                    <a:cubicBezTo>
                      <a:pt x="1311" y="819"/>
                      <a:pt x="1311" y="819"/>
                      <a:pt x="1311" y="819"/>
                    </a:cubicBezTo>
                    <a:cubicBezTo>
                      <a:pt x="1309" y="819"/>
                      <a:pt x="1309" y="819"/>
                      <a:pt x="1309" y="819"/>
                    </a:cubicBezTo>
                    <a:cubicBezTo>
                      <a:pt x="1309" y="818"/>
                      <a:pt x="1309" y="818"/>
                      <a:pt x="1309" y="818"/>
                    </a:cubicBezTo>
                    <a:cubicBezTo>
                      <a:pt x="1310" y="814"/>
                      <a:pt x="1310" y="814"/>
                      <a:pt x="1310" y="814"/>
                    </a:cubicBezTo>
                    <a:cubicBezTo>
                      <a:pt x="1311" y="813"/>
                      <a:pt x="1311" y="813"/>
                      <a:pt x="1311" y="813"/>
                    </a:cubicBezTo>
                    <a:cubicBezTo>
                      <a:pt x="1311" y="811"/>
                      <a:pt x="1311" y="811"/>
                      <a:pt x="1311" y="811"/>
                    </a:cubicBezTo>
                    <a:cubicBezTo>
                      <a:pt x="1309" y="810"/>
                      <a:pt x="1309" y="810"/>
                      <a:pt x="1309" y="810"/>
                    </a:cubicBezTo>
                    <a:cubicBezTo>
                      <a:pt x="1307" y="808"/>
                      <a:pt x="1307" y="808"/>
                      <a:pt x="1307" y="808"/>
                    </a:cubicBezTo>
                    <a:cubicBezTo>
                      <a:pt x="1307" y="809"/>
                      <a:pt x="1307" y="809"/>
                      <a:pt x="1307" y="809"/>
                    </a:cubicBezTo>
                    <a:cubicBezTo>
                      <a:pt x="1307" y="811"/>
                      <a:pt x="1307" y="811"/>
                      <a:pt x="1307" y="811"/>
                    </a:cubicBezTo>
                    <a:cubicBezTo>
                      <a:pt x="1307" y="813"/>
                      <a:pt x="1307" y="813"/>
                      <a:pt x="1307" y="813"/>
                    </a:cubicBezTo>
                    <a:cubicBezTo>
                      <a:pt x="1304" y="814"/>
                      <a:pt x="1304" y="814"/>
                      <a:pt x="1304" y="814"/>
                    </a:cubicBezTo>
                    <a:cubicBezTo>
                      <a:pt x="1303" y="813"/>
                      <a:pt x="1303" y="813"/>
                      <a:pt x="1303" y="813"/>
                    </a:cubicBezTo>
                    <a:cubicBezTo>
                      <a:pt x="1301" y="811"/>
                      <a:pt x="1301" y="811"/>
                      <a:pt x="1301" y="811"/>
                    </a:cubicBezTo>
                    <a:cubicBezTo>
                      <a:pt x="1297" y="811"/>
                      <a:pt x="1297" y="811"/>
                      <a:pt x="1297" y="811"/>
                    </a:cubicBezTo>
                    <a:cubicBezTo>
                      <a:pt x="1301" y="813"/>
                      <a:pt x="1301" y="813"/>
                      <a:pt x="1301" y="813"/>
                    </a:cubicBezTo>
                    <a:cubicBezTo>
                      <a:pt x="1303" y="816"/>
                      <a:pt x="1303" y="816"/>
                      <a:pt x="1303" y="816"/>
                    </a:cubicBezTo>
                    <a:cubicBezTo>
                      <a:pt x="1304" y="820"/>
                      <a:pt x="1304" y="820"/>
                      <a:pt x="1304" y="820"/>
                    </a:cubicBezTo>
                    <a:cubicBezTo>
                      <a:pt x="1301" y="819"/>
                      <a:pt x="1301" y="819"/>
                      <a:pt x="1301" y="819"/>
                    </a:cubicBezTo>
                    <a:cubicBezTo>
                      <a:pt x="1301" y="820"/>
                      <a:pt x="1301" y="820"/>
                      <a:pt x="1301" y="820"/>
                    </a:cubicBezTo>
                    <a:cubicBezTo>
                      <a:pt x="1301" y="821"/>
                      <a:pt x="1301" y="821"/>
                      <a:pt x="1301" y="821"/>
                    </a:cubicBezTo>
                    <a:cubicBezTo>
                      <a:pt x="1298" y="821"/>
                      <a:pt x="1298" y="821"/>
                      <a:pt x="1298" y="821"/>
                    </a:cubicBezTo>
                    <a:cubicBezTo>
                      <a:pt x="1296" y="819"/>
                      <a:pt x="1296" y="819"/>
                      <a:pt x="1296" y="819"/>
                    </a:cubicBezTo>
                    <a:cubicBezTo>
                      <a:pt x="1296" y="816"/>
                      <a:pt x="1296" y="816"/>
                      <a:pt x="1296" y="816"/>
                    </a:cubicBezTo>
                    <a:cubicBezTo>
                      <a:pt x="1294" y="815"/>
                      <a:pt x="1294" y="815"/>
                      <a:pt x="1294" y="815"/>
                    </a:cubicBezTo>
                    <a:cubicBezTo>
                      <a:pt x="1293" y="816"/>
                      <a:pt x="1293" y="816"/>
                      <a:pt x="1293" y="816"/>
                    </a:cubicBezTo>
                    <a:cubicBezTo>
                      <a:pt x="1295" y="818"/>
                      <a:pt x="1295" y="818"/>
                      <a:pt x="1295" y="818"/>
                    </a:cubicBezTo>
                    <a:cubicBezTo>
                      <a:pt x="1295" y="820"/>
                      <a:pt x="1295" y="820"/>
                      <a:pt x="1295" y="820"/>
                    </a:cubicBezTo>
                    <a:cubicBezTo>
                      <a:pt x="1294" y="823"/>
                      <a:pt x="1294" y="823"/>
                      <a:pt x="1294" y="823"/>
                    </a:cubicBezTo>
                    <a:cubicBezTo>
                      <a:pt x="1297" y="823"/>
                      <a:pt x="1297" y="823"/>
                      <a:pt x="1297" y="823"/>
                    </a:cubicBezTo>
                    <a:cubicBezTo>
                      <a:pt x="1299" y="826"/>
                      <a:pt x="1299" y="826"/>
                      <a:pt x="1299" y="826"/>
                    </a:cubicBezTo>
                    <a:cubicBezTo>
                      <a:pt x="1300" y="829"/>
                      <a:pt x="1300" y="829"/>
                      <a:pt x="1300" y="829"/>
                    </a:cubicBezTo>
                    <a:cubicBezTo>
                      <a:pt x="1300" y="831"/>
                      <a:pt x="1300" y="831"/>
                      <a:pt x="1300" y="831"/>
                    </a:cubicBezTo>
                    <a:cubicBezTo>
                      <a:pt x="1301" y="832"/>
                      <a:pt x="1301" y="832"/>
                      <a:pt x="1301" y="832"/>
                    </a:cubicBezTo>
                    <a:cubicBezTo>
                      <a:pt x="1301" y="833"/>
                      <a:pt x="1301" y="833"/>
                      <a:pt x="1301" y="833"/>
                    </a:cubicBezTo>
                    <a:cubicBezTo>
                      <a:pt x="1299" y="834"/>
                      <a:pt x="1299" y="834"/>
                      <a:pt x="1299" y="834"/>
                    </a:cubicBezTo>
                    <a:cubicBezTo>
                      <a:pt x="1295" y="834"/>
                      <a:pt x="1295" y="834"/>
                      <a:pt x="1295" y="834"/>
                    </a:cubicBezTo>
                    <a:cubicBezTo>
                      <a:pt x="1293" y="832"/>
                      <a:pt x="1293" y="832"/>
                      <a:pt x="1293" y="832"/>
                    </a:cubicBezTo>
                    <a:cubicBezTo>
                      <a:pt x="1292" y="835"/>
                      <a:pt x="1292" y="835"/>
                      <a:pt x="1292" y="835"/>
                    </a:cubicBezTo>
                    <a:cubicBezTo>
                      <a:pt x="1291" y="835"/>
                      <a:pt x="1291" y="835"/>
                      <a:pt x="1291" y="835"/>
                    </a:cubicBezTo>
                    <a:cubicBezTo>
                      <a:pt x="1287" y="831"/>
                      <a:pt x="1287" y="831"/>
                      <a:pt x="1287" y="831"/>
                    </a:cubicBezTo>
                    <a:cubicBezTo>
                      <a:pt x="1287" y="828"/>
                      <a:pt x="1287" y="828"/>
                      <a:pt x="1287" y="828"/>
                    </a:cubicBezTo>
                    <a:cubicBezTo>
                      <a:pt x="1288" y="826"/>
                      <a:pt x="1288" y="826"/>
                      <a:pt x="1288" y="826"/>
                    </a:cubicBezTo>
                    <a:cubicBezTo>
                      <a:pt x="1288" y="824"/>
                      <a:pt x="1288" y="824"/>
                      <a:pt x="1288" y="824"/>
                    </a:cubicBezTo>
                    <a:cubicBezTo>
                      <a:pt x="1284" y="822"/>
                      <a:pt x="1284" y="822"/>
                      <a:pt x="1284" y="822"/>
                    </a:cubicBezTo>
                    <a:cubicBezTo>
                      <a:pt x="1281" y="822"/>
                      <a:pt x="1281" y="822"/>
                      <a:pt x="1281" y="822"/>
                    </a:cubicBezTo>
                    <a:cubicBezTo>
                      <a:pt x="1281" y="820"/>
                      <a:pt x="1281" y="820"/>
                      <a:pt x="1281" y="820"/>
                    </a:cubicBezTo>
                    <a:cubicBezTo>
                      <a:pt x="1279" y="818"/>
                      <a:pt x="1279" y="818"/>
                      <a:pt x="1279" y="818"/>
                    </a:cubicBezTo>
                    <a:cubicBezTo>
                      <a:pt x="1278" y="819"/>
                      <a:pt x="1278" y="819"/>
                      <a:pt x="1278" y="819"/>
                    </a:cubicBezTo>
                    <a:cubicBezTo>
                      <a:pt x="1274" y="820"/>
                      <a:pt x="1274" y="820"/>
                      <a:pt x="1274" y="820"/>
                    </a:cubicBezTo>
                    <a:cubicBezTo>
                      <a:pt x="1270" y="820"/>
                      <a:pt x="1270" y="820"/>
                      <a:pt x="1270" y="820"/>
                    </a:cubicBezTo>
                    <a:cubicBezTo>
                      <a:pt x="1272" y="822"/>
                      <a:pt x="1272" y="822"/>
                      <a:pt x="1272" y="822"/>
                    </a:cubicBezTo>
                    <a:cubicBezTo>
                      <a:pt x="1276" y="822"/>
                      <a:pt x="1276" y="822"/>
                      <a:pt x="1276" y="822"/>
                    </a:cubicBezTo>
                    <a:cubicBezTo>
                      <a:pt x="1279" y="823"/>
                      <a:pt x="1279" y="823"/>
                      <a:pt x="1279" y="823"/>
                    </a:cubicBezTo>
                    <a:cubicBezTo>
                      <a:pt x="1283" y="824"/>
                      <a:pt x="1283" y="824"/>
                      <a:pt x="1283" y="824"/>
                    </a:cubicBezTo>
                    <a:cubicBezTo>
                      <a:pt x="1283" y="828"/>
                      <a:pt x="1283" y="828"/>
                      <a:pt x="1283" y="828"/>
                    </a:cubicBezTo>
                    <a:cubicBezTo>
                      <a:pt x="1281" y="831"/>
                      <a:pt x="1281" y="831"/>
                      <a:pt x="1281" y="831"/>
                    </a:cubicBezTo>
                    <a:cubicBezTo>
                      <a:pt x="1281" y="833"/>
                      <a:pt x="1281" y="833"/>
                      <a:pt x="1281" y="833"/>
                    </a:cubicBezTo>
                    <a:cubicBezTo>
                      <a:pt x="1283" y="832"/>
                      <a:pt x="1283" y="832"/>
                      <a:pt x="1283" y="832"/>
                    </a:cubicBezTo>
                    <a:cubicBezTo>
                      <a:pt x="1284" y="834"/>
                      <a:pt x="1284" y="834"/>
                      <a:pt x="1284" y="834"/>
                    </a:cubicBezTo>
                    <a:cubicBezTo>
                      <a:pt x="1283" y="836"/>
                      <a:pt x="1283" y="836"/>
                      <a:pt x="1283" y="836"/>
                    </a:cubicBezTo>
                    <a:cubicBezTo>
                      <a:pt x="1285" y="837"/>
                      <a:pt x="1285" y="837"/>
                      <a:pt x="1285" y="837"/>
                    </a:cubicBezTo>
                    <a:cubicBezTo>
                      <a:pt x="1288" y="837"/>
                      <a:pt x="1288" y="837"/>
                      <a:pt x="1288" y="837"/>
                    </a:cubicBezTo>
                    <a:cubicBezTo>
                      <a:pt x="1288" y="838"/>
                      <a:pt x="1288" y="838"/>
                      <a:pt x="1288" y="838"/>
                    </a:cubicBezTo>
                    <a:cubicBezTo>
                      <a:pt x="1286" y="841"/>
                      <a:pt x="1286" y="841"/>
                      <a:pt x="1286" y="841"/>
                    </a:cubicBezTo>
                    <a:cubicBezTo>
                      <a:pt x="1281" y="846"/>
                      <a:pt x="1281" y="846"/>
                      <a:pt x="1281" y="846"/>
                    </a:cubicBezTo>
                    <a:cubicBezTo>
                      <a:pt x="1278" y="848"/>
                      <a:pt x="1278" y="848"/>
                      <a:pt x="1278" y="848"/>
                    </a:cubicBezTo>
                    <a:cubicBezTo>
                      <a:pt x="1284" y="847"/>
                      <a:pt x="1284" y="847"/>
                      <a:pt x="1284" y="847"/>
                    </a:cubicBezTo>
                    <a:cubicBezTo>
                      <a:pt x="1286" y="844"/>
                      <a:pt x="1286" y="844"/>
                      <a:pt x="1286" y="844"/>
                    </a:cubicBezTo>
                    <a:cubicBezTo>
                      <a:pt x="1287" y="843"/>
                      <a:pt x="1287" y="843"/>
                      <a:pt x="1287" y="843"/>
                    </a:cubicBezTo>
                    <a:cubicBezTo>
                      <a:pt x="1293" y="843"/>
                      <a:pt x="1293" y="843"/>
                      <a:pt x="1293" y="843"/>
                    </a:cubicBezTo>
                    <a:cubicBezTo>
                      <a:pt x="1294" y="844"/>
                      <a:pt x="1294" y="844"/>
                      <a:pt x="1294" y="844"/>
                    </a:cubicBezTo>
                    <a:cubicBezTo>
                      <a:pt x="1294" y="846"/>
                      <a:pt x="1294" y="846"/>
                      <a:pt x="1294" y="846"/>
                    </a:cubicBezTo>
                    <a:cubicBezTo>
                      <a:pt x="1291" y="847"/>
                      <a:pt x="1291" y="847"/>
                      <a:pt x="1291" y="847"/>
                    </a:cubicBezTo>
                    <a:cubicBezTo>
                      <a:pt x="1289" y="850"/>
                      <a:pt x="1289" y="850"/>
                      <a:pt x="1289" y="850"/>
                    </a:cubicBezTo>
                    <a:cubicBezTo>
                      <a:pt x="1291" y="851"/>
                      <a:pt x="1291" y="851"/>
                      <a:pt x="1291" y="851"/>
                    </a:cubicBezTo>
                    <a:cubicBezTo>
                      <a:pt x="1294" y="851"/>
                      <a:pt x="1294" y="851"/>
                      <a:pt x="1294" y="851"/>
                    </a:cubicBezTo>
                    <a:cubicBezTo>
                      <a:pt x="1296" y="853"/>
                      <a:pt x="1296" y="853"/>
                      <a:pt x="1296" y="853"/>
                    </a:cubicBezTo>
                    <a:cubicBezTo>
                      <a:pt x="1294" y="854"/>
                      <a:pt x="1294" y="854"/>
                      <a:pt x="1294" y="854"/>
                    </a:cubicBezTo>
                    <a:cubicBezTo>
                      <a:pt x="1291" y="855"/>
                      <a:pt x="1291" y="855"/>
                      <a:pt x="1291" y="855"/>
                    </a:cubicBezTo>
                    <a:cubicBezTo>
                      <a:pt x="1290" y="856"/>
                      <a:pt x="1290" y="856"/>
                      <a:pt x="1290" y="856"/>
                    </a:cubicBezTo>
                    <a:cubicBezTo>
                      <a:pt x="1291" y="857"/>
                      <a:pt x="1291" y="857"/>
                      <a:pt x="1291" y="857"/>
                    </a:cubicBezTo>
                    <a:cubicBezTo>
                      <a:pt x="1292" y="859"/>
                      <a:pt x="1292" y="859"/>
                      <a:pt x="1292" y="859"/>
                    </a:cubicBezTo>
                    <a:cubicBezTo>
                      <a:pt x="1292" y="859"/>
                      <a:pt x="1292" y="859"/>
                      <a:pt x="1292" y="859"/>
                    </a:cubicBezTo>
                    <a:cubicBezTo>
                      <a:pt x="1292" y="860"/>
                      <a:pt x="1292" y="860"/>
                      <a:pt x="1292" y="860"/>
                    </a:cubicBezTo>
                    <a:cubicBezTo>
                      <a:pt x="1293" y="860"/>
                      <a:pt x="1293" y="860"/>
                      <a:pt x="1293" y="860"/>
                    </a:cubicBezTo>
                    <a:cubicBezTo>
                      <a:pt x="1293" y="863"/>
                      <a:pt x="1293" y="863"/>
                      <a:pt x="1293" y="863"/>
                    </a:cubicBezTo>
                    <a:cubicBezTo>
                      <a:pt x="1294" y="864"/>
                      <a:pt x="1294" y="864"/>
                      <a:pt x="1294" y="864"/>
                    </a:cubicBezTo>
                    <a:cubicBezTo>
                      <a:pt x="1295" y="866"/>
                      <a:pt x="1295" y="866"/>
                      <a:pt x="1295" y="866"/>
                    </a:cubicBezTo>
                    <a:cubicBezTo>
                      <a:pt x="1295" y="871"/>
                      <a:pt x="1295" y="871"/>
                      <a:pt x="1295" y="871"/>
                    </a:cubicBezTo>
                    <a:cubicBezTo>
                      <a:pt x="1296" y="871"/>
                      <a:pt x="1296" y="871"/>
                      <a:pt x="1296" y="871"/>
                    </a:cubicBezTo>
                    <a:cubicBezTo>
                      <a:pt x="1297" y="869"/>
                      <a:pt x="1297" y="869"/>
                      <a:pt x="1297" y="869"/>
                    </a:cubicBezTo>
                    <a:cubicBezTo>
                      <a:pt x="1298" y="866"/>
                      <a:pt x="1298" y="866"/>
                      <a:pt x="1298" y="866"/>
                    </a:cubicBezTo>
                    <a:cubicBezTo>
                      <a:pt x="1299" y="865"/>
                      <a:pt x="1299" y="865"/>
                      <a:pt x="1299" y="865"/>
                    </a:cubicBezTo>
                    <a:cubicBezTo>
                      <a:pt x="1302" y="867"/>
                      <a:pt x="1302" y="867"/>
                      <a:pt x="1302" y="867"/>
                    </a:cubicBezTo>
                    <a:cubicBezTo>
                      <a:pt x="1302" y="871"/>
                      <a:pt x="1302" y="871"/>
                      <a:pt x="1302" y="871"/>
                    </a:cubicBezTo>
                    <a:cubicBezTo>
                      <a:pt x="1303" y="872"/>
                      <a:pt x="1303" y="872"/>
                      <a:pt x="1303" y="872"/>
                    </a:cubicBezTo>
                    <a:cubicBezTo>
                      <a:pt x="1303" y="873"/>
                      <a:pt x="1303" y="873"/>
                      <a:pt x="1303" y="873"/>
                    </a:cubicBezTo>
                    <a:cubicBezTo>
                      <a:pt x="1300" y="875"/>
                      <a:pt x="1300" y="875"/>
                      <a:pt x="1300" y="875"/>
                    </a:cubicBezTo>
                    <a:cubicBezTo>
                      <a:pt x="1301" y="876"/>
                      <a:pt x="1301" y="876"/>
                      <a:pt x="1301" y="876"/>
                    </a:cubicBezTo>
                    <a:cubicBezTo>
                      <a:pt x="1305" y="876"/>
                      <a:pt x="1305" y="876"/>
                      <a:pt x="1305" y="876"/>
                    </a:cubicBezTo>
                    <a:cubicBezTo>
                      <a:pt x="1306" y="875"/>
                      <a:pt x="1306" y="875"/>
                      <a:pt x="1306" y="875"/>
                    </a:cubicBezTo>
                    <a:cubicBezTo>
                      <a:pt x="1307" y="877"/>
                      <a:pt x="1307" y="877"/>
                      <a:pt x="1307" y="877"/>
                    </a:cubicBezTo>
                    <a:cubicBezTo>
                      <a:pt x="1308" y="875"/>
                      <a:pt x="1308" y="875"/>
                      <a:pt x="1308" y="875"/>
                    </a:cubicBezTo>
                    <a:cubicBezTo>
                      <a:pt x="1308" y="873"/>
                      <a:pt x="1308" y="873"/>
                      <a:pt x="1308" y="873"/>
                    </a:cubicBezTo>
                    <a:cubicBezTo>
                      <a:pt x="1310" y="873"/>
                      <a:pt x="1310" y="873"/>
                      <a:pt x="1310" y="873"/>
                    </a:cubicBezTo>
                    <a:cubicBezTo>
                      <a:pt x="1312" y="876"/>
                      <a:pt x="1312" y="876"/>
                      <a:pt x="1312" y="876"/>
                    </a:cubicBezTo>
                    <a:cubicBezTo>
                      <a:pt x="1311" y="879"/>
                      <a:pt x="1311" y="879"/>
                      <a:pt x="1311" y="879"/>
                    </a:cubicBezTo>
                    <a:cubicBezTo>
                      <a:pt x="1309" y="881"/>
                      <a:pt x="1309" y="881"/>
                      <a:pt x="1309" y="881"/>
                    </a:cubicBezTo>
                    <a:cubicBezTo>
                      <a:pt x="1308" y="883"/>
                      <a:pt x="1308" y="883"/>
                      <a:pt x="1308" y="883"/>
                    </a:cubicBezTo>
                    <a:cubicBezTo>
                      <a:pt x="1308" y="885"/>
                      <a:pt x="1308" y="885"/>
                      <a:pt x="1308" y="885"/>
                    </a:cubicBezTo>
                    <a:cubicBezTo>
                      <a:pt x="1309" y="886"/>
                      <a:pt x="1309" y="886"/>
                      <a:pt x="1309" y="886"/>
                    </a:cubicBezTo>
                    <a:cubicBezTo>
                      <a:pt x="1314" y="886"/>
                      <a:pt x="1314" y="886"/>
                      <a:pt x="1314" y="886"/>
                    </a:cubicBezTo>
                    <a:cubicBezTo>
                      <a:pt x="1316" y="885"/>
                      <a:pt x="1316" y="885"/>
                      <a:pt x="1316" y="885"/>
                    </a:cubicBezTo>
                    <a:cubicBezTo>
                      <a:pt x="1318" y="886"/>
                      <a:pt x="1318" y="886"/>
                      <a:pt x="1318" y="886"/>
                    </a:cubicBezTo>
                    <a:cubicBezTo>
                      <a:pt x="1315" y="888"/>
                      <a:pt x="1315" y="888"/>
                      <a:pt x="1315" y="888"/>
                    </a:cubicBezTo>
                    <a:cubicBezTo>
                      <a:pt x="1314" y="890"/>
                      <a:pt x="1314" y="890"/>
                      <a:pt x="1314" y="890"/>
                    </a:cubicBezTo>
                    <a:cubicBezTo>
                      <a:pt x="1310" y="890"/>
                      <a:pt x="1310" y="890"/>
                      <a:pt x="1310" y="890"/>
                    </a:cubicBezTo>
                    <a:cubicBezTo>
                      <a:pt x="1312" y="893"/>
                      <a:pt x="1312" y="893"/>
                      <a:pt x="1312" y="893"/>
                    </a:cubicBezTo>
                    <a:cubicBezTo>
                      <a:pt x="1314" y="897"/>
                      <a:pt x="1314" y="897"/>
                      <a:pt x="1314" y="897"/>
                    </a:cubicBezTo>
                    <a:cubicBezTo>
                      <a:pt x="1314" y="899"/>
                      <a:pt x="1314" y="899"/>
                      <a:pt x="1314" y="899"/>
                    </a:cubicBezTo>
                    <a:cubicBezTo>
                      <a:pt x="1315" y="900"/>
                      <a:pt x="1315" y="900"/>
                      <a:pt x="1315" y="900"/>
                    </a:cubicBezTo>
                    <a:cubicBezTo>
                      <a:pt x="1316" y="904"/>
                      <a:pt x="1316" y="904"/>
                      <a:pt x="1316" y="904"/>
                    </a:cubicBezTo>
                    <a:cubicBezTo>
                      <a:pt x="1320" y="910"/>
                      <a:pt x="1320" y="910"/>
                      <a:pt x="1320" y="910"/>
                    </a:cubicBezTo>
                    <a:cubicBezTo>
                      <a:pt x="1321" y="912"/>
                      <a:pt x="1321" y="912"/>
                      <a:pt x="1321" y="912"/>
                    </a:cubicBezTo>
                    <a:cubicBezTo>
                      <a:pt x="1319" y="913"/>
                      <a:pt x="1319" y="913"/>
                      <a:pt x="1319" y="913"/>
                    </a:cubicBezTo>
                    <a:cubicBezTo>
                      <a:pt x="1319" y="918"/>
                      <a:pt x="1319" y="918"/>
                      <a:pt x="1319" y="918"/>
                    </a:cubicBezTo>
                    <a:cubicBezTo>
                      <a:pt x="1317" y="922"/>
                      <a:pt x="1317" y="922"/>
                      <a:pt x="1317" y="922"/>
                    </a:cubicBezTo>
                    <a:cubicBezTo>
                      <a:pt x="1318" y="926"/>
                      <a:pt x="1318" y="926"/>
                      <a:pt x="1318" y="926"/>
                    </a:cubicBezTo>
                    <a:cubicBezTo>
                      <a:pt x="1316" y="927"/>
                      <a:pt x="1316" y="927"/>
                      <a:pt x="1316" y="927"/>
                    </a:cubicBezTo>
                    <a:cubicBezTo>
                      <a:pt x="1312" y="922"/>
                      <a:pt x="1312" y="922"/>
                      <a:pt x="1312" y="922"/>
                    </a:cubicBezTo>
                    <a:cubicBezTo>
                      <a:pt x="1310" y="917"/>
                      <a:pt x="1310" y="917"/>
                      <a:pt x="1310" y="917"/>
                    </a:cubicBezTo>
                    <a:cubicBezTo>
                      <a:pt x="1311" y="914"/>
                      <a:pt x="1311" y="914"/>
                      <a:pt x="1311" y="914"/>
                    </a:cubicBezTo>
                    <a:cubicBezTo>
                      <a:pt x="1310" y="908"/>
                      <a:pt x="1310" y="908"/>
                      <a:pt x="1310" y="908"/>
                    </a:cubicBezTo>
                    <a:cubicBezTo>
                      <a:pt x="1309" y="913"/>
                      <a:pt x="1309" y="913"/>
                      <a:pt x="1309" y="913"/>
                    </a:cubicBezTo>
                    <a:cubicBezTo>
                      <a:pt x="1309" y="918"/>
                      <a:pt x="1309" y="918"/>
                      <a:pt x="1309" y="918"/>
                    </a:cubicBezTo>
                    <a:cubicBezTo>
                      <a:pt x="1311" y="925"/>
                      <a:pt x="1311" y="925"/>
                      <a:pt x="1311" y="925"/>
                    </a:cubicBezTo>
                    <a:cubicBezTo>
                      <a:pt x="1311" y="930"/>
                      <a:pt x="1311" y="930"/>
                      <a:pt x="1311" y="930"/>
                    </a:cubicBezTo>
                    <a:cubicBezTo>
                      <a:pt x="1309" y="933"/>
                      <a:pt x="1309" y="933"/>
                      <a:pt x="1309" y="933"/>
                    </a:cubicBezTo>
                    <a:cubicBezTo>
                      <a:pt x="1311" y="937"/>
                      <a:pt x="1311" y="937"/>
                      <a:pt x="1311" y="937"/>
                    </a:cubicBezTo>
                    <a:cubicBezTo>
                      <a:pt x="1310" y="938"/>
                      <a:pt x="1310" y="938"/>
                      <a:pt x="1310" y="938"/>
                    </a:cubicBezTo>
                    <a:cubicBezTo>
                      <a:pt x="1307" y="937"/>
                      <a:pt x="1307" y="937"/>
                      <a:pt x="1307" y="937"/>
                    </a:cubicBezTo>
                    <a:cubicBezTo>
                      <a:pt x="1305" y="935"/>
                      <a:pt x="1305" y="935"/>
                      <a:pt x="1305" y="935"/>
                    </a:cubicBezTo>
                    <a:cubicBezTo>
                      <a:pt x="1302" y="935"/>
                      <a:pt x="1302" y="935"/>
                      <a:pt x="1302" y="935"/>
                    </a:cubicBezTo>
                    <a:cubicBezTo>
                      <a:pt x="1304" y="941"/>
                      <a:pt x="1304" y="941"/>
                      <a:pt x="1304" y="941"/>
                    </a:cubicBezTo>
                    <a:cubicBezTo>
                      <a:pt x="1304" y="946"/>
                      <a:pt x="1304" y="946"/>
                      <a:pt x="1304" y="946"/>
                    </a:cubicBezTo>
                    <a:cubicBezTo>
                      <a:pt x="1305" y="947"/>
                      <a:pt x="1305" y="947"/>
                      <a:pt x="1305" y="947"/>
                    </a:cubicBezTo>
                    <a:cubicBezTo>
                      <a:pt x="1305" y="949"/>
                      <a:pt x="1305" y="949"/>
                      <a:pt x="1305" y="949"/>
                    </a:cubicBezTo>
                    <a:cubicBezTo>
                      <a:pt x="1302" y="949"/>
                      <a:pt x="1302" y="949"/>
                      <a:pt x="1302" y="949"/>
                    </a:cubicBezTo>
                    <a:cubicBezTo>
                      <a:pt x="1300" y="947"/>
                      <a:pt x="1300" y="947"/>
                      <a:pt x="1300" y="947"/>
                    </a:cubicBezTo>
                    <a:cubicBezTo>
                      <a:pt x="1298" y="941"/>
                      <a:pt x="1298" y="941"/>
                      <a:pt x="1298" y="941"/>
                    </a:cubicBezTo>
                    <a:cubicBezTo>
                      <a:pt x="1300" y="939"/>
                      <a:pt x="1300" y="939"/>
                      <a:pt x="1300" y="939"/>
                    </a:cubicBezTo>
                    <a:cubicBezTo>
                      <a:pt x="1300" y="935"/>
                      <a:pt x="1300" y="935"/>
                      <a:pt x="1300" y="935"/>
                    </a:cubicBezTo>
                    <a:cubicBezTo>
                      <a:pt x="1298" y="937"/>
                      <a:pt x="1298" y="937"/>
                      <a:pt x="1298" y="937"/>
                    </a:cubicBezTo>
                    <a:cubicBezTo>
                      <a:pt x="1295" y="938"/>
                      <a:pt x="1295" y="938"/>
                      <a:pt x="1295" y="938"/>
                    </a:cubicBezTo>
                    <a:cubicBezTo>
                      <a:pt x="1294" y="936"/>
                      <a:pt x="1294" y="936"/>
                      <a:pt x="1294" y="936"/>
                    </a:cubicBezTo>
                    <a:cubicBezTo>
                      <a:pt x="1294" y="930"/>
                      <a:pt x="1294" y="930"/>
                      <a:pt x="1294" y="930"/>
                    </a:cubicBezTo>
                    <a:cubicBezTo>
                      <a:pt x="1292" y="932"/>
                      <a:pt x="1292" y="932"/>
                      <a:pt x="1292" y="932"/>
                    </a:cubicBezTo>
                    <a:cubicBezTo>
                      <a:pt x="1291" y="934"/>
                      <a:pt x="1291" y="934"/>
                      <a:pt x="1291" y="934"/>
                    </a:cubicBezTo>
                    <a:cubicBezTo>
                      <a:pt x="1291" y="933"/>
                      <a:pt x="1291" y="933"/>
                      <a:pt x="1291" y="933"/>
                    </a:cubicBezTo>
                    <a:cubicBezTo>
                      <a:pt x="1291" y="931"/>
                      <a:pt x="1291" y="931"/>
                      <a:pt x="1291" y="931"/>
                    </a:cubicBezTo>
                    <a:cubicBezTo>
                      <a:pt x="1289" y="927"/>
                      <a:pt x="1289" y="927"/>
                      <a:pt x="1289" y="927"/>
                    </a:cubicBezTo>
                    <a:cubicBezTo>
                      <a:pt x="1287" y="927"/>
                      <a:pt x="1287" y="927"/>
                      <a:pt x="1287" y="927"/>
                    </a:cubicBezTo>
                    <a:cubicBezTo>
                      <a:pt x="1287" y="928"/>
                      <a:pt x="1287" y="928"/>
                      <a:pt x="1287" y="928"/>
                    </a:cubicBezTo>
                    <a:cubicBezTo>
                      <a:pt x="1288" y="930"/>
                      <a:pt x="1288" y="930"/>
                      <a:pt x="1288" y="930"/>
                    </a:cubicBezTo>
                    <a:cubicBezTo>
                      <a:pt x="1287" y="932"/>
                      <a:pt x="1287" y="932"/>
                      <a:pt x="1287" y="932"/>
                    </a:cubicBezTo>
                    <a:cubicBezTo>
                      <a:pt x="1285" y="931"/>
                      <a:pt x="1285" y="931"/>
                      <a:pt x="1285" y="931"/>
                    </a:cubicBezTo>
                    <a:cubicBezTo>
                      <a:pt x="1283" y="930"/>
                      <a:pt x="1283" y="930"/>
                      <a:pt x="1283" y="930"/>
                    </a:cubicBezTo>
                    <a:cubicBezTo>
                      <a:pt x="1283" y="927"/>
                      <a:pt x="1283" y="927"/>
                      <a:pt x="1283" y="927"/>
                    </a:cubicBezTo>
                    <a:cubicBezTo>
                      <a:pt x="1283" y="924"/>
                      <a:pt x="1283" y="924"/>
                      <a:pt x="1283" y="924"/>
                    </a:cubicBezTo>
                    <a:cubicBezTo>
                      <a:pt x="1281" y="918"/>
                      <a:pt x="1281" y="918"/>
                      <a:pt x="1281" y="918"/>
                    </a:cubicBezTo>
                    <a:cubicBezTo>
                      <a:pt x="1281" y="916"/>
                      <a:pt x="1281" y="916"/>
                      <a:pt x="1281" y="916"/>
                    </a:cubicBezTo>
                    <a:cubicBezTo>
                      <a:pt x="1280" y="919"/>
                      <a:pt x="1280" y="919"/>
                      <a:pt x="1280" y="919"/>
                    </a:cubicBezTo>
                    <a:cubicBezTo>
                      <a:pt x="1280" y="925"/>
                      <a:pt x="1280" y="925"/>
                      <a:pt x="1280" y="925"/>
                    </a:cubicBezTo>
                    <a:cubicBezTo>
                      <a:pt x="1281" y="928"/>
                      <a:pt x="1281" y="928"/>
                      <a:pt x="1281" y="928"/>
                    </a:cubicBezTo>
                    <a:cubicBezTo>
                      <a:pt x="1279" y="930"/>
                      <a:pt x="1279" y="930"/>
                      <a:pt x="1279" y="930"/>
                    </a:cubicBezTo>
                    <a:cubicBezTo>
                      <a:pt x="1277" y="924"/>
                      <a:pt x="1277" y="924"/>
                      <a:pt x="1277" y="924"/>
                    </a:cubicBezTo>
                    <a:cubicBezTo>
                      <a:pt x="1274" y="922"/>
                      <a:pt x="1274" y="922"/>
                      <a:pt x="1274" y="922"/>
                    </a:cubicBezTo>
                    <a:cubicBezTo>
                      <a:pt x="1274" y="920"/>
                      <a:pt x="1274" y="920"/>
                      <a:pt x="1274" y="920"/>
                    </a:cubicBezTo>
                    <a:cubicBezTo>
                      <a:pt x="1271" y="920"/>
                      <a:pt x="1271" y="920"/>
                      <a:pt x="1271" y="920"/>
                    </a:cubicBezTo>
                    <a:cubicBezTo>
                      <a:pt x="1270" y="914"/>
                      <a:pt x="1270" y="914"/>
                      <a:pt x="1270" y="914"/>
                    </a:cubicBezTo>
                    <a:cubicBezTo>
                      <a:pt x="1268" y="912"/>
                      <a:pt x="1268" y="912"/>
                      <a:pt x="1268" y="912"/>
                    </a:cubicBezTo>
                    <a:cubicBezTo>
                      <a:pt x="1268" y="910"/>
                      <a:pt x="1268" y="910"/>
                      <a:pt x="1268" y="910"/>
                    </a:cubicBezTo>
                    <a:cubicBezTo>
                      <a:pt x="1266" y="908"/>
                      <a:pt x="1266" y="908"/>
                      <a:pt x="1266" y="908"/>
                    </a:cubicBezTo>
                    <a:cubicBezTo>
                      <a:pt x="1264" y="909"/>
                      <a:pt x="1264" y="909"/>
                      <a:pt x="1264" y="909"/>
                    </a:cubicBezTo>
                    <a:cubicBezTo>
                      <a:pt x="1264" y="910"/>
                      <a:pt x="1264" y="910"/>
                      <a:pt x="1264" y="910"/>
                    </a:cubicBezTo>
                    <a:cubicBezTo>
                      <a:pt x="1266" y="915"/>
                      <a:pt x="1266" y="915"/>
                      <a:pt x="1266" y="915"/>
                    </a:cubicBezTo>
                    <a:cubicBezTo>
                      <a:pt x="1266" y="918"/>
                      <a:pt x="1266" y="918"/>
                      <a:pt x="1266" y="918"/>
                    </a:cubicBezTo>
                    <a:cubicBezTo>
                      <a:pt x="1264" y="916"/>
                      <a:pt x="1264" y="916"/>
                      <a:pt x="1264" y="916"/>
                    </a:cubicBezTo>
                    <a:cubicBezTo>
                      <a:pt x="1264" y="914"/>
                      <a:pt x="1264" y="914"/>
                      <a:pt x="1264" y="914"/>
                    </a:cubicBezTo>
                    <a:cubicBezTo>
                      <a:pt x="1262" y="912"/>
                      <a:pt x="1262" y="912"/>
                      <a:pt x="1262" y="912"/>
                    </a:cubicBezTo>
                    <a:cubicBezTo>
                      <a:pt x="1258" y="910"/>
                      <a:pt x="1258" y="910"/>
                      <a:pt x="1258" y="910"/>
                    </a:cubicBezTo>
                    <a:cubicBezTo>
                      <a:pt x="1255" y="905"/>
                      <a:pt x="1255" y="905"/>
                      <a:pt x="1255" y="905"/>
                    </a:cubicBezTo>
                    <a:cubicBezTo>
                      <a:pt x="1255" y="902"/>
                      <a:pt x="1255" y="902"/>
                      <a:pt x="1255" y="902"/>
                    </a:cubicBezTo>
                    <a:cubicBezTo>
                      <a:pt x="1251" y="901"/>
                      <a:pt x="1251" y="901"/>
                      <a:pt x="1251" y="901"/>
                    </a:cubicBezTo>
                    <a:cubicBezTo>
                      <a:pt x="1250" y="904"/>
                      <a:pt x="1250" y="904"/>
                      <a:pt x="1250" y="904"/>
                    </a:cubicBezTo>
                    <a:cubicBezTo>
                      <a:pt x="1247" y="902"/>
                      <a:pt x="1247" y="902"/>
                      <a:pt x="1247" y="902"/>
                    </a:cubicBezTo>
                    <a:cubicBezTo>
                      <a:pt x="1247" y="905"/>
                      <a:pt x="1247" y="905"/>
                      <a:pt x="1247" y="905"/>
                    </a:cubicBezTo>
                    <a:cubicBezTo>
                      <a:pt x="1248" y="910"/>
                      <a:pt x="1248" y="910"/>
                      <a:pt x="1248" y="910"/>
                    </a:cubicBezTo>
                    <a:cubicBezTo>
                      <a:pt x="1253" y="914"/>
                      <a:pt x="1253" y="914"/>
                      <a:pt x="1253" y="914"/>
                    </a:cubicBezTo>
                    <a:cubicBezTo>
                      <a:pt x="1253" y="916"/>
                      <a:pt x="1253" y="916"/>
                      <a:pt x="1253" y="916"/>
                    </a:cubicBezTo>
                    <a:cubicBezTo>
                      <a:pt x="1254" y="918"/>
                      <a:pt x="1254" y="918"/>
                      <a:pt x="1254" y="918"/>
                    </a:cubicBezTo>
                    <a:cubicBezTo>
                      <a:pt x="1254" y="923"/>
                      <a:pt x="1254" y="923"/>
                      <a:pt x="1254" y="923"/>
                    </a:cubicBezTo>
                    <a:cubicBezTo>
                      <a:pt x="1256" y="923"/>
                      <a:pt x="1256" y="923"/>
                      <a:pt x="1256" y="923"/>
                    </a:cubicBezTo>
                    <a:cubicBezTo>
                      <a:pt x="1260" y="923"/>
                      <a:pt x="1260" y="923"/>
                      <a:pt x="1260" y="923"/>
                    </a:cubicBezTo>
                    <a:cubicBezTo>
                      <a:pt x="1263" y="926"/>
                      <a:pt x="1263" y="926"/>
                      <a:pt x="1263" y="926"/>
                    </a:cubicBezTo>
                    <a:cubicBezTo>
                      <a:pt x="1262" y="928"/>
                      <a:pt x="1262" y="928"/>
                      <a:pt x="1262" y="928"/>
                    </a:cubicBezTo>
                    <a:cubicBezTo>
                      <a:pt x="1263" y="928"/>
                      <a:pt x="1263" y="928"/>
                      <a:pt x="1263" y="928"/>
                    </a:cubicBezTo>
                    <a:cubicBezTo>
                      <a:pt x="1266" y="929"/>
                      <a:pt x="1266" y="929"/>
                      <a:pt x="1266" y="929"/>
                    </a:cubicBezTo>
                    <a:cubicBezTo>
                      <a:pt x="1264" y="931"/>
                      <a:pt x="1264" y="931"/>
                      <a:pt x="1264" y="931"/>
                    </a:cubicBezTo>
                    <a:cubicBezTo>
                      <a:pt x="1267" y="931"/>
                      <a:pt x="1267" y="931"/>
                      <a:pt x="1267" y="931"/>
                    </a:cubicBezTo>
                    <a:cubicBezTo>
                      <a:pt x="1268" y="934"/>
                      <a:pt x="1268" y="934"/>
                      <a:pt x="1268" y="934"/>
                    </a:cubicBezTo>
                    <a:cubicBezTo>
                      <a:pt x="1270" y="937"/>
                      <a:pt x="1270" y="937"/>
                      <a:pt x="1270" y="937"/>
                    </a:cubicBezTo>
                    <a:cubicBezTo>
                      <a:pt x="1270" y="940"/>
                      <a:pt x="1270" y="940"/>
                      <a:pt x="1270" y="940"/>
                    </a:cubicBezTo>
                    <a:cubicBezTo>
                      <a:pt x="1273" y="940"/>
                      <a:pt x="1273" y="940"/>
                      <a:pt x="1273" y="940"/>
                    </a:cubicBezTo>
                    <a:cubicBezTo>
                      <a:pt x="1275" y="941"/>
                      <a:pt x="1275" y="941"/>
                      <a:pt x="1275" y="941"/>
                    </a:cubicBezTo>
                    <a:cubicBezTo>
                      <a:pt x="1276" y="945"/>
                      <a:pt x="1276" y="945"/>
                      <a:pt x="1276" y="945"/>
                    </a:cubicBezTo>
                    <a:cubicBezTo>
                      <a:pt x="1273" y="948"/>
                      <a:pt x="1273" y="948"/>
                      <a:pt x="1273" y="948"/>
                    </a:cubicBezTo>
                    <a:cubicBezTo>
                      <a:pt x="1275" y="948"/>
                      <a:pt x="1275" y="948"/>
                      <a:pt x="1275" y="948"/>
                    </a:cubicBezTo>
                    <a:cubicBezTo>
                      <a:pt x="1276" y="951"/>
                      <a:pt x="1276" y="951"/>
                      <a:pt x="1276" y="951"/>
                    </a:cubicBezTo>
                    <a:cubicBezTo>
                      <a:pt x="1276" y="952"/>
                      <a:pt x="1276" y="952"/>
                      <a:pt x="1276" y="952"/>
                    </a:cubicBezTo>
                    <a:cubicBezTo>
                      <a:pt x="1279" y="949"/>
                      <a:pt x="1279" y="949"/>
                      <a:pt x="1279" y="949"/>
                    </a:cubicBezTo>
                    <a:cubicBezTo>
                      <a:pt x="1280" y="950"/>
                      <a:pt x="1280" y="950"/>
                      <a:pt x="1280" y="950"/>
                    </a:cubicBezTo>
                    <a:cubicBezTo>
                      <a:pt x="1279" y="954"/>
                      <a:pt x="1279" y="954"/>
                      <a:pt x="1279" y="954"/>
                    </a:cubicBezTo>
                    <a:cubicBezTo>
                      <a:pt x="1280" y="956"/>
                      <a:pt x="1280" y="956"/>
                      <a:pt x="1280" y="956"/>
                    </a:cubicBezTo>
                    <a:cubicBezTo>
                      <a:pt x="1282" y="955"/>
                      <a:pt x="1282" y="955"/>
                      <a:pt x="1282" y="955"/>
                    </a:cubicBezTo>
                    <a:cubicBezTo>
                      <a:pt x="1283" y="957"/>
                      <a:pt x="1283" y="957"/>
                      <a:pt x="1283" y="957"/>
                    </a:cubicBezTo>
                    <a:cubicBezTo>
                      <a:pt x="1282" y="959"/>
                      <a:pt x="1282" y="959"/>
                      <a:pt x="1282" y="959"/>
                    </a:cubicBezTo>
                    <a:cubicBezTo>
                      <a:pt x="1279" y="958"/>
                      <a:pt x="1279" y="958"/>
                      <a:pt x="1279" y="958"/>
                    </a:cubicBezTo>
                    <a:cubicBezTo>
                      <a:pt x="1278" y="960"/>
                      <a:pt x="1278" y="960"/>
                      <a:pt x="1278" y="960"/>
                    </a:cubicBezTo>
                    <a:cubicBezTo>
                      <a:pt x="1279" y="962"/>
                      <a:pt x="1279" y="962"/>
                      <a:pt x="1279" y="962"/>
                    </a:cubicBezTo>
                    <a:cubicBezTo>
                      <a:pt x="1281" y="965"/>
                      <a:pt x="1281" y="965"/>
                      <a:pt x="1281" y="965"/>
                    </a:cubicBezTo>
                    <a:cubicBezTo>
                      <a:pt x="1281" y="967"/>
                      <a:pt x="1281" y="967"/>
                      <a:pt x="1281" y="967"/>
                    </a:cubicBezTo>
                    <a:cubicBezTo>
                      <a:pt x="1280" y="968"/>
                      <a:pt x="1280" y="968"/>
                      <a:pt x="1280" y="968"/>
                    </a:cubicBezTo>
                    <a:close/>
                    <a:moveTo>
                      <a:pt x="959" y="876"/>
                    </a:moveTo>
                    <a:cubicBezTo>
                      <a:pt x="961" y="876"/>
                      <a:pt x="961" y="876"/>
                      <a:pt x="961" y="876"/>
                    </a:cubicBezTo>
                    <a:cubicBezTo>
                      <a:pt x="962" y="873"/>
                      <a:pt x="962" y="873"/>
                      <a:pt x="962" y="873"/>
                    </a:cubicBezTo>
                    <a:cubicBezTo>
                      <a:pt x="963" y="872"/>
                      <a:pt x="963" y="872"/>
                      <a:pt x="963" y="872"/>
                    </a:cubicBezTo>
                    <a:cubicBezTo>
                      <a:pt x="965" y="873"/>
                      <a:pt x="965" y="873"/>
                      <a:pt x="965" y="873"/>
                    </a:cubicBezTo>
                    <a:cubicBezTo>
                      <a:pt x="967" y="875"/>
                      <a:pt x="967" y="875"/>
                      <a:pt x="967" y="875"/>
                    </a:cubicBezTo>
                    <a:cubicBezTo>
                      <a:pt x="970" y="875"/>
                      <a:pt x="970" y="875"/>
                      <a:pt x="970" y="875"/>
                    </a:cubicBezTo>
                    <a:cubicBezTo>
                      <a:pt x="972" y="874"/>
                      <a:pt x="972" y="874"/>
                      <a:pt x="972" y="874"/>
                    </a:cubicBezTo>
                    <a:cubicBezTo>
                      <a:pt x="973" y="874"/>
                      <a:pt x="973" y="874"/>
                      <a:pt x="973" y="874"/>
                    </a:cubicBezTo>
                    <a:cubicBezTo>
                      <a:pt x="976" y="875"/>
                      <a:pt x="976" y="875"/>
                      <a:pt x="976" y="875"/>
                    </a:cubicBezTo>
                    <a:cubicBezTo>
                      <a:pt x="976" y="877"/>
                      <a:pt x="976" y="877"/>
                      <a:pt x="976" y="877"/>
                    </a:cubicBezTo>
                    <a:cubicBezTo>
                      <a:pt x="973" y="881"/>
                      <a:pt x="973" y="881"/>
                      <a:pt x="973" y="881"/>
                    </a:cubicBezTo>
                    <a:cubicBezTo>
                      <a:pt x="974" y="884"/>
                      <a:pt x="974" y="884"/>
                      <a:pt x="974" y="884"/>
                    </a:cubicBezTo>
                    <a:cubicBezTo>
                      <a:pt x="972" y="887"/>
                      <a:pt x="972" y="887"/>
                      <a:pt x="972" y="887"/>
                    </a:cubicBezTo>
                    <a:cubicBezTo>
                      <a:pt x="972" y="892"/>
                      <a:pt x="972" y="892"/>
                      <a:pt x="972" y="892"/>
                    </a:cubicBezTo>
                    <a:cubicBezTo>
                      <a:pt x="973" y="893"/>
                      <a:pt x="973" y="893"/>
                      <a:pt x="973" y="893"/>
                    </a:cubicBezTo>
                    <a:cubicBezTo>
                      <a:pt x="975" y="892"/>
                      <a:pt x="975" y="892"/>
                      <a:pt x="975" y="892"/>
                    </a:cubicBezTo>
                    <a:cubicBezTo>
                      <a:pt x="976" y="893"/>
                      <a:pt x="976" y="893"/>
                      <a:pt x="976" y="893"/>
                    </a:cubicBezTo>
                    <a:cubicBezTo>
                      <a:pt x="979" y="893"/>
                      <a:pt x="979" y="893"/>
                      <a:pt x="979" y="893"/>
                    </a:cubicBezTo>
                    <a:cubicBezTo>
                      <a:pt x="981" y="892"/>
                      <a:pt x="981" y="892"/>
                      <a:pt x="981" y="892"/>
                    </a:cubicBezTo>
                    <a:cubicBezTo>
                      <a:pt x="984" y="892"/>
                      <a:pt x="984" y="892"/>
                      <a:pt x="984" y="892"/>
                    </a:cubicBezTo>
                    <a:cubicBezTo>
                      <a:pt x="985" y="891"/>
                      <a:pt x="985" y="891"/>
                      <a:pt x="985" y="891"/>
                    </a:cubicBezTo>
                    <a:cubicBezTo>
                      <a:pt x="988" y="889"/>
                      <a:pt x="988" y="889"/>
                      <a:pt x="988" y="889"/>
                    </a:cubicBezTo>
                    <a:cubicBezTo>
                      <a:pt x="990" y="889"/>
                      <a:pt x="990" y="889"/>
                      <a:pt x="990" y="889"/>
                    </a:cubicBezTo>
                    <a:cubicBezTo>
                      <a:pt x="993" y="886"/>
                      <a:pt x="993" y="886"/>
                      <a:pt x="993" y="886"/>
                    </a:cubicBezTo>
                    <a:cubicBezTo>
                      <a:pt x="994" y="882"/>
                      <a:pt x="994" y="882"/>
                      <a:pt x="994" y="882"/>
                    </a:cubicBezTo>
                    <a:cubicBezTo>
                      <a:pt x="997" y="880"/>
                      <a:pt x="997" y="880"/>
                      <a:pt x="997" y="880"/>
                    </a:cubicBezTo>
                    <a:cubicBezTo>
                      <a:pt x="999" y="877"/>
                      <a:pt x="999" y="877"/>
                      <a:pt x="999" y="877"/>
                    </a:cubicBezTo>
                    <a:cubicBezTo>
                      <a:pt x="1000" y="877"/>
                      <a:pt x="1000" y="877"/>
                      <a:pt x="1000" y="877"/>
                    </a:cubicBezTo>
                    <a:cubicBezTo>
                      <a:pt x="1002" y="879"/>
                      <a:pt x="1002" y="879"/>
                      <a:pt x="1002" y="879"/>
                    </a:cubicBezTo>
                    <a:cubicBezTo>
                      <a:pt x="1005" y="877"/>
                      <a:pt x="1005" y="877"/>
                      <a:pt x="1005" y="877"/>
                    </a:cubicBezTo>
                    <a:cubicBezTo>
                      <a:pt x="1007" y="876"/>
                      <a:pt x="1007" y="876"/>
                      <a:pt x="1007" y="876"/>
                    </a:cubicBezTo>
                    <a:cubicBezTo>
                      <a:pt x="1009" y="876"/>
                      <a:pt x="1009" y="876"/>
                      <a:pt x="1009" y="876"/>
                    </a:cubicBezTo>
                    <a:cubicBezTo>
                      <a:pt x="1011" y="871"/>
                      <a:pt x="1011" y="871"/>
                      <a:pt x="1011" y="871"/>
                    </a:cubicBezTo>
                    <a:cubicBezTo>
                      <a:pt x="1010" y="867"/>
                      <a:pt x="1010" y="867"/>
                      <a:pt x="1010" y="867"/>
                    </a:cubicBezTo>
                    <a:cubicBezTo>
                      <a:pt x="1013" y="865"/>
                      <a:pt x="1013" y="865"/>
                      <a:pt x="1013" y="865"/>
                    </a:cubicBezTo>
                    <a:cubicBezTo>
                      <a:pt x="1015" y="862"/>
                      <a:pt x="1015" y="862"/>
                      <a:pt x="1015" y="862"/>
                    </a:cubicBezTo>
                    <a:cubicBezTo>
                      <a:pt x="1017" y="862"/>
                      <a:pt x="1017" y="862"/>
                      <a:pt x="1017" y="862"/>
                    </a:cubicBezTo>
                    <a:cubicBezTo>
                      <a:pt x="1019" y="864"/>
                      <a:pt x="1019" y="864"/>
                      <a:pt x="1019" y="864"/>
                    </a:cubicBezTo>
                    <a:cubicBezTo>
                      <a:pt x="1021" y="862"/>
                      <a:pt x="1021" y="862"/>
                      <a:pt x="1021" y="862"/>
                    </a:cubicBezTo>
                    <a:cubicBezTo>
                      <a:pt x="1023" y="861"/>
                      <a:pt x="1023" y="861"/>
                      <a:pt x="1023" y="861"/>
                    </a:cubicBezTo>
                    <a:cubicBezTo>
                      <a:pt x="1025" y="862"/>
                      <a:pt x="1025" y="862"/>
                      <a:pt x="1025" y="862"/>
                    </a:cubicBezTo>
                    <a:cubicBezTo>
                      <a:pt x="1025" y="865"/>
                      <a:pt x="1025" y="865"/>
                      <a:pt x="1025" y="865"/>
                    </a:cubicBezTo>
                    <a:cubicBezTo>
                      <a:pt x="1023" y="867"/>
                      <a:pt x="1023" y="867"/>
                      <a:pt x="1023" y="867"/>
                    </a:cubicBezTo>
                    <a:cubicBezTo>
                      <a:pt x="1021" y="869"/>
                      <a:pt x="1021" y="869"/>
                      <a:pt x="1021" y="869"/>
                    </a:cubicBezTo>
                    <a:cubicBezTo>
                      <a:pt x="1024" y="871"/>
                      <a:pt x="1024" y="871"/>
                      <a:pt x="1024" y="871"/>
                    </a:cubicBezTo>
                    <a:cubicBezTo>
                      <a:pt x="1029" y="871"/>
                      <a:pt x="1029" y="871"/>
                      <a:pt x="1029" y="871"/>
                    </a:cubicBezTo>
                    <a:cubicBezTo>
                      <a:pt x="1032" y="872"/>
                      <a:pt x="1032" y="872"/>
                      <a:pt x="1032" y="872"/>
                    </a:cubicBezTo>
                    <a:cubicBezTo>
                      <a:pt x="1033" y="874"/>
                      <a:pt x="1033" y="874"/>
                      <a:pt x="1033" y="874"/>
                    </a:cubicBezTo>
                    <a:cubicBezTo>
                      <a:pt x="1031" y="878"/>
                      <a:pt x="1031" y="878"/>
                      <a:pt x="1031" y="878"/>
                    </a:cubicBezTo>
                    <a:cubicBezTo>
                      <a:pt x="1028" y="879"/>
                      <a:pt x="1028" y="879"/>
                      <a:pt x="1028" y="879"/>
                    </a:cubicBezTo>
                    <a:cubicBezTo>
                      <a:pt x="1028" y="883"/>
                      <a:pt x="1028" y="883"/>
                      <a:pt x="1028" y="883"/>
                    </a:cubicBezTo>
                    <a:cubicBezTo>
                      <a:pt x="1030" y="884"/>
                      <a:pt x="1030" y="884"/>
                      <a:pt x="1030" y="884"/>
                    </a:cubicBezTo>
                    <a:cubicBezTo>
                      <a:pt x="1032" y="883"/>
                      <a:pt x="1032" y="883"/>
                      <a:pt x="1032" y="883"/>
                    </a:cubicBezTo>
                    <a:cubicBezTo>
                      <a:pt x="1034" y="883"/>
                      <a:pt x="1034" y="883"/>
                      <a:pt x="1034" y="883"/>
                    </a:cubicBezTo>
                    <a:cubicBezTo>
                      <a:pt x="1036" y="884"/>
                      <a:pt x="1036" y="884"/>
                      <a:pt x="1036" y="884"/>
                    </a:cubicBezTo>
                    <a:cubicBezTo>
                      <a:pt x="1038" y="884"/>
                      <a:pt x="1038" y="884"/>
                      <a:pt x="1038" y="884"/>
                    </a:cubicBezTo>
                    <a:cubicBezTo>
                      <a:pt x="1039" y="886"/>
                      <a:pt x="1039" y="886"/>
                      <a:pt x="1039" y="886"/>
                    </a:cubicBezTo>
                    <a:cubicBezTo>
                      <a:pt x="1042" y="886"/>
                      <a:pt x="1042" y="886"/>
                      <a:pt x="1042" y="886"/>
                    </a:cubicBezTo>
                    <a:cubicBezTo>
                      <a:pt x="1045" y="888"/>
                      <a:pt x="1045" y="888"/>
                      <a:pt x="1045" y="888"/>
                    </a:cubicBezTo>
                    <a:cubicBezTo>
                      <a:pt x="1047" y="888"/>
                      <a:pt x="1047" y="888"/>
                      <a:pt x="1047" y="888"/>
                    </a:cubicBezTo>
                    <a:cubicBezTo>
                      <a:pt x="1051" y="891"/>
                      <a:pt x="1051" y="891"/>
                      <a:pt x="1051" y="891"/>
                    </a:cubicBezTo>
                    <a:cubicBezTo>
                      <a:pt x="1053" y="890"/>
                      <a:pt x="1053" y="890"/>
                      <a:pt x="1053" y="890"/>
                    </a:cubicBezTo>
                    <a:cubicBezTo>
                      <a:pt x="1055" y="885"/>
                      <a:pt x="1055" y="885"/>
                      <a:pt x="1055" y="885"/>
                    </a:cubicBezTo>
                    <a:cubicBezTo>
                      <a:pt x="1057" y="885"/>
                      <a:pt x="1057" y="885"/>
                      <a:pt x="1057" y="885"/>
                    </a:cubicBezTo>
                    <a:cubicBezTo>
                      <a:pt x="1060" y="882"/>
                      <a:pt x="1060" y="882"/>
                      <a:pt x="1060" y="882"/>
                    </a:cubicBezTo>
                    <a:cubicBezTo>
                      <a:pt x="1063" y="882"/>
                      <a:pt x="1063" y="882"/>
                      <a:pt x="1063" y="882"/>
                    </a:cubicBezTo>
                    <a:cubicBezTo>
                      <a:pt x="1064" y="880"/>
                      <a:pt x="1064" y="880"/>
                      <a:pt x="1064" y="880"/>
                    </a:cubicBezTo>
                    <a:cubicBezTo>
                      <a:pt x="1062" y="879"/>
                      <a:pt x="1062" y="879"/>
                      <a:pt x="1062" y="879"/>
                    </a:cubicBezTo>
                    <a:cubicBezTo>
                      <a:pt x="1060" y="876"/>
                      <a:pt x="1060" y="876"/>
                      <a:pt x="1060" y="876"/>
                    </a:cubicBezTo>
                    <a:cubicBezTo>
                      <a:pt x="1062" y="876"/>
                      <a:pt x="1062" y="876"/>
                      <a:pt x="1062" y="876"/>
                    </a:cubicBezTo>
                    <a:cubicBezTo>
                      <a:pt x="1064" y="874"/>
                      <a:pt x="1064" y="874"/>
                      <a:pt x="1064" y="874"/>
                    </a:cubicBezTo>
                    <a:cubicBezTo>
                      <a:pt x="1061" y="873"/>
                      <a:pt x="1061" y="873"/>
                      <a:pt x="1061" y="873"/>
                    </a:cubicBezTo>
                    <a:cubicBezTo>
                      <a:pt x="1060" y="870"/>
                      <a:pt x="1060" y="870"/>
                      <a:pt x="1060" y="870"/>
                    </a:cubicBezTo>
                    <a:cubicBezTo>
                      <a:pt x="1058" y="870"/>
                      <a:pt x="1058" y="870"/>
                      <a:pt x="1058" y="870"/>
                    </a:cubicBezTo>
                    <a:cubicBezTo>
                      <a:pt x="1058" y="873"/>
                      <a:pt x="1058" y="873"/>
                      <a:pt x="1058" y="873"/>
                    </a:cubicBezTo>
                    <a:cubicBezTo>
                      <a:pt x="1057" y="874"/>
                      <a:pt x="1057" y="874"/>
                      <a:pt x="1057" y="874"/>
                    </a:cubicBezTo>
                    <a:cubicBezTo>
                      <a:pt x="1055" y="873"/>
                      <a:pt x="1055" y="873"/>
                      <a:pt x="1055" y="873"/>
                    </a:cubicBezTo>
                    <a:cubicBezTo>
                      <a:pt x="1052" y="871"/>
                      <a:pt x="1052" y="871"/>
                      <a:pt x="1052" y="871"/>
                    </a:cubicBezTo>
                    <a:cubicBezTo>
                      <a:pt x="1052" y="869"/>
                      <a:pt x="1052" y="869"/>
                      <a:pt x="1052" y="869"/>
                    </a:cubicBezTo>
                    <a:cubicBezTo>
                      <a:pt x="1051" y="869"/>
                      <a:pt x="1051" y="869"/>
                      <a:pt x="1051" y="869"/>
                    </a:cubicBezTo>
                    <a:cubicBezTo>
                      <a:pt x="1048" y="872"/>
                      <a:pt x="1048" y="872"/>
                      <a:pt x="1048" y="872"/>
                    </a:cubicBezTo>
                    <a:cubicBezTo>
                      <a:pt x="1042" y="872"/>
                      <a:pt x="1042" y="872"/>
                      <a:pt x="1042" y="872"/>
                    </a:cubicBezTo>
                    <a:cubicBezTo>
                      <a:pt x="1040" y="870"/>
                      <a:pt x="1040" y="870"/>
                      <a:pt x="1040" y="870"/>
                    </a:cubicBezTo>
                    <a:cubicBezTo>
                      <a:pt x="1043" y="868"/>
                      <a:pt x="1043" y="868"/>
                      <a:pt x="1043" y="868"/>
                    </a:cubicBezTo>
                    <a:cubicBezTo>
                      <a:pt x="1046" y="868"/>
                      <a:pt x="1046" y="868"/>
                      <a:pt x="1046" y="868"/>
                    </a:cubicBezTo>
                    <a:cubicBezTo>
                      <a:pt x="1048" y="866"/>
                      <a:pt x="1048" y="866"/>
                      <a:pt x="1048" y="866"/>
                    </a:cubicBezTo>
                    <a:cubicBezTo>
                      <a:pt x="1048" y="863"/>
                      <a:pt x="1048" y="863"/>
                      <a:pt x="1048" y="863"/>
                    </a:cubicBezTo>
                    <a:cubicBezTo>
                      <a:pt x="1047" y="862"/>
                      <a:pt x="1047" y="862"/>
                      <a:pt x="1047" y="862"/>
                    </a:cubicBezTo>
                    <a:cubicBezTo>
                      <a:pt x="1047" y="858"/>
                      <a:pt x="1047" y="858"/>
                      <a:pt x="1047" y="858"/>
                    </a:cubicBezTo>
                    <a:cubicBezTo>
                      <a:pt x="1048" y="856"/>
                      <a:pt x="1048" y="856"/>
                      <a:pt x="1048" y="856"/>
                    </a:cubicBezTo>
                    <a:cubicBezTo>
                      <a:pt x="1048" y="854"/>
                      <a:pt x="1048" y="854"/>
                      <a:pt x="1048" y="854"/>
                    </a:cubicBezTo>
                    <a:cubicBezTo>
                      <a:pt x="1046" y="853"/>
                      <a:pt x="1046" y="853"/>
                      <a:pt x="1046" y="853"/>
                    </a:cubicBezTo>
                    <a:cubicBezTo>
                      <a:pt x="1046" y="850"/>
                      <a:pt x="1046" y="850"/>
                      <a:pt x="1046" y="850"/>
                    </a:cubicBezTo>
                    <a:cubicBezTo>
                      <a:pt x="1041" y="845"/>
                      <a:pt x="1041" y="845"/>
                      <a:pt x="1041" y="845"/>
                    </a:cubicBezTo>
                    <a:cubicBezTo>
                      <a:pt x="1036" y="843"/>
                      <a:pt x="1036" y="843"/>
                      <a:pt x="1036" y="843"/>
                    </a:cubicBezTo>
                    <a:cubicBezTo>
                      <a:pt x="1036" y="841"/>
                      <a:pt x="1036" y="841"/>
                      <a:pt x="1036" y="841"/>
                    </a:cubicBezTo>
                    <a:cubicBezTo>
                      <a:pt x="1035" y="837"/>
                      <a:pt x="1035" y="837"/>
                      <a:pt x="1035" y="837"/>
                    </a:cubicBezTo>
                    <a:cubicBezTo>
                      <a:pt x="1032" y="837"/>
                      <a:pt x="1032" y="837"/>
                      <a:pt x="1032" y="837"/>
                    </a:cubicBezTo>
                    <a:cubicBezTo>
                      <a:pt x="1031" y="835"/>
                      <a:pt x="1031" y="835"/>
                      <a:pt x="1031" y="835"/>
                    </a:cubicBezTo>
                    <a:cubicBezTo>
                      <a:pt x="1032" y="830"/>
                      <a:pt x="1032" y="830"/>
                      <a:pt x="1032" y="830"/>
                    </a:cubicBezTo>
                    <a:cubicBezTo>
                      <a:pt x="1031" y="828"/>
                      <a:pt x="1031" y="828"/>
                      <a:pt x="1031" y="828"/>
                    </a:cubicBezTo>
                    <a:cubicBezTo>
                      <a:pt x="1026" y="828"/>
                      <a:pt x="1026" y="828"/>
                      <a:pt x="1026" y="828"/>
                    </a:cubicBezTo>
                    <a:cubicBezTo>
                      <a:pt x="1020" y="825"/>
                      <a:pt x="1020" y="825"/>
                      <a:pt x="1020" y="825"/>
                    </a:cubicBezTo>
                    <a:cubicBezTo>
                      <a:pt x="1018" y="822"/>
                      <a:pt x="1018" y="822"/>
                      <a:pt x="1018" y="822"/>
                    </a:cubicBezTo>
                    <a:cubicBezTo>
                      <a:pt x="1019" y="820"/>
                      <a:pt x="1019" y="820"/>
                      <a:pt x="1019" y="820"/>
                    </a:cubicBezTo>
                    <a:cubicBezTo>
                      <a:pt x="1019" y="818"/>
                      <a:pt x="1019" y="818"/>
                      <a:pt x="1019" y="818"/>
                    </a:cubicBezTo>
                    <a:cubicBezTo>
                      <a:pt x="1017" y="816"/>
                      <a:pt x="1017" y="816"/>
                      <a:pt x="1017" y="816"/>
                    </a:cubicBezTo>
                    <a:cubicBezTo>
                      <a:pt x="1016" y="813"/>
                      <a:pt x="1016" y="813"/>
                      <a:pt x="1016" y="813"/>
                    </a:cubicBezTo>
                    <a:cubicBezTo>
                      <a:pt x="1014" y="813"/>
                      <a:pt x="1014" y="813"/>
                      <a:pt x="1014" y="813"/>
                    </a:cubicBezTo>
                    <a:cubicBezTo>
                      <a:pt x="1011" y="817"/>
                      <a:pt x="1011" y="817"/>
                      <a:pt x="1011" y="817"/>
                    </a:cubicBezTo>
                    <a:cubicBezTo>
                      <a:pt x="1010" y="820"/>
                      <a:pt x="1010" y="820"/>
                      <a:pt x="1010" y="820"/>
                    </a:cubicBezTo>
                    <a:cubicBezTo>
                      <a:pt x="1008" y="822"/>
                      <a:pt x="1008" y="822"/>
                      <a:pt x="1008" y="822"/>
                    </a:cubicBezTo>
                    <a:cubicBezTo>
                      <a:pt x="1007" y="820"/>
                      <a:pt x="1007" y="820"/>
                      <a:pt x="1007" y="820"/>
                    </a:cubicBezTo>
                    <a:cubicBezTo>
                      <a:pt x="1007" y="816"/>
                      <a:pt x="1007" y="816"/>
                      <a:pt x="1007" y="816"/>
                    </a:cubicBezTo>
                    <a:cubicBezTo>
                      <a:pt x="1005" y="812"/>
                      <a:pt x="1005" y="812"/>
                      <a:pt x="1005" y="812"/>
                    </a:cubicBezTo>
                    <a:cubicBezTo>
                      <a:pt x="1006" y="810"/>
                      <a:pt x="1006" y="810"/>
                      <a:pt x="1006" y="810"/>
                    </a:cubicBezTo>
                    <a:cubicBezTo>
                      <a:pt x="1008" y="811"/>
                      <a:pt x="1008" y="811"/>
                      <a:pt x="1008" y="811"/>
                    </a:cubicBezTo>
                    <a:cubicBezTo>
                      <a:pt x="1010" y="811"/>
                      <a:pt x="1010" y="811"/>
                      <a:pt x="1010" y="811"/>
                    </a:cubicBezTo>
                    <a:cubicBezTo>
                      <a:pt x="1009" y="808"/>
                      <a:pt x="1009" y="808"/>
                      <a:pt x="1009" y="808"/>
                    </a:cubicBezTo>
                    <a:cubicBezTo>
                      <a:pt x="1010" y="805"/>
                      <a:pt x="1010" y="805"/>
                      <a:pt x="1010" y="805"/>
                    </a:cubicBezTo>
                    <a:cubicBezTo>
                      <a:pt x="1009" y="802"/>
                      <a:pt x="1009" y="802"/>
                      <a:pt x="1009" y="802"/>
                    </a:cubicBezTo>
                    <a:cubicBezTo>
                      <a:pt x="1006" y="803"/>
                      <a:pt x="1006" y="803"/>
                      <a:pt x="1006" y="803"/>
                    </a:cubicBezTo>
                    <a:cubicBezTo>
                      <a:pt x="1006" y="800"/>
                      <a:pt x="1006" y="800"/>
                      <a:pt x="1006" y="800"/>
                    </a:cubicBezTo>
                    <a:cubicBezTo>
                      <a:pt x="1009" y="797"/>
                      <a:pt x="1009" y="797"/>
                      <a:pt x="1009" y="797"/>
                    </a:cubicBezTo>
                    <a:cubicBezTo>
                      <a:pt x="1007" y="796"/>
                      <a:pt x="1007" y="796"/>
                      <a:pt x="1007" y="796"/>
                    </a:cubicBezTo>
                    <a:cubicBezTo>
                      <a:pt x="999" y="799"/>
                      <a:pt x="999" y="799"/>
                      <a:pt x="999" y="799"/>
                    </a:cubicBezTo>
                    <a:cubicBezTo>
                      <a:pt x="996" y="802"/>
                      <a:pt x="996" y="802"/>
                      <a:pt x="996" y="802"/>
                    </a:cubicBezTo>
                    <a:cubicBezTo>
                      <a:pt x="993" y="809"/>
                      <a:pt x="993" y="809"/>
                      <a:pt x="993" y="809"/>
                    </a:cubicBezTo>
                    <a:cubicBezTo>
                      <a:pt x="989" y="814"/>
                      <a:pt x="989" y="814"/>
                      <a:pt x="989" y="814"/>
                    </a:cubicBezTo>
                    <a:cubicBezTo>
                      <a:pt x="989" y="817"/>
                      <a:pt x="989" y="817"/>
                      <a:pt x="989" y="817"/>
                    </a:cubicBezTo>
                    <a:cubicBezTo>
                      <a:pt x="987" y="820"/>
                      <a:pt x="987" y="820"/>
                      <a:pt x="987" y="820"/>
                    </a:cubicBezTo>
                    <a:cubicBezTo>
                      <a:pt x="987" y="822"/>
                      <a:pt x="987" y="822"/>
                      <a:pt x="987" y="822"/>
                    </a:cubicBezTo>
                    <a:cubicBezTo>
                      <a:pt x="983" y="828"/>
                      <a:pt x="983" y="828"/>
                      <a:pt x="983" y="828"/>
                    </a:cubicBezTo>
                    <a:cubicBezTo>
                      <a:pt x="984" y="831"/>
                      <a:pt x="984" y="831"/>
                      <a:pt x="984" y="831"/>
                    </a:cubicBezTo>
                    <a:cubicBezTo>
                      <a:pt x="982" y="832"/>
                      <a:pt x="982" y="832"/>
                      <a:pt x="982" y="832"/>
                    </a:cubicBezTo>
                    <a:cubicBezTo>
                      <a:pt x="981" y="835"/>
                      <a:pt x="981" y="835"/>
                      <a:pt x="981" y="835"/>
                    </a:cubicBezTo>
                    <a:cubicBezTo>
                      <a:pt x="981" y="838"/>
                      <a:pt x="981" y="838"/>
                      <a:pt x="981" y="838"/>
                    </a:cubicBezTo>
                    <a:cubicBezTo>
                      <a:pt x="976" y="842"/>
                      <a:pt x="976" y="842"/>
                      <a:pt x="976" y="842"/>
                    </a:cubicBezTo>
                    <a:cubicBezTo>
                      <a:pt x="974" y="845"/>
                      <a:pt x="974" y="845"/>
                      <a:pt x="974" y="845"/>
                    </a:cubicBezTo>
                    <a:cubicBezTo>
                      <a:pt x="974" y="850"/>
                      <a:pt x="974" y="850"/>
                      <a:pt x="974" y="850"/>
                    </a:cubicBezTo>
                    <a:cubicBezTo>
                      <a:pt x="973" y="852"/>
                      <a:pt x="973" y="852"/>
                      <a:pt x="973" y="852"/>
                    </a:cubicBezTo>
                    <a:cubicBezTo>
                      <a:pt x="974" y="858"/>
                      <a:pt x="974" y="858"/>
                      <a:pt x="974" y="858"/>
                    </a:cubicBezTo>
                    <a:cubicBezTo>
                      <a:pt x="971" y="860"/>
                      <a:pt x="971" y="860"/>
                      <a:pt x="971" y="860"/>
                    </a:cubicBezTo>
                    <a:cubicBezTo>
                      <a:pt x="967" y="860"/>
                      <a:pt x="967" y="860"/>
                      <a:pt x="967" y="860"/>
                    </a:cubicBezTo>
                    <a:cubicBezTo>
                      <a:pt x="960" y="863"/>
                      <a:pt x="960" y="863"/>
                      <a:pt x="960" y="863"/>
                    </a:cubicBezTo>
                    <a:cubicBezTo>
                      <a:pt x="960" y="866"/>
                      <a:pt x="960" y="866"/>
                      <a:pt x="960" y="866"/>
                    </a:cubicBezTo>
                    <a:cubicBezTo>
                      <a:pt x="958" y="872"/>
                      <a:pt x="958" y="872"/>
                      <a:pt x="958" y="872"/>
                    </a:cubicBezTo>
                    <a:cubicBezTo>
                      <a:pt x="959" y="876"/>
                      <a:pt x="959" y="876"/>
                      <a:pt x="959" y="876"/>
                    </a:cubicBezTo>
                    <a:close/>
                    <a:moveTo>
                      <a:pt x="990" y="930"/>
                    </a:moveTo>
                    <a:cubicBezTo>
                      <a:pt x="991" y="931"/>
                      <a:pt x="991" y="931"/>
                      <a:pt x="991" y="931"/>
                    </a:cubicBezTo>
                    <a:cubicBezTo>
                      <a:pt x="993" y="931"/>
                      <a:pt x="993" y="931"/>
                      <a:pt x="993" y="931"/>
                    </a:cubicBezTo>
                    <a:cubicBezTo>
                      <a:pt x="996" y="927"/>
                      <a:pt x="996" y="927"/>
                      <a:pt x="996" y="927"/>
                    </a:cubicBezTo>
                    <a:cubicBezTo>
                      <a:pt x="999" y="926"/>
                      <a:pt x="999" y="926"/>
                      <a:pt x="999" y="926"/>
                    </a:cubicBezTo>
                    <a:cubicBezTo>
                      <a:pt x="1000" y="927"/>
                      <a:pt x="1000" y="927"/>
                      <a:pt x="1000" y="927"/>
                    </a:cubicBezTo>
                    <a:cubicBezTo>
                      <a:pt x="1001" y="929"/>
                      <a:pt x="1001" y="929"/>
                      <a:pt x="1001" y="929"/>
                    </a:cubicBezTo>
                    <a:cubicBezTo>
                      <a:pt x="1004" y="929"/>
                      <a:pt x="1004" y="929"/>
                      <a:pt x="1004" y="929"/>
                    </a:cubicBezTo>
                    <a:cubicBezTo>
                      <a:pt x="1009" y="925"/>
                      <a:pt x="1009" y="925"/>
                      <a:pt x="1009" y="925"/>
                    </a:cubicBezTo>
                    <a:cubicBezTo>
                      <a:pt x="1012" y="924"/>
                      <a:pt x="1012" y="924"/>
                      <a:pt x="1012" y="924"/>
                    </a:cubicBezTo>
                    <a:cubicBezTo>
                      <a:pt x="1015" y="922"/>
                      <a:pt x="1015" y="922"/>
                      <a:pt x="1015" y="922"/>
                    </a:cubicBezTo>
                    <a:cubicBezTo>
                      <a:pt x="1018" y="917"/>
                      <a:pt x="1018" y="917"/>
                      <a:pt x="1018" y="917"/>
                    </a:cubicBezTo>
                    <a:cubicBezTo>
                      <a:pt x="1021" y="917"/>
                      <a:pt x="1021" y="917"/>
                      <a:pt x="1021" y="917"/>
                    </a:cubicBezTo>
                    <a:cubicBezTo>
                      <a:pt x="1026" y="914"/>
                      <a:pt x="1026" y="914"/>
                      <a:pt x="1026" y="914"/>
                    </a:cubicBezTo>
                    <a:cubicBezTo>
                      <a:pt x="1026" y="912"/>
                      <a:pt x="1026" y="912"/>
                      <a:pt x="1026" y="912"/>
                    </a:cubicBezTo>
                    <a:cubicBezTo>
                      <a:pt x="1029" y="908"/>
                      <a:pt x="1029" y="908"/>
                      <a:pt x="1029" y="908"/>
                    </a:cubicBezTo>
                    <a:cubicBezTo>
                      <a:pt x="1027" y="907"/>
                      <a:pt x="1027" y="907"/>
                      <a:pt x="1027" y="907"/>
                    </a:cubicBezTo>
                    <a:cubicBezTo>
                      <a:pt x="1024" y="907"/>
                      <a:pt x="1024" y="907"/>
                      <a:pt x="1024" y="907"/>
                    </a:cubicBezTo>
                    <a:cubicBezTo>
                      <a:pt x="1022" y="906"/>
                      <a:pt x="1022" y="906"/>
                      <a:pt x="1022" y="906"/>
                    </a:cubicBezTo>
                    <a:cubicBezTo>
                      <a:pt x="1020" y="906"/>
                      <a:pt x="1020" y="906"/>
                      <a:pt x="1020" y="906"/>
                    </a:cubicBezTo>
                    <a:cubicBezTo>
                      <a:pt x="1017" y="907"/>
                      <a:pt x="1017" y="907"/>
                      <a:pt x="1017" y="907"/>
                    </a:cubicBezTo>
                    <a:cubicBezTo>
                      <a:pt x="1015" y="906"/>
                      <a:pt x="1015" y="906"/>
                      <a:pt x="1015" y="906"/>
                    </a:cubicBezTo>
                    <a:cubicBezTo>
                      <a:pt x="1013" y="907"/>
                      <a:pt x="1013" y="907"/>
                      <a:pt x="1013" y="907"/>
                    </a:cubicBezTo>
                    <a:cubicBezTo>
                      <a:pt x="1011" y="910"/>
                      <a:pt x="1011" y="910"/>
                      <a:pt x="1011" y="910"/>
                    </a:cubicBezTo>
                    <a:cubicBezTo>
                      <a:pt x="1008" y="908"/>
                      <a:pt x="1008" y="908"/>
                      <a:pt x="1008" y="908"/>
                    </a:cubicBezTo>
                    <a:cubicBezTo>
                      <a:pt x="1007" y="905"/>
                      <a:pt x="1007" y="905"/>
                      <a:pt x="1007" y="905"/>
                    </a:cubicBezTo>
                    <a:cubicBezTo>
                      <a:pt x="1005" y="906"/>
                      <a:pt x="1005" y="906"/>
                      <a:pt x="1005" y="906"/>
                    </a:cubicBezTo>
                    <a:cubicBezTo>
                      <a:pt x="1002" y="907"/>
                      <a:pt x="1002" y="907"/>
                      <a:pt x="1002" y="907"/>
                    </a:cubicBezTo>
                    <a:cubicBezTo>
                      <a:pt x="998" y="911"/>
                      <a:pt x="998" y="911"/>
                      <a:pt x="998" y="911"/>
                    </a:cubicBezTo>
                    <a:cubicBezTo>
                      <a:pt x="998" y="913"/>
                      <a:pt x="998" y="913"/>
                      <a:pt x="998" y="913"/>
                    </a:cubicBezTo>
                    <a:cubicBezTo>
                      <a:pt x="996" y="915"/>
                      <a:pt x="996" y="915"/>
                      <a:pt x="996" y="915"/>
                    </a:cubicBezTo>
                    <a:cubicBezTo>
                      <a:pt x="989" y="917"/>
                      <a:pt x="989" y="917"/>
                      <a:pt x="989" y="917"/>
                    </a:cubicBezTo>
                    <a:cubicBezTo>
                      <a:pt x="989" y="919"/>
                      <a:pt x="989" y="919"/>
                      <a:pt x="989" y="919"/>
                    </a:cubicBezTo>
                    <a:cubicBezTo>
                      <a:pt x="990" y="921"/>
                      <a:pt x="990" y="921"/>
                      <a:pt x="990" y="921"/>
                    </a:cubicBezTo>
                    <a:cubicBezTo>
                      <a:pt x="991" y="924"/>
                      <a:pt x="991" y="924"/>
                      <a:pt x="991" y="924"/>
                    </a:cubicBezTo>
                    <a:cubicBezTo>
                      <a:pt x="990" y="927"/>
                      <a:pt x="990" y="927"/>
                      <a:pt x="990" y="927"/>
                    </a:cubicBezTo>
                    <a:cubicBezTo>
                      <a:pt x="990" y="930"/>
                      <a:pt x="990" y="930"/>
                      <a:pt x="990" y="930"/>
                    </a:cubicBezTo>
                    <a:close/>
                    <a:moveTo>
                      <a:pt x="1300" y="954"/>
                    </a:moveTo>
                    <a:cubicBezTo>
                      <a:pt x="1301" y="955"/>
                      <a:pt x="1301" y="955"/>
                      <a:pt x="1301" y="955"/>
                    </a:cubicBezTo>
                    <a:cubicBezTo>
                      <a:pt x="1304" y="955"/>
                      <a:pt x="1304" y="955"/>
                      <a:pt x="1304" y="955"/>
                    </a:cubicBezTo>
                    <a:cubicBezTo>
                      <a:pt x="1308" y="958"/>
                      <a:pt x="1308" y="958"/>
                      <a:pt x="1308" y="958"/>
                    </a:cubicBezTo>
                    <a:cubicBezTo>
                      <a:pt x="1309" y="957"/>
                      <a:pt x="1309" y="957"/>
                      <a:pt x="1309" y="957"/>
                    </a:cubicBezTo>
                    <a:cubicBezTo>
                      <a:pt x="1310" y="955"/>
                      <a:pt x="1310" y="955"/>
                      <a:pt x="1310" y="955"/>
                    </a:cubicBezTo>
                    <a:cubicBezTo>
                      <a:pt x="1311" y="953"/>
                      <a:pt x="1311" y="953"/>
                      <a:pt x="1311" y="953"/>
                    </a:cubicBezTo>
                    <a:cubicBezTo>
                      <a:pt x="1311" y="951"/>
                      <a:pt x="1311" y="951"/>
                      <a:pt x="1311" y="951"/>
                    </a:cubicBezTo>
                    <a:cubicBezTo>
                      <a:pt x="1309" y="951"/>
                      <a:pt x="1309" y="951"/>
                      <a:pt x="1309" y="951"/>
                    </a:cubicBezTo>
                    <a:cubicBezTo>
                      <a:pt x="1307" y="952"/>
                      <a:pt x="1307" y="952"/>
                      <a:pt x="1307" y="952"/>
                    </a:cubicBezTo>
                    <a:cubicBezTo>
                      <a:pt x="1303" y="953"/>
                      <a:pt x="1303" y="953"/>
                      <a:pt x="1303" y="953"/>
                    </a:cubicBezTo>
                    <a:cubicBezTo>
                      <a:pt x="1300" y="954"/>
                      <a:pt x="1300" y="954"/>
                      <a:pt x="1300" y="954"/>
                    </a:cubicBezTo>
                    <a:close/>
                    <a:moveTo>
                      <a:pt x="1204" y="929"/>
                    </a:moveTo>
                    <a:cubicBezTo>
                      <a:pt x="1204" y="930"/>
                      <a:pt x="1204" y="930"/>
                      <a:pt x="1204" y="930"/>
                    </a:cubicBezTo>
                    <a:cubicBezTo>
                      <a:pt x="1208" y="932"/>
                      <a:pt x="1208" y="932"/>
                      <a:pt x="1208" y="932"/>
                    </a:cubicBezTo>
                    <a:cubicBezTo>
                      <a:pt x="1209" y="934"/>
                      <a:pt x="1209" y="934"/>
                      <a:pt x="1209" y="934"/>
                    </a:cubicBezTo>
                    <a:cubicBezTo>
                      <a:pt x="1209" y="935"/>
                      <a:pt x="1209" y="935"/>
                      <a:pt x="1209" y="935"/>
                    </a:cubicBezTo>
                    <a:cubicBezTo>
                      <a:pt x="1209" y="937"/>
                      <a:pt x="1209" y="937"/>
                      <a:pt x="1209" y="937"/>
                    </a:cubicBezTo>
                    <a:cubicBezTo>
                      <a:pt x="1211" y="938"/>
                      <a:pt x="1211" y="938"/>
                      <a:pt x="1211" y="938"/>
                    </a:cubicBezTo>
                    <a:cubicBezTo>
                      <a:pt x="1213" y="939"/>
                      <a:pt x="1213" y="939"/>
                      <a:pt x="1213" y="939"/>
                    </a:cubicBezTo>
                    <a:cubicBezTo>
                      <a:pt x="1215" y="939"/>
                      <a:pt x="1215" y="939"/>
                      <a:pt x="1215" y="939"/>
                    </a:cubicBezTo>
                    <a:cubicBezTo>
                      <a:pt x="1216" y="938"/>
                      <a:pt x="1216" y="938"/>
                      <a:pt x="1216" y="938"/>
                    </a:cubicBezTo>
                    <a:cubicBezTo>
                      <a:pt x="1217" y="937"/>
                      <a:pt x="1217" y="937"/>
                      <a:pt x="1217" y="937"/>
                    </a:cubicBezTo>
                    <a:cubicBezTo>
                      <a:pt x="1216" y="935"/>
                      <a:pt x="1216" y="935"/>
                      <a:pt x="1216" y="935"/>
                    </a:cubicBezTo>
                    <a:cubicBezTo>
                      <a:pt x="1214" y="933"/>
                      <a:pt x="1214" y="933"/>
                      <a:pt x="1214" y="933"/>
                    </a:cubicBezTo>
                    <a:cubicBezTo>
                      <a:pt x="1212" y="932"/>
                      <a:pt x="1212" y="932"/>
                      <a:pt x="1212" y="932"/>
                    </a:cubicBezTo>
                    <a:cubicBezTo>
                      <a:pt x="1211" y="931"/>
                      <a:pt x="1211" y="931"/>
                      <a:pt x="1211" y="931"/>
                    </a:cubicBezTo>
                    <a:cubicBezTo>
                      <a:pt x="1207" y="929"/>
                      <a:pt x="1207" y="929"/>
                      <a:pt x="1207" y="929"/>
                    </a:cubicBezTo>
                    <a:cubicBezTo>
                      <a:pt x="1205" y="929"/>
                      <a:pt x="1205" y="929"/>
                      <a:pt x="1205" y="929"/>
                    </a:cubicBezTo>
                    <a:cubicBezTo>
                      <a:pt x="1204" y="929"/>
                      <a:pt x="1204" y="929"/>
                      <a:pt x="1204" y="929"/>
                    </a:cubicBezTo>
                    <a:close/>
                    <a:moveTo>
                      <a:pt x="1297" y="978"/>
                    </a:moveTo>
                    <a:cubicBezTo>
                      <a:pt x="1293" y="975"/>
                      <a:pt x="1293" y="975"/>
                      <a:pt x="1293" y="975"/>
                    </a:cubicBezTo>
                    <a:cubicBezTo>
                      <a:pt x="1293" y="973"/>
                      <a:pt x="1293" y="973"/>
                      <a:pt x="1293" y="973"/>
                    </a:cubicBezTo>
                    <a:cubicBezTo>
                      <a:pt x="1292" y="972"/>
                      <a:pt x="1292" y="972"/>
                      <a:pt x="1292" y="972"/>
                    </a:cubicBezTo>
                    <a:cubicBezTo>
                      <a:pt x="1292" y="970"/>
                      <a:pt x="1292" y="970"/>
                      <a:pt x="1292" y="970"/>
                    </a:cubicBezTo>
                    <a:cubicBezTo>
                      <a:pt x="1293" y="969"/>
                      <a:pt x="1293" y="969"/>
                      <a:pt x="1293" y="969"/>
                    </a:cubicBezTo>
                    <a:cubicBezTo>
                      <a:pt x="1295" y="971"/>
                      <a:pt x="1295" y="971"/>
                      <a:pt x="1295" y="971"/>
                    </a:cubicBezTo>
                    <a:cubicBezTo>
                      <a:pt x="1296" y="973"/>
                      <a:pt x="1296" y="973"/>
                      <a:pt x="1296" y="973"/>
                    </a:cubicBezTo>
                    <a:cubicBezTo>
                      <a:pt x="1297" y="975"/>
                      <a:pt x="1297" y="975"/>
                      <a:pt x="1297" y="975"/>
                    </a:cubicBezTo>
                    <a:cubicBezTo>
                      <a:pt x="1298" y="977"/>
                      <a:pt x="1298" y="977"/>
                      <a:pt x="1298" y="977"/>
                    </a:cubicBezTo>
                    <a:cubicBezTo>
                      <a:pt x="1297" y="978"/>
                      <a:pt x="1297" y="978"/>
                      <a:pt x="1297" y="978"/>
                    </a:cubicBezTo>
                    <a:close/>
                    <a:moveTo>
                      <a:pt x="1293" y="989"/>
                    </a:moveTo>
                    <a:cubicBezTo>
                      <a:pt x="1292" y="988"/>
                      <a:pt x="1292" y="988"/>
                      <a:pt x="1292" y="988"/>
                    </a:cubicBezTo>
                    <a:cubicBezTo>
                      <a:pt x="1291" y="986"/>
                      <a:pt x="1291" y="986"/>
                      <a:pt x="1291" y="986"/>
                    </a:cubicBezTo>
                    <a:cubicBezTo>
                      <a:pt x="1290" y="984"/>
                      <a:pt x="1290" y="984"/>
                      <a:pt x="1290" y="984"/>
                    </a:cubicBezTo>
                    <a:cubicBezTo>
                      <a:pt x="1288" y="984"/>
                      <a:pt x="1288" y="984"/>
                      <a:pt x="1288" y="984"/>
                    </a:cubicBezTo>
                    <a:cubicBezTo>
                      <a:pt x="1285" y="981"/>
                      <a:pt x="1285" y="981"/>
                      <a:pt x="1285" y="981"/>
                    </a:cubicBezTo>
                    <a:cubicBezTo>
                      <a:pt x="1285" y="979"/>
                      <a:pt x="1285" y="979"/>
                      <a:pt x="1285" y="979"/>
                    </a:cubicBezTo>
                    <a:cubicBezTo>
                      <a:pt x="1287" y="979"/>
                      <a:pt x="1287" y="979"/>
                      <a:pt x="1287" y="979"/>
                    </a:cubicBezTo>
                    <a:cubicBezTo>
                      <a:pt x="1289" y="978"/>
                      <a:pt x="1289" y="978"/>
                      <a:pt x="1289" y="978"/>
                    </a:cubicBezTo>
                    <a:cubicBezTo>
                      <a:pt x="1294" y="979"/>
                      <a:pt x="1294" y="979"/>
                      <a:pt x="1294" y="979"/>
                    </a:cubicBezTo>
                    <a:cubicBezTo>
                      <a:pt x="1298" y="981"/>
                      <a:pt x="1298" y="981"/>
                      <a:pt x="1298" y="981"/>
                    </a:cubicBezTo>
                    <a:cubicBezTo>
                      <a:pt x="1298" y="983"/>
                      <a:pt x="1298" y="983"/>
                      <a:pt x="1298" y="983"/>
                    </a:cubicBezTo>
                    <a:cubicBezTo>
                      <a:pt x="1296" y="984"/>
                      <a:pt x="1296" y="984"/>
                      <a:pt x="1296" y="984"/>
                    </a:cubicBezTo>
                    <a:cubicBezTo>
                      <a:pt x="1296" y="986"/>
                      <a:pt x="1296" y="986"/>
                      <a:pt x="1296" y="986"/>
                    </a:cubicBezTo>
                    <a:cubicBezTo>
                      <a:pt x="1295" y="987"/>
                      <a:pt x="1295" y="987"/>
                      <a:pt x="1295" y="987"/>
                    </a:cubicBezTo>
                    <a:cubicBezTo>
                      <a:pt x="1294" y="989"/>
                      <a:pt x="1294" y="989"/>
                      <a:pt x="1294" y="989"/>
                    </a:cubicBezTo>
                    <a:cubicBezTo>
                      <a:pt x="1293" y="989"/>
                      <a:pt x="1293" y="989"/>
                      <a:pt x="1293" y="989"/>
                    </a:cubicBezTo>
                    <a:close/>
                    <a:moveTo>
                      <a:pt x="1197" y="1045"/>
                    </a:moveTo>
                    <a:cubicBezTo>
                      <a:pt x="1197" y="1047"/>
                      <a:pt x="1197" y="1047"/>
                      <a:pt x="1197" y="1047"/>
                    </a:cubicBezTo>
                    <a:cubicBezTo>
                      <a:pt x="1198" y="1046"/>
                      <a:pt x="1198" y="1046"/>
                      <a:pt x="1198" y="1046"/>
                    </a:cubicBezTo>
                    <a:cubicBezTo>
                      <a:pt x="1197" y="1045"/>
                      <a:pt x="1197" y="1045"/>
                      <a:pt x="1197" y="1045"/>
                    </a:cubicBezTo>
                    <a:close/>
                    <a:moveTo>
                      <a:pt x="1199" y="1046"/>
                    </a:moveTo>
                    <a:cubicBezTo>
                      <a:pt x="1199" y="1048"/>
                      <a:pt x="1199" y="1048"/>
                      <a:pt x="1199" y="1048"/>
                    </a:cubicBezTo>
                    <a:cubicBezTo>
                      <a:pt x="1200" y="1047"/>
                      <a:pt x="1200" y="1047"/>
                      <a:pt x="1200" y="1047"/>
                    </a:cubicBezTo>
                    <a:cubicBezTo>
                      <a:pt x="1199" y="1046"/>
                      <a:pt x="1199" y="1046"/>
                      <a:pt x="1199" y="1046"/>
                    </a:cubicBezTo>
                    <a:close/>
                    <a:moveTo>
                      <a:pt x="1202" y="1045"/>
                    </a:moveTo>
                    <a:cubicBezTo>
                      <a:pt x="1201" y="1047"/>
                      <a:pt x="1201" y="1047"/>
                      <a:pt x="1201" y="1047"/>
                    </a:cubicBezTo>
                    <a:cubicBezTo>
                      <a:pt x="1201" y="1050"/>
                      <a:pt x="1201" y="1050"/>
                      <a:pt x="1201" y="1050"/>
                    </a:cubicBezTo>
                    <a:cubicBezTo>
                      <a:pt x="1201" y="1052"/>
                      <a:pt x="1201" y="1052"/>
                      <a:pt x="1201" y="1052"/>
                    </a:cubicBezTo>
                    <a:cubicBezTo>
                      <a:pt x="1202" y="1051"/>
                      <a:pt x="1202" y="1051"/>
                      <a:pt x="1202" y="1051"/>
                    </a:cubicBezTo>
                    <a:cubicBezTo>
                      <a:pt x="1203" y="1048"/>
                      <a:pt x="1203" y="1048"/>
                      <a:pt x="1203" y="1048"/>
                    </a:cubicBezTo>
                    <a:cubicBezTo>
                      <a:pt x="1202" y="1045"/>
                      <a:pt x="1202" y="1045"/>
                      <a:pt x="1202" y="1045"/>
                    </a:cubicBezTo>
                    <a:close/>
                    <a:moveTo>
                      <a:pt x="1227" y="1017"/>
                    </a:moveTo>
                    <a:cubicBezTo>
                      <a:pt x="1226" y="1015"/>
                      <a:pt x="1226" y="1015"/>
                      <a:pt x="1226" y="1015"/>
                    </a:cubicBezTo>
                    <a:cubicBezTo>
                      <a:pt x="1228" y="1012"/>
                      <a:pt x="1228" y="1012"/>
                      <a:pt x="1228" y="1012"/>
                    </a:cubicBezTo>
                    <a:cubicBezTo>
                      <a:pt x="1229" y="1010"/>
                      <a:pt x="1229" y="1010"/>
                      <a:pt x="1229" y="1010"/>
                    </a:cubicBezTo>
                    <a:cubicBezTo>
                      <a:pt x="1230" y="1009"/>
                      <a:pt x="1230" y="1009"/>
                      <a:pt x="1230" y="1009"/>
                    </a:cubicBezTo>
                    <a:cubicBezTo>
                      <a:pt x="1233" y="1006"/>
                      <a:pt x="1233" y="1006"/>
                      <a:pt x="1233" y="1006"/>
                    </a:cubicBezTo>
                    <a:cubicBezTo>
                      <a:pt x="1238" y="1005"/>
                      <a:pt x="1238" y="1005"/>
                      <a:pt x="1238" y="1005"/>
                    </a:cubicBezTo>
                    <a:cubicBezTo>
                      <a:pt x="1238" y="1006"/>
                      <a:pt x="1238" y="1006"/>
                      <a:pt x="1238" y="1006"/>
                    </a:cubicBezTo>
                    <a:cubicBezTo>
                      <a:pt x="1238" y="1008"/>
                      <a:pt x="1238" y="1008"/>
                      <a:pt x="1238" y="1008"/>
                    </a:cubicBezTo>
                    <a:cubicBezTo>
                      <a:pt x="1239" y="1009"/>
                      <a:pt x="1239" y="1009"/>
                      <a:pt x="1239" y="1009"/>
                    </a:cubicBezTo>
                    <a:cubicBezTo>
                      <a:pt x="1239" y="1011"/>
                      <a:pt x="1239" y="1011"/>
                      <a:pt x="1239" y="1011"/>
                    </a:cubicBezTo>
                    <a:cubicBezTo>
                      <a:pt x="1236" y="1013"/>
                      <a:pt x="1236" y="1013"/>
                      <a:pt x="1236" y="1013"/>
                    </a:cubicBezTo>
                    <a:cubicBezTo>
                      <a:pt x="1234" y="1015"/>
                      <a:pt x="1234" y="1015"/>
                      <a:pt x="1234" y="1015"/>
                    </a:cubicBezTo>
                    <a:cubicBezTo>
                      <a:pt x="1232" y="1015"/>
                      <a:pt x="1232" y="1015"/>
                      <a:pt x="1232" y="1015"/>
                    </a:cubicBezTo>
                    <a:cubicBezTo>
                      <a:pt x="1228" y="1017"/>
                      <a:pt x="1228" y="1017"/>
                      <a:pt x="1228" y="1017"/>
                    </a:cubicBezTo>
                    <a:cubicBezTo>
                      <a:pt x="1227" y="1017"/>
                      <a:pt x="1227" y="1017"/>
                      <a:pt x="1227" y="1017"/>
                    </a:cubicBezTo>
                    <a:close/>
                    <a:moveTo>
                      <a:pt x="1143" y="926"/>
                    </a:moveTo>
                    <a:cubicBezTo>
                      <a:pt x="1146" y="928"/>
                      <a:pt x="1146" y="928"/>
                      <a:pt x="1146" y="928"/>
                    </a:cubicBezTo>
                    <a:cubicBezTo>
                      <a:pt x="1149" y="931"/>
                      <a:pt x="1149" y="931"/>
                      <a:pt x="1149" y="931"/>
                    </a:cubicBezTo>
                    <a:cubicBezTo>
                      <a:pt x="1152" y="931"/>
                      <a:pt x="1152" y="931"/>
                      <a:pt x="1152" y="931"/>
                    </a:cubicBezTo>
                    <a:cubicBezTo>
                      <a:pt x="1156" y="932"/>
                      <a:pt x="1156" y="932"/>
                      <a:pt x="1156" y="932"/>
                    </a:cubicBezTo>
                    <a:cubicBezTo>
                      <a:pt x="1154" y="931"/>
                      <a:pt x="1154" y="931"/>
                      <a:pt x="1154" y="931"/>
                    </a:cubicBezTo>
                    <a:cubicBezTo>
                      <a:pt x="1151" y="929"/>
                      <a:pt x="1151" y="929"/>
                      <a:pt x="1151" y="929"/>
                    </a:cubicBezTo>
                    <a:cubicBezTo>
                      <a:pt x="1147" y="926"/>
                      <a:pt x="1147" y="926"/>
                      <a:pt x="1147" y="926"/>
                    </a:cubicBezTo>
                    <a:cubicBezTo>
                      <a:pt x="1145" y="926"/>
                      <a:pt x="1145" y="926"/>
                      <a:pt x="1145" y="926"/>
                    </a:cubicBezTo>
                    <a:cubicBezTo>
                      <a:pt x="1143" y="926"/>
                      <a:pt x="1143" y="926"/>
                      <a:pt x="1143" y="926"/>
                    </a:cubicBezTo>
                    <a:close/>
                    <a:moveTo>
                      <a:pt x="1115" y="901"/>
                    </a:moveTo>
                    <a:cubicBezTo>
                      <a:pt x="1115" y="902"/>
                      <a:pt x="1115" y="902"/>
                      <a:pt x="1115" y="902"/>
                    </a:cubicBezTo>
                    <a:cubicBezTo>
                      <a:pt x="1118" y="902"/>
                      <a:pt x="1118" y="902"/>
                      <a:pt x="1118" y="902"/>
                    </a:cubicBezTo>
                    <a:cubicBezTo>
                      <a:pt x="1119" y="903"/>
                      <a:pt x="1119" y="903"/>
                      <a:pt x="1119" y="903"/>
                    </a:cubicBezTo>
                    <a:cubicBezTo>
                      <a:pt x="1121" y="902"/>
                      <a:pt x="1121" y="902"/>
                      <a:pt x="1121" y="902"/>
                    </a:cubicBezTo>
                    <a:cubicBezTo>
                      <a:pt x="1121" y="901"/>
                      <a:pt x="1121" y="901"/>
                      <a:pt x="1121" y="901"/>
                    </a:cubicBezTo>
                    <a:cubicBezTo>
                      <a:pt x="1122" y="900"/>
                      <a:pt x="1122" y="900"/>
                      <a:pt x="1122" y="900"/>
                    </a:cubicBezTo>
                    <a:cubicBezTo>
                      <a:pt x="1123" y="899"/>
                      <a:pt x="1123" y="899"/>
                      <a:pt x="1123" y="899"/>
                    </a:cubicBezTo>
                    <a:cubicBezTo>
                      <a:pt x="1120" y="897"/>
                      <a:pt x="1120" y="897"/>
                      <a:pt x="1120" y="897"/>
                    </a:cubicBezTo>
                    <a:cubicBezTo>
                      <a:pt x="1122" y="896"/>
                      <a:pt x="1122" y="896"/>
                      <a:pt x="1122" y="896"/>
                    </a:cubicBezTo>
                    <a:cubicBezTo>
                      <a:pt x="1122" y="895"/>
                      <a:pt x="1122" y="895"/>
                      <a:pt x="1122" y="895"/>
                    </a:cubicBezTo>
                    <a:cubicBezTo>
                      <a:pt x="1119" y="893"/>
                      <a:pt x="1119" y="893"/>
                      <a:pt x="1119" y="893"/>
                    </a:cubicBezTo>
                    <a:cubicBezTo>
                      <a:pt x="1116" y="893"/>
                      <a:pt x="1116" y="893"/>
                      <a:pt x="1116" y="893"/>
                    </a:cubicBezTo>
                    <a:cubicBezTo>
                      <a:pt x="1116" y="891"/>
                      <a:pt x="1116" y="891"/>
                      <a:pt x="1116" y="891"/>
                    </a:cubicBezTo>
                    <a:cubicBezTo>
                      <a:pt x="1115" y="890"/>
                      <a:pt x="1115" y="890"/>
                      <a:pt x="1115" y="890"/>
                    </a:cubicBezTo>
                    <a:cubicBezTo>
                      <a:pt x="1113" y="891"/>
                      <a:pt x="1113" y="891"/>
                      <a:pt x="1113" y="891"/>
                    </a:cubicBezTo>
                    <a:cubicBezTo>
                      <a:pt x="1111" y="890"/>
                      <a:pt x="1111" y="890"/>
                      <a:pt x="1111" y="890"/>
                    </a:cubicBezTo>
                    <a:cubicBezTo>
                      <a:pt x="1109" y="890"/>
                      <a:pt x="1109" y="890"/>
                      <a:pt x="1109" y="890"/>
                    </a:cubicBezTo>
                    <a:cubicBezTo>
                      <a:pt x="1108" y="891"/>
                      <a:pt x="1108" y="891"/>
                      <a:pt x="1108" y="891"/>
                    </a:cubicBezTo>
                    <a:cubicBezTo>
                      <a:pt x="1109" y="893"/>
                      <a:pt x="1109" y="893"/>
                      <a:pt x="1109" y="893"/>
                    </a:cubicBezTo>
                    <a:cubicBezTo>
                      <a:pt x="1110" y="894"/>
                      <a:pt x="1110" y="894"/>
                      <a:pt x="1110" y="894"/>
                    </a:cubicBezTo>
                    <a:cubicBezTo>
                      <a:pt x="1111" y="894"/>
                      <a:pt x="1111" y="894"/>
                      <a:pt x="1111" y="894"/>
                    </a:cubicBezTo>
                    <a:cubicBezTo>
                      <a:pt x="1113" y="896"/>
                      <a:pt x="1113" y="896"/>
                      <a:pt x="1113" y="896"/>
                    </a:cubicBezTo>
                    <a:cubicBezTo>
                      <a:pt x="1114" y="898"/>
                      <a:pt x="1114" y="898"/>
                      <a:pt x="1114" y="898"/>
                    </a:cubicBezTo>
                    <a:cubicBezTo>
                      <a:pt x="1115" y="901"/>
                      <a:pt x="1115" y="901"/>
                      <a:pt x="1115" y="901"/>
                    </a:cubicBezTo>
                    <a:close/>
                    <a:moveTo>
                      <a:pt x="1095" y="910"/>
                    </a:moveTo>
                    <a:cubicBezTo>
                      <a:pt x="1098" y="909"/>
                      <a:pt x="1098" y="909"/>
                      <a:pt x="1098" y="909"/>
                    </a:cubicBezTo>
                    <a:cubicBezTo>
                      <a:pt x="1099" y="908"/>
                      <a:pt x="1099" y="908"/>
                      <a:pt x="1099" y="908"/>
                    </a:cubicBezTo>
                    <a:cubicBezTo>
                      <a:pt x="1101" y="908"/>
                      <a:pt x="1101" y="908"/>
                      <a:pt x="1101" y="908"/>
                    </a:cubicBezTo>
                    <a:cubicBezTo>
                      <a:pt x="1103" y="907"/>
                      <a:pt x="1103" y="907"/>
                      <a:pt x="1103" y="907"/>
                    </a:cubicBezTo>
                    <a:cubicBezTo>
                      <a:pt x="1103" y="905"/>
                      <a:pt x="1103" y="905"/>
                      <a:pt x="1103" y="905"/>
                    </a:cubicBezTo>
                    <a:cubicBezTo>
                      <a:pt x="1103" y="904"/>
                      <a:pt x="1103" y="904"/>
                      <a:pt x="1103" y="904"/>
                    </a:cubicBezTo>
                    <a:cubicBezTo>
                      <a:pt x="1103" y="899"/>
                      <a:pt x="1103" y="899"/>
                      <a:pt x="1103" y="899"/>
                    </a:cubicBezTo>
                    <a:cubicBezTo>
                      <a:pt x="1101" y="898"/>
                      <a:pt x="1101" y="898"/>
                      <a:pt x="1101" y="898"/>
                    </a:cubicBezTo>
                    <a:cubicBezTo>
                      <a:pt x="1097" y="898"/>
                      <a:pt x="1097" y="898"/>
                      <a:pt x="1097" y="898"/>
                    </a:cubicBezTo>
                    <a:cubicBezTo>
                      <a:pt x="1095" y="896"/>
                      <a:pt x="1095" y="896"/>
                      <a:pt x="1095" y="896"/>
                    </a:cubicBezTo>
                    <a:cubicBezTo>
                      <a:pt x="1093" y="893"/>
                      <a:pt x="1093" y="893"/>
                      <a:pt x="1093" y="893"/>
                    </a:cubicBezTo>
                    <a:cubicBezTo>
                      <a:pt x="1092" y="895"/>
                      <a:pt x="1092" y="895"/>
                      <a:pt x="1092" y="895"/>
                    </a:cubicBezTo>
                    <a:cubicBezTo>
                      <a:pt x="1088" y="895"/>
                      <a:pt x="1088" y="895"/>
                      <a:pt x="1088" y="895"/>
                    </a:cubicBezTo>
                    <a:cubicBezTo>
                      <a:pt x="1087" y="894"/>
                      <a:pt x="1087" y="894"/>
                      <a:pt x="1087" y="894"/>
                    </a:cubicBezTo>
                    <a:cubicBezTo>
                      <a:pt x="1086" y="896"/>
                      <a:pt x="1086" y="896"/>
                      <a:pt x="1086" y="896"/>
                    </a:cubicBezTo>
                    <a:cubicBezTo>
                      <a:pt x="1087" y="899"/>
                      <a:pt x="1087" y="899"/>
                      <a:pt x="1087" y="899"/>
                    </a:cubicBezTo>
                    <a:cubicBezTo>
                      <a:pt x="1090" y="901"/>
                      <a:pt x="1090" y="901"/>
                      <a:pt x="1090" y="901"/>
                    </a:cubicBezTo>
                    <a:cubicBezTo>
                      <a:pt x="1091" y="905"/>
                      <a:pt x="1091" y="905"/>
                      <a:pt x="1091" y="905"/>
                    </a:cubicBezTo>
                    <a:cubicBezTo>
                      <a:pt x="1092" y="906"/>
                      <a:pt x="1092" y="906"/>
                      <a:pt x="1092" y="906"/>
                    </a:cubicBezTo>
                    <a:cubicBezTo>
                      <a:pt x="1093" y="909"/>
                      <a:pt x="1093" y="909"/>
                      <a:pt x="1093" y="909"/>
                    </a:cubicBezTo>
                    <a:cubicBezTo>
                      <a:pt x="1095" y="910"/>
                      <a:pt x="1095" y="910"/>
                      <a:pt x="1095" y="910"/>
                    </a:cubicBezTo>
                    <a:close/>
                    <a:moveTo>
                      <a:pt x="1091" y="926"/>
                    </a:moveTo>
                    <a:cubicBezTo>
                      <a:pt x="1092" y="925"/>
                      <a:pt x="1092" y="925"/>
                      <a:pt x="1092" y="925"/>
                    </a:cubicBezTo>
                    <a:cubicBezTo>
                      <a:pt x="1088" y="924"/>
                      <a:pt x="1088" y="924"/>
                      <a:pt x="1088" y="924"/>
                    </a:cubicBezTo>
                    <a:cubicBezTo>
                      <a:pt x="1087" y="924"/>
                      <a:pt x="1087" y="924"/>
                      <a:pt x="1087" y="924"/>
                    </a:cubicBezTo>
                    <a:cubicBezTo>
                      <a:pt x="1088" y="926"/>
                      <a:pt x="1088" y="926"/>
                      <a:pt x="1088" y="926"/>
                    </a:cubicBezTo>
                    <a:cubicBezTo>
                      <a:pt x="1091" y="926"/>
                      <a:pt x="1091" y="926"/>
                      <a:pt x="1091" y="926"/>
                    </a:cubicBezTo>
                    <a:close/>
                    <a:moveTo>
                      <a:pt x="1049" y="954"/>
                    </a:moveTo>
                    <a:cubicBezTo>
                      <a:pt x="1050" y="955"/>
                      <a:pt x="1050" y="955"/>
                      <a:pt x="1050" y="955"/>
                    </a:cubicBezTo>
                    <a:cubicBezTo>
                      <a:pt x="1051" y="953"/>
                      <a:pt x="1051" y="953"/>
                      <a:pt x="1051" y="953"/>
                    </a:cubicBezTo>
                    <a:cubicBezTo>
                      <a:pt x="1051" y="952"/>
                      <a:pt x="1051" y="952"/>
                      <a:pt x="1051" y="952"/>
                    </a:cubicBezTo>
                    <a:cubicBezTo>
                      <a:pt x="1053" y="950"/>
                      <a:pt x="1053" y="950"/>
                      <a:pt x="1053" y="950"/>
                    </a:cubicBezTo>
                    <a:cubicBezTo>
                      <a:pt x="1053" y="948"/>
                      <a:pt x="1053" y="948"/>
                      <a:pt x="1053" y="948"/>
                    </a:cubicBezTo>
                    <a:cubicBezTo>
                      <a:pt x="1052" y="947"/>
                      <a:pt x="1052" y="947"/>
                      <a:pt x="1052" y="947"/>
                    </a:cubicBezTo>
                    <a:cubicBezTo>
                      <a:pt x="1053" y="946"/>
                      <a:pt x="1053" y="946"/>
                      <a:pt x="1053" y="946"/>
                    </a:cubicBezTo>
                    <a:cubicBezTo>
                      <a:pt x="1056" y="943"/>
                      <a:pt x="1056" y="943"/>
                      <a:pt x="1056" y="943"/>
                    </a:cubicBezTo>
                    <a:cubicBezTo>
                      <a:pt x="1058" y="940"/>
                      <a:pt x="1058" y="940"/>
                      <a:pt x="1058" y="940"/>
                    </a:cubicBezTo>
                    <a:cubicBezTo>
                      <a:pt x="1060" y="940"/>
                      <a:pt x="1060" y="940"/>
                      <a:pt x="1060" y="940"/>
                    </a:cubicBezTo>
                    <a:cubicBezTo>
                      <a:pt x="1061" y="939"/>
                      <a:pt x="1061" y="939"/>
                      <a:pt x="1061" y="939"/>
                    </a:cubicBezTo>
                    <a:cubicBezTo>
                      <a:pt x="1061" y="937"/>
                      <a:pt x="1061" y="937"/>
                      <a:pt x="1061" y="937"/>
                    </a:cubicBezTo>
                    <a:cubicBezTo>
                      <a:pt x="1060" y="935"/>
                      <a:pt x="1060" y="935"/>
                      <a:pt x="1060" y="935"/>
                    </a:cubicBezTo>
                    <a:cubicBezTo>
                      <a:pt x="1062" y="934"/>
                      <a:pt x="1062" y="934"/>
                      <a:pt x="1062" y="934"/>
                    </a:cubicBezTo>
                    <a:cubicBezTo>
                      <a:pt x="1064" y="931"/>
                      <a:pt x="1064" y="931"/>
                      <a:pt x="1064" y="931"/>
                    </a:cubicBezTo>
                    <a:cubicBezTo>
                      <a:pt x="1063" y="929"/>
                      <a:pt x="1063" y="929"/>
                      <a:pt x="1063" y="929"/>
                    </a:cubicBezTo>
                    <a:cubicBezTo>
                      <a:pt x="1063" y="927"/>
                      <a:pt x="1063" y="927"/>
                      <a:pt x="1063" y="927"/>
                    </a:cubicBezTo>
                    <a:cubicBezTo>
                      <a:pt x="1062" y="926"/>
                      <a:pt x="1062" y="926"/>
                      <a:pt x="1062" y="926"/>
                    </a:cubicBezTo>
                    <a:cubicBezTo>
                      <a:pt x="1060" y="927"/>
                      <a:pt x="1060" y="927"/>
                      <a:pt x="1060" y="927"/>
                    </a:cubicBezTo>
                    <a:cubicBezTo>
                      <a:pt x="1058" y="927"/>
                      <a:pt x="1058" y="927"/>
                      <a:pt x="1058" y="927"/>
                    </a:cubicBezTo>
                    <a:cubicBezTo>
                      <a:pt x="1056" y="925"/>
                      <a:pt x="1056" y="925"/>
                      <a:pt x="1056" y="925"/>
                    </a:cubicBezTo>
                    <a:cubicBezTo>
                      <a:pt x="1055" y="924"/>
                      <a:pt x="1055" y="924"/>
                      <a:pt x="1055" y="924"/>
                    </a:cubicBezTo>
                    <a:cubicBezTo>
                      <a:pt x="1053" y="926"/>
                      <a:pt x="1053" y="926"/>
                      <a:pt x="1053" y="926"/>
                    </a:cubicBezTo>
                    <a:cubicBezTo>
                      <a:pt x="1050" y="929"/>
                      <a:pt x="1050" y="929"/>
                      <a:pt x="1050" y="929"/>
                    </a:cubicBezTo>
                    <a:cubicBezTo>
                      <a:pt x="1048" y="930"/>
                      <a:pt x="1048" y="930"/>
                      <a:pt x="1048" y="930"/>
                    </a:cubicBezTo>
                    <a:cubicBezTo>
                      <a:pt x="1046" y="932"/>
                      <a:pt x="1046" y="932"/>
                      <a:pt x="1046" y="932"/>
                    </a:cubicBezTo>
                    <a:cubicBezTo>
                      <a:pt x="1045" y="935"/>
                      <a:pt x="1045" y="935"/>
                      <a:pt x="1045" y="935"/>
                    </a:cubicBezTo>
                    <a:cubicBezTo>
                      <a:pt x="1046" y="938"/>
                      <a:pt x="1046" y="938"/>
                      <a:pt x="1046" y="938"/>
                    </a:cubicBezTo>
                    <a:cubicBezTo>
                      <a:pt x="1044" y="939"/>
                      <a:pt x="1044" y="939"/>
                      <a:pt x="1044" y="939"/>
                    </a:cubicBezTo>
                    <a:cubicBezTo>
                      <a:pt x="1043" y="941"/>
                      <a:pt x="1043" y="941"/>
                      <a:pt x="1043" y="941"/>
                    </a:cubicBezTo>
                    <a:cubicBezTo>
                      <a:pt x="1043" y="945"/>
                      <a:pt x="1043" y="945"/>
                      <a:pt x="1043" y="945"/>
                    </a:cubicBezTo>
                    <a:cubicBezTo>
                      <a:pt x="1042" y="947"/>
                      <a:pt x="1042" y="947"/>
                      <a:pt x="1042" y="947"/>
                    </a:cubicBezTo>
                    <a:cubicBezTo>
                      <a:pt x="1043" y="948"/>
                      <a:pt x="1043" y="948"/>
                      <a:pt x="1043" y="948"/>
                    </a:cubicBezTo>
                    <a:cubicBezTo>
                      <a:pt x="1046" y="949"/>
                      <a:pt x="1046" y="949"/>
                      <a:pt x="1046" y="949"/>
                    </a:cubicBezTo>
                    <a:cubicBezTo>
                      <a:pt x="1047" y="951"/>
                      <a:pt x="1047" y="951"/>
                      <a:pt x="1047" y="951"/>
                    </a:cubicBezTo>
                    <a:cubicBezTo>
                      <a:pt x="1048" y="952"/>
                      <a:pt x="1048" y="952"/>
                      <a:pt x="1048" y="952"/>
                    </a:cubicBezTo>
                    <a:cubicBezTo>
                      <a:pt x="1049" y="954"/>
                      <a:pt x="1049" y="954"/>
                      <a:pt x="1049" y="954"/>
                    </a:cubicBezTo>
                    <a:close/>
                    <a:moveTo>
                      <a:pt x="1010" y="1109"/>
                    </a:moveTo>
                    <a:cubicBezTo>
                      <a:pt x="1011" y="1111"/>
                      <a:pt x="1011" y="1111"/>
                      <a:pt x="1011" y="1111"/>
                    </a:cubicBezTo>
                    <a:cubicBezTo>
                      <a:pt x="1012" y="1110"/>
                      <a:pt x="1012" y="1110"/>
                      <a:pt x="1012" y="1110"/>
                    </a:cubicBezTo>
                    <a:cubicBezTo>
                      <a:pt x="1011" y="1109"/>
                      <a:pt x="1011" y="1109"/>
                      <a:pt x="1011" y="1109"/>
                    </a:cubicBezTo>
                    <a:cubicBezTo>
                      <a:pt x="1010" y="1109"/>
                      <a:pt x="1010" y="1109"/>
                      <a:pt x="1010" y="1109"/>
                    </a:cubicBezTo>
                    <a:close/>
                    <a:moveTo>
                      <a:pt x="1012" y="1125"/>
                    </a:moveTo>
                    <a:cubicBezTo>
                      <a:pt x="1015" y="1122"/>
                      <a:pt x="1015" y="1122"/>
                      <a:pt x="1015" y="1122"/>
                    </a:cubicBezTo>
                    <a:cubicBezTo>
                      <a:pt x="1016" y="1119"/>
                      <a:pt x="1016" y="1119"/>
                      <a:pt x="1016" y="1119"/>
                    </a:cubicBezTo>
                    <a:cubicBezTo>
                      <a:pt x="1017" y="1119"/>
                      <a:pt x="1017" y="1119"/>
                      <a:pt x="1017" y="1119"/>
                    </a:cubicBezTo>
                    <a:cubicBezTo>
                      <a:pt x="1017" y="1123"/>
                      <a:pt x="1017" y="1123"/>
                      <a:pt x="1017" y="1123"/>
                    </a:cubicBezTo>
                    <a:cubicBezTo>
                      <a:pt x="1014" y="1125"/>
                      <a:pt x="1014" y="1125"/>
                      <a:pt x="1014" y="1125"/>
                    </a:cubicBezTo>
                    <a:cubicBezTo>
                      <a:pt x="1012" y="1125"/>
                      <a:pt x="1012" y="1125"/>
                      <a:pt x="1012" y="1125"/>
                    </a:cubicBezTo>
                    <a:close/>
                    <a:moveTo>
                      <a:pt x="990" y="1120"/>
                    </a:moveTo>
                    <a:cubicBezTo>
                      <a:pt x="992" y="1117"/>
                      <a:pt x="992" y="1117"/>
                      <a:pt x="992" y="1117"/>
                    </a:cubicBezTo>
                    <a:cubicBezTo>
                      <a:pt x="994" y="1117"/>
                      <a:pt x="994" y="1117"/>
                      <a:pt x="994" y="1117"/>
                    </a:cubicBezTo>
                    <a:cubicBezTo>
                      <a:pt x="995" y="1116"/>
                      <a:pt x="995" y="1116"/>
                      <a:pt x="995" y="1116"/>
                    </a:cubicBezTo>
                    <a:cubicBezTo>
                      <a:pt x="997" y="1116"/>
                      <a:pt x="997" y="1116"/>
                      <a:pt x="997" y="1116"/>
                    </a:cubicBezTo>
                    <a:cubicBezTo>
                      <a:pt x="999" y="1114"/>
                      <a:pt x="999" y="1114"/>
                      <a:pt x="999" y="1114"/>
                    </a:cubicBezTo>
                    <a:cubicBezTo>
                      <a:pt x="1001" y="1113"/>
                      <a:pt x="1001" y="1113"/>
                      <a:pt x="1001" y="1113"/>
                    </a:cubicBezTo>
                    <a:cubicBezTo>
                      <a:pt x="999" y="1117"/>
                      <a:pt x="999" y="1117"/>
                      <a:pt x="999" y="1117"/>
                    </a:cubicBezTo>
                    <a:cubicBezTo>
                      <a:pt x="994" y="1120"/>
                      <a:pt x="994" y="1120"/>
                      <a:pt x="994" y="1120"/>
                    </a:cubicBezTo>
                    <a:cubicBezTo>
                      <a:pt x="991" y="1121"/>
                      <a:pt x="991" y="1121"/>
                      <a:pt x="991" y="1121"/>
                    </a:cubicBezTo>
                    <a:cubicBezTo>
                      <a:pt x="990" y="1120"/>
                      <a:pt x="990" y="1120"/>
                      <a:pt x="990" y="1120"/>
                    </a:cubicBezTo>
                    <a:close/>
                    <a:moveTo>
                      <a:pt x="1005" y="1127"/>
                    </a:moveTo>
                    <a:cubicBezTo>
                      <a:pt x="1010" y="1121"/>
                      <a:pt x="1010" y="1121"/>
                      <a:pt x="1010" y="1121"/>
                    </a:cubicBezTo>
                    <a:cubicBezTo>
                      <a:pt x="1011" y="1119"/>
                      <a:pt x="1011" y="1119"/>
                      <a:pt x="1011" y="1119"/>
                    </a:cubicBezTo>
                    <a:cubicBezTo>
                      <a:pt x="1012" y="1119"/>
                      <a:pt x="1012" y="1119"/>
                      <a:pt x="1012" y="1119"/>
                    </a:cubicBezTo>
                    <a:cubicBezTo>
                      <a:pt x="1012" y="1121"/>
                      <a:pt x="1012" y="1121"/>
                      <a:pt x="1012" y="1121"/>
                    </a:cubicBezTo>
                    <a:cubicBezTo>
                      <a:pt x="1007" y="1127"/>
                      <a:pt x="1007" y="1127"/>
                      <a:pt x="1007" y="1127"/>
                    </a:cubicBezTo>
                    <a:cubicBezTo>
                      <a:pt x="1006" y="1129"/>
                      <a:pt x="1006" y="1129"/>
                      <a:pt x="1006" y="1129"/>
                    </a:cubicBezTo>
                    <a:cubicBezTo>
                      <a:pt x="1008" y="1128"/>
                      <a:pt x="1008" y="1128"/>
                      <a:pt x="1008" y="1128"/>
                    </a:cubicBezTo>
                    <a:cubicBezTo>
                      <a:pt x="1012" y="1123"/>
                      <a:pt x="1012" y="1123"/>
                      <a:pt x="1012" y="1123"/>
                    </a:cubicBezTo>
                    <a:cubicBezTo>
                      <a:pt x="1014" y="1121"/>
                      <a:pt x="1014" y="1121"/>
                      <a:pt x="1014" y="1121"/>
                    </a:cubicBezTo>
                    <a:cubicBezTo>
                      <a:pt x="1014" y="1117"/>
                      <a:pt x="1014" y="1117"/>
                      <a:pt x="1014" y="1117"/>
                    </a:cubicBezTo>
                    <a:cubicBezTo>
                      <a:pt x="1013" y="1116"/>
                      <a:pt x="1013" y="1116"/>
                      <a:pt x="1013" y="1116"/>
                    </a:cubicBezTo>
                    <a:cubicBezTo>
                      <a:pt x="1012" y="1116"/>
                      <a:pt x="1012" y="1116"/>
                      <a:pt x="1012" y="1116"/>
                    </a:cubicBezTo>
                    <a:cubicBezTo>
                      <a:pt x="1012" y="1113"/>
                      <a:pt x="1012" y="1113"/>
                      <a:pt x="1012" y="1113"/>
                    </a:cubicBezTo>
                    <a:cubicBezTo>
                      <a:pt x="1009" y="1112"/>
                      <a:pt x="1009" y="1112"/>
                      <a:pt x="1009" y="1112"/>
                    </a:cubicBezTo>
                    <a:cubicBezTo>
                      <a:pt x="1008" y="1113"/>
                      <a:pt x="1008" y="1113"/>
                      <a:pt x="1008" y="1113"/>
                    </a:cubicBezTo>
                    <a:cubicBezTo>
                      <a:pt x="1006" y="1119"/>
                      <a:pt x="1006" y="1119"/>
                      <a:pt x="1006" y="1119"/>
                    </a:cubicBezTo>
                    <a:cubicBezTo>
                      <a:pt x="1003" y="1121"/>
                      <a:pt x="1003" y="1121"/>
                      <a:pt x="1003" y="1121"/>
                    </a:cubicBezTo>
                    <a:cubicBezTo>
                      <a:pt x="1000" y="1123"/>
                      <a:pt x="1000" y="1123"/>
                      <a:pt x="1000" y="1123"/>
                    </a:cubicBezTo>
                    <a:cubicBezTo>
                      <a:pt x="1001" y="1121"/>
                      <a:pt x="1001" y="1121"/>
                      <a:pt x="1001" y="1121"/>
                    </a:cubicBezTo>
                    <a:cubicBezTo>
                      <a:pt x="1004" y="1118"/>
                      <a:pt x="1004" y="1118"/>
                      <a:pt x="1004" y="1118"/>
                    </a:cubicBezTo>
                    <a:cubicBezTo>
                      <a:pt x="1005" y="1115"/>
                      <a:pt x="1005" y="1115"/>
                      <a:pt x="1005" y="1115"/>
                    </a:cubicBezTo>
                    <a:cubicBezTo>
                      <a:pt x="1004" y="1114"/>
                      <a:pt x="1004" y="1114"/>
                      <a:pt x="1004" y="1114"/>
                    </a:cubicBezTo>
                    <a:cubicBezTo>
                      <a:pt x="1002" y="1115"/>
                      <a:pt x="1002" y="1115"/>
                      <a:pt x="1002" y="1115"/>
                    </a:cubicBezTo>
                    <a:cubicBezTo>
                      <a:pt x="1000" y="1120"/>
                      <a:pt x="1000" y="1120"/>
                      <a:pt x="1000" y="1120"/>
                    </a:cubicBezTo>
                    <a:cubicBezTo>
                      <a:pt x="995" y="1124"/>
                      <a:pt x="995" y="1124"/>
                      <a:pt x="995" y="1124"/>
                    </a:cubicBezTo>
                    <a:cubicBezTo>
                      <a:pt x="995" y="1126"/>
                      <a:pt x="995" y="1126"/>
                      <a:pt x="995" y="1126"/>
                    </a:cubicBezTo>
                    <a:cubicBezTo>
                      <a:pt x="992" y="1129"/>
                      <a:pt x="992" y="1129"/>
                      <a:pt x="992" y="1129"/>
                    </a:cubicBezTo>
                    <a:cubicBezTo>
                      <a:pt x="993" y="1131"/>
                      <a:pt x="993" y="1131"/>
                      <a:pt x="993" y="1131"/>
                    </a:cubicBezTo>
                    <a:cubicBezTo>
                      <a:pt x="994" y="1131"/>
                      <a:pt x="994" y="1131"/>
                      <a:pt x="994" y="1131"/>
                    </a:cubicBezTo>
                    <a:cubicBezTo>
                      <a:pt x="998" y="1126"/>
                      <a:pt x="998" y="1126"/>
                      <a:pt x="998" y="1126"/>
                    </a:cubicBezTo>
                    <a:cubicBezTo>
                      <a:pt x="1000" y="1126"/>
                      <a:pt x="1000" y="1126"/>
                      <a:pt x="1000" y="1126"/>
                    </a:cubicBezTo>
                    <a:cubicBezTo>
                      <a:pt x="999" y="1128"/>
                      <a:pt x="999" y="1128"/>
                      <a:pt x="999" y="1128"/>
                    </a:cubicBezTo>
                    <a:cubicBezTo>
                      <a:pt x="997" y="1132"/>
                      <a:pt x="997" y="1132"/>
                      <a:pt x="997" y="1132"/>
                    </a:cubicBezTo>
                    <a:cubicBezTo>
                      <a:pt x="998" y="1132"/>
                      <a:pt x="998" y="1132"/>
                      <a:pt x="998" y="1132"/>
                    </a:cubicBezTo>
                    <a:cubicBezTo>
                      <a:pt x="1000" y="1131"/>
                      <a:pt x="1000" y="1131"/>
                      <a:pt x="1000" y="1131"/>
                    </a:cubicBezTo>
                    <a:cubicBezTo>
                      <a:pt x="1003" y="1131"/>
                      <a:pt x="1003" y="1131"/>
                      <a:pt x="1003" y="1131"/>
                    </a:cubicBezTo>
                    <a:cubicBezTo>
                      <a:pt x="1005" y="1127"/>
                      <a:pt x="1005" y="1127"/>
                      <a:pt x="1005" y="1127"/>
                    </a:cubicBezTo>
                    <a:close/>
                    <a:moveTo>
                      <a:pt x="1002" y="1127"/>
                    </a:moveTo>
                    <a:cubicBezTo>
                      <a:pt x="1002" y="1125"/>
                      <a:pt x="1002" y="1125"/>
                      <a:pt x="1002" y="1125"/>
                    </a:cubicBezTo>
                    <a:cubicBezTo>
                      <a:pt x="1007" y="1120"/>
                      <a:pt x="1007" y="1120"/>
                      <a:pt x="1007" y="1120"/>
                    </a:cubicBezTo>
                    <a:cubicBezTo>
                      <a:pt x="1005" y="1124"/>
                      <a:pt x="1005" y="1124"/>
                      <a:pt x="1005" y="1124"/>
                    </a:cubicBezTo>
                    <a:cubicBezTo>
                      <a:pt x="1003" y="1127"/>
                      <a:pt x="1003" y="1127"/>
                      <a:pt x="1003" y="1127"/>
                    </a:cubicBezTo>
                    <a:cubicBezTo>
                      <a:pt x="1002" y="1127"/>
                      <a:pt x="1002" y="1127"/>
                      <a:pt x="1002" y="1127"/>
                    </a:cubicBezTo>
                    <a:close/>
                    <a:moveTo>
                      <a:pt x="1261" y="1381"/>
                    </a:moveTo>
                    <a:cubicBezTo>
                      <a:pt x="1259" y="1381"/>
                      <a:pt x="1259" y="1381"/>
                      <a:pt x="1259" y="1381"/>
                    </a:cubicBezTo>
                    <a:cubicBezTo>
                      <a:pt x="1259" y="1380"/>
                      <a:pt x="1259" y="1380"/>
                      <a:pt x="1259" y="1380"/>
                    </a:cubicBezTo>
                    <a:cubicBezTo>
                      <a:pt x="1260" y="1379"/>
                      <a:pt x="1260" y="1379"/>
                      <a:pt x="1260" y="1379"/>
                    </a:cubicBezTo>
                    <a:cubicBezTo>
                      <a:pt x="1261" y="1377"/>
                      <a:pt x="1261" y="1377"/>
                      <a:pt x="1261" y="1377"/>
                    </a:cubicBezTo>
                    <a:cubicBezTo>
                      <a:pt x="1264" y="1375"/>
                      <a:pt x="1264" y="1375"/>
                      <a:pt x="1264" y="1375"/>
                    </a:cubicBezTo>
                    <a:cubicBezTo>
                      <a:pt x="1264" y="1375"/>
                      <a:pt x="1264" y="1375"/>
                      <a:pt x="1264" y="1375"/>
                    </a:cubicBezTo>
                    <a:cubicBezTo>
                      <a:pt x="1264" y="1374"/>
                      <a:pt x="1264" y="1374"/>
                      <a:pt x="1264" y="1374"/>
                    </a:cubicBezTo>
                    <a:cubicBezTo>
                      <a:pt x="1263" y="1374"/>
                      <a:pt x="1263" y="1374"/>
                      <a:pt x="1263" y="1374"/>
                    </a:cubicBezTo>
                    <a:cubicBezTo>
                      <a:pt x="1260" y="1377"/>
                      <a:pt x="1260" y="1377"/>
                      <a:pt x="1260" y="1377"/>
                    </a:cubicBezTo>
                    <a:cubicBezTo>
                      <a:pt x="1258" y="1380"/>
                      <a:pt x="1258" y="1380"/>
                      <a:pt x="1258" y="1380"/>
                    </a:cubicBezTo>
                    <a:cubicBezTo>
                      <a:pt x="1259" y="1382"/>
                      <a:pt x="1259" y="1382"/>
                      <a:pt x="1259" y="1382"/>
                    </a:cubicBezTo>
                    <a:cubicBezTo>
                      <a:pt x="1260" y="1382"/>
                      <a:pt x="1260" y="1382"/>
                      <a:pt x="1260" y="1382"/>
                    </a:cubicBezTo>
                    <a:cubicBezTo>
                      <a:pt x="1261" y="1381"/>
                      <a:pt x="1261" y="1381"/>
                      <a:pt x="1261" y="1381"/>
                    </a:cubicBezTo>
                    <a:close/>
                    <a:moveTo>
                      <a:pt x="1356" y="1398"/>
                    </a:moveTo>
                    <a:cubicBezTo>
                      <a:pt x="1355" y="1396"/>
                      <a:pt x="1355" y="1396"/>
                      <a:pt x="1355" y="1396"/>
                    </a:cubicBezTo>
                    <a:cubicBezTo>
                      <a:pt x="1356" y="1393"/>
                      <a:pt x="1356" y="1393"/>
                      <a:pt x="1356" y="1393"/>
                    </a:cubicBezTo>
                    <a:cubicBezTo>
                      <a:pt x="1355" y="1390"/>
                      <a:pt x="1355" y="1390"/>
                      <a:pt x="1355" y="1390"/>
                    </a:cubicBezTo>
                    <a:cubicBezTo>
                      <a:pt x="1354" y="1388"/>
                      <a:pt x="1354" y="1388"/>
                      <a:pt x="1354" y="1388"/>
                    </a:cubicBezTo>
                    <a:cubicBezTo>
                      <a:pt x="1355" y="1386"/>
                      <a:pt x="1355" y="1386"/>
                      <a:pt x="1355" y="1386"/>
                    </a:cubicBezTo>
                    <a:cubicBezTo>
                      <a:pt x="1356" y="1385"/>
                      <a:pt x="1356" y="1385"/>
                      <a:pt x="1356" y="1385"/>
                    </a:cubicBezTo>
                    <a:cubicBezTo>
                      <a:pt x="1356" y="1386"/>
                      <a:pt x="1356" y="1386"/>
                      <a:pt x="1356" y="1386"/>
                    </a:cubicBezTo>
                    <a:cubicBezTo>
                      <a:pt x="1358" y="1388"/>
                      <a:pt x="1358" y="1388"/>
                      <a:pt x="1358" y="1388"/>
                    </a:cubicBezTo>
                    <a:cubicBezTo>
                      <a:pt x="1357" y="1390"/>
                      <a:pt x="1357" y="1390"/>
                      <a:pt x="1357" y="1390"/>
                    </a:cubicBezTo>
                    <a:cubicBezTo>
                      <a:pt x="1356" y="1391"/>
                      <a:pt x="1356" y="1391"/>
                      <a:pt x="1356" y="1391"/>
                    </a:cubicBezTo>
                    <a:cubicBezTo>
                      <a:pt x="1356" y="1393"/>
                      <a:pt x="1356" y="1393"/>
                      <a:pt x="1356" y="1393"/>
                    </a:cubicBezTo>
                    <a:cubicBezTo>
                      <a:pt x="1357" y="1394"/>
                      <a:pt x="1357" y="1394"/>
                      <a:pt x="1357" y="1394"/>
                    </a:cubicBezTo>
                    <a:cubicBezTo>
                      <a:pt x="1358" y="1395"/>
                      <a:pt x="1358" y="1395"/>
                      <a:pt x="1358" y="1395"/>
                    </a:cubicBezTo>
                    <a:cubicBezTo>
                      <a:pt x="1357" y="1398"/>
                      <a:pt x="1357" y="1398"/>
                      <a:pt x="1357" y="1398"/>
                    </a:cubicBezTo>
                    <a:cubicBezTo>
                      <a:pt x="1356" y="1398"/>
                      <a:pt x="1356" y="1398"/>
                      <a:pt x="1356" y="1398"/>
                    </a:cubicBezTo>
                    <a:close/>
                    <a:moveTo>
                      <a:pt x="1359" y="1400"/>
                    </a:moveTo>
                    <a:cubicBezTo>
                      <a:pt x="1360" y="1398"/>
                      <a:pt x="1360" y="1398"/>
                      <a:pt x="1360" y="1398"/>
                    </a:cubicBezTo>
                    <a:cubicBezTo>
                      <a:pt x="1361" y="1397"/>
                      <a:pt x="1361" y="1397"/>
                      <a:pt x="1361" y="1397"/>
                    </a:cubicBezTo>
                    <a:cubicBezTo>
                      <a:pt x="1361" y="1399"/>
                      <a:pt x="1361" y="1399"/>
                      <a:pt x="1361" y="1399"/>
                    </a:cubicBezTo>
                    <a:cubicBezTo>
                      <a:pt x="1360" y="1401"/>
                      <a:pt x="1360" y="1401"/>
                      <a:pt x="1360" y="1401"/>
                    </a:cubicBezTo>
                    <a:cubicBezTo>
                      <a:pt x="1359" y="1400"/>
                      <a:pt x="1359" y="1400"/>
                      <a:pt x="1359" y="1400"/>
                    </a:cubicBezTo>
                    <a:close/>
                    <a:moveTo>
                      <a:pt x="1397" y="1269"/>
                    </a:moveTo>
                    <a:cubicBezTo>
                      <a:pt x="1398" y="1266"/>
                      <a:pt x="1398" y="1266"/>
                      <a:pt x="1398" y="1266"/>
                    </a:cubicBezTo>
                    <a:cubicBezTo>
                      <a:pt x="1400" y="1264"/>
                      <a:pt x="1400" y="1264"/>
                      <a:pt x="1400" y="1264"/>
                    </a:cubicBezTo>
                    <a:cubicBezTo>
                      <a:pt x="1400" y="1266"/>
                      <a:pt x="1400" y="1266"/>
                      <a:pt x="1400" y="1266"/>
                    </a:cubicBezTo>
                    <a:cubicBezTo>
                      <a:pt x="1399" y="1269"/>
                      <a:pt x="1399" y="1269"/>
                      <a:pt x="1399" y="1269"/>
                    </a:cubicBezTo>
                    <a:cubicBezTo>
                      <a:pt x="1397" y="1270"/>
                      <a:pt x="1397" y="1270"/>
                      <a:pt x="1397" y="1270"/>
                    </a:cubicBezTo>
                    <a:cubicBezTo>
                      <a:pt x="1397" y="1270"/>
                      <a:pt x="1396" y="1269"/>
                      <a:pt x="1397" y="1269"/>
                    </a:cubicBezTo>
                    <a:close/>
                    <a:moveTo>
                      <a:pt x="1385" y="1296"/>
                    </a:moveTo>
                    <a:cubicBezTo>
                      <a:pt x="1385" y="1298"/>
                      <a:pt x="1385" y="1298"/>
                      <a:pt x="1385" y="1298"/>
                    </a:cubicBezTo>
                    <a:cubicBezTo>
                      <a:pt x="1386" y="1299"/>
                      <a:pt x="1386" y="1299"/>
                      <a:pt x="1386" y="1299"/>
                    </a:cubicBezTo>
                    <a:cubicBezTo>
                      <a:pt x="1387" y="1298"/>
                      <a:pt x="1387" y="1298"/>
                      <a:pt x="1387" y="1298"/>
                    </a:cubicBezTo>
                    <a:cubicBezTo>
                      <a:pt x="1388" y="1298"/>
                      <a:pt x="1388" y="1298"/>
                      <a:pt x="1388" y="1298"/>
                    </a:cubicBezTo>
                    <a:cubicBezTo>
                      <a:pt x="1388" y="1296"/>
                      <a:pt x="1388" y="1296"/>
                      <a:pt x="1388" y="1296"/>
                    </a:cubicBezTo>
                    <a:cubicBezTo>
                      <a:pt x="1387" y="1296"/>
                      <a:pt x="1387" y="1296"/>
                      <a:pt x="1387" y="1296"/>
                    </a:cubicBezTo>
                    <a:cubicBezTo>
                      <a:pt x="1385" y="1296"/>
                      <a:pt x="1385" y="1296"/>
                      <a:pt x="1385" y="1296"/>
                    </a:cubicBezTo>
                    <a:close/>
                    <a:moveTo>
                      <a:pt x="1405" y="1328"/>
                    </a:moveTo>
                    <a:cubicBezTo>
                      <a:pt x="1404" y="1324"/>
                      <a:pt x="1404" y="1324"/>
                      <a:pt x="1404" y="1324"/>
                    </a:cubicBezTo>
                    <a:cubicBezTo>
                      <a:pt x="1404" y="1323"/>
                      <a:pt x="1404" y="1323"/>
                      <a:pt x="1404" y="1323"/>
                    </a:cubicBezTo>
                    <a:cubicBezTo>
                      <a:pt x="1405" y="1323"/>
                      <a:pt x="1405" y="1323"/>
                      <a:pt x="1405" y="1323"/>
                    </a:cubicBezTo>
                    <a:cubicBezTo>
                      <a:pt x="1406" y="1324"/>
                      <a:pt x="1406" y="1324"/>
                      <a:pt x="1406" y="1324"/>
                    </a:cubicBezTo>
                    <a:cubicBezTo>
                      <a:pt x="1407" y="1323"/>
                      <a:pt x="1407" y="1323"/>
                      <a:pt x="1407" y="1323"/>
                    </a:cubicBezTo>
                    <a:cubicBezTo>
                      <a:pt x="1409" y="1325"/>
                      <a:pt x="1409" y="1325"/>
                      <a:pt x="1409" y="1325"/>
                    </a:cubicBezTo>
                    <a:cubicBezTo>
                      <a:pt x="1409" y="1326"/>
                      <a:pt x="1409" y="1326"/>
                      <a:pt x="1409" y="1326"/>
                    </a:cubicBezTo>
                    <a:cubicBezTo>
                      <a:pt x="1407" y="1328"/>
                      <a:pt x="1407" y="1328"/>
                      <a:pt x="1407" y="1328"/>
                    </a:cubicBezTo>
                    <a:cubicBezTo>
                      <a:pt x="1405" y="1328"/>
                      <a:pt x="1405" y="1328"/>
                      <a:pt x="1405" y="1328"/>
                    </a:cubicBezTo>
                    <a:close/>
                    <a:moveTo>
                      <a:pt x="1396" y="1327"/>
                    </a:moveTo>
                    <a:cubicBezTo>
                      <a:pt x="1398" y="1328"/>
                      <a:pt x="1398" y="1328"/>
                      <a:pt x="1398" y="1328"/>
                    </a:cubicBezTo>
                    <a:cubicBezTo>
                      <a:pt x="1399" y="1327"/>
                      <a:pt x="1399" y="1327"/>
                      <a:pt x="1399" y="1327"/>
                    </a:cubicBezTo>
                    <a:cubicBezTo>
                      <a:pt x="1400" y="1325"/>
                      <a:pt x="1400" y="1325"/>
                      <a:pt x="1400" y="1325"/>
                    </a:cubicBezTo>
                    <a:cubicBezTo>
                      <a:pt x="1400" y="1324"/>
                      <a:pt x="1400" y="1324"/>
                      <a:pt x="1400" y="1324"/>
                    </a:cubicBezTo>
                    <a:cubicBezTo>
                      <a:pt x="1400" y="1324"/>
                      <a:pt x="1400" y="1324"/>
                      <a:pt x="1400" y="1324"/>
                    </a:cubicBezTo>
                    <a:cubicBezTo>
                      <a:pt x="1401" y="1326"/>
                      <a:pt x="1401" y="1326"/>
                      <a:pt x="1401" y="1326"/>
                    </a:cubicBezTo>
                    <a:cubicBezTo>
                      <a:pt x="1399" y="1329"/>
                      <a:pt x="1399" y="1329"/>
                      <a:pt x="1399" y="1329"/>
                    </a:cubicBezTo>
                    <a:cubicBezTo>
                      <a:pt x="1396" y="1330"/>
                      <a:pt x="1396" y="1330"/>
                      <a:pt x="1396" y="1330"/>
                    </a:cubicBezTo>
                    <a:cubicBezTo>
                      <a:pt x="1395" y="1329"/>
                      <a:pt x="1395" y="1329"/>
                      <a:pt x="1395" y="1329"/>
                    </a:cubicBezTo>
                    <a:cubicBezTo>
                      <a:pt x="1395" y="1328"/>
                      <a:pt x="1395" y="1328"/>
                      <a:pt x="1395" y="1328"/>
                    </a:cubicBezTo>
                    <a:cubicBezTo>
                      <a:pt x="1396" y="1327"/>
                      <a:pt x="1396" y="1327"/>
                      <a:pt x="1396" y="1327"/>
                    </a:cubicBezTo>
                    <a:close/>
                    <a:moveTo>
                      <a:pt x="1365" y="1375"/>
                    </a:moveTo>
                    <a:cubicBezTo>
                      <a:pt x="1366" y="1373"/>
                      <a:pt x="1366" y="1373"/>
                      <a:pt x="1366" y="1373"/>
                    </a:cubicBezTo>
                    <a:cubicBezTo>
                      <a:pt x="1367" y="1374"/>
                      <a:pt x="1367" y="1374"/>
                      <a:pt x="1367" y="1374"/>
                    </a:cubicBezTo>
                    <a:cubicBezTo>
                      <a:pt x="1366" y="1375"/>
                      <a:pt x="1366" y="1375"/>
                      <a:pt x="1366" y="1375"/>
                    </a:cubicBezTo>
                    <a:cubicBezTo>
                      <a:pt x="1365" y="1375"/>
                      <a:pt x="1365" y="1375"/>
                      <a:pt x="1365" y="1375"/>
                    </a:cubicBezTo>
                    <a:close/>
                    <a:moveTo>
                      <a:pt x="1405" y="1364"/>
                    </a:moveTo>
                    <a:cubicBezTo>
                      <a:pt x="1405" y="1365"/>
                      <a:pt x="1405" y="1365"/>
                      <a:pt x="1405" y="1365"/>
                    </a:cubicBezTo>
                    <a:cubicBezTo>
                      <a:pt x="1407" y="1366"/>
                      <a:pt x="1407" y="1366"/>
                      <a:pt x="1407" y="1366"/>
                    </a:cubicBezTo>
                    <a:cubicBezTo>
                      <a:pt x="1410" y="1366"/>
                      <a:pt x="1410" y="1366"/>
                      <a:pt x="1410" y="1366"/>
                    </a:cubicBezTo>
                    <a:cubicBezTo>
                      <a:pt x="1411" y="1365"/>
                      <a:pt x="1411" y="1365"/>
                      <a:pt x="1411" y="1365"/>
                    </a:cubicBezTo>
                    <a:cubicBezTo>
                      <a:pt x="1407" y="1363"/>
                      <a:pt x="1407" y="1363"/>
                      <a:pt x="1407" y="1363"/>
                    </a:cubicBezTo>
                    <a:cubicBezTo>
                      <a:pt x="1405" y="1364"/>
                      <a:pt x="1405" y="1364"/>
                      <a:pt x="1405" y="1364"/>
                    </a:cubicBezTo>
                    <a:close/>
                    <a:moveTo>
                      <a:pt x="1362" y="1293"/>
                    </a:moveTo>
                    <a:cubicBezTo>
                      <a:pt x="1361" y="1295"/>
                      <a:pt x="1361" y="1295"/>
                      <a:pt x="1361" y="1295"/>
                    </a:cubicBezTo>
                    <a:cubicBezTo>
                      <a:pt x="1357" y="1297"/>
                      <a:pt x="1357" y="1297"/>
                      <a:pt x="1357" y="1297"/>
                    </a:cubicBezTo>
                    <a:cubicBezTo>
                      <a:pt x="1355" y="1299"/>
                      <a:pt x="1355" y="1299"/>
                      <a:pt x="1355" y="1299"/>
                    </a:cubicBezTo>
                    <a:cubicBezTo>
                      <a:pt x="1356" y="1299"/>
                      <a:pt x="1356" y="1299"/>
                      <a:pt x="1356" y="1299"/>
                    </a:cubicBezTo>
                    <a:cubicBezTo>
                      <a:pt x="1355" y="1301"/>
                      <a:pt x="1355" y="1301"/>
                      <a:pt x="1355" y="1301"/>
                    </a:cubicBezTo>
                    <a:cubicBezTo>
                      <a:pt x="1353" y="1301"/>
                      <a:pt x="1353" y="1301"/>
                      <a:pt x="1353" y="1301"/>
                    </a:cubicBezTo>
                    <a:cubicBezTo>
                      <a:pt x="1353" y="1303"/>
                      <a:pt x="1353" y="1303"/>
                      <a:pt x="1353" y="1303"/>
                    </a:cubicBezTo>
                    <a:cubicBezTo>
                      <a:pt x="1355" y="1304"/>
                      <a:pt x="1355" y="1304"/>
                      <a:pt x="1355" y="1304"/>
                    </a:cubicBezTo>
                    <a:cubicBezTo>
                      <a:pt x="1353" y="1305"/>
                      <a:pt x="1353" y="1305"/>
                      <a:pt x="1353" y="1305"/>
                    </a:cubicBezTo>
                    <a:cubicBezTo>
                      <a:pt x="1351" y="1305"/>
                      <a:pt x="1351" y="1305"/>
                      <a:pt x="1351" y="1305"/>
                    </a:cubicBezTo>
                    <a:cubicBezTo>
                      <a:pt x="1349" y="1308"/>
                      <a:pt x="1349" y="1308"/>
                      <a:pt x="1349" y="1308"/>
                    </a:cubicBezTo>
                    <a:cubicBezTo>
                      <a:pt x="1349" y="1309"/>
                      <a:pt x="1349" y="1309"/>
                      <a:pt x="1349" y="1309"/>
                    </a:cubicBezTo>
                    <a:cubicBezTo>
                      <a:pt x="1350" y="1309"/>
                      <a:pt x="1350" y="1309"/>
                      <a:pt x="1350" y="1309"/>
                    </a:cubicBezTo>
                    <a:cubicBezTo>
                      <a:pt x="1351" y="1310"/>
                      <a:pt x="1351" y="1310"/>
                      <a:pt x="1351" y="1310"/>
                    </a:cubicBezTo>
                    <a:cubicBezTo>
                      <a:pt x="1349" y="1311"/>
                      <a:pt x="1349" y="1311"/>
                      <a:pt x="1349" y="1311"/>
                    </a:cubicBezTo>
                    <a:cubicBezTo>
                      <a:pt x="1347" y="1311"/>
                      <a:pt x="1347" y="1311"/>
                      <a:pt x="1347" y="1311"/>
                    </a:cubicBezTo>
                    <a:cubicBezTo>
                      <a:pt x="1345" y="1314"/>
                      <a:pt x="1345" y="1314"/>
                      <a:pt x="1345" y="1314"/>
                    </a:cubicBezTo>
                    <a:cubicBezTo>
                      <a:pt x="1344" y="1316"/>
                      <a:pt x="1344" y="1316"/>
                      <a:pt x="1344" y="1316"/>
                    </a:cubicBezTo>
                    <a:cubicBezTo>
                      <a:pt x="1340" y="1322"/>
                      <a:pt x="1340" y="1322"/>
                      <a:pt x="1340" y="1322"/>
                    </a:cubicBezTo>
                    <a:cubicBezTo>
                      <a:pt x="1340" y="1324"/>
                      <a:pt x="1340" y="1324"/>
                      <a:pt x="1340" y="1324"/>
                    </a:cubicBezTo>
                    <a:cubicBezTo>
                      <a:pt x="1342" y="1325"/>
                      <a:pt x="1342" y="1325"/>
                      <a:pt x="1342" y="1325"/>
                    </a:cubicBezTo>
                    <a:cubicBezTo>
                      <a:pt x="1342" y="1327"/>
                      <a:pt x="1342" y="1327"/>
                      <a:pt x="1342" y="1327"/>
                    </a:cubicBezTo>
                    <a:cubicBezTo>
                      <a:pt x="1340" y="1328"/>
                      <a:pt x="1340" y="1328"/>
                      <a:pt x="1340" y="1328"/>
                    </a:cubicBezTo>
                    <a:cubicBezTo>
                      <a:pt x="1340" y="1326"/>
                      <a:pt x="1340" y="1326"/>
                      <a:pt x="1340" y="1326"/>
                    </a:cubicBezTo>
                    <a:cubicBezTo>
                      <a:pt x="1338" y="1327"/>
                      <a:pt x="1338" y="1327"/>
                      <a:pt x="1338" y="1327"/>
                    </a:cubicBezTo>
                    <a:cubicBezTo>
                      <a:pt x="1335" y="1328"/>
                      <a:pt x="1335" y="1328"/>
                      <a:pt x="1335" y="1328"/>
                    </a:cubicBezTo>
                    <a:cubicBezTo>
                      <a:pt x="1334" y="1331"/>
                      <a:pt x="1334" y="1331"/>
                      <a:pt x="1334" y="1331"/>
                    </a:cubicBezTo>
                    <a:cubicBezTo>
                      <a:pt x="1334" y="1332"/>
                      <a:pt x="1334" y="1332"/>
                      <a:pt x="1334" y="1332"/>
                    </a:cubicBezTo>
                    <a:cubicBezTo>
                      <a:pt x="1336" y="1333"/>
                      <a:pt x="1336" y="1333"/>
                      <a:pt x="1336" y="1333"/>
                    </a:cubicBezTo>
                    <a:cubicBezTo>
                      <a:pt x="1337" y="1334"/>
                      <a:pt x="1337" y="1334"/>
                      <a:pt x="1337" y="1334"/>
                    </a:cubicBezTo>
                    <a:cubicBezTo>
                      <a:pt x="1336" y="1335"/>
                      <a:pt x="1336" y="1335"/>
                      <a:pt x="1336" y="1335"/>
                    </a:cubicBezTo>
                    <a:cubicBezTo>
                      <a:pt x="1336" y="1337"/>
                      <a:pt x="1336" y="1337"/>
                      <a:pt x="1336" y="1337"/>
                    </a:cubicBezTo>
                    <a:cubicBezTo>
                      <a:pt x="1333" y="1338"/>
                      <a:pt x="1333" y="1338"/>
                      <a:pt x="1333" y="1338"/>
                    </a:cubicBezTo>
                    <a:cubicBezTo>
                      <a:pt x="1329" y="1337"/>
                      <a:pt x="1329" y="1337"/>
                      <a:pt x="1329" y="1337"/>
                    </a:cubicBezTo>
                    <a:cubicBezTo>
                      <a:pt x="1328" y="1338"/>
                      <a:pt x="1328" y="1338"/>
                      <a:pt x="1328" y="1338"/>
                    </a:cubicBezTo>
                    <a:cubicBezTo>
                      <a:pt x="1328" y="1340"/>
                      <a:pt x="1328" y="1340"/>
                      <a:pt x="1328" y="1340"/>
                    </a:cubicBezTo>
                    <a:cubicBezTo>
                      <a:pt x="1326" y="1342"/>
                      <a:pt x="1326" y="1342"/>
                      <a:pt x="1326" y="1342"/>
                    </a:cubicBezTo>
                    <a:cubicBezTo>
                      <a:pt x="1324" y="1346"/>
                      <a:pt x="1324" y="1346"/>
                      <a:pt x="1324" y="1346"/>
                    </a:cubicBezTo>
                    <a:cubicBezTo>
                      <a:pt x="1322" y="1348"/>
                      <a:pt x="1322" y="1348"/>
                      <a:pt x="1322" y="1348"/>
                    </a:cubicBezTo>
                    <a:cubicBezTo>
                      <a:pt x="1321" y="1348"/>
                      <a:pt x="1321" y="1348"/>
                      <a:pt x="1321" y="1348"/>
                    </a:cubicBezTo>
                    <a:cubicBezTo>
                      <a:pt x="1321" y="1346"/>
                      <a:pt x="1321" y="1346"/>
                      <a:pt x="1321" y="1346"/>
                    </a:cubicBezTo>
                    <a:cubicBezTo>
                      <a:pt x="1320" y="1348"/>
                      <a:pt x="1320" y="1348"/>
                      <a:pt x="1320" y="1348"/>
                    </a:cubicBezTo>
                    <a:cubicBezTo>
                      <a:pt x="1318" y="1346"/>
                      <a:pt x="1318" y="1346"/>
                      <a:pt x="1318" y="1346"/>
                    </a:cubicBezTo>
                    <a:cubicBezTo>
                      <a:pt x="1319" y="1344"/>
                      <a:pt x="1319" y="1344"/>
                      <a:pt x="1319" y="1344"/>
                    </a:cubicBezTo>
                    <a:cubicBezTo>
                      <a:pt x="1321" y="1343"/>
                      <a:pt x="1321" y="1343"/>
                      <a:pt x="1321" y="1343"/>
                    </a:cubicBezTo>
                    <a:cubicBezTo>
                      <a:pt x="1322" y="1341"/>
                      <a:pt x="1322" y="1341"/>
                      <a:pt x="1322" y="1341"/>
                    </a:cubicBezTo>
                    <a:cubicBezTo>
                      <a:pt x="1321" y="1342"/>
                      <a:pt x="1321" y="1342"/>
                      <a:pt x="1321" y="1342"/>
                    </a:cubicBezTo>
                    <a:cubicBezTo>
                      <a:pt x="1318" y="1344"/>
                      <a:pt x="1318" y="1344"/>
                      <a:pt x="1318" y="1344"/>
                    </a:cubicBezTo>
                    <a:cubicBezTo>
                      <a:pt x="1314" y="1346"/>
                      <a:pt x="1314" y="1346"/>
                      <a:pt x="1314" y="1346"/>
                    </a:cubicBezTo>
                    <a:cubicBezTo>
                      <a:pt x="1312" y="1351"/>
                      <a:pt x="1312" y="1351"/>
                      <a:pt x="1312" y="1351"/>
                    </a:cubicBezTo>
                    <a:cubicBezTo>
                      <a:pt x="1313" y="1351"/>
                      <a:pt x="1313" y="1351"/>
                      <a:pt x="1313" y="1351"/>
                    </a:cubicBezTo>
                    <a:cubicBezTo>
                      <a:pt x="1316" y="1350"/>
                      <a:pt x="1316" y="1350"/>
                      <a:pt x="1316" y="1350"/>
                    </a:cubicBezTo>
                    <a:cubicBezTo>
                      <a:pt x="1321" y="1349"/>
                      <a:pt x="1321" y="1349"/>
                      <a:pt x="1321" y="1349"/>
                    </a:cubicBezTo>
                    <a:cubicBezTo>
                      <a:pt x="1325" y="1349"/>
                      <a:pt x="1325" y="1349"/>
                      <a:pt x="1325" y="1349"/>
                    </a:cubicBezTo>
                    <a:cubicBezTo>
                      <a:pt x="1323" y="1352"/>
                      <a:pt x="1323" y="1352"/>
                      <a:pt x="1323" y="1352"/>
                    </a:cubicBezTo>
                    <a:cubicBezTo>
                      <a:pt x="1319" y="1356"/>
                      <a:pt x="1319" y="1356"/>
                      <a:pt x="1319" y="1356"/>
                    </a:cubicBezTo>
                    <a:cubicBezTo>
                      <a:pt x="1317" y="1360"/>
                      <a:pt x="1317" y="1360"/>
                      <a:pt x="1317" y="1360"/>
                    </a:cubicBezTo>
                    <a:cubicBezTo>
                      <a:pt x="1313" y="1362"/>
                      <a:pt x="1313" y="1362"/>
                      <a:pt x="1313" y="1362"/>
                    </a:cubicBezTo>
                    <a:cubicBezTo>
                      <a:pt x="1309" y="1365"/>
                      <a:pt x="1309" y="1365"/>
                      <a:pt x="1309" y="1365"/>
                    </a:cubicBezTo>
                    <a:cubicBezTo>
                      <a:pt x="1307" y="1365"/>
                      <a:pt x="1307" y="1365"/>
                      <a:pt x="1307" y="1365"/>
                    </a:cubicBezTo>
                    <a:cubicBezTo>
                      <a:pt x="1306" y="1367"/>
                      <a:pt x="1306" y="1367"/>
                      <a:pt x="1306" y="1367"/>
                    </a:cubicBezTo>
                    <a:cubicBezTo>
                      <a:pt x="1307" y="1369"/>
                      <a:pt x="1307" y="1369"/>
                      <a:pt x="1307" y="1369"/>
                    </a:cubicBezTo>
                    <a:cubicBezTo>
                      <a:pt x="1306" y="1372"/>
                      <a:pt x="1306" y="1372"/>
                      <a:pt x="1306" y="1372"/>
                    </a:cubicBezTo>
                    <a:cubicBezTo>
                      <a:pt x="1307" y="1373"/>
                      <a:pt x="1307" y="1373"/>
                      <a:pt x="1307" y="1373"/>
                    </a:cubicBezTo>
                    <a:cubicBezTo>
                      <a:pt x="1309" y="1373"/>
                      <a:pt x="1309" y="1373"/>
                      <a:pt x="1309" y="1373"/>
                    </a:cubicBezTo>
                    <a:cubicBezTo>
                      <a:pt x="1313" y="1374"/>
                      <a:pt x="1313" y="1374"/>
                      <a:pt x="1313" y="1374"/>
                    </a:cubicBezTo>
                    <a:cubicBezTo>
                      <a:pt x="1317" y="1374"/>
                      <a:pt x="1317" y="1374"/>
                      <a:pt x="1317" y="1374"/>
                    </a:cubicBezTo>
                    <a:cubicBezTo>
                      <a:pt x="1319" y="1372"/>
                      <a:pt x="1319" y="1372"/>
                      <a:pt x="1319" y="1372"/>
                    </a:cubicBezTo>
                    <a:cubicBezTo>
                      <a:pt x="1323" y="1371"/>
                      <a:pt x="1323" y="1371"/>
                      <a:pt x="1323" y="1371"/>
                    </a:cubicBezTo>
                    <a:cubicBezTo>
                      <a:pt x="1325" y="1369"/>
                      <a:pt x="1325" y="1369"/>
                      <a:pt x="1325" y="1369"/>
                    </a:cubicBezTo>
                    <a:cubicBezTo>
                      <a:pt x="1326" y="1368"/>
                      <a:pt x="1326" y="1368"/>
                      <a:pt x="1326" y="1368"/>
                    </a:cubicBezTo>
                    <a:cubicBezTo>
                      <a:pt x="1326" y="1369"/>
                      <a:pt x="1326" y="1369"/>
                      <a:pt x="1326" y="1369"/>
                    </a:cubicBezTo>
                    <a:cubicBezTo>
                      <a:pt x="1324" y="1372"/>
                      <a:pt x="1324" y="1372"/>
                      <a:pt x="1324" y="1372"/>
                    </a:cubicBezTo>
                    <a:cubicBezTo>
                      <a:pt x="1328" y="1372"/>
                      <a:pt x="1328" y="1372"/>
                      <a:pt x="1328" y="1372"/>
                    </a:cubicBezTo>
                    <a:cubicBezTo>
                      <a:pt x="1331" y="1371"/>
                      <a:pt x="1331" y="1371"/>
                      <a:pt x="1331" y="1371"/>
                    </a:cubicBezTo>
                    <a:cubicBezTo>
                      <a:pt x="1333" y="1373"/>
                      <a:pt x="1333" y="1373"/>
                      <a:pt x="1333" y="1373"/>
                    </a:cubicBezTo>
                    <a:cubicBezTo>
                      <a:pt x="1338" y="1373"/>
                      <a:pt x="1338" y="1373"/>
                      <a:pt x="1338" y="1373"/>
                    </a:cubicBezTo>
                    <a:cubicBezTo>
                      <a:pt x="1341" y="1372"/>
                      <a:pt x="1341" y="1372"/>
                      <a:pt x="1341" y="1372"/>
                    </a:cubicBezTo>
                    <a:cubicBezTo>
                      <a:pt x="1341" y="1374"/>
                      <a:pt x="1341" y="1374"/>
                      <a:pt x="1341" y="1374"/>
                    </a:cubicBezTo>
                    <a:cubicBezTo>
                      <a:pt x="1343" y="1375"/>
                      <a:pt x="1343" y="1375"/>
                      <a:pt x="1343" y="1375"/>
                    </a:cubicBezTo>
                    <a:cubicBezTo>
                      <a:pt x="1346" y="1375"/>
                      <a:pt x="1346" y="1375"/>
                      <a:pt x="1346" y="1375"/>
                    </a:cubicBezTo>
                    <a:cubicBezTo>
                      <a:pt x="1347" y="1375"/>
                      <a:pt x="1347" y="1375"/>
                      <a:pt x="1347" y="1375"/>
                    </a:cubicBezTo>
                    <a:cubicBezTo>
                      <a:pt x="1348" y="1376"/>
                      <a:pt x="1348" y="1376"/>
                      <a:pt x="1348" y="1376"/>
                    </a:cubicBezTo>
                    <a:cubicBezTo>
                      <a:pt x="1350" y="1376"/>
                      <a:pt x="1350" y="1376"/>
                      <a:pt x="1350" y="1376"/>
                    </a:cubicBezTo>
                    <a:cubicBezTo>
                      <a:pt x="1352" y="1375"/>
                      <a:pt x="1352" y="1375"/>
                      <a:pt x="1352" y="1375"/>
                    </a:cubicBezTo>
                    <a:cubicBezTo>
                      <a:pt x="1352" y="1374"/>
                      <a:pt x="1352" y="1374"/>
                      <a:pt x="1352" y="1374"/>
                    </a:cubicBezTo>
                    <a:cubicBezTo>
                      <a:pt x="1355" y="1374"/>
                      <a:pt x="1355" y="1374"/>
                      <a:pt x="1355" y="1374"/>
                    </a:cubicBezTo>
                    <a:cubicBezTo>
                      <a:pt x="1356" y="1375"/>
                      <a:pt x="1356" y="1375"/>
                      <a:pt x="1356" y="1375"/>
                    </a:cubicBezTo>
                    <a:cubicBezTo>
                      <a:pt x="1357" y="1375"/>
                      <a:pt x="1357" y="1375"/>
                      <a:pt x="1357" y="1375"/>
                    </a:cubicBezTo>
                    <a:cubicBezTo>
                      <a:pt x="1358" y="1373"/>
                      <a:pt x="1358" y="1373"/>
                      <a:pt x="1358" y="1373"/>
                    </a:cubicBezTo>
                    <a:cubicBezTo>
                      <a:pt x="1360" y="1373"/>
                      <a:pt x="1360" y="1373"/>
                      <a:pt x="1360" y="1373"/>
                    </a:cubicBezTo>
                    <a:cubicBezTo>
                      <a:pt x="1362" y="1374"/>
                      <a:pt x="1362" y="1374"/>
                      <a:pt x="1362" y="1374"/>
                    </a:cubicBezTo>
                    <a:cubicBezTo>
                      <a:pt x="1363" y="1373"/>
                      <a:pt x="1363" y="1373"/>
                      <a:pt x="1363" y="1373"/>
                    </a:cubicBezTo>
                    <a:cubicBezTo>
                      <a:pt x="1362" y="1371"/>
                      <a:pt x="1362" y="1371"/>
                      <a:pt x="1362" y="1371"/>
                    </a:cubicBezTo>
                    <a:cubicBezTo>
                      <a:pt x="1363" y="1368"/>
                      <a:pt x="1363" y="1368"/>
                      <a:pt x="1363" y="1368"/>
                    </a:cubicBezTo>
                    <a:cubicBezTo>
                      <a:pt x="1364" y="1369"/>
                      <a:pt x="1364" y="1369"/>
                      <a:pt x="1364" y="1369"/>
                    </a:cubicBezTo>
                    <a:cubicBezTo>
                      <a:pt x="1365" y="1367"/>
                      <a:pt x="1365" y="1367"/>
                      <a:pt x="1365" y="1367"/>
                    </a:cubicBezTo>
                    <a:cubicBezTo>
                      <a:pt x="1366" y="1367"/>
                      <a:pt x="1366" y="1367"/>
                      <a:pt x="1366" y="1367"/>
                    </a:cubicBezTo>
                    <a:cubicBezTo>
                      <a:pt x="1365" y="1368"/>
                      <a:pt x="1365" y="1368"/>
                      <a:pt x="1365" y="1368"/>
                    </a:cubicBezTo>
                    <a:cubicBezTo>
                      <a:pt x="1364" y="1371"/>
                      <a:pt x="1364" y="1371"/>
                      <a:pt x="1364" y="1371"/>
                    </a:cubicBezTo>
                    <a:cubicBezTo>
                      <a:pt x="1365" y="1372"/>
                      <a:pt x="1365" y="1372"/>
                      <a:pt x="1365" y="1372"/>
                    </a:cubicBezTo>
                    <a:cubicBezTo>
                      <a:pt x="1366" y="1370"/>
                      <a:pt x="1366" y="1370"/>
                      <a:pt x="1366" y="1370"/>
                    </a:cubicBezTo>
                    <a:cubicBezTo>
                      <a:pt x="1368" y="1368"/>
                      <a:pt x="1368" y="1368"/>
                      <a:pt x="1368" y="1368"/>
                    </a:cubicBezTo>
                    <a:cubicBezTo>
                      <a:pt x="1369" y="1368"/>
                      <a:pt x="1369" y="1368"/>
                      <a:pt x="1369" y="1368"/>
                    </a:cubicBezTo>
                    <a:cubicBezTo>
                      <a:pt x="1369" y="1370"/>
                      <a:pt x="1369" y="1370"/>
                      <a:pt x="1369" y="1370"/>
                    </a:cubicBezTo>
                    <a:cubicBezTo>
                      <a:pt x="1368" y="1372"/>
                      <a:pt x="1368" y="1372"/>
                      <a:pt x="1368" y="1372"/>
                    </a:cubicBezTo>
                    <a:cubicBezTo>
                      <a:pt x="1368" y="1374"/>
                      <a:pt x="1368" y="1374"/>
                      <a:pt x="1368" y="1374"/>
                    </a:cubicBezTo>
                    <a:cubicBezTo>
                      <a:pt x="1370" y="1373"/>
                      <a:pt x="1370" y="1373"/>
                      <a:pt x="1370" y="1373"/>
                    </a:cubicBezTo>
                    <a:cubicBezTo>
                      <a:pt x="1371" y="1373"/>
                      <a:pt x="1371" y="1373"/>
                      <a:pt x="1371" y="1373"/>
                    </a:cubicBezTo>
                    <a:cubicBezTo>
                      <a:pt x="1371" y="1373"/>
                      <a:pt x="1371" y="1373"/>
                      <a:pt x="1371" y="1373"/>
                    </a:cubicBezTo>
                    <a:cubicBezTo>
                      <a:pt x="1367" y="1376"/>
                      <a:pt x="1367" y="1376"/>
                      <a:pt x="1367" y="1376"/>
                    </a:cubicBezTo>
                    <a:cubicBezTo>
                      <a:pt x="1364" y="1377"/>
                      <a:pt x="1364" y="1377"/>
                      <a:pt x="1364" y="1377"/>
                    </a:cubicBezTo>
                    <a:cubicBezTo>
                      <a:pt x="1365" y="1378"/>
                      <a:pt x="1365" y="1378"/>
                      <a:pt x="1365" y="1378"/>
                    </a:cubicBezTo>
                    <a:cubicBezTo>
                      <a:pt x="1366" y="1377"/>
                      <a:pt x="1366" y="1377"/>
                      <a:pt x="1366" y="1377"/>
                    </a:cubicBezTo>
                    <a:cubicBezTo>
                      <a:pt x="1368" y="1377"/>
                      <a:pt x="1368" y="1377"/>
                      <a:pt x="1368" y="1377"/>
                    </a:cubicBezTo>
                    <a:cubicBezTo>
                      <a:pt x="1368" y="1378"/>
                      <a:pt x="1368" y="1378"/>
                      <a:pt x="1368" y="1378"/>
                    </a:cubicBezTo>
                    <a:cubicBezTo>
                      <a:pt x="1371" y="1378"/>
                      <a:pt x="1371" y="1378"/>
                      <a:pt x="1371" y="1378"/>
                    </a:cubicBezTo>
                    <a:cubicBezTo>
                      <a:pt x="1371" y="1379"/>
                      <a:pt x="1371" y="1379"/>
                      <a:pt x="1371" y="1379"/>
                    </a:cubicBezTo>
                    <a:cubicBezTo>
                      <a:pt x="1373" y="1378"/>
                      <a:pt x="1373" y="1378"/>
                      <a:pt x="1373" y="1378"/>
                    </a:cubicBezTo>
                    <a:cubicBezTo>
                      <a:pt x="1375" y="1378"/>
                      <a:pt x="1375" y="1378"/>
                      <a:pt x="1375" y="1378"/>
                    </a:cubicBezTo>
                    <a:cubicBezTo>
                      <a:pt x="1376" y="1375"/>
                      <a:pt x="1376" y="1375"/>
                      <a:pt x="1376" y="1375"/>
                    </a:cubicBezTo>
                    <a:cubicBezTo>
                      <a:pt x="1376" y="1373"/>
                      <a:pt x="1376" y="1373"/>
                      <a:pt x="1376" y="1373"/>
                    </a:cubicBezTo>
                    <a:cubicBezTo>
                      <a:pt x="1377" y="1374"/>
                      <a:pt x="1377" y="1374"/>
                      <a:pt x="1377" y="1374"/>
                    </a:cubicBezTo>
                    <a:cubicBezTo>
                      <a:pt x="1380" y="1375"/>
                      <a:pt x="1380" y="1375"/>
                      <a:pt x="1380" y="1375"/>
                    </a:cubicBezTo>
                    <a:cubicBezTo>
                      <a:pt x="1382" y="1376"/>
                      <a:pt x="1382" y="1376"/>
                      <a:pt x="1382" y="1376"/>
                    </a:cubicBezTo>
                    <a:cubicBezTo>
                      <a:pt x="1384" y="1376"/>
                      <a:pt x="1384" y="1376"/>
                      <a:pt x="1384" y="1376"/>
                    </a:cubicBezTo>
                    <a:cubicBezTo>
                      <a:pt x="1386" y="1375"/>
                      <a:pt x="1386" y="1375"/>
                      <a:pt x="1386" y="1375"/>
                    </a:cubicBezTo>
                    <a:cubicBezTo>
                      <a:pt x="1388" y="1375"/>
                      <a:pt x="1388" y="1375"/>
                      <a:pt x="1388" y="1375"/>
                    </a:cubicBezTo>
                    <a:cubicBezTo>
                      <a:pt x="1386" y="1377"/>
                      <a:pt x="1386" y="1377"/>
                      <a:pt x="1386" y="1377"/>
                    </a:cubicBezTo>
                    <a:cubicBezTo>
                      <a:pt x="1386" y="1378"/>
                      <a:pt x="1386" y="1378"/>
                      <a:pt x="1386" y="1378"/>
                    </a:cubicBezTo>
                    <a:cubicBezTo>
                      <a:pt x="1383" y="1379"/>
                      <a:pt x="1383" y="1379"/>
                      <a:pt x="1383" y="1379"/>
                    </a:cubicBezTo>
                    <a:cubicBezTo>
                      <a:pt x="1380" y="1379"/>
                      <a:pt x="1380" y="1379"/>
                      <a:pt x="1380" y="1379"/>
                    </a:cubicBezTo>
                    <a:cubicBezTo>
                      <a:pt x="1378" y="1381"/>
                      <a:pt x="1378" y="1381"/>
                      <a:pt x="1378" y="1381"/>
                    </a:cubicBezTo>
                    <a:cubicBezTo>
                      <a:pt x="1378" y="1383"/>
                      <a:pt x="1378" y="1383"/>
                      <a:pt x="1378" y="1383"/>
                    </a:cubicBezTo>
                    <a:cubicBezTo>
                      <a:pt x="1377" y="1383"/>
                      <a:pt x="1377" y="1383"/>
                      <a:pt x="1377" y="1383"/>
                    </a:cubicBezTo>
                    <a:cubicBezTo>
                      <a:pt x="1376" y="1385"/>
                      <a:pt x="1376" y="1385"/>
                      <a:pt x="1376" y="1385"/>
                    </a:cubicBezTo>
                    <a:cubicBezTo>
                      <a:pt x="1374" y="1385"/>
                      <a:pt x="1374" y="1385"/>
                      <a:pt x="1374" y="1385"/>
                    </a:cubicBezTo>
                    <a:cubicBezTo>
                      <a:pt x="1372" y="1385"/>
                      <a:pt x="1372" y="1385"/>
                      <a:pt x="1372" y="1385"/>
                    </a:cubicBezTo>
                    <a:cubicBezTo>
                      <a:pt x="1371" y="1386"/>
                      <a:pt x="1371" y="1386"/>
                      <a:pt x="1371" y="1386"/>
                    </a:cubicBezTo>
                    <a:cubicBezTo>
                      <a:pt x="1370" y="1388"/>
                      <a:pt x="1370" y="1388"/>
                      <a:pt x="1370" y="1388"/>
                    </a:cubicBezTo>
                    <a:cubicBezTo>
                      <a:pt x="1367" y="1388"/>
                      <a:pt x="1367" y="1388"/>
                      <a:pt x="1367" y="1388"/>
                    </a:cubicBezTo>
                    <a:cubicBezTo>
                      <a:pt x="1364" y="1390"/>
                      <a:pt x="1364" y="1390"/>
                      <a:pt x="1364" y="1390"/>
                    </a:cubicBezTo>
                    <a:cubicBezTo>
                      <a:pt x="1364" y="1392"/>
                      <a:pt x="1364" y="1392"/>
                      <a:pt x="1364" y="1392"/>
                    </a:cubicBezTo>
                    <a:cubicBezTo>
                      <a:pt x="1364" y="1393"/>
                      <a:pt x="1364" y="1393"/>
                      <a:pt x="1364" y="1393"/>
                    </a:cubicBezTo>
                    <a:cubicBezTo>
                      <a:pt x="1365" y="1394"/>
                      <a:pt x="1365" y="1394"/>
                      <a:pt x="1365" y="1394"/>
                    </a:cubicBezTo>
                    <a:cubicBezTo>
                      <a:pt x="1368" y="1394"/>
                      <a:pt x="1368" y="1394"/>
                      <a:pt x="1368" y="1394"/>
                    </a:cubicBezTo>
                    <a:cubicBezTo>
                      <a:pt x="1369" y="1393"/>
                      <a:pt x="1369" y="1393"/>
                      <a:pt x="1369" y="1393"/>
                    </a:cubicBezTo>
                    <a:cubicBezTo>
                      <a:pt x="1370" y="1392"/>
                      <a:pt x="1370" y="1392"/>
                      <a:pt x="1370" y="1392"/>
                    </a:cubicBezTo>
                    <a:cubicBezTo>
                      <a:pt x="1371" y="1392"/>
                      <a:pt x="1371" y="1392"/>
                      <a:pt x="1371" y="1392"/>
                    </a:cubicBezTo>
                    <a:cubicBezTo>
                      <a:pt x="1371" y="1394"/>
                      <a:pt x="1371" y="1394"/>
                      <a:pt x="1371" y="1394"/>
                    </a:cubicBezTo>
                    <a:cubicBezTo>
                      <a:pt x="1373" y="1395"/>
                      <a:pt x="1373" y="1395"/>
                      <a:pt x="1373" y="1395"/>
                    </a:cubicBezTo>
                    <a:cubicBezTo>
                      <a:pt x="1375" y="1394"/>
                      <a:pt x="1375" y="1394"/>
                      <a:pt x="1375" y="1394"/>
                    </a:cubicBezTo>
                    <a:cubicBezTo>
                      <a:pt x="1377" y="1392"/>
                      <a:pt x="1377" y="1392"/>
                      <a:pt x="1377" y="1392"/>
                    </a:cubicBezTo>
                    <a:cubicBezTo>
                      <a:pt x="1378" y="1390"/>
                      <a:pt x="1378" y="1390"/>
                      <a:pt x="1378" y="1390"/>
                    </a:cubicBezTo>
                    <a:cubicBezTo>
                      <a:pt x="1379" y="1390"/>
                      <a:pt x="1379" y="1390"/>
                      <a:pt x="1379" y="1390"/>
                    </a:cubicBezTo>
                    <a:cubicBezTo>
                      <a:pt x="1380" y="1388"/>
                      <a:pt x="1380" y="1388"/>
                      <a:pt x="1380" y="1388"/>
                    </a:cubicBezTo>
                    <a:cubicBezTo>
                      <a:pt x="1380" y="1385"/>
                      <a:pt x="1380" y="1385"/>
                      <a:pt x="1380" y="1385"/>
                    </a:cubicBezTo>
                    <a:cubicBezTo>
                      <a:pt x="1382" y="1385"/>
                      <a:pt x="1382" y="1385"/>
                      <a:pt x="1382" y="1385"/>
                    </a:cubicBezTo>
                    <a:cubicBezTo>
                      <a:pt x="1385" y="1381"/>
                      <a:pt x="1385" y="1381"/>
                      <a:pt x="1385" y="1381"/>
                    </a:cubicBezTo>
                    <a:cubicBezTo>
                      <a:pt x="1387" y="1380"/>
                      <a:pt x="1387" y="1380"/>
                      <a:pt x="1387" y="1380"/>
                    </a:cubicBezTo>
                    <a:cubicBezTo>
                      <a:pt x="1388" y="1382"/>
                      <a:pt x="1388" y="1382"/>
                      <a:pt x="1388" y="1382"/>
                    </a:cubicBezTo>
                    <a:cubicBezTo>
                      <a:pt x="1391" y="1381"/>
                      <a:pt x="1391" y="1381"/>
                      <a:pt x="1391" y="1381"/>
                    </a:cubicBezTo>
                    <a:cubicBezTo>
                      <a:pt x="1388" y="1383"/>
                      <a:pt x="1388" y="1383"/>
                      <a:pt x="1388" y="1383"/>
                    </a:cubicBezTo>
                    <a:cubicBezTo>
                      <a:pt x="1391" y="1382"/>
                      <a:pt x="1391" y="1382"/>
                      <a:pt x="1391" y="1382"/>
                    </a:cubicBezTo>
                    <a:cubicBezTo>
                      <a:pt x="1392" y="1381"/>
                      <a:pt x="1392" y="1381"/>
                      <a:pt x="1392" y="1381"/>
                    </a:cubicBezTo>
                    <a:cubicBezTo>
                      <a:pt x="1394" y="1377"/>
                      <a:pt x="1394" y="1377"/>
                      <a:pt x="1394" y="1377"/>
                    </a:cubicBezTo>
                    <a:cubicBezTo>
                      <a:pt x="1395" y="1374"/>
                      <a:pt x="1395" y="1374"/>
                      <a:pt x="1395" y="1374"/>
                    </a:cubicBezTo>
                    <a:cubicBezTo>
                      <a:pt x="1395" y="1370"/>
                      <a:pt x="1395" y="1370"/>
                      <a:pt x="1395" y="1370"/>
                    </a:cubicBezTo>
                    <a:cubicBezTo>
                      <a:pt x="1396" y="1369"/>
                      <a:pt x="1396" y="1369"/>
                      <a:pt x="1396" y="1369"/>
                    </a:cubicBezTo>
                    <a:cubicBezTo>
                      <a:pt x="1397" y="1369"/>
                      <a:pt x="1397" y="1369"/>
                      <a:pt x="1397" y="1369"/>
                    </a:cubicBezTo>
                    <a:cubicBezTo>
                      <a:pt x="1399" y="1370"/>
                      <a:pt x="1399" y="1370"/>
                      <a:pt x="1399" y="1370"/>
                    </a:cubicBezTo>
                    <a:cubicBezTo>
                      <a:pt x="1400" y="1371"/>
                      <a:pt x="1400" y="1371"/>
                      <a:pt x="1400" y="1371"/>
                    </a:cubicBezTo>
                    <a:cubicBezTo>
                      <a:pt x="1401" y="1372"/>
                      <a:pt x="1401" y="1372"/>
                      <a:pt x="1401" y="1372"/>
                    </a:cubicBezTo>
                    <a:cubicBezTo>
                      <a:pt x="1402" y="1375"/>
                      <a:pt x="1402" y="1375"/>
                      <a:pt x="1402" y="1375"/>
                    </a:cubicBezTo>
                    <a:cubicBezTo>
                      <a:pt x="1401" y="1378"/>
                      <a:pt x="1401" y="1378"/>
                      <a:pt x="1401" y="1378"/>
                    </a:cubicBezTo>
                    <a:cubicBezTo>
                      <a:pt x="1401" y="1380"/>
                      <a:pt x="1401" y="1380"/>
                      <a:pt x="1401" y="1380"/>
                    </a:cubicBezTo>
                    <a:cubicBezTo>
                      <a:pt x="1402" y="1382"/>
                      <a:pt x="1402" y="1382"/>
                      <a:pt x="1402" y="1382"/>
                    </a:cubicBezTo>
                    <a:cubicBezTo>
                      <a:pt x="1401" y="1384"/>
                      <a:pt x="1401" y="1384"/>
                      <a:pt x="1401" y="1384"/>
                    </a:cubicBezTo>
                    <a:cubicBezTo>
                      <a:pt x="1398" y="1386"/>
                      <a:pt x="1398" y="1386"/>
                      <a:pt x="1398" y="1386"/>
                    </a:cubicBezTo>
                    <a:cubicBezTo>
                      <a:pt x="1396" y="1391"/>
                      <a:pt x="1396" y="1391"/>
                      <a:pt x="1396" y="1391"/>
                    </a:cubicBezTo>
                    <a:cubicBezTo>
                      <a:pt x="1396" y="1394"/>
                      <a:pt x="1396" y="1394"/>
                      <a:pt x="1396" y="1394"/>
                    </a:cubicBezTo>
                    <a:cubicBezTo>
                      <a:pt x="1395" y="1395"/>
                      <a:pt x="1395" y="1395"/>
                      <a:pt x="1395" y="1395"/>
                    </a:cubicBezTo>
                    <a:cubicBezTo>
                      <a:pt x="1395" y="1397"/>
                      <a:pt x="1395" y="1397"/>
                      <a:pt x="1395" y="1397"/>
                    </a:cubicBezTo>
                    <a:cubicBezTo>
                      <a:pt x="1396" y="1398"/>
                      <a:pt x="1396" y="1398"/>
                      <a:pt x="1396" y="1398"/>
                    </a:cubicBezTo>
                    <a:cubicBezTo>
                      <a:pt x="1399" y="1396"/>
                      <a:pt x="1399" y="1396"/>
                      <a:pt x="1399" y="1396"/>
                    </a:cubicBezTo>
                    <a:cubicBezTo>
                      <a:pt x="1402" y="1391"/>
                      <a:pt x="1402" y="1391"/>
                      <a:pt x="1402" y="1391"/>
                    </a:cubicBezTo>
                    <a:cubicBezTo>
                      <a:pt x="1403" y="1391"/>
                      <a:pt x="1403" y="1391"/>
                      <a:pt x="1403" y="1391"/>
                    </a:cubicBezTo>
                    <a:cubicBezTo>
                      <a:pt x="1406" y="1388"/>
                      <a:pt x="1406" y="1388"/>
                      <a:pt x="1406" y="1388"/>
                    </a:cubicBezTo>
                    <a:cubicBezTo>
                      <a:pt x="1407" y="1386"/>
                      <a:pt x="1407" y="1386"/>
                      <a:pt x="1407" y="1386"/>
                    </a:cubicBezTo>
                    <a:cubicBezTo>
                      <a:pt x="1408" y="1387"/>
                      <a:pt x="1408" y="1387"/>
                      <a:pt x="1408" y="1387"/>
                    </a:cubicBezTo>
                    <a:cubicBezTo>
                      <a:pt x="1411" y="1387"/>
                      <a:pt x="1411" y="1387"/>
                      <a:pt x="1411" y="1387"/>
                    </a:cubicBezTo>
                    <a:cubicBezTo>
                      <a:pt x="1411" y="1388"/>
                      <a:pt x="1411" y="1388"/>
                      <a:pt x="1411" y="1388"/>
                    </a:cubicBezTo>
                    <a:cubicBezTo>
                      <a:pt x="1409" y="1389"/>
                      <a:pt x="1409" y="1389"/>
                      <a:pt x="1409" y="1389"/>
                    </a:cubicBezTo>
                    <a:cubicBezTo>
                      <a:pt x="1405" y="1392"/>
                      <a:pt x="1405" y="1392"/>
                      <a:pt x="1405" y="1392"/>
                    </a:cubicBezTo>
                    <a:cubicBezTo>
                      <a:pt x="1405" y="1394"/>
                      <a:pt x="1405" y="1394"/>
                      <a:pt x="1405" y="1394"/>
                    </a:cubicBezTo>
                    <a:cubicBezTo>
                      <a:pt x="1405" y="1397"/>
                      <a:pt x="1405" y="1397"/>
                      <a:pt x="1405" y="1397"/>
                    </a:cubicBezTo>
                    <a:cubicBezTo>
                      <a:pt x="1405" y="1398"/>
                      <a:pt x="1405" y="1398"/>
                      <a:pt x="1405" y="1398"/>
                    </a:cubicBezTo>
                    <a:cubicBezTo>
                      <a:pt x="1406" y="1401"/>
                      <a:pt x="1406" y="1401"/>
                      <a:pt x="1406" y="1401"/>
                    </a:cubicBezTo>
                    <a:cubicBezTo>
                      <a:pt x="1408" y="1403"/>
                      <a:pt x="1408" y="1403"/>
                      <a:pt x="1408" y="1403"/>
                    </a:cubicBezTo>
                    <a:cubicBezTo>
                      <a:pt x="1408" y="1401"/>
                      <a:pt x="1408" y="1401"/>
                      <a:pt x="1408" y="1401"/>
                    </a:cubicBezTo>
                    <a:cubicBezTo>
                      <a:pt x="1410" y="1399"/>
                      <a:pt x="1410" y="1399"/>
                      <a:pt x="1410" y="1399"/>
                    </a:cubicBezTo>
                    <a:cubicBezTo>
                      <a:pt x="1410" y="1399"/>
                      <a:pt x="1411" y="1399"/>
                      <a:pt x="1412" y="1399"/>
                    </a:cubicBezTo>
                    <a:cubicBezTo>
                      <a:pt x="1413" y="1401"/>
                      <a:pt x="1413" y="1401"/>
                      <a:pt x="1413" y="1401"/>
                    </a:cubicBezTo>
                    <a:cubicBezTo>
                      <a:pt x="1415" y="1402"/>
                      <a:pt x="1415" y="1402"/>
                      <a:pt x="1415" y="1402"/>
                    </a:cubicBezTo>
                    <a:cubicBezTo>
                      <a:pt x="1418" y="1400"/>
                      <a:pt x="1418" y="1400"/>
                      <a:pt x="1418" y="1400"/>
                    </a:cubicBezTo>
                    <a:cubicBezTo>
                      <a:pt x="1418" y="1398"/>
                      <a:pt x="1418" y="1398"/>
                      <a:pt x="1418" y="1398"/>
                    </a:cubicBezTo>
                    <a:cubicBezTo>
                      <a:pt x="1419" y="1398"/>
                      <a:pt x="1419" y="1398"/>
                      <a:pt x="1419" y="1398"/>
                    </a:cubicBezTo>
                    <a:cubicBezTo>
                      <a:pt x="1419" y="1396"/>
                      <a:pt x="1419" y="1396"/>
                      <a:pt x="1419" y="1396"/>
                    </a:cubicBezTo>
                    <a:cubicBezTo>
                      <a:pt x="1419" y="1394"/>
                      <a:pt x="1419" y="1394"/>
                      <a:pt x="1419" y="1394"/>
                    </a:cubicBezTo>
                    <a:cubicBezTo>
                      <a:pt x="1420" y="1394"/>
                      <a:pt x="1420" y="1394"/>
                      <a:pt x="1420" y="1394"/>
                    </a:cubicBezTo>
                    <a:cubicBezTo>
                      <a:pt x="1421" y="1392"/>
                      <a:pt x="1421" y="1392"/>
                      <a:pt x="1421" y="1392"/>
                    </a:cubicBezTo>
                    <a:cubicBezTo>
                      <a:pt x="1420" y="1390"/>
                      <a:pt x="1420" y="1390"/>
                      <a:pt x="1420" y="1390"/>
                    </a:cubicBezTo>
                    <a:cubicBezTo>
                      <a:pt x="1420" y="1387"/>
                      <a:pt x="1420" y="1387"/>
                      <a:pt x="1420" y="1387"/>
                    </a:cubicBezTo>
                    <a:cubicBezTo>
                      <a:pt x="1424" y="1383"/>
                      <a:pt x="1424" y="1383"/>
                      <a:pt x="1424" y="1383"/>
                    </a:cubicBezTo>
                    <a:cubicBezTo>
                      <a:pt x="1426" y="1380"/>
                      <a:pt x="1426" y="1380"/>
                      <a:pt x="1426" y="1380"/>
                    </a:cubicBezTo>
                    <a:cubicBezTo>
                      <a:pt x="1425" y="1375"/>
                      <a:pt x="1425" y="1375"/>
                      <a:pt x="1425" y="1375"/>
                    </a:cubicBezTo>
                    <a:cubicBezTo>
                      <a:pt x="1425" y="1373"/>
                      <a:pt x="1425" y="1373"/>
                      <a:pt x="1425" y="1373"/>
                    </a:cubicBezTo>
                    <a:cubicBezTo>
                      <a:pt x="1424" y="1373"/>
                      <a:pt x="1424" y="1373"/>
                      <a:pt x="1424" y="1373"/>
                    </a:cubicBezTo>
                    <a:cubicBezTo>
                      <a:pt x="1424" y="1374"/>
                      <a:pt x="1424" y="1374"/>
                      <a:pt x="1424" y="1374"/>
                    </a:cubicBezTo>
                    <a:cubicBezTo>
                      <a:pt x="1423" y="1377"/>
                      <a:pt x="1423" y="1377"/>
                      <a:pt x="1423" y="1377"/>
                    </a:cubicBezTo>
                    <a:cubicBezTo>
                      <a:pt x="1420" y="1379"/>
                      <a:pt x="1420" y="1379"/>
                      <a:pt x="1420" y="1379"/>
                    </a:cubicBezTo>
                    <a:cubicBezTo>
                      <a:pt x="1418" y="1381"/>
                      <a:pt x="1418" y="1381"/>
                      <a:pt x="1418" y="1381"/>
                    </a:cubicBezTo>
                    <a:cubicBezTo>
                      <a:pt x="1416" y="1382"/>
                      <a:pt x="1416" y="1382"/>
                      <a:pt x="1416" y="1382"/>
                    </a:cubicBezTo>
                    <a:cubicBezTo>
                      <a:pt x="1415" y="1379"/>
                      <a:pt x="1415" y="1379"/>
                      <a:pt x="1415" y="1379"/>
                    </a:cubicBezTo>
                    <a:cubicBezTo>
                      <a:pt x="1415" y="1377"/>
                      <a:pt x="1415" y="1377"/>
                      <a:pt x="1415" y="1377"/>
                    </a:cubicBezTo>
                    <a:cubicBezTo>
                      <a:pt x="1415" y="1374"/>
                      <a:pt x="1415" y="1374"/>
                      <a:pt x="1415" y="1374"/>
                    </a:cubicBezTo>
                    <a:cubicBezTo>
                      <a:pt x="1419" y="1371"/>
                      <a:pt x="1419" y="1371"/>
                      <a:pt x="1419" y="1371"/>
                    </a:cubicBezTo>
                    <a:cubicBezTo>
                      <a:pt x="1419" y="1370"/>
                      <a:pt x="1419" y="1370"/>
                      <a:pt x="1419" y="1370"/>
                    </a:cubicBezTo>
                    <a:cubicBezTo>
                      <a:pt x="1422" y="1368"/>
                      <a:pt x="1422" y="1368"/>
                      <a:pt x="1422" y="1368"/>
                    </a:cubicBezTo>
                    <a:cubicBezTo>
                      <a:pt x="1423" y="1368"/>
                      <a:pt x="1423" y="1368"/>
                      <a:pt x="1423" y="1368"/>
                    </a:cubicBezTo>
                    <a:cubicBezTo>
                      <a:pt x="1425" y="1367"/>
                      <a:pt x="1425" y="1367"/>
                      <a:pt x="1425" y="1367"/>
                    </a:cubicBezTo>
                    <a:cubicBezTo>
                      <a:pt x="1424" y="1365"/>
                      <a:pt x="1424" y="1365"/>
                      <a:pt x="1424" y="1365"/>
                    </a:cubicBezTo>
                    <a:cubicBezTo>
                      <a:pt x="1422" y="1366"/>
                      <a:pt x="1422" y="1366"/>
                      <a:pt x="1422" y="1366"/>
                    </a:cubicBezTo>
                    <a:cubicBezTo>
                      <a:pt x="1421" y="1367"/>
                      <a:pt x="1421" y="1367"/>
                      <a:pt x="1421" y="1367"/>
                    </a:cubicBezTo>
                    <a:cubicBezTo>
                      <a:pt x="1418" y="1368"/>
                      <a:pt x="1418" y="1368"/>
                      <a:pt x="1418" y="1368"/>
                    </a:cubicBezTo>
                    <a:cubicBezTo>
                      <a:pt x="1416" y="1368"/>
                      <a:pt x="1416" y="1368"/>
                      <a:pt x="1416" y="1368"/>
                    </a:cubicBezTo>
                    <a:cubicBezTo>
                      <a:pt x="1414" y="1370"/>
                      <a:pt x="1414" y="1370"/>
                      <a:pt x="1414" y="1370"/>
                    </a:cubicBezTo>
                    <a:cubicBezTo>
                      <a:pt x="1413" y="1372"/>
                      <a:pt x="1413" y="1372"/>
                      <a:pt x="1413" y="1372"/>
                    </a:cubicBezTo>
                    <a:cubicBezTo>
                      <a:pt x="1410" y="1375"/>
                      <a:pt x="1410" y="1375"/>
                      <a:pt x="1410" y="1375"/>
                    </a:cubicBezTo>
                    <a:cubicBezTo>
                      <a:pt x="1409" y="1376"/>
                      <a:pt x="1409" y="1376"/>
                      <a:pt x="1409" y="1376"/>
                    </a:cubicBezTo>
                    <a:cubicBezTo>
                      <a:pt x="1408" y="1378"/>
                      <a:pt x="1408" y="1378"/>
                      <a:pt x="1408" y="1378"/>
                    </a:cubicBezTo>
                    <a:cubicBezTo>
                      <a:pt x="1405" y="1375"/>
                      <a:pt x="1405" y="1375"/>
                      <a:pt x="1405" y="1375"/>
                    </a:cubicBezTo>
                    <a:cubicBezTo>
                      <a:pt x="1405" y="1374"/>
                      <a:pt x="1405" y="1374"/>
                      <a:pt x="1405" y="1374"/>
                    </a:cubicBezTo>
                    <a:cubicBezTo>
                      <a:pt x="1404" y="1371"/>
                      <a:pt x="1404" y="1371"/>
                      <a:pt x="1404" y="1371"/>
                    </a:cubicBezTo>
                    <a:cubicBezTo>
                      <a:pt x="1403" y="1369"/>
                      <a:pt x="1403" y="1369"/>
                      <a:pt x="1403" y="1369"/>
                    </a:cubicBezTo>
                    <a:cubicBezTo>
                      <a:pt x="1405" y="1371"/>
                      <a:pt x="1405" y="1371"/>
                      <a:pt x="1405" y="1371"/>
                    </a:cubicBezTo>
                    <a:cubicBezTo>
                      <a:pt x="1406" y="1371"/>
                      <a:pt x="1406" y="1371"/>
                      <a:pt x="1406" y="1371"/>
                    </a:cubicBezTo>
                    <a:cubicBezTo>
                      <a:pt x="1408" y="1368"/>
                      <a:pt x="1408" y="1368"/>
                      <a:pt x="1408" y="1368"/>
                    </a:cubicBezTo>
                    <a:cubicBezTo>
                      <a:pt x="1407" y="1368"/>
                      <a:pt x="1407" y="1368"/>
                      <a:pt x="1407" y="1368"/>
                    </a:cubicBezTo>
                    <a:cubicBezTo>
                      <a:pt x="1404" y="1367"/>
                      <a:pt x="1404" y="1367"/>
                      <a:pt x="1404" y="1367"/>
                    </a:cubicBezTo>
                    <a:cubicBezTo>
                      <a:pt x="1406" y="1367"/>
                      <a:pt x="1406" y="1367"/>
                      <a:pt x="1406" y="1367"/>
                    </a:cubicBezTo>
                    <a:cubicBezTo>
                      <a:pt x="1409" y="1367"/>
                      <a:pt x="1409" y="1367"/>
                      <a:pt x="1409" y="1367"/>
                    </a:cubicBezTo>
                    <a:cubicBezTo>
                      <a:pt x="1406" y="1366"/>
                      <a:pt x="1406" y="1366"/>
                      <a:pt x="1406" y="1366"/>
                    </a:cubicBezTo>
                    <a:cubicBezTo>
                      <a:pt x="1404" y="1365"/>
                      <a:pt x="1404" y="1365"/>
                      <a:pt x="1404" y="1365"/>
                    </a:cubicBezTo>
                    <a:cubicBezTo>
                      <a:pt x="1404" y="1363"/>
                      <a:pt x="1404" y="1363"/>
                      <a:pt x="1404" y="1363"/>
                    </a:cubicBezTo>
                    <a:cubicBezTo>
                      <a:pt x="1405" y="1362"/>
                      <a:pt x="1405" y="1362"/>
                      <a:pt x="1405" y="1362"/>
                    </a:cubicBezTo>
                    <a:cubicBezTo>
                      <a:pt x="1409" y="1363"/>
                      <a:pt x="1409" y="1363"/>
                      <a:pt x="1409" y="1363"/>
                    </a:cubicBezTo>
                    <a:cubicBezTo>
                      <a:pt x="1410" y="1362"/>
                      <a:pt x="1410" y="1362"/>
                      <a:pt x="1410" y="1362"/>
                    </a:cubicBezTo>
                    <a:cubicBezTo>
                      <a:pt x="1412" y="1360"/>
                      <a:pt x="1412" y="1360"/>
                      <a:pt x="1412" y="1360"/>
                    </a:cubicBezTo>
                    <a:cubicBezTo>
                      <a:pt x="1414" y="1356"/>
                      <a:pt x="1414" y="1356"/>
                      <a:pt x="1414" y="1356"/>
                    </a:cubicBezTo>
                    <a:cubicBezTo>
                      <a:pt x="1417" y="1356"/>
                      <a:pt x="1417" y="1356"/>
                      <a:pt x="1417" y="1356"/>
                    </a:cubicBezTo>
                    <a:cubicBezTo>
                      <a:pt x="1418" y="1357"/>
                      <a:pt x="1418" y="1357"/>
                      <a:pt x="1418" y="1357"/>
                    </a:cubicBezTo>
                    <a:cubicBezTo>
                      <a:pt x="1421" y="1355"/>
                      <a:pt x="1421" y="1355"/>
                      <a:pt x="1421" y="1355"/>
                    </a:cubicBezTo>
                    <a:cubicBezTo>
                      <a:pt x="1422" y="1353"/>
                      <a:pt x="1422" y="1353"/>
                      <a:pt x="1422" y="1353"/>
                    </a:cubicBezTo>
                    <a:cubicBezTo>
                      <a:pt x="1422" y="1350"/>
                      <a:pt x="1422" y="1350"/>
                      <a:pt x="1422" y="1350"/>
                    </a:cubicBezTo>
                    <a:cubicBezTo>
                      <a:pt x="1421" y="1349"/>
                      <a:pt x="1421" y="1349"/>
                      <a:pt x="1421" y="1349"/>
                    </a:cubicBezTo>
                    <a:cubicBezTo>
                      <a:pt x="1419" y="1351"/>
                      <a:pt x="1419" y="1351"/>
                      <a:pt x="1419" y="1351"/>
                    </a:cubicBezTo>
                    <a:cubicBezTo>
                      <a:pt x="1417" y="1352"/>
                      <a:pt x="1417" y="1352"/>
                      <a:pt x="1417" y="1352"/>
                    </a:cubicBezTo>
                    <a:cubicBezTo>
                      <a:pt x="1416" y="1351"/>
                      <a:pt x="1416" y="1351"/>
                      <a:pt x="1416" y="1351"/>
                    </a:cubicBezTo>
                    <a:cubicBezTo>
                      <a:pt x="1414" y="1351"/>
                      <a:pt x="1414" y="1351"/>
                      <a:pt x="1414" y="1351"/>
                    </a:cubicBezTo>
                    <a:cubicBezTo>
                      <a:pt x="1414" y="1352"/>
                      <a:pt x="1414" y="1352"/>
                      <a:pt x="1414" y="1352"/>
                    </a:cubicBezTo>
                    <a:cubicBezTo>
                      <a:pt x="1414" y="1355"/>
                      <a:pt x="1414" y="1355"/>
                      <a:pt x="1414" y="1355"/>
                    </a:cubicBezTo>
                    <a:cubicBezTo>
                      <a:pt x="1412" y="1355"/>
                      <a:pt x="1412" y="1355"/>
                      <a:pt x="1412" y="1355"/>
                    </a:cubicBezTo>
                    <a:cubicBezTo>
                      <a:pt x="1411" y="1355"/>
                      <a:pt x="1411" y="1355"/>
                      <a:pt x="1411" y="1355"/>
                    </a:cubicBezTo>
                    <a:cubicBezTo>
                      <a:pt x="1408" y="1357"/>
                      <a:pt x="1408" y="1357"/>
                      <a:pt x="1408" y="1357"/>
                    </a:cubicBezTo>
                    <a:cubicBezTo>
                      <a:pt x="1406" y="1358"/>
                      <a:pt x="1406" y="1358"/>
                      <a:pt x="1406" y="1358"/>
                    </a:cubicBezTo>
                    <a:cubicBezTo>
                      <a:pt x="1406" y="1360"/>
                      <a:pt x="1406" y="1360"/>
                      <a:pt x="1406" y="1360"/>
                    </a:cubicBezTo>
                    <a:cubicBezTo>
                      <a:pt x="1405" y="1361"/>
                      <a:pt x="1405" y="1361"/>
                      <a:pt x="1405" y="1361"/>
                    </a:cubicBezTo>
                    <a:cubicBezTo>
                      <a:pt x="1406" y="1359"/>
                      <a:pt x="1406" y="1359"/>
                      <a:pt x="1406" y="1359"/>
                    </a:cubicBezTo>
                    <a:cubicBezTo>
                      <a:pt x="1406" y="1357"/>
                      <a:pt x="1406" y="1357"/>
                      <a:pt x="1406" y="1357"/>
                    </a:cubicBezTo>
                    <a:cubicBezTo>
                      <a:pt x="1404" y="1358"/>
                      <a:pt x="1404" y="1358"/>
                      <a:pt x="1404" y="1358"/>
                    </a:cubicBezTo>
                    <a:cubicBezTo>
                      <a:pt x="1403" y="1358"/>
                      <a:pt x="1403" y="1358"/>
                      <a:pt x="1403" y="1358"/>
                    </a:cubicBezTo>
                    <a:cubicBezTo>
                      <a:pt x="1404" y="1357"/>
                      <a:pt x="1404" y="1357"/>
                      <a:pt x="1404" y="1357"/>
                    </a:cubicBezTo>
                    <a:cubicBezTo>
                      <a:pt x="1406" y="1355"/>
                      <a:pt x="1406" y="1355"/>
                      <a:pt x="1406" y="1355"/>
                    </a:cubicBezTo>
                    <a:cubicBezTo>
                      <a:pt x="1407" y="1354"/>
                      <a:pt x="1407" y="1354"/>
                      <a:pt x="1407" y="1354"/>
                    </a:cubicBezTo>
                    <a:cubicBezTo>
                      <a:pt x="1406" y="1353"/>
                      <a:pt x="1406" y="1353"/>
                      <a:pt x="1406" y="1353"/>
                    </a:cubicBezTo>
                    <a:cubicBezTo>
                      <a:pt x="1407" y="1352"/>
                      <a:pt x="1407" y="1352"/>
                      <a:pt x="1407" y="1352"/>
                    </a:cubicBezTo>
                    <a:cubicBezTo>
                      <a:pt x="1409" y="1349"/>
                      <a:pt x="1409" y="1349"/>
                      <a:pt x="1409" y="1349"/>
                    </a:cubicBezTo>
                    <a:cubicBezTo>
                      <a:pt x="1407" y="1349"/>
                      <a:pt x="1407" y="1349"/>
                      <a:pt x="1407" y="1349"/>
                    </a:cubicBezTo>
                    <a:cubicBezTo>
                      <a:pt x="1406" y="1350"/>
                      <a:pt x="1406" y="1350"/>
                      <a:pt x="1406" y="1350"/>
                    </a:cubicBezTo>
                    <a:cubicBezTo>
                      <a:pt x="1407" y="1348"/>
                      <a:pt x="1407" y="1348"/>
                      <a:pt x="1407" y="1348"/>
                    </a:cubicBezTo>
                    <a:cubicBezTo>
                      <a:pt x="1407" y="1346"/>
                      <a:pt x="1407" y="1346"/>
                      <a:pt x="1407" y="1346"/>
                    </a:cubicBezTo>
                    <a:cubicBezTo>
                      <a:pt x="1406" y="1346"/>
                      <a:pt x="1406" y="1346"/>
                      <a:pt x="1406" y="1346"/>
                    </a:cubicBezTo>
                    <a:cubicBezTo>
                      <a:pt x="1403" y="1347"/>
                      <a:pt x="1403" y="1347"/>
                      <a:pt x="1403" y="1347"/>
                    </a:cubicBezTo>
                    <a:cubicBezTo>
                      <a:pt x="1400" y="1346"/>
                      <a:pt x="1400" y="1346"/>
                      <a:pt x="1400" y="1346"/>
                    </a:cubicBezTo>
                    <a:cubicBezTo>
                      <a:pt x="1403" y="1346"/>
                      <a:pt x="1403" y="1346"/>
                      <a:pt x="1403" y="1346"/>
                    </a:cubicBezTo>
                    <a:cubicBezTo>
                      <a:pt x="1404" y="1345"/>
                      <a:pt x="1404" y="1345"/>
                      <a:pt x="1404" y="1345"/>
                    </a:cubicBezTo>
                    <a:cubicBezTo>
                      <a:pt x="1408" y="1344"/>
                      <a:pt x="1408" y="1344"/>
                      <a:pt x="1408" y="1344"/>
                    </a:cubicBezTo>
                    <a:cubicBezTo>
                      <a:pt x="1410" y="1343"/>
                      <a:pt x="1410" y="1343"/>
                      <a:pt x="1410" y="1343"/>
                    </a:cubicBezTo>
                    <a:cubicBezTo>
                      <a:pt x="1411" y="1342"/>
                      <a:pt x="1411" y="1342"/>
                      <a:pt x="1411" y="1342"/>
                    </a:cubicBezTo>
                    <a:cubicBezTo>
                      <a:pt x="1413" y="1342"/>
                      <a:pt x="1413" y="1342"/>
                      <a:pt x="1413" y="1342"/>
                    </a:cubicBezTo>
                    <a:cubicBezTo>
                      <a:pt x="1415" y="1340"/>
                      <a:pt x="1415" y="1340"/>
                      <a:pt x="1415" y="1340"/>
                    </a:cubicBezTo>
                    <a:cubicBezTo>
                      <a:pt x="1415" y="1338"/>
                      <a:pt x="1415" y="1338"/>
                      <a:pt x="1415" y="1338"/>
                    </a:cubicBezTo>
                    <a:cubicBezTo>
                      <a:pt x="1416" y="1337"/>
                      <a:pt x="1416" y="1337"/>
                      <a:pt x="1416" y="1337"/>
                    </a:cubicBezTo>
                    <a:cubicBezTo>
                      <a:pt x="1417" y="1335"/>
                      <a:pt x="1417" y="1335"/>
                      <a:pt x="1417" y="1335"/>
                    </a:cubicBezTo>
                    <a:cubicBezTo>
                      <a:pt x="1415" y="1334"/>
                      <a:pt x="1415" y="1334"/>
                      <a:pt x="1415" y="1334"/>
                    </a:cubicBezTo>
                    <a:cubicBezTo>
                      <a:pt x="1411" y="1331"/>
                      <a:pt x="1411" y="1331"/>
                      <a:pt x="1411" y="1331"/>
                    </a:cubicBezTo>
                    <a:cubicBezTo>
                      <a:pt x="1408" y="1330"/>
                      <a:pt x="1408" y="1330"/>
                      <a:pt x="1408" y="1330"/>
                    </a:cubicBezTo>
                    <a:cubicBezTo>
                      <a:pt x="1405" y="1331"/>
                      <a:pt x="1405" y="1331"/>
                      <a:pt x="1405" y="1331"/>
                    </a:cubicBezTo>
                    <a:cubicBezTo>
                      <a:pt x="1403" y="1331"/>
                      <a:pt x="1403" y="1331"/>
                      <a:pt x="1403" y="1331"/>
                    </a:cubicBezTo>
                    <a:cubicBezTo>
                      <a:pt x="1403" y="1333"/>
                      <a:pt x="1403" y="1333"/>
                      <a:pt x="1403" y="1333"/>
                    </a:cubicBezTo>
                    <a:cubicBezTo>
                      <a:pt x="1402" y="1336"/>
                      <a:pt x="1402" y="1336"/>
                      <a:pt x="1402" y="1336"/>
                    </a:cubicBezTo>
                    <a:cubicBezTo>
                      <a:pt x="1401" y="1338"/>
                      <a:pt x="1401" y="1338"/>
                      <a:pt x="1401" y="1338"/>
                    </a:cubicBezTo>
                    <a:cubicBezTo>
                      <a:pt x="1399" y="1340"/>
                      <a:pt x="1399" y="1340"/>
                      <a:pt x="1399" y="1340"/>
                    </a:cubicBezTo>
                    <a:cubicBezTo>
                      <a:pt x="1401" y="1338"/>
                      <a:pt x="1401" y="1338"/>
                      <a:pt x="1401" y="1338"/>
                    </a:cubicBezTo>
                    <a:cubicBezTo>
                      <a:pt x="1401" y="1335"/>
                      <a:pt x="1401" y="1335"/>
                      <a:pt x="1401" y="1335"/>
                    </a:cubicBezTo>
                    <a:cubicBezTo>
                      <a:pt x="1400" y="1334"/>
                      <a:pt x="1400" y="1334"/>
                      <a:pt x="1400" y="1334"/>
                    </a:cubicBezTo>
                    <a:cubicBezTo>
                      <a:pt x="1401" y="1332"/>
                      <a:pt x="1401" y="1332"/>
                      <a:pt x="1401" y="1332"/>
                    </a:cubicBezTo>
                    <a:cubicBezTo>
                      <a:pt x="1402" y="1330"/>
                      <a:pt x="1402" y="1330"/>
                      <a:pt x="1402" y="1330"/>
                    </a:cubicBezTo>
                    <a:cubicBezTo>
                      <a:pt x="1401" y="1330"/>
                      <a:pt x="1401" y="1330"/>
                      <a:pt x="1401" y="1330"/>
                    </a:cubicBezTo>
                    <a:cubicBezTo>
                      <a:pt x="1399" y="1332"/>
                      <a:pt x="1399" y="1332"/>
                      <a:pt x="1399" y="1332"/>
                    </a:cubicBezTo>
                    <a:cubicBezTo>
                      <a:pt x="1397" y="1333"/>
                      <a:pt x="1397" y="1333"/>
                      <a:pt x="1397" y="1333"/>
                    </a:cubicBezTo>
                    <a:cubicBezTo>
                      <a:pt x="1395" y="1335"/>
                      <a:pt x="1395" y="1335"/>
                      <a:pt x="1395" y="1335"/>
                    </a:cubicBezTo>
                    <a:cubicBezTo>
                      <a:pt x="1394" y="1334"/>
                      <a:pt x="1394" y="1334"/>
                      <a:pt x="1394" y="1334"/>
                    </a:cubicBezTo>
                    <a:cubicBezTo>
                      <a:pt x="1393" y="1335"/>
                      <a:pt x="1393" y="1335"/>
                      <a:pt x="1393" y="1335"/>
                    </a:cubicBezTo>
                    <a:cubicBezTo>
                      <a:pt x="1391" y="1336"/>
                      <a:pt x="1391" y="1336"/>
                      <a:pt x="1391" y="1336"/>
                    </a:cubicBezTo>
                    <a:cubicBezTo>
                      <a:pt x="1390" y="1334"/>
                      <a:pt x="1390" y="1334"/>
                      <a:pt x="1390" y="1334"/>
                    </a:cubicBezTo>
                    <a:cubicBezTo>
                      <a:pt x="1387" y="1336"/>
                      <a:pt x="1387" y="1336"/>
                      <a:pt x="1387" y="1336"/>
                    </a:cubicBezTo>
                    <a:cubicBezTo>
                      <a:pt x="1387" y="1340"/>
                      <a:pt x="1387" y="1340"/>
                      <a:pt x="1387" y="1340"/>
                    </a:cubicBezTo>
                    <a:cubicBezTo>
                      <a:pt x="1384" y="1341"/>
                      <a:pt x="1384" y="1341"/>
                      <a:pt x="1384" y="1341"/>
                    </a:cubicBezTo>
                    <a:cubicBezTo>
                      <a:pt x="1386" y="1339"/>
                      <a:pt x="1386" y="1339"/>
                      <a:pt x="1386" y="1339"/>
                    </a:cubicBezTo>
                    <a:cubicBezTo>
                      <a:pt x="1387" y="1335"/>
                      <a:pt x="1387" y="1335"/>
                      <a:pt x="1387" y="1335"/>
                    </a:cubicBezTo>
                    <a:cubicBezTo>
                      <a:pt x="1389" y="1331"/>
                      <a:pt x="1389" y="1331"/>
                      <a:pt x="1389" y="1331"/>
                    </a:cubicBezTo>
                    <a:cubicBezTo>
                      <a:pt x="1388" y="1331"/>
                      <a:pt x="1388" y="1331"/>
                      <a:pt x="1388" y="1331"/>
                    </a:cubicBezTo>
                    <a:cubicBezTo>
                      <a:pt x="1386" y="1332"/>
                      <a:pt x="1386" y="1332"/>
                      <a:pt x="1386" y="1332"/>
                    </a:cubicBezTo>
                    <a:cubicBezTo>
                      <a:pt x="1385" y="1334"/>
                      <a:pt x="1385" y="1334"/>
                      <a:pt x="1385" y="1334"/>
                    </a:cubicBezTo>
                    <a:cubicBezTo>
                      <a:pt x="1383" y="1336"/>
                      <a:pt x="1383" y="1336"/>
                      <a:pt x="1383" y="1336"/>
                    </a:cubicBezTo>
                    <a:cubicBezTo>
                      <a:pt x="1382" y="1334"/>
                      <a:pt x="1382" y="1334"/>
                      <a:pt x="1382" y="1334"/>
                    </a:cubicBezTo>
                    <a:cubicBezTo>
                      <a:pt x="1384" y="1333"/>
                      <a:pt x="1384" y="1333"/>
                      <a:pt x="1384" y="1333"/>
                    </a:cubicBezTo>
                    <a:cubicBezTo>
                      <a:pt x="1384" y="1331"/>
                      <a:pt x="1384" y="1331"/>
                      <a:pt x="1384" y="1331"/>
                    </a:cubicBezTo>
                    <a:cubicBezTo>
                      <a:pt x="1384" y="1331"/>
                      <a:pt x="1384" y="1331"/>
                      <a:pt x="1384" y="1331"/>
                    </a:cubicBezTo>
                    <a:cubicBezTo>
                      <a:pt x="1381" y="1331"/>
                      <a:pt x="1381" y="1331"/>
                      <a:pt x="1381" y="1331"/>
                    </a:cubicBezTo>
                    <a:cubicBezTo>
                      <a:pt x="1378" y="1334"/>
                      <a:pt x="1378" y="1334"/>
                      <a:pt x="1378" y="1334"/>
                    </a:cubicBezTo>
                    <a:cubicBezTo>
                      <a:pt x="1377" y="1333"/>
                      <a:pt x="1377" y="1333"/>
                      <a:pt x="1377" y="1333"/>
                    </a:cubicBezTo>
                    <a:cubicBezTo>
                      <a:pt x="1376" y="1331"/>
                      <a:pt x="1376" y="1331"/>
                      <a:pt x="1376" y="1331"/>
                    </a:cubicBezTo>
                    <a:cubicBezTo>
                      <a:pt x="1375" y="1330"/>
                      <a:pt x="1375" y="1330"/>
                      <a:pt x="1375" y="1330"/>
                    </a:cubicBezTo>
                    <a:cubicBezTo>
                      <a:pt x="1372" y="1332"/>
                      <a:pt x="1372" y="1332"/>
                      <a:pt x="1372" y="1332"/>
                    </a:cubicBezTo>
                    <a:cubicBezTo>
                      <a:pt x="1371" y="1332"/>
                      <a:pt x="1371" y="1332"/>
                      <a:pt x="1371" y="1332"/>
                    </a:cubicBezTo>
                    <a:cubicBezTo>
                      <a:pt x="1370" y="1331"/>
                      <a:pt x="1370" y="1331"/>
                      <a:pt x="1370" y="1331"/>
                    </a:cubicBezTo>
                    <a:cubicBezTo>
                      <a:pt x="1374" y="1329"/>
                      <a:pt x="1374" y="1329"/>
                      <a:pt x="1374" y="1329"/>
                    </a:cubicBezTo>
                    <a:cubicBezTo>
                      <a:pt x="1376" y="1326"/>
                      <a:pt x="1376" y="1326"/>
                      <a:pt x="1376" y="1326"/>
                    </a:cubicBezTo>
                    <a:cubicBezTo>
                      <a:pt x="1376" y="1324"/>
                      <a:pt x="1376" y="1324"/>
                      <a:pt x="1376" y="1324"/>
                    </a:cubicBezTo>
                    <a:cubicBezTo>
                      <a:pt x="1375" y="1324"/>
                      <a:pt x="1375" y="1324"/>
                      <a:pt x="1375" y="1324"/>
                    </a:cubicBezTo>
                    <a:cubicBezTo>
                      <a:pt x="1374" y="1324"/>
                      <a:pt x="1374" y="1324"/>
                      <a:pt x="1374" y="1324"/>
                    </a:cubicBezTo>
                    <a:cubicBezTo>
                      <a:pt x="1371" y="1326"/>
                      <a:pt x="1371" y="1326"/>
                      <a:pt x="1371" y="1326"/>
                    </a:cubicBezTo>
                    <a:cubicBezTo>
                      <a:pt x="1372" y="1324"/>
                      <a:pt x="1372" y="1324"/>
                      <a:pt x="1372" y="1324"/>
                    </a:cubicBezTo>
                    <a:cubicBezTo>
                      <a:pt x="1375" y="1322"/>
                      <a:pt x="1375" y="1322"/>
                      <a:pt x="1375" y="1322"/>
                    </a:cubicBezTo>
                    <a:cubicBezTo>
                      <a:pt x="1379" y="1321"/>
                      <a:pt x="1379" y="1321"/>
                      <a:pt x="1379" y="1321"/>
                    </a:cubicBezTo>
                    <a:cubicBezTo>
                      <a:pt x="1380" y="1321"/>
                      <a:pt x="1380" y="1321"/>
                      <a:pt x="1380" y="1321"/>
                    </a:cubicBezTo>
                    <a:cubicBezTo>
                      <a:pt x="1383" y="1320"/>
                      <a:pt x="1383" y="1320"/>
                      <a:pt x="1383" y="1320"/>
                    </a:cubicBezTo>
                    <a:cubicBezTo>
                      <a:pt x="1384" y="1318"/>
                      <a:pt x="1384" y="1318"/>
                      <a:pt x="1384" y="1318"/>
                    </a:cubicBezTo>
                    <a:cubicBezTo>
                      <a:pt x="1385" y="1317"/>
                      <a:pt x="1385" y="1317"/>
                      <a:pt x="1385" y="1317"/>
                    </a:cubicBezTo>
                    <a:cubicBezTo>
                      <a:pt x="1384" y="1317"/>
                      <a:pt x="1384" y="1317"/>
                      <a:pt x="1384" y="1317"/>
                    </a:cubicBezTo>
                    <a:cubicBezTo>
                      <a:pt x="1380" y="1318"/>
                      <a:pt x="1380" y="1318"/>
                      <a:pt x="1380" y="1318"/>
                    </a:cubicBezTo>
                    <a:cubicBezTo>
                      <a:pt x="1378" y="1318"/>
                      <a:pt x="1378" y="1318"/>
                      <a:pt x="1378" y="1318"/>
                    </a:cubicBezTo>
                    <a:cubicBezTo>
                      <a:pt x="1375" y="1315"/>
                      <a:pt x="1375" y="1315"/>
                      <a:pt x="1375" y="1315"/>
                    </a:cubicBezTo>
                    <a:cubicBezTo>
                      <a:pt x="1374" y="1316"/>
                      <a:pt x="1374" y="1316"/>
                      <a:pt x="1374" y="1316"/>
                    </a:cubicBezTo>
                    <a:cubicBezTo>
                      <a:pt x="1372" y="1317"/>
                      <a:pt x="1372" y="1317"/>
                      <a:pt x="1372" y="1317"/>
                    </a:cubicBezTo>
                    <a:cubicBezTo>
                      <a:pt x="1374" y="1314"/>
                      <a:pt x="1374" y="1314"/>
                      <a:pt x="1374" y="1314"/>
                    </a:cubicBezTo>
                    <a:cubicBezTo>
                      <a:pt x="1375" y="1313"/>
                      <a:pt x="1375" y="1313"/>
                      <a:pt x="1375" y="1313"/>
                    </a:cubicBezTo>
                    <a:cubicBezTo>
                      <a:pt x="1375" y="1312"/>
                      <a:pt x="1375" y="1312"/>
                      <a:pt x="1375" y="1312"/>
                    </a:cubicBezTo>
                    <a:cubicBezTo>
                      <a:pt x="1373" y="1312"/>
                      <a:pt x="1373" y="1312"/>
                      <a:pt x="1373" y="1312"/>
                    </a:cubicBezTo>
                    <a:cubicBezTo>
                      <a:pt x="1370" y="1314"/>
                      <a:pt x="1370" y="1314"/>
                      <a:pt x="1370" y="1314"/>
                    </a:cubicBezTo>
                    <a:cubicBezTo>
                      <a:pt x="1369" y="1316"/>
                      <a:pt x="1369" y="1316"/>
                      <a:pt x="1369" y="1316"/>
                    </a:cubicBezTo>
                    <a:cubicBezTo>
                      <a:pt x="1366" y="1319"/>
                      <a:pt x="1366" y="1319"/>
                      <a:pt x="1366" y="1319"/>
                    </a:cubicBezTo>
                    <a:cubicBezTo>
                      <a:pt x="1365" y="1320"/>
                      <a:pt x="1365" y="1320"/>
                      <a:pt x="1365" y="1320"/>
                    </a:cubicBezTo>
                    <a:cubicBezTo>
                      <a:pt x="1364" y="1322"/>
                      <a:pt x="1364" y="1322"/>
                      <a:pt x="1364" y="1322"/>
                    </a:cubicBezTo>
                    <a:cubicBezTo>
                      <a:pt x="1361" y="1324"/>
                      <a:pt x="1361" y="1324"/>
                      <a:pt x="1361" y="1324"/>
                    </a:cubicBezTo>
                    <a:cubicBezTo>
                      <a:pt x="1359" y="1326"/>
                      <a:pt x="1359" y="1326"/>
                      <a:pt x="1359" y="1326"/>
                    </a:cubicBezTo>
                    <a:cubicBezTo>
                      <a:pt x="1359" y="1323"/>
                      <a:pt x="1359" y="1323"/>
                      <a:pt x="1359" y="1323"/>
                    </a:cubicBezTo>
                    <a:cubicBezTo>
                      <a:pt x="1360" y="1321"/>
                      <a:pt x="1360" y="1321"/>
                      <a:pt x="1360" y="1321"/>
                    </a:cubicBezTo>
                    <a:cubicBezTo>
                      <a:pt x="1361" y="1318"/>
                      <a:pt x="1361" y="1318"/>
                      <a:pt x="1361" y="1318"/>
                    </a:cubicBezTo>
                    <a:cubicBezTo>
                      <a:pt x="1361" y="1316"/>
                      <a:pt x="1361" y="1316"/>
                      <a:pt x="1361" y="1316"/>
                    </a:cubicBezTo>
                    <a:cubicBezTo>
                      <a:pt x="1363" y="1313"/>
                      <a:pt x="1363" y="1313"/>
                      <a:pt x="1363" y="1313"/>
                    </a:cubicBezTo>
                    <a:cubicBezTo>
                      <a:pt x="1365" y="1311"/>
                      <a:pt x="1365" y="1311"/>
                      <a:pt x="1365" y="1311"/>
                    </a:cubicBezTo>
                    <a:cubicBezTo>
                      <a:pt x="1366" y="1309"/>
                      <a:pt x="1366" y="1309"/>
                      <a:pt x="1366" y="1309"/>
                    </a:cubicBezTo>
                    <a:cubicBezTo>
                      <a:pt x="1367" y="1308"/>
                      <a:pt x="1367" y="1308"/>
                      <a:pt x="1367" y="1308"/>
                    </a:cubicBezTo>
                    <a:cubicBezTo>
                      <a:pt x="1369" y="1306"/>
                      <a:pt x="1369" y="1306"/>
                      <a:pt x="1369" y="1306"/>
                    </a:cubicBezTo>
                    <a:cubicBezTo>
                      <a:pt x="1370" y="1303"/>
                      <a:pt x="1370" y="1303"/>
                      <a:pt x="1370" y="1303"/>
                    </a:cubicBezTo>
                    <a:cubicBezTo>
                      <a:pt x="1372" y="1302"/>
                      <a:pt x="1372" y="1302"/>
                      <a:pt x="1372" y="1302"/>
                    </a:cubicBezTo>
                    <a:cubicBezTo>
                      <a:pt x="1374" y="1300"/>
                      <a:pt x="1374" y="1300"/>
                      <a:pt x="1374" y="1300"/>
                    </a:cubicBezTo>
                    <a:cubicBezTo>
                      <a:pt x="1376" y="1299"/>
                      <a:pt x="1376" y="1299"/>
                      <a:pt x="1376" y="1299"/>
                    </a:cubicBezTo>
                    <a:cubicBezTo>
                      <a:pt x="1376" y="1298"/>
                      <a:pt x="1376" y="1298"/>
                      <a:pt x="1376" y="1298"/>
                    </a:cubicBezTo>
                    <a:cubicBezTo>
                      <a:pt x="1376" y="1296"/>
                      <a:pt x="1376" y="1296"/>
                      <a:pt x="1376" y="1296"/>
                    </a:cubicBezTo>
                    <a:cubicBezTo>
                      <a:pt x="1377" y="1294"/>
                      <a:pt x="1377" y="1294"/>
                      <a:pt x="1377" y="1294"/>
                    </a:cubicBezTo>
                    <a:cubicBezTo>
                      <a:pt x="1378" y="1292"/>
                      <a:pt x="1378" y="1292"/>
                      <a:pt x="1378" y="1292"/>
                    </a:cubicBezTo>
                    <a:cubicBezTo>
                      <a:pt x="1378" y="1294"/>
                      <a:pt x="1378" y="1294"/>
                      <a:pt x="1378" y="1294"/>
                    </a:cubicBezTo>
                    <a:cubicBezTo>
                      <a:pt x="1378" y="1296"/>
                      <a:pt x="1378" y="1296"/>
                      <a:pt x="1378" y="1296"/>
                    </a:cubicBezTo>
                    <a:cubicBezTo>
                      <a:pt x="1379" y="1297"/>
                      <a:pt x="1379" y="1297"/>
                      <a:pt x="1379" y="1297"/>
                    </a:cubicBezTo>
                    <a:cubicBezTo>
                      <a:pt x="1381" y="1294"/>
                      <a:pt x="1381" y="1294"/>
                      <a:pt x="1381" y="1294"/>
                    </a:cubicBezTo>
                    <a:cubicBezTo>
                      <a:pt x="1384" y="1290"/>
                      <a:pt x="1384" y="1290"/>
                      <a:pt x="1384" y="1290"/>
                    </a:cubicBezTo>
                    <a:cubicBezTo>
                      <a:pt x="1385" y="1288"/>
                      <a:pt x="1385" y="1288"/>
                      <a:pt x="1385" y="1288"/>
                    </a:cubicBezTo>
                    <a:cubicBezTo>
                      <a:pt x="1384" y="1287"/>
                      <a:pt x="1384" y="1287"/>
                      <a:pt x="1384" y="1287"/>
                    </a:cubicBezTo>
                    <a:cubicBezTo>
                      <a:pt x="1383" y="1287"/>
                      <a:pt x="1383" y="1287"/>
                      <a:pt x="1383" y="1287"/>
                    </a:cubicBezTo>
                    <a:cubicBezTo>
                      <a:pt x="1381" y="1288"/>
                      <a:pt x="1381" y="1288"/>
                      <a:pt x="1381" y="1288"/>
                    </a:cubicBezTo>
                    <a:cubicBezTo>
                      <a:pt x="1381" y="1285"/>
                      <a:pt x="1381" y="1285"/>
                      <a:pt x="1381" y="1285"/>
                    </a:cubicBezTo>
                    <a:cubicBezTo>
                      <a:pt x="1379" y="1284"/>
                      <a:pt x="1379" y="1284"/>
                      <a:pt x="1379" y="1284"/>
                    </a:cubicBezTo>
                    <a:cubicBezTo>
                      <a:pt x="1380" y="1283"/>
                      <a:pt x="1380" y="1283"/>
                      <a:pt x="1380" y="1283"/>
                    </a:cubicBezTo>
                    <a:cubicBezTo>
                      <a:pt x="1382" y="1282"/>
                      <a:pt x="1382" y="1282"/>
                      <a:pt x="1382" y="1282"/>
                    </a:cubicBezTo>
                    <a:cubicBezTo>
                      <a:pt x="1385" y="1283"/>
                      <a:pt x="1385" y="1283"/>
                      <a:pt x="1385" y="1283"/>
                    </a:cubicBezTo>
                    <a:cubicBezTo>
                      <a:pt x="1388" y="1284"/>
                      <a:pt x="1388" y="1284"/>
                      <a:pt x="1388" y="1284"/>
                    </a:cubicBezTo>
                    <a:cubicBezTo>
                      <a:pt x="1389" y="1284"/>
                      <a:pt x="1389" y="1284"/>
                      <a:pt x="1389" y="1284"/>
                    </a:cubicBezTo>
                    <a:cubicBezTo>
                      <a:pt x="1391" y="1282"/>
                      <a:pt x="1391" y="1282"/>
                      <a:pt x="1391" y="1282"/>
                    </a:cubicBezTo>
                    <a:cubicBezTo>
                      <a:pt x="1391" y="1277"/>
                      <a:pt x="1391" y="1277"/>
                      <a:pt x="1391" y="1277"/>
                    </a:cubicBezTo>
                    <a:cubicBezTo>
                      <a:pt x="1388" y="1277"/>
                      <a:pt x="1388" y="1277"/>
                      <a:pt x="1388" y="1277"/>
                    </a:cubicBezTo>
                    <a:cubicBezTo>
                      <a:pt x="1386" y="1278"/>
                      <a:pt x="1386" y="1278"/>
                      <a:pt x="1386" y="1278"/>
                    </a:cubicBezTo>
                    <a:cubicBezTo>
                      <a:pt x="1386" y="1279"/>
                      <a:pt x="1386" y="1279"/>
                      <a:pt x="1386" y="1279"/>
                    </a:cubicBezTo>
                    <a:cubicBezTo>
                      <a:pt x="1385" y="1279"/>
                      <a:pt x="1385" y="1279"/>
                      <a:pt x="1385" y="1279"/>
                    </a:cubicBezTo>
                    <a:cubicBezTo>
                      <a:pt x="1385" y="1277"/>
                      <a:pt x="1385" y="1277"/>
                      <a:pt x="1385" y="1277"/>
                    </a:cubicBezTo>
                    <a:cubicBezTo>
                      <a:pt x="1385" y="1276"/>
                      <a:pt x="1385" y="1276"/>
                      <a:pt x="1385" y="1276"/>
                    </a:cubicBezTo>
                    <a:cubicBezTo>
                      <a:pt x="1383" y="1277"/>
                      <a:pt x="1383" y="1277"/>
                      <a:pt x="1383" y="1277"/>
                    </a:cubicBezTo>
                    <a:cubicBezTo>
                      <a:pt x="1381" y="1279"/>
                      <a:pt x="1381" y="1279"/>
                      <a:pt x="1381" y="1279"/>
                    </a:cubicBezTo>
                    <a:cubicBezTo>
                      <a:pt x="1379" y="1279"/>
                      <a:pt x="1379" y="1279"/>
                      <a:pt x="1379" y="1279"/>
                    </a:cubicBezTo>
                    <a:cubicBezTo>
                      <a:pt x="1377" y="1281"/>
                      <a:pt x="1377" y="1281"/>
                      <a:pt x="1377" y="1281"/>
                    </a:cubicBezTo>
                    <a:cubicBezTo>
                      <a:pt x="1375" y="1282"/>
                      <a:pt x="1375" y="1282"/>
                      <a:pt x="1375" y="1282"/>
                    </a:cubicBezTo>
                    <a:cubicBezTo>
                      <a:pt x="1372" y="1282"/>
                      <a:pt x="1372" y="1282"/>
                      <a:pt x="1372" y="1282"/>
                    </a:cubicBezTo>
                    <a:cubicBezTo>
                      <a:pt x="1369" y="1284"/>
                      <a:pt x="1369" y="1284"/>
                      <a:pt x="1369" y="1284"/>
                    </a:cubicBezTo>
                    <a:cubicBezTo>
                      <a:pt x="1366" y="1287"/>
                      <a:pt x="1366" y="1287"/>
                      <a:pt x="1366" y="1287"/>
                    </a:cubicBezTo>
                    <a:cubicBezTo>
                      <a:pt x="1365" y="1290"/>
                      <a:pt x="1365" y="1290"/>
                      <a:pt x="1365" y="1290"/>
                    </a:cubicBezTo>
                    <a:cubicBezTo>
                      <a:pt x="1363" y="1290"/>
                      <a:pt x="1363" y="1290"/>
                      <a:pt x="1363" y="1290"/>
                    </a:cubicBezTo>
                    <a:cubicBezTo>
                      <a:pt x="1362" y="1290"/>
                      <a:pt x="1362" y="1290"/>
                      <a:pt x="1362" y="1290"/>
                    </a:cubicBezTo>
                    <a:cubicBezTo>
                      <a:pt x="1361" y="1290"/>
                      <a:pt x="1361" y="1290"/>
                      <a:pt x="1361" y="1290"/>
                    </a:cubicBezTo>
                    <a:cubicBezTo>
                      <a:pt x="1362" y="1291"/>
                      <a:pt x="1362" y="1291"/>
                      <a:pt x="1362" y="1291"/>
                    </a:cubicBezTo>
                    <a:cubicBezTo>
                      <a:pt x="1362" y="1293"/>
                      <a:pt x="1362" y="1293"/>
                      <a:pt x="1362" y="1293"/>
                    </a:cubicBezTo>
                    <a:close/>
                    <a:moveTo>
                      <a:pt x="1239" y="1327"/>
                    </a:moveTo>
                    <a:cubicBezTo>
                      <a:pt x="1241" y="1327"/>
                      <a:pt x="1241" y="1327"/>
                      <a:pt x="1241" y="1327"/>
                    </a:cubicBezTo>
                    <a:cubicBezTo>
                      <a:pt x="1248" y="1333"/>
                      <a:pt x="1248" y="1333"/>
                      <a:pt x="1248" y="1333"/>
                    </a:cubicBezTo>
                    <a:cubicBezTo>
                      <a:pt x="1254" y="1333"/>
                      <a:pt x="1254" y="1333"/>
                      <a:pt x="1254" y="1333"/>
                    </a:cubicBezTo>
                    <a:cubicBezTo>
                      <a:pt x="1257" y="1334"/>
                      <a:pt x="1257" y="1334"/>
                      <a:pt x="1257" y="1334"/>
                    </a:cubicBezTo>
                    <a:cubicBezTo>
                      <a:pt x="1260" y="1336"/>
                      <a:pt x="1260" y="1336"/>
                      <a:pt x="1260" y="1336"/>
                    </a:cubicBezTo>
                    <a:cubicBezTo>
                      <a:pt x="1263" y="1336"/>
                      <a:pt x="1263" y="1336"/>
                      <a:pt x="1263" y="1336"/>
                    </a:cubicBezTo>
                    <a:cubicBezTo>
                      <a:pt x="1266" y="1337"/>
                      <a:pt x="1266" y="1337"/>
                      <a:pt x="1266" y="1337"/>
                    </a:cubicBezTo>
                    <a:cubicBezTo>
                      <a:pt x="1271" y="1336"/>
                      <a:pt x="1271" y="1336"/>
                      <a:pt x="1271" y="1336"/>
                    </a:cubicBezTo>
                    <a:cubicBezTo>
                      <a:pt x="1271" y="1334"/>
                      <a:pt x="1271" y="1334"/>
                      <a:pt x="1271" y="1334"/>
                    </a:cubicBezTo>
                    <a:cubicBezTo>
                      <a:pt x="1269" y="1332"/>
                      <a:pt x="1269" y="1332"/>
                      <a:pt x="1269" y="1332"/>
                    </a:cubicBezTo>
                    <a:cubicBezTo>
                      <a:pt x="1268" y="1330"/>
                      <a:pt x="1268" y="1330"/>
                      <a:pt x="1268" y="1330"/>
                    </a:cubicBezTo>
                    <a:cubicBezTo>
                      <a:pt x="1266" y="1329"/>
                      <a:pt x="1266" y="1329"/>
                      <a:pt x="1266" y="1329"/>
                    </a:cubicBezTo>
                    <a:cubicBezTo>
                      <a:pt x="1264" y="1328"/>
                      <a:pt x="1264" y="1328"/>
                      <a:pt x="1264" y="1328"/>
                    </a:cubicBezTo>
                    <a:cubicBezTo>
                      <a:pt x="1261" y="1324"/>
                      <a:pt x="1261" y="1324"/>
                      <a:pt x="1261" y="1324"/>
                    </a:cubicBezTo>
                    <a:cubicBezTo>
                      <a:pt x="1256" y="1321"/>
                      <a:pt x="1256" y="1321"/>
                      <a:pt x="1256" y="1321"/>
                    </a:cubicBezTo>
                    <a:cubicBezTo>
                      <a:pt x="1255" y="1321"/>
                      <a:pt x="1255" y="1321"/>
                      <a:pt x="1255" y="1321"/>
                    </a:cubicBezTo>
                    <a:cubicBezTo>
                      <a:pt x="1251" y="1317"/>
                      <a:pt x="1251" y="1317"/>
                      <a:pt x="1251" y="1317"/>
                    </a:cubicBezTo>
                    <a:cubicBezTo>
                      <a:pt x="1246" y="1315"/>
                      <a:pt x="1246" y="1315"/>
                      <a:pt x="1246" y="1315"/>
                    </a:cubicBezTo>
                    <a:cubicBezTo>
                      <a:pt x="1241" y="1315"/>
                      <a:pt x="1241" y="1315"/>
                      <a:pt x="1241" y="1315"/>
                    </a:cubicBezTo>
                    <a:cubicBezTo>
                      <a:pt x="1232" y="1312"/>
                      <a:pt x="1232" y="1312"/>
                      <a:pt x="1232" y="1312"/>
                    </a:cubicBezTo>
                    <a:cubicBezTo>
                      <a:pt x="1229" y="1311"/>
                      <a:pt x="1229" y="1311"/>
                      <a:pt x="1229" y="1311"/>
                    </a:cubicBezTo>
                    <a:cubicBezTo>
                      <a:pt x="1225" y="1313"/>
                      <a:pt x="1225" y="1313"/>
                      <a:pt x="1225" y="1313"/>
                    </a:cubicBezTo>
                    <a:cubicBezTo>
                      <a:pt x="1227" y="1316"/>
                      <a:pt x="1227" y="1316"/>
                      <a:pt x="1227" y="1316"/>
                    </a:cubicBezTo>
                    <a:cubicBezTo>
                      <a:pt x="1231" y="1318"/>
                      <a:pt x="1231" y="1318"/>
                      <a:pt x="1231" y="1318"/>
                    </a:cubicBezTo>
                    <a:cubicBezTo>
                      <a:pt x="1237" y="1322"/>
                      <a:pt x="1237" y="1322"/>
                      <a:pt x="1237" y="1322"/>
                    </a:cubicBezTo>
                    <a:cubicBezTo>
                      <a:pt x="1238" y="1326"/>
                      <a:pt x="1238" y="1326"/>
                      <a:pt x="1238" y="1326"/>
                    </a:cubicBezTo>
                    <a:cubicBezTo>
                      <a:pt x="1239" y="1327"/>
                      <a:pt x="1239" y="1327"/>
                      <a:pt x="1239" y="1327"/>
                    </a:cubicBezTo>
                    <a:close/>
                    <a:moveTo>
                      <a:pt x="1240" y="1412"/>
                    </a:moveTo>
                    <a:cubicBezTo>
                      <a:pt x="1236" y="1410"/>
                      <a:pt x="1236" y="1410"/>
                      <a:pt x="1236" y="1410"/>
                    </a:cubicBezTo>
                    <a:cubicBezTo>
                      <a:pt x="1235" y="1406"/>
                      <a:pt x="1235" y="1406"/>
                      <a:pt x="1235" y="1406"/>
                    </a:cubicBezTo>
                    <a:cubicBezTo>
                      <a:pt x="1226" y="1405"/>
                      <a:pt x="1226" y="1405"/>
                      <a:pt x="1226" y="1405"/>
                    </a:cubicBezTo>
                    <a:cubicBezTo>
                      <a:pt x="1224" y="1404"/>
                      <a:pt x="1224" y="1404"/>
                      <a:pt x="1224" y="1404"/>
                    </a:cubicBezTo>
                    <a:cubicBezTo>
                      <a:pt x="1223" y="1402"/>
                      <a:pt x="1223" y="1402"/>
                      <a:pt x="1223" y="1402"/>
                    </a:cubicBezTo>
                    <a:cubicBezTo>
                      <a:pt x="1222" y="1400"/>
                      <a:pt x="1222" y="1400"/>
                      <a:pt x="1222" y="1400"/>
                    </a:cubicBezTo>
                    <a:cubicBezTo>
                      <a:pt x="1220" y="1400"/>
                      <a:pt x="1220" y="1400"/>
                      <a:pt x="1220" y="1400"/>
                    </a:cubicBezTo>
                    <a:cubicBezTo>
                      <a:pt x="1219" y="1397"/>
                      <a:pt x="1219" y="1397"/>
                      <a:pt x="1219" y="1397"/>
                    </a:cubicBezTo>
                    <a:cubicBezTo>
                      <a:pt x="1216" y="1397"/>
                      <a:pt x="1216" y="1397"/>
                      <a:pt x="1216" y="1397"/>
                    </a:cubicBezTo>
                    <a:cubicBezTo>
                      <a:pt x="1216" y="1394"/>
                      <a:pt x="1216" y="1394"/>
                      <a:pt x="1216" y="1394"/>
                    </a:cubicBezTo>
                    <a:cubicBezTo>
                      <a:pt x="1215" y="1392"/>
                      <a:pt x="1215" y="1392"/>
                      <a:pt x="1215" y="1392"/>
                    </a:cubicBezTo>
                    <a:cubicBezTo>
                      <a:pt x="1213" y="1393"/>
                      <a:pt x="1213" y="1393"/>
                      <a:pt x="1213" y="1393"/>
                    </a:cubicBezTo>
                    <a:cubicBezTo>
                      <a:pt x="1211" y="1391"/>
                      <a:pt x="1211" y="1391"/>
                      <a:pt x="1211" y="1391"/>
                    </a:cubicBezTo>
                    <a:cubicBezTo>
                      <a:pt x="1213" y="1388"/>
                      <a:pt x="1213" y="1388"/>
                      <a:pt x="1213" y="1388"/>
                    </a:cubicBezTo>
                    <a:cubicBezTo>
                      <a:pt x="1220" y="1384"/>
                      <a:pt x="1220" y="1384"/>
                      <a:pt x="1220" y="1384"/>
                    </a:cubicBezTo>
                    <a:cubicBezTo>
                      <a:pt x="1221" y="1387"/>
                      <a:pt x="1221" y="1387"/>
                      <a:pt x="1221" y="1387"/>
                    </a:cubicBezTo>
                    <a:cubicBezTo>
                      <a:pt x="1218" y="1389"/>
                      <a:pt x="1218" y="1389"/>
                      <a:pt x="1218" y="1389"/>
                    </a:cubicBezTo>
                    <a:cubicBezTo>
                      <a:pt x="1218" y="1391"/>
                      <a:pt x="1218" y="1391"/>
                      <a:pt x="1218" y="1391"/>
                    </a:cubicBezTo>
                    <a:cubicBezTo>
                      <a:pt x="1220" y="1392"/>
                      <a:pt x="1220" y="1392"/>
                      <a:pt x="1220" y="1392"/>
                    </a:cubicBezTo>
                    <a:cubicBezTo>
                      <a:pt x="1220" y="1396"/>
                      <a:pt x="1220" y="1396"/>
                      <a:pt x="1220" y="1396"/>
                    </a:cubicBezTo>
                    <a:cubicBezTo>
                      <a:pt x="1223" y="1397"/>
                      <a:pt x="1223" y="1397"/>
                      <a:pt x="1223" y="1397"/>
                    </a:cubicBezTo>
                    <a:cubicBezTo>
                      <a:pt x="1223" y="1395"/>
                      <a:pt x="1223" y="1395"/>
                      <a:pt x="1223" y="1395"/>
                    </a:cubicBezTo>
                    <a:cubicBezTo>
                      <a:pt x="1226" y="1395"/>
                      <a:pt x="1226" y="1395"/>
                      <a:pt x="1226" y="1395"/>
                    </a:cubicBezTo>
                    <a:cubicBezTo>
                      <a:pt x="1231" y="1398"/>
                      <a:pt x="1231" y="1398"/>
                      <a:pt x="1231" y="1398"/>
                    </a:cubicBezTo>
                    <a:cubicBezTo>
                      <a:pt x="1233" y="1398"/>
                      <a:pt x="1233" y="1398"/>
                      <a:pt x="1233" y="1398"/>
                    </a:cubicBezTo>
                    <a:cubicBezTo>
                      <a:pt x="1235" y="1400"/>
                      <a:pt x="1235" y="1400"/>
                      <a:pt x="1235" y="1400"/>
                    </a:cubicBezTo>
                    <a:cubicBezTo>
                      <a:pt x="1241" y="1400"/>
                      <a:pt x="1241" y="1400"/>
                      <a:pt x="1241" y="1400"/>
                    </a:cubicBezTo>
                    <a:cubicBezTo>
                      <a:pt x="1242" y="1398"/>
                      <a:pt x="1242" y="1398"/>
                      <a:pt x="1242" y="1398"/>
                    </a:cubicBezTo>
                    <a:cubicBezTo>
                      <a:pt x="1245" y="1399"/>
                      <a:pt x="1245" y="1399"/>
                      <a:pt x="1245" y="1399"/>
                    </a:cubicBezTo>
                    <a:cubicBezTo>
                      <a:pt x="1251" y="1399"/>
                      <a:pt x="1251" y="1399"/>
                      <a:pt x="1251" y="1399"/>
                    </a:cubicBezTo>
                    <a:cubicBezTo>
                      <a:pt x="1249" y="1401"/>
                      <a:pt x="1249" y="1401"/>
                      <a:pt x="1249" y="1401"/>
                    </a:cubicBezTo>
                    <a:cubicBezTo>
                      <a:pt x="1245" y="1401"/>
                      <a:pt x="1245" y="1401"/>
                      <a:pt x="1245" y="1401"/>
                    </a:cubicBezTo>
                    <a:cubicBezTo>
                      <a:pt x="1244" y="1405"/>
                      <a:pt x="1244" y="1405"/>
                      <a:pt x="1244" y="1405"/>
                    </a:cubicBezTo>
                    <a:cubicBezTo>
                      <a:pt x="1244" y="1407"/>
                      <a:pt x="1244" y="1407"/>
                      <a:pt x="1244" y="1407"/>
                    </a:cubicBezTo>
                    <a:cubicBezTo>
                      <a:pt x="1243" y="1411"/>
                      <a:pt x="1243" y="1411"/>
                      <a:pt x="1243" y="1411"/>
                    </a:cubicBezTo>
                    <a:cubicBezTo>
                      <a:pt x="1240" y="1412"/>
                      <a:pt x="1240" y="1412"/>
                      <a:pt x="1240" y="1412"/>
                    </a:cubicBezTo>
                    <a:close/>
                    <a:moveTo>
                      <a:pt x="1268" y="1424"/>
                    </a:moveTo>
                    <a:cubicBezTo>
                      <a:pt x="1267" y="1422"/>
                      <a:pt x="1267" y="1422"/>
                      <a:pt x="1267" y="1422"/>
                    </a:cubicBezTo>
                    <a:cubicBezTo>
                      <a:pt x="1261" y="1419"/>
                      <a:pt x="1261" y="1419"/>
                      <a:pt x="1261" y="1419"/>
                    </a:cubicBezTo>
                    <a:cubicBezTo>
                      <a:pt x="1260" y="1414"/>
                      <a:pt x="1260" y="1414"/>
                      <a:pt x="1260" y="1414"/>
                    </a:cubicBezTo>
                    <a:cubicBezTo>
                      <a:pt x="1259" y="1411"/>
                      <a:pt x="1259" y="1411"/>
                      <a:pt x="1259" y="1411"/>
                    </a:cubicBezTo>
                    <a:cubicBezTo>
                      <a:pt x="1261" y="1409"/>
                      <a:pt x="1261" y="1409"/>
                      <a:pt x="1261" y="1409"/>
                    </a:cubicBezTo>
                    <a:cubicBezTo>
                      <a:pt x="1266" y="1406"/>
                      <a:pt x="1266" y="1406"/>
                      <a:pt x="1266" y="1406"/>
                    </a:cubicBezTo>
                    <a:cubicBezTo>
                      <a:pt x="1270" y="1400"/>
                      <a:pt x="1270" y="1400"/>
                      <a:pt x="1270" y="1400"/>
                    </a:cubicBezTo>
                    <a:cubicBezTo>
                      <a:pt x="1272" y="1398"/>
                      <a:pt x="1272" y="1398"/>
                      <a:pt x="1272" y="1398"/>
                    </a:cubicBezTo>
                    <a:cubicBezTo>
                      <a:pt x="1274" y="1394"/>
                      <a:pt x="1274" y="1394"/>
                      <a:pt x="1274" y="1394"/>
                    </a:cubicBezTo>
                    <a:cubicBezTo>
                      <a:pt x="1278" y="1391"/>
                      <a:pt x="1278" y="1391"/>
                      <a:pt x="1278" y="1391"/>
                    </a:cubicBezTo>
                    <a:cubicBezTo>
                      <a:pt x="1280" y="1388"/>
                      <a:pt x="1280" y="1388"/>
                      <a:pt x="1280" y="1388"/>
                    </a:cubicBezTo>
                    <a:cubicBezTo>
                      <a:pt x="1283" y="1388"/>
                      <a:pt x="1283" y="1388"/>
                      <a:pt x="1283" y="1388"/>
                    </a:cubicBezTo>
                    <a:cubicBezTo>
                      <a:pt x="1283" y="1389"/>
                      <a:pt x="1283" y="1389"/>
                      <a:pt x="1283" y="1389"/>
                    </a:cubicBezTo>
                    <a:cubicBezTo>
                      <a:pt x="1281" y="1392"/>
                      <a:pt x="1281" y="1392"/>
                      <a:pt x="1281" y="1392"/>
                    </a:cubicBezTo>
                    <a:cubicBezTo>
                      <a:pt x="1285" y="1392"/>
                      <a:pt x="1285" y="1392"/>
                      <a:pt x="1285" y="1392"/>
                    </a:cubicBezTo>
                    <a:cubicBezTo>
                      <a:pt x="1285" y="1395"/>
                      <a:pt x="1285" y="1395"/>
                      <a:pt x="1285" y="1395"/>
                    </a:cubicBezTo>
                    <a:cubicBezTo>
                      <a:pt x="1280" y="1401"/>
                      <a:pt x="1280" y="1401"/>
                      <a:pt x="1280" y="1401"/>
                    </a:cubicBezTo>
                    <a:cubicBezTo>
                      <a:pt x="1278" y="1404"/>
                      <a:pt x="1278" y="1404"/>
                      <a:pt x="1278" y="1404"/>
                    </a:cubicBezTo>
                    <a:cubicBezTo>
                      <a:pt x="1282" y="1405"/>
                      <a:pt x="1282" y="1405"/>
                      <a:pt x="1282" y="1405"/>
                    </a:cubicBezTo>
                    <a:cubicBezTo>
                      <a:pt x="1283" y="1408"/>
                      <a:pt x="1283" y="1408"/>
                      <a:pt x="1283" y="1408"/>
                    </a:cubicBezTo>
                    <a:cubicBezTo>
                      <a:pt x="1282" y="1410"/>
                      <a:pt x="1282" y="1410"/>
                      <a:pt x="1282" y="1410"/>
                    </a:cubicBezTo>
                    <a:cubicBezTo>
                      <a:pt x="1283" y="1412"/>
                      <a:pt x="1283" y="1412"/>
                      <a:pt x="1283" y="1412"/>
                    </a:cubicBezTo>
                    <a:cubicBezTo>
                      <a:pt x="1285" y="1410"/>
                      <a:pt x="1285" y="1410"/>
                      <a:pt x="1285" y="1410"/>
                    </a:cubicBezTo>
                    <a:cubicBezTo>
                      <a:pt x="1285" y="1407"/>
                      <a:pt x="1285" y="1407"/>
                      <a:pt x="1285" y="1407"/>
                    </a:cubicBezTo>
                    <a:cubicBezTo>
                      <a:pt x="1287" y="1407"/>
                      <a:pt x="1287" y="1407"/>
                      <a:pt x="1287" y="1407"/>
                    </a:cubicBezTo>
                    <a:cubicBezTo>
                      <a:pt x="1291" y="1408"/>
                      <a:pt x="1291" y="1408"/>
                      <a:pt x="1291" y="1408"/>
                    </a:cubicBezTo>
                    <a:cubicBezTo>
                      <a:pt x="1292" y="1412"/>
                      <a:pt x="1292" y="1412"/>
                      <a:pt x="1292" y="1412"/>
                    </a:cubicBezTo>
                    <a:cubicBezTo>
                      <a:pt x="1293" y="1414"/>
                      <a:pt x="1293" y="1414"/>
                      <a:pt x="1293" y="1414"/>
                    </a:cubicBezTo>
                    <a:cubicBezTo>
                      <a:pt x="1289" y="1415"/>
                      <a:pt x="1289" y="1415"/>
                      <a:pt x="1289" y="1415"/>
                    </a:cubicBezTo>
                    <a:cubicBezTo>
                      <a:pt x="1287" y="1417"/>
                      <a:pt x="1287" y="1417"/>
                      <a:pt x="1287" y="1417"/>
                    </a:cubicBezTo>
                    <a:cubicBezTo>
                      <a:pt x="1282" y="1417"/>
                      <a:pt x="1282" y="1417"/>
                      <a:pt x="1282" y="1417"/>
                    </a:cubicBezTo>
                    <a:cubicBezTo>
                      <a:pt x="1276" y="1421"/>
                      <a:pt x="1276" y="1421"/>
                      <a:pt x="1276" y="1421"/>
                    </a:cubicBezTo>
                    <a:cubicBezTo>
                      <a:pt x="1273" y="1421"/>
                      <a:pt x="1273" y="1421"/>
                      <a:pt x="1273" y="1421"/>
                    </a:cubicBezTo>
                    <a:cubicBezTo>
                      <a:pt x="1271" y="1419"/>
                      <a:pt x="1271" y="1419"/>
                      <a:pt x="1271" y="1419"/>
                    </a:cubicBezTo>
                    <a:cubicBezTo>
                      <a:pt x="1270" y="1420"/>
                      <a:pt x="1270" y="1420"/>
                      <a:pt x="1270" y="1420"/>
                    </a:cubicBezTo>
                    <a:cubicBezTo>
                      <a:pt x="1269" y="1423"/>
                      <a:pt x="1269" y="1423"/>
                      <a:pt x="1269" y="1423"/>
                    </a:cubicBezTo>
                    <a:cubicBezTo>
                      <a:pt x="1268" y="1424"/>
                      <a:pt x="1268" y="1424"/>
                      <a:pt x="1268" y="1424"/>
                    </a:cubicBezTo>
                    <a:close/>
                    <a:moveTo>
                      <a:pt x="970" y="1200"/>
                    </a:moveTo>
                    <a:cubicBezTo>
                      <a:pt x="971" y="1204"/>
                      <a:pt x="971" y="1204"/>
                      <a:pt x="971" y="1204"/>
                    </a:cubicBezTo>
                    <a:cubicBezTo>
                      <a:pt x="972" y="1205"/>
                      <a:pt x="972" y="1205"/>
                      <a:pt x="972" y="1205"/>
                    </a:cubicBezTo>
                    <a:cubicBezTo>
                      <a:pt x="972" y="1204"/>
                      <a:pt x="972" y="1204"/>
                      <a:pt x="972" y="1204"/>
                    </a:cubicBezTo>
                    <a:cubicBezTo>
                      <a:pt x="972" y="1199"/>
                      <a:pt x="972" y="1199"/>
                      <a:pt x="972" y="1199"/>
                    </a:cubicBezTo>
                    <a:cubicBezTo>
                      <a:pt x="971" y="1200"/>
                      <a:pt x="971" y="1200"/>
                      <a:pt x="971" y="1200"/>
                    </a:cubicBezTo>
                    <a:cubicBezTo>
                      <a:pt x="970" y="1200"/>
                      <a:pt x="970" y="1200"/>
                      <a:pt x="970" y="1200"/>
                    </a:cubicBezTo>
                    <a:close/>
                    <a:moveTo>
                      <a:pt x="969" y="1242"/>
                    </a:moveTo>
                    <a:cubicBezTo>
                      <a:pt x="971" y="1239"/>
                      <a:pt x="971" y="1239"/>
                      <a:pt x="971" y="1239"/>
                    </a:cubicBezTo>
                    <a:cubicBezTo>
                      <a:pt x="974" y="1239"/>
                      <a:pt x="974" y="1239"/>
                      <a:pt x="974" y="1239"/>
                    </a:cubicBezTo>
                    <a:cubicBezTo>
                      <a:pt x="975" y="1237"/>
                      <a:pt x="975" y="1237"/>
                      <a:pt x="975" y="1237"/>
                    </a:cubicBezTo>
                    <a:cubicBezTo>
                      <a:pt x="976" y="1240"/>
                      <a:pt x="976" y="1240"/>
                      <a:pt x="976" y="1240"/>
                    </a:cubicBezTo>
                    <a:cubicBezTo>
                      <a:pt x="972" y="1243"/>
                      <a:pt x="972" y="1243"/>
                      <a:pt x="972" y="1243"/>
                    </a:cubicBezTo>
                    <a:cubicBezTo>
                      <a:pt x="969" y="1242"/>
                      <a:pt x="969" y="1242"/>
                      <a:pt x="969" y="1242"/>
                    </a:cubicBezTo>
                    <a:close/>
                    <a:moveTo>
                      <a:pt x="934" y="1213"/>
                    </a:moveTo>
                    <a:cubicBezTo>
                      <a:pt x="938" y="1208"/>
                      <a:pt x="938" y="1208"/>
                      <a:pt x="938" y="1208"/>
                    </a:cubicBezTo>
                    <a:cubicBezTo>
                      <a:pt x="941" y="1209"/>
                      <a:pt x="941" y="1209"/>
                      <a:pt x="941" y="1209"/>
                    </a:cubicBezTo>
                    <a:cubicBezTo>
                      <a:pt x="941" y="1206"/>
                      <a:pt x="941" y="1206"/>
                      <a:pt x="941" y="1206"/>
                    </a:cubicBezTo>
                    <a:cubicBezTo>
                      <a:pt x="943" y="1205"/>
                      <a:pt x="943" y="1205"/>
                      <a:pt x="943" y="1205"/>
                    </a:cubicBezTo>
                    <a:cubicBezTo>
                      <a:pt x="947" y="1205"/>
                      <a:pt x="947" y="1205"/>
                      <a:pt x="947" y="1205"/>
                    </a:cubicBezTo>
                    <a:cubicBezTo>
                      <a:pt x="948" y="1206"/>
                      <a:pt x="948" y="1206"/>
                      <a:pt x="948" y="1206"/>
                    </a:cubicBezTo>
                    <a:cubicBezTo>
                      <a:pt x="951" y="1206"/>
                      <a:pt x="951" y="1206"/>
                      <a:pt x="951" y="1206"/>
                    </a:cubicBezTo>
                    <a:cubicBezTo>
                      <a:pt x="955" y="1209"/>
                      <a:pt x="955" y="1209"/>
                      <a:pt x="955" y="1209"/>
                    </a:cubicBezTo>
                    <a:cubicBezTo>
                      <a:pt x="956" y="1213"/>
                      <a:pt x="956" y="1213"/>
                      <a:pt x="956" y="1213"/>
                    </a:cubicBezTo>
                    <a:cubicBezTo>
                      <a:pt x="957" y="1215"/>
                      <a:pt x="957" y="1215"/>
                      <a:pt x="957" y="1215"/>
                    </a:cubicBezTo>
                    <a:cubicBezTo>
                      <a:pt x="956" y="1218"/>
                      <a:pt x="956" y="1218"/>
                      <a:pt x="956" y="1218"/>
                    </a:cubicBezTo>
                    <a:cubicBezTo>
                      <a:pt x="947" y="1216"/>
                      <a:pt x="947" y="1216"/>
                      <a:pt x="947" y="1216"/>
                    </a:cubicBezTo>
                    <a:cubicBezTo>
                      <a:pt x="944" y="1214"/>
                      <a:pt x="944" y="1214"/>
                      <a:pt x="944" y="1214"/>
                    </a:cubicBezTo>
                    <a:cubicBezTo>
                      <a:pt x="941" y="1214"/>
                      <a:pt x="941" y="1214"/>
                      <a:pt x="941" y="1214"/>
                    </a:cubicBezTo>
                    <a:cubicBezTo>
                      <a:pt x="941" y="1216"/>
                      <a:pt x="941" y="1216"/>
                      <a:pt x="941" y="1216"/>
                    </a:cubicBezTo>
                    <a:cubicBezTo>
                      <a:pt x="941" y="1217"/>
                      <a:pt x="941" y="1217"/>
                      <a:pt x="941" y="1217"/>
                    </a:cubicBezTo>
                    <a:cubicBezTo>
                      <a:pt x="939" y="1216"/>
                      <a:pt x="939" y="1216"/>
                      <a:pt x="939" y="1216"/>
                    </a:cubicBezTo>
                    <a:cubicBezTo>
                      <a:pt x="939" y="1214"/>
                      <a:pt x="939" y="1214"/>
                      <a:pt x="939" y="1214"/>
                    </a:cubicBezTo>
                    <a:cubicBezTo>
                      <a:pt x="935" y="1214"/>
                      <a:pt x="935" y="1214"/>
                      <a:pt x="935" y="1214"/>
                    </a:cubicBezTo>
                    <a:cubicBezTo>
                      <a:pt x="934" y="1213"/>
                      <a:pt x="934" y="1213"/>
                      <a:pt x="934" y="1213"/>
                    </a:cubicBezTo>
                    <a:close/>
                    <a:moveTo>
                      <a:pt x="147" y="1228"/>
                    </a:moveTo>
                    <a:cubicBezTo>
                      <a:pt x="151" y="1231"/>
                      <a:pt x="151" y="1231"/>
                      <a:pt x="151" y="1231"/>
                    </a:cubicBezTo>
                    <a:cubicBezTo>
                      <a:pt x="155" y="1235"/>
                      <a:pt x="155" y="1235"/>
                      <a:pt x="155" y="1235"/>
                    </a:cubicBezTo>
                    <a:cubicBezTo>
                      <a:pt x="154" y="1237"/>
                      <a:pt x="154" y="1237"/>
                      <a:pt x="154" y="1237"/>
                    </a:cubicBezTo>
                    <a:cubicBezTo>
                      <a:pt x="148" y="1232"/>
                      <a:pt x="148" y="1232"/>
                      <a:pt x="148" y="1232"/>
                    </a:cubicBezTo>
                    <a:cubicBezTo>
                      <a:pt x="147" y="1228"/>
                      <a:pt x="147" y="1228"/>
                      <a:pt x="147" y="1228"/>
                    </a:cubicBezTo>
                    <a:close/>
                    <a:moveTo>
                      <a:pt x="140" y="1219"/>
                    </a:moveTo>
                    <a:cubicBezTo>
                      <a:pt x="139" y="1214"/>
                      <a:pt x="139" y="1214"/>
                      <a:pt x="139" y="1214"/>
                    </a:cubicBezTo>
                    <a:cubicBezTo>
                      <a:pt x="142" y="1213"/>
                      <a:pt x="142" y="1213"/>
                      <a:pt x="142" y="1213"/>
                    </a:cubicBezTo>
                    <a:cubicBezTo>
                      <a:pt x="140" y="1219"/>
                      <a:pt x="140" y="1219"/>
                      <a:pt x="140" y="1219"/>
                    </a:cubicBezTo>
                    <a:close/>
                    <a:moveTo>
                      <a:pt x="119" y="1201"/>
                    </a:moveTo>
                    <a:cubicBezTo>
                      <a:pt x="125" y="1204"/>
                      <a:pt x="125" y="1204"/>
                      <a:pt x="125" y="1204"/>
                    </a:cubicBezTo>
                    <a:cubicBezTo>
                      <a:pt x="124" y="1201"/>
                      <a:pt x="124" y="1201"/>
                      <a:pt x="124" y="1201"/>
                    </a:cubicBezTo>
                    <a:cubicBezTo>
                      <a:pt x="119" y="1201"/>
                      <a:pt x="119" y="1201"/>
                      <a:pt x="119" y="1201"/>
                    </a:cubicBezTo>
                    <a:close/>
                    <a:moveTo>
                      <a:pt x="87" y="1188"/>
                    </a:moveTo>
                    <a:cubicBezTo>
                      <a:pt x="89" y="1193"/>
                      <a:pt x="89" y="1193"/>
                      <a:pt x="89" y="1193"/>
                    </a:cubicBezTo>
                    <a:cubicBezTo>
                      <a:pt x="90" y="1193"/>
                      <a:pt x="90" y="1193"/>
                      <a:pt x="90" y="1193"/>
                    </a:cubicBezTo>
                    <a:cubicBezTo>
                      <a:pt x="92" y="1198"/>
                      <a:pt x="92" y="1198"/>
                      <a:pt x="92" y="1198"/>
                    </a:cubicBezTo>
                    <a:cubicBezTo>
                      <a:pt x="101" y="1199"/>
                      <a:pt x="101" y="1199"/>
                      <a:pt x="101" y="1199"/>
                    </a:cubicBezTo>
                    <a:cubicBezTo>
                      <a:pt x="97" y="1201"/>
                      <a:pt x="97" y="1201"/>
                      <a:pt x="97" y="1201"/>
                    </a:cubicBezTo>
                    <a:cubicBezTo>
                      <a:pt x="93" y="1201"/>
                      <a:pt x="93" y="1201"/>
                      <a:pt x="93" y="1201"/>
                    </a:cubicBezTo>
                    <a:cubicBezTo>
                      <a:pt x="90" y="1205"/>
                      <a:pt x="90" y="1205"/>
                      <a:pt x="90" y="1205"/>
                    </a:cubicBezTo>
                    <a:cubicBezTo>
                      <a:pt x="92" y="1206"/>
                      <a:pt x="92" y="1206"/>
                      <a:pt x="92" y="1206"/>
                    </a:cubicBezTo>
                    <a:cubicBezTo>
                      <a:pt x="90" y="1211"/>
                      <a:pt x="90" y="1211"/>
                      <a:pt x="90" y="1211"/>
                    </a:cubicBezTo>
                    <a:cubicBezTo>
                      <a:pt x="91" y="1212"/>
                      <a:pt x="91" y="1212"/>
                      <a:pt x="91" y="1212"/>
                    </a:cubicBezTo>
                    <a:cubicBezTo>
                      <a:pt x="96" y="1210"/>
                      <a:pt x="96" y="1210"/>
                      <a:pt x="96" y="1210"/>
                    </a:cubicBezTo>
                    <a:cubicBezTo>
                      <a:pt x="96" y="1214"/>
                      <a:pt x="96" y="1214"/>
                      <a:pt x="96" y="1214"/>
                    </a:cubicBezTo>
                    <a:cubicBezTo>
                      <a:pt x="100" y="1214"/>
                      <a:pt x="100" y="1214"/>
                      <a:pt x="100" y="1214"/>
                    </a:cubicBezTo>
                    <a:cubicBezTo>
                      <a:pt x="101" y="1217"/>
                      <a:pt x="101" y="1217"/>
                      <a:pt x="101" y="1217"/>
                    </a:cubicBezTo>
                    <a:cubicBezTo>
                      <a:pt x="104" y="1220"/>
                      <a:pt x="104" y="1220"/>
                      <a:pt x="104" y="1220"/>
                    </a:cubicBezTo>
                    <a:cubicBezTo>
                      <a:pt x="108" y="1218"/>
                      <a:pt x="108" y="1218"/>
                      <a:pt x="108" y="1218"/>
                    </a:cubicBezTo>
                    <a:cubicBezTo>
                      <a:pt x="103" y="1223"/>
                      <a:pt x="103" y="1223"/>
                      <a:pt x="103" y="1223"/>
                    </a:cubicBezTo>
                    <a:cubicBezTo>
                      <a:pt x="106" y="1228"/>
                      <a:pt x="106" y="1228"/>
                      <a:pt x="106" y="1228"/>
                    </a:cubicBezTo>
                    <a:cubicBezTo>
                      <a:pt x="108" y="1227"/>
                      <a:pt x="108" y="1227"/>
                      <a:pt x="108" y="1227"/>
                    </a:cubicBezTo>
                    <a:cubicBezTo>
                      <a:pt x="109" y="1224"/>
                      <a:pt x="109" y="1224"/>
                      <a:pt x="109" y="1224"/>
                    </a:cubicBezTo>
                    <a:cubicBezTo>
                      <a:pt x="114" y="1222"/>
                      <a:pt x="114" y="1222"/>
                      <a:pt x="114" y="1222"/>
                    </a:cubicBezTo>
                    <a:cubicBezTo>
                      <a:pt x="112" y="1227"/>
                      <a:pt x="112" y="1227"/>
                      <a:pt x="112" y="1227"/>
                    </a:cubicBezTo>
                    <a:cubicBezTo>
                      <a:pt x="109" y="1229"/>
                      <a:pt x="109" y="1229"/>
                      <a:pt x="109" y="1229"/>
                    </a:cubicBezTo>
                    <a:cubicBezTo>
                      <a:pt x="110" y="1232"/>
                      <a:pt x="110" y="1232"/>
                      <a:pt x="110" y="1232"/>
                    </a:cubicBezTo>
                    <a:cubicBezTo>
                      <a:pt x="111" y="1232"/>
                      <a:pt x="111" y="1232"/>
                      <a:pt x="111" y="1232"/>
                    </a:cubicBezTo>
                    <a:cubicBezTo>
                      <a:pt x="113" y="1236"/>
                      <a:pt x="113" y="1236"/>
                      <a:pt x="113" y="1236"/>
                    </a:cubicBezTo>
                    <a:cubicBezTo>
                      <a:pt x="119" y="1236"/>
                      <a:pt x="119" y="1236"/>
                      <a:pt x="119" y="1236"/>
                    </a:cubicBezTo>
                    <a:cubicBezTo>
                      <a:pt x="119" y="1239"/>
                      <a:pt x="119" y="1239"/>
                      <a:pt x="119" y="1239"/>
                    </a:cubicBezTo>
                    <a:cubicBezTo>
                      <a:pt x="121" y="1239"/>
                      <a:pt x="121" y="1239"/>
                      <a:pt x="121" y="1239"/>
                    </a:cubicBezTo>
                    <a:cubicBezTo>
                      <a:pt x="123" y="1243"/>
                      <a:pt x="123" y="1243"/>
                      <a:pt x="123" y="1243"/>
                    </a:cubicBezTo>
                    <a:cubicBezTo>
                      <a:pt x="121" y="1246"/>
                      <a:pt x="121" y="1246"/>
                      <a:pt x="121" y="1246"/>
                    </a:cubicBezTo>
                    <a:cubicBezTo>
                      <a:pt x="126" y="1250"/>
                      <a:pt x="126" y="1250"/>
                      <a:pt x="126" y="1250"/>
                    </a:cubicBezTo>
                    <a:cubicBezTo>
                      <a:pt x="129" y="1247"/>
                      <a:pt x="129" y="1247"/>
                      <a:pt x="129" y="1247"/>
                    </a:cubicBezTo>
                    <a:cubicBezTo>
                      <a:pt x="130" y="1249"/>
                      <a:pt x="130" y="1249"/>
                      <a:pt x="130" y="1249"/>
                    </a:cubicBezTo>
                    <a:cubicBezTo>
                      <a:pt x="134" y="1249"/>
                      <a:pt x="134" y="1249"/>
                      <a:pt x="134" y="1249"/>
                    </a:cubicBezTo>
                    <a:cubicBezTo>
                      <a:pt x="129" y="1255"/>
                      <a:pt x="129" y="1255"/>
                      <a:pt x="129" y="1255"/>
                    </a:cubicBezTo>
                    <a:cubicBezTo>
                      <a:pt x="136" y="1262"/>
                      <a:pt x="136" y="1262"/>
                      <a:pt x="136" y="1262"/>
                    </a:cubicBezTo>
                    <a:cubicBezTo>
                      <a:pt x="138" y="1262"/>
                      <a:pt x="138" y="1262"/>
                      <a:pt x="138" y="1262"/>
                    </a:cubicBezTo>
                    <a:cubicBezTo>
                      <a:pt x="140" y="1265"/>
                      <a:pt x="140" y="1265"/>
                      <a:pt x="140" y="1265"/>
                    </a:cubicBezTo>
                    <a:cubicBezTo>
                      <a:pt x="152" y="1271"/>
                      <a:pt x="152" y="1271"/>
                      <a:pt x="152" y="1271"/>
                    </a:cubicBezTo>
                    <a:cubicBezTo>
                      <a:pt x="153" y="1270"/>
                      <a:pt x="153" y="1270"/>
                      <a:pt x="153" y="1270"/>
                    </a:cubicBezTo>
                    <a:cubicBezTo>
                      <a:pt x="157" y="1271"/>
                      <a:pt x="157" y="1271"/>
                      <a:pt x="157" y="1271"/>
                    </a:cubicBezTo>
                    <a:cubicBezTo>
                      <a:pt x="154" y="1261"/>
                      <a:pt x="154" y="1261"/>
                      <a:pt x="154" y="1261"/>
                    </a:cubicBezTo>
                    <a:cubicBezTo>
                      <a:pt x="155" y="1256"/>
                      <a:pt x="155" y="1256"/>
                      <a:pt x="155" y="1256"/>
                    </a:cubicBezTo>
                    <a:cubicBezTo>
                      <a:pt x="154" y="1253"/>
                      <a:pt x="154" y="1253"/>
                      <a:pt x="154" y="1253"/>
                    </a:cubicBezTo>
                    <a:cubicBezTo>
                      <a:pt x="154" y="1246"/>
                      <a:pt x="154" y="1246"/>
                      <a:pt x="154" y="1246"/>
                    </a:cubicBezTo>
                    <a:cubicBezTo>
                      <a:pt x="151" y="1242"/>
                      <a:pt x="151" y="1242"/>
                      <a:pt x="151" y="1242"/>
                    </a:cubicBezTo>
                    <a:cubicBezTo>
                      <a:pt x="143" y="1236"/>
                      <a:pt x="143" y="1236"/>
                      <a:pt x="143" y="1236"/>
                    </a:cubicBezTo>
                    <a:cubicBezTo>
                      <a:pt x="142" y="1225"/>
                      <a:pt x="142" y="1225"/>
                      <a:pt x="142" y="1225"/>
                    </a:cubicBezTo>
                    <a:cubicBezTo>
                      <a:pt x="137" y="1219"/>
                      <a:pt x="137" y="1219"/>
                      <a:pt x="137" y="1219"/>
                    </a:cubicBezTo>
                    <a:cubicBezTo>
                      <a:pt x="137" y="1212"/>
                      <a:pt x="137" y="1212"/>
                      <a:pt x="137" y="1212"/>
                    </a:cubicBezTo>
                    <a:cubicBezTo>
                      <a:pt x="135" y="1210"/>
                      <a:pt x="135" y="1210"/>
                      <a:pt x="135" y="1210"/>
                    </a:cubicBezTo>
                    <a:cubicBezTo>
                      <a:pt x="131" y="1210"/>
                      <a:pt x="131" y="1210"/>
                      <a:pt x="131" y="1210"/>
                    </a:cubicBezTo>
                    <a:cubicBezTo>
                      <a:pt x="124" y="1206"/>
                      <a:pt x="124" y="1206"/>
                      <a:pt x="124" y="1206"/>
                    </a:cubicBezTo>
                    <a:cubicBezTo>
                      <a:pt x="120" y="1206"/>
                      <a:pt x="120" y="1206"/>
                      <a:pt x="120" y="1206"/>
                    </a:cubicBezTo>
                    <a:cubicBezTo>
                      <a:pt x="116" y="1205"/>
                      <a:pt x="116" y="1205"/>
                      <a:pt x="116" y="1205"/>
                    </a:cubicBezTo>
                    <a:cubicBezTo>
                      <a:pt x="114" y="1201"/>
                      <a:pt x="114" y="1201"/>
                      <a:pt x="114" y="1201"/>
                    </a:cubicBezTo>
                    <a:cubicBezTo>
                      <a:pt x="108" y="1198"/>
                      <a:pt x="108" y="1198"/>
                      <a:pt x="108" y="1198"/>
                    </a:cubicBezTo>
                    <a:cubicBezTo>
                      <a:pt x="105" y="1195"/>
                      <a:pt x="105" y="1195"/>
                      <a:pt x="105" y="1195"/>
                    </a:cubicBezTo>
                    <a:cubicBezTo>
                      <a:pt x="104" y="1191"/>
                      <a:pt x="104" y="1191"/>
                      <a:pt x="104" y="1191"/>
                    </a:cubicBezTo>
                    <a:cubicBezTo>
                      <a:pt x="100" y="1192"/>
                      <a:pt x="100" y="1192"/>
                      <a:pt x="100" y="1192"/>
                    </a:cubicBezTo>
                    <a:cubicBezTo>
                      <a:pt x="98" y="1188"/>
                      <a:pt x="98" y="1188"/>
                      <a:pt x="98" y="1188"/>
                    </a:cubicBezTo>
                    <a:cubicBezTo>
                      <a:pt x="94" y="1187"/>
                      <a:pt x="94" y="1187"/>
                      <a:pt x="94" y="1187"/>
                    </a:cubicBezTo>
                    <a:cubicBezTo>
                      <a:pt x="93" y="1188"/>
                      <a:pt x="93" y="1188"/>
                      <a:pt x="93" y="1188"/>
                    </a:cubicBezTo>
                    <a:cubicBezTo>
                      <a:pt x="87" y="1188"/>
                      <a:pt x="87" y="1188"/>
                      <a:pt x="87" y="1188"/>
                    </a:cubicBezTo>
                    <a:close/>
                    <a:moveTo>
                      <a:pt x="122" y="1196"/>
                    </a:moveTo>
                    <a:cubicBezTo>
                      <a:pt x="124" y="1196"/>
                      <a:pt x="124" y="1196"/>
                      <a:pt x="124" y="1196"/>
                    </a:cubicBezTo>
                    <a:cubicBezTo>
                      <a:pt x="125" y="1194"/>
                      <a:pt x="125" y="1194"/>
                      <a:pt x="125" y="1194"/>
                    </a:cubicBezTo>
                    <a:cubicBezTo>
                      <a:pt x="128" y="1196"/>
                      <a:pt x="128" y="1196"/>
                      <a:pt x="128" y="1196"/>
                    </a:cubicBezTo>
                    <a:cubicBezTo>
                      <a:pt x="125" y="1199"/>
                      <a:pt x="125" y="1199"/>
                      <a:pt x="125" y="1199"/>
                    </a:cubicBezTo>
                    <a:cubicBezTo>
                      <a:pt x="121" y="1199"/>
                      <a:pt x="121" y="1199"/>
                      <a:pt x="121" y="1199"/>
                    </a:cubicBezTo>
                    <a:cubicBezTo>
                      <a:pt x="122" y="1196"/>
                      <a:pt x="122" y="1196"/>
                      <a:pt x="122" y="1196"/>
                    </a:cubicBezTo>
                    <a:close/>
                    <a:moveTo>
                      <a:pt x="118" y="1193"/>
                    </a:moveTo>
                    <a:cubicBezTo>
                      <a:pt x="120" y="1190"/>
                      <a:pt x="120" y="1190"/>
                      <a:pt x="120" y="1190"/>
                    </a:cubicBezTo>
                    <a:cubicBezTo>
                      <a:pt x="122" y="1193"/>
                      <a:pt x="122" y="1193"/>
                      <a:pt x="122" y="1193"/>
                    </a:cubicBezTo>
                    <a:cubicBezTo>
                      <a:pt x="118" y="1193"/>
                      <a:pt x="118" y="1193"/>
                      <a:pt x="118" y="1193"/>
                    </a:cubicBezTo>
                    <a:close/>
                    <a:moveTo>
                      <a:pt x="96" y="1111"/>
                    </a:moveTo>
                    <a:cubicBezTo>
                      <a:pt x="96" y="1116"/>
                      <a:pt x="96" y="1116"/>
                      <a:pt x="96" y="1116"/>
                    </a:cubicBezTo>
                    <a:cubicBezTo>
                      <a:pt x="98" y="1114"/>
                      <a:pt x="98" y="1114"/>
                      <a:pt x="98" y="1114"/>
                    </a:cubicBezTo>
                    <a:cubicBezTo>
                      <a:pt x="96" y="1111"/>
                      <a:pt x="96" y="1111"/>
                      <a:pt x="96" y="1111"/>
                    </a:cubicBezTo>
                    <a:close/>
                    <a:moveTo>
                      <a:pt x="106" y="1150"/>
                    </a:moveTo>
                    <a:cubicBezTo>
                      <a:pt x="106" y="1147"/>
                      <a:pt x="106" y="1147"/>
                      <a:pt x="106" y="1147"/>
                    </a:cubicBezTo>
                    <a:cubicBezTo>
                      <a:pt x="108" y="1146"/>
                      <a:pt x="108" y="1146"/>
                      <a:pt x="108" y="1146"/>
                    </a:cubicBezTo>
                    <a:cubicBezTo>
                      <a:pt x="109" y="1147"/>
                      <a:pt x="109" y="1147"/>
                      <a:pt x="109" y="1147"/>
                    </a:cubicBezTo>
                    <a:cubicBezTo>
                      <a:pt x="107" y="1150"/>
                      <a:pt x="107" y="1150"/>
                      <a:pt x="107" y="1150"/>
                    </a:cubicBezTo>
                    <a:cubicBezTo>
                      <a:pt x="106" y="1150"/>
                      <a:pt x="106" y="1150"/>
                      <a:pt x="106" y="1150"/>
                    </a:cubicBezTo>
                    <a:close/>
                    <a:moveTo>
                      <a:pt x="105" y="1161"/>
                    </a:moveTo>
                    <a:cubicBezTo>
                      <a:pt x="103" y="1164"/>
                      <a:pt x="103" y="1164"/>
                      <a:pt x="103" y="1164"/>
                    </a:cubicBezTo>
                    <a:cubicBezTo>
                      <a:pt x="103" y="1167"/>
                      <a:pt x="103" y="1167"/>
                      <a:pt x="103" y="1167"/>
                    </a:cubicBezTo>
                    <a:cubicBezTo>
                      <a:pt x="105" y="1169"/>
                      <a:pt x="105" y="1169"/>
                      <a:pt x="105" y="1169"/>
                    </a:cubicBezTo>
                    <a:cubicBezTo>
                      <a:pt x="106" y="1164"/>
                      <a:pt x="106" y="1164"/>
                      <a:pt x="106" y="1164"/>
                    </a:cubicBezTo>
                    <a:cubicBezTo>
                      <a:pt x="105" y="1161"/>
                      <a:pt x="105" y="1161"/>
                      <a:pt x="105" y="1161"/>
                    </a:cubicBezTo>
                    <a:close/>
                    <a:moveTo>
                      <a:pt x="109" y="1157"/>
                    </a:moveTo>
                    <a:cubicBezTo>
                      <a:pt x="111" y="1152"/>
                      <a:pt x="111" y="1152"/>
                      <a:pt x="111" y="1152"/>
                    </a:cubicBezTo>
                    <a:cubicBezTo>
                      <a:pt x="110" y="1151"/>
                      <a:pt x="110" y="1151"/>
                      <a:pt x="110" y="1151"/>
                    </a:cubicBezTo>
                    <a:cubicBezTo>
                      <a:pt x="105" y="1153"/>
                      <a:pt x="105" y="1153"/>
                      <a:pt x="105" y="1153"/>
                    </a:cubicBezTo>
                    <a:cubicBezTo>
                      <a:pt x="104" y="1157"/>
                      <a:pt x="104" y="1157"/>
                      <a:pt x="104" y="1157"/>
                    </a:cubicBezTo>
                    <a:cubicBezTo>
                      <a:pt x="106" y="1157"/>
                      <a:pt x="106" y="1157"/>
                      <a:pt x="106" y="1157"/>
                    </a:cubicBezTo>
                    <a:cubicBezTo>
                      <a:pt x="106" y="1157"/>
                      <a:pt x="108" y="1157"/>
                      <a:pt x="109" y="1157"/>
                    </a:cubicBezTo>
                    <a:close/>
                    <a:moveTo>
                      <a:pt x="112" y="1153"/>
                    </a:moveTo>
                    <a:cubicBezTo>
                      <a:pt x="117" y="1147"/>
                      <a:pt x="117" y="1147"/>
                      <a:pt x="117" y="1147"/>
                    </a:cubicBezTo>
                    <a:cubicBezTo>
                      <a:pt x="120" y="1147"/>
                      <a:pt x="120" y="1147"/>
                      <a:pt x="120" y="1147"/>
                    </a:cubicBezTo>
                    <a:cubicBezTo>
                      <a:pt x="122" y="1144"/>
                      <a:pt x="122" y="1144"/>
                      <a:pt x="122" y="1144"/>
                    </a:cubicBezTo>
                    <a:cubicBezTo>
                      <a:pt x="128" y="1142"/>
                      <a:pt x="128" y="1142"/>
                      <a:pt x="128" y="1142"/>
                    </a:cubicBezTo>
                    <a:cubicBezTo>
                      <a:pt x="127" y="1144"/>
                      <a:pt x="127" y="1144"/>
                      <a:pt x="127" y="1144"/>
                    </a:cubicBezTo>
                    <a:cubicBezTo>
                      <a:pt x="121" y="1149"/>
                      <a:pt x="121" y="1149"/>
                      <a:pt x="121" y="1149"/>
                    </a:cubicBezTo>
                    <a:cubicBezTo>
                      <a:pt x="119" y="1149"/>
                      <a:pt x="119" y="1149"/>
                      <a:pt x="119" y="1149"/>
                    </a:cubicBezTo>
                    <a:cubicBezTo>
                      <a:pt x="114" y="1153"/>
                      <a:pt x="114" y="1153"/>
                      <a:pt x="114" y="1153"/>
                    </a:cubicBezTo>
                    <a:cubicBezTo>
                      <a:pt x="112" y="1153"/>
                      <a:pt x="112" y="1153"/>
                      <a:pt x="112" y="1153"/>
                    </a:cubicBezTo>
                    <a:close/>
                    <a:moveTo>
                      <a:pt x="109" y="1133"/>
                    </a:moveTo>
                    <a:cubicBezTo>
                      <a:pt x="109" y="1129"/>
                      <a:pt x="109" y="1129"/>
                      <a:pt x="109" y="1129"/>
                    </a:cubicBezTo>
                    <a:cubicBezTo>
                      <a:pt x="112" y="1126"/>
                      <a:pt x="112" y="1126"/>
                      <a:pt x="112" y="1126"/>
                    </a:cubicBezTo>
                    <a:cubicBezTo>
                      <a:pt x="113" y="1130"/>
                      <a:pt x="113" y="1130"/>
                      <a:pt x="113" y="1130"/>
                    </a:cubicBezTo>
                    <a:cubicBezTo>
                      <a:pt x="111" y="1131"/>
                      <a:pt x="111" y="1131"/>
                      <a:pt x="111" y="1131"/>
                    </a:cubicBezTo>
                    <a:cubicBezTo>
                      <a:pt x="111" y="1132"/>
                      <a:pt x="111" y="1132"/>
                      <a:pt x="111" y="1132"/>
                    </a:cubicBezTo>
                    <a:cubicBezTo>
                      <a:pt x="109" y="1133"/>
                      <a:pt x="109" y="1133"/>
                      <a:pt x="109" y="1133"/>
                    </a:cubicBezTo>
                    <a:close/>
                    <a:moveTo>
                      <a:pt x="101" y="1132"/>
                    </a:moveTo>
                    <a:cubicBezTo>
                      <a:pt x="106" y="1134"/>
                      <a:pt x="106" y="1134"/>
                      <a:pt x="106" y="1134"/>
                    </a:cubicBezTo>
                    <a:cubicBezTo>
                      <a:pt x="107" y="1132"/>
                      <a:pt x="107" y="1132"/>
                      <a:pt x="107" y="1132"/>
                    </a:cubicBezTo>
                    <a:cubicBezTo>
                      <a:pt x="106" y="1130"/>
                      <a:pt x="106" y="1130"/>
                      <a:pt x="106" y="1130"/>
                    </a:cubicBezTo>
                    <a:cubicBezTo>
                      <a:pt x="101" y="1132"/>
                      <a:pt x="101" y="1132"/>
                      <a:pt x="101" y="1132"/>
                    </a:cubicBezTo>
                    <a:close/>
                    <a:moveTo>
                      <a:pt x="96" y="1121"/>
                    </a:moveTo>
                    <a:cubicBezTo>
                      <a:pt x="95" y="1128"/>
                      <a:pt x="95" y="1128"/>
                      <a:pt x="95" y="1128"/>
                    </a:cubicBezTo>
                    <a:cubicBezTo>
                      <a:pt x="97" y="1130"/>
                      <a:pt x="97" y="1130"/>
                      <a:pt x="97" y="1130"/>
                    </a:cubicBezTo>
                    <a:cubicBezTo>
                      <a:pt x="98" y="1132"/>
                      <a:pt x="98" y="1132"/>
                      <a:pt x="98" y="1132"/>
                    </a:cubicBezTo>
                    <a:cubicBezTo>
                      <a:pt x="100" y="1129"/>
                      <a:pt x="100" y="1129"/>
                      <a:pt x="100" y="1129"/>
                    </a:cubicBezTo>
                    <a:cubicBezTo>
                      <a:pt x="98" y="1125"/>
                      <a:pt x="98" y="1125"/>
                      <a:pt x="98" y="1125"/>
                    </a:cubicBezTo>
                    <a:cubicBezTo>
                      <a:pt x="96" y="1121"/>
                      <a:pt x="96" y="1121"/>
                      <a:pt x="96" y="1121"/>
                    </a:cubicBezTo>
                    <a:close/>
                    <a:moveTo>
                      <a:pt x="99" y="1118"/>
                    </a:moveTo>
                    <a:cubicBezTo>
                      <a:pt x="102" y="1118"/>
                      <a:pt x="102" y="1118"/>
                      <a:pt x="102" y="1118"/>
                    </a:cubicBezTo>
                    <a:cubicBezTo>
                      <a:pt x="101" y="1121"/>
                      <a:pt x="101" y="1121"/>
                      <a:pt x="101" y="1121"/>
                    </a:cubicBezTo>
                    <a:cubicBezTo>
                      <a:pt x="101" y="1124"/>
                      <a:pt x="101" y="1124"/>
                      <a:pt x="101" y="1124"/>
                    </a:cubicBezTo>
                    <a:cubicBezTo>
                      <a:pt x="104" y="1124"/>
                      <a:pt x="104" y="1124"/>
                      <a:pt x="104" y="1124"/>
                    </a:cubicBezTo>
                    <a:cubicBezTo>
                      <a:pt x="108" y="1121"/>
                      <a:pt x="108" y="1121"/>
                      <a:pt x="108" y="1121"/>
                    </a:cubicBezTo>
                    <a:cubicBezTo>
                      <a:pt x="106" y="1125"/>
                      <a:pt x="106" y="1125"/>
                      <a:pt x="106" y="1125"/>
                    </a:cubicBezTo>
                    <a:cubicBezTo>
                      <a:pt x="106" y="1128"/>
                      <a:pt x="106" y="1128"/>
                      <a:pt x="106" y="1128"/>
                    </a:cubicBezTo>
                    <a:cubicBezTo>
                      <a:pt x="110" y="1124"/>
                      <a:pt x="110" y="1124"/>
                      <a:pt x="110" y="1124"/>
                    </a:cubicBezTo>
                    <a:cubicBezTo>
                      <a:pt x="111" y="1116"/>
                      <a:pt x="111" y="1116"/>
                      <a:pt x="111" y="1116"/>
                    </a:cubicBezTo>
                    <a:cubicBezTo>
                      <a:pt x="106" y="1113"/>
                      <a:pt x="106" y="1113"/>
                      <a:pt x="106" y="1113"/>
                    </a:cubicBezTo>
                    <a:cubicBezTo>
                      <a:pt x="103" y="1114"/>
                      <a:pt x="103" y="1114"/>
                      <a:pt x="103" y="1114"/>
                    </a:cubicBezTo>
                    <a:cubicBezTo>
                      <a:pt x="99" y="1118"/>
                      <a:pt x="99" y="1118"/>
                      <a:pt x="99" y="1118"/>
                    </a:cubicBezTo>
                    <a:close/>
                    <a:moveTo>
                      <a:pt x="99" y="1110"/>
                    </a:moveTo>
                    <a:cubicBezTo>
                      <a:pt x="101" y="1112"/>
                      <a:pt x="101" y="1112"/>
                      <a:pt x="101" y="1112"/>
                    </a:cubicBezTo>
                    <a:cubicBezTo>
                      <a:pt x="102" y="1110"/>
                      <a:pt x="102" y="1110"/>
                      <a:pt x="102" y="1110"/>
                    </a:cubicBezTo>
                    <a:cubicBezTo>
                      <a:pt x="101" y="1108"/>
                      <a:pt x="101" y="1108"/>
                      <a:pt x="101" y="1108"/>
                    </a:cubicBezTo>
                    <a:cubicBezTo>
                      <a:pt x="99" y="1110"/>
                      <a:pt x="99" y="1110"/>
                      <a:pt x="99" y="1110"/>
                    </a:cubicBezTo>
                    <a:close/>
                    <a:moveTo>
                      <a:pt x="106" y="1104"/>
                    </a:moveTo>
                    <a:cubicBezTo>
                      <a:pt x="107" y="1099"/>
                      <a:pt x="107" y="1099"/>
                      <a:pt x="107" y="1099"/>
                    </a:cubicBezTo>
                    <a:cubicBezTo>
                      <a:pt x="111" y="1097"/>
                      <a:pt x="111" y="1097"/>
                      <a:pt x="111" y="1097"/>
                    </a:cubicBezTo>
                    <a:cubicBezTo>
                      <a:pt x="113" y="1097"/>
                      <a:pt x="113" y="1097"/>
                      <a:pt x="113" y="1097"/>
                    </a:cubicBezTo>
                    <a:cubicBezTo>
                      <a:pt x="112" y="1100"/>
                      <a:pt x="112" y="1100"/>
                      <a:pt x="112" y="1100"/>
                    </a:cubicBezTo>
                    <a:cubicBezTo>
                      <a:pt x="108" y="1102"/>
                      <a:pt x="108" y="1102"/>
                      <a:pt x="108" y="1102"/>
                    </a:cubicBezTo>
                    <a:cubicBezTo>
                      <a:pt x="106" y="1104"/>
                      <a:pt x="106" y="1104"/>
                      <a:pt x="106" y="1104"/>
                    </a:cubicBezTo>
                    <a:close/>
                    <a:moveTo>
                      <a:pt x="83" y="1093"/>
                    </a:moveTo>
                    <a:cubicBezTo>
                      <a:pt x="90" y="1102"/>
                      <a:pt x="90" y="1102"/>
                      <a:pt x="90" y="1102"/>
                    </a:cubicBezTo>
                    <a:cubicBezTo>
                      <a:pt x="93" y="1107"/>
                      <a:pt x="93" y="1107"/>
                      <a:pt x="93" y="1107"/>
                    </a:cubicBezTo>
                    <a:cubicBezTo>
                      <a:pt x="92" y="1110"/>
                      <a:pt x="92" y="1110"/>
                      <a:pt x="92" y="1110"/>
                    </a:cubicBezTo>
                    <a:cubicBezTo>
                      <a:pt x="89" y="1109"/>
                      <a:pt x="89" y="1109"/>
                      <a:pt x="89" y="1109"/>
                    </a:cubicBezTo>
                    <a:cubicBezTo>
                      <a:pt x="89" y="1105"/>
                      <a:pt x="89" y="1105"/>
                      <a:pt x="89" y="1105"/>
                    </a:cubicBezTo>
                    <a:cubicBezTo>
                      <a:pt x="83" y="1099"/>
                      <a:pt x="83" y="1099"/>
                      <a:pt x="83" y="1099"/>
                    </a:cubicBezTo>
                    <a:cubicBezTo>
                      <a:pt x="81" y="1095"/>
                      <a:pt x="81" y="1095"/>
                      <a:pt x="81" y="1095"/>
                    </a:cubicBezTo>
                    <a:cubicBezTo>
                      <a:pt x="81" y="1095"/>
                      <a:pt x="82" y="1093"/>
                      <a:pt x="83" y="1093"/>
                    </a:cubicBezTo>
                    <a:close/>
                    <a:moveTo>
                      <a:pt x="90" y="1089"/>
                    </a:moveTo>
                    <a:cubicBezTo>
                      <a:pt x="90" y="1094"/>
                      <a:pt x="90" y="1094"/>
                      <a:pt x="90" y="1094"/>
                    </a:cubicBezTo>
                    <a:cubicBezTo>
                      <a:pt x="93" y="1098"/>
                      <a:pt x="93" y="1098"/>
                      <a:pt x="93" y="1098"/>
                    </a:cubicBezTo>
                    <a:cubicBezTo>
                      <a:pt x="94" y="1103"/>
                      <a:pt x="94" y="1103"/>
                      <a:pt x="94" y="1103"/>
                    </a:cubicBezTo>
                    <a:cubicBezTo>
                      <a:pt x="98" y="1107"/>
                      <a:pt x="98" y="1107"/>
                      <a:pt x="98" y="1107"/>
                    </a:cubicBezTo>
                    <a:cubicBezTo>
                      <a:pt x="98" y="1101"/>
                      <a:pt x="98" y="1101"/>
                      <a:pt x="98" y="1101"/>
                    </a:cubicBezTo>
                    <a:cubicBezTo>
                      <a:pt x="95" y="1093"/>
                      <a:pt x="95" y="1093"/>
                      <a:pt x="95" y="1093"/>
                    </a:cubicBezTo>
                    <a:cubicBezTo>
                      <a:pt x="93" y="1088"/>
                      <a:pt x="93" y="1088"/>
                      <a:pt x="93" y="1088"/>
                    </a:cubicBezTo>
                    <a:cubicBezTo>
                      <a:pt x="91" y="1088"/>
                      <a:pt x="91" y="1088"/>
                      <a:pt x="91" y="1088"/>
                    </a:cubicBezTo>
                    <a:cubicBezTo>
                      <a:pt x="90" y="1089"/>
                      <a:pt x="90" y="1089"/>
                      <a:pt x="90" y="1089"/>
                    </a:cubicBezTo>
                    <a:close/>
                    <a:moveTo>
                      <a:pt x="83" y="1084"/>
                    </a:moveTo>
                    <a:cubicBezTo>
                      <a:pt x="89" y="1084"/>
                      <a:pt x="89" y="1084"/>
                      <a:pt x="89" y="1084"/>
                    </a:cubicBezTo>
                    <a:cubicBezTo>
                      <a:pt x="89" y="1086"/>
                      <a:pt x="89" y="1086"/>
                      <a:pt x="89" y="1086"/>
                    </a:cubicBezTo>
                    <a:cubicBezTo>
                      <a:pt x="92" y="1086"/>
                      <a:pt x="92" y="1086"/>
                      <a:pt x="92" y="1086"/>
                    </a:cubicBezTo>
                    <a:cubicBezTo>
                      <a:pt x="93" y="1082"/>
                      <a:pt x="93" y="1082"/>
                      <a:pt x="93" y="1082"/>
                    </a:cubicBezTo>
                    <a:cubicBezTo>
                      <a:pt x="90" y="1079"/>
                      <a:pt x="90" y="1079"/>
                      <a:pt x="90" y="1079"/>
                    </a:cubicBezTo>
                    <a:cubicBezTo>
                      <a:pt x="85" y="1081"/>
                      <a:pt x="85" y="1081"/>
                      <a:pt x="85" y="1081"/>
                    </a:cubicBezTo>
                    <a:cubicBezTo>
                      <a:pt x="83" y="1084"/>
                      <a:pt x="83" y="1084"/>
                      <a:pt x="83" y="1084"/>
                    </a:cubicBezTo>
                    <a:close/>
                    <a:moveTo>
                      <a:pt x="43" y="1086"/>
                    </a:moveTo>
                    <a:cubicBezTo>
                      <a:pt x="42" y="1080"/>
                      <a:pt x="42" y="1080"/>
                      <a:pt x="42" y="1080"/>
                    </a:cubicBezTo>
                    <a:cubicBezTo>
                      <a:pt x="48" y="1070"/>
                      <a:pt x="48" y="1070"/>
                      <a:pt x="48" y="1070"/>
                    </a:cubicBezTo>
                    <a:cubicBezTo>
                      <a:pt x="54" y="1072"/>
                      <a:pt x="54" y="1072"/>
                      <a:pt x="54" y="1072"/>
                    </a:cubicBezTo>
                    <a:cubicBezTo>
                      <a:pt x="53" y="1076"/>
                      <a:pt x="53" y="1076"/>
                      <a:pt x="53" y="1076"/>
                    </a:cubicBezTo>
                    <a:cubicBezTo>
                      <a:pt x="55" y="1076"/>
                      <a:pt x="55" y="1076"/>
                      <a:pt x="55" y="1076"/>
                    </a:cubicBezTo>
                    <a:cubicBezTo>
                      <a:pt x="58" y="1073"/>
                      <a:pt x="58" y="1073"/>
                      <a:pt x="58" y="1073"/>
                    </a:cubicBezTo>
                    <a:cubicBezTo>
                      <a:pt x="60" y="1075"/>
                      <a:pt x="60" y="1075"/>
                      <a:pt x="60" y="1075"/>
                    </a:cubicBezTo>
                    <a:cubicBezTo>
                      <a:pt x="60" y="1077"/>
                      <a:pt x="60" y="1077"/>
                      <a:pt x="60" y="1077"/>
                    </a:cubicBezTo>
                    <a:cubicBezTo>
                      <a:pt x="60" y="1081"/>
                      <a:pt x="60" y="1081"/>
                      <a:pt x="60" y="1081"/>
                    </a:cubicBezTo>
                    <a:cubicBezTo>
                      <a:pt x="57" y="1084"/>
                      <a:pt x="57" y="1084"/>
                      <a:pt x="57" y="1084"/>
                    </a:cubicBezTo>
                    <a:cubicBezTo>
                      <a:pt x="49" y="1087"/>
                      <a:pt x="49" y="1087"/>
                      <a:pt x="49" y="1087"/>
                    </a:cubicBezTo>
                    <a:cubicBezTo>
                      <a:pt x="52" y="1089"/>
                      <a:pt x="52" y="1089"/>
                      <a:pt x="52" y="1089"/>
                    </a:cubicBezTo>
                    <a:cubicBezTo>
                      <a:pt x="52" y="1091"/>
                      <a:pt x="52" y="1091"/>
                      <a:pt x="52" y="1091"/>
                    </a:cubicBezTo>
                    <a:cubicBezTo>
                      <a:pt x="56" y="1090"/>
                      <a:pt x="56" y="1090"/>
                      <a:pt x="56" y="1090"/>
                    </a:cubicBezTo>
                    <a:cubicBezTo>
                      <a:pt x="59" y="1084"/>
                      <a:pt x="59" y="1084"/>
                      <a:pt x="59" y="1084"/>
                    </a:cubicBezTo>
                    <a:cubicBezTo>
                      <a:pt x="64" y="1079"/>
                      <a:pt x="64" y="1079"/>
                      <a:pt x="64" y="1079"/>
                    </a:cubicBezTo>
                    <a:cubicBezTo>
                      <a:pt x="70" y="1076"/>
                      <a:pt x="70" y="1076"/>
                      <a:pt x="70" y="1076"/>
                    </a:cubicBezTo>
                    <a:cubicBezTo>
                      <a:pt x="71" y="1076"/>
                      <a:pt x="71" y="1076"/>
                      <a:pt x="71" y="1076"/>
                    </a:cubicBezTo>
                    <a:cubicBezTo>
                      <a:pt x="65" y="1084"/>
                      <a:pt x="65" y="1084"/>
                      <a:pt x="65" y="1084"/>
                    </a:cubicBezTo>
                    <a:cubicBezTo>
                      <a:pt x="63" y="1089"/>
                      <a:pt x="63" y="1089"/>
                      <a:pt x="63" y="1089"/>
                    </a:cubicBezTo>
                    <a:cubicBezTo>
                      <a:pt x="60" y="1093"/>
                      <a:pt x="60" y="1093"/>
                      <a:pt x="60" y="1093"/>
                    </a:cubicBezTo>
                    <a:cubicBezTo>
                      <a:pt x="59" y="1100"/>
                      <a:pt x="59" y="1100"/>
                      <a:pt x="59" y="1100"/>
                    </a:cubicBezTo>
                    <a:cubicBezTo>
                      <a:pt x="55" y="1103"/>
                      <a:pt x="55" y="1103"/>
                      <a:pt x="55" y="1103"/>
                    </a:cubicBezTo>
                    <a:cubicBezTo>
                      <a:pt x="51" y="1103"/>
                      <a:pt x="51" y="1103"/>
                      <a:pt x="51" y="1103"/>
                    </a:cubicBezTo>
                    <a:cubicBezTo>
                      <a:pt x="49" y="1106"/>
                      <a:pt x="49" y="1106"/>
                      <a:pt x="49" y="1106"/>
                    </a:cubicBezTo>
                    <a:cubicBezTo>
                      <a:pt x="52" y="1106"/>
                      <a:pt x="52" y="1106"/>
                      <a:pt x="52" y="1106"/>
                    </a:cubicBezTo>
                    <a:cubicBezTo>
                      <a:pt x="54" y="1105"/>
                      <a:pt x="54" y="1105"/>
                      <a:pt x="54" y="1105"/>
                    </a:cubicBezTo>
                    <a:cubicBezTo>
                      <a:pt x="58" y="1105"/>
                      <a:pt x="58" y="1105"/>
                      <a:pt x="58" y="1105"/>
                    </a:cubicBezTo>
                    <a:cubicBezTo>
                      <a:pt x="59" y="1110"/>
                      <a:pt x="59" y="1110"/>
                      <a:pt x="59" y="1110"/>
                    </a:cubicBezTo>
                    <a:cubicBezTo>
                      <a:pt x="54" y="1110"/>
                      <a:pt x="54" y="1110"/>
                      <a:pt x="54" y="1110"/>
                    </a:cubicBezTo>
                    <a:cubicBezTo>
                      <a:pt x="51" y="1114"/>
                      <a:pt x="51" y="1114"/>
                      <a:pt x="51" y="1114"/>
                    </a:cubicBezTo>
                    <a:cubicBezTo>
                      <a:pt x="53" y="1118"/>
                      <a:pt x="53" y="1118"/>
                      <a:pt x="53" y="1118"/>
                    </a:cubicBezTo>
                    <a:cubicBezTo>
                      <a:pt x="52" y="1123"/>
                      <a:pt x="52" y="1123"/>
                      <a:pt x="52" y="1123"/>
                    </a:cubicBezTo>
                    <a:cubicBezTo>
                      <a:pt x="54" y="1130"/>
                      <a:pt x="54" y="1130"/>
                      <a:pt x="54" y="1130"/>
                    </a:cubicBezTo>
                    <a:cubicBezTo>
                      <a:pt x="55" y="1134"/>
                      <a:pt x="55" y="1134"/>
                      <a:pt x="55" y="1134"/>
                    </a:cubicBezTo>
                    <a:cubicBezTo>
                      <a:pt x="58" y="1134"/>
                      <a:pt x="58" y="1134"/>
                      <a:pt x="58" y="1134"/>
                    </a:cubicBezTo>
                    <a:cubicBezTo>
                      <a:pt x="60" y="1136"/>
                      <a:pt x="60" y="1136"/>
                      <a:pt x="60" y="1136"/>
                    </a:cubicBezTo>
                    <a:cubicBezTo>
                      <a:pt x="57" y="1139"/>
                      <a:pt x="57" y="1139"/>
                      <a:pt x="57" y="1139"/>
                    </a:cubicBezTo>
                    <a:cubicBezTo>
                      <a:pt x="52" y="1138"/>
                      <a:pt x="52" y="1138"/>
                      <a:pt x="52" y="1138"/>
                    </a:cubicBezTo>
                    <a:cubicBezTo>
                      <a:pt x="47" y="1126"/>
                      <a:pt x="47" y="1126"/>
                      <a:pt x="47" y="1126"/>
                    </a:cubicBezTo>
                    <a:cubicBezTo>
                      <a:pt x="46" y="1121"/>
                      <a:pt x="46" y="1121"/>
                      <a:pt x="46" y="1121"/>
                    </a:cubicBezTo>
                    <a:cubicBezTo>
                      <a:pt x="47" y="1119"/>
                      <a:pt x="47" y="1119"/>
                      <a:pt x="47" y="1119"/>
                    </a:cubicBezTo>
                    <a:cubicBezTo>
                      <a:pt x="43" y="1118"/>
                      <a:pt x="43" y="1118"/>
                      <a:pt x="43" y="1118"/>
                    </a:cubicBezTo>
                    <a:cubicBezTo>
                      <a:pt x="42" y="1115"/>
                      <a:pt x="42" y="1115"/>
                      <a:pt x="42" y="1115"/>
                    </a:cubicBezTo>
                    <a:cubicBezTo>
                      <a:pt x="43" y="1112"/>
                      <a:pt x="43" y="1112"/>
                      <a:pt x="43" y="1112"/>
                    </a:cubicBezTo>
                    <a:cubicBezTo>
                      <a:pt x="48" y="1112"/>
                      <a:pt x="48" y="1112"/>
                      <a:pt x="48" y="1112"/>
                    </a:cubicBezTo>
                    <a:cubicBezTo>
                      <a:pt x="44" y="1109"/>
                      <a:pt x="44" y="1109"/>
                      <a:pt x="44" y="1109"/>
                    </a:cubicBezTo>
                    <a:cubicBezTo>
                      <a:pt x="42" y="1108"/>
                      <a:pt x="42" y="1108"/>
                      <a:pt x="42" y="1108"/>
                    </a:cubicBezTo>
                    <a:cubicBezTo>
                      <a:pt x="44" y="1104"/>
                      <a:pt x="44" y="1104"/>
                      <a:pt x="44" y="1104"/>
                    </a:cubicBezTo>
                    <a:cubicBezTo>
                      <a:pt x="41" y="1101"/>
                      <a:pt x="41" y="1101"/>
                      <a:pt x="41" y="1101"/>
                    </a:cubicBezTo>
                    <a:cubicBezTo>
                      <a:pt x="42" y="1099"/>
                      <a:pt x="42" y="1099"/>
                      <a:pt x="42" y="1099"/>
                    </a:cubicBezTo>
                    <a:cubicBezTo>
                      <a:pt x="45" y="1099"/>
                      <a:pt x="45" y="1099"/>
                      <a:pt x="45" y="1099"/>
                    </a:cubicBezTo>
                    <a:cubicBezTo>
                      <a:pt x="47" y="1100"/>
                      <a:pt x="47" y="1100"/>
                      <a:pt x="47" y="1100"/>
                    </a:cubicBezTo>
                    <a:cubicBezTo>
                      <a:pt x="47" y="1097"/>
                      <a:pt x="47" y="1097"/>
                      <a:pt x="47" y="1097"/>
                    </a:cubicBezTo>
                    <a:cubicBezTo>
                      <a:pt x="44" y="1094"/>
                      <a:pt x="44" y="1094"/>
                      <a:pt x="44" y="1094"/>
                    </a:cubicBezTo>
                    <a:cubicBezTo>
                      <a:pt x="41" y="1093"/>
                      <a:pt x="41" y="1093"/>
                      <a:pt x="41" y="1093"/>
                    </a:cubicBezTo>
                    <a:cubicBezTo>
                      <a:pt x="41" y="1090"/>
                      <a:pt x="41" y="1090"/>
                      <a:pt x="41" y="1090"/>
                    </a:cubicBezTo>
                    <a:cubicBezTo>
                      <a:pt x="43" y="1086"/>
                      <a:pt x="43" y="1086"/>
                      <a:pt x="43" y="1086"/>
                    </a:cubicBezTo>
                    <a:close/>
                    <a:moveTo>
                      <a:pt x="89" y="1067"/>
                    </a:moveTo>
                    <a:cubicBezTo>
                      <a:pt x="88" y="1063"/>
                      <a:pt x="88" y="1063"/>
                      <a:pt x="88" y="1063"/>
                    </a:cubicBezTo>
                    <a:cubicBezTo>
                      <a:pt x="91" y="1062"/>
                      <a:pt x="91" y="1062"/>
                      <a:pt x="91" y="1062"/>
                    </a:cubicBezTo>
                    <a:cubicBezTo>
                      <a:pt x="91" y="1065"/>
                      <a:pt x="91" y="1065"/>
                      <a:pt x="91" y="1065"/>
                    </a:cubicBezTo>
                    <a:cubicBezTo>
                      <a:pt x="89" y="1067"/>
                      <a:pt x="89" y="1067"/>
                      <a:pt x="89" y="1067"/>
                    </a:cubicBezTo>
                    <a:close/>
                    <a:moveTo>
                      <a:pt x="481" y="502"/>
                    </a:moveTo>
                    <a:cubicBezTo>
                      <a:pt x="483" y="504"/>
                      <a:pt x="483" y="504"/>
                      <a:pt x="483" y="504"/>
                    </a:cubicBezTo>
                    <a:cubicBezTo>
                      <a:pt x="485" y="503"/>
                      <a:pt x="485" y="503"/>
                      <a:pt x="485" y="503"/>
                    </a:cubicBezTo>
                    <a:cubicBezTo>
                      <a:pt x="485" y="501"/>
                      <a:pt x="485" y="501"/>
                      <a:pt x="485" y="501"/>
                    </a:cubicBezTo>
                    <a:cubicBezTo>
                      <a:pt x="486" y="500"/>
                      <a:pt x="486" y="500"/>
                      <a:pt x="486" y="500"/>
                    </a:cubicBezTo>
                    <a:cubicBezTo>
                      <a:pt x="482" y="500"/>
                      <a:pt x="482" y="500"/>
                      <a:pt x="482" y="500"/>
                    </a:cubicBezTo>
                    <a:cubicBezTo>
                      <a:pt x="481" y="502"/>
                      <a:pt x="481" y="502"/>
                      <a:pt x="481" y="502"/>
                    </a:cubicBezTo>
                    <a:close/>
                    <a:moveTo>
                      <a:pt x="444" y="466"/>
                    </a:moveTo>
                    <a:cubicBezTo>
                      <a:pt x="446" y="467"/>
                      <a:pt x="446" y="467"/>
                      <a:pt x="446" y="467"/>
                    </a:cubicBezTo>
                    <a:cubicBezTo>
                      <a:pt x="450" y="465"/>
                      <a:pt x="450" y="465"/>
                      <a:pt x="450" y="465"/>
                    </a:cubicBezTo>
                    <a:cubicBezTo>
                      <a:pt x="450" y="461"/>
                      <a:pt x="450" y="461"/>
                      <a:pt x="450" y="461"/>
                    </a:cubicBezTo>
                    <a:cubicBezTo>
                      <a:pt x="446" y="464"/>
                      <a:pt x="446" y="464"/>
                      <a:pt x="446" y="464"/>
                    </a:cubicBezTo>
                    <a:cubicBezTo>
                      <a:pt x="444" y="466"/>
                      <a:pt x="444" y="466"/>
                      <a:pt x="444" y="466"/>
                    </a:cubicBezTo>
                    <a:close/>
                    <a:moveTo>
                      <a:pt x="308" y="477"/>
                    </a:moveTo>
                    <a:cubicBezTo>
                      <a:pt x="310" y="478"/>
                      <a:pt x="310" y="478"/>
                      <a:pt x="310" y="478"/>
                    </a:cubicBezTo>
                    <a:cubicBezTo>
                      <a:pt x="312" y="476"/>
                      <a:pt x="312" y="476"/>
                      <a:pt x="312" y="476"/>
                    </a:cubicBezTo>
                    <a:cubicBezTo>
                      <a:pt x="311" y="475"/>
                      <a:pt x="311" y="475"/>
                      <a:pt x="311" y="475"/>
                    </a:cubicBezTo>
                    <a:cubicBezTo>
                      <a:pt x="308" y="477"/>
                      <a:pt x="308" y="477"/>
                      <a:pt x="308" y="477"/>
                    </a:cubicBezTo>
                    <a:close/>
                    <a:moveTo>
                      <a:pt x="308" y="484"/>
                    </a:moveTo>
                    <a:cubicBezTo>
                      <a:pt x="307" y="482"/>
                      <a:pt x="307" y="482"/>
                      <a:pt x="307" y="482"/>
                    </a:cubicBezTo>
                    <a:cubicBezTo>
                      <a:pt x="309" y="481"/>
                      <a:pt x="309" y="481"/>
                      <a:pt x="309" y="481"/>
                    </a:cubicBezTo>
                    <a:cubicBezTo>
                      <a:pt x="310" y="483"/>
                      <a:pt x="310" y="483"/>
                      <a:pt x="310" y="483"/>
                    </a:cubicBezTo>
                    <a:cubicBezTo>
                      <a:pt x="308" y="484"/>
                      <a:pt x="308" y="484"/>
                      <a:pt x="308" y="484"/>
                    </a:cubicBezTo>
                    <a:close/>
                    <a:moveTo>
                      <a:pt x="301" y="495"/>
                    </a:moveTo>
                    <a:cubicBezTo>
                      <a:pt x="301" y="501"/>
                      <a:pt x="301" y="501"/>
                      <a:pt x="301" y="501"/>
                    </a:cubicBezTo>
                    <a:cubicBezTo>
                      <a:pt x="299" y="504"/>
                      <a:pt x="299" y="504"/>
                      <a:pt x="299" y="504"/>
                    </a:cubicBezTo>
                    <a:cubicBezTo>
                      <a:pt x="300" y="507"/>
                      <a:pt x="300" y="507"/>
                      <a:pt x="300" y="507"/>
                    </a:cubicBezTo>
                    <a:cubicBezTo>
                      <a:pt x="303" y="507"/>
                      <a:pt x="303" y="507"/>
                      <a:pt x="303" y="507"/>
                    </a:cubicBezTo>
                    <a:cubicBezTo>
                      <a:pt x="306" y="505"/>
                      <a:pt x="306" y="505"/>
                      <a:pt x="306" y="505"/>
                    </a:cubicBezTo>
                    <a:cubicBezTo>
                      <a:pt x="309" y="505"/>
                      <a:pt x="309" y="505"/>
                      <a:pt x="309" y="505"/>
                    </a:cubicBezTo>
                    <a:cubicBezTo>
                      <a:pt x="322" y="495"/>
                      <a:pt x="322" y="495"/>
                      <a:pt x="322" y="495"/>
                    </a:cubicBezTo>
                    <a:cubicBezTo>
                      <a:pt x="328" y="492"/>
                      <a:pt x="328" y="492"/>
                      <a:pt x="328" y="492"/>
                    </a:cubicBezTo>
                    <a:cubicBezTo>
                      <a:pt x="330" y="487"/>
                      <a:pt x="330" y="487"/>
                      <a:pt x="330" y="487"/>
                    </a:cubicBezTo>
                    <a:cubicBezTo>
                      <a:pt x="328" y="488"/>
                      <a:pt x="328" y="488"/>
                      <a:pt x="328" y="488"/>
                    </a:cubicBezTo>
                    <a:cubicBezTo>
                      <a:pt x="326" y="487"/>
                      <a:pt x="326" y="487"/>
                      <a:pt x="326" y="487"/>
                    </a:cubicBezTo>
                    <a:cubicBezTo>
                      <a:pt x="325" y="480"/>
                      <a:pt x="325" y="480"/>
                      <a:pt x="325" y="480"/>
                    </a:cubicBezTo>
                    <a:cubicBezTo>
                      <a:pt x="322" y="481"/>
                      <a:pt x="322" y="481"/>
                      <a:pt x="322" y="481"/>
                    </a:cubicBezTo>
                    <a:cubicBezTo>
                      <a:pt x="320" y="485"/>
                      <a:pt x="320" y="485"/>
                      <a:pt x="320" y="485"/>
                    </a:cubicBezTo>
                    <a:cubicBezTo>
                      <a:pt x="316" y="487"/>
                      <a:pt x="316" y="487"/>
                      <a:pt x="316" y="487"/>
                    </a:cubicBezTo>
                    <a:cubicBezTo>
                      <a:pt x="317" y="490"/>
                      <a:pt x="317" y="490"/>
                      <a:pt x="317" y="490"/>
                    </a:cubicBezTo>
                    <a:cubicBezTo>
                      <a:pt x="314" y="489"/>
                      <a:pt x="314" y="489"/>
                      <a:pt x="314" y="489"/>
                    </a:cubicBezTo>
                    <a:cubicBezTo>
                      <a:pt x="312" y="491"/>
                      <a:pt x="312" y="491"/>
                      <a:pt x="312" y="491"/>
                    </a:cubicBezTo>
                    <a:cubicBezTo>
                      <a:pt x="311" y="494"/>
                      <a:pt x="311" y="494"/>
                      <a:pt x="311" y="494"/>
                    </a:cubicBezTo>
                    <a:cubicBezTo>
                      <a:pt x="309" y="491"/>
                      <a:pt x="309" y="491"/>
                      <a:pt x="309" y="491"/>
                    </a:cubicBezTo>
                    <a:cubicBezTo>
                      <a:pt x="311" y="489"/>
                      <a:pt x="311" y="489"/>
                      <a:pt x="311" y="489"/>
                    </a:cubicBezTo>
                    <a:cubicBezTo>
                      <a:pt x="308" y="487"/>
                      <a:pt x="308" y="487"/>
                      <a:pt x="308" y="487"/>
                    </a:cubicBezTo>
                    <a:cubicBezTo>
                      <a:pt x="306" y="489"/>
                      <a:pt x="306" y="489"/>
                      <a:pt x="306" y="489"/>
                    </a:cubicBezTo>
                    <a:cubicBezTo>
                      <a:pt x="305" y="489"/>
                      <a:pt x="305" y="489"/>
                      <a:pt x="305" y="489"/>
                    </a:cubicBezTo>
                    <a:cubicBezTo>
                      <a:pt x="303" y="493"/>
                      <a:pt x="303" y="493"/>
                      <a:pt x="303" y="493"/>
                    </a:cubicBezTo>
                    <a:cubicBezTo>
                      <a:pt x="301" y="495"/>
                      <a:pt x="301" y="495"/>
                      <a:pt x="301" y="495"/>
                    </a:cubicBezTo>
                    <a:close/>
                    <a:moveTo>
                      <a:pt x="287" y="506"/>
                    </a:moveTo>
                    <a:cubicBezTo>
                      <a:pt x="288" y="503"/>
                      <a:pt x="288" y="503"/>
                      <a:pt x="288" y="503"/>
                    </a:cubicBezTo>
                    <a:cubicBezTo>
                      <a:pt x="288" y="496"/>
                      <a:pt x="288" y="496"/>
                      <a:pt x="288" y="496"/>
                    </a:cubicBezTo>
                    <a:cubicBezTo>
                      <a:pt x="284" y="499"/>
                      <a:pt x="284" y="499"/>
                      <a:pt x="284" y="499"/>
                    </a:cubicBezTo>
                    <a:cubicBezTo>
                      <a:pt x="284" y="502"/>
                      <a:pt x="284" y="502"/>
                      <a:pt x="284" y="502"/>
                    </a:cubicBezTo>
                    <a:cubicBezTo>
                      <a:pt x="282" y="504"/>
                      <a:pt x="282" y="504"/>
                      <a:pt x="282" y="504"/>
                    </a:cubicBezTo>
                    <a:cubicBezTo>
                      <a:pt x="284" y="505"/>
                      <a:pt x="284" y="505"/>
                      <a:pt x="284" y="505"/>
                    </a:cubicBezTo>
                    <a:cubicBezTo>
                      <a:pt x="287" y="506"/>
                      <a:pt x="287" y="506"/>
                      <a:pt x="287" y="506"/>
                    </a:cubicBezTo>
                    <a:close/>
                    <a:moveTo>
                      <a:pt x="288" y="509"/>
                    </a:moveTo>
                    <a:cubicBezTo>
                      <a:pt x="290" y="508"/>
                      <a:pt x="290" y="508"/>
                      <a:pt x="290" y="508"/>
                    </a:cubicBezTo>
                    <a:cubicBezTo>
                      <a:pt x="292" y="505"/>
                      <a:pt x="292" y="505"/>
                      <a:pt x="292" y="505"/>
                    </a:cubicBezTo>
                    <a:cubicBezTo>
                      <a:pt x="290" y="501"/>
                      <a:pt x="290" y="501"/>
                      <a:pt x="290" y="501"/>
                    </a:cubicBezTo>
                    <a:cubicBezTo>
                      <a:pt x="290" y="494"/>
                      <a:pt x="290" y="494"/>
                      <a:pt x="290" y="494"/>
                    </a:cubicBezTo>
                    <a:cubicBezTo>
                      <a:pt x="292" y="492"/>
                      <a:pt x="292" y="492"/>
                      <a:pt x="292" y="492"/>
                    </a:cubicBezTo>
                    <a:cubicBezTo>
                      <a:pt x="294" y="493"/>
                      <a:pt x="294" y="493"/>
                      <a:pt x="294" y="493"/>
                    </a:cubicBezTo>
                    <a:cubicBezTo>
                      <a:pt x="295" y="491"/>
                      <a:pt x="295" y="491"/>
                      <a:pt x="295" y="491"/>
                    </a:cubicBezTo>
                    <a:cubicBezTo>
                      <a:pt x="297" y="490"/>
                      <a:pt x="297" y="490"/>
                      <a:pt x="297" y="490"/>
                    </a:cubicBezTo>
                    <a:cubicBezTo>
                      <a:pt x="298" y="494"/>
                      <a:pt x="298" y="494"/>
                      <a:pt x="298" y="494"/>
                    </a:cubicBezTo>
                    <a:cubicBezTo>
                      <a:pt x="298" y="503"/>
                      <a:pt x="298" y="503"/>
                      <a:pt x="298" y="503"/>
                    </a:cubicBezTo>
                    <a:cubicBezTo>
                      <a:pt x="296" y="506"/>
                      <a:pt x="296" y="506"/>
                      <a:pt x="296" y="506"/>
                    </a:cubicBezTo>
                    <a:cubicBezTo>
                      <a:pt x="298" y="509"/>
                      <a:pt x="298" y="509"/>
                      <a:pt x="298" y="509"/>
                    </a:cubicBezTo>
                    <a:cubicBezTo>
                      <a:pt x="293" y="511"/>
                      <a:pt x="293" y="511"/>
                      <a:pt x="293" y="511"/>
                    </a:cubicBezTo>
                    <a:cubicBezTo>
                      <a:pt x="288" y="509"/>
                      <a:pt x="288" y="509"/>
                      <a:pt x="288" y="509"/>
                    </a:cubicBezTo>
                    <a:close/>
                    <a:moveTo>
                      <a:pt x="294" y="528"/>
                    </a:moveTo>
                    <a:cubicBezTo>
                      <a:pt x="296" y="525"/>
                      <a:pt x="296" y="525"/>
                      <a:pt x="296" y="525"/>
                    </a:cubicBezTo>
                    <a:cubicBezTo>
                      <a:pt x="294" y="518"/>
                      <a:pt x="294" y="518"/>
                      <a:pt x="294" y="518"/>
                    </a:cubicBezTo>
                    <a:cubicBezTo>
                      <a:pt x="294" y="513"/>
                      <a:pt x="294" y="513"/>
                      <a:pt x="294" y="513"/>
                    </a:cubicBezTo>
                    <a:cubicBezTo>
                      <a:pt x="289" y="513"/>
                      <a:pt x="289" y="513"/>
                      <a:pt x="289" y="513"/>
                    </a:cubicBezTo>
                    <a:cubicBezTo>
                      <a:pt x="285" y="508"/>
                      <a:pt x="285" y="508"/>
                      <a:pt x="285" y="508"/>
                    </a:cubicBezTo>
                    <a:cubicBezTo>
                      <a:pt x="282" y="508"/>
                      <a:pt x="282" y="508"/>
                      <a:pt x="282" y="508"/>
                    </a:cubicBezTo>
                    <a:cubicBezTo>
                      <a:pt x="282" y="511"/>
                      <a:pt x="282" y="511"/>
                      <a:pt x="282" y="511"/>
                    </a:cubicBezTo>
                    <a:cubicBezTo>
                      <a:pt x="289" y="517"/>
                      <a:pt x="289" y="517"/>
                      <a:pt x="289" y="517"/>
                    </a:cubicBezTo>
                    <a:cubicBezTo>
                      <a:pt x="284" y="516"/>
                      <a:pt x="284" y="516"/>
                      <a:pt x="284" y="516"/>
                    </a:cubicBezTo>
                    <a:cubicBezTo>
                      <a:pt x="284" y="518"/>
                      <a:pt x="284" y="518"/>
                      <a:pt x="284" y="518"/>
                    </a:cubicBezTo>
                    <a:cubicBezTo>
                      <a:pt x="288" y="521"/>
                      <a:pt x="288" y="521"/>
                      <a:pt x="288" y="521"/>
                    </a:cubicBezTo>
                    <a:cubicBezTo>
                      <a:pt x="294" y="528"/>
                      <a:pt x="294" y="528"/>
                      <a:pt x="294" y="528"/>
                    </a:cubicBezTo>
                    <a:close/>
                    <a:moveTo>
                      <a:pt x="251" y="461"/>
                    </a:moveTo>
                    <a:cubicBezTo>
                      <a:pt x="254" y="465"/>
                      <a:pt x="254" y="465"/>
                      <a:pt x="254" y="465"/>
                    </a:cubicBezTo>
                    <a:cubicBezTo>
                      <a:pt x="256" y="464"/>
                      <a:pt x="256" y="464"/>
                      <a:pt x="256" y="464"/>
                    </a:cubicBezTo>
                    <a:cubicBezTo>
                      <a:pt x="260" y="466"/>
                      <a:pt x="260" y="466"/>
                      <a:pt x="260" y="466"/>
                    </a:cubicBezTo>
                    <a:cubicBezTo>
                      <a:pt x="261" y="465"/>
                      <a:pt x="261" y="465"/>
                      <a:pt x="261" y="465"/>
                    </a:cubicBezTo>
                    <a:cubicBezTo>
                      <a:pt x="257" y="460"/>
                      <a:pt x="257" y="460"/>
                      <a:pt x="257" y="460"/>
                    </a:cubicBezTo>
                    <a:cubicBezTo>
                      <a:pt x="253" y="459"/>
                      <a:pt x="253" y="459"/>
                      <a:pt x="253" y="459"/>
                    </a:cubicBezTo>
                    <a:cubicBezTo>
                      <a:pt x="251" y="461"/>
                      <a:pt x="251" y="461"/>
                      <a:pt x="251" y="461"/>
                    </a:cubicBezTo>
                    <a:close/>
                    <a:moveTo>
                      <a:pt x="171" y="1252"/>
                    </a:moveTo>
                    <a:cubicBezTo>
                      <a:pt x="171" y="1252"/>
                      <a:pt x="171" y="1252"/>
                      <a:pt x="171" y="1252"/>
                    </a:cubicBezTo>
                    <a:cubicBezTo>
                      <a:pt x="168" y="1252"/>
                      <a:pt x="168" y="1252"/>
                      <a:pt x="168" y="1252"/>
                    </a:cubicBezTo>
                    <a:cubicBezTo>
                      <a:pt x="166" y="1246"/>
                      <a:pt x="166" y="1246"/>
                      <a:pt x="166" y="1246"/>
                    </a:cubicBezTo>
                    <a:cubicBezTo>
                      <a:pt x="170" y="1238"/>
                      <a:pt x="170" y="1238"/>
                      <a:pt x="170" y="1238"/>
                    </a:cubicBezTo>
                    <a:cubicBezTo>
                      <a:pt x="171" y="1233"/>
                      <a:pt x="171" y="1233"/>
                      <a:pt x="171" y="1233"/>
                    </a:cubicBezTo>
                    <a:cubicBezTo>
                      <a:pt x="169" y="1236"/>
                      <a:pt x="169" y="1236"/>
                      <a:pt x="169" y="1236"/>
                    </a:cubicBezTo>
                    <a:cubicBezTo>
                      <a:pt x="164" y="1237"/>
                      <a:pt x="164" y="1237"/>
                      <a:pt x="164" y="1237"/>
                    </a:cubicBezTo>
                    <a:cubicBezTo>
                      <a:pt x="160" y="1240"/>
                      <a:pt x="160" y="1240"/>
                      <a:pt x="160" y="1240"/>
                    </a:cubicBezTo>
                    <a:cubicBezTo>
                      <a:pt x="156" y="1235"/>
                      <a:pt x="156" y="1235"/>
                      <a:pt x="156" y="1235"/>
                    </a:cubicBezTo>
                    <a:cubicBezTo>
                      <a:pt x="156" y="1231"/>
                      <a:pt x="156" y="1231"/>
                      <a:pt x="156" y="1231"/>
                    </a:cubicBezTo>
                    <a:cubicBezTo>
                      <a:pt x="158" y="1231"/>
                      <a:pt x="158" y="1231"/>
                      <a:pt x="158" y="1231"/>
                    </a:cubicBezTo>
                    <a:cubicBezTo>
                      <a:pt x="160" y="1234"/>
                      <a:pt x="160" y="1234"/>
                      <a:pt x="160" y="1234"/>
                    </a:cubicBezTo>
                    <a:cubicBezTo>
                      <a:pt x="162" y="1235"/>
                      <a:pt x="162" y="1235"/>
                      <a:pt x="162" y="1235"/>
                    </a:cubicBezTo>
                    <a:cubicBezTo>
                      <a:pt x="162" y="1233"/>
                      <a:pt x="162" y="1233"/>
                      <a:pt x="162" y="1233"/>
                    </a:cubicBezTo>
                    <a:cubicBezTo>
                      <a:pt x="160" y="1230"/>
                      <a:pt x="160" y="1230"/>
                      <a:pt x="160" y="1230"/>
                    </a:cubicBezTo>
                    <a:cubicBezTo>
                      <a:pt x="159" y="1227"/>
                      <a:pt x="159" y="1227"/>
                      <a:pt x="159" y="1227"/>
                    </a:cubicBezTo>
                    <a:cubicBezTo>
                      <a:pt x="156" y="1227"/>
                      <a:pt x="156" y="1227"/>
                      <a:pt x="156" y="1227"/>
                    </a:cubicBezTo>
                    <a:cubicBezTo>
                      <a:pt x="154" y="1228"/>
                      <a:pt x="154" y="1228"/>
                      <a:pt x="154" y="1228"/>
                    </a:cubicBezTo>
                    <a:cubicBezTo>
                      <a:pt x="150" y="1226"/>
                      <a:pt x="150" y="1226"/>
                      <a:pt x="150" y="1226"/>
                    </a:cubicBezTo>
                    <a:cubicBezTo>
                      <a:pt x="147" y="1222"/>
                      <a:pt x="147" y="1222"/>
                      <a:pt x="147" y="1222"/>
                    </a:cubicBezTo>
                    <a:cubicBezTo>
                      <a:pt x="147" y="1220"/>
                      <a:pt x="147" y="1220"/>
                      <a:pt x="147" y="1220"/>
                    </a:cubicBezTo>
                    <a:cubicBezTo>
                      <a:pt x="152" y="1217"/>
                      <a:pt x="152" y="1217"/>
                      <a:pt x="152" y="1217"/>
                    </a:cubicBezTo>
                    <a:cubicBezTo>
                      <a:pt x="154" y="1212"/>
                      <a:pt x="154" y="1212"/>
                      <a:pt x="154" y="1212"/>
                    </a:cubicBezTo>
                    <a:cubicBezTo>
                      <a:pt x="157" y="1210"/>
                      <a:pt x="157" y="1210"/>
                      <a:pt x="157" y="1210"/>
                    </a:cubicBezTo>
                    <a:cubicBezTo>
                      <a:pt x="156" y="1209"/>
                      <a:pt x="156" y="1209"/>
                      <a:pt x="156" y="1209"/>
                    </a:cubicBezTo>
                    <a:cubicBezTo>
                      <a:pt x="152" y="1210"/>
                      <a:pt x="152" y="1210"/>
                      <a:pt x="152" y="1210"/>
                    </a:cubicBezTo>
                    <a:cubicBezTo>
                      <a:pt x="148" y="1210"/>
                      <a:pt x="148" y="1210"/>
                      <a:pt x="148" y="1210"/>
                    </a:cubicBezTo>
                    <a:cubicBezTo>
                      <a:pt x="147" y="1208"/>
                      <a:pt x="147" y="1208"/>
                      <a:pt x="147" y="1208"/>
                    </a:cubicBezTo>
                    <a:cubicBezTo>
                      <a:pt x="150" y="1206"/>
                      <a:pt x="150" y="1206"/>
                      <a:pt x="150" y="1206"/>
                    </a:cubicBezTo>
                    <a:cubicBezTo>
                      <a:pt x="153" y="1201"/>
                      <a:pt x="153" y="1201"/>
                      <a:pt x="153" y="1201"/>
                    </a:cubicBezTo>
                    <a:cubicBezTo>
                      <a:pt x="153" y="1195"/>
                      <a:pt x="153" y="1195"/>
                      <a:pt x="153" y="1195"/>
                    </a:cubicBezTo>
                    <a:cubicBezTo>
                      <a:pt x="155" y="1193"/>
                      <a:pt x="155" y="1193"/>
                      <a:pt x="155" y="1193"/>
                    </a:cubicBezTo>
                    <a:cubicBezTo>
                      <a:pt x="155" y="1191"/>
                      <a:pt x="155" y="1191"/>
                      <a:pt x="155" y="1191"/>
                    </a:cubicBezTo>
                    <a:cubicBezTo>
                      <a:pt x="152" y="1192"/>
                      <a:pt x="152" y="1192"/>
                      <a:pt x="152" y="1192"/>
                    </a:cubicBezTo>
                    <a:cubicBezTo>
                      <a:pt x="151" y="1195"/>
                      <a:pt x="151" y="1195"/>
                      <a:pt x="151" y="1195"/>
                    </a:cubicBezTo>
                    <a:cubicBezTo>
                      <a:pt x="150" y="1201"/>
                      <a:pt x="150" y="1201"/>
                      <a:pt x="150" y="1201"/>
                    </a:cubicBezTo>
                    <a:cubicBezTo>
                      <a:pt x="146" y="1207"/>
                      <a:pt x="146" y="1207"/>
                      <a:pt x="146" y="1207"/>
                    </a:cubicBezTo>
                    <a:cubicBezTo>
                      <a:pt x="144" y="1207"/>
                      <a:pt x="144" y="1207"/>
                      <a:pt x="144" y="1207"/>
                    </a:cubicBezTo>
                    <a:cubicBezTo>
                      <a:pt x="141" y="1206"/>
                      <a:pt x="141" y="1206"/>
                      <a:pt x="141" y="1206"/>
                    </a:cubicBezTo>
                    <a:cubicBezTo>
                      <a:pt x="139" y="1205"/>
                      <a:pt x="139" y="1205"/>
                      <a:pt x="139" y="1205"/>
                    </a:cubicBezTo>
                    <a:cubicBezTo>
                      <a:pt x="139" y="1203"/>
                      <a:pt x="139" y="1203"/>
                      <a:pt x="139" y="1203"/>
                    </a:cubicBezTo>
                    <a:cubicBezTo>
                      <a:pt x="141" y="1202"/>
                      <a:pt x="141" y="1202"/>
                      <a:pt x="141" y="1202"/>
                    </a:cubicBezTo>
                    <a:cubicBezTo>
                      <a:pt x="141" y="1200"/>
                      <a:pt x="141" y="1200"/>
                      <a:pt x="141" y="1200"/>
                    </a:cubicBezTo>
                    <a:cubicBezTo>
                      <a:pt x="137" y="1202"/>
                      <a:pt x="137" y="1202"/>
                      <a:pt x="137" y="1202"/>
                    </a:cubicBezTo>
                    <a:cubicBezTo>
                      <a:pt x="136" y="1204"/>
                      <a:pt x="136" y="1204"/>
                      <a:pt x="136" y="1204"/>
                    </a:cubicBezTo>
                    <a:cubicBezTo>
                      <a:pt x="135" y="1204"/>
                      <a:pt x="135" y="1204"/>
                      <a:pt x="135" y="1204"/>
                    </a:cubicBezTo>
                    <a:cubicBezTo>
                      <a:pt x="134" y="1202"/>
                      <a:pt x="134" y="1202"/>
                      <a:pt x="134" y="1202"/>
                    </a:cubicBezTo>
                    <a:cubicBezTo>
                      <a:pt x="131" y="1203"/>
                      <a:pt x="131" y="1203"/>
                      <a:pt x="131" y="1203"/>
                    </a:cubicBezTo>
                    <a:cubicBezTo>
                      <a:pt x="129" y="1204"/>
                      <a:pt x="129" y="1204"/>
                      <a:pt x="129" y="1204"/>
                    </a:cubicBezTo>
                    <a:cubicBezTo>
                      <a:pt x="127" y="1203"/>
                      <a:pt x="127" y="1203"/>
                      <a:pt x="127" y="1203"/>
                    </a:cubicBezTo>
                    <a:cubicBezTo>
                      <a:pt x="127" y="1202"/>
                      <a:pt x="127" y="1202"/>
                      <a:pt x="127" y="1202"/>
                    </a:cubicBezTo>
                    <a:cubicBezTo>
                      <a:pt x="129" y="1199"/>
                      <a:pt x="129" y="1199"/>
                      <a:pt x="129" y="1199"/>
                    </a:cubicBezTo>
                    <a:cubicBezTo>
                      <a:pt x="133" y="1199"/>
                      <a:pt x="133" y="1199"/>
                      <a:pt x="133" y="1199"/>
                    </a:cubicBezTo>
                    <a:cubicBezTo>
                      <a:pt x="137" y="1197"/>
                      <a:pt x="137" y="1197"/>
                      <a:pt x="137" y="1197"/>
                    </a:cubicBezTo>
                    <a:cubicBezTo>
                      <a:pt x="142" y="1194"/>
                      <a:pt x="142" y="1194"/>
                      <a:pt x="142" y="1194"/>
                    </a:cubicBezTo>
                    <a:cubicBezTo>
                      <a:pt x="144" y="1190"/>
                      <a:pt x="144" y="1190"/>
                      <a:pt x="144" y="1190"/>
                    </a:cubicBezTo>
                    <a:cubicBezTo>
                      <a:pt x="144" y="1187"/>
                      <a:pt x="144" y="1187"/>
                      <a:pt x="144" y="1187"/>
                    </a:cubicBezTo>
                    <a:cubicBezTo>
                      <a:pt x="143" y="1190"/>
                      <a:pt x="143" y="1190"/>
                      <a:pt x="143" y="1190"/>
                    </a:cubicBezTo>
                    <a:cubicBezTo>
                      <a:pt x="140" y="1192"/>
                      <a:pt x="140" y="1192"/>
                      <a:pt x="140" y="1192"/>
                    </a:cubicBezTo>
                    <a:cubicBezTo>
                      <a:pt x="138" y="1196"/>
                      <a:pt x="138" y="1196"/>
                      <a:pt x="138" y="1196"/>
                    </a:cubicBezTo>
                    <a:cubicBezTo>
                      <a:pt x="135" y="1197"/>
                      <a:pt x="135" y="1197"/>
                      <a:pt x="135" y="1197"/>
                    </a:cubicBezTo>
                    <a:cubicBezTo>
                      <a:pt x="130" y="1195"/>
                      <a:pt x="130" y="1195"/>
                      <a:pt x="130" y="1195"/>
                    </a:cubicBezTo>
                    <a:cubicBezTo>
                      <a:pt x="129" y="1193"/>
                      <a:pt x="129" y="1193"/>
                      <a:pt x="129" y="1193"/>
                    </a:cubicBezTo>
                    <a:cubicBezTo>
                      <a:pt x="126" y="1193"/>
                      <a:pt x="126" y="1193"/>
                      <a:pt x="126" y="1193"/>
                    </a:cubicBezTo>
                    <a:cubicBezTo>
                      <a:pt x="126" y="1191"/>
                      <a:pt x="126" y="1191"/>
                      <a:pt x="126" y="1191"/>
                    </a:cubicBezTo>
                    <a:cubicBezTo>
                      <a:pt x="129" y="1190"/>
                      <a:pt x="129" y="1190"/>
                      <a:pt x="129" y="1190"/>
                    </a:cubicBezTo>
                    <a:cubicBezTo>
                      <a:pt x="127" y="1189"/>
                      <a:pt x="127" y="1189"/>
                      <a:pt x="127" y="1189"/>
                    </a:cubicBezTo>
                    <a:cubicBezTo>
                      <a:pt x="122" y="1190"/>
                      <a:pt x="122" y="1190"/>
                      <a:pt x="122" y="1190"/>
                    </a:cubicBezTo>
                    <a:cubicBezTo>
                      <a:pt x="119" y="1188"/>
                      <a:pt x="119" y="1188"/>
                      <a:pt x="119" y="1188"/>
                    </a:cubicBezTo>
                    <a:cubicBezTo>
                      <a:pt x="116" y="1188"/>
                      <a:pt x="116" y="1188"/>
                      <a:pt x="116" y="1188"/>
                    </a:cubicBezTo>
                    <a:cubicBezTo>
                      <a:pt x="116" y="1191"/>
                      <a:pt x="116" y="1191"/>
                      <a:pt x="116" y="1191"/>
                    </a:cubicBezTo>
                    <a:cubicBezTo>
                      <a:pt x="111" y="1188"/>
                      <a:pt x="111" y="1188"/>
                      <a:pt x="111" y="1188"/>
                    </a:cubicBezTo>
                    <a:cubicBezTo>
                      <a:pt x="110" y="1185"/>
                      <a:pt x="110" y="1185"/>
                      <a:pt x="110" y="1185"/>
                    </a:cubicBezTo>
                    <a:cubicBezTo>
                      <a:pt x="111" y="1183"/>
                      <a:pt x="111" y="1183"/>
                      <a:pt x="111" y="1183"/>
                    </a:cubicBezTo>
                    <a:cubicBezTo>
                      <a:pt x="113" y="1185"/>
                      <a:pt x="113" y="1185"/>
                      <a:pt x="113" y="1185"/>
                    </a:cubicBezTo>
                    <a:cubicBezTo>
                      <a:pt x="118" y="1186"/>
                      <a:pt x="118" y="1186"/>
                      <a:pt x="118" y="1186"/>
                    </a:cubicBezTo>
                    <a:cubicBezTo>
                      <a:pt x="122" y="1185"/>
                      <a:pt x="122" y="1185"/>
                      <a:pt x="122" y="1185"/>
                    </a:cubicBezTo>
                    <a:cubicBezTo>
                      <a:pt x="122" y="1183"/>
                      <a:pt x="122" y="1183"/>
                      <a:pt x="122" y="1183"/>
                    </a:cubicBezTo>
                    <a:cubicBezTo>
                      <a:pt x="120" y="1184"/>
                      <a:pt x="120" y="1184"/>
                      <a:pt x="120" y="1184"/>
                    </a:cubicBezTo>
                    <a:cubicBezTo>
                      <a:pt x="115" y="1184"/>
                      <a:pt x="115" y="1184"/>
                      <a:pt x="115" y="1184"/>
                    </a:cubicBezTo>
                    <a:cubicBezTo>
                      <a:pt x="114" y="1183"/>
                      <a:pt x="114" y="1183"/>
                      <a:pt x="114" y="1183"/>
                    </a:cubicBezTo>
                    <a:cubicBezTo>
                      <a:pt x="115" y="1182"/>
                      <a:pt x="115" y="1182"/>
                      <a:pt x="115" y="1182"/>
                    </a:cubicBezTo>
                    <a:cubicBezTo>
                      <a:pt x="118" y="1183"/>
                      <a:pt x="118" y="1183"/>
                      <a:pt x="118" y="1183"/>
                    </a:cubicBezTo>
                    <a:cubicBezTo>
                      <a:pt x="122" y="1182"/>
                      <a:pt x="122" y="1182"/>
                      <a:pt x="122" y="1182"/>
                    </a:cubicBezTo>
                    <a:cubicBezTo>
                      <a:pt x="122" y="1180"/>
                      <a:pt x="122" y="1180"/>
                      <a:pt x="122" y="1180"/>
                    </a:cubicBezTo>
                    <a:cubicBezTo>
                      <a:pt x="117" y="1180"/>
                      <a:pt x="117" y="1180"/>
                      <a:pt x="117" y="1180"/>
                    </a:cubicBezTo>
                    <a:cubicBezTo>
                      <a:pt x="115" y="1179"/>
                      <a:pt x="115" y="1179"/>
                      <a:pt x="115" y="1179"/>
                    </a:cubicBezTo>
                    <a:cubicBezTo>
                      <a:pt x="111" y="1180"/>
                      <a:pt x="111" y="1180"/>
                      <a:pt x="111" y="1180"/>
                    </a:cubicBezTo>
                    <a:cubicBezTo>
                      <a:pt x="108" y="1180"/>
                      <a:pt x="108" y="1180"/>
                      <a:pt x="108" y="1180"/>
                    </a:cubicBezTo>
                    <a:cubicBezTo>
                      <a:pt x="106" y="1178"/>
                      <a:pt x="106" y="1178"/>
                      <a:pt x="106" y="1178"/>
                    </a:cubicBezTo>
                    <a:cubicBezTo>
                      <a:pt x="107" y="1175"/>
                      <a:pt x="107" y="1175"/>
                      <a:pt x="107" y="1175"/>
                    </a:cubicBezTo>
                    <a:cubicBezTo>
                      <a:pt x="111" y="1174"/>
                      <a:pt x="111" y="1174"/>
                      <a:pt x="111" y="1174"/>
                    </a:cubicBezTo>
                    <a:cubicBezTo>
                      <a:pt x="113" y="1176"/>
                      <a:pt x="113" y="1176"/>
                      <a:pt x="113" y="1176"/>
                    </a:cubicBezTo>
                    <a:cubicBezTo>
                      <a:pt x="117" y="1176"/>
                      <a:pt x="117" y="1176"/>
                      <a:pt x="117" y="1176"/>
                    </a:cubicBezTo>
                    <a:cubicBezTo>
                      <a:pt x="119" y="1174"/>
                      <a:pt x="119" y="1174"/>
                      <a:pt x="119" y="1174"/>
                    </a:cubicBezTo>
                    <a:cubicBezTo>
                      <a:pt x="115" y="1174"/>
                      <a:pt x="115" y="1174"/>
                      <a:pt x="115" y="1174"/>
                    </a:cubicBezTo>
                    <a:cubicBezTo>
                      <a:pt x="112" y="1173"/>
                      <a:pt x="112" y="1173"/>
                      <a:pt x="112" y="1173"/>
                    </a:cubicBezTo>
                    <a:cubicBezTo>
                      <a:pt x="108" y="1173"/>
                      <a:pt x="108" y="1173"/>
                      <a:pt x="108" y="1173"/>
                    </a:cubicBezTo>
                    <a:cubicBezTo>
                      <a:pt x="108" y="1171"/>
                      <a:pt x="108" y="1171"/>
                      <a:pt x="108" y="1171"/>
                    </a:cubicBezTo>
                    <a:cubicBezTo>
                      <a:pt x="114" y="1170"/>
                      <a:pt x="114" y="1170"/>
                      <a:pt x="114" y="1170"/>
                    </a:cubicBezTo>
                    <a:cubicBezTo>
                      <a:pt x="116" y="1171"/>
                      <a:pt x="116" y="1171"/>
                      <a:pt x="116" y="1171"/>
                    </a:cubicBezTo>
                    <a:cubicBezTo>
                      <a:pt x="118" y="1170"/>
                      <a:pt x="118" y="1170"/>
                      <a:pt x="118" y="1170"/>
                    </a:cubicBezTo>
                    <a:cubicBezTo>
                      <a:pt x="117" y="1168"/>
                      <a:pt x="117" y="1168"/>
                      <a:pt x="117" y="1168"/>
                    </a:cubicBezTo>
                    <a:cubicBezTo>
                      <a:pt x="117" y="1167"/>
                      <a:pt x="117" y="1167"/>
                      <a:pt x="117" y="1167"/>
                    </a:cubicBezTo>
                    <a:cubicBezTo>
                      <a:pt x="120" y="1165"/>
                      <a:pt x="120" y="1165"/>
                      <a:pt x="120" y="1165"/>
                    </a:cubicBezTo>
                    <a:cubicBezTo>
                      <a:pt x="125" y="1165"/>
                      <a:pt x="125" y="1165"/>
                      <a:pt x="125" y="1165"/>
                    </a:cubicBezTo>
                    <a:cubicBezTo>
                      <a:pt x="128" y="1165"/>
                      <a:pt x="128" y="1165"/>
                      <a:pt x="128" y="1165"/>
                    </a:cubicBezTo>
                    <a:cubicBezTo>
                      <a:pt x="129" y="1164"/>
                      <a:pt x="129" y="1164"/>
                      <a:pt x="129" y="1164"/>
                    </a:cubicBezTo>
                    <a:cubicBezTo>
                      <a:pt x="123" y="1163"/>
                      <a:pt x="123" y="1163"/>
                      <a:pt x="123" y="1163"/>
                    </a:cubicBezTo>
                    <a:cubicBezTo>
                      <a:pt x="121" y="1161"/>
                      <a:pt x="121" y="1161"/>
                      <a:pt x="121" y="1161"/>
                    </a:cubicBezTo>
                    <a:cubicBezTo>
                      <a:pt x="119" y="1161"/>
                      <a:pt x="119" y="1161"/>
                      <a:pt x="119" y="1161"/>
                    </a:cubicBezTo>
                    <a:cubicBezTo>
                      <a:pt x="117" y="1164"/>
                      <a:pt x="117" y="1164"/>
                      <a:pt x="117" y="1164"/>
                    </a:cubicBezTo>
                    <a:cubicBezTo>
                      <a:pt x="114" y="1165"/>
                      <a:pt x="114" y="1165"/>
                      <a:pt x="114" y="1165"/>
                    </a:cubicBezTo>
                    <a:cubicBezTo>
                      <a:pt x="111" y="1167"/>
                      <a:pt x="111" y="1167"/>
                      <a:pt x="111" y="1167"/>
                    </a:cubicBezTo>
                    <a:cubicBezTo>
                      <a:pt x="110" y="1166"/>
                      <a:pt x="110" y="1166"/>
                      <a:pt x="110" y="1166"/>
                    </a:cubicBezTo>
                    <a:cubicBezTo>
                      <a:pt x="111" y="1163"/>
                      <a:pt x="111" y="1163"/>
                      <a:pt x="111" y="1163"/>
                    </a:cubicBezTo>
                    <a:cubicBezTo>
                      <a:pt x="110" y="1161"/>
                      <a:pt x="110" y="1161"/>
                      <a:pt x="110" y="1161"/>
                    </a:cubicBezTo>
                    <a:cubicBezTo>
                      <a:pt x="111" y="1158"/>
                      <a:pt x="111" y="1158"/>
                      <a:pt x="111" y="1158"/>
                    </a:cubicBezTo>
                    <a:cubicBezTo>
                      <a:pt x="116" y="1156"/>
                      <a:pt x="116" y="1156"/>
                      <a:pt x="116" y="1156"/>
                    </a:cubicBezTo>
                    <a:cubicBezTo>
                      <a:pt x="118" y="1153"/>
                      <a:pt x="118" y="1153"/>
                      <a:pt x="118" y="1153"/>
                    </a:cubicBezTo>
                    <a:cubicBezTo>
                      <a:pt x="127" y="1147"/>
                      <a:pt x="127" y="1147"/>
                      <a:pt x="127" y="1147"/>
                    </a:cubicBezTo>
                    <a:cubicBezTo>
                      <a:pt x="130" y="1145"/>
                      <a:pt x="130" y="1145"/>
                      <a:pt x="130" y="1145"/>
                    </a:cubicBezTo>
                    <a:cubicBezTo>
                      <a:pt x="131" y="1148"/>
                      <a:pt x="131" y="1148"/>
                      <a:pt x="131" y="1148"/>
                    </a:cubicBezTo>
                    <a:cubicBezTo>
                      <a:pt x="132" y="1153"/>
                      <a:pt x="132" y="1153"/>
                      <a:pt x="132" y="1153"/>
                    </a:cubicBezTo>
                    <a:cubicBezTo>
                      <a:pt x="134" y="1156"/>
                      <a:pt x="134" y="1156"/>
                      <a:pt x="134" y="1156"/>
                    </a:cubicBezTo>
                    <a:cubicBezTo>
                      <a:pt x="135" y="1155"/>
                      <a:pt x="135" y="1155"/>
                      <a:pt x="135" y="1155"/>
                    </a:cubicBezTo>
                    <a:cubicBezTo>
                      <a:pt x="134" y="1150"/>
                      <a:pt x="134" y="1150"/>
                      <a:pt x="134" y="1150"/>
                    </a:cubicBezTo>
                    <a:cubicBezTo>
                      <a:pt x="134" y="1145"/>
                      <a:pt x="134" y="1145"/>
                      <a:pt x="134" y="1145"/>
                    </a:cubicBezTo>
                    <a:cubicBezTo>
                      <a:pt x="137" y="1143"/>
                      <a:pt x="137" y="1143"/>
                      <a:pt x="137" y="1143"/>
                    </a:cubicBezTo>
                    <a:cubicBezTo>
                      <a:pt x="142" y="1143"/>
                      <a:pt x="142" y="1143"/>
                      <a:pt x="142" y="1143"/>
                    </a:cubicBezTo>
                    <a:cubicBezTo>
                      <a:pt x="138" y="1142"/>
                      <a:pt x="138" y="1142"/>
                      <a:pt x="138" y="1142"/>
                    </a:cubicBezTo>
                    <a:cubicBezTo>
                      <a:pt x="134" y="1142"/>
                      <a:pt x="134" y="1142"/>
                      <a:pt x="134" y="1142"/>
                    </a:cubicBezTo>
                    <a:cubicBezTo>
                      <a:pt x="131" y="1143"/>
                      <a:pt x="131" y="1143"/>
                      <a:pt x="131" y="1143"/>
                    </a:cubicBezTo>
                    <a:cubicBezTo>
                      <a:pt x="129" y="1141"/>
                      <a:pt x="129" y="1141"/>
                      <a:pt x="129" y="1141"/>
                    </a:cubicBezTo>
                    <a:cubicBezTo>
                      <a:pt x="130" y="1139"/>
                      <a:pt x="130" y="1139"/>
                      <a:pt x="130" y="1139"/>
                    </a:cubicBezTo>
                    <a:cubicBezTo>
                      <a:pt x="134" y="1137"/>
                      <a:pt x="134" y="1137"/>
                      <a:pt x="134" y="1137"/>
                    </a:cubicBezTo>
                    <a:cubicBezTo>
                      <a:pt x="138" y="1134"/>
                      <a:pt x="138" y="1134"/>
                      <a:pt x="138" y="1134"/>
                    </a:cubicBezTo>
                    <a:cubicBezTo>
                      <a:pt x="141" y="1130"/>
                      <a:pt x="141" y="1130"/>
                      <a:pt x="141" y="1130"/>
                    </a:cubicBezTo>
                    <a:cubicBezTo>
                      <a:pt x="140" y="1127"/>
                      <a:pt x="140" y="1127"/>
                      <a:pt x="140" y="1127"/>
                    </a:cubicBezTo>
                    <a:cubicBezTo>
                      <a:pt x="139" y="1128"/>
                      <a:pt x="139" y="1128"/>
                      <a:pt x="139" y="1128"/>
                    </a:cubicBezTo>
                    <a:cubicBezTo>
                      <a:pt x="138" y="1131"/>
                      <a:pt x="138" y="1131"/>
                      <a:pt x="138" y="1131"/>
                    </a:cubicBezTo>
                    <a:cubicBezTo>
                      <a:pt x="134" y="1134"/>
                      <a:pt x="134" y="1134"/>
                      <a:pt x="134" y="1134"/>
                    </a:cubicBezTo>
                    <a:cubicBezTo>
                      <a:pt x="131" y="1134"/>
                      <a:pt x="131" y="1134"/>
                      <a:pt x="131" y="1134"/>
                    </a:cubicBezTo>
                    <a:cubicBezTo>
                      <a:pt x="127" y="1139"/>
                      <a:pt x="127" y="1139"/>
                      <a:pt x="127" y="1139"/>
                    </a:cubicBezTo>
                    <a:cubicBezTo>
                      <a:pt x="122" y="1143"/>
                      <a:pt x="122" y="1143"/>
                      <a:pt x="122" y="1143"/>
                    </a:cubicBezTo>
                    <a:cubicBezTo>
                      <a:pt x="116" y="1144"/>
                      <a:pt x="116" y="1144"/>
                      <a:pt x="116" y="1144"/>
                    </a:cubicBezTo>
                    <a:cubicBezTo>
                      <a:pt x="114" y="1141"/>
                      <a:pt x="114" y="1141"/>
                      <a:pt x="114" y="1141"/>
                    </a:cubicBezTo>
                    <a:cubicBezTo>
                      <a:pt x="114" y="1140"/>
                      <a:pt x="114" y="1140"/>
                      <a:pt x="114" y="1140"/>
                    </a:cubicBezTo>
                    <a:cubicBezTo>
                      <a:pt x="117" y="1139"/>
                      <a:pt x="117" y="1139"/>
                      <a:pt x="117" y="1139"/>
                    </a:cubicBezTo>
                    <a:cubicBezTo>
                      <a:pt x="115" y="1138"/>
                      <a:pt x="115" y="1138"/>
                      <a:pt x="115" y="1138"/>
                    </a:cubicBezTo>
                    <a:cubicBezTo>
                      <a:pt x="109" y="1140"/>
                      <a:pt x="109" y="1140"/>
                      <a:pt x="109" y="1140"/>
                    </a:cubicBezTo>
                    <a:cubicBezTo>
                      <a:pt x="107" y="1138"/>
                      <a:pt x="107" y="1138"/>
                      <a:pt x="107" y="1138"/>
                    </a:cubicBezTo>
                    <a:cubicBezTo>
                      <a:pt x="108" y="1136"/>
                      <a:pt x="108" y="1136"/>
                      <a:pt x="108" y="1136"/>
                    </a:cubicBezTo>
                    <a:cubicBezTo>
                      <a:pt x="113" y="1133"/>
                      <a:pt x="113" y="1133"/>
                      <a:pt x="113" y="1133"/>
                    </a:cubicBezTo>
                    <a:cubicBezTo>
                      <a:pt x="116" y="1132"/>
                      <a:pt x="116" y="1132"/>
                      <a:pt x="116" y="1132"/>
                    </a:cubicBezTo>
                    <a:cubicBezTo>
                      <a:pt x="119" y="1132"/>
                      <a:pt x="119" y="1132"/>
                      <a:pt x="119" y="1132"/>
                    </a:cubicBezTo>
                    <a:cubicBezTo>
                      <a:pt x="120" y="1131"/>
                      <a:pt x="120" y="1131"/>
                      <a:pt x="120" y="1131"/>
                    </a:cubicBezTo>
                    <a:cubicBezTo>
                      <a:pt x="120" y="1129"/>
                      <a:pt x="120" y="1129"/>
                      <a:pt x="120" y="1129"/>
                    </a:cubicBezTo>
                    <a:cubicBezTo>
                      <a:pt x="118" y="1128"/>
                      <a:pt x="118" y="1128"/>
                      <a:pt x="118" y="1128"/>
                    </a:cubicBezTo>
                    <a:cubicBezTo>
                      <a:pt x="119" y="1126"/>
                      <a:pt x="119" y="1126"/>
                      <a:pt x="119" y="1126"/>
                    </a:cubicBezTo>
                    <a:cubicBezTo>
                      <a:pt x="121" y="1125"/>
                      <a:pt x="121" y="1125"/>
                      <a:pt x="121" y="1125"/>
                    </a:cubicBezTo>
                    <a:cubicBezTo>
                      <a:pt x="119" y="1123"/>
                      <a:pt x="119" y="1123"/>
                      <a:pt x="119" y="1123"/>
                    </a:cubicBezTo>
                    <a:cubicBezTo>
                      <a:pt x="116" y="1125"/>
                      <a:pt x="116" y="1125"/>
                      <a:pt x="116" y="1125"/>
                    </a:cubicBezTo>
                    <a:cubicBezTo>
                      <a:pt x="114" y="1125"/>
                      <a:pt x="114" y="1125"/>
                      <a:pt x="114" y="1125"/>
                    </a:cubicBezTo>
                    <a:cubicBezTo>
                      <a:pt x="113" y="1122"/>
                      <a:pt x="113" y="1122"/>
                      <a:pt x="113" y="1122"/>
                    </a:cubicBezTo>
                    <a:cubicBezTo>
                      <a:pt x="112" y="1114"/>
                      <a:pt x="112" y="1114"/>
                      <a:pt x="112" y="1114"/>
                    </a:cubicBezTo>
                    <a:cubicBezTo>
                      <a:pt x="111" y="1111"/>
                      <a:pt x="111" y="1111"/>
                      <a:pt x="111" y="1111"/>
                    </a:cubicBezTo>
                    <a:cubicBezTo>
                      <a:pt x="110" y="1109"/>
                      <a:pt x="110" y="1109"/>
                      <a:pt x="110" y="1109"/>
                    </a:cubicBezTo>
                    <a:cubicBezTo>
                      <a:pt x="112" y="1106"/>
                      <a:pt x="112" y="1106"/>
                      <a:pt x="112" y="1106"/>
                    </a:cubicBezTo>
                    <a:cubicBezTo>
                      <a:pt x="117" y="1106"/>
                      <a:pt x="117" y="1106"/>
                      <a:pt x="117" y="1106"/>
                    </a:cubicBezTo>
                    <a:cubicBezTo>
                      <a:pt x="120" y="1108"/>
                      <a:pt x="120" y="1108"/>
                      <a:pt x="120" y="1108"/>
                    </a:cubicBezTo>
                    <a:cubicBezTo>
                      <a:pt x="125" y="1108"/>
                      <a:pt x="125" y="1108"/>
                      <a:pt x="125" y="1108"/>
                    </a:cubicBezTo>
                    <a:cubicBezTo>
                      <a:pt x="129" y="1110"/>
                      <a:pt x="129" y="1110"/>
                      <a:pt x="129" y="1110"/>
                    </a:cubicBezTo>
                    <a:cubicBezTo>
                      <a:pt x="128" y="1108"/>
                      <a:pt x="128" y="1108"/>
                      <a:pt x="128" y="1108"/>
                    </a:cubicBezTo>
                    <a:cubicBezTo>
                      <a:pt x="125" y="1107"/>
                      <a:pt x="125" y="1107"/>
                      <a:pt x="125" y="1107"/>
                    </a:cubicBezTo>
                    <a:cubicBezTo>
                      <a:pt x="121" y="1107"/>
                      <a:pt x="121" y="1107"/>
                      <a:pt x="121" y="1107"/>
                    </a:cubicBezTo>
                    <a:cubicBezTo>
                      <a:pt x="118" y="1104"/>
                      <a:pt x="118" y="1104"/>
                      <a:pt x="118" y="1104"/>
                    </a:cubicBezTo>
                    <a:cubicBezTo>
                      <a:pt x="115" y="1102"/>
                      <a:pt x="115" y="1102"/>
                      <a:pt x="115" y="1102"/>
                    </a:cubicBezTo>
                    <a:cubicBezTo>
                      <a:pt x="115" y="1100"/>
                      <a:pt x="115" y="1100"/>
                      <a:pt x="115" y="1100"/>
                    </a:cubicBezTo>
                    <a:cubicBezTo>
                      <a:pt x="117" y="1096"/>
                      <a:pt x="117" y="1096"/>
                      <a:pt x="117" y="1096"/>
                    </a:cubicBezTo>
                    <a:cubicBezTo>
                      <a:pt x="120" y="1095"/>
                      <a:pt x="120" y="1095"/>
                      <a:pt x="120" y="1095"/>
                    </a:cubicBezTo>
                    <a:cubicBezTo>
                      <a:pt x="121" y="1092"/>
                      <a:pt x="121" y="1092"/>
                      <a:pt x="121" y="1092"/>
                    </a:cubicBezTo>
                    <a:cubicBezTo>
                      <a:pt x="121" y="1088"/>
                      <a:pt x="121" y="1088"/>
                      <a:pt x="121" y="1088"/>
                    </a:cubicBezTo>
                    <a:cubicBezTo>
                      <a:pt x="120" y="1088"/>
                      <a:pt x="120" y="1088"/>
                      <a:pt x="120" y="1088"/>
                    </a:cubicBezTo>
                    <a:cubicBezTo>
                      <a:pt x="116" y="1093"/>
                      <a:pt x="116" y="1093"/>
                      <a:pt x="116" y="1093"/>
                    </a:cubicBezTo>
                    <a:cubicBezTo>
                      <a:pt x="113" y="1095"/>
                      <a:pt x="113" y="1095"/>
                      <a:pt x="113" y="1095"/>
                    </a:cubicBezTo>
                    <a:cubicBezTo>
                      <a:pt x="107" y="1097"/>
                      <a:pt x="107" y="1097"/>
                      <a:pt x="107" y="1097"/>
                    </a:cubicBezTo>
                    <a:cubicBezTo>
                      <a:pt x="104" y="1099"/>
                      <a:pt x="104" y="1099"/>
                      <a:pt x="104" y="1099"/>
                    </a:cubicBezTo>
                    <a:cubicBezTo>
                      <a:pt x="103" y="1102"/>
                      <a:pt x="103" y="1102"/>
                      <a:pt x="103" y="1102"/>
                    </a:cubicBezTo>
                    <a:cubicBezTo>
                      <a:pt x="101" y="1102"/>
                      <a:pt x="101" y="1102"/>
                      <a:pt x="101" y="1102"/>
                    </a:cubicBezTo>
                    <a:cubicBezTo>
                      <a:pt x="98" y="1096"/>
                      <a:pt x="98" y="1096"/>
                      <a:pt x="98" y="1096"/>
                    </a:cubicBezTo>
                    <a:cubicBezTo>
                      <a:pt x="97" y="1091"/>
                      <a:pt x="97" y="1091"/>
                      <a:pt x="97" y="1091"/>
                    </a:cubicBezTo>
                    <a:cubicBezTo>
                      <a:pt x="97" y="1081"/>
                      <a:pt x="97" y="1081"/>
                      <a:pt x="97" y="1081"/>
                    </a:cubicBezTo>
                    <a:cubicBezTo>
                      <a:pt x="99" y="1075"/>
                      <a:pt x="99" y="1075"/>
                      <a:pt x="99" y="1075"/>
                    </a:cubicBezTo>
                    <a:cubicBezTo>
                      <a:pt x="98" y="1073"/>
                      <a:pt x="98" y="1073"/>
                      <a:pt x="98" y="1073"/>
                    </a:cubicBezTo>
                    <a:cubicBezTo>
                      <a:pt x="95" y="1073"/>
                      <a:pt x="95" y="1073"/>
                      <a:pt x="95" y="1073"/>
                    </a:cubicBezTo>
                    <a:cubicBezTo>
                      <a:pt x="95" y="1067"/>
                      <a:pt x="95" y="1067"/>
                      <a:pt x="95" y="1067"/>
                    </a:cubicBezTo>
                    <a:cubicBezTo>
                      <a:pt x="98" y="1066"/>
                      <a:pt x="98" y="1066"/>
                      <a:pt x="98" y="1066"/>
                    </a:cubicBezTo>
                    <a:cubicBezTo>
                      <a:pt x="99" y="1067"/>
                      <a:pt x="99" y="1067"/>
                      <a:pt x="99" y="1067"/>
                    </a:cubicBezTo>
                    <a:cubicBezTo>
                      <a:pt x="102" y="1068"/>
                      <a:pt x="102" y="1068"/>
                      <a:pt x="102" y="1068"/>
                    </a:cubicBezTo>
                    <a:cubicBezTo>
                      <a:pt x="101" y="1064"/>
                      <a:pt x="101" y="1064"/>
                      <a:pt x="101" y="1064"/>
                    </a:cubicBezTo>
                    <a:cubicBezTo>
                      <a:pt x="104" y="1061"/>
                      <a:pt x="104" y="1061"/>
                      <a:pt x="104" y="1061"/>
                    </a:cubicBezTo>
                    <a:cubicBezTo>
                      <a:pt x="106" y="1056"/>
                      <a:pt x="106" y="1056"/>
                      <a:pt x="106" y="1056"/>
                    </a:cubicBezTo>
                    <a:cubicBezTo>
                      <a:pt x="109" y="1056"/>
                      <a:pt x="109" y="1056"/>
                      <a:pt x="109" y="1056"/>
                    </a:cubicBezTo>
                    <a:cubicBezTo>
                      <a:pt x="114" y="1056"/>
                      <a:pt x="114" y="1056"/>
                      <a:pt x="114" y="1056"/>
                    </a:cubicBezTo>
                    <a:cubicBezTo>
                      <a:pt x="116" y="1055"/>
                      <a:pt x="116" y="1055"/>
                      <a:pt x="116" y="1055"/>
                    </a:cubicBezTo>
                    <a:cubicBezTo>
                      <a:pt x="113" y="1054"/>
                      <a:pt x="113" y="1054"/>
                      <a:pt x="113" y="1054"/>
                    </a:cubicBezTo>
                    <a:cubicBezTo>
                      <a:pt x="113" y="1053"/>
                      <a:pt x="113" y="1053"/>
                      <a:pt x="113" y="1053"/>
                    </a:cubicBezTo>
                    <a:cubicBezTo>
                      <a:pt x="118" y="1047"/>
                      <a:pt x="118" y="1047"/>
                      <a:pt x="118" y="1047"/>
                    </a:cubicBezTo>
                    <a:cubicBezTo>
                      <a:pt x="120" y="1044"/>
                      <a:pt x="120" y="1044"/>
                      <a:pt x="120" y="1044"/>
                    </a:cubicBezTo>
                    <a:cubicBezTo>
                      <a:pt x="125" y="1041"/>
                      <a:pt x="125" y="1041"/>
                      <a:pt x="125" y="1041"/>
                    </a:cubicBezTo>
                    <a:cubicBezTo>
                      <a:pt x="126" y="1039"/>
                      <a:pt x="126" y="1039"/>
                      <a:pt x="126" y="1039"/>
                    </a:cubicBezTo>
                    <a:cubicBezTo>
                      <a:pt x="123" y="1039"/>
                      <a:pt x="123" y="1039"/>
                      <a:pt x="123" y="1039"/>
                    </a:cubicBezTo>
                    <a:cubicBezTo>
                      <a:pt x="123" y="1037"/>
                      <a:pt x="123" y="1037"/>
                      <a:pt x="123" y="1037"/>
                    </a:cubicBezTo>
                    <a:cubicBezTo>
                      <a:pt x="118" y="1041"/>
                      <a:pt x="118" y="1041"/>
                      <a:pt x="118" y="1041"/>
                    </a:cubicBezTo>
                    <a:cubicBezTo>
                      <a:pt x="117" y="1045"/>
                      <a:pt x="117" y="1045"/>
                      <a:pt x="117" y="1045"/>
                    </a:cubicBezTo>
                    <a:cubicBezTo>
                      <a:pt x="111" y="1052"/>
                      <a:pt x="111" y="1052"/>
                      <a:pt x="111" y="1052"/>
                    </a:cubicBezTo>
                    <a:cubicBezTo>
                      <a:pt x="110" y="1052"/>
                      <a:pt x="110" y="1052"/>
                      <a:pt x="110" y="1052"/>
                    </a:cubicBezTo>
                    <a:cubicBezTo>
                      <a:pt x="110" y="1049"/>
                      <a:pt x="110" y="1049"/>
                      <a:pt x="110" y="1049"/>
                    </a:cubicBezTo>
                    <a:cubicBezTo>
                      <a:pt x="114" y="1044"/>
                      <a:pt x="114" y="1044"/>
                      <a:pt x="114" y="1044"/>
                    </a:cubicBezTo>
                    <a:cubicBezTo>
                      <a:pt x="115" y="1038"/>
                      <a:pt x="115" y="1038"/>
                      <a:pt x="115" y="1038"/>
                    </a:cubicBezTo>
                    <a:cubicBezTo>
                      <a:pt x="120" y="1029"/>
                      <a:pt x="120" y="1029"/>
                      <a:pt x="120" y="1029"/>
                    </a:cubicBezTo>
                    <a:cubicBezTo>
                      <a:pt x="121" y="1025"/>
                      <a:pt x="121" y="1025"/>
                      <a:pt x="121" y="1025"/>
                    </a:cubicBezTo>
                    <a:cubicBezTo>
                      <a:pt x="120" y="1024"/>
                      <a:pt x="120" y="1024"/>
                      <a:pt x="120" y="1024"/>
                    </a:cubicBezTo>
                    <a:cubicBezTo>
                      <a:pt x="121" y="1023"/>
                      <a:pt x="121" y="1023"/>
                      <a:pt x="121" y="1023"/>
                    </a:cubicBezTo>
                    <a:cubicBezTo>
                      <a:pt x="121" y="1020"/>
                      <a:pt x="121" y="1020"/>
                      <a:pt x="121" y="1020"/>
                    </a:cubicBezTo>
                    <a:cubicBezTo>
                      <a:pt x="122" y="1020"/>
                      <a:pt x="122" y="1020"/>
                      <a:pt x="122" y="1020"/>
                    </a:cubicBezTo>
                    <a:cubicBezTo>
                      <a:pt x="122" y="1018"/>
                      <a:pt x="122" y="1018"/>
                      <a:pt x="122" y="1018"/>
                    </a:cubicBezTo>
                    <a:cubicBezTo>
                      <a:pt x="123" y="1017"/>
                      <a:pt x="123" y="1017"/>
                      <a:pt x="123" y="1017"/>
                    </a:cubicBezTo>
                    <a:cubicBezTo>
                      <a:pt x="122" y="1015"/>
                      <a:pt x="122" y="1015"/>
                      <a:pt x="122" y="1015"/>
                    </a:cubicBezTo>
                    <a:cubicBezTo>
                      <a:pt x="120" y="1014"/>
                      <a:pt x="120" y="1014"/>
                      <a:pt x="120" y="1014"/>
                    </a:cubicBezTo>
                    <a:cubicBezTo>
                      <a:pt x="120" y="1010"/>
                      <a:pt x="120" y="1010"/>
                      <a:pt x="120" y="1010"/>
                    </a:cubicBezTo>
                    <a:cubicBezTo>
                      <a:pt x="118" y="1006"/>
                      <a:pt x="118" y="1006"/>
                      <a:pt x="118" y="1006"/>
                    </a:cubicBezTo>
                    <a:cubicBezTo>
                      <a:pt x="114" y="1004"/>
                      <a:pt x="114" y="1004"/>
                      <a:pt x="114" y="1004"/>
                    </a:cubicBezTo>
                    <a:cubicBezTo>
                      <a:pt x="111" y="1002"/>
                      <a:pt x="111" y="1002"/>
                      <a:pt x="111" y="1002"/>
                    </a:cubicBezTo>
                    <a:cubicBezTo>
                      <a:pt x="110" y="999"/>
                      <a:pt x="110" y="999"/>
                      <a:pt x="110" y="999"/>
                    </a:cubicBezTo>
                    <a:cubicBezTo>
                      <a:pt x="107" y="995"/>
                      <a:pt x="107" y="995"/>
                      <a:pt x="107" y="995"/>
                    </a:cubicBezTo>
                    <a:cubicBezTo>
                      <a:pt x="104" y="994"/>
                      <a:pt x="104" y="994"/>
                      <a:pt x="104" y="994"/>
                    </a:cubicBezTo>
                    <a:cubicBezTo>
                      <a:pt x="101" y="994"/>
                      <a:pt x="101" y="994"/>
                      <a:pt x="101" y="994"/>
                    </a:cubicBezTo>
                    <a:cubicBezTo>
                      <a:pt x="101" y="992"/>
                      <a:pt x="101" y="992"/>
                      <a:pt x="101" y="992"/>
                    </a:cubicBezTo>
                    <a:cubicBezTo>
                      <a:pt x="102" y="990"/>
                      <a:pt x="102" y="990"/>
                      <a:pt x="102" y="990"/>
                    </a:cubicBezTo>
                    <a:cubicBezTo>
                      <a:pt x="101" y="988"/>
                      <a:pt x="101" y="988"/>
                      <a:pt x="101" y="988"/>
                    </a:cubicBezTo>
                    <a:cubicBezTo>
                      <a:pt x="100" y="986"/>
                      <a:pt x="100" y="986"/>
                      <a:pt x="100" y="986"/>
                    </a:cubicBezTo>
                    <a:cubicBezTo>
                      <a:pt x="99" y="984"/>
                      <a:pt x="99" y="984"/>
                      <a:pt x="99" y="984"/>
                    </a:cubicBezTo>
                    <a:cubicBezTo>
                      <a:pt x="101" y="982"/>
                      <a:pt x="101" y="982"/>
                      <a:pt x="101" y="982"/>
                    </a:cubicBezTo>
                    <a:cubicBezTo>
                      <a:pt x="102" y="982"/>
                      <a:pt x="102" y="982"/>
                      <a:pt x="102" y="982"/>
                    </a:cubicBezTo>
                    <a:cubicBezTo>
                      <a:pt x="102" y="980"/>
                      <a:pt x="102" y="980"/>
                      <a:pt x="102" y="980"/>
                    </a:cubicBezTo>
                    <a:cubicBezTo>
                      <a:pt x="100" y="979"/>
                      <a:pt x="100" y="979"/>
                      <a:pt x="100" y="979"/>
                    </a:cubicBezTo>
                    <a:cubicBezTo>
                      <a:pt x="98" y="979"/>
                      <a:pt x="98" y="979"/>
                      <a:pt x="98" y="979"/>
                    </a:cubicBezTo>
                    <a:cubicBezTo>
                      <a:pt x="98" y="976"/>
                      <a:pt x="98" y="976"/>
                      <a:pt x="98" y="976"/>
                    </a:cubicBezTo>
                    <a:cubicBezTo>
                      <a:pt x="101" y="974"/>
                      <a:pt x="101" y="974"/>
                      <a:pt x="101" y="974"/>
                    </a:cubicBezTo>
                    <a:cubicBezTo>
                      <a:pt x="100" y="961"/>
                      <a:pt x="100" y="961"/>
                      <a:pt x="100" y="961"/>
                    </a:cubicBezTo>
                    <a:cubicBezTo>
                      <a:pt x="100" y="948"/>
                      <a:pt x="100" y="948"/>
                      <a:pt x="100" y="948"/>
                    </a:cubicBezTo>
                    <a:cubicBezTo>
                      <a:pt x="102" y="937"/>
                      <a:pt x="102" y="937"/>
                      <a:pt x="102" y="937"/>
                    </a:cubicBezTo>
                    <a:cubicBezTo>
                      <a:pt x="100" y="934"/>
                      <a:pt x="100" y="934"/>
                      <a:pt x="100" y="934"/>
                    </a:cubicBezTo>
                    <a:cubicBezTo>
                      <a:pt x="100" y="931"/>
                      <a:pt x="100" y="931"/>
                      <a:pt x="100" y="931"/>
                    </a:cubicBezTo>
                    <a:cubicBezTo>
                      <a:pt x="102" y="927"/>
                      <a:pt x="102" y="927"/>
                      <a:pt x="102" y="927"/>
                    </a:cubicBezTo>
                    <a:cubicBezTo>
                      <a:pt x="101" y="924"/>
                      <a:pt x="101" y="924"/>
                      <a:pt x="101" y="924"/>
                    </a:cubicBezTo>
                    <a:cubicBezTo>
                      <a:pt x="99" y="921"/>
                      <a:pt x="99" y="921"/>
                      <a:pt x="99" y="921"/>
                    </a:cubicBezTo>
                    <a:cubicBezTo>
                      <a:pt x="99" y="914"/>
                      <a:pt x="99" y="914"/>
                      <a:pt x="99" y="914"/>
                    </a:cubicBezTo>
                    <a:cubicBezTo>
                      <a:pt x="94" y="909"/>
                      <a:pt x="94" y="909"/>
                      <a:pt x="94" y="909"/>
                    </a:cubicBezTo>
                    <a:cubicBezTo>
                      <a:pt x="93" y="903"/>
                      <a:pt x="93" y="903"/>
                      <a:pt x="93" y="903"/>
                    </a:cubicBezTo>
                    <a:cubicBezTo>
                      <a:pt x="94" y="899"/>
                      <a:pt x="94" y="899"/>
                      <a:pt x="94" y="899"/>
                    </a:cubicBezTo>
                    <a:cubicBezTo>
                      <a:pt x="90" y="889"/>
                      <a:pt x="90" y="889"/>
                      <a:pt x="90" y="889"/>
                    </a:cubicBezTo>
                    <a:cubicBezTo>
                      <a:pt x="91" y="886"/>
                      <a:pt x="91" y="886"/>
                      <a:pt x="91" y="886"/>
                    </a:cubicBezTo>
                    <a:cubicBezTo>
                      <a:pt x="94" y="881"/>
                      <a:pt x="94" y="881"/>
                      <a:pt x="94" y="881"/>
                    </a:cubicBezTo>
                    <a:cubicBezTo>
                      <a:pt x="93" y="878"/>
                      <a:pt x="93" y="878"/>
                      <a:pt x="93" y="878"/>
                    </a:cubicBezTo>
                    <a:cubicBezTo>
                      <a:pt x="93" y="875"/>
                      <a:pt x="93" y="875"/>
                      <a:pt x="93" y="875"/>
                    </a:cubicBezTo>
                    <a:cubicBezTo>
                      <a:pt x="89" y="872"/>
                      <a:pt x="89" y="872"/>
                      <a:pt x="89" y="872"/>
                    </a:cubicBezTo>
                    <a:cubicBezTo>
                      <a:pt x="83" y="872"/>
                      <a:pt x="83" y="872"/>
                      <a:pt x="83" y="872"/>
                    </a:cubicBezTo>
                    <a:cubicBezTo>
                      <a:pt x="76" y="874"/>
                      <a:pt x="76" y="874"/>
                      <a:pt x="76" y="874"/>
                    </a:cubicBezTo>
                    <a:cubicBezTo>
                      <a:pt x="75" y="875"/>
                      <a:pt x="75" y="875"/>
                      <a:pt x="75" y="875"/>
                    </a:cubicBezTo>
                    <a:cubicBezTo>
                      <a:pt x="68" y="877"/>
                      <a:pt x="68" y="877"/>
                      <a:pt x="68" y="877"/>
                    </a:cubicBezTo>
                    <a:cubicBezTo>
                      <a:pt x="63" y="881"/>
                      <a:pt x="63" y="881"/>
                      <a:pt x="63" y="881"/>
                    </a:cubicBezTo>
                    <a:cubicBezTo>
                      <a:pt x="58" y="889"/>
                      <a:pt x="58" y="889"/>
                      <a:pt x="58" y="889"/>
                    </a:cubicBezTo>
                    <a:cubicBezTo>
                      <a:pt x="53" y="892"/>
                      <a:pt x="53" y="892"/>
                      <a:pt x="53" y="892"/>
                    </a:cubicBezTo>
                    <a:cubicBezTo>
                      <a:pt x="47" y="892"/>
                      <a:pt x="47" y="892"/>
                      <a:pt x="47" y="892"/>
                    </a:cubicBezTo>
                    <a:cubicBezTo>
                      <a:pt x="40" y="894"/>
                      <a:pt x="40" y="894"/>
                      <a:pt x="40" y="894"/>
                    </a:cubicBezTo>
                    <a:cubicBezTo>
                      <a:pt x="38" y="894"/>
                      <a:pt x="38" y="894"/>
                      <a:pt x="38" y="894"/>
                    </a:cubicBezTo>
                    <a:cubicBezTo>
                      <a:pt x="39" y="891"/>
                      <a:pt x="39" y="891"/>
                      <a:pt x="39" y="891"/>
                    </a:cubicBezTo>
                    <a:cubicBezTo>
                      <a:pt x="42" y="886"/>
                      <a:pt x="42" y="886"/>
                      <a:pt x="42" y="886"/>
                    </a:cubicBezTo>
                    <a:cubicBezTo>
                      <a:pt x="40" y="881"/>
                      <a:pt x="40" y="881"/>
                      <a:pt x="40" y="881"/>
                    </a:cubicBezTo>
                    <a:cubicBezTo>
                      <a:pt x="34" y="860"/>
                      <a:pt x="34" y="860"/>
                      <a:pt x="34" y="860"/>
                    </a:cubicBezTo>
                    <a:cubicBezTo>
                      <a:pt x="31" y="850"/>
                      <a:pt x="31" y="850"/>
                      <a:pt x="31" y="850"/>
                    </a:cubicBezTo>
                    <a:cubicBezTo>
                      <a:pt x="29" y="846"/>
                      <a:pt x="29" y="846"/>
                      <a:pt x="29" y="846"/>
                    </a:cubicBezTo>
                    <a:cubicBezTo>
                      <a:pt x="34" y="838"/>
                      <a:pt x="34" y="838"/>
                      <a:pt x="34" y="838"/>
                    </a:cubicBezTo>
                    <a:cubicBezTo>
                      <a:pt x="24" y="836"/>
                      <a:pt x="24" y="836"/>
                      <a:pt x="24" y="836"/>
                    </a:cubicBezTo>
                    <a:cubicBezTo>
                      <a:pt x="17" y="840"/>
                      <a:pt x="17" y="840"/>
                      <a:pt x="17" y="840"/>
                    </a:cubicBezTo>
                    <a:cubicBezTo>
                      <a:pt x="13" y="838"/>
                      <a:pt x="13" y="838"/>
                      <a:pt x="13" y="838"/>
                    </a:cubicBezTo>
                    <a:cubicBezTo>
                      <a:pt x="0" y="838"/>
                      <a:pt x="0" y="838"/>
                      <a:pt x="0" y="838"/>
                    </a:cubicBezTo>
                    <a:cubicBezTo>
                      <a:pt x="223" y="446"/>
                      <a:pt x="223" y="446"/>
                      <a:pt x="223" y="446"/>
                    </a:cubicBezTo>
                    <a:cubicBezTo>
                      <a:pt x="224" y="449"/>
                      <a:pt x="224" y="449"/>
                      <a:pt x="224" y="449"/>
                    </a:cubicBezTo>
                    <a:cubicBezTo>
                      <a:pt x="226" y="449"/>
                      <a:pt x="226" y="449"/>
                      <a:pt x="226" y="449"/>
                    </a:cubicBezTo>
                    <a:cubicBezTo>
                      <a:pt x="237" y="456"/>
                      <a:pt x="237" y="456"/>
                      <a:pt x="237" y="456"/>
                    </a:cubicBezTo>
                    <a:cubicBezTo>
                      <a:pt x="240" y="456"/>
                      <a:pt x="240" y="456"/>
                      <a:pt x="240" y="456"/>
                    </a:cubicBezTo>
                    <a:cubicBezTo>
                      <a:pt x="244" y="459"/>
                      <a:pt x="244" y="459"/>
                      <a:pt x="244" y="459"/>
                    </a:cubicBezTo>
                    <a:cubicBezTo>
                      <a:pt x="245" y="462"/>
                      <a:pt x="245" y="462"/>
                      <a:pt x="245" y="462"/>
                    </a:cubicBezTo>
                    <a:cubicBezTo>
                      <a:pt x="246" y="462"/>
                      <a:pt x="246" y="462"/>
                      <a:pt x="246" y="462"/>
                    </a:cubicBezTo>
                    <a:cubicBezTo>
                      <a:pt x="250" y="465"/>
                      <a:pt x="250" y="465"/>
                      <a:pt x="250" y="465"/>
                    </a:cubicBezTo>
                    <a:cubicBezTo>
                      <a:pt x="250" y="468"/>
                      <a:pt x="250" y="468"/>
                      <a:pt x="250" y="468"/>
                    </a:cubicBezTo>
                    <a:cubicBezTo>
                      <a:pt x="254" y="472"/>
                      <a:pt x="254" y="472"/>
                      <a:pt x="254" y="472"/>
                    </a:cubicBezTo>
                    <a:cubicBezTo>
                      <a:pt x="254" y="474"/>
                      <a:pt x="254" y="474"/>
                      <a:pt x="254" y="474"/>
                    </a:cubicBezTo>
                    <a:cubicBezTo>
                      <a:pt x="254" y="476"/>
                      <a:pt x="254" y="476"/>
                      <a:pt x="254" y="476"/>
                    </a:cubicBezTo>
                    <a:cubicBezTo>
                      <a:pt x="252" y="480"/>
                      <a:pt x="252" y="480"/>
                      <a:pt x="252" y="480"/>
                    </a:cubicBezTo>
                    <a:cubicBezTo>
                      <a:pt x="254" y="484"/>
                      <a:pt x="254" y="484"/>
                      <a:pt x="254" y="484"/>
                    </a:cubicBezTo>
                    <a:cubicBezTo>
                      <a:pt x="256" y="484"/>
                      <a:pt x="256" y="484"/>
                      <a:pt x="256" y="484"/>
                    </a:cubicBezTo>
                    <a:cubicBezTo>
                      <a:pt x="257" y="483"/>
                      <a:pt x="257" y="483"/>
                      <a:pt x="257" y="483"/>
                    </a:cubicBezTo>
                    <a:cubicBezTo>
                      <a:pt x="258" y="483"/>
                      <a:pt x="258" y="483"/>
                      <a:pt x="258" y="483"/>
                    </a:cubicBezTo>
                    <a:cubicBezTo>
                      <a:pt x="258" y="489"/>
                      <a:pt x="258" y="489"/>
                      <a:pt x="258" y="489"/>
                    </a:cubicBezTo>
                    <a:cubicBezTo>
                      <a:pt x="260" y="494"/>
                      <a:pt x="260" y="494"/>
                      <a:pt x="260" y="494"/>
                    </a:cubicBezTo>
                    <a:cubicBezTo>
                      <a:pt x="266" y="501"/>
                      <a:pt x="266" y="501"/>
                      <a:pt x="266" y="501"/>
                    </a:cubicBezTo>
                    <a:cubicBezTo>
                      <a:pt x="269" y="503"/>
                      <a:pt x="269" y="503"/>
                      <a:pt x="269" y="503"/>
                    </a:cubicBezTo>
                    <a:cubicBezTo>
                      <a:pt x="271" y="502"/>
                      <a:pt x="271" y="502"/>
                      <a:pt x="271" y="502"/>
                    </a:cubicBezTo>
                    <a:cubicBezTo>
                      <a:pt x="273" y="504"/>
                      <a:pt x="273" y="504"/>
                      <a:pt x="273" y="504"/>
                    </a:cubicBezTo>
                    <a:cubicBezTo>
                      <a:pt x="274" y="507"/>
                      <a:pt x="274" y="507"/>
                      <a:pt x="274" y="507"/>
                    </a:cubicBezTo>
                    <a:cubicBezTo>
                      <a:pt x="276" y="508"/>
                      <a:pt x="276" y="508"/>
                      <a:pt x="276" y="508"/>
                    </a:cubicBezTo>
                    <a:cubicBezTo>
                      <a:pt x="277" y="508"/>
                      <a:pt x="277" y="508"/>
                      <a:pt x="277" y="508"/>
                    </a:cubicBezTo>
                    <a:cubicBezTo>
                      <a:pt x="281" y="513"/>
                      <a:pt x="281" y="513"/>
                      <a:pt x="281" y="513"/>
                    </a:cubicBezTo>
                    <a:cubicBezTo>
                      <a:pt x="282" y="518"/>
                      <a:pt x="282" y="518"/>
                      <a:pt x="282" y="518"/>
                    </a:cubicBezTo>
                    <a:cubicBezTo>
                      <a:pt x="284" y="519"/>
                      <a:pt x="284" y="519"/>
                      <a:pt x="284" y="519"/>
                    </a:cubicBezTo>
                    <a:cubicBezTo>
                      <a:pt x="286" y="522"/>
                      <a:pt x="286" y="522"/>
                      <a:pt x="286" y="522"/>
                    </a:cubicBezTo>
                    <a:cubicBezTo>
                      <a:pt x="288" y="522"/>
                      <a:pt x="288" y="522"/>
                      <a:pt x="288" y="522"/>
                    </a:cubicBezTo>
                    <a:cubicBezTo>
                      <a:pt x="293" y="528"/>
                      <a:pt x="293" y="528"/>
                      <a:pt x="293" y="528"/>
                    </a:cubicBezTo>
                    <a:cubicBezTo>
                      <a:pt x="293" y="530"/>
                      <a:pt x="293" y="530"/>
                      <a:pt x="293" y="530"/>
                    </a:cubicBezTo>
                    <a:cubicBezTo>
                      <a:pt x="295" y="531"/>
                      <a:pt x="295" y="531"/>
                      <a:pt x="295" y="531"/>
                    </a:cubicBezTo>
                    <a:cubicBezTo>
                      <a:pt x="294" y="534"/>
                      <a:pt x="294" y="534"/>
                      <a:pt x="294" y="534"/>
                    </a:cubicBezTo>
                    <a:cubicBezTo>
                      <a:pt x="290" y="538"/>
                      <a:pt x="290" y="538"/>
                      <a:pt x="290" y="538"/>
                    </a:cubicBezTo>
                    <a:cubicBezTo>
                      <a:pt x="288" y="542"/>
                      <a:pt x="288" y="542"/>
                      <a:pt x="288" y="542"/>
                    </a:cubicBezTo>
                    <a:cubicBezTo>
                      <a:pt x="296" y="535"/>
                      <a:pt x="296" y="535"/>
                      <a:pt x="296" y="535"/>
                    </a:cubicBezTo>
                    <a:cubicBezTo>
                      <a:pt x="299" y="533"/>
                      <a:pt x="299" y="533"/>
                      <a:pt x="299" y="533"/>
                    </a:cubicBezTo>
                    <a:cubicBezTo>
                      <a:pt x="301" y="534"/>
                      <a:pt x="301" y="534"/>
                      <a:pt x="301" y="534"/>
                    </a:cubicBezTo>
                    <a:cubicBezTo>
                      <a:pt x="302" y="529"/>
                      <a:pt x="302" y="529"/>
                      <a:pt x="302" y="529"/>
                    </a:cubicBezTo>
                    <a:cubicBezTo>
                      <a:pt x="301" y="519"/>
                      <a:pt x="301" y="519"/>
                      <a:pt x="301" y="519"/>
                    </a:cubicBezTo>
                    <a:cubicBezTo>
                      <a:pt x="301" y="513"/>
                      <a:pt x="301" y="513"/>
                      <a:pt x="301" y="513"/>
                    </a:cubicBezTo>
                    <a:cubicBezTo>
                      <a:pt x="303" y="509"/>
                      <a:pt x="303" y="509"/>
                      <a:pt x="303" y="509"/>
                    </a:cubicBezTo>
                    <a:cubicBezTo>
                      <a:pt x="310" y="507"/>
                      <a:pt x="310" y="507"/>
                      <a:pt x="310" y="507"/>
                    </a:cubicBezTo>
                    <a:cubicBezTo>
                      <a:pt x="315" y="505"/>
                      <a:pt x="315" y="505"/>
                      <a:pt x="315" y="505"/>
                    </a:cubicBezTo>
                    <a:cubicBezTo>
                      <a:pt x="318" y="502"/>
                      <a:pt x="318" y="502"/>
                      <a:pt x="318" y="502"/>
                    </a:cubicBezTo>
                    <a:cubicBezTo>
                      <a:pt x="321" y="501"/>
                      <a:pt x="321" y="501"/>
                      <a:pt x="321" y="501"/>
                    </a:cubicBezTo>
                    <a:cubicBezTo>
                      <a:pt x="323" y="499"/>
                      <a:pt x="323" y="499"/>
                      <a:pt x="323" y="499"/>
                    </a:cubicBezTo>
                    <a:cubicBezTo>
                      <a:pt x="326" y="498"/>
                      <a:pt x="326" y="498"/>
                      <a:pt x="326" y="498"/>
                    </a:cubicBezTo>
                    <a:cubicBezTo>
                      <a:pt x="329" y="497"/>
                      <a:pt x="329" y="497"/>
                      <a:pt x="329" y="497"/>
                    </a:cubicBezTo>
                    <a:cubicBezTo>
                      <a:pt x="333" y="497"/>
                      <a:pt x="333" y="497"/>
                      <a:pt x="333" y="497"/>
                    </a:cubicBezTo>
                    <a:cubicBezTo>
                      <a:pt x="334" y="498"/>
                      <a:pt x="334" y="498"/>
                      <a:pt x="334" y="498"/>
                    </a:cubicBezTo>
                    <a:cubicBezTo>
                      <a:pt x="338" y="498"/>
                      <a:pt x="338" y="498"/>
                      <a:pt x="338" y="498"/>
                    </a:cubicBezTo>
                    <a:cubicBezTo>
                      <a:pt x="340" y="499"/>
                      <a:pt x="340" y="499"/>
                      <a:pt x="340" y="499"/>
                    </a:cubicBezTo>
                    <a:cubicBezTo>
                      <a:pt x="344" y="494"/>
                      <a:pt x="344" y="494"/>
                      <a:pt x="344" y="494"/>
                    </a:cubicBezTo>
                    <a:cubicBezTo>
                      <a:pt x="346" y="490"/>
                      <a:pt x="346" y="490"/>
                      <a:pt x="346" y="490"/>
                    </a:cubicBezTo>
                    <a:cubicBezTo>
                      <a:pt x="349" y="489"/>
                      <a:pt x="349" y="489"/>
                      <a:pt x="349" y="489"/>
                    </a:cubicBezTo>
                    <a:cubicBezTo>
                      <a:pt x="352" y="490"/>
                      <a:pt x="352" y="490"/>
                      <a:pt x="352" y="490"/>
                    </a:cubicBezTo>
                    <a:cubicBezTo>
                      <a:pt x="354" y="489"/>
                      <a:pt x="354" y="489"/>
                      <a:pt x="354" y="489"/>
                    </a:cubicBezTo>
                    <a:cubicBezTo>
                      <a:pt x="353" y="487"/>
                      <a:pt x="353" y="487"/>
                      <a:pt x="353" y="487"/>
                    </a:cubicBezTo>
                    <a:cubicBezTo>
                      <a:pt x="356" y="487"/>
                      <a:pt x="356" y="487"/>
                      <a:pt x="356" y="487"/>
                    </a:cubicBezTo>
                    <a:cubicBezTo>
                      <a:pt x="358" y="489"/>
                      <a:pt x="358" y="489"/>
                      <a:pt x="358" y="489"/>
                    </a:cubicBezTo>
                    <a:cubicBezTo>
                      <a:pt x="369" y="488"/>
                      <a:pt x="369" y="488"/>
                      <a:pt x="369" y="488"/>
                    </a:cubicBezTo>
                    <a:cubicBezTo>
                      <a:pt x="378" y="485"/>
                      <a:pt x="378" y="485"/>
                      <a:pt x="378" y="485"/>
                    </a:cubicBezTo>
                    <a:cubicBezTo>
                      <a:pt x="381" y="483"/>
                      <a:pt x="381" y="483"/>
                      <a:pt x="381" y="483"/>
                    </a:cubicBezTo>
                    <a:cubicBezTo>
                      <a:pt x="383" y="483"/>
                      <a:pt x="383" y="483"/>
                      <a:pt x="383" y="483"/>
                    </a:cubicBezTo>
                    <a:cubicBezTo>
                      <a:pt x="385" y="486"/>
                      <a:pt x="385" y="486"/>
                      <a:pt x="385" y="486"/>
                    </a:cubicBezTo>
                    <a:cubicBezTo>
                      <a:pt x="388" y="485"/>
                      <a:pt x="388" y="485"/>
                      <a:pt x="388" y="485"/>
                    </a:cubicBezTo>
                    <a:cubicBezTo>
                      <a:pt x="389" y="481"/>
                      <a:pt x="389" y="481"/>
                      <a:pt x="389" y="481"/>
                    </a:cubicBezTo>
                    <a:cubicBezTo>
                      <a:pt x="395" y="478"/>
                      <a:pt x="395" y="478"/>
                      <a:pt x="395" y="478"/>
                    </a:cubicBezTo>
                    <a:cubicBezTo>
                      <a:pt x="399" y="478"/>
                      <a:pt x="399" y="478"/>
                      <a:pt x="399" y="478"/>
                    </a:cubicBezTo>
                    <a:cubicBezTo>
                      <a:pt x="400" y="480"/>
                      <a:pt x="400" y="480"/>
                      <a:pt x="400" y="480"/>
                    </a:cubicBezTo>
                    <a:cubicBezTo>
                      <a:pt x="402" y="480"/>
                      <a:pt x="402" y="480"/>
                      <a:pt x="402" y="480"/>
                    </a:cubicBezTo>
                    <a:cubicBezTo>
                      <a:pt x="403" y="482"/>
                      <a:pt x="403" y="482"/>
                      <a:pt x="403" y="482"/>
                    </a:cubicBezTo>
                    <a:cubicBezTo>
                      <a:pt x="407" y="481"/>
                      <a:pt x="407" y="481"/>
                      <a:pt x="407" y="481"/>
                    </a:cubicBezTo>
                    <a:cubicBezTo>
                      <a:pt x="407" y="479"/>
                      <a:pt x="407" y="479"/>
                      <a:pt x="407" y="479"/>
                    </a:cubicBezTo>
                    <a:cubicBezTo>
                      <a:pt x="408" y="477"/>
                      <a:pt x="408" y="477"/>
                      <a:pt x="408" y="477"/>
                    </a:cubicBezTo>
                    <a:cubicBezTo>
                      <a:pt x="411" y="478"/>
                      <a:pt x="411" y="478"/>
                      <a:pt x="411" y="478"/>
                    </a:cubicBezTo>
                    <a:cubicBezTo>
                      <a:pt x="411" y="482"/>
                      <a:pt x="411" y="482"/>
                      <a:pt x="411" y="482"/>
                    </a:cubicBezTo>
                    <a:cubicBezTo>
                      <a:pt x="413" y="484"/>
                      <a:pt x="413" y="484"/>
                      <a:pt x="413" y="484"/>
                    </a:cubicBezTo>
                    <a:cubicBezTo>
                      <a:pt x="411" y="485"/>
                      <a:pt x="411" y="485"/>
                      <a:pt x="411" y="485"/>
                    </a:cubicBezTo>
                    <a:cubicBezTo>
                      <a:pt x="409" y="485"/>
                      <a:pt x="409" y="485"/>
                      <a:pt x="409" y="485"/>
                    </a:cubicBezTo>
                    <a:cubicBezTo>
                      <a:pt x="408" y="489"/>
                      <a:pt x="408" y="489"/>
                      <a:pt x="408" y="489"/>
                    </a:cubicBezTo>
                    <a:cubicBezTo>
                      <a:pt x="400" y="491"/>
                      <a:pt x="400" y="491"/>
                      <a:pt x="400" y="491"/>
                    </a:cubicBezTo>
                    <a:cubicBezTo>
                      <a:pt x="392" y="493"/>
                      <a:pt x="392" y="493"/>
                      <a:pt x="392" y="493"/>
                    </a:cubicBezTo>
                    <a:cubicBezTo>
                      <a:pt x="390" y="496"/>
                      <a:pt x="390" y="496"/>
                      <a:pt x="390" y="496"/>
                    </a:cubicBezTo>
                    <a:cubicBezTo>
                      <a:pt x="385" y="498"/>
                      <a:pt x="385" y="498"/>
                      <a:pt x="385" y="498"/>
                    </a:cubicBezTo>
                    <a:cubicBezTo>
                      <a:pt x="382" y="497"/>
                      <a:pt x="382" y="497"/>
                      <a:pt x="382" y="497"/>
                    </a:cubicBezTo>
                    <a:cubicBezTo>
                      <a:pt x="379" y="499"/>
                      <a:pt x="379" y="499"/>
                      <a:pt x="379" y="499"/>
                    </a:cubicBezTo>
                    <a:cubicBezTo>
                      <a:pt x="377" y="499"/>
                      <a:pt x="377" y="499"/>
                      <a:pt x="377" y="499"/>
                    </a:cubicBezTo>
                    <a:cubicBezTo>
                      <a:pt x="376" y="497"/>
                      <a:pt x="376" y="497"/>
                      <a:pt x="376" y="497"/>
                    </a:cubicBezTo>
                    <a:cubicBezTo>
                      <a:pt x="370" y="499"/>
                      <a:pt x="370" y="499"/>
                      <a:pt x="370" y="499"/>
                    </a:cubicBezTo>
                    <a:cubicBezTo>
                      <a:pt x="364" y="499"/>
                      <a:pt x="364" y="499"/>
                      <a:pt x="364" y="499"/>
                    </a:cubicBezTo>
                    <a:cubicBezTo>
                      <a:pt x="363" y="500"/>
                      <a:pt x="363" y="500"/>
                      <a:pt x="363" y="500"/>
                    </a:cubicBezTo>
                    <a:cubicBezTo>
                      <a:pt x="356" y="500"/>
                      <a:pt x="356" y="500"/>
                      <a:pt x="356" y="500"/>
                    </a:cubicBezTo>
                    <a:cubicBezTo>
                      <a:pt x="352" y="501"/>
                      <a:pt x="352" y="501"/>
                      <a:pt x="352" y="501"/>
                    </a:cubicBezTo>
                    <a:cubicBezTo>
                      <a:pt x="349" y="506"/>
                      <a:pt x="349" y="506"/>
                      <a:pt x="349" y="506"/>
                    </a:cubicBezTo>
                    <a:cubicBezTo>
                      <a:pt x="340" y="509"/>
                      <a:pt x="340" y="509"/>
                      <a:pt x="340" y="509"/>
                    </a:cubicBezTo>
                    <a:cubicBezTo>
                      <a:pt x="340" y="508"/>
                      <a:pt x="340" y="508"/>
                      <a:pt x="340" y="508"/>
                    </a:cubicBezTo>
                    <a:cubicBezTo>
                      <a:pt x="335" y="511"/>
                      <a:pt x="335" y="511"/>
                      <a:pt x="335" y="511"/>
                    </a:cubicBezTo>
                    <a:cubicBezTo>
                      <a:pt x="335" y="514"/>
                      <a:pt x="335" y="514"/>
                      <a:pt x="335" y="514"/>
                    </a:cubicBezTo>
                    <a:cubicBezTo>
                      <a:pt x="332" y="515"/>
                      <a:pt x="332" y="515"/>
                      <a:pt x="332" y="515"/>
                    </a:cubicBezTo>
                    <a:cubicBezTo>
                      <a:pt x="330" y="513"/>
                      <a:pt x="330" y="513"/>
                      <a:pt x="330" y="513"/>
                    </a:cubicBezTo>
                    <a:cubicBezTo>
                      <a:pt x="326" y="516"/>
                      <a:pt x="326" y="516"/>
                      <a:pt x="326" y="516"/>
                    </a:cubicBezTo>
                    <a:cubicBezTo>
                      <a:pt x="324" y="520"/>
                      <a:pt x="324" y="520"/>
                      <a:pt x="324" y="520"/>
                    </a:cubicBezTo>
                    <a:cubicBezTo>
                      <a:pt x="321" y="520"/>
                      <a:pt x="321" y="520"/>
                      <a:pt x="321" y="520"/>
                    </a:cubicBezTo>
                    <a:cubicBezTo>
                      <a:pt x="319" y="523"/>
                      <a:pt x="319" y="523"/>
                      <a:pt x="319" y="523"/>
                    </a:cubicBezTo>
                    <a:cubicBezTo>
                      <a:pt x="323" y="527"/>
                      <a:pt x="323" y="527"/>
                      <a:pt x="323" y="527"/>
                    </a:cubicBezTo>
                    <a:cubicBezTo>
                      <a:pt x="326" y="529"/>
                      <a:pt x="326" y="529"/>
                      <a:pt x="326" y="529"/>
                    </a:cubicBezTo>
                    <a:cubicBezTo>
                      <a:pt x="323" y="525"/>
                      <a:pt x="323" y="525"/>
                      <a:pt x="323" y="525"/>
                    </a:cubicBezTo>
                    <a:cubicBezTo>
                      <a:pt x="323" y="523"/>
                      <a:pt x="323" y="523"/>
                      <a:pt x="323" y="523"/>
                    </a:cubicBezTo>
                    <a:cubicBezTo>
                      <a:pt x="327" y="524"/>
                      <a:pt x="327" y="524"/>
                      <a:pt x="327" y="524"/>
                    </a:cubicBezTo>
                    <a:cubicBezTo>
                      <a:pt x="329" y="523"/>
                      <a:pt x="329" y="523"/>
                      <a:pt x="329" y="523"/>
                    </a:cubicBezTo>
                    <a:cubicBezTo>
                      <a:pt x="332" y="524"/>
                      <a:pt x="332" y="524"/>
                      <a:pt x="332" y="524"/>
                    </a:cubicBezTo>
                    <a:cubicBezTo>
                      <a:pt x="331" y="521"/>
                      <a:pt x="331" y="521"/>
                      <a:pt x="331" y="521"/>
                    </a:cubicBezTo>
                    <a:cubicBezTo>
                      <a:pt x="335" y="516"/>
                      <a:pt x="335" y="516"/>
                      <a:pt x="335" y="516"/>
                    </a:cubicBezTo>
                    <a:cubicBezTo>
                      <a:pt x="342" y="515"/>
                      <a:pt x="342" y="515"/>
                      <a:pt x="342" y="515"/>
                    </a:cubicBezTo>
                    <a:cubicBezTo>
                      <a:pt x="345" y="515"/>
                      <a:pt x="345" y="515"/>
                      <a:pt x="345" y="515"/>
                    </a:cubicBezTo>
                    <a:cubicBezTo>
                      <a:pt x="355" y="508"/>
                      <a:pt x="355" y="508"/>
                      <a:pt x="355" y="508"/>
                    </a:cubicBezTo>
                    <a:cubicBezTo>
                      <a:pt x="356" y="505"/>
                      <a:pt x="356" y="505"/>
                      <a:pt x="356" y="505"/>
                    </a:cubicBezTo>
                    <a:cubicBezTo>
                      <a:pt x="359" y="505"/>
                      <a:pt x="359" y="505"/>
                      <a:pt x="359" y="505"/>
                    </a:cubicBezTo>
                    <a:cubicBezTo>
                      <a:pt x="362" y="507"/>
                      <a:pt x="362" y="507"/>
                      <a:pt x="362" y="507"/>
                    </a:cubicBezTo>
                    <a:cubicBezTo>
                      <a:pt x="364" y="505"/>
                      <a:pt x="364" y="505"/>
                      <a:pt x="364" y="505"/>
                    </a:cubicBezTo>
                    <a:cubicBezTo>
                      <a:pt x="367" y="505"/>
                      <a:pt x="367" y="505"/>
                      <a:pt x="367" y="505"/>
                    </a:cubicBezTo>
                    <a:cubicBezTo>
                      <a:pt x="367" y="506"/>
                      <a:pt x="367" y="506"/>
                      <a:pt x="367" y="506"/>
                    </a:cubicBezTo>
                    <a:cubicBezTo>
                      <a:pt x="373" y="503"/>
                      <a:pt x="373" y="503"/>
                      <a:pt x="373" y="503"/>
                    </a:cubicBezTo>
                    <a:cubicBezTo>
                      <a:pt x="375" y="505"/>
                      <a:pt x="375" y="505"/>
                      <a:pt x="375" y="505"/>
                    </a:cubicBezTo>
                    <a:cubicBezTo>
                      <a:pt x="370" y="511"/>
                      <a:pt x="370" y="511"/>
                      <a:pt x="370" y="511"/>
                    </a:cubicBezTo>
                    <a:cubicBezTo>
                      <a:pt x="371" y="514"/>
                      <a:pt x="371" y="514"/>
                      <a:pt x="371" y="514"/>
                    </a:cubicBezTo>
                    <a:cubicBezTo>
                      <a:pt x="375" y="507"/>
                      <a:pt x="375" y="507"/>
                      <a:pt x="375" y="507"/>
                    </a:cubicBezTo>
                    <a:cubicBezTo>
                      <a:pt x="381" y="506"/>
                      <a:pt x="381" y="506"/>
                      <a:pt x="381" y="506"/>
                    </a:cubicBezTo>
                    <a:cubicBezTo>
                      <a:pt x="392" y="498"/>
                      <a:pt x="392" y="498"/>
                      <a:pt x="392" y="498"/>
                    </a:cubicBezTo>
                    <a:cubicBezTo>
                      <a:pt x="398" y="498"/>
                      <a:pt x="398" y="498"/>
                      <a:pt x="398" y="498"/>
                    </a:cubicBezTo>
                    <a:cubicBezTo>
                      <a:pt x="402" y="495"/>
                      <a:pt x="402" y="495"/>
                      <a:pt x="402" y="495"/>
                    </a:cubicBezTo>
                    <a:cubicBezTo>
                      <a:pt x="409" y="495"/>
                      <a:pt x="409" y="495"/>
                      <a:pt x="409" y="495"/>
                    </a:cubicBezTo>
                    <a:cubicBezTo>
                      <a:pt x="412" y="493"/>
                      <a:pt x="412" y="493"/>
                      <a:pt x="412" y="493"/>
                    </a:cubicBezTo>
                    <a:cubicBezTo>
                      <a:pt x="416" y="493"/>
                      <a:pt x="416" y="493"/>
                      <a:pt x="416" y="493"/>
                    </a:cubicBezTo>
                    <a:cubicBezTo>
                      <a:pt x="415" y="497"/>
                      <a:pt x="415" y="497"/>
                      <a:pt x="415" y="497"/>
                    </a:cubicBezTo>
                    <a:cubicBezTo>
                      <a:pt x="410" y="498"/>
                      <a:pt x="410" y="498"/>
                      <a:pt x="410" y="498"/>
                    </a:cubicBezTo>
                    <a:cubicBezTo>
                      <a:pt x="410" y="501"/>
                      <a:pt x="410" y="501"/>
                      <a:pt x="410" y="501"/>
                    </a:cubicBezTo>
                    <a:cubicBezTo>
                      <a:pt x="413" y="504"/>
                      <a:pt x="413" y="504"/>
                      <a:pt x="413" y="504"/>
                    </a:cubicBezTo>
                    <a:cubicBezTo>
                      <a:pt x="417" y="498"/>
                      <a:pt x="417" y="498"/>
                      <a:pt x="417" y="498"/>
                    </a:cubicBezTo>
                    <a:cubicBezTo>
                      <a:pt x="426" y="494"/>
                      <a:pt x="426" y="494"/>
                      <a:pt x="426" y="494"/>
                    </a:cubicBezTo>
                    <a:cubicBezTo>
                      <a:pt x="428" y="495"/>
                      <a:pt x="428" y="495"/>
                      <a:pt x="428" y="495"/>
                    </a:cubicBezTo>
                    <a:cubicBezTo>
                      <a:pt x="428" y="492"/>
                      <a:pt x="428" y="492"/>
                      <a:pt x="428" y="492"/>
                    </a:cubicBezTo>
                    <a:cubicBezTo>
                      <a:pt x="432" y="490"/>
                      <a:pt x="432" y="490"/>
                      <a:pt x="432" y="490"/>
                    </a:cubicBezTo>
                    <a:cubicBezTo>
                      <a:pt x="435" y="491"/>
                      <a:pt x="435" y="491"/>
                      <a:pt x="435" y="491"/>
                    </a:cubicBezTo>
                    <a:cubicBezTo>
                      <a:pt x="435" y="488"/>
                      <a:pt x="435" y="488"/>
                      <a:pt x="435" y="488"/>
                    </a:cubicBezTo>
                    <a:cubicBezTo>
                      <a:pt x="436" y="486"/>
                      <a:pt x="436" y="486"/>
                      <a:pt x="436" y="486"/>
                    </a:cubicBezTo>
                    <a:cubicBezTo>
                      <a:pt x="438" y="488"/>
                      <a:pt x="438" y="488"/>
                      <a:pt x="438" y="488"/>
                    </a:cubicBezTo>
                    <a:cubicBezTo>
                      <a:pt x="442" y="489"/>
                      <a:pt x="442" y="489"/>
                      <a:pt x="442" y="489"/>
                    </a:cubicBezTo>
                    <a:cubicBezTo>
                      <a:pt x="442" y="483"/>
                      <a:pt x="442" y="483"/>
                      <a:pt x="442" y="483"/>
                    </a:cubicBezTo>
                    <a:cubicBezTo>
                      <a:pt x="441" y="479"/>
                      <a:pt x="441" y="479"/>
                      <a:pt x="441" y="479"/>
                    </a:cubicBezTo>
                    <a:cubicBezTo>
                      <a:pt x="443" y="477"/>
                      <a:pt x="443" y="477"/>
                      <a:pt x="443" y="477"/>
                    </a:cubicBezTo>
                    <a:cubicBezTo>
                      <a:pt x="440" y="475"/>
                      <a:pt x="440" y="475"/>
                      <a:pt x="440" y="475"/>
                    </a:cubicBezTo>
                    <a:cubicBezTo>
                      <a:pt x="444" y="470"/>
                      <a:pt x="444" y="470"/>
                      <a:pt x="444" y="470"/>
                    </a:cubicBezTo>
                    <a:cubicBezTo>
                      <a:pt x="449" y="468"/>
                      <a:pt x="449" y="468"/>
                      <a:pt x="449" y="468"/>
                    </a:cubicBezTo>
                    <a:cubicBezTo>
                      <a:pt x="449" y="473"/>
                      <a:pt x="449" y="473"/>
                      <a:pt x="449" y="473"/>
                    </a:cubicBezTo>
                    <a:cubicBezTo>
                      <a:pt x="450" y="487"/>
                      <a:pt x="450" y="487"/>
                      <a:pt x="450" y="487"/>
                    </a:cubicBezTo>
                    <a:cubicBezTo>
                      <a:pt x="448" y="491"/>
                      <a:pt x="448" y="491"/>
                      <a:pt x="448" y="491"/>
                    </a:cubicBezTo>
                    <a:cubicBezTo>
                      <a:pt x="449" y="502"/>
                      <a:pt x="449" y="502"/>
                      <a:pt x="449" y="502"/>
                    </a:cubicBezTo>
                    <a:cubicBezTo>
                      <a:pt x="445" y="509"/>
                      <a:pt x="445" y="509"/>
                      <a:pt x="445" y="509"/>
                    </a:cubicBezTo>
                    <a:cubicBezTo>
                      <a:pt x="445" y="526"/>
                      <a:pt x="445" y="526"/>
                      <a:pt x="445" y="526"/>
                    </a:cubicBezTo>
                    <a:cubicBezTo>
                      <a:pt x="447" y="530"/>
                      <a:pt x="447" y="530"/>
                      <a:pt x="447" y="530"/>
                    </a:cubicBezTo>
                    <a:cubicBezTo>
                      <a:pt x="451" y="532"/>
                      <a:pt x="451" y="532"/>
                      <a:pt x="451" y="532"/>
                    </a:cubicBezTo>
                    <a:cubicBezTo>
                      <a:pt x="453" y="537"/>
                      <a:pt x="453" y="537"/>
                      <a:pt x="453" y="537"/>
                    </a:cubicBezTo>
                    <a:cubicBezTo>
                      <a:pt x="460" y="534"/>
                      <a:pt x="460" y="534"/>
                      <a:pt x="460" y="534"/>
                    </a:cubicBezTo>
                    <a:cubicBezTo>
                      <a:pt x="458" y="531"/>
                      <a:pt x="458" y="531"/>
                      <a:pt x="458" y="531"/>
                    </a:cubicBezTo>
                    <a:cubicBezTo>
                      <a:pt x="454" y="531"/>
                      <a:pt x="454" y="531"/>
                      <a:pt x="454" y="531"/>
                    </a:cubicBezTo>
                    <a:cubicBezTo>
                      <a:pt x="453" y="529"/>
                      <a:pt x="453" y="529"/>
                      <a:pt x="453" y="529"/>
                    </a:cubicBezTo>
                    <a:cubicBezTo>
                      <a:pt x="457" y="527"/>
                      <a:pt x="457" y="527"/>
                      <a:pt x="457" y="527"/>
                    </a:cubicBezTo>
                    <a:cubicBezTo>
                      <a:pt x="460" y="528"/>
                      <a:pt x="460" y="528"/>
                      <a:pt x="460" y="528"/>
                    </a:cubicBezTo>
                    <a:cubicBezTo>
                      <a:pt x="461" y="524"/>
                      <a:pt x="461" y="524"/>
                      <a:pt x="461" y="524"/>
                    </a:cubicBezTo>
                    <a:cubicBezTo>
                      <a:pt x="459" y="523"/>
                      <a:pt x="459" y="523"/>
                      <a:pt x="459" y="523"/>
                    </a:cubicBezTo>
                    <a:cubicBezTo>
                      <a:pt x="463" y="520"/>
                      <a:pt x="463" y="520"/>
                      <a:pt x="463" y="520"/>
                    </a:cubicBezTo>
                    <a:cubicBezTo>
                      <a:pt x="468" y="520"/>
                      <a:pt x="468" y="520"/>
                      <a:pt x="468" y="520"/>
                    </a:cubicBezTo>
                    <a:cubicBezTo>
                      <a:pt x="468" y="523"/>
                      <a:pt x="468" y="523"/>
                      <a:pt x="468" y="523"/>
                    </a:cubicBezTo>
                    <a:cubicBezTo>
                      <a:pt x="472" y="520"/>
                      <a:pt x="472" y="520"/>
                      <a:pt x="472" y="520"/>
                    </a:cubicBezTo>
                    <a:cubicBezTo>
                      <a:pt x="468" y="513"/>
                      <a:pt x="468" y="513"/>
                      <a:pt x="468" y="513"/>
                    </a:cubicBezTo>
                    <a:cubicBezTo>
                      <a:pt x="471" y="514"/>
                      <a:pt x="471" y="514"/>
                      <a:pt x="471" y="514"/>
                    </a:cubicBezTo>
                    <a:cubicBezTo>
                      <a:pt x="478" y="510"/>
                      <a:pt x="478" y="510"/>
                      <a:pt x="478" y="510"/>
                    </a:cubicBezTo>
                    <a:cubicBezTo>
                      <a:pt x="478" y="507"/>
                      <a:pt x="478" y="507"/>
                      <a:pt x="478" y="507"/>
                    </a:cubicBezTo>
                    <a:cubicBezTo>
                      <a:pt x="483" y="506"/>
                      <a:pt x="483" y="506"/>
                      <a:pt x="483" y="506"/>
                    </a:cubicBezTo>
                    <a:cubicBezTo>
                      <a:pt x="484" y="510"/>
                      <a:pt x="484" y="510"/>
                      <a:pt x="484" y="510"/>
                    </a:cubicBezTo>
                    <a:cubicBezTo>
                      <a:pt x="484" y="513"/>
                      <a:pt x="484" y="513"/>
                      <a:pt x="484" y="513"/>
                    </a:cubicBezTo>
                    <a:cubicBezTo>
                      <a:pt x="480" y="516"/>
                      <a:pt x="480" y="516"/>
                      <a:pt x="480" y="516"/>
                    </a:cubicBezTo>
                    <a:cubicBezTo>
                      <a:pt x="480" y="518"/>
                      <a:pt x="480" y="518"/>
                      <a:pt x="480" y="518"/>
                    </a:cubicBezTo>
                    <a:cubicBezTo>
                      <a:pt x="477" y="521"/>
                      <a:pt x="477" y="521"/>
                      <a:pt x="477" y="521"/>
                    </a:cubicBezTo>
                    <a:cubicBezTo>
                      <a:pt x="476" y="523"/>
                      <a:pt x="476" y="523"/>
                      <a:pt x="476" y="523"/>
                    </a:cubicBezTo>
                    <a:cubicBezTo>
                      <a:pt x="478" y="525"/>
                      <a:pt x="478" y="525"/>
                      <a:pt x="478" y="525"/>
                    </a:cubicBezTo>
                    <a:cubicBezTo>
                      <a:pt x="481" y="524"/>
                      <a:pt x="481" y="524"/>
                      <a:pt x="481" y="524"/>
                    </a:cubicBezTo>
                    <a:cubicBezTo>
                      <a:pt x="481" y="526"/>
                      <a:pt x="481" y="526"/>
                      <a:pt x="481" y="526"/>
                    </a:cubicBezTo>
                    <a:cubicBezTo>
                      <a:pt x="481" y="527"/>
                      <a:pt x="481" y="527"/>
                      <a:pt x="481" y="527"/>
                    </a:cubicBezTo>
                    <a:cubicBezTo>
                      <a:pt x="478" y="529"/>
                      <a:pt x="478" y="529"/>
                      <a:pt x="478" y="529"/>
                    </a:cubicBezTo>
                    <a:cubicBezTo>
                      <a:pt x="474" y="532"/>
                      <a:pt x="474" y="532"/>
                      <a:pt x="474" y="532"/>
                    </a:cubicBezTo>
                    <a:cubicBezTo>
                      <a:pt x="472" y="532"/>
                      <a:pt x="472" y="532"/>
                      <a:pt x="472" y="532"/>
                    </a:cubicBezTo>
                    <a:cubicBezTo>
                      <a:pt x="471" y="534"/>
                      <a:pt x="471" y="534"/>
                      <a:pt x="471" y="534"/>
                    </a:cubicBezTo>
                    <a:cubicBezTo>
                      <a:pt x="468" y="537"/>
                      <a:pt x="468" y="537"/>
                      <a:pt x="468" y="537"/>
                    </a:cubicBezTo>
                    <a:cubicBezTo>
                      <a:pt x="470" y="539"/>
                      <a:pt x="470" y="539"/>
                      <a:pt x="470" y="539"/>
                    </a:cubicBezTo>
                    <a:cubicBezTo>
                      <a:pt x="476" y="540"/>
                      <a:pt x="476" y="540"/>
                      <a:pt x="476" y="540"/>
                    </a:cubicBezTo>
                    <a:cubicBezTo>
                      <a:pt x="479" y="542"/>
                      <a:pt x="479" y="542"/>
                      <a:pt x="479" y="542"/>
                    </a:cubicBezTo>
                    <a:cubicBezTo>
                      <a:pt x="482" y="542"/>
                      <a:pt x="482" y="542"/>
                      <a:pt x="482" y="542"/>
                    </a:cubicBezTo>
                    <a:cubicBezTo>
                      <a:pt x="486" y="539"/>
                      <a:pt x="486" y="539"/>
                      <a:pt x="486" y="539"/>
                    </a:cubicBezTo>
                    <a:cubicBezTo>
                      <a:pt x="490" y="538"/>
                      <a:pt x="490" y="538"/>
                      <a:pt x="490" y="538"/>
                    </a:cubicBezTo>
                    <a:cubicBezTo>
                      <a:pt x="493" y="531"/>
                      <a:pt x="493" y="531"/>
                      <a:pt x="493" y="531"/>
                    </a:cubicBezTo>
                    <a:cubicBezTo>
                      <a:pt x="498" y="527"/>
                      <a:pt x="498" y="527"/>
                      <a:pt x="498" y="527"/>
                    </a:cubicBezTo>
                    <a:cubicBezTo>
                      <a:pt x="502" y="526"/>
                      <a:pt x="502" y="526"/>
                      <a:pt x="502" y="526"/>
                    </a:cubicBezTo>
                    <a:cubicBezTo>
                      <a:pt x="505" y="528"/>
                      <a:pt x="505" y="528"/>
                      <a:pt x="505" y="528"/>
                    </a:cubicBezTo>
                    <a:cubicBezTo>
                      <a:pt x="508" y="528"/>
                      <a:pt x="508" y="528"/>
                      <a:pt x="508" y="528"/>
                    </a:cubicBezTo>
                    <a:cubicBezTo>
                      <a:pt x="511" y="531"/>
                      <a:pt x="511" y="531"/>
                      <a:pt x="511" y="531"/>
                    </a:cubicBezTo>
                    <a:cubicBezTo>
                      <a:pt x="515" y="531"/>
                      <a:pt x="515" y="531"/>
                      <a:pt x="515" y="531"/>
                    </a:cubicBezTo>
                    <a:cubicBezTo>
                      <a:pt x="520" y="535"/>
                      <a:pt x="520" y="535"/>
                      <a:pt x="520" y="535"/>
                    </a:cubicBezTo>
                    <a:cubicBezTo>
                      <a:pt x="523" y="535"/>
                      <a:pt x="523" y="535"/>
                      <a:pt x="523" y="535"/>
                    </a:cubicBezTo>
                    <a:cubicBezTo>
                      <a:pt x="523" y="538"/>
                      <a:pt x="523" y="538"/>
                      <a:pt x="523" y="538"/>
                    </a:cubicBezTo>
                    <a:cubicBezTo>
                      <a:pt x="526" y="547"/>
                      <a:pt x="526" y="547"/>
                      <a:pt x="526" y="547"/>
                    </a:cubicBezTo>
                    <a:cubicBezTo>
                      <a:pt x="526" y="552"/>
                      <a:pt x="526" y="552"/>
                      <a:pt x="526" y="552"/>
                    </a:cubicBezTo>
                    <a:cubicBezTo>
                      <a:pt x="531" y="558"/>
                      <a:pt x="531" y="558"/>
                      <a:pt x="531" y="558"/>
                    </a:cubicBezTo>
                    <a:cubicBezTo>
                      <a:pt x="546" y="567"/>
                      <a:pt x="546" y="567"/>
                      <a:pt x="546" y="567"/>
                    </a:cubicBezTo>
                    <a:cubicBezTo>
                      <a:pt x="547" y="571"/>
                      <a:pt x="547" y="571"/>
                      <a:pt x="547" y="571"/>
                    </a:cubicBezTo>
                    <a:cubicBezTo>
                      <a:pt x="553" y="573"/>
                      <a:pt x="553" y="573"/>
                      <a:pt x="553" y="573"/>
                    </a:cubicBezTo>
                    <a:cubicBezTo>
                      <a:pt x="558" y="579"/>
                      <a:pt x="558" y="579"/>
                      <a:pt x="558" y="579"/>
                    </a:cubicBezTo>
                    <a:cubicBezTo>
                      <a:pt x="560" y="579"/>
                      <a:pt x="560" y="579"/>
                      <a:pt x="560" y="579"/>
                    </a:cubicBezTo>
                    <a:cubicBezTo>
                      <a:pt x="564" y="582"/>
                      <a:pt x="564" y="582"/>
                      <a:pt x="564" y="582"/>
                    </a:cubicBezTo>
                    <a:cubicBezTo>
                      <a:pt x="565" y="585"/>
                      <a:pt x="565" y="585"/>
                      <a:pt x="565" y="585"/>
                    </a:cubicBezTo>
                    <a:cubicBezTo>
                      <a:pt x="568" y="587"/>
                      <a:pt x="568" y="587"/>
                      <a:pt x="568" y="587"/>
                    </a:cubicBezTo>
                    <a:cubicBezTo>
                      <a:pt x="570" y="585"/>
                      <a:pt x="570" y="585"/>
                      <a:pt x="570" y="585"/>
                    </a:cubicBezTo>
                    <a:cubicBezTo>
                      <a:pt x="571" y="587"/>
                      <a:pt x="571" y="587"/>
                      <a:pt x="571" y="587"/>
                    </a:cubicBezTo>
                    <a:cubicBezTo>
                      <a:pt x="577" y="591"/>
                      <a:pt x="577" y="591"/>
                      <a:pt x="577" y="591"/>
                    </a:cubicBezTo>
                    <a:cubicBezTo>
                      <a:pt x="580" y="591"/>
                      <a:pt x="580" y="591"/>
                      <a:pt x="580" y="591"/>
                    </a:cubicBezTo>
                    <a:cubicBezTo>
                      <a:pt x="580" y="594"/>
                      <a:pt x="580" y="594"/>
                      <a:pt x="580" y="594"/>
                    </a:cubicBezTo>
                    <a:cubicBezTo>
                      <a:pt x="582" y="598"/>
                      <a:pt x="582" y="598"/>
                      <a:pt x="582" y="598"/>
                    </a:cubicBezTo>
                    <a:cubicBezTo>
                      <a:pt x="584" y="594"/>
                      <a:pt x="584" y="594"/>
                      <a:pt x="584" y="594"/>
                    </a:cubicBezTo>
                    <a:cubicBezTo>
                      <a:pt x="582" y="592"/>
                      <a:pt x="582" y="592"/>
                      <a:pt x="582" y="592"/>
                    </a:cubicBezTo>
                    <a:cubicBezTo>
                      <a:pt x="583" y="590"/>
                      <a:pt x="583" y="590"/>
                      <a:pt x="583" y="590"/>
                    </a:cubicBezTo>
                    <a:cubicBezTo>
                      <a:pt x="580" y="587"/>
                      <a:pt x="580" y="587"/>
                      <a:pt x="580" y="587"/>
                    </a:cubicBezTo>
                    <a:cubicBezTo>
                      <a:pt x="580" y="585"/>
                      <a:pt x="580" y="585"/>
                      <a:pt x="580" y="585"/>
                    </a:cubicBezTo>
                    <a:cubicBezTo>
                      <a:pt x="585" y="588"/>
                      <a:pt x="585" y="588"/>
                      <a:pt x="585" y="588"/>
                    </a:cubicBezTo>
                    <a:cubicBezTo>
                      <a:pt x="586" y="591"/>
                      <a:pt x="586" y="591"/>
                      <a:pt x="586" y="591"/>
                    </a:cubicBezTo>
                    <a:cubicBezTo>
                      <a:pt x="588" y="591"/>
                      <a:pt x="588" y="591"/>
                      <a:pt x="588" y="591"/>
                    </a:cubicBezTo>
                    <a:cubicBezTo>
                      <a:pt x="589" y="588"/>
                      <a:pt x="589" y="588"/>
                      <a:pt x="589" y="588"/>
                    </a:cubicBezTo>
                    <a:cubicBezTo>
                      <a:pt x="591" y="587"/>
                      <a:pt x="591" y="587"/>
                      <a:pt x="591" y="587"/>
                    </a:cubicBezTo>
                    <a:cubicBezTo>
                      <a:pt x="596" y="592"/>
                      <a:pt x="596" y="592"/>
                      <a:pt x="596" y="592"/>
                    </a:cubicBezTo>
                    <a:cubicBezTo>
                      <a:pt x="597" y="595"/>
                      <a:pt x="597" y="595"/>
                      <a:pt x="597" y="595"/>
                    </a:cubicBezTo>
                    <a:cubicBezTo>
                      <a:pt x="599" y="596"/>
                      <a:pt x="599" y="596"/>
                      <a:pt x="599" y="596"/>
                    </a:cubicBezTo>
                    <a:cubicBezTo>
                      <a:pt x="601" y="601"/>
                      <a:pt x="601" y="601"/>
                      <a:pt x="601" y="601"/>
                    </a:cubicBezTo>
                    <a:cubicBezTo>
                      <a:pt x="603" y="604"/>
                      <a:pt x="603" y="604"/>
                      <a:pt x="603" y="604"/>
                    </a:cubicBezTo>
                    <a:cubicBezTo>
                      <a:pt x="604" y="608"/>
                      <a:pt x="604" y="608"/>
                      <a:pt x="604" y="608"/>
                    </a:cubicBezTo>
                    <a:cubicBezTo>
                      <a:pt x="605" y="613"/>
                      <a:pt x="605" y="613"/>
                      <a:pt x="605" y="613"/>
                    </a:cubicBezTo>
                    <a:cubicBezTo>
                      <a:pt x="604" y="616"/>
                      <a:pt x="604" y="616"/>
                      <a:pt x="604" y="616"/>
                    </a:cubicBezTo>
                    <a:cubicBezTo>
                      <a:pt x="603" y="620"/>
                      <a:pt x="603" y="620"/>
                      <a:pt x="603" y="620"/>
                    </a:cubicBezTo>
                    <a:cubicBezTo>
                      <a:pt x="600" y="624"/>
                      <a:pt x="600" y="624"/>
                      <a:pt x="600" y="624"/>
                    </a:cubicBezTo>
                    <a:cubicBezTo>
                      <a:pt x="591" y="621"/>
                      <a:pt x="591" y="621"/>
                      <a:pt x="591" y="621"/>
                    </a:cubicBezTo>
                    <a:cubicBezTo>
                      <a:pt x="586" y="621"/>
                      <a:pt x="586" y="621"/>
                      <a:pt x="586" y="621"/>
                    </a:cubicBezTo>
                    <a:cubicBezTo>
                      <a:pt x="587" y="622"/>
                      <a:pt x="587" y="622"/>
                      <a:pt x="587" y="622"/>
                    </a:cubicBezTo>
                    <a:cubicBezTo>
                      <a:pt x="585" y="623"/>
                      <a:pt x="585" y="623"/>
                      <a:pt x="585" y="623"/>
                    </a:cubicBezTo>
                    <a:cubicBezTo>
                      <a:pt x="580" y="622"/>
                      <a:pt x="580" y="622"/>
                      <a:pt x="580" y="622"/>
                    </a:cubicBezTo>
                    <a:cubicBezTo>
                      <a:pt x="577" y="621"/>
                      <a:pt x="577" y="621"/>
                      <a:pt x="577" y="621"/>
                    </a:cubicBezTo>
                    <a:cubicBezTo>
                      <a:pt x="578" y="624"/>
                      <a:pt x="578" y="624"/>
                      <a:pt x="578" y="624"/>
                    </a:cubicBezTo>
                    <a:cubicBezTo>
                      <a:pt x="575" y="626"/>
                      <a:pt x="575" y="626"/>
                      <a:pt x="575" y="626"/>
                    </a:cubicBezTo>
                    <a:cubicBezTo>
                      <a:pt x="574" y="630"/>
                      <a:pt x="574" y="630"/>
                      <a:pt x="574" y="630"/>
                    </a:cubicBezTo>
                    <a:cubicBezTo>
                      <a:pt x="570" y="630"/>
                      <a:pt x="570" y="630"/>
                      <a:pt x="570" y="630"/>
                    </a:cubicBezTo>
                    <a:cubicBezTo>
                      <a:pt x="567" y="631"/>
                      <a:pt x="567" y="631"/>
                      <a:pt x="567" y="631"/>
                    </a:cubicBezTo>
                    <a:cubicBezTo>
                      <a:pt x="568" y="633"/>
                      <a:pt x="568" y="633"/>
                      <a:pt x="568" y="633"/>
                    </a:cubicBezTo>
                    <a:cubicBezTo>
                      <a:pt x="572" y="634"/>
                      <a:pt x="572" y="634"/>
                      <a:pt x="572" y="634"/>
                    </a:cubicBezTo>
                    <a:cubicBezTo>
                      <a:pt x="573" y="639"/>
                      <a:pt x="573" y="639"/>
                      <a:pt x="573" y="639"/>
                    </a:cubicBezTo>
                    <a:cubicBezTo>
                      <a:pt x="576" y="641"/>
                      <a:pt x="576" y="641"/>
                      <a:pt x="576" y="641"/>
                    </a:cubicBezTo>
                    <a:cubicBezTo>
                      <a:pt x="579" y="640"/>
                      <a:pt x="579" y="640"/>
                      <a:pt x="579" y="640"/>
                    </a:cubicBezTo>
                    <a:cubicBezTo>
                      <a:pt x="583" y="643"/>
                      <a:pt x="583" y="643"/>
                      <a:pt x="583" y="643"/>
                    </a:cubicBezTo>
                    <a:cubicBezTo>
                      <a:pt x="583" y="646"/>
                      <a:pt x="583" y="646"/>
                      <a:pt x="583" y="646"/>
                    </a:cubicBezTo>
                    <a:cubicBezTo>
                      <a:pt x="589" y="646"/>
                      <a:pt x="589" y="646"/>
                      <a:pt x="589" y="646"/>
                    </a:cubicBezTo>
                    <a:cubicBezTo>
                      <a:pt x="595" y="650"/>
                      <a:pt x="595" y="650"/>
                      <a:pt x="595" y="650"/>
                    </a:cubicBezTo>
                    <a:cubicBezTo>
                      <a:pt x="601" y="650"/>
                      <a:pt x="601" y="650"/>
                      <a:pt x="601" y="650"/>
                    </a:cubicBezTo>
                    <a:cubicBezTo>
                      <a:pt x="609" y="654"/>
                      <a:pt x="609" y="654"/>
                      <a:pt x="609" y="654"/>
                    </a:cubicBezTo>
                    <a:cubicBezTo>
                      <a:pt x="614" y="654"/>
                      <a:pt x="614" y="654"/>
                      <a:pt x="614" y="654"/>
                    </a:cubicBezTo>
                    <a:cubicBezTo>
                      <a:pt x="614" y="652"/>
                      <a:pt x="614" y="652"/>
                      <a:pt x="614" y="652"/>
                    </a:cubicBezTo>
                    <a:cubicBezTo>
                      <a:pt x="616" y="652"/>
                      <a:pt x="616" y="652"/>
                      <a:pt x="616" y="652"/>
                    </a:cubicBezTo>
                    <a:cubicBezTo>
                      <a:pt x="619" y="654"/>
                      <a:pt x="619" y="654"/>
                      <a:pt x="619" y="654"/>
                    </a:cubicBezTo>
                    <a:cubicBezTo>
                      <a:pt x="619" y="657"/>
                      <a:pt x="619" y="657"/>
                      <a:pt x="619" y="657"/>
                    </a:cubicBezTo>
                    <a:cubicBezTo>
                      <a:pt x="624" y="652"/>
                      <a:pt x="624" y="652"/>
                      <a:pt x="624" y="652"/>
                    </a:cubicBezTo>
                    <a:cubicBezTo>
                      <a:pt x="626" y="654"/>
                      <a:pt x="626" y="654"/>
                      <a:pt x="626" y="654"/>
                    </a:cubicBezTo>
                    <a:cubicBezTo>
                      <a:pt x="629" y="654"/>
                      <a:pt x="629" y="654"/>
                      <a:pt x="629" y="654"/>
                    </a:cubicBezTo>
                    <a:cubicBezTo>
                      <a:pt x="631" y="651"/>
                      <a:pt x="631" y="651"/>
                      <a:pt x="631" y="651"/>
                    </a:cubicBezTo>
                    <a:cubicBezTo>
                      <a:pt x="633" y="651"/>
                      <a:pt x="633" y="651"/>
                      <a:pt x="633" y="651"/>
                    </a:cubicBezTo>
                    <a:cubicBezTo>
                      <a:pt x="633" y="653"/>
                      <a:pt x="633" y="653"/>
                      <a:pt x="633" y="653"/>
                    </a:cubicBezTo>
                    <a:cubicBezTo>
                      <a:pt x="635" y="654"/>
                      <a:pt x="635" y="654"/>
                      <a:pt x="635" y="654"/>
                    </a:cubicBezTo>
                    <a:cubicBezTo>
                      <a:pt x="641" y="651"/>
                      <a:pt x="641" y="651"/>
                      <a:pt x="641" y="651"/>
                    </a:cubicBezTo>
                    <a:cubicBezTo>
                      <a:pt x="652" y="647"/>
                      <a:pt x="652" y="647"/>
                      <a:pt x="652" y="647"/>
                    </a:cubicBezTo>
                    <a:cubicBezTo>
                      <a:pt x="655" y="646"/>
                      <a:pt x="655" y="646"/>
                      <a:pt x="655" y="646"/>
                    </a:cubicBezTo>
                    <a:cubicBezTo>
                      <a:pt x="655" y="650"/>
                      <a:pt x="655" y="650"/>
                      <a:pt x="655" y="650"/>
                    </a:cubicBezTo>
                    <a:cubicBezTo>
                      <a:pt x="654" y="652"/>
                      <a:pt x="654" y="652"/>
                      <a:pt x="654" y="652"/>
                    </a:cubicBezTo>
                    <a:cubicBezTo>
                      <a:pt x="654" y="653"/>
                      <a:pt x="654" y="653"/>
                      <a:pt x="654" y="653"/>
                    </a:cubicBezTo>
                    <a:cubicBezTo>
                      <a:pt x="655" y="653"/>
                      <a:pt x="655" y="653"/>
                      <a:pt x="655" y="653"/>
                    </a:cubicBezTo>
                    <a:cubicBezTo>
                      <a:pt x="656" y="657"/>
                      <a:pt x="656" y="657"/>
                      <a:pt x="656" y="657"/>
                    </a:cubicBezTo>
                    <a:cubicBezTo>
                      <a:pt x="655" y="660"/>
                      <a:pt x="655" y="660"/>
                      <a:pt x="655" y="660"/>
                    </a:cubicBezTo>
                    <a:cubicBezTo>
                      <a:pt x="656" y="662"/>
                      <a:pt x="656" y="662"/>
                      <a:pt x="656" y="662"/>
                    </a:cubicBezTo>
                    <a:cubicBezTo>
                      <a:pt x="657" y="663"/>
                      <a:pt x="657" y="663"/>
                      <a:pt x="657" y="663"/>
                    </a:cubicBezTo>
                    <a:cubicBezTo>
                      <a:pt x="660" y="660"/>
                      <a:pt x="660" y="660"/>
                      <a:pt x="660" y="660"/>
                    </a:cubicBezTo>
                    <a:cubicBezTo>
                      <a:pt x="662" y="662"/>
                      <a:pt x="662" y="662"/>
                      <a:pt x="662" y="662"/>
                    </a:cubicBezTo>
                    <a:cubicBezTo>
                      <a:pt x="661" y="666"/>
                      <a:pt x="661" y="666"/>
                      <a:pt x="661" y="666"/>
                    </a:cubicBezTo>
                    <a:cubicBezTo>
                      <a:pt x="659" y="671"/>
                      <a:pt x="659" y="671"/>
                      <a:pt x="659" y="671"/>
                    </a:cubicBezTo>
                    <a:cubicBezTo>
                      <a:pt x="660" y="675"/>
                      <a:pt x="660" y="675"/>
                      <a:pt x="660" y="675"/>
                    </a:cubicBezTo>
                    <a:cubicBezTo>
                      <a:pt x="661" y="676"/>
                      <a:pt x="661" y="676"/>
                      <a:pt x="661" y="676"/>
                    </a:cubicBezTo>
                    <a:cubicBezTo>
                      <a:pt x="664" y="673"/>
                      <a:pt x="664" y="673"/>
                      <a:pt x="664" y="673"/>
                    </a:cubicBezTo>
                    <a:cubicBezTo>
                      <a:pt x="664" y="669"/>
                      <a:pt x="664" y="669"/>
                      <a:pt x="664" y="669"/>
                    </a:cubicBezTo>
                    <a:cubicBezTo>
                      <a:pt x="666" y="667"/>
                      <a:pt x="666" y="667"/>
                      <a:pt x="666" y="667"/>
                    </a:cubicBezTo>
                    <a:cubicBezTo>
                      <a:pt x="667" y="667"/>
                      <a:pt x="667" y="667"/>
                      <a:pt x="667" y="667"/>
                    </a:cubicBezTo>
                    <a:cubicBezTo>
                      <a:pt x="666" y="672"/>
                      <a:pt x="666" y="672"/>
                      <a:pt x="666" y="672"/>
                    </a:cubicBezTo>
                    <a:cubicBezTo>
                      <a:pt x="664" y="678"/>
                      <a:pt x="664" y="678"/>
                      <a:pt x="664" y="678"/>
                    </a:cubicBezTo>
                    <a:cubicBezTo>
                      <a:pt x="661" y="682"/>
                      <a:pt x="661" y="682"/>
                      <a:pt x="661" y="682"/>
                    </a:cubicBezTo>
                    <a:cubicBezTo>
                      <a:pt x="661" y="688"/>
                      <a:pt x="661" y="688"/>
                      <a:pt x="661" y="688"/>
                    </a:cubicBezTo>
                    <a:cubicBezTo>
                      <a:pt x="663" y="692"/>
                      <a:pt x="663" y="692"/>
                      <a:pt x="663" y="692"/>
                    </a:cubicBezTo>
                    <a:cubicBezTo>
                      <a:pt x="663" y="699"/>
                      <a:pt x="663" y="699"/>
                      <a:pt x="663" y="699"/>
                    </a:cubicBezTo>
                    <a:cubicBezTo>
                      <a:pt x="662" y="703"/>
                      <a:pt x="662" y="703"/>
                      <a:pt x="662" y="703"/>
                    </a:cubicBezTo>
                    <a:cubicBezTo>
                      <a:pt x="666" y="706"/>
                      <a:pt x="666" y="706"/>
                      <a:pt x="666" y="706"/>
                    </a:cubicBezTo>
                    <a:cubicBezTo>
                      <a:pt x="666" y="708"/>
                      <a:pt x="666" y="708"/>
                      <a:pt x="666" y="708"/>
                    </a:cubicBezTo>
                    <a:cubicBezTo>
                      <a:pt x="664" y="711"/>
                      <a:pt x="664" y="711"/>
                      <a:pt x="664" y="711"/>
                    </a:cubicBezTo>
                    <a:cubicBezTo>
                      <a:pt x="666" y="713"/>
                      <a:pt x="666" y="713"/>
                      <a:pt x="666" y="713"/>
                    </a:cubicBezTo>
                    <a:cubicBezTo>
                      <a:pt x="668" y="719"/>
                      <a:pt x="668" y="719"/>
                      <a:pt x="668" y="719"/>
                    </a:cubicBezTo>
                    <a:cubicBezTo>
                      <a:pt x="669" y="730"/>
                      <a:pt x="669" y="730"/>
                      <a:pt x="669" y="730"/>
                    </a:cubicBezTo>
                    <a:cubicBezTo>
                      <a:pt x="669" y="719"/>
                      <a:pt x="669" y="719"/>
                      <a:pt x="669" y="719"/>
                    </a:cubicBezTo>
                    <a:cubicBezTo>
                      <a:pt x="667" y="710"/>
                      <a:pt x="667" y="710"/>
                      <a:pt x="667" y="710"/>
                    </a:cubicBezTo>
                    <a:cubicBezTo>
                      <a:pt x="668" y="702"/>
                      <a:pt x="668" y="702"/>
                      <a:pt x="668" y="702"/>
                    </a:cubicBezTo>
                    <a:cubicBezTo>
                      <a:pt x="673" y="694"/>
                      <a:pt x="673" y="694"/>
                      <a:pt x="673" y="694"/>
                    </a:cubicBezTo>
                    <a:cubicBezTo>
                      <a:pt x="675" y="694"/>
                      <a:pt x="675" y="694"/>
                      <a:pt x="675" y="694"/>
                    </a:cubicBezTo>
                    <a:cubicBezTo>
                      <a:pt x="675" y="697"/>
                      <a:pt x="675" y="697"/>
                      <a:pt x="675" y="697"/>
                    </a:cubicBezTo>
                    <a:cubicBezTo>
                      <a:pt x="674" y="698"/>
                      <a:pt x="674" y="698"/>
                      <a:pt x="674" y="698"/>
                    </a:cubicBezTo>
                    <a:cubicBezTo>
                      <a:pt x="673" y="701"/>
                      <a:pt x="673" y="701"/>
                      <a:pt x="673" y="701"/>
                    </a:cubicBezTo>
                    <a:cubicBezTo>
                      <a:pt x="675" y="702"/>
                      <a:pt x="675" y="702"/>
                      <a:pt x="675" y="702"/>
                    </a:cubicBezTo>
                    <a:cubicBezTo>
                      <a:pt x="677" y="700"/>
                      <a:pt x="677" y="700"/>
                      <a:pt x="677" y="700"/>
                    </a:cubicBezTo>
                    <a:cubicBezTo>
                      <a:pt x="678" y="702"/>
                      <a:pt x="678" y="702"/>
                      <a:pt x="678" y="702"/>
                    </a:cubicBezTo>
                    <a:cubicBezTo>
                      <a:pt x="680" y="700"/>
                      <a:pt x="680" y="700"/>
                      <a:pt x="680" y="700"/>
                    </a:cubicBezTo>
                    <a:cubicBezTo>
                      <a:pt x="680" y="696"/>
                      <a:pt x="680" y="696"/>
                      <a:pt x="680" y="696"/>
                    </a:cubicBezTo>
                    <a:cubicBezTo>
                      <a:pt x="677" y="693"/>
                      <a:pt x="677" y="693"/>
                      <a:pt x="677" y="693"/>
                    </a:cubicBezTo>
                    <a:cubicBezTo>
                      <a:pt x="677" y="691"/>
                      <a:pt x="677" y="691"/>
                      <a:pt x="677" y="691"/>
                    </a:cubicBezTo>
                    <a:cubicBezTo>
                      <a:pt x="681" y="690"/>
                      <a:pt x="681" y="690"/>
                      <a:pt x="681" y="690"/>
                    </a:cubicBezTo>
                    <a:cubicBezTo>
                      <a:pt x="682" y="688"/>
                      <a:pt x="682" y="688"/>
                      <a:pt x="682" y="688"/>
                    </a:cubicBezTo>
                    <a:cubicBezTo>
                      <a:pt x="678" y="685"/>
                      <a:pt x="678" y="685"/>
                      <a:pt x="678" y="685"/>
                    </a:cubicBezTo>
                    <a:cubicBezTo>
                      <a:pt x="679" y="683"/>
                      <a:pt x="679" y="683"/>
                      <a:pt x="679" y="683"/>
                    </a:cubicBezTo>
                    <a:cubicBezTo>
                      <a:pt x="681" y="676"/>
                      <a:pt x="681" y="676"/>
                      <a:pt x="681" y="676"/>
                    </a:cubicBezTo>
                    <a:cubicBezTo>
                      <a:pt x="684" y="666"/>
                      <a:pt x="684" y="666"/>
                      <a:pt x="684" y="666"/>
                    </a:cubicBezTo>
                    <a:cubicBezTo>
                      <a:pt x="683" y="663"/>
                      <a:pt x="683" y="663"/>
                      <a:pt x="683" y="663"/>
                    </a:cubicBezTo>
                    <a:cubicBezTo>
                      <a:pt x="683" y="660"/>
                      <a:pt x="683" y="660"/>
                      <a:pt x="683" y="660"/>
                    </a:cubicBezTo>
                    <a:cubicBezTo>
                      <a:pt x="686" y="658"/>
                      <a:pt x="686" y="658"/>
                      <a:pt x="686" y="658"/>
                    </a:cubicBezTo>
                    <a:cubicBezTo>
                      <a:pt x="691" y="658"/>
                      <a:pt x="691" y="658"/>
                      <a:pt x="691" y="658"/>
                    </a:cubicBezTo>
                    <a:cubicBezTo>
                      <a:pt x="691" y="657"/>
                      <a:pt x="691" y="657"/>
                      <a:pt x="691" y="657"/>
                    </a:cubicBezTo>
                    <a:cubicBezTo>
                      <a:pt x="693" y="655"/>
                      <a:pt x="693" y="655"/>
                      <a:pt x="693" y="655"/>
                    </a:cubicBezTo>
                    <a:cubicBezTo>
                      <a:pt x="696" y="654"/>
                      <a:pt x="696" y="654"/>
                      <a:pt x="696" y="654"/>
                    </a:cubicBezTo>
                    <a:cubicBezTo>
                      <a:pt x="697" y="656"/>
                      <a:pt x="697" y="656"/>
                      <a:pt x="697" y="656"/>
                    </a:cubicBezTo>
                    <a:cubicBezTo>
                      <a:pt x="700" y="655"/>
                      <a:pt x="700" y="655"/>
                      <a:pt x="700" y="655"/>
                    </a:cubicBezTo>
                    <a:cubicBezTo>
                      <a:pt x="702" y="652"/>
                      <a:pt x="702" y="652"/>
                      <a:pt x="702" y="652"/>
                    </a:cubicBezTo>
                    <a:cubicBezTo>
                      <a:pt x="704" y="652"/>
                      <a:pt x="704" y="652"/>
                      <a:pt x="704" y="652"/>
                    </a:cubicBezTo>
                    <a:cubicBezTo>
                      <a:pt x="704" y="654"/>
                      <a:pt x="704" y="654"/>
                      <a:pt x="704" y="654"/>
                    </a:cubicBezTo>
                    <a:cubicBezTo>
                      <a:pt x="706" y="653"/>
                      <a:pt x="706" y="653"/>
                      <a:pt x="706" y="653"/>
                    </a:cubicBezTo>
                    <a:cubicBezTo>
                      <a:pt x="710" y="653"/>
                      <a:pt x="710" y="653"/>
                      <a:pt x="710" y="653"/>
                    </a:cubicBezTo>
                    <a:cubicBezTo>
                      <a:pt x="712" y="649"/>
                      <a:pt x="712" y="649"/>
                      <a:pt x="712" y="649"/>
                    </a:cubicBezTo>
                    <a:cubicBezTo>
                      <a:pt x="714" y="649"/>
                      <a:pt x="714" y="649"/>
                      <a:pt x="714" y="649"/>
                    </a:cubicBezTo>
                    <a:cubicBezTo>
                      <a:pt x="716" y="652"/>
                      <a:pt x="716" y="652"/>
                      <a:pt x="716" y="652"/>
                    </a:cubicBezTo>
                    <a:cubicBezTo>
                      <a:pt x="717" y="652"/>
                      <a:pt x="717" y="652"/>
                      <a:pt x="717" y="652"/>
                    </a:cubicBezTo>
                    <a:cubicBezTo>
                      <a:pt x="718" y="657"/>
                      <a:pt x="718" y="657"/>
                      <a:pt x="718" y="657"/>
                    </a:cubicBezTo>
                    <a:cubicBezTo>
                      <a:pt x="718" y="652"/>
                      <a:pt x="718" y="652"/>
                      <a:pt x="718" y="652"/>
                    </a:cubicBezTo>
                    <a:cubicBezTo>
                      <a:pt x="717" y="648"/>
                      <a:pt x="717" y="648"/>
                      <a:pt x="717" y="648"/>
                    </a:cubicBezTo>
                    <a:cubicBezTo>
                      <a:pt x="720" y="642"/>
                      <a:pt x="720" y="642"/>
                      <a:pt x="720" y="642"/>
                    </a:cubicBezTo>
                    <a:cubicBezTo>
                      <a:pt x="723" y="642"/>
                      <a:pt x="723" y="642"/>
                      <a:pt x="723" y="642"/>
                    </a:cubicBezTo>
                    <a:cubicBezTo>
                      <a:pt x="724" y="644"/>
                      <a:pt x="724" y="644"/>
                      <a:pt x="724" y="644"/>
                    </a:cubicBezTo>
                    <a:cubicBezTo>
                      <a:pt x="728" y="644"/>
                      <a:pt x="728" y="644"/>
                      <a:pt x="728" y="644"/>
                    </a:cubicBezTo>
                    <a:cubicBezTo>
                      <a:pt x="730" y="642"/>
                      <a:pt x="730" y="642"/>
                      <a:pt x="730" y="642"/>
                    </a:cubicBezTo>
                    <a:cubicBezTo>
                      <a:pt x="732" y="644"/>
                      <a:pt x="732" y="644"/>
                      <a:pt x="732" y="644"/>
                    </a:cubicBezTo>
                    <a:cubicBezTo>
                      <a:pt x="736" y="639"/>
                      <a:pt x="736" y="639"/>
                      <a:pt x="736" y="639"/>
                    </a:cubicBezTo>
                    <a:cubicBezTo>
                      <a:pt x="735" y="637"/>
                      <a:pt x="735" y="637"/>
                      <a:pt x="735" y="637"/>
                    </a:cubicBezTo>
                    <a:cubicBezTo>
                      <a:pt x="737" y="634"/>
                      <a:pt x="737" y="634"/>
                      <a:pt x="737" y="634"/>
                    </a:cubicBezTo>
                    <a:cubicBezTo>
                      <a:pt x="734" y="634"/>
                      <a:pt x="734" y="634"/>
                      <a:pt x="734" y="634"/>
                    </a:cubicBezTo>
                    <a:cubicBezTo>
                      <a:pt x="734" y="633"/>
                      <a:pt x="734" y="633"/>
                      <a:pt x="734" y="633"/>
                    </a:cubicBezTo>
                    <a:cubicBezTo>
                      <a:pt x="731" y="633"/>
                      <a:pt x="731" y="633"/>
                      <a:pt x="731" y="633"/>
                    </a:cubicBezTo>
                    <a:cubicBezTo>
                      <a:pt x="723" y="636"/>
                      <a:pt x="723" y="636"/>
                      <a:pt x="723" y="636"/>
                    </a:cubicBezTo>
                    <a:cubicBezTo>
                      <a:pt x="721" y="636"/>
                      <a:pt x="721" y="636"/>
                      <a:pt x="721" y="636"/>
                    </a:cubicBezTo>
                    <a:cubicBezTo>
                      <a:pt x="720" y="638"/>
                      <a:pt x="720" y="638"/>
                      <a:pt x="720" y="638"/>
                    </a:cubicBezTo>
                    <a:cubicBezTo>
                      <a:pt x="716" y="638"/>
                      <a:pt x="716" y="638"/>
                      <a:pt x="716" y="638"/>
                    </a:cubicBezTo>
                    <a:cubicBezTo>
                      <a:pt x="716" y="641"/>
                      <a:pt x="716" y="641"/>
                      <a:pt x="716" y="641"/>
                    </a:cubicBezTo>
                    <a:cubicBezTo>
                      <a:pt x="715" y="643"/>
                      <a:pt x="715" y="643"/>
                      <a:pt x="715" y="643"/>
                    </a:cubicBezTo>
                    <a:cubicBezTo>
                      <a:pt x="712" y="639"/>
                      <a:pt x="712" y="639"/>
                      <a:pt x="712" y="639"/>
                    </a:cubicBezTo>
                    <a:cubicBezTo>
                      <a:pt x="713" y="636"/>
                      <a:pt x="713" y="636"/>
                      <a:pt x="713" y="636"/>
                    </a:cubicBezTo>
                    <a:cubicBezTo>
                      <a:pt x="710" y="638"/>
                      <a:pt x="710" y="638"/>
                      <a:pt x="710" y="638"/>
                    </a:cubicBezTo>
                    <a:cubicBezTo>
                      <a:pt x="710" y="641"/>
                      <a:pt x="710" y="641"/>
                      <a:pt x="710" y="641"/>
                    </a:cubicBezTo>
                    <a:cubicBezTo>
                      <a:pt x="707" y="642"/>
                      <a:pt x="707" y="642"/>
                      <a:pt x="707" y="642"/>
                    </a:cubicBezTo>
                    <a:cubicBezTo>
                      <a:pt x="703" y="640"/>
                      <a:pt x="703" y="640"/>
                      <a:pt x="703" y="640"/>
                    </a:cubicBezTo>
                    <a:cubicBezTo>
                      <a:pt x="700" y="640"/>
                      <a:pt x="700" y="640"/>
                      <a:pt x="700" y="640"/>
                    </a:cubicBezTo>
                    <a:cubicBezTo>
                      <a:pt x="700" y="638"/>
                      <a:pt x="700" y="638"/>
                      <a:pt x="700" y="638"/>
                    </a:cubicBezTo>
                    <a:cubicBezTo>
                      <a:pt x="697" y="639"/>
                      <a:pt x="697" y="639"/>
                      <a:pt x="697" y="639"/>
                    </a:cubicBezTo>
                    <a:cubicBezTo>
                      <a:pt x="697" y="641"/>
                      <a:pt x="697" y="641"/>
                      <a:pt x="697" y="641"/>
                    </a:cubicBezTo>
                    <a:cubicBezTo>
                      <a:pt x="700" y="643"/>
                      <a:pt x="700" y="643"/>
                      <a:pt x="700" y="643"/>
                    </a:cubicBezTo>
                    <a:cubicBezTo>
                      <a:pt x="700" y="645"/>
                      <a:pt x="700" y="645"/>
                      <a:pt x="700" y="645"/>
                    </a:cubicBezTo>
                    <a:cubicBezTo>
                      <a:pt x="696" y="647"/>
                      <a:pt x="696" y="647"/>
                      <a:pt x="696" y="647"/>
                    </a:cubicBezTo>
                    <a:cubicBezTo>
                      <a:pt x="695" y="645"/>
                      <a:pt x="695" y="645"/>
                      <a:pt x="695" y="645"/>
                    </a:cubicBezTo>
                    <a:cubicBezTo>
                      <a:pt x="689" y="644"/>
                      <a:pt x="689" y="644"/>
                      <a:pt x="689" y="644"/>
                    </a:cubicBezTo>
                    <a:cubicBezTo>
                      <a:pt x="689" y="642"/>
                      <a:pt x="689" y="642"/>
                      <a:pt x="689" y="642"/>
                    </a:cubicBezTo>
                    <a:cubicBezTo>
                      <a:pt x="691" y="640"/>
                      <a:pt x="691" y="640"/>
                      <a:pt x="691" y="640"/>
                    </a:cubicBezTo>
                    <a:cubicBezTo>
                      <a:pt x="692" y="637"/>
                      <a:pt x="692" y="637"/>
                      <a:pt x="692" y="637"/>
                    </a:cubicBezTo>
                    <a:cubicBezTo>
                      <a:pt x="691" y="637"/>
                      <a:pt x="691" y="637"/>
                      <a:pt x="691" y="637"/>
                    </a:cubicBezTo>
                    <a:cubicBezTo>
                      <a:pt x="688" y="638"/>
                      <a:pt x="688" y="638"/>
                      <a:pt x="688" y="638"/>
                    </a:cubicBezTo>
                    <a:cubicBezTo>
                      <a:pt x="686" y="637"/>
                      <a:pt x="686" y="637"/>
                      <a:pt x="686" y="637"/>
                    </a:cubicBezTo>
                    <a:cubicBezTo>
                      <a:pt x="687" y="634"/>
                      <a:pt x="687" y="634"/>
                      <a:pt x="687" y="634"/>
                    </a:cubicBezTo>
                    <a:cubicBezTo>
                      <a:pt x="691" y="632"/>
                      <a:pt x="691" y="632"/>
                      <a:pt x="691" y="632"/>
                    </a:cubicBezTo>
                    <a:cubicBezTo>
                      <a:pt x="695" y="625"/>
                      <a:pt x="695" y="625"/>
                      <a:pt x="695" y="625"/>
                    </a:cubicBezTo>
                    <a:cubicBezTo>
                      <a:pt x="699" y="625"/>
                      <a:pt x="699" y="625"/>
                      <a:pt x="699" y="625"/>
                    </a:cubicBezTo>
                    <a:cubicBezTo>
                      <a:pt x="703" y="626"/>
                      <a:pt x="703" y="626"/>
                      <a:pt x="703" y="626"/>
                    </a:cubicBezTo>
                    <a:cubicBezTo>
                      <a:pt x="717" y="626"/>
                      <a:pt x="717" y="626"/>
                      <a:pt x="717" y="626"/>
                    </a:cubicBezTo>
                    <a:cubicBezTo>
                      <a:pt x="727" y="623"/>
                      <a:pt x="727" y="623"/>
                      <a:pt x="727" y="623"/>
                    </a:cubicBezTo>
                    <a:cubicBezTo>
                      <a:pt x="729" y="623"/>
                      <a:pt x="729" y="623"/>
                      <a:pt x="729" y="623"/>
                    </a:cubicBezTo>
                    <a:cubicBezTo>
                      <a:pt x="734" y="622"/>
                      <a:pt x="734" y="622"/>
                      <a:pt x="734" y="622"/>
                    </a:cubicBezTo>
                    <a:cubicBezTo>
                      <a:pt x="736" y="624"/>
                      <a:pt x="736" y="624"/>
                      <a:pt x="736" y="624"/>
                    </a:cubicBezTo>
                    <a:cubicBezTo>
                      <a:pt x="738" y="626"/>
                      <a:pt x="738" y="626"/>
                      <a:pt x="738" y="626"/>
                    </a:cubicBezTo>
                    <a:cubicBezTo>
                      <a:pt x="740" y="626"/>
                      <a:pt x="740" y="626"/>
                      <a:pt x="740" y="626"/>
                    </a:cubicBezTo>
                    <a:cubicBezTo>
                      <a:pt x="741" y="629"/>
                      <a:pt x="741" y="629"/>
                      <a:pt x="741" y="629"/>
                    </a:cubicBezTo>
                    <a:cubicBezTo>
                      <a:pt x="741" y="637"/>
                      <a:pt x="741" y="637"/>
                      <a:pt x="741" y="637"/>
                    </a:cubicBezTo>
                    <a:cubicBezTo>
                      <a:pt x="740" y="639"/>
                      <a:pt x="740" y="639"/>
                      <a:pt x="740" y="639"/>
                    </a:cubicBezTo>
                    <a:cubicBezTo>
                      <a:pt x="742" y="640"/>
                      <a:pt x="742" y="640"/>
                      <a:pt x="742" y="640"/>
                    </a:cubicBezTo>
                    <a:cubicBezTo>
                      <a:pt x="741" y="642"/>
                      <a:pt x="741" y="642"/>
                      <a:pt x="741" y="642"/>
                    </a:cubicBezTo>
                    <a:cubicBezTo>
                      <a:pt x="738" y="644"/>
                      <a:pt x="738" y="644"/>
                      <a:pt x="738" y="644"/>
                    </a:cubicBezTo>
                    <a:cubicBezTo>
                      <a:pt x="738" y="645"/>
                      <a:pt x="738" y="645"/>
                      <a:pt x="738" y="645"/>
                    </a:cubicBezTo>
                    <a:cubicBezTo>
                      <a:pt x="740" y="646"/>
                      <a:pt x="740" y="646"/>
                      <a:pt x="740" y="646"/>
                    </a:cubicBezTo>
                    <a:cubicBezTo>
                      <a:pt x="741" y="653"/>
                      <a:pt x="741" y="653"/>
                      <a:pt x="741" y="653"/>
                    </a:cubicBezTo>
                    <a:cubicBezTo>
                      <a:pt x="744" y="653"/>
                      <a:pt x="744" y="653"/>
                      <a:pt x="744" y="653"/>
                    </a:cubicBezTo>
                    <a:cubicBezTo>
                      <a:pt x="746" y="655"/>
                      <a:pt x="746" y="655"/>
                      <a:pt x="746" y="655"/>
                    </a:cubicBezTo>
                    <a:cubicBezTo>
                      <a:pt x="746" y="656"/>
                      <a:pt x="746" y="656"/>
                      <a:pt x="746" y="656"/>
                    </a:cubicBezTo>
                    <a:cubicBezTo>
                      <a:pt x="743" y="659"/>
                      <a:pt x="743" y="659"/>
                      <a:pt x="743" y="659"/>
                    </a:cubicBezTo>
                    <a:cubicBezTo>
                      <a:pt x="743" y="661"/>
                      <a:pt x="743" y="661"/>
                      <a:pt x="743" y="661"/>
                    </a:cubicBezTo>
                    <a:cubicBezTo>
                      <a:pt x="741" y="664"/>
                      <a:pt x="741" y="664"/>
                      <a:pt x="741" y="664"/>
                    </a:cubicBezTo>
                    <a:cubicBezTo>
                      <a:pt x="745" y="664"/>
                      <a:pt x="745" y="664"/>
                      <a:pt x="745" y="664"/>
                    </a:cubicBezTo>
                    <a:cubicBezTo>
                      <a:pt x="748" y="665"/>
                      <a:pt x="748" y="665"/>
                      <a:pt x="748" y="665"/>
                    </a:cubicBezTo>
                    <a:cubicBezTo>
                      <a:pt x="749" y="666"/>
                      <a:pt x="749" y="666"/>
                      <a:pt x="749" y="666"/>
                    </a:cubicBezTo>
                    <a:cubicBezTo>
                      <a:pt x="751" y="666"/>
                      <a:pt x="751" y="666"/>
                      <a:pt x="751" y="666"/>
                    </a:cubicBezTo>
                    <a:cubicBezTo>
                      <a:pt x="753" y="669"/>
                      <a:pt x="753" y="669"/>
                      <a:pt x="753" y="669"/>
                    </a:cubicBezTo>
                    <a:cubicBezTo>
                      <a:pt x="757" y="669"/>
                      <a:pt x="757" y="669"/>
                      <a:pt x="757" y="669"/>
                    </a:cubicBezTo>
                    <a:cubicBezTo>
                      <a:pt x="760" y="667"/>
                      <a:pt x="760" y="667"/>
                      <a:pt x="760" y="667"/>
                    </a:cubicBezTo>
                    <a:cubicBezTo>
                      <a:pt x="762" y="668"/>
                      <a:pt x="762" y="668"/>
                      <a:pt x="762" y="668"/>
                    </a:cubicBezTo>
                    <a:cubicBezTo>
                      <a:pt x="762" y="670"/>
                      <a:pt x="762" y="670"/>
                      <a:pt x="762" y="670"/>
                    </a:cubicBezTo>
                    <a:cubicBezTo>
                      <a:pt x="763" y="671"/>
                      <a:pt x="763" y="671"/>
                      <a:pt x="763" y="671"/>
                    </a:cubicBezTo>
                    <a:cubicBezTo>
                      <a:pt x="764" y="671"/>
                      <a:pt x="764" y="671"/>
                      <a:pt x="764" y="671"/>
                    </a:cubicBezTo>
                    <a:cubicBezTo>
                      <a:pt x="766" y="673"/>
                      <a:pt x="766" y="673"/>
                      <a:pt x="766" y="673"/>
                    </a:cubicBezTo>
                    <a:cubicBezTo>
                      <a:pt x="765" y="675"/>
                      <a:pt x="765" y="675"/>
                      <a:pt x="765" y="675"/>
                    </a:cubicBezTo>
                    <a:cubicBezTo>
                      <a:pt x="765" y="677"/>
                      <a:pt x="765" y="677"/>
                      <a:pt x="765" y="677"/>
                    </a:cubicBezTo>
                    <a:cubicBezTo>
                      <a:pt x="767" y="678"/>
                      <a:pt x="767" y="678"/>
                      <a:pt x="767" y="678"/>
                    </a:cubicBezTo>
                    <a:cubicBezTo>
                      <a:pt x="768" y="680"/>
                      <a:pt x="768" y="680"/>
                      <a:pt x="768" y="680"/>
                    </a:cubicBezTo>
                    <a:cubicBezTo>
                      <a:pt x="773" y="685"/>
                      <a:pt x="773" y="685"/>
                      <a:pt x="773" y="685"/>
                    </a:cubicBezTo>
                    <a:cubicBezTo>
                      <a:pt x="773" y="688"/>
                      <a:pt x="773" y="688"/>
                      <a:pt x="773" y="688"/>
                    </a:cubicBezTo>
                    <a:cubicBezTo>
                      <a:pt x="777" y="685"/>
                      <a:pt x="777" y="685"/>
                      <a:pt x="777" y="685"/>
                    </a:cubicBezTo>
                    <a:cubicBezTo>
                      <a:pt x="778" y="686"/>
                      <a:pt x="778" y="686"/>
                      <a:pt x="778" y="686"/>
                    </a:cubicBezTo>
                    <a:cubicBezTo>
                      <a:pt x="779" y="689"/>
                      <a:pt x="779" y="689"/>
                      <a:pt x="779" y="689"/>
                    </a:cubicBezTo>
                    <a:cubicBezTo>
                      <a:pt x="780" y="689"/>
                      <a:pt x="780" y="689"/>
                      <a:pt x="780" y="689"/>
                    </a:cubicBezTo>
                    <a:cubicBezTo>
                      <a:pt x="784" y="693"/>
                      <a:pt x="784" y="693"/>
                      <a:pt x="784" y="693"/>
                    </a:cubicBezTo>
                    <a:cubicBezTo>
                      <a:pt x="788" y="690"/>
                      <a:pt x="788" y="690"/>
                      <a:pt x="788" y="690"/>
                    </a:cubicBezTo>
                    <a:cubicBezTo>
                      <a:pt x="795" y="691"/>
                      <a:pt x="795" y="691"/>
                      <a:pt x="795" y="691"/>
                    </a:cubicBezTo>
                    <a:cubicBezTo>
                      <a:pt x="797" y="688"/>
                      <a:pt x="797" y="688"/>
                      <a:pt x="797" y="688"/>
                    </a:cubicBezTo>
                    <a:cubicBezTo>
                      <a:pt x="802" y="685"/>
                      <a:pt x="802" y="685"/>
                      <a:pt x="802" y="685"/>
                    </a:cubicBezTo>
                    <a:cubicBezTo>
                      <a:pt x="803" y="685"/>
                      <a:pt x="803" y="685"/>
                      <a:pt x="803" y="685"/>
                    </a:cubicBezTo>
                    <a:cubicBezTo>
                      <a:pt x="804" y="687"/>
                      <a:pt x="804" y="687"/>
                      <a:pt x="804" y="687"/>
                    </a:cubicBezTo>
                    <a:cubicBezTo>
                      <a:pt x="811" y="687"/>
                      <a:pt x="811" y="687"/>
                      <a:pt x="811" y="687"/>
                    </a:cubicBezTo>
                    <a:cubicBezTo>
                      <a:pt x="818" y="692"/>
                      <a:pt x="818" y="692"/>
                      <a:pt x="818" y="692"/>
                    </a:cubicBezTo>
                    <a:cubicBezTo>
                      <a:pt x="821" y="692"/>
                      <a:pt x="821" y="692"/>
                      <a:pt x="821" y="692"/>
                    </a:cubicBezTo>
                    <a:cubicBezTo>
                      <a:pt x="824" y="695"/>
                      <a:pt x="824" y="695"/>
                      <a:pt x="824" y="695"/>
                    </a:cubicBezTo>
                    <a:cubicBezTo>
                      <a:pt x="825" y="694"/>
                      <a:pt x="825" y="694"/>
                      <a:pt x="825" y="694"/>
                    </a:cubicBezTo>
                    <a:cubicBezTo>
                      <a:pt x="832" y="692"/>
                      <a:pt x="832" y="692"/>
                      <a:pt x="832" y="692"/>
                    </a:cubicBezTo>
                    <a:cubicBezTo>
                      <a:pt x="835" y="696"/>
                      <a:pt x="835" y="696"/>
                      <a:pt x="835" y="696"/>
                    </a:cubicBezTo>
                    <a:cubicBezTo>
                      <a:pt x="837" y="694"/>
                      <a:pt x="837" y="694"/>
                      <a:pt x="837" y="694"/>
                    </a:cubicBezTo>
                    <a:cubicBezTo>
                      <a:pt x="836" y="690"/>
                      <a:pt x="836" y="690"/>
                      <a:pt x="836" y="690"/>
                    </a:cubicBezTo>
                    <a:cubicBezTo>
                      <a:pt x="833" y="687"/>
                      <a:pt x="833" y="687"/>
                      <a:pt x="833" y="687"/>
                    </a:cubicBezTo>
                    <a:cubicBezTo>
                      <a:pt x="832" y="682"/>
                      <a:pt x="832" y="682"/>
                      <a:pt x="832" y="682"/>
                    </a:cubicBezTo>
                    <a:cubicBezTo>
                      <a:pt x="833" y="680"/>
                      <a:pt x="833" y="680"/>
                      <a:pt x="833" y="680"/>
                    </a:cubicBezTo>
                    <a:cubicBezTo>
                      <a:pt x="836" y="681"/>
                      <a:pt x="836" y="681"/>
                      <a:pt x="836" y="681"/>
                    </a:cubicBezTo>
                    <a:cubicBezTo>
                      <a:pt x="838" y="687"/>
                      <a:pt x="838" y="687"/>
                      <a:pt x="838" y="687"/>
                    </a:cubicBezTo>
                    <a:cubicBezTo>
                      <a:pt x="839" y="692"/>
                      <a:pt x="839" y="692"/>
                      <a:pt x="839" y="692"/>
                    </a:cubicBezTo>
                    <a:cubicBezTo>
                      <a:pt x="844" y="698"/>
                      <a:pt x="844" y="698"/>
                      <a:pt x="844" y="698"/>
                    </a:cubicBezTo>
                    <a:cubicBezTo>
                      <a:pt x="847" y="700"/>
                      <a:pt x="847" y="700"/>
                      <a:pt x="847" y="700"/>
                    </a:cubicBezTo>
                    <a:cubicBezTo>
                      <a:pt x="848" y="704"/>
                      <a:pt x="848" y="704"/>
                      <a:pt x="848" y="704"/>
                    </a:cubicBezTo>
                    <a:cubicBezTo>
                      <a:pt x="848" y="696"/>
                      <a:pt x="848" y="696"/>
                      <a:pt x="848" y="696"/>
                    </a:cubicBezTo>
                    <a:cubicBezTo>
                      <a:pt x="846" y="694"/>
                      <a:pt x="846" y="694"/>
                      <a:pt x="846" y="694"/>
                    </a:cubicBezTo>
                    <a:cubicBezTo>
                      <a:pt x="841" y="692"/>
                      <a:pt x="841" y="692"/>
                      <a:pt x="841" y="692"/>
                    </a:cubicBezTo>
                    <a:cubicBezTo>
                      <a:pt x="840" y="686"/>
                      <a:pt x="840" y="686"/>
                      <a:pt x="840" y="686"/>
                    </a:cubicBezTo>
                    <a:cubicBezTo>
                      <a:pt x="838" y="679"/>
                      <a:pt x="838" y="679"/>
                      <a:pt x="838" y="679"/>
                    </a:cubicBezTo>
                    <a:cubicBezTo>
                      <a:pt x="839" y="676"/>
                      <a:pt x="839" y="676"/>
                      <a:pt x="839" y="676"/>
                    </a:cubicBezTo>
                    <a:cubicBezTo>
                      <a:pt x="840" y="677"/>
                      <a:pt x="840" y="677"/>
                      <a:pt x="840" y="677"/>
                    </a:cubicBezTo>
                    <a:cubicBezTo>
                      <a:pt x="840" y="679"/>
                      <a:pt x="840" y="679"/>
                      <a:pt x="840" y="679"/>
                    </a:cubicBezTo>
                    <a:cubicBezTo>
                      <a:pt x="842" y="681"/>
                      <a:pt x="842" y="681"/>
                      <a:pt x="842" y="681"/>
                    </a:cubicBezTo>
                    <a:cubicBezTo>
                      <a:pt x="844" y="679"/>
                      <a:pt x="844" y="679"/>
                      <a:pt x="844" y="679"/>
                    </a:cubicBezTo>
                    <a:cubicBezTo>
                      <a:pt x="844" y="677"/>
                      <a:pt x="844" y="677"/>
                      <a:pt x="844" y="677"/>
                    </a:cubicBezTo>
                    <a:cubicBezTo>
                      <a:pt x="842" y="673"/>
                      <a:pt x="842" y="673"/>
                      <a:pt x="842" y="673"/>
                    </a:cubicBezTo>
                    <a:cubicBezTo>
                      <a:pt x="844" y="671"/>
                      <a:pt x="844" y="671"/>
                      <a:pt x="844" y="671"/>
                    </a:cubicBezTo>
                    <a:cubicBezTo>
                      <a:pt x="842" y="669"/>
                      <a:pt x="842" y="669"/>
                      <a:pt x="842" y="669"/>
                    </a:cubicBezTo>
                    <a:cubicBezTo>
                      <a:pt x="843" y="667"/>
                      <a:pt x="843" y="667"/>
                      <a:pt x="843" y="667"/>
                    </a:cubicBezTo>
                    <a:cubicBezTo>
                      <a:pt x="846" y="667"/>
                      <a:pt x="846" y="667"/>
                      <a:pt x="846" y="667"/>
                    </a:cubicBezTo>
                    <a:cubicBezTo>
                      <a:pt x="848" y="670"/>
                      <a:pt x="848" y="670"/>
                      <a:pt x="848" y="670"/>
                    </a:cubicBezTo>
                    <a:cubicBezTo>
                      <a:pt x="848" y="673"/>
                      <a:pt x="848" y="673"/>
                      <a:pt x="848" y="673"/>
                    </a:cubicBezTo>
                    <a:cubicBezTo>
                      <a:pt x="850" y="673"/>
                      <a:pt x="850" y="673"/>
                      <a:pt x="850" y="673"/>
                    </a:cubicBezTo>
                    <a:cubicBezTo>
                      <a:pt x="850" y="672"/>
                      <a:pt x="850" y="672"/>
                      <a:pt x="850" y="672"/>
                    </a:cubicBezTo>
                    <a:cubicBezTo>
                      <a:pt x="854" y="670"/>
                      <a:pt x="854" y="670"/>
                      <a:pt x="854" y="670"/>
                    </a:cubicBezTo>
                    <a:cubicBezTo>
                      <a:pt x="856" y="666"/>
                      <a:pt x="856" y="666"/>
                      <a:pt x="856" y="666"/>
                    </a:cubicBezTo>
                    <a:cubicBezTo>
                      <a:pt x="859" y="666"/>
                      <a:pt x="859" y="666"/>
                      <a:pt x="859" y="666"/>
                    </a:cubicBezTo>
                    <a:cubicBezTo>
                      <a:pt x="861" y="669"/>
                      <a:pt x="861" y="669"/>
                      <a:pt x="861" y="669"/>
                    </a:cubicBezTo>
                    <a:cubicBezTo>
                      <a:pt x="860" y="671"/>
                      <a:pt x="860" y="671"/>
                      <a:pt x="860" y="671"/>
                    </a:cubicBezTo>
                    <a:cubicBezTo>
                      <a:pt x="860" y="673"/>
                      <a:pt x="860" y="673"/>
                      <a:pt x="860" y="673"/>
                    </a:cubicBezTo>
                    <a:cubicBezTo>
                      <a:pt x="860" y="671"/>
                      <a:pt x="860" y="671"/>
                      <a:pt x="860" y="671"/>
                    </a:cubicBezTo>
                    <a:cubicBezTo>
                      <a:pt x="862" y="671"/>
                      <a:pt x="862" y="671"/>
                      <a:pt x="862" y="671"/>
                    </a:cubicBezTo>
                    <a:cubicBezTo>
                      <a:pt x="865" y="673"/>
                      <a:pt x="865" y="673"/>
                      <a:pt x="865" y="673"/>
                    </a:cubicBezTo>
                    <a:cubicBezTo>
                      <a:pt x="865" y="677"/>
                      <a:pt x="865" y="677"/>
                      <a:pt x="865" y="677"/>
                    </a:cubicBezTo>
                    <a:cubicBezTo>
                      <a:pt x="864" y="679"/>
                      <a:pt x="864" y="679"/>
                      <a:pt x="864" y="679"/>
                    </a:cubicBezTo>
                    <a:cubicBezTo>
                      <a:pt x="866" y="682"/>
                      <a:pt x="866" y="682"/>
                      <a:pt x="866" y="682"/>
                    </a:cubicBezTo>
                    <a:cubicBezTo>
                      <a:pt x="869" y="681"/>
                      <a:pt x="869" y="681"/>
                      <a:pt x="869" y="681"/>
                    </a:cubicBezTo>
                    <a:cubicBezTo>
                      <a:pt x="871" y="683"/>
                      <a:pt x="871" y="683"/>
                      <a:pt x="871" y="683"/>
                    </a:cubicBezTo>
                    <a:cubicBezTo>
                      <a:pt x="870" y="686"/>
                      <a:pt x="870" y="686"/>
                      <a:pt x="870" y="686"/>
                    </a:cubicBezTo>
                    <a:cubicBezTo>
                      <a:pt x="866" y="687"/>
                      <a:pt x="866" y="687"/>
                      <a:pt x="866" y="687"/>
                    </a:cubicBezTo>
                    <a:cubicBezTo>
                      <a:pt x="865" y="689"/>
                      <a:pt x="865" y="689"/>
                      <a:pt x="865" y="689"/>
                    </a:cubicBezTo>
                    <a:cubicBezTo>
                      <a:pt x="868" y="690"/>
                      <a:pt x="868" y="690"/>
                      <a:pt x="868" y="690"/>
                    </a:cubicBezTo>
                    <a:cubicBezTo>
                      <a:pt x="872" y="687"/>
                      <a:pt x="872" y="687"/>
                      <a:pt x="872" y="687"/>
                    </a:cubicBezTo>
                    <a:cubicBezTo>
                      <a:pt x="874" y="683"/>
                      <a:pt x="874" y="683"/>
                      <a:pt x="874" y="683"/>
                    </a:cubicBezTo>
                    <a:cubicBezTo>
                      <a:pt x="879" y="682"/>
                      <a:pt x="879" y="682"/>
                      <a:pt x="879" y="682"/>
                    </a:cubicBezTo>
                    <a:cubicBezTo>
                      <a:pt x="883" y="682"/>
                      <a:pt x="883" y="682"/>
                      <a:pt x="883" y="682"/>
                    </a:cubicBezTo>
                    <a:cubicBezTo>
                      <a:pt x="883" y="684"/>
                      <a:pt x="883" y="684"/>
                      <a:pt x="883" y="684"/>
                    </a:cubicBezTo>
                    <a:cubicBezTo>
                      <a:pt x="880" y="685"/>
                      <a:pt x="880" y="685"/>
                      <a:pt x="880" y="685"/>
                    </a:cubicBezTo>
                    <a:cubicBezTo>
                      <a:pt x="878" y="687"/>
                      <a:pt x="878" y="687"/>
                      <a:pt x="878" y="687"/>
                    </a:cubicBezTo>
                    <a:cubicBezTo>
                      <a:pt x="878" y="691"/>
                      <a:pt x="878" y="691"/>
                      <a:pt x="878" y="691"/>
                    </a:cubicBezTo>
                    <a:cubicBezTo>
                      <a:pt x="872" y="694"/>
                      <a:pt x="872" y="694"/>
                      <a:pt x="872" y="694"/>
                    </a:cubicBezTo>
                    <a:cubicBezTo>
                      <a:pt x="871" y="697"/>
                      <a:pt x="871" y="697"/>
                      <a:pt x="871" y="697"/>
                    </a:cubicBezTo>
                    <a:cubicBezTo>
                      <a:pt x="866" y="702"/>
                      <a:pt x="866" y="702"/>
                      <a:pt x="866" y="702"/>
                    </a:cubicBezTo>
                    <a:cubicBezTo>
                      <a:pt x="866" y="704"/>
                      <a:pt x="866" y="704"/>
                      <a:pt x="866" y="704"/>
                    </a:cubicBezTo>
                    <a:cubicBezTo>
                      <a:pt x="864" y="706"/>
                      <a:pt x="864" y="706"/>
                      <a:pt x="864" y="706"/>
                    </a:cubicBezTo>
                    <a:cubicBezTo>
                      <a:pt x="864" y="703"/>
                      <a:pt x="864" y="703"/>
                      <a:pt x="864" y="703"/>
                    </a:cubicBezTo>
                    <a:cubicBezTo>
                      <a:pt x="861" y="706"/>
                      <a:pt x="861" y="706"/>
                      <a:pt x="861" y="706"/>
                    </a:cubicBezTo>
                    <a:cubicBezTo>
                      <a:pt x="860" y="712"/>
                      <a:pt x="860" y="712"/>
                      <a:pt x="860" y="712"/>
                    </a:cubicBezTo>
                    <a:cubicBezTo>
                      <a:pt x="860" y="715"/>
                      <a:pt x="860" y="715"/>
                      <a:pt x="860" y="715"/>
                    </a:cubicBezTo>
                    <a:cubicBezTo>
                      <a:pt x="863" y="713"/>
                      <a:pt x="863" y="713"/>
                      <a:pt x="863" y="713"/>
                    </a:cubicBezTo>
                    <a:cubicBezTo>
                      <a:pt x="865" y="713"/>
                      <a:pt x="865" y="713"/>
                      <a:pt x="865" y="713"/>
                    </a:cubicBezTo>
                    <a:cubicBezTo>
                      <a:pt x="865" y="716"/>
                      <a:pt x="865" y="716"/>
                      <a:pt x="865" y="716"/>
                    </a:cubicBezTo>
                    <a:cubicBezTo>
                      <a:pt x="861" y="719"/>
                      <a:pt x="861" y="719"/>
                      <a:pt x="861" y="719"/>
                    </a:cubicBezTo>
                    <a:cubicBezTo>
                      <a:pt x="861" y="721"/>
                      <a:pt x="861" y="721"/>
                      <a:pt x="861" y="721"/>
                    </a:cubicBezTo>
                    <a:cubicBezTo>
                      <a:pt x="866" y="720"/>
                      <a:pt x="866" y="720"/>
                      <a:pt x="866" y="720"/>
                    </a:cubicBezTo>
                    <a:cubicBezTo>
                      <a:pt x="869" y="717"/>
                      <a:pt x="869" y="717"/>
                      <a:pt x="869" y="717"/>
                    </a:cubicBezTo>
                    <a:cubicBezTo>
                      <a:pt x="871" y="718"/>
                      <a:pt x="871" y="718"/>
                      <a:pt x="871" y="718"/>
                    </a:cubicBezTo>
                    <a:cubicBezTo>
                      <a:pt x="869" y="721"/>
                      <a:pt x="869" y="721"/>
                      <a:pt x="869" y="721"/>
                    </a:cubicBezTo>
                    <a:cubicBezTo>
                      <a:pt x="866" y="723"/>
                      <a:pt x="866" y="723"/>
                      <a:pt x="866" y="723"/>
                    </a:cubicBezTo>
                    <a:cubicBezTo>
                      <a:pt x="869" y="724"/>
                      <a:pt x="869" y="724"/>
                      <a:pt x="869" y="724"/>
                    </a:cubicBezTo>
                    <a:cubicBezTo>
                      <a:pt x="872" y="723"/>
                      <a:pt x="872" y="723"/>
                      <a:pt x="872" y="723"/>
                    </a:cubicBezTo>
                    <a:cubicBezTo>
                      <a:pt x="870" y="727"/>
                      <a:pt x="870" y="727"/>
                      <a:pt x="870" y="727"/>
                    </a:cubicBezTo>
                    <a:cubicBezTo>
                      <a:pt x="870" y="730"/>
                      <a:pt x="870" y="730"/>
                      <a:pt x="870" y="730"/>
                    </a:cubicBezTo>
                    <a:cubicBezTo>
                      <a:pt x="867" y="733"/>
                      <a:pt x="867" y="733"/>
                      <a:pt x="867" y="733"/>
                    </a:cubicBezTo>
                    <a:cubicBezTo>
                      <a:pt x="863" y="731"/>
                      <a:pt x="863" y="731"/>
                      <a:pt x="863" y="731"/>
                    </a:cubicBezTo>
                    <a:cubicBezTo>
                      <a:pt x="861" y="728"/>
                      <a:pt x="861" y="728"/>
                      <a:pt x="861" y="728"/>
                    </a:cubicBezTo>
                    <a:cubicBezTo>
                      <a:pt x="856" y="730"/>
                      <a:pt x="856" y="730"/>
                      <a:pt x="856" y="730"/>
                    </a:cubicBezTo>
                    <a:cubicBezTo>
                      <a:pt x="855" y="725"/>
                      <a:pt x="855" y="725"/>
                      <a:pt x="855" y="725"/>
                    </a:cubicBezTo>
                    <a:cubicBezTo>
                      <a:pt x="853" y="725"/>
                      <a:pt x="853" y="725"/>
                      <a:pt x="853" y="725"/>
                    </a:cubicBezTo>
                    <a:cubicBezTo>
                      <a:pt x="852" y="730"/>
                      <a:pt x="852" y="730"/>
                      <a:pt x="852" y="730"/>
                    </a:cubicBezTo>
                    <a:cubicBezTo>
                      <a:pt x="855" y="733"/>
                      <a:pt x="855" y="733"/>
                      <a:pt x="855" y="733"/>
                    </a:cubicBezTo>
                    <a:cubicBezTo>
                      <a:pt x="856" y="738"/>
                      <a:pt x="856" y="738"/>
                      <a:pt x="856" y="738"/>
                    </a:cubicBezTo>
                    <a:cubicBezTo>
                      <a:pt x="855" y="746"/>
                      <a:pt x="855" y="746"/>
                      <a:pt x="855" y="746"/>
                    </a:cubicBezTo>
                    <a:cubicBezTo>
                      <a:pt x="858" y="739"/>
                      <a:pt x="858" y="739"/>
                      <a:pt x="858" y="739"/>
                    </a:cubicBezTo>
                    <a:cubicBezTo>
                      <a:pt x="857" y="733"/>
                      <a:pt x="857" y="733"/>
                      <a:pt x="857" y="733"/>
                    </a:cubicBezTo>
                    <a:cubicBezTo>
                      <a:pt x="859" y="731"/>
                      <a:pt x="859" y="731"/>
                      <a:pt x="859" y="731"/>
                    </a:cubicBezTo>
                    <a:cubicBezTo>
                      <a:pt x="862" y="733"/>
                      <a:pt x="862" y="733"/>
                      <a:pt x="862" y="733"/>
                    </a:cubicBezTo>
                    <a:cubicBezTo>
                      <a:pt x="866" y="734"/>
                      <a:pt x="866" y="734"/>
                      <a:pt x="866" y="734"/>
                    </a:cubicBezTo>
                    <a:cubicBezTo>
                      <a:pt x="869" y="736"/>
                      <a:pt x="869" y="736"/>
                      <a:pt x="869" y="736"/>
                    </a:cubicBezTo>
                    <a:cubicBezTo>
                      <a:pt x="872" y="734"/>
                      <a:pt x="872" y="734"/>
                      <a:pt x="872" y="734"/>
                    </a:cubicBezTo>
                    <a:cubicBezTo>
                      <a:pt x="872" y="730"/>
                      <a:pt x="872" y="730"/>
                      <a:pt x="872" y="730"/>
                    </a:cubicBezTo>
                    <a:cubicBezTo>
                      <a:pt x="877" y="728"/>
                      <a:pt x="877" y="728"/>
                      <a:pt x="877" y="728"/>
                    </a:cubicBezTo>
                    <a:cubicBezTo>
                      <a:pt x="880" y="725"/>
                      <a:pt x="880" y="725"/>
                      <a:pt x="880" y="725"/>
                    </a:cubicBezTo>
                    <a:cubicBezTo>
                      <a:pt x="884" y="725"/>
                      <a:pt x="884" y="725"/>
                      <a:pt x="884" y="725"/>
                    </a:cubicBezTo>
                    <a:cubicBezTo>
                      <a:pt x="887" y="721"/>
                      <a:pt x="887" y="721"/>
                      <a:pt x="887" y="721"/>
                    </a:cubicBezTo>
                    <a:cubicBezTo>
                      <a:pt x="883" y="723"/>
                      <a:pt x="883" y="723"/>
                      <a:pt x="883" y="723"/>
                    </a:cubicBezTo>
                    <a:cubicBezTo>
                      <a:pt x="880" y="723"/>
                      <a:pt x="880" y="723"/>
                      <a:pt x="880" y="723"/>
                    </a:cubicBezTo>
                    <a:cubicBezTo>
                      <a:pt x="878" y="725"/>
                      <a:pt x="878" y="725"/>
                      <a:pt x="878" y="725"/>
                    </a:cubicBezTo>
                    <a:cubicBezTo>
                      <a:pt x="875" y="727"/>
                      <a:pt x="875" y="727"/>
                      <a:pt x="875" y="727"/>
                    </a:cubicBezTo>
                    <a:cubicBezTo>
                      <a:pt x="874" y="727"/>
                      <a:pt x="874" y="727"/>
                      <a:pt x="874" y="727"/>
                    </a:cubicBezTo>
                    <a:cubicBezTo>
                      <a:pt x="876" y="722"/>
                      <a:pt x="876" y="722"/>
                      <a:pt x="876" y="722"/>
                    </a:cubicBezTo>
                    <a:cubicBezTo>
                      <a:pt x="878" y="721"/>
                      <a:pt x="878" y="721"/>
                      <a:pt x="878" y="721"/>
                    </a:cubicBezTo>
                    <a:cubicBezTo>
                      <a:pt x="877" y="718"/>
                      <a:pt x="877" y="718"/>
                      <a:pt x="877" y="718"/>
                    </a:cubicBezTo>
                    <a:cubicBezTo>
                      <a:pt x="877" y="716"/>
                      <a:pt x="877" y="716"/>
                      <a:pt x="877" y="716"/>
                    </a:cubicBezTo>
                    <a:cubicBezTo>
                      <a:pt x="879" y="710"/>
                      <a:pt x="879" y="710"/>
                      <a:pt x="879" y="710"/>
                    </a:cubicBezTo>
                    <a:cubicBezTo>
                      <a:pt x="879" y="708"/>
                      <a:pt x="879" y="708"/>
                      <a:pt x="879" y="708"/>
                    </a:cubicBezTo>
                    <a:cubicBezTo>
                      <a:pt x="877" y="706"/>
                      <a:pt x="877" y="706"/>
                      <a:pt x="877" y="706"/>
                    </a:cubicBezTo>
                    <a:cubicBezTo>
                      <a:pt x="878" y="704"/>
                      <a:pt x="878" y="704"/>
                      <a:pt x="878" y="704"/>
                    </a:cubicBezTo>
                    <a:cubicBezTo>
                      <a:pt x="882" y="699"/>
                      <a:pt x="882" y="699"/>
                      <a:pt x="882" y="699"/>
                    </a:cubicBezTo>
                    <a:cubicBezTo>
                      <a:pt x="883" y="695"/>
                      <a:pt x="883" y="695"/>
                      <a:pt x="883" y="695"/>
                    </a:cubicBezTo>
                    <a:cubicBezTo>
                      <a:pt x="887" y="692"/>
                      <a:pt x="887" y="692"/>
                      <a:pt x="887" y="692"/>
                    </a:cubicBezTo>
                    <a:cubicBezTo>
                      <a:pt x="888" y="693"/>
                      <a:pt x="888" y="693"/>
                      <a:pt x="888" y="693"/>
                    </a:cubicBezTo>
                    <a:cubicBezTo>
                      <a:pt x="887" y="695"/>
                      <a:pt x="887" y="695"/>
                      <a:pt x="887" y="695"/>
                    </a:cubicBezTo>
                    <a:cubicBezTo>
                      <a:pt x="889" y="694"/>
                      <a:pt x="889" y="694"/>
                      <a:pt x="889" y="694"/>
                    </a:cubicBezTo>
                    <a:cubicBezTo>
                      <a:pt x="891" y="691"/>
                      <a:pt x="891" y="691"/>
                      <a:pt x="891" y="691"/>
                    </a:cubicBezTo>
                    <a:cubicBezTo>
                      <a:pt x="892" y="693"/>
                      <a:pt x="892" y="693"/>
                      <a:pt x="892" y="693"/>
                    </a:cubicBezTo>
                    <a:cubicBezTo>
                      <a:pt x="894" y="693"/>
                      <a:pt x="894" y="693"/>
                      <a:pt x="894" y="693"/>
                    </a:cubicBezTo>
                    <a:cubicBezTo>
                      <a:pt x="895" y="695"/>
                      <a:pt x="895" y="695"/>
                      <a:pt x="895" y="695"/>
                    </a:cubicBezTo>
                    <a:cubicBezTo>
                      <a:pt x="898" y="694"/>
                      <a:pt x="898" y="694"/>
                      <a:pt x="898" y="694"/>
                    </a:cubicBezTo>
                    <a:cubicBezTo>
                      <a:pt x="901" y="691"/>
                      <a:pt x="901" y="691"/>
                      <a:pt x="901" y="691"/>
                    </a:cubicBezTo>
                    <a:cubicBezTo>
                      <a:pt x="909" y="688"/>
                      <a:pt x="909" y="688"/>
                      <a:pt x="909" y="688"/>
                    </a:cubicBezTo>
                    <a:cubicBezTo>
                      <a:pt x="911" y="684"/>
                      <a:pt x="911" y="684"/>
                      <a:pt x="911" y="684"/>
                    </a:cubicBezTo>
                    <a:cubicBezTo>
                      <a:pt x="911" y="682"/>
                      <a:pt x="911" y="682"/>
                      <a:pt x="911" y="682"/>
                    </a:cubicBezTo>
                    <a:cubicBezTo>
                      <a:pt x="913" y="682"/>
                      <a:pt x="913" y="682"/>
                      <a:pt x="913" y="682"/>
                    </a:cubicBezTo>
                    <a:cubicBezTo>
                      <a:pt x="917" y="678"/>
                      <a:pt x="917" y="678"/>
                      <a:pt x="917" y="678"/>
                    </a:cubicBezTo>
                    <a:cubicBezTo>
                      <a:pt x="922" y="677"/>
                      <a:pt x="922" y="677"/>
                      <a:pt x="922" y="677"/>
                    </a:cubicBezTo>
                    <a:cubicBezTo>
                      <a:pt x="925" y="675"/>
                      <a:pt x="925" y="675"/>
                      <a:pt x="925" y="675"/>
                    </a:cubicBezTo>
                    <a:cubicBezTo>
                      <a:pt x="925" y="672"/>
                      <a:pt x="925" y="672"/>
                      <a:pt x="925" y="672"/>
                    </a:cubicBezTo>
                    <a:cubicBezTo>
                      <a:pt x="926" y="667"/>
                      <a:pt x="926" y="667"/>
                      <a:pt x="926" y="667"/>
                    </a:cubicBezTo>
                    <a:cubicBezTo>
                      <a:pt x="928" y="663"/>
                      <a:pt x="928" y="663"/>
                      <a:pt x="928" y="663"/>
                    </a:cubicBezTo>
                    <a:cubicBezTo>
                      <a:pt x="929" y="660"/>
                      <a:pt x="929" y="660"/>
                      <a:pt x="929" y="660"/>
                    </a:cubicBezTo>
                    <a:cubicBezTo>
                      <a:pt x="928" y="658"/>
                      <a:pt x="928" y="658"/>
                      <a:pt x="928" y="658"/>
                    </a:cubicBezTo>
                    <a:cubicBezTo>
                      <a:pt x="925" y="660"/>
                      <a:pt x="925" y="660"/>
                      <a:pt x="925" y="660"/>
                    </a:cubicBezTo>
                    <a:cubicBezTo>
                      <a:pt x="922" y="660"/>
                      <a:pt x="922" y="660"/>
                      <a:pt x="922" y="660"/>
                    </a:cubicBezTo>
                    <a:cubicBezTo>
                      <a:pt x="923" y="662"/>
                      <a:pt x="923" y="662"/>
                      <a:pt x="923" y="662"/>
                    </a:cubicBezTo>
                    <a:cubicBezTo>
                      <a:pt x="921" y="665"/>
                      <a:pt x="921" y="665"/>
                      <a:pt x="921" y="665"/>
                    </a:cubicBezTo>
                    <a:cubicBezTo>
                      <a:pt x="918" y="665"/>
                      <a:pt x="918" y="665"/>
                      <a:pt x="918" y="665"/>
                    </a:cubicBezTo>
                    <a:cubicBezTo>
                      <a:pt x="916" y="664"/>
                      <a:pt x="916" y="664"/>
                      <a:pt x="916" y="664"/>
                    </a:cubicBezTo>
                    <a:cubicBezTo>
                      <a:pt x="913" y="664"/>
                      <a:pt x="913" y="664"/>
                      <a:pt x="913" y="664"/>
                    </a:cubicBezTo>
                    <a:cubicBezTo>
                      <a:pt x="912" y="663"/>
                      <a:pt x="912" y="663"/>
                      <a:pt x="912" y="663"/>
                    </a:cubicBezTo>
                    <a:cubicBezTo>
                      <a:pt x="915" y="658"/>
                      <a:pt x="915" y="658"/>
                      <a:pt x="915" y="658"/>
                    </a:cubicBezTo>
                    <a:cubicBezTo>
                      <a:pt x="917" y="658"/>
                      <a:pt x="917" y="658"/>
                      <a:pt x="917" y="658"/>
                    </a:cubicBezTo>
                    <a:cubicBezTo>
                      <a:pt x="920" y="655"/>
                      <a:pt x="920" y="655"/>
                      <a:pt x="920" y="655"/>
                    </a:cubicBezTo>
                    <a:cubicBezTo>
                      <a:pt x="924" y="653"/>
                      <a:pt x="924" y="653"/>
                      <a:pt x="924" y="653"/>
                    </a:cubicBezTo>
                    <a:cubicBezTo>
                      <a:pt x="925" y="651"/>
                      <a:pt x="925" y="651"/>
                      <a:pt x="925" y="651"/>
                    </a:cubicBezTo>
                    <a:cubicBezTo>
                      <a:pt x="923" y="649"/>
                      <a:pt x="923" y="649"/>
                      <a:pt x="923" y="649"/>
                    </a:cubicBezTo>
                    <a:cubicBezTo>
                      <a:pt x="926" y="645"/>
                      <a:pt x="926" y="645"/>
                      <a:pt x="926" y="645"/>
                    </a:cubicBezTo>
                    <a:cubicBezTo>
                      <a:pt x="930" y="644"/>
                      <a:pt x="930" y="644"/>
                      <a:pt x="930" y="644"/>
                    </a:cubicBezTo>
                    <a:cubicBezTo>
                      <a:pt x="935" y="645"/>
                      <a:pt x="935" y="645"/>
                      <a:pt x="935" y="645"/>
                    </a:cubicBezTo>
                    <a:cubicBezTo>
                      <a:pt x="931" y="647"/>
                      <a:pt x="931" y="647"/>
                      <a:pt x="931" y="647"/>
                    </a:cubicBezTo>
                    <a:cubicBezTo>
                      <a:pt x="931" y="651"/>
                      <a:pt x="931" y="651"/>
                      <a:pt x="931" y="651"/>
                    </a:cubicBezTo>
                    <a:cubicBezTo>
                      <a:pt x="932" y="652"/>
                      <a:pt x="932" y="652"/>
                      <a:pt x="932" y="652"/>
                    </a:cubicBezTo>
                    <a:cubicBezTo>
                      <a:pt x="936" y="650"/>
                      <a:pt x="936" y="650"/>
                      <a:pt x="936" y="650"/>
                    </a:cubicBezTo>
                    <a:cubicBezTo>
                      <a:pt x="939" y="643"/>
                      <a:pt x="939" y="643"/>
                      <a:pt x="939" y="643"/>
                    </a:cubicBezTo>
                    <a:cubicBezTo>
                      <a:pt x="939" y="640"/>
                      <a:pt x="939" y="640"/>
                      <a:pt x="939" y="640"/>
                    </a:cubicBezTo>
                    <a:cubicBezTo>
                      <a:pt x="935" y="639"/>
                      <a:pt x="935" y="639"/>
                      <a:pt x="935" y="639"/>
                    </a:cubicBezTo>
                    <a:cubicBezTo>
                      <a:pt x="932" y="639"/>
                      <a:pt x="932" y="639"/>
                      <a:pt x="932" y="639"/>
                    </a:cubicBezTo>
                    <a:cubicBezTo>
                      <a:pt x="930" y="637"/>
                      <a:pt x="930" y="637"/>
                      <a:pt x="930" y="637"/>
                    </a:cubicBezTo>
                    <a:cubicBezTo>
                      <a:pt x="924" y="636"/>
                      <a:pt x="924" y="636"/>
                      <a:pt x="924" y="636"/>
                    </a:cubicBezTo>
                    <a:cubicBezTo>
                      <a:pt x="922" y="631"/>
                      <a:pt x="922" y="631"/>
                      <a:pt x="922" y="631"/>
                    </a:cubicBezTo>
                    <a:cubicBezTo>
                      <a:pt x="923" y="627"/>
                      <a:pt x="923" y="627"/>
                      <a:pt x="923" y="627"/>
                    </a:cubicBezTo>
                    <a:cubicBezTo>
                      <a:pt x="920" y="631"/>
                      <a:pt x="920" y="631"/>
                      <a:pt x="920" y="631"/>
                    </a:cubicBezTo>
                    <a:cubicBezTo>
                      <a:pt x="918" y="631"/>
                      <a:pt x="918" y="631"/>
                      <a:pt x="918" y="631"/>
                    </a:cubicBezTo>
                    <a:cubicBezTo>
                      <a:pt x="916" y="627"/>
                      <a:pt x="916" y="627"/>
                      <a:pt x="916" y="627"/>
                    </a:cubicBezTo>
                    <a:cubicBezTo>
                      <a:pt x="913" y="625"/>
                      <a:pt x="913" y="625"/>
                      <a:pt x="913" y="625"/>
                    </a:cubicBezTo>
                    <a:cubicBezTo>
                      <a:pt x="912" y="621"/>
                      <a:pt x="912" y="621"/>
                      <a:pt x="912" y="621"/>
                    </a:cubicBezTo>
                    <a:cubicBezTo>
                      <a:pt x="910" y="620"/>
                      <a:pt x="910" y="620"/>
                      <a:pt x="910" y="620"/>
                    </a:cubicBezTo>
                    <a:cubicBezTo>
                      <a:pt x="908" y="621"/>
                      <a:pt x="908" y="621"/>
                      <a:pt x="908" y="621"/>
                    </a:cubicBezTo>
                    <a:cubicBezTo>
                      <a:pt x="907" y="618"/>
                      <a:pt x="907" y="618"/>
                      <a:pt x="907" y="618"/>
                    </a:cubicBezTo>
                    <a:cubicBezTo>
                      <a:pt x="906" y="616"/>
                      <a:pt x="906" y="616"/>
                      <a:pt x="906" y="616"/>
                    </a:cubicBezTo>
                    <a:cubicBezTo>
                      <a:pt x="907" y="613"/>
                      <a:pt x="907" y="613"/>
                      <a:pt x="907" y="613"/>
                    </a:cubicBezTo>
                    <a:cubicBezTo>
                      <a:pt x="907" y="610"/>
                      <a:pt x="907" y="610"/>
                      <a:pt x="907" y="610"/>
                    </a:cubicBezTo>
                    <a:cubicBezTo>
                      <a:pt x="906" y="607"/>
                      <a:pt x="906" y="607"/>
                      <a:pt x="906" y="607"/>
                    </a:cubicBezTo>
                    <a:cubicBezTo>
                      <a:pt x="906" y="598"/>
                      <a:pt x="906" y="598"/>
                      <a:pt x="906" y="598"/>
                    </a:cubicBezTo>
                    <a:cubicBezTo>
                      <a:pt x="909" y="595"/>
                      <a:pt x="909" y="595"/>
                      <a:pt x="909" y="595"/>
                    </a:cubicBezTo>
                    <a:cubicBezTo>
                      <a:pt x="915" y="589"/>
                      <a:pt x="915" y="589"/>
                      <a:pt x="915" y="589"/>
                    </a:cubicBezTo>
                    <a:cubicBezTo>
                      <a:pt x="919" y="588"/>
                      <a:pt x="919" y="588"/>
                      <a:pt x="919" y="588"/>
                    </a:cubicBezTo>
                    <a:cubicBezTo>
                      <a:pt x="922" y="588"/>
                      <a:pt x="922" y="588"/>
                      <a:pt x="922" y="588"/>
                    </a:cubicBezTo>
                    <a:cubicBezTo>
                      <a:pt x="922" y="587"/>
                      <a:pt x="922" y="587"/>
                      <a:pt x="922" y="587"/>
                    </a:cubicBezTo>
                    <a:cubicBezTo>
                      <a:pt x="926" y="584"/>
                      <a:pt x="926" y="584"/>
                      <a:pt x="926" y="584"/>
                    </a:cubicBezTo>
                    <a:cubicBezTo>
                      <a:pt x="926" y="582"/>
                      <a:pt x="926" y="582"/>
                      <a:pt x="926" y="582"/>
                    </a:cubicBezTo>
                    <a:cubicBezTo>
                      <a:pt x="924" y="582"/>
                      <a:pt x="924" y="582"/>
                      <a:pt x="924" y="582"/>
                    </a:cubicBezTo>
                    <a:cubicBezTo>
                      <a:pt x="921" y="584"/>
                      <a:pt x="921" y="584"/>
                      <a:pt x="921" y="584"/>
                    </a:cubicBezTo>
                    <a:cubicBezTo>
                      <a:pt x="919" y="583"/>
                      <a:pt x="919" y="583"/>
                      <a:pt x="919" y="583"/>
                    </a:cubicBezTo>
                    <a:cubicBezTo>
                      <a:pt x="919" y="581"/>
                      <a:pt x="919" y="581"/>
                      <a:pt x="919" y="581"/>
                    </a:cubicBezTo>
                    <a:cubicBezTo>
                      <a:pt x="917" y="577"/>
                      <a:pt x="917" y="577"/>
                      <a:pt x="917" y="577"/>
                    </a:cubicBezTo>
                    <a:cubicBezTo>
                      <a:pt x="918" y="573"/>
                      <a:pt x="918" y="573"/>
                      <a:pt x="918" y="573"/>
                    </a:cubicBezTo>
                    <a:cubicBezTo>
                      <a:pt x="923" y="568"/>
                      <a:pt x="923" y="568"/>
                      <a:pt x="923" y="568"/>
                    </a:cubicBezTo>
                    <a:cubicBezTo>
                      <a:pt x="926" y="561"/>
                      <a:pt x="926" y="561"/>
                      <a:pt x="926" y="561"/>
                    </a:cubicBezTo>
                    <a:cubicBezTo>
                      <a:pt x="928" y="560"/>
                      <a:pt x="928" y="560"/>
                      <a:pt x="928" y="560"/>
                    </a:cubicBezTo>
                    <a:cubicBezTo>
                      <a:pt x="931" y="556"/>
                      <a:pt x="931" y="556"/>
                      <a:pt x="931" y="556"/>
                    </a:cubicBezTo>
                    <a:cubicBezTo>
                      <a:pt x="933" y="556"/>
                      <a:pt x="933" y="556"/>
                      <a:pt x="933" y="556"/>
                    </a:cubicBezTo>
                    <a:cubicBezTo>
                      <a:pt x="936" y="551"/>
                      <a:pt x="936" y="551"/>
                      <a:pt x="936" y="551"/>
                    </a:cubicBezTo>
                    <a:cubicBezTo>
                      <a:pt x="941" y="550"/>
                      <a:pt x="941" y="550"/>
                      <a:pt x="941" y="550"/>
                    </a:cubicBezTo>
                    <a:cubicBezTo>
                      <a:pt x="943" y="552"/>
                      <a:pt x="943" y="552"/>
                      <a:pt x="943" y="552"/>
                    </a:cubicBezTo>
                    <a:cubicBezTo>
                      <a:pt x="942" y="556"/>
                      <a:pt x="942" y="556"/>
                      <a:pt x="942" y="556"/>
                    </a:cubicBezTo>
                    <a:cubicBezTo>
                      <a:pt x="944" y="558"/>
                      <a:pt x="944" y="558"/>
                      <a:pt x="944" y="558"/>
                    </a:cubicBezTo>
                    <a:cubicBezTo>
                      <a:pt x="943" y="560"/>
                      <a:pt x="943" y="560"/>
                      <a:pt x="943" y="560"/>
                    </a:cubicBezTo>
                    <a:cubicBezTo>
                      <a:pt x="947" y="558"/>
                      <a:pt x="947" y="558"/>
                      <a:pt x="947" y="558"/>
                    </a:cubicBezTo>
                    <a:cubicBezTo>
                      <a:pt x="948" y="556"/>
                      <a:pt x="948" y="556"/>
                      <a:pt x="948" y="556"/>
                    </a:cubicBezTo>
                    <a:cubicBezTo>
                      <a:pt x="952" y="550"/>
                      <a:pt x="952" y="550"/>
                      <a:pt x="952" y="550"/>
                    </a:cubicBezTo>
                    <a:cubicBezTo>
                      <a:pt x="952" y="548"/>
                      <a:pt x="952" y="548"/>
                      <a:pt x="952" y="548"/>
                    </a:cubicBezTo>
                    <a:cubicBezTo>
                      <a:pt x="949" y="548"/>
                      <a:pt x="949" y="548"/>
                      <a:pt x="949" y="548"/>
                    </a:cubicBezTo>
                    <a:cubicBezTo>
                      <a:pt x="946" y="546"/>
                      <a:pt x="946" y="546"/>
                      <a:pt x="946" y="546"/>
                    </a:cubicBezTo>
                    <a:cubicBezTo>
                      <a:pt x="943" y="543"/>
                      <a:pt x="943" y="543"/>
                      <a:pt x="943" y="543"/>
                    </a:cubicBezTo>
                    <a:cubicBezTo>
                      <a:pt x="947" y="540"/>
                      <a:pt x="947" y="540"/>
                      <a:pt x="947" y="540"/>
                    </a:cubicBezTo>
                    <a:cubicBezTo>
                      <a:pt x="952" y="540"/>
                      <a:pt x="952" y="540"/>
                      <a:pt x="952" y="540"/>
                    </a:cubicBezTo>
                    <a:cubicBezTo>
                      <a:pt x="953" y="538"/>
                      <a:pt x="953" y="538"/>
                      <a:pt x="953" y="538"/>
                    </a:cubicBezTo>
                    <a:cubicBezTo>
                      <a:pt x="958" y="534"/>
                      <a:pt x="958" y="534"/>
                      <a:pt x="958" y="534"/>
                    </a:cubicBezTo>
                    <a:cubicBezTo>
                      <a:pt x="958" y="531"/>
                      <a:pt x="958" y="531"/>
                      <a:pt x="958" y="531"/>
                    </a:cubicBezTo>
                    <a:cubicBezTo>
                      <a:pt x="961" y="530"/>
                      <a:pt x="961" y="530"/>
                      <a:pt x="961" y="530"/>
                    </a:cubicBezTo>
                    <a:cubicBezTo>
                      <a:pt x="965" y="531"/>
                      <a:pt x="965" y="531"/>
                      <a:pt x="965" y="531"/>
                    </a:cubicBezTo>
                    <a:cubicBezTo>
                      <a:pt x="972" y="533"/>
                      <a:pt x="972" y="533"/>
                      <a:pt x="972" y="533"/>
                    </a:cubicBezTo>
                    <a:cubicBezTo>
                      <a:pt x="972" y="536"/>
                      <a:pt x="972" y="536"/>
                      <a:pt x="972" y="536"/>
                    </a:cubicBezTo>
                    <a:cubicBezTo>
                      <a:pt x="971" y="538"/>
                      <a:pt x="971" y="538"/>
                      <a:pt x="971" y="538"/>
                    </a:cubicBezTo>
                    <a:cubicBezTo>
                      <a:pt x="974" y="539"/>
                      <a:pt x="974" y="539"/>
                      <a:pt x="974" y="539"/>
                    </a:cubicBezTo>
                    <a:cubicBezTo>
                      <a:pt x="977" y="542"/>
                      <a:pt x="977" y="542"/>
                      <a:pt x="977" y="542"/>
                    </a:cubicBezTo>
                    <a:cubicBezTo>
                      <a:pt x="979" y="544"/>
                      <a:pt x="979" y="544"/>
                      <a:pt x="979" y="544"/>
                    </a:cubicBezTo>
                    <a:cubicBezTo>
                      <a:pt x="978" y="547"/>
                      <a:pt x="978" y="547"/>
                      <a:pt x="978" y="547"/>
                    </a:cubicBezTo>
                    <a:cubicBezTo>
                      <a:pt x="976" y="548"/>
                      <a:pt x="976" y="548"/>
                      <a:pt x="976" y="548"/>
                    </a:cubicBezTo>
                    <a:cubicBezTo>
                      <a:pt x="977" y="551"/>
                      <a:pt x="977" y="551"/>
                      <a:pt x="977" y="551"/>
                    </a:cubicBezTo>
                    <a:cubicBezTo>
                      <a:pt x="976" y="554"/>
                      <a:pt x="976" y="554"/>
                      <a:pt x="976" y="554"/>
                    </a:cubicBezTo>
                    <a:cubicBezTo>
                      <a:pt x="980" y="557"/>
                      <a:pt x="980" y="557"/>
                      <a:pt x="980" y="557"/>
                    </a:cubicBezTo>
                    <a:cubicBezTo>
                      <a:pt x="981" y="560"/>
                      <a:pt x="981" y="560"/>
                      <a:pt x="981" y="560"/>
                    </a:cubicBezTo>
                    <a:cubicBezTo>
                      <a:pt x="980" y="566"/>
                      <a:pt x="980" y="566"/>
                      <a:pt x="980" y="566"/>
                    </a:cubicBezTo>
                    <a:cubicBezTo>
                      <a:pt x="982" y="568"/>
                      <a:pt x="982" y="568"/>
                      <a:pt x="982" y="568"/>
                    </a:cubicBezTo>
                    <a:cubicBezTo>
                      <a:pt x="982" y="570"/>
                      <a:pt x="982" y="570"/>
                      <a:pt x="982" y="570"/>
                    </a:cubicBezTo>
                    <a:cubicBezTo>
                      <a:pt x="980" y="573"/>
                      <a:pt x="980" y="573"/>
                      <a:pt x="980" y="573"/>
                    </a:cubicBezTo>
                    <a:cubicBezTo>
                      <a:pt x="979" y="576"/>
                      <a:pt x="979" y="576"/>
                      <a:pt x="979" y="576"/>
                    </a:cubicBezTo>
                    <a:cubicBezTo>
                      <a:pt x="977" y="580"/>
                      <a:pt x="977" y="580"/>
                      <a:pt x="977" y="580"/>
                    </a:cubicBezTo>
                    <a:cubicBezTo>
                      <a:pt x="976" y="585"/>
                      <a:pt x="976" y="585"/>
                      <a:pt x="976" y="585"/>
                    </a:cubicBezTo>
                    <a:cubicBezTo>
                      <a:pt x="975" y="586"/>
                      <a:pt x="975" y="586"/>
                      <a:pt x="975" y="586"/>
                    </a:cubicBezTo>
                    <a:cubicBezTo>
                      <a:pt x="976" y="590"/>
                      <a:pt x="976" y="590"/>
                      <a:pt x="976" y="590"/>
                    </a:cubicBezTo>
                    <a:cubicBezTo>
                      <a:pt x="975" y="593"/>
                      <a:pt x="975" y="593"/>
                      <a:pt x="975" y="593"/>
                    </a:cubicBezTo>
                    <a:cubicBezTo>
                      <a:pt x="979" y="598"/>
                      <a:pt x="979" y="598"/>
                      <a:pt x="979" y="598"/>
                    </a:cubicBezTo>
                    <a:cubicBezTo>
                      <a:pt x="979" y="601"/>
                      <a:pt x="979" y="601"/>
                      <a:pt x="979" y="601"/>
                    </a:cubicBezTo>
                    <a:cubicBezTo>
                      <a:pt x="978" y="602"/>
                      <a:pt x="978" y="602"/>
                      <a:pt x="978" y="602"/>
                    </a:cubicBezTo>
                    <a:cubicBezTo>
                      <a:pt x="979" y="605"/>
                      <a:pt x="979" y="605"/>
                      <a:pt x="979" y="605"/>
                    </a:cubicBezTo>
                    <a:cubicBezTo>
                      <a:pt x="978" y="608"/>
                      <a:pt x="978" y="608"/>
                      <a:pt x="978" y="608"/>
                    </a:cubicBezTo>
                    <a:cubicBezTo>
                      <a:pt x="978" y="611"/>
                      <a:pt x="978" y="611"/>
                      <a:pt x="978" y="611"/>
                    </a:cubicBezTo>
                    <a:cubicBezTo>
                      <a:pt x="980" y="612"/>
                      <a:pt x="980" y="612"/>
                      <a:pt x="980" y="612"/>
                    </a:cubicBezTo>
                    <a:cubicBezTo>
                      <a:pt x="983" y="615"/>
                      <a:pt x="983" y="615"/>
                      <a:pt x="983" y="615"/>
                    </a:cubicBezTo>
                    <a:cubicBezTo>
                      <a:pt x="982" y="618"/>
                      <a:pt x="982" y="618"/>
                      <a:pt x="982" y="618"/>
                    </a:cubicBezTo>
                    <a:cubicBezTo>
                      <a:pt x="979" y="620"/>
                      <a:pt x="979" y="620"/>
                      <a:pt x="979" y="620"/>
                    </a:cubicBezTo>
                    <a:cubicBezTo>
                      <a:pt x="977" y="619"/>
                      <a:pt x="977" y="619"/>
                      <a:pt x="977" y="619"/>
                    </a:cubicBezTo>
                    <a:cubicBezTo>
                      <a:pt x="974" y="620"/>
                      <a:pt x="974" y="620"/>
                      <a:pt x="974" y="620"/>
                    </a:cubicBezTo>
                    <a:cubicBezTo>
                      <a:pt x="972" y="616"/>
                      <a:pt x="972" y="616"/>
                      <a:pt x="972" y="616"/>
                    </a:cubicBezTo>
                    <a:cubicBezTo>
                      <a:pt x="973" y="612"/>
                      <a:pt x="973" y="612"/>
                      <a:pt x="973" y="612"/>
                    </a:cubicBezTo>
                    <a:cubicBezTo>
                      <a:pt x="969" y="614"/>
                      <a:pt x="969" y="614"/>
                      <a:pt x="969" y="614"/>
                    </a:cubicBezTo>
                    <a:cubicBezTo>
                      <a:pt x="967" y="618"/>
                      <a:pt x="967" y="618"/>
                      <a:pt x="967" y="618"/>
                    </a:cubicBezTo>
                    <a:cubicBezTo>
                      <a:pt x="964" y="620"/>
                      <a:pt x="964" y="620"/>
                      <a:pt x="964" y="620"/>
                    </a:cubicBezTo>
                    <a:cubicBezTo>
                      <a:pt x="964" y="621"/>
                      <a:pt x="964" y="621"/>
                      <a:pt x="964" y="621"/>
                    </a:cubicBezTo>
                    <a:cubicBezTo>
                      <a:pt x="968" y="620"/>
                      <a:pt x="968" y="620"/>
                      <a:pt x="968" y="620"/>
                    </a:cubicBezTo>
                    <a:cubicBezTo>
                      <a:pt x="971" y="622"/>
                      <a:pt x="971" y="622"/>
                      <a:pt x="971" y="622"/>
                    </a:cubicBezTo>
                    <a:cubicBezTo>
                      <a:pt x="970" y="624"/>
                      <a:pt x="970" y="624"/>
                      <a:pt x="970" y="624"/>
                    </a:cubicBezTo>
                    <a:cubicBezTo>
                      <a:pt x="960" y="631"/>
                      <a:pt x="960" y="631"/>
                      <a:pt x="960" y="631"/>
                    </a:cubicBezTo>
                    <a:cubicBezTo>
                      <a:pt x="957" y="632"/>
                      <a:pt x="957" y="632"/>
                      <a:pt x="957" y="632"/>
                    </a:cubicBezTo>
                    <a:cubicBezTo>
                      <a:pt x="957" y="634"/>
                      <a:pt x="957" y="634"/>
                      <a:pt x="957" y="634"/>
                    </a:cubicBezTo>
                    <a:cubicBezTo>
                      <a:pt x="955" y="635"/>
                      <a:pt x="955" y="635"/>
                      <a:pt x="955" y="635"/>
                    </a:cubicBezTo>
                    <a:cubicBezTo>
                      <a:pt x="954" y="638"/>
                      <a:pt x="954" y="638"/>
                      <a:pt x="954" y="638"/>
                    </a:cubicBezTo>
                    <a:cubicBezTo>
                      <a:pt x="956" y="640"/>
                      <a:pt x="956" y="640"/>
                      <a:pt x="956" y="640"/>
                    </a:cubicBezTo>
                    <a:cubicBezTo>
                      <a:pt x="959" y="639"/>
                      <a:pt x="959" y="639"/>
                      <a:pt x="959" y="639"/>
                    </a:cubicBezTo>
                    <a:cubicBezTo>
                      <a:pt x="962" y="640"/>
                      <a:pt x="962" y="640"/>
                      <a:pt x="962" y="640"/>
                    </a:cubicBezTo>
                    <a:cubicBezTo>
                      <a:pt x="962" y="644"/>
                      <a:pt x="962" y="644"/>
                      <a:pt x="962" y="644"/>
                    </a:cubicBezTo>
                    <a:cubicBezTo>
                      <a:pt x="965" y="647"/>
                      <a:pt x="965" y="647"/>
                      <a:pt x="965" y="647"/>
                    </a:cubicBezTo>
                    <a:cubicBezTo>
                      <a:pt x="970" y="645"/>
                      <a:pt x="970" y="645"/>
                      <a:pt x="970" y="645"/>
                    </a:cubicBezTo>
                    <a:cubicBezTo>
                      <a:pt x="971" y="643"/>
                      <a:pt x="971" y="643"/>
                      <a:pt x="971" y="643"/>
                    </a:cubicBezTo>
                    <a:cubicBezTo>
                      <a:pt x="974" y="642"/>
                      <a:pt x="974" y="642"/>
                      <a:pt x="974" y="642"/>
                    </a:cubicBezTo>
                    <a:cubicBezTo>
                      <a:pt x="975" y="643"/>
                      <a:pt x="975" y="643"/>
                      <a:pt x="975" y="643"/>
                    </a:cubicBezTo>
                    <a:cubicBezTo>
                      <a:pt x="973" y="645"/>
                      <a:pt x="973" y="645"/>
                      <a:pt x="973" y="645"/>
                    </a:cubicBezTo>
                    <a:cubicBezTo>
                      <a:pt x="973" y="646"/>
                      <a:pt x="973" y="646"/>
                      <a:pt x="973" y="646"/>
                    </a:cubicBezTo>
                    <a:cubicBezTo>
                      <a:pt x="977" y="647"/>
                      <a:pt x="977" y="647"/>
                      <a:pt x="977" y="647"/>
                    </a:cubicBezTo>
                    <a:cubicBezTo>
                      <a:pt x="979" y="650"/>
                      <a:pt x="979" y="650"/>
                      <a:pt x="979" y="650"/>
                    </a:cubicBezTo>
                    <a:cubicBezTo>
                      <a:pt x="983" y="647"/>
                      <a:pt x="983" y="647"/>
                      <a:pt x="983" y="647"/>
                    </a:cubicBezTo>
                    <a:cubicBezTo>
                      <a:pt x="985" y="649"/>
                      <a:pt x="985" y="649"/>
                      <a:pt x="985" y="649"/>
                    </a:cubicBezTo>
                    <a:cubicBezTo>
                      <a:pt x="983" y="651"/>
                      <a:pt x="983" y="651"/>
                      <a:pt x="983" y="651"/>
                    </a:cubicBezTo>
                    <a:cubicBezTo>
                      <a:pt x="979" y="651"/>
                      <a:pt x="979" y="651"/>
                      <a:pt x="979" y="651"/>
                    </a:cubicBezTo>
                    <a:cubicBezTo>
                      <a:pt x="975" y="656"/>
                      <a:pt x="975" y="656"/>
                      <a:pt x="975" y="656"/>
                    </a:cubicBezTo>
                    <a:cubicBezTo>
                      <a:pt x="974" y="657"/>
                      <a:pt x="974" y="657"/>
                      <a:pt x="974" y="657"/>
                    </a:cubicBezTo>
                    <a:cubicBezTo>
                      <a:pt x="973" y="652"/>
                      <a:pt x="973" y="652"/>
                      <a:pt x="973" y="652"/>
                    </a:cubicBezTo>
                    <a:cubicBezTo>
                      <a:pt x="971" y="653"/>
                      <a:pt x="971" y="653"/>
                      <a:pt x="971" y="653"/>
                    </a:cubicBezTo>
                    <a:cubicBezTo>
                      <a:pt x="970" y="652"/>
                      <a:pt x="970" y="652"/>
                      <a:pt x="970" y="652"/>
                    </a:cubicBezTo>
                    <a:cubicBezTo>
                      <a:pt x="970" y="654"/>
                      <a:pt x="970" y="654"/>
                      <a:pt x="970" y="654"/>
                    </a:cubicBezTo>
                    <a:cubicBezTo>
                      <a:pt x="972" y="657"/>
                      <a:pt x="972" y="657"/>
                      <a:pt x="972" y="657"/>
                    </a:cubicBezTo>
                    <a:cubicBezTo>
                      <a:pt x="972" y="660"/>
                      <a:pt x="972" y="660"/>
                      <a:pt x="972" y="660"/>
                    </a:cubicBezTo>
                    <a:cubicBezTo>
                      <a:pt x="975" y="665"/>
                      <a:pt x="975" y="665"/>
                      <a:pt x="975" y="665"/>
                    </a:cubicBezTo>
                    <a:cubicBezTo>
                      <a:pt x="975" y="670"/>
                      <a:pt x="975" y="670"/>
                      <a:pt x="975" y="670"/>
                    </a:cubicBezTo>
                    <a:cubicBezTo>
                      <a:pt x="975" y="670"/>
                      <a:pt x="975" y="670"/>
                      <a:pt x="975" y="670"/>
                    </a:cubicBezTo>
                    <a:cubicBezTo>
                      <a:pt x="975" y="674"/>
                      <a:pt x="975" y="674"/>
                      <a:pt x="975" y="674"/>
                    </a:cubicBezTo>
                    <a:cubicBezTo>
                      <a:pt x="972" y="676"/>
                      <a:pt x="972" y="676"/>
                      <a:pt x="972" y="676"/>
                    </a:cubicBezTo>
                    <a:cubicBezTo>
                      <a:pt x="972" y="679"/>
                      <a:pt x="972" y="679"/>
                      <a:pt x="972" y="679"/>
                    </a:cubicBezTo>
                    <a:cubicBezTo>
                      <a:pt x="972" y="683"/>
                      <a:pt x="972" y="683"/>
                      <a:pt x="972" y="683"/>
                    </a:cubicBezTo>
                    <a:cubicBezTo>
                      <a:pt x="968" y="687"/>
                      <a:pt x="968" y="687"/>
                      <a:pt x="968" y="687"/>
                    </a:cubicBezTo>
                    <a:cubicBezTo>
                      <a:pt x="969" y="689"/>
                      <a:pt x="969" y="689"/>
                      <a:pt x="969" y="689"/>
                    </a:cubicBezTo>
                    <a:cubicBezTo>
                      <a:pt x="969" y="693"/>
                      <a:pt x="969" y="693"/>
                      <a:pt x="969" y="693"/>
                    </a:cubicBezTo>
                    <a:cubicBezTo>
                      <a:pt x="967" y="694"/>
                      <a:pt x="967" y="694"/>
                      <a:pt x="967" y="694"/>
                    </a:cubicBezTo>
                    <a:cubicBezTo>
                      <a:pt x="967" y="697"/>
                      <a:pt x="967" y="697"/>
                      <a:pt x="967" y="697"/>
                    </a:cubicBezTo>
                    <a:cubicBezTo>
                      <a:pt x="969" y="697"/>
                      <a:pt x="969" y="697"/>
                      <a:pt x="969" y="697"/>
                    </a:cubicBezTo>
                    <a:cubicBezTo>
                      <a:pt x="972" y="693"/>
                      <a:pt x="972" y="693"/>
                      <a:pt x="972" y="693"/>
                    </a:cubicBezTo>
                    <a:cubicBezTo>
                      <a:pt x="974" y="691"/>
                      <a:pt x="974" y="691"/>
                      <a:pt x="974" y="691"/>
                    </a:cubicBezTo>
                    <a:cubicBezTo>
                      <a:pt x="979" y="688"/>
                      <a:pt x="979" y="688"/>
                      <a:pt x="979" y="688"/>
                    </a:cubicBezTo>
                    <a:cubicBezTo>
                      <a:pt x="979" y="687"/>
                      <a:pt x="979" y="687"/>
                      <a:pt x="979" y="687"/>
                    </a:cubicBezTo>
                    <a:cubicBezTo>
                      <a:pt x="979" y="686"/>
                      <a:pt x="979" y="686"/>
                      <a:pt x="979" y="686"/>
                    </a:cubicBezTo>
                    <a:cubicBezTo>
                      <a:pt x="981" y="683"/>
                      <a:pt x="981" y="683"/>
                      <a:pt x="981" y="683"/>
                    </a:cubicBezTo>
                    <a:cubicBezTo>
                      <a:pt x="983" y="685"/>
                      <a:pt x="983" y="685"/>
                      <a:pt x="983" y="685"/>
                    </a:cubicBezTo>
                    <a:cubicBezTo>
                      <a:pt x="985" y="683"/>
                      <a:pt x="985" y="683"/>
                      <a:pt x="985" y="683"/>
                    </a:cubicBezTo>
                    <a:cubicBezTo>
                      <a:pt x="985" y="677"/>
                      <a:pt x="985" y="677"/>
                      <a:pt x="985" y="677"/>
                    </a:cubicBezTo>
                    <a:cubicBezTo>
                      <a:pt x="986" y="673"/>
                      <a:pt x="986" y="673"/>
                      <a:pt x="986" y="673"/>
                    </a:cubicBezTo>
                    <a:cubicBezTo>
                      <a:pt x="991" y="669"/>
                      <a:pt x="991" y="669"/>
                      <a:pt x="991" y="669"/>
                    </a:cubicBezTo>
                    <a:cubicBezTo>
                      <a:pt x="995" y="663"/>
                      <a:pt x="995" y="663"/>
                      <a:pt x="995" y="663"/>
                    </a:cubicBezTo>
                    <a:cubicBezTo>
                      <a:pt x="997" y="659"/>
                      <a:pt x="997" y="659"/>
                      <a:pt x="997" y="659"/>
                    </a:cubicBezTo>
                    <a:cubicBezTo>
                      <a:pt x="998" y="659"/>
                      <a:pt x="998" y="659"/>
                      <a:pt x="998" y="659"/>
                    </a:cubicBezTo>
                    <a:cubicBezTo>
                      <a:pt x="1000" y="660"/>
                      <a:pt x="1000" y="660"/>
                      <a:pt x="1000" y="660"/>
                    </a:cubicBezTo>
                    <a:cubicBezTo>
                      <a:pt x="1001" y="664"/>
                      <a:pt x="1001" y="664"/>
                      <a:pt x="1001" y="664"/>
                    </a:cubicBezTo>
                    <a:cubicBezTo>
                      <a:pt x="1003" y="670"/>
                      <a:pt x="1003" y="670"/>
                      <a:pt x="1003" y="670"/>
                    </a:cubicBezTo>
                    <a:cubicBezTo>
                      <a:pt x="1004" y="675"/>
                      <a:pt x="1004" y="675"/>
                      <a:pt x="1004" y="675"/>
                    </a:cubicBezTo>
                    <a:cubicBezTo>
                      <a:pt x="1008" y="679"/>
                      <a:pt x="1008" y="679"/>
                      <a:pt x="1008" y="679"/>
                    </a:cubicBezTo>
                    <a:cubicBezTo>
                      <a:pt x="1008" y="683"/>
                      <a:pt x="1008" y="683"/>
                      <a:pt x="1008" y="683"/>
                    </a:cubicBezTo>
                    <a:cubicBezTo>
                      <a:pt x="1006" y="686"/>
                      <a:pt x="1006" y="686"/>
                      <a:pt x="1006" y="686"/>
                    </a:cubicBezTo>
                    <a:cubicBezTo>
                      <a:pt x="1007" y="694"/>
                      <a:pt x="1007" y="694"/>
                      <a:pt x="1007" y="694"/>
                    </a:cubicBezTo>
                    <a:cubicBezTo>
                      <a:pt x="1005" y="698"/>
                      <a:pt x="1005" y="698"/>
                      <a:pt x="1005" y="698"/>
                    </a:cubicBezTo>
                    <a:cubicBezTo>
                      <a:pt x="1002" y="699"/>
                      <a:pt x="1002" y="699"/>
                      <a:pt x="1002" y="699"/>
                    </a:cubicBezTo>
                    <a:cubicBezTo>
                      <a:pt x="1000" y="697"/>
                      <a:pt x="1000" y="697"/>
                      <a:pt x="1000" y="697"/>
                    </a:cubicBezTo>
                    <a:cubicBezTo>
                      <a:pt x="998" y="699"/>
                      <a:pt x="998" y="699"/>
                      <a:pt x="998" y="699"/>
                    </a:cubicBezTo>
                    <a:cubicBezTo>
                      <a:pt x="996" y="702"/>
                      <a:pt x="996" y="702"/>
                      <a:pt x="996" y="702"/>
                    </a:cubicBezTo>
                    <a:cubicBezTo>
                      <a:pt x="997" y="706"/>
                      <a:pt x="997" y="706"/>
                      <a:pt x="997" y="706"/>
                    </a:cubicBezTo>
                    <a:cubicBezTo>
                      <a:pt x="994" y="709"/>
                      <a:pt x="994" y="709"/>
                      <a:pt x="994" y="709"/>
                    </a:cubicBezTo>
                    <a:cubicBezTo>
                      <a:pt x="993" y="714"/>
                      <a:pt x="993" y="714"/>
                      <a:pt x="993" y="714"/>
                    </a:cubicBezTo>
                    <a:cubicBezTo>
                      <a:pt x="994" y="716"/>
                      <a:pt x="994" y="716"/>
                      <a:pt x="994" y="716"/>
                    </a:cubicBezTo>
                    <a:cubicBezTo>
                      <a:pt x="994" y="722"/>
                      <a:pt x="994" y="722"/>
                      <a:pt x="994" y="722"/>
                    </a:cubicBezTo>
                    <a:cubicBezTo>
                      <a:pt x="997" y="735"/>
                      <a:pt x="997" y="735"/>
                      <a:pt x="997" y="735"/>
                    </a:cubicBezTo>
                    <a:cubicBezTo>
                      <a:pt x="1000" y="741"/>
                      <a:pt x="1000" y="741"/>
                      <a:pt x="1000" y="741"/>
                    </a:cubicBezTo>
                    <a:cubicBezTo>
                      <a:pt x="999" y="744"/>
                      <a:pt x="999" y="744"/>
                      <a:pt x="999" y="744"/>
                    </a:cubicBezTo>
                    <a:cubicBezTo>
                      <a:pt x="1002" y="747"/>
                      <a:pt x="1002" y="747"/>
                      <a:pt x="1002" y="747"/>
                    </a:cubicBezTo>
                    <a:cubicBezTo>
                      <a:pt x="1005" y="747"/>
                      <a:pt x="1005" y="747"/>
                      <a:pt x="1005" y="747"/>
                    </a:cubicBezTo>
                    <a:cubicBezTo>
                      <a:pt x="1004" y="742"/>
                      <a:pt x="1004" y="742"/>
                      <a:pt x="1004" y="742"/>
                    </a:cubicBezTo>
                    <a:cubicBezTo>
                      <a:pt x="1003" y="741"/>
                      <a:pt x="1003" y="741"/>
                      <a:pt x="1003" y="741"/>
                    </a:cubicBezTo>
                    <a:cubicBezTo>
                      <a:pt x="1006" y="738"/>
                      <a:pt x="1006" y="738"/>
                      <a:pt x="1006" y="738"/>
                    </a:cubicBezTo>
                    <a:cubicBezTo>
                      <a:pt x="1008" y="738"/>
                      <a:pt x="1008" y="738"/>
                      <a:pt x="1008" y="738"/>
                    </a:cubicBezTo>
                    <a:cubicBezTo>
                      <a:pt x="1010" y="743"/>
                      <a:pt x="1010" y="743"/>
                      <a:pt x="1010" y="743"/>
                    </a:cubicBezTo>
                    <a:cubicBezTo>
                      <a:pt x="1012" y="742"/>
                      <a:pt x="1012" y="742"/>
                      <a:pt x="1012" y="742"/>
                    </a:cubicBezTo>
                    <a:cubicBezTo>
                      <a:pt x="1013" y="738"/>
                      <a:pt x="1013" y="738"/>
                      <a:pt x="1013" y="738"/>
                    </a:cubicBezTo>
                    <a:cubicBezTo>
                      <a:pt x="1015" y="735"/>
                      <a:pt x="1015" y="735"/>
                      <a:pt x="1015" y="735"/>
                    </a:cubicBezTo>
                    <a:cubicBezTo>
                      <a:pt x="1016" y="729"/>
                      <a:pt x="1016" y="729"/>
                      <a:pt x="1016" y="729"/>
                    </a:cubicBezTo>
                    <a:cubicBezTo>
                      <a:pt x="1019" y="728"/>
                      <a:pt x="1019" y="728"/>
                      <a:pt x="1019" y="728"/>
                    </a:cubicBezTo>
                    <a:cubicBezTo>
                      <a:pt x="1023" y="723"/>
                      <a:pt x="1023" y="723"/>
                      <a:pt x="1023" y="723"/>
                    </a:cubicBezTo>
                    <a:cubicBezTo>
                      <a:pt x="1024" y="723"/>
                      <a:pt x="1024" y="723"/>
                      <a:pt x="1024" y="723"/>
                    </a:cubicBezTo>
                    <a:cubicBezTo>
                      <a:pt x="1026" y="720"/>
                      <a:pt x="1026" y="720"/>
                      <a:pt x="1026" y="720"/>
                    </a:cubicBezTo>
                    <a:cubicBezTo>
                      <a:pt x="1033" y="715"/>
                      <a:pt x="1033" y="715"/>
                      <a:pt x="1033" y="715"/>
                    </a:cubicBezTo>
                    <a:cubicBezTo>
                      <a:pt x="1037" y="707"/>
                      <a:pt x="1037" y="707"/>
                      <a:pt x="1037" y="707"/>
                    </a:cubicBezTo>
                    <a:cubicBezTo>
                      <a:pt x="1041" y="700"/>
                      <a:pt x="1041" y="700"/>
                      <a:pt x="1041" y="700"/>
                    </a:cubicBezTo>
                    <a:cubicBezTo>
                      <a:pt x="1044" y="693"/>
                      <a:pt x="1044" y="693"/>
                      <a:pt x="1044" y="693"/>
                    </a:cubicBezTo>
                    <a:cubicBezTo>
                      <a:pt x="1048" y="690"/>
                      <a:pt x="1048" y="690"/>
                      <a:pt x="1048" y="690"/>
                    </a:cubicBezTo>
                    <a:cubicBezTo>
                      <a:pt x="1050" y="694"/>
                      <a:pt x="1050" y="694"/>
                      <a:pt x="1050" y="694"/>
                    </a:cubicBezTo>
                    <a:cubicBezTo>
                      <a:pt x="1053" y="692"/>
                      <a:pt x="1053" y="692"/>
                      <a:pt x="1053" y="692"/>
                    </a:cubicBezTo>
                    <a:cubicBezTo>
                      <a:pt x="1055" y="694"/>
                      <a:pt x="1055" y="694"/>
                      <a:pt x="1055" y="694"/>
                    </a:cubicBezTo>
                    <a:cubicBezTo>
                      <a:pt x="1058" y="693"/>
                      <a:pt x="1058" y="693"/>
                      <a:pt x="1058" y="693"/>
                    </a:cubicBezTo>
                    <a:cubicBezTo>
                      <a:pt x="1058" y="691"/>
                      <a:pt x="1058" y="691"/>
                      <a:pt x="1058" y="691"/>
                    </a:cubicBezTo>
                    <a:cubicBezTo>
                      <a:pt x="1056" y="691"/>
                      <a:pt x="1056" y="691"/>
                      <a:pt x="1056" y="691"/>
                    </a:cubicBezTo>
                    <a:cubicBezTo>
                      <a:pt x="1053" y="688"/>
                      <a:pt x="1053" y="688"/>
                      <a:pt x="1053" y="688"/>
                    </a:cubicBezTo>
                    <a:cubicBezTo>
                      <a:pt x="1055" y="686"/>
                      <a:pt x="1055" y="686"/>
                      <a:pt x="1055" y="686"/>
                    </a:cubicBezTo>
                    <a:cubicBezTo>
                      <a:pt x="1059" y="685"/>
                      <a:pt x="1059" y="685"/>
                      <a:pt x="1059" y="685"/>
                    </a:cubicBezTo>
                    <a:cubicBezTo>
                      <a:pt x="1061" y="687"/>
                      <a:pt x="1061" y="687"/>
                      <a:pt x="1061" y="687"/>
                    </a:cubicBezTo>
                    <a:cubicBezTo>
                      <a:pt x="1062" y="686"/>
                      <a:pt x="1062" y="686"/>
                      <a:pt x="1062" y="686"/>
                    </a:cubicBezTo>
                    <a:cubicBezTo>
                      <a:pt x="1065" y="686"/>
                      <a:pt x="1065" y="686"/>
                      <a:pt x="1065" y="686"/>
                    </a:cubicBezTo>
                    <a:cubicBezTo>
                      <a:pt x="1067" y="685"/>
                      <a:pt x="1067" y="685"/>
                      <a:pt x="1067" y="685"/>
                    </a:cubicBezTo>
                    <a:cubicBezTo>
                      <a:pt x="1065" y="681"/>
                      <a:pt x="1065" y="681"/>
                      <a:pt x="1065" y="681"/>
                    </a:cubicBezTo>
                    <a:cubicBezTo>
                      <a:pt x="1063" y="681"/>
                      <a:pt x="1063" y="681"/>
                      <a:pt x="1063" y="681"/>
                    </a:cubicBezTo>
                    <a:cubicBezTo>
                      <a:pt x="1061" y="678"/>
                      <a:pt x="1061" y="678"/>
                      <a:pt x="1061" y="678"/>
                    </a:cubicBezTo>
                    <a:cubicBezTo>
                      <a:pt x="1059" y="678"/>
                      <a:pt x="1059" y="678"/>
                      <a:pt x="1059" y="678"/>
                    </a:cubicBezTo>
                    <a:cubicBezTo>
                      <a:pt x="1060" y="672"/>
                      <a:pt x="1060" y="672"/>
                      <a:pt x="1060" y="672"/>
                    </a:cubicBezTo>
                    <a:cubicBezTo>
                      <a:pt x="1062" y="670"/>
                      <a:pt x="1062" y="670"/>
                      <a:pt x="1062" y="670"/>
                    </a:cubicBezTo>
                    <a:cubicBezTo>
                      <a:pt x="1062" y="666"/>
                      <a:pt x="1062" y="666"/>
                      <a:pt x="1062" y="666"/>
                    </a:cubicBezTo>
                    <a:cubicBezTo>
                      <a:pt x="1065" y="666"/>
                      <a:pt x="1065" y="666"/>
                      <a:pt x="1065" y="666"/>
                    </a:cubicBezTo>
                    <a:cubicBezTo>
                      <a:pt x="1063" y="663"/>
                      <a:pt x="1063" y="663"/>
                      <a:pt x="1063" y="663"/>
                    </a:cubicBezTo>
                    <a:cubicBezTo>
                      <a:pt x="1063" y="661"/>
                      <a:pt x="1063" y="661"/>
                      <a:pt x="1063" y="661"/>
                    </a:cubicBezTo>
                    <a:cubicBezTo>
                      <a:pt x="1066" y="658"/>
                      <a:pt x="1066" y="658"/>
                      <a:pt x="1066" y="658"/>
                    </a:cubicBezTo>
                    <a:cubicBezTo>
                      <a:pt x="1065" y="657"/>
                      <a:pt x="1065" y="657"/>
                      <a:pt x="1065" y="657"/>
                    </a:cubicBezTo>
                    <a:cubicBezTo>
                      <a:pt x="1065" y="656"/>
                      <a:pt x="1065" y="656"/>
                      <a:pt x="1065" y="656"/>
                    </a:cubicBezTo>
                    <a:cubicBezTo>
                      <a:pt x="1068" y="656"/>
                      <a:pt x="1068" y="656"/>
                      <a:pt x="1068" y="656"/>
                    </a:cubicBezTo>
                    <a:cubicBezTo>
                      <a:pt x="1070" y="652"/>
                      <a:pt x="1070" y="652"/>
                      <a:pt x="1070" y="652"/>
                    </a:cubicBezTo>
                    <a:cubicBezTo>
                      <a:pt x="1067" y="651"/>
                      <a:pt x="1067" y="651"/>
                      <a:pt x="1067" y="651"/>
                    </a:cubicBezTo>
                    <a:cubicBezTo>
                      <a:pt x="1066" y="649"/>
                      <a:pt x="1066" y="649"/>
                      <a:pt x="1066" y="649"/>
                    </a:cubicBezTo>
                    <a:cubicBezTo>
                      <a:pt x="1070" y="649"/>
                      <a:pt x="1070" y="649"/>
                      <a:pt x="1070" y="649"/>
                    </a:cubicBezTo>
                    <a:cubicBezTo>
                      <a:pt x="1071" y="652"/>
                      <a:pt x="1071" y="652"/>
                      <a:pt x="1071" y="652"/>
                    </a:cubicBezTo>
                    <a:cubicBezTo>
                      <a:pt x="1074" y="652"/>
                      <a:pt x="1074" y="652"/>
                      <a:pt x="1074" y="652"/>
                    </a:cubicBezTo>
                    <a:cubicBezTo>
                      <a:pt x="1077" y="651"/>
                      <a:pt x="1077" y="651"/>
                      <a:pt x="1077" y="651"/>
                    </a:cubicBezTo>
                    <a:cubicBezTo>
                      <a:pt x="1083" y="651"/>
                      <a:pt x="1083" y="651"/>
                      <a:pt x="1083" y="651"/>
                    </a:cubicBezTo>
                    <a:cubicBezTo>
                      <a:pt x="1088" y="655"/>
                      <a:pt x="1088" y="655"/>
                      <a:pt x="1088" y="655"/>
                    </a:cubicBezTo>
                    <a:cubicBezTo>
                      <a:pt x="1088" y="657"/>
                      <a:pt x="1088" y="657"/>
                      <a:pt x="1088" y="657"/>
                    </a:cubicBezTo>
                    <a:cubicBezTo>
                      <a:pt x="1090" y="659"/>
                      <a:pt x="1090" y="659"/>
                      <a:pt x="1090" y="659"/>
                    </a:cubicBezTo>
                    <a:cubicBezTo>
                      <a:pt x="1097" y="663"/>
                      <a:pt x="1097" y="663"/>
                      <a:pt x="1097" y="663"/>
                    </a:cubicBezTo>
                    <a:cubicBezTo>
                      <a:pt x="1101" y="660"/>
                      <a:pt x="1101" y="660"/>
                      <a:pt x="1101" y="660"/>
                    </a:cubicBezTo>
                    <a:cubicBezTo>
                      <a:pt x="1104" y="663"/>
                      <a:pt x="1104" y="663"/>
                      <a:pt x="1104" y="663"/>
                    </a:cubicBezTo>
                    <a:cubicBezTo>
                      <a:pt x="1109" y="665"/>
                      <a:pt x="1109" y="665"/>
                      <a:pt x="1109" y="665"/>
                    </a:cubicBezTo>
                    <a:cubicBezTo>
                      <a:pt x="1109" y="667"/>
                      <a:pt x="1109" y="667"/>
                      <a:pt x="1109" y="667"/>
                    </a:cubicBezTo>
                    <a:cubicBezTo>
                      <a:pt x="1107" y="668"/>
                      <a:pt x="1107" y="668"/>
                      <a:pt x="1107" y="668"/>
                    </a:cubicBezTo>
                    <a:cubicBezTo>
                      <a:pt x="1109" y="670"/>
                      <a:pt x="1109" y="670"/>
                      <a:pt x="1109" y="670"/>
                    </a:cubicBezTo>
                    <a:cubicBezTo>
                      <a:pt x="1107" y="672"/>
                      <a:pt x="1107" y="672"/>
                      <a:pt x="1107" y="672"/>
                    </a:cubicBezTo>
                    <a:cubicBezTo>
                      <a:pt x="1104" y="669"/>
                      <a:pt x="1104" y="669"/>
                      <a:pt x="1104" y="669"/>
                    </a:cubicBezTo>
                    <a:cubicBezTo>
                      <a:pt x="1102" y="669"/>
                      <a:pt x="1102" y="669"/>
                      <a:pt x="1102" y="669"/>
                    </a:cubicBezTo>
                    <a:cubicBezTo>
                      <a:pt x="1102" y="671"/>
                      <a:pt x="1102" y="671"/>
                      <a:pt x="1102" y="671"/>
                    </a:cubicBezTo>
                    <a:cubicBezTo>
                      <a:pt x="1110" y="676"/>
                      <a:pt x="1110" y="676"/>
                      <a:pt x="1110" y="676"/>
                    </a:cubicBezTo>
                    <a:cubicBezTo>
                      <a:pt x="1111" y="680"/>
                      <a:pt x="1111" y="680"/>
                      <a:pt x="1111" y="680"/>
                    </a:cubicBezTo>
                    <a:cubicBezTo>
                      <a:pt x="1107" y="681"/>
                      <a:pt x="1107" y="681"/>
                      <a:pt x="1107" y="681"/>
                    </a:cubicBezTo>
                    <a:cubicBezTo>
                      <a:pt x="1109" y="682"/>
                      <a:pt x="1109" y="682"/>
                      <a:pt x="1109" y="682"/>
                    </a:cubicBezTo>
                    <a:cubicBezTo>
                      <a:pt x="1113" y="681"/>
                      <a:pt x="1113" y="681"/>
                      <a:pt x="1113" y="681"/>
                    </a:cubicBezTo>
                    <a:cubicBezTo>
                      <a:pt x="1118" y="682"/>
                      <a:pt x="1118" y="682"/>
                      <a:pt x="1118" y="682"/>
                    </a:cubicBezTo>
                    <a:cubicBezTo>
                      <a:pt x="1119" y="684"/>
                      <a:pt x="1119" y="684"/>
                      <a:pt x="1119" y="684"/>
                    </a:cubicBezTo>
                    <a:cubicBezTo>
                      <a:pt x="1122" y="685"/>
                      <a:pt x="1122" y="685"/>
                      <a:pt x="1122" y="685"/>
                    </a:cubicBezTo>
                    <a:cubicBezTo>
                      <a:pt x="1122" y="687"/>
                      <a:pt x="1122" y="687"/>
                      <a:pt x="1122" y="687"/>
                    </a:cubicBezTo>
                    <a:cubicBezTo>
                      <a:pt x="1120" y="690"/>
                      <a:pt x="1120" y="690"/>
                      <a:pt x="1120" y="690"/>
                    </a:cubicBezTo>
                    <a:cubicBezTo>
                      <a:pt x="1114" y="695"/>
                      <a:pt x="1114" y="695"/>
                      <a:pt x="1114" y="695"/>
                    </a:cubicBezTo>
                    <a:cubicBezTo>
                      <a:pt x="1110" y="696"/>
                      <a:pt x="1110" y="696"/>
                      <a:pt x="1110" y="696"/>
                    </a:cubicBezTo>
                    <a:cubicBezTo>
                      <a:pt x="1108" y="697"/>
                      <a:pt x="1108" y="697"/>
                      <a:pt x="1108" y="697"/>
                    </a:cubicBezTo>
                    <a:cubicBezTo>
                      <a:pt x="1113" y="697"/>
                      <a:pt x="1113" y="697"/>
                      <a:pt x="1113" y="697"/>
                    </a:cubicBezTo>
                    <a:cubicBezTo>
                      <a:pt x="1115" y="698"/>
                      <a:pt x="1115" y="698"/>
                      <a:pt x="1115" y="698"/>
                    </a:cubicBezTo>
                    <a:cubicBezTo>
                      <a:pt x="1115" y="701"/>
                      <a:pt x="1115" y="701"/>
                      <a:pt x="1115" y="701"/>
                    </a:cubicBezTo>
                    <a:cubicBezTo>
                      <a:pt x="1116" y="701"/>
                      <a:pt x="1116" y="701"/>
                      <a:pt x="1116" y="701"/>
                    </a:cubicBezTo>
                    <a:cubicBezTo>
                      <a:pt x="1118" y="702"/>
                      <a:pt x="1118" y="702"/>
                      <a:pt x="1118" y="702"/>
                    </a:cubicBezTo>
                    <a:cubicBezTo>
                      <a:pt x="1115" y="705"/>
                      <a:pt x="1115" y="705"/>
                      <a:pt x="1115" y="705"/>
                    </a:cubicBezTo>
                    <a:cubicBezTo>
                      <a:pt x="1117" y="707"/>
                      <a:pt x="1117" y="707"/>
                      <a:pt x="1117" y="707"/>
                    </a:cubicBezTo>
                    <a:cubicBezTo>
                      <a:pt x="1112" y="710"/>
                      <a:pt x="1112" y="710"/>
                      <a:pt x="1112" y="710"/>
                    </a:cubicBezTo>
                    <a:cubicBezTo>
                      <a:pt x="1107" y="711"/>
                      <a:pt x="1107" y="711"/>
                      <a:pt x="1107" y="711"/>
                    </a:cubicBezTo>
                    <a:cubicBezTo>
                      <a:pt x="1104" y="711"/>
                      <a:pt x="1104" y="711"/>
                      <a:pt x="1104" y="711"/>
                    </a:cubicBezTo>
                    <a:cubicBezTo>
                      <a:pt x="1102" y="713"/>
                      <a:pt x="1102" y="713"/>
                      <a:pt x="1102" y="713"/>
                    </a:cubicBezTo>
                    <a:cubicBezTo>
                      <a:pt x="1099" y="712"/>
                      <a:pt x="1099" y="712"/>
                      <a:pt x="1099" y="712"/>
                    </a:cubicBezTo>
                    <a:cubicBezTo>
                      <a:pt x="1096" y="709"/>
                      <a:pt x="1096" y="709"/>
                      <a:pt x="1096" y="709"/>
                    </a:cubicBezTo>
                    <a:cubicBezTo>
                      <a:pt x="1093" y="709"/>
                      <a:pt x="1093" y="709"/>
                      <a:pt x="1093" y="709"/>
                    </a:cubicBezTo>
                    <a:cubicBezTo>
                      <a:pt x="1092" y="707"/>
                      <a:pt x="1092" y="707"/>
                      <a:pt x="1092" y="707"/>
                    </a:cubicBezTo>
                    <a:cubicBezTo>
                      <a:pt x="1089" y="707"/>
                      <a:pt x="1089" y="707"/>
                      <a:pt x="1089" y="707"/>
                    </a:cubicBezTo>
                    <a:cubicBezTo>
                      <a:pt x="1089" y="710"/>
                      <a:pt x="1089" y="710"/>
                      <a:pt x="1089" y="710"/>
                    </a:cubicBezTo>
                    <a:cubicBezTo>
                      <a:pt x="1088" y="711"/>
                      <a:pt x="1088" y="711"/>
                      <a:pt x="1088" y="711"/>
                    </a:cubicBezTo>
                    <a:cubicBezTo>
                      <a:pt x="1091" y="712"/>
                      <a:pt x="1091" y="712"/>
                      <a:pt x="1091" y="712"/>
                    </a:cubicBezTo>
                    <a:cubicBezTo>
                      <a:pt x="1093" y="714"/>
                      <a:pt x="1093" y="714"/>
                      <a:pt x="1093" y="714"/>
                    </a:cubicBezTo>
                    <a:cubicBezTo>
                      <a:pt x="1092" y="716"/>
                      <a:pt x="1092" y="716"/>
                      <a:pt x="1092" y="716"/>
                    </a:cubicBezTo>
                    <a:cubicBezTo>
                      <a:pt x="1090" y="718"/>
                      <a:pt x="1090" y="718"/>
                      <a:pt x="1090" y="718"/>
                    </a:cubicBezTo>
                    <a:cubicBezTo>
                      <a:pt x="1093" y="719"/>
                      <a:pt x="1093" y="719"/>
                      <a:pt x="1093" y="719"/>
                    </a:cubicBezTo>
                    <a:cubicBezTo>
                      <a:pt x="1091" y="722"/>
                      <a:pt x="1091" y="722"/>
                      <a:pt x="1091" y="722"/>
                    </a:cubicBezTo>
                    <a:cubicBezTo>
                      <a:pt x="1091" y="724"/>
                      <a:pt x="1091" y="724"/>
                      <a:pt x="1091" y="724"/>
                    </a:cubicBezTo>
                    <a:cubicBezTo>
                      <a:pt x="1092" y="724"/>
                      <a:pt x="1092" y="724"/>
                      <a:pt x="1092" y="724"/>
                    </a:cubicBezTo>
                    <a:cubicBezTo>
                      <a:pt x="1095" y="722"/>
                      <a:pt x="1095" y="722"/>
                      <a:pt x="1095" y="722"/>
                    </a:cubicBezTo>
                    <a:cubicBezTo>
                      <a:pt x="1096" y="722"/>
                      <a:pt x="1096" y="722"/>
                      <a:pt x="1096" y="722"/>
                    </a:cubicBezTo>
                    <a:cubicBezTo>
                      <a:pt x="1095" y="725"/>
                      <a:pt x="1095" y="725"/>
                      <a:pt x="1095" y="725"/>
                    </a:cubicBezTo>
                    <a:cubicBezTo>
                      <a:pt x="1090" y="727"/>
                      <a:pt x="1090" y="727"/>
                      <a:pt x="1090" y="727"/>
                    </a:cubicBezTo>
                    <a:cubicBezTo>
                      <a:pt x="1089" y="730"/>
                      <a:pt x="1089" y="730"/>
                      <a:pt x="1089" y="730"/>
                    </a:cubicBezTo>
                    <a:cubicBezTo>
                      <a:pt x="1089" y="734"/>
                      <a:pt x="1089" y="734"/>
                      <a:pt x="1089" y="734"/>
                    </a:cubicBezTo>
                    <a:cubicBezTo>
                      <a:pt x="1094" y="737"/>
                      <a:pt x="1094" y="737"/>
                      <a:pt x="1094" y="737"/>
                    </a:cubicBezTo>
                    <a:cubicBezTo>
                      <a:pt x="1093" y="740"/>
                      <a:pt x="1093" y="740"/>
                      <a:pt x="1093" y="740"/>
                    </a:cubicBezTo>
                    <a:cubicBezTo>
                      <a:pt x="1097" y="748"/>
                      <a:pt x="1097" y="748"/>
                      <a:pt x="1097" y="748"/>
                    </a:cubicBezTo>
                    <a:cubicBezTo>
                      <a:pt x="1097" y="752"/>
                      <a:pt x="1097" y="752"/>
                      <a:pt x="1097" y="752"/>
                    </a:cubicBezTo>
                    <a:cubicBezTo>
                      <a:pt x="1095" y="753"/>
                      <a:pt x="1095" y="753"/>
                      <a:pt x="1095" y="753"/>
                    </a:cubicBezTo>
                    <a:cubicBezTo>
                      <a:pt x="1095" y="756"/>
                      <a:pt x="1095" y="756"/>
                      <a:pt x="1095" y="756"/>
                    </a:cubicBezTo>
                    <a:cubicBezTo>
                      <a:pt x="1090" y="760"/>
                      <a:pt x="1090" y="760"/>
                      <a:pt x="1090" y="760"/>
                    </a:cubicBezTo>
                    <a:cubicBezTo>
                      <a:pt x="1091" y="763"/>
                      <a:pt x="1091" y="763"/>
                      <a:pt x="1091" y="763"/>
                    </a:cubicBezTo>
                    <a:cubicBezTo>
                      <a:pt x="1089" y="766"/>
                      <a:pt x="1089" y="766"/>
                      <a:pt x="1089" y="766"/>
                    </a:cubicBezTo>
                    <a:cubicBezTo>
                      <a:pt x="1086" y="764"/>
                      <a:pt x="1086" y="764"/>
                      <a:pt x="1086" y="764"/>
                    </a:cubicBezTo>
                    <a:cubicBezTo>
                      <a:pt x="1080" y="765"/>
                      <a:pt x="1080" y="765"/>
                      <a:pt x="1080" y="765"/>
                    </a:cubicBezTo>
                    <a:cubicBezTo>
                      <a:pt x="1077" y="766"/>
                      <a:pt x="1077" y="766"/>
                      <a:pt x="1077" y="766"/>
                    </a:cubicBezTo>
                    <a:cubicBezTo>
                      <a:pt x="1076" y="771"/>
                      <a:pt x="1076" y="771"/>
                      <a:pt x="1076" y="771"/>
                    </a:cubicBezTo>
                    <a:cubicBezTo>
                      <a:pt x="1072" y="773"/>
                      <a:pt x="1072" y="773"/>
                      <a:pt x="1072" y="773"/>
                    </a:cubicBezTo>
                    <a:cubicBezTo>
                      <a:pt x="1070" y="775"/>
                      <a:pt x="1070" y="775"/>
                      <a:pt x="1070" y="775"/>
                    </a:cubicBezTo>
                    <a:cubicBezTo>
                      <a:pt x="1067" y="775"/>
                      <a:pt x="1067" y="775"/>
                      <a:pt x="1067" y="775"/>
                    </a:cubicBezTo>
                    <a:cubicBezTo>
                      <a:pt x="1062" y="781"/>
                      <a:pt x="1062" y="781"/>
                      <a:pt x="1062" y="781"/>
                    </a:cubicBezTo>
                    <a:cubicBezTo>
                      <a:pt x="1060" y="780"/>
                      <a:pt x="1060" y="780"/>
                      <a:pt x="1060" y="780"/>
                    </a:cubicBezTo>
                    <a:cubicBezTo>
                      <a:pt x="1057" y="780"/>
                      <a:pt x="1057" y="780"/>
                      <a:pt x="1057" y="780"/>
                    </a:cubicBezTo>
                    <a:cubicBezTo>
                      <a:pt x="1055" y="784"/>
                      <a:pt x="1055" y="784"/>
                      <a:pt x="1055" y="784"/>
                    </a:cubicBezTo>
                    <a:cubicBezTo>
                      <a:pt x="1046" y="786"/>
                      <a:pt x="1046" y="786"/>
                      <a:pt x="1046" y="786"/>
                    </a:cubicBezTo>
                    <a:cubicBezTo>
                      <a:pt x="1044" y="785"/>
                      <a:pt x="1044" y="785"/>
                      <a:pt x="1044" y="785"/>
                    </a:cubicBezTo>
                    <a:cubicBezTo>
                      <a:pt x="1045" y="783"/>
                      <a:pt x="1045" y="783"/>
                      <a:pt x="1045" y="783"/>
                    </a:cubicBezTo>
                    <a:cubicBezTo>
                      <a:pt x="1044" y="778"/>
                      <a:pt x="1044" y="778"/>
                      <a:pt x="1044" y="778"/>
                    </a:cubicBezTo>
                    <a:cubicBezTo>
                      <a:pt x="1041" y="775"/>
                      <a:pt x="1041" y="775"/>
                      <a:pt x="1041" y="775"/>
                    </a:cubicBezTo>
                    <a:cubicBezTo>
                      <a:pt x="1041" y="773"/>
                      <a:pt x="1041" y="773"/>
                      <a:pt x="1041" y="773"/>
                    </a:cubicBezTo>
                    <a:cubicBezTo>
                      <a:pt x="1044" y="773"/>
                      <a:pt x="1044" y="773"/>
                      <a:pt x="1044" y="773"/>
                    </a:cubicBezTo>
                    <a:cubicBezTo>
                      <a:pt x="1044" y="770"/>
                      <a:pt x="1044" y="770"/>
                      <a:pt x="1044" y="770"/>
                    </a:cubicBezTo>
                    <a:cubicBezTo>
                      <a:pt x="1047" y="765"/>
                      <a:pt x="1047" y="765"/>
                      <a:pt x="1047" y="765"/>
                    </a:cubicBezTo>
                    <a:cubicBezTo>
                      <a:pt x="1043" y="768"/>
                      <a:pt x="1043" y="768"/>
                      <a:pt x="1043" y="768"/>
                    </a:cubicBezTo>
                    <a:cubicBezTo>
                      <a:pt x="1041" y="769"/>
                      <a:pt x="1041" y="769"/>
                      <a:pt x="1041" y="769"/>
                    </a:cubicBezTo>
                    <a:cubicBezTo>
                      <a:pt x="1041" y="761"/>
                      <a:pt x="1041" y="761"/>
                      <a:pt x="1041" y="761"/>
                    </a:cubicBezTo>
                    <a:cubicBezTo>
                      <a:pt x="1039" y="760"/>
                      <a:pt x="1039" y="760"/>
                      <a:pt x="1039" y="760"/>
                    </a:cubicBezTo>
                    <a:cubicBezTo>
                      <a:pt x="1037" y="757"/>
                      <a:pt x="1037" y="757"/>
                      <a:pt x="1037" y="757"/>
                    </a:cubicBezTo>
                    <a:cubicBezTo>
                      <a:pt x="1033" y="759"/>
                      <a:pt x="1033" y="759"/>
                      <a:pt x="1033" y="759"/>
                    </a:cubicBezTo>
                    <a:cubicBezTo>
                      <a:pt x="1032" y="758"/>
                      <a:pt x="1032" y="758"/>
                      <a:pt x="1032" y="758"/>
                    </a:cubicBezTo>
                    <a:cubicBezTo>
                      <a:pt x="1029" y="758"/>
                      <a:pt x="1029" y="758"/>
                      <a:pt x="1029" y="758"/>
                    </a:cubicBezTo>
                    <a:cubicBezTo>
                      <a:pt x="1025" y="763"/>
                      <a:pt x="1025" y="763"/>
                      <a:pt x="1025" y="763"/>
                    </a:cubicBezTo>
                    <a:cubicBezTo>
                      <a:pt x="1027" y="763"/>
                      <a:pt x="1027" y="763"/>
                      <a:pt x="1027" y="763"/>
                    </a:cubicBezTo>
                    <a:cubicBezTo>
                      <a:pt x="1032" y="760"/>
                      <a:pt x="1032" y="760"/>
                      <a:pt x="1032" y="760"/>
                    </a:cubicBezTo>
                    <a:cubicBezTo>
                      <a:pt x="1034" y="761"/>
                      <a:pt x="1034" y="761"/>
                      <a:pt x="1034" y="761"/>
                    </a:cubicBezTo>
                    <a:cubicBezTo>
                      <a:pt x="1034" y="764"/>
                      <a:pt x="1034" y="764"/>
                      <a:pt x="1034" y="764"/>
                    </a:cubicBezTo>
                    <a:cubicBezTo>
                      <a:pt x="1037" y="766"/>
                      <a:pt x="1037" y="766"/>
                      <a:pt x="1037" y="766"/>
                    </a:cubicBezTo>
                    <a:cubicBezTo>
                      <a:pt x="1039" y="771"/>
                      <a:pt x="1039" y="771"/>
                      <a:pt x="1039" y="771"/>
                    </a:cubicBezTo>
                    <a:cubicBezTo>
                      <a:pt x="1038" y="777"/>
                      <a:pt x="1038" y="777"/>
                      <a:pt x="1038" y="777"/>
                    </a:cubicBezTo>
                    <a:cubicBezTo>
                      <a:pt x="1040" y="778"/>
                      <a:pt x="1040" y="778"/>
                      <a:pt x="1040" y="778"/>
                    </a:cubicBezTo>
                    <a:cubicBezTo>
                      <a:pt x="1041" y="783"/>
                      <a:pt x="1041" y="783"/>
                      <a:pt x="1041" y="783"/>
                    </a:cubicBezTo>
                    <a:cubicBezTo>
                      <a:pt x="1040" y="785"/>
                      <a:pt x="1040" y="785"/>
                      <a:pt x="1040" y="785"/>
                    </a:cubicBezTo>
                    <a:cubicBezTo>
                      <a:pt x="1041" y="786"/>
                      <a:pt x="1041" y="786"/>
                      <a:pt x="1041" y="786"/>
                    </a:cubicBezTo>
                    <a:cubicBezTo>
                      <a:pt x="1041" y="789"/>
                      <a:pt x="1041" y="789"/>
                      <a:pt x="1041" y="789"/>
                    </a:cubicBezTo>
                    <a:cubicBezTo>
                      <a:pt x="1039" y="790"/>
                      <a:pt x="1039" y="790"/>
                      <a:pt x="1039" y="790"/>
                    </a:cubicBezTo>
                    <a:cubicBezTo>
                      <a:pt x="1033" y="784"/>
                      <a:pt x="1033" y="784"/>
                      <a:pt x="1033" y="784"/>
                    </a:cubicBezTo>
                    <a:cubicBezTo>
                      <a:pt x="1032" y="781"/>
                      <a:pt x="1032" y="781"/>
                      <a:pt x="1032" y="781"/>
                    </a:cubicBezTo>
                    <a:cubicBezTo>
                      <a:pt x="1029" y="780"/>
                      <a:pt x="1029" y="780"/>
                      <a:pt x="1029" y="780"/>
                    </a:cubicBezTo>
                    <a:cubicBezTo>
                      <a:pt x="1029" y="778"/>
                      <a:pt x="1029" y="778"/>
                      <a:pt x="1029" y="778"/>
                    </a:cubicBezTo>
                    <a:cubicBezTo>
                      <a:pt x="1026" y="781"/>
                      <a:pt x="1026" y="781"/>
                      <a:pt x="1026" y="781"/>
                    </a:cubicBezTo>
                    <a:cubicBezTo>
                      <a:pt x="1030" y="784"/>
                      <a:pt x="1030" y="784"/>
                      <a:pt x="1030" y="784"/>
                    </a:cubicBezTo>
                    <a:cubicBezTo>
                      <a:pt x="1029" y="787"/>
                      <a:pt x="1029" y="787"/>
                      <a:pt x="1029" y="787"/>
                    </a:cubicBezTo>
                    <a:cubicBezTo>
                      <a:pt x="1025" y="784"/>
                      <a:pt x="1025" y="784"/>
                      <a:pt x="1025" y="784"/>
                    </a:cubicBezTo>
                    <a:cubicBezTo>
                      <a:pt x="1022" y="784"/>
                      <a:pt x="1022" y="784"/>
                      <a:pt x="1022" y="784"/>
                    </a:cubicBezTo>
                    <a:cubicBezTo>
                      <a:pt x="1021" y="782"/>
                      <a:pt x="1021" y="782"/>
                      <a:pt x="1021" y="782"/>
                    </a:cubicBezTo>
                    <a:cubicBezTo>
                      <a:pt x="1018" y="783"/>
                      <a:pt x="1018" y="783"/>
                      <a:pt x="1018" y="783"/>
                    </a:cubicBezTo>
                    <a:cubicBezTo>
                      <a:pt x="1018" y="781"/>
                      <a:pt x="1018" y="781"/>
                      <a:pt x="1018" y="781"/>
                    </a:cubicBezTo>
                    <a:cubicBezTo>
                      <a:pt x="1020" y="775"/>
                      <a:pt x="1020" y="775"/>
                      <a:pt x="1020" y="775"/>
                    </a:cubicBezTo>
                    <a:cubicBezTo>
                      <a:pt x="1021" y="774"/>
                      <a:pt x="1021" y="774"/>
                      <a:pt x="1021" y="774"/>
                    </a:cubicBezTo>
                    <a:cubicBezTo>
                      <a:pt x="1019" y="774"/>
                      <a:pt x="1019" y="774"/>
                      <a:pt x="1019" y="774"/>
                    </a:cubicBezTo>
                    <a:cubicBezTo>
                      <a:pt x="1019" y="772"/>
                      <a:pt x="1019" y="772"/>
                      <a:pt x="1019" y="772"/>
                    </a:cubicBezTo>
                    <a:cubicBezTo>
                      <a:pt x="1013" y="774"/>
                      <a:pt x="1013" y="774"/>
                      <a:pt x="1013" y="774"/>
                    </a:cubicBezTo>
                    <a:cubicBezTo>
                      <a:pt x="1009" y="774"/>
                      <a:pt x="1009" y="774"/>
                      <a:pt x="1009" y="774"/>
                    </a:cubicBezTo>
                    <a:cubicBezTo>
                      <a:pt x="1006" y="772"/>
                      <a:pt x="1006" y="772"/>
                      <a:pt x="1006" y="772"/>
                    </a:cubicBezTo>
                    <a:cubicBezTo>
                      <a:pt x="1002" y="772"/>
                      <a:pt x="1002" y="772"/>
                      <a:pt x="1002" y="772"/>
                    </a:cubicBezTo>
                    <a:cubicBezTo>
                      <a:pt x="998" y="770"/>
                      <a:pt x="998" y="770"/>
                      <a:pt x="998" y="770"/>
                    </a:cubicBezTo>
                    <a:cubicBezTo>
                      <a:pt x="997" y="772"/>
                      <a:pt x="997" y="772"/>
                      <a:pt x="997" y="772"/>
                    </a:cubicBezTo>
                    <a:cubicBezTo>
                      <a:pt x="999" y="775"/>
                      <a:pt x="999" y="775"/>
                      <a:pt x="999" y="775"/>
                    </a:cubicBezTo>
                    <a:cubicBezTo>
                      <a:pt x="997" y="776"/>
                      <a:pt x="997" y="776"/>
                      <a:pt x="997" y="776"/>
                    </a:cubicBezTo>
                    <a:cubicBezTo>
                      <a:pt x="997" y="779"/>
                      <a:pt x="997" y="779"/>
                      <a:pt x="997" y="779"/>
                    </a:cubicBezTo>
                    <a:cubicBezTo>
                      <a:pt x="999" y="782"/>
                      <a:pt x="999" y="782"/>
                      <a:pt x="999" y="782"/>
                    </a:cubicBezTo>
                    <a:cubicBezTo>
                      <a:pt x="1004" y="783"/>
                      <a:pt x="1004" y="783"/>
                      <a:pt x="1004" y="783"/>
                    </a:cubicBezTo>
                    <a:cubicBezTo>
                      <a:pt x="1006" y="786"/>
                      <a:pt x="1006" y="786"/>
                      <a:pt x="1006" y="786"/>
                    </a:cubicBezTo>
                    <a:cubicBezTo>
                      <a:pt x="1003" y="791"/>
                      <a:pt x="1003" y="791"/>
                      <a:pt x="1003" y="791"/>
                    </a:cubicBezTo>
                    <a:cubicBezTo>
                      <a:pt x="1000" y="792"/>
                      <a:pt x="1000" y="792"/>
                      <a:pt x="1000" y="792"/>
                    </a:cubicBezTo>
                    <a:cubicBezTo>
                      <a:pt x="991" y="798"/>
                      <a:pt x="991" y="798"/>
                      <a:pt x="991" y="798"/>
                    </a:cubicBezTo>
                    <a:cubicBezTo>
                      <a:pt x="987" y="803"/>
                      <a:pt x="987" y="803"/>
                      <a:pt x="987" y="803"/>
                    </a:cubicBezTo>
                    <a:cubicBezTo>
                      <a:pt x="983" y="809"/>
                      <a:pt x="983" y="809"/>
                      <a:pt x="983" y="809"/>
                    </a:cubicBezTo>
                    <a:cubicBezTo>
                      <a:pt x="980" y="807"/>
                      <a:pt x="980" y="807"/>
                      <a:pt x="980" y="807"/>
                    </a:cubicBezTo>
                    <a:cubicBezTo>
                      <a:pt x="977" y="809"/>
                      <a:pt x="977" y="809"/>
                      <a:pt x="977" y="809"/>
                    </a:cubicBezTo>
                    <a:cubicBezTo>
                      <a:pt x="976" y="814"/>
                      <a:pt x="976" y="814"/>
                      <a:pt x="976" y="814"/>
                    </a:cubicBezTo>
                    <a:cubicBezTo>
                      <a:pt x="972" y="815"/>
                      <a:pt x="972" y="815"/>
                      <a:pt x="972" y="815"/>
                    </a:cubicBezTo>
                    <a:cubicBezTo>
                      <a:pt x="960" y="813"/>
                      <a:pt x="960" y="813"/>
                      <a:pt x="960" y="813"/>
                    </a:cubicBezTo>
                    <a:cubicBezTo>
                      <a:pt x="957" y="809"/>
                      <a:pt x="957" y="809"/>
                      <a:pt x="957" y="809"/>
                    </a:cubicBezTo>
                    <a:cubicBezTo>
                      <a:pt x="956" y="805"/>
                      <a:pt x="956" y="805"/>
                      <a:pt x="956" y="805"/>
                    </a:cubicBezTo>
                    <a:cubicBezTo>
                      <a:pt x="950" y="802"/>
                      <a:pt x="950" y="802"/>
                      <a:pt x="950" y="802"/>
                    </a:cubicBezTo>
                    <a:cubicBezTo>
                      <a:pt x="950" y="801"/>
                      <a:pt x="950" y="801"/>
                      <a:pt x="950" y="801"/>
                    </a:cubicBezTo>
                    <a:cubicBezTo>
                      <a:pt x="952" y="801"/>
                      <a:pt x="952" y="801"/>
                      <a:pt x="952" y="801"/>
                    </a:cubicBezTo>
                    <a:cubicBezTo>
                      <a:pt x="953" y="799"/>
                      <a:pt x="953" y="799"/>
                      <a:pt x="953" y="799"/>
                    </a:cubicBezTo>
                    <a:cubicBezTo>
                      <a:pt x="952" y="797"/>
                      <a:pt x="952" y="797"/>
                      <a:pt x="952" y="797"/>
                    </a:cubicBezTo>
                    <a:cubicBezTo>
                      <a:pt x="948" y="796"/>
                      <a:pt x="948" y="796"/>
                      <a:pt x="948" y="796"/>
                    </a:cubicBezTo>
                    <a:cubicBezTo>
                      <a:pt x="944" y="789"/>
                      <a:pt x="944" y="789"/>
                      <a:pt x="944" y="789"/>
                    </a:cubicBezTo>
                    <a:cubicBezTo>
                      <a:pt x="939" y="785"/>
                      <a:pt x="939" y="785"/>
                      <a:pt x="939" y="785"/>
                    </a:cubicBezTo>
                    <a:cubicBezTo>
                      <a:pt x="931" y="785"/>
                      <a:pt x="931" y="785"/>
                      <a:pt x="931" y="785"/>
                    </a:cubicBezTo>
                    <a:cubicBezTo>
                      <a:pt x="926" y="782"/>
                      <a:pt x="926" y="782"/>
                      <a:pt x="926" y="782"/>
                    </a:cubicBezTo>
                    <a:cubicBezTo>
                      <a:pt x="917" y="782"/>
                      <a:pt x="917" y="782"/>
                      <a:pt x="917" y="782"/>
                    </a:cubicBezTo>
                    <a:cubicBezTo>
                      <a:pt x="914" y="781"/>
                      <a:pt x="914" y="781"/>
                      <a:pt x="914" y="781"/>
                    </a:cubicBezTo>
                    <a:cubicBezTo>
                      <a:pt x="913" y="783"/>
                      <a:pt x="913" y="783"/>
                      <a:pt x="913" y="783"/>
                    </a:cubicBezTo>
                    <a:cubicBezTo>
                      <a:pt x="916" y="786"/>
                      <a:pt x="916" y="786"/>
                      <a:pt x="916" y="786"/>
                    </a:cubicBezTo>
                    <a:cubicBezTo>
                      <a:pt x="917" y="784"/>
                      <a:pt x="917" y="784"/>
                      <a:pt x="917" y="784"/>
                    </a:cubicBezTo>
                    <a:cubicBezTo>
                      <a:pt x="920" y="784"/>
                      <a:pt x="920" y="784"/>
                      <a:pt x="920" y="784"/>
                    </a:cubicBezTo>
                    <a:cubicBezTo>
                      <a:pt x="928" y="786"/>
                      <a:pt x="928" y="786"/>
                      <a:pt x="928" y="786"/>
                    </a:cubicBezTo>
                    <a:cubicBezTo>
                      <a:pt x="936" y="786"/>
                      <a:pt x="936" y="786"/>
                      <a:pt x="936" y="786"/>
                    </a:cubicBezTo>
                    <a:cubicBezTo>
                      <a:pt x="938" y="788"/>
                      <a:pt x="938" y="788"/>
                      <a:pt x="938" y="788"/>
                    </a:cubicBezTo>
                    <a:cubicBezTo>
                      <a:pt x="938" y="790"/>
                      <a:pt x="938" y="790"/>
                      <a:pt x="938" y="790"/>
                    </a:cubicBezTo>
                    <a:cubicBezTo>
                      <a:pt x="936" y="790"/>
                      <a:pt x="936" y="790"/>
                      <a:pt x="936" y="790"/>
                    </a:cubicBezTo>
                    <a:cubicBezTo>
                      <a:pt x="935" y="791"/>
                      <a:pt x="935" y="791"/>
                      <a:pt x="935" y="791"/>
                    </a:cubicBezTo>
                    <a:cubicBezTo>
                      <a:pt x="936" y="792"/>
                      <a:pt x="936" y="792"/>
                      <a:pt x="936" y="792"/>
                    </a:cubicBezTo>
                    <a:cubicBezTo>
                      <a:pt x="937" y="799"/>
                      <a:pt x="937" y="799"/>
                      <a:pt x="937" y="799"/>
                    </a:cubicBezTo>
                    <a:cubicBezTo>
                      <a:pt x="938" y="799"/>
                      <a:pt x="938" y="799"/>
                      <a:pt x="938" y="799"/>
                    </a:cubicBezTo>
                    <a:cubicBezTo>
                      <a:pt x="942" y="807"/>
                      <a:pt x="942" y="807"/>
                      <a:pt x="942" y="807"/>
                    </a:cubicBezTo>
                    <a:cubicBezTo>
                      <a:pt x="945" y="812"/>
                      <a:pt x="945" y="812"/>
                      <a:pt x="945" y="812"/>
                    </a:cubicBezTo>
                    <a:cubicBezTo>
                      <a:pt x="952" y="814"/>
                      <a:pt x="952" y="814"/>
                      <a:pt x="952" y="814"/>
                    </a:cubicBezTo>
                    <a:cubicBezTo>
                      <a:pt x="959" y="816"/>
                      <a:pt x="959" y="816"/>
                      <a:pt x="959" y="816"/>
                    </a:cubicBezTo>
                    <a:cubicBezTo>
                      <a:pt x="973" y="819"/>
                      <a:pt x="973" y="819"/>
                      <a:pt x="973" y="819"/>
                    </a:cubicBezTo>
                    <a:cubicBezTo>
                      <a:pt x="974" y="823"/>
                      <a:pt x="974" y="823"/>
                      <a:pt x="974" y="823"/>
                    </a:cubicBezTo>
                    <a:cubicBezTo>
                      <a:pt x="972" y="825"/>
                      <a:pt x="972" y="825"/>
                      <a:pt x="972" y="825"/>
                    </a:cubicBezTo>
                    <a:cubicBezTo>
                      <a:pt x="968" y="828"/>
                      <a:pt x="968" y="828"/>
                      <a:pt x="968" y="828"/>
                    </a:cubicBezTo>
                    <a:cubicBezTo>
                      <a:pt x="964" y="830"/>
                      <a:pt x="964" y="830"/>
                      <a:pt x="964" y="830"/>
                    </a:cubicBezTo>
                    <a:cubicBezTo>
                      <a:pt x="959" y="837"/>
                      <a:pt x="959" y="837"/>
                      <a:pt x="959" y="837"/>
                    </a:cubicBezTo>
                    <a:cubicBezTo>
                      <a:pt x="958" y="835"/>
                      <a:pt x="958" y="835"/>
                      <a:pt x="958" y="835"/>
                    </a:cubicBezTo>
                    <a:cubicBezTo>
                      <a:pt x="956" y="836"/>
                      <a:pt x="956" y="836"/>
                      <a:pt x="956" y="836"/>
                    </a:cubicBezTo>
                    <a:cubicBezTo>
                      <a:pt x="956" y="839"/>
                      <a:pt x="956" y="839"/>
                      <a:pt x="956" y="839"/>
                    </a:cubicBezTo>
                    <a:cubicBezTo>
                      <a:pt x="943" y="851"/>
                      <a:pt x="943" y="851"/>
                      <a:pt x="943" y="851"/>
                    </a:cubicBezTo>
                    <a:cubicBezTo>
                      <a:pt x="938" y="853"/>
                      <a:pt x="938" y="853"/>
                      <a:pt x="938" y="853"/>
                    </a:cubicBezTo>
                    <a:cubicBezTo>
                      <a:pt x="935" y="859"/>
                      <a:pt x="935" y="859"/>
                      <a:pt x="935" y="859"/>
                    </a:cubicBezTo>
                    <a:cubicBezTo>
                      <a:pt x="932" y="859"/>
                      <a:pt x="932" y="859"/>
                      <a:pt x="932" y="859"/>
                    </a:cubicBezTo>
                    <a:cubicBezTo>
                      <a:pt x="930" y="858"/>
                      <a:pt x="930" y="858"/>
                      <a:pt x="930" y="858"/>
                    </a:cubicBezTo>
                    <a:cubicBezTo>
                      <a:pt x="928" y="858"/>
                      <a:pt x="928" y="858"/>
                      <a:pt x="928" y="858"/>
                    </a:cubicBezTo>
                    <a:cubicBezTo>
                      <a:pt x="927" y="860"/>
                      <a:pt x="927" y="860"/>
                      <a:pt x="927" y="860"/>
                    </a:cubicBezTo>
                    <a:cubicBezTo>
                      <a:pt x="922" y="855"/>
                      <a:pt x="922" y="855"/>
                      <a:pt x="922" y="855"/>
                    </a:cubicBezTo>
                    <a:cubicBezTo>
                      <a:pt x="919" y="854"/>
                      <a:pt x="919" y="854"/>
                      <a:pt x="919" y="854"/>
                    </a:cubicBezTo>
                    <a:cubicBezTo>
                      <a:pt x="917" y="856"/>
                      <a:pt x="917" y="856"/>
                      <a:pt x="917" y="856"/>
                    </a:cubicBezTo>
                    <a:cubicBezTo>
                      <a:pt x="916" y="854"/>
                      <a:pt x="916" y="854"/>
                      <a:pt x="916" y="854"/>
                    </a:cubicBezTo>
                    <a:cubicBezTo>
                      <a:pt x="915" y="853"/>
                      <a:pt x="915" y="853"/>
                      <a:pt x="915" y="853"/>
                    </a:cubicBezTo>
                    <a:cubicBezTo>
                      <a:pt x="917" y="849"/>
                      <a:pt x="917" y="849"/>
                      <a:pt x="917" y="849"/>
                    </a:cubicBezTo>
                    <a:cubicBezTo>
                      <a:pt x="916" y="848"/>
                      <a:pt x="916" y="848"/>
                      <a:pt x="916" y="848"/>
                    </a:cubicBezTo>
                    <a:cubicBezTo>
                      <a:pt x="915" y="847"/>
                      <a:pt x="915" y="847"/>
                      <a:pt x="915" y="847"/>
                    </a:cubicBezTo>
                    <a:cubicBezTo>
                      <a:pt x="912" y="849"/>
                      <a:pt x="912" y="849"/>
                      <a:pt x="912" y="849"/>
                    </a:cubicBezTo>
                    <a:cubicBezTo>
                      <a:pt x="909" y="856"/>
                      <a:pt x="909" y="856"/>
                      <a:pt x="909" y="856"/>
                    </a:cubicBezTo>
                    <a:cubicBezTo>
                      <a:pt x="908" y="853"/>
                      <a:pt x="908" y="853"/>
                      <a:pt x="908" y="853"/>
                    </a:cubicBezTo>
                    <a:cubicBezTo>
                      <a:pt x="906" y="847"/>
                      <a:pt x="906" y="847"/>
                      <a:pt x="906" y="847"/>
                    </a:cubicBezTo>
                    <a:cubicBezTo>
                      <a:pt x="905" y="852"/>
                      <a:pt x="905" y="852"/>
                      <a:pt x="905" y="852"/>
                    </a:cubicBezTo>
                    <a:cubicBezTo>
                      <a:pt x="907" y="854"/>
                      <a:pt x="907" y="854"/>
                      <a:pt x="907" y="854"/>
                    </a:cubicBezTo>
                    <a:cubicBezTo>
                      <a:pt x="906" y="861"/>
                      <a:pt x="906" y="861"/>
                      <a:pt x="906" y="861"/>
                    </a:cubicBezTo>
                    <a:cubicBezTo>
                      <a:pt x="902" y="867"/>
                      <a:pt x="902" y="867"/>
                      <a:pt x="902" y="867"/>
                    </a:cubicBezTo>
                    <a:cubicBezTo>
                      <a:pt x="899" y="867"/>
                      <a:pt x="899" y="867"/>
                      <a:pt x="899" y="867"/>
                    </a:cubicBezTo>
                    <a:cubicBezTo>
                      <a:pt x="898" y="864"/>
                      <a:pt x="898" y="864"/>
                      <a:pt x="898" y="864"/>
                    </a:cubicBezTo>
                    <a:cubicBezTo>
                      <a:pt x="896" y="860"/>
                      <a:pt x="896" y="860"/>
                      <a:pt x="896" y="860"/>
                    </a:cubicBezTo>
                    <a:cubicBezTo>
                      <a:pt x="895" y="863"/>
                      <a:pt x="895" y="863"/>
                      <a:pt x="895" y="863"/>
                    </a:cubicBezTo>
                    <a:cubicBezTo>
                      <a:pt x="897" y="865"/>
                      <a:pt x="897" y="865"/>
                      <a:pt x="897" y="865"/>
                    </a:cubicBezTo>
                    <a:cubicBezTo>
                      <a:pt x="893" y="867"/>
                      <a:pt x="893" y="867"/>
                      <a:pt x="893" y="867"/>
                    </a:cubicBezTo>
                    <a:cubicBezTo>
                      <a:pt x="893" y="871"/>
                      <a:pt x="893" y="871"/>
                      <a:pt x="893" y="871"/>
                    </a:cubicBezTo>
                    <a:cubicBezTo>
                      <a:pt x="892" y="870"/>
                      <a:pt x="892" y="870"/>
                      <a:pt x="892" y="870"/>
                    </a:cubicBezTo>
                    <a:cubicBezTo>
                      <a:pt x="887" y="869"/>
                      <a:pt x="887" y="869"/>
                      <a:pt x="887" y="869"/>
                    </a:cubicBezTo>
                    <a:cubicBezTo>
                      <a:pt x="887" y="866"/>
                      <a:pt x="887" y="866"/>
                      <a:pt x="887" y="866"/>
                    </a:cubicBezTo>
                    <a:cubicBezTo>
                      <a:pt x="884" y="864"/>
                      <a:pt x="884" y="864"/>
                      <a:pt x="884" y="864"/>
                    </a:cubicBezTo>
                    <a:cubicBezTo>
                      <a:pt x="880" y="859"/>
                      <a:pt x="880" y="859"/>
                      <a:pt x="880" y="859"/>
                    </a:cubicBezTo>
                    <a:cubicBezTo>
                      <a:pt x="872" y="856"/>
                      <a:pt x="872" y="856"/>
                      <a:pt x="872" y="856"/>
                    </a:cubicBezTo>
                    <a:cubicBezTo>
                      <a:pt x="865" y="852"/>
                      <a:pt x="865" y="852"/>
                      <a:pt x="865" y="852"/>
                    </a:cubicBezTo>
                    <a:cubicBezTo>
                      <a:pt x="863" y="847"/>
                      <a:pt x="863" y="847"/>
                      <a:pt x="863" y="847"/>
                    </a:cubicBezTo>
                    <a:cubicBezTo>
                      <a:pt x="860" y="846"/>
                      <a:pt x="860" y="846"/>
                      <a:pt x="860" y="846"/>
                    </a:cubicBezTo>
                    <a:cubicBezTo>
                      <a:pt x="854" y="842"/>
                      <a:pt x="854" y="842"/>
                      <a:pt x="854" y="842"/>
                    </a:cubicBezTo>
                    <a:cubicBezTo>
                      <a:pt x="853" y="839"/>
                      <a:pt x="853" y="839"/>
                      <a:pt x="853" y="839"/>
                    </a:cubicBezTo>
                    <a:cubicBezTo>
                      <a:pt x="852" y="845"/>
                      <a:pt x="852" y="845"/>
                      <a:pt x="852" y="845"/>
                    </a:cubicBezTo>
                    <a:cubicBezTo>
                      <a:pt x="849" y="844"/>
                      <a:pt x="849" y="844"/>
                      <a:pt x="849" y="844"/>
                    </a:cubicBezTo>
                    <a:cubicBezTo>
                      <a:pt x="851" y="849"/>
                      <a:pt x="851" y="849"/>
                      <a:pt x="851" y="849"/>
                    </a:cubicBezTo>
                    <a:cubicBezTo>
                      <a:pt x="854" y="852"/>
                      <a:pt x="854" y="852"/>
                      <a:pt x="854" y="852"/>
                    </a:cubicBezTo>
                    <a:cubicBezTo>
                      <a:pt x="856" y="850"/>
                      <a:pt x="856" y="850"/>
                      <a:pt x="856" y="850"/>
                    </a:cubicBezTo>
                    <a:cubicBezTo>
                      <a:pt x="854" y="848"/>
                      <a:pt x="854" y="848"/>
                      <a:pt x="854" y="848"/>
                    </a:cubicBezTo>
                    <a:cubicBezTo>
                      <a:pt x="855" y="846"/>
                      <a:pt x="855" y="846"/>
                      <a:pt x="855" y="846"/>
                    </a:cubicBezTo>
                    <a:cubicBezTo>
                      <a:pt x="856" y="846"/>
                      <a:pt x="856" y="846"/>
                      <a:pt x="856" y="846"/>
                    </a:cubicBezTo>
                    <a:cubicBezTo>
                      <a:pt x="864" y="854"/>
                      <a:pt x="864" y="854"/>
                      <a:pt x="864" y="854"/>
                    </a:cubicBezTo>
                    <a:cubicBezTo>
                      <a:pt x="871" y="858"/>
                      <a:pt x="871" y="858"/>
                      <a:pt x="871" y="858"/>
                    </a:cubicBezTo>
                    <a:cubicBezTo>
                      <a:pt x="872" y="860"/>
                      <a:pt x="872" y="860"/>
                      <a:pt x="872" y="860"/>
                    </a:cubicBezTo>
                    <a:cubicBezTo>
                      <a:pt x="867" y="863"/>
                      <a:pt x="867" y="863"/>
                      <a:pt x="867" y="863"/>
                    </a:cubicBezTo>
                    <a:cubicBezTo>
                      <a:pt x="863" y="863"/>
                      <a:pt x="863" y="863"/>
                      <a:pt x="863" y="863"/>
                    </a:cubicBezTo>
                    <a:cubicBezTo>
                      <a:pt x="860" y="863"/>
                      <a:pt x="860" y="863"/>
                      <a:pt x="860" y="863"/>
                    </a:cubicBezTo>
                    <a:cubicBezTo>
                      <a:pt x="861" y="865"/>
                      <a:pt x="861" y="865"/>
                      <a:pt x="861" y="865"/>
                    </a:cubicBezTo>
                    <a:cubicBezTo>
                      <a:pt x="861" y="866"/>
                      <a:pt x="861" y="866"/>
                      <a:pt x="861" y="866"/>
                    </a:cubicBezTo>
                    <a:cubicBezTo>
                      <a:pt x="863" y="865"/>
                      <a:pt x="863" y="865"/>
                      <a:pt x="863" y="865"/>
                    </a:cubicBezTo>
                    <a:cubicBezTo>
                      <a:pt x="870" y="865"/>
                      <a:pt x="870" y="865"/>
                      <a:pt x="870" y="865"/>
                    </a:cubicBezTo>
                    <a:cubicBezTo>
                      <a:pt x="874" y="861"/>
                      <a:pt x="874" y="861"/>
                      <a:pt x="874" y="861"/>
                    </a:cubicBezTo>
                    <a:cubicBezTo>
                      <a:pt x="876" y="860"/>
                      <a:pt x="876" y="860"/>
                      <a:pt x="876" y="860"/>
                    </a:cubicBezTo>
                    <a:cubicBezTo>
                      <a:pt x="879" y="863"/>
                      <a:pt x="879" y="863"/>
                      <a:pt x="879" y="863"/>
                    </a:cubicBezTo>
                    <a:cubicBezTo>
                      <a:pt x="879" y="868"/>
                      <a:pt x="879" y="868"/>
                      <a:pt x="879" y="868"/>
                    </a:cubicBezTo>
                    <a:cubicBezTo>
                      <a:pt x="887" y="876"/>
                      <a:pt x="887" y="876"/>
                      <a:pt x="887" y="876"/>
                    </a:cubicBezTo>
                    <a:cubicBezTo>
                      <a:pt x="886" y="884"/>
                      <a:pt x="886" y="884"/>
                      <a:pt x="886" y="884"/>
                    </a:cubicBezTo>
                    <a:cubicBezTo>
                      <a:pt x="881" y="889"/>
                      <a:pt x="881" y="889"/>
                      <a:pt x="881" y="889"/>
                    </a:cubicBezTo>
                    <a:cubicBezTo>
                      <a:pt x="878" y="890"/>
                      <a:pt x="878" y="890"/>
                      <a:pt x="878" y="890"/>
                    </a:cubicBezTo>
                    <a:cubicBezTo>
                      <a:pt x="875" y="891"/>
                      <a:pt x="875" y="891"/>
                      <a:pt x="875" y="891"/>
                    </a:cubicBezTo>
                    <a:cubicBezTo>
                      <a:pt x="871" y="891"/>
                      <a:pt x="871" y="891"/>
                      <a:pt x="871" y="891"/>
                    </a:cubicBezTo>
                    <a:cubicBezTo>
                      <a:pt x="868" y="889"/>
                      <a:pt x="868" y="889"/>
                      <a:pt x="868" y="889"/>
                    </a:cubicBezTo>
                    <a:cubicBezTo>
                      <a:pt x="859" y="887"/>
                      <a:pt x="859" y="887"/>
                      <a:pt x="859" y="887"/>
                    </a:cubicBezTo>
                    <a:cubicBezTo>
                      <a:pt x="854" y="881"/>
                      <a:pt x="854" y="881"/>
                      <a:pt x="854" y="881"/>
                    </a:cubicBezTo>
                    <a:cubicBezTo>
                      <a:pt x="852" y="875"/>
                      <a:pt x="852" y="875"/>
                      <a:pt x="852" y="875"/>
                    </a:cubicBezTo>
                    <a:cubicBezTo>
                      <a:pt x="850" y="873"/>
                      <a:pt x="850" y="873"/>
                      <a:pt x="850" y="873"/>
                    </a:cubicBezTo>
                    <a:cubicBezTo>
                      <a:pt x="849" y="874"/>
                      <a:pt x="849" y="874"/>
                      <a:pt x="849" y="874"/>
                    </a:cubicBezTo>
                    <a:cubicBezTo>
                      <a:pt x="849" y="877"/>
                      <a:pt x="849" y="877"/>
                      <a:pt x="849" y="877"/>
                    </a:cubicBezTo>
                    <a:cubicBezTo>
                      <a:pt x="849" y="880"/>
                      <a:pt x="849" y="880"/>
                      <a:pt x="849" y="880"/>
                    </a:cubicBezTo>
                    <a:cubicBezTo>
                      <a:pt x="852" y="884"/>
                      <a:pt x="852" y="884"/>
                      <a:pt x="852" y="884"/>
                    </a:cubicBezTo>
                    <a:cubicBezTo>
                      <a:pt x="855" y="892"/>
                      <a:pt x="855" y="892"/>
                      <a:pt x="855" y="892"/>
                    </a:cubicBezTo>
                    <a:cubicBezTo>
                      <a:pt x="859" y="898"/>
                      <a:pt x="859" y="898"/>
                      <a:pt x="859" y="898"/>
                    </a:cubicBezTo>
                    <a:cubicBezTo>
                      <a:pt x="857" y="900"/>
                      <a:pt x="857" y="900"/>
                      <a:pt x="857" y="900"/>
                    </a:cubicBezTo>
                    <a:cubicBezTo>
                      <a:pt x="855" y="899"/>
                      <a:pt x="855" y="899"/>
                      <a:pt x="855" y="899"/>
                    </a:cubicBezTo>
                    <a:cubicBezTo>
                      <a:pt x="851" y="899"/>
                      <a:pt x="851" y="899"/>
                      <a:pt x="851" y="899"/>
                    </a:cubicBezTo>
                    <a:cubicBezTo>
                      <a:pt x="850" y="895"/>
                      <a:pt x="850" y="895"/>
                      <a:pt x="850" y="895"/>
                    </a:cubicBezTo>
                    <a:cubicBezTo>
                      <a:pt x="849" y="897"/>
                      <a:pt x="849" y="897"/>
                      <a:pt x="849" y="897"/>
                    </a:cubicBezTo>
                    <a:cubicBezTo>
                      <a:pt x="848" y="898"/>
                      <a:pt x="848" y="898"/>
                      <a:pt x="848" y="898"/>
                    </a:cubicBezTo>
                    <a:cubicBezTo>
                      <a:pt x="849" y="900"/>
                      <a:pt x="849" y="900"/>
                      <a:pt x="849" y="900"/>
                    </a:cubicBezTo>
                    <a:cubicBezTo>
                      <a:pt x="852" y="902"/>
                      <a:pt x="852" y="902"/>
                      <a:pt x="852" y="902"/>
                    </a:cubicBezTo>
                    <a:cubicBezTo>
                      <a:pt x="853" y="904"/>
                      <a:pt x="853" y="904"/>
                      <a:pt x="853" y="904"/>
                    </a:cubicBezTo>
                    <a:cubicBezTo>
                      <a:pt x="846" y="902"/>
                      <a:pt x="846" y="902"/>
                      <a:pt x="846" y="902"/>
                    </a:cubicBezTo>
                    <a:cubicBezTo>
                      <a:pt x="845" y="901"/>
                      <a:pt x="845" y="901"/>
                      <a:pt x="845" y="901"/>
                    </a:cubicBezTo>
                    <a:cubicBezTo>
                      <a:pt x="844" y="904"/>
                      <a:pt x="844" y="904"/>
                      <a:pt x="844" y="904"/>
                    </a:cubicBezTo>
                    <a:cubicBezTo>
                      <a:pt x="847" y="906"/>
                      <a:pt x="847" y="906"/>
                      <a:pt x="847" y="906"/>
                    </a:cubicBezTo>
                    <a:cubicBezTo>
                      <a:pt x="847" y="909"/>
                      <a:pt x="847" y="909"/>
                      <a:pt x="847" y="909"/>
                    </a:cubicBezTo>
                    <a:cubicBezTo>
                      <a:pt x="844" y="913"/>
                      <a:pt x="844" y="913"/>
                      <a:pt x="844" y="913"/>
                    </a:cubicBezTo>
                    <a:cubicBezTo>
                      <a:pt x="843" y="908"/>
                      <a:pt x="843" y="908"/>
                      <a:pt x="843" y="908"/>
                    </a:cubicBezTo>
                    <a:cubicBezTo>
                      <a:pt x="841" y="908"/>
                      <a:pt x="841" y="908"/>
                      <a:pt x="841" y="908"/>
                    </a:cubicBezTo>
                    <a:cubicBezTo>
                      <a:pt x="842" y="910"/>
                      <a:pt x="842" y="910"/>
                      <a:pt x="842" y="910"/>
                    </a:cubicBezTo>
                    <a:cubicBezTo>
                      <a:pt x="841" y="912"/>
                      <a:pt x="841" y="912"/>
                      <a:pt x="841" y="912"/>
                    </a:cubicBezTo>
                    <a:cubicBezTo>
                      <a:pt x="840" y="911"/>
                      <a:pt x="840" y="911"/>
                      <a:pt x="840" y="911"/>
                    </a:cubicBezTo>
                    <a:cubicBezTo>
                      <a:pt x="835" y="911"/>
                      <a:pt x="835" y="911"/>
                      <a:pt x="835" y="911"/>
                    </a:cubicBezTo>
                    <a:cubicBezTo>
                      <a:pt x="833" y="913"/>
                      <a:pt x="833" y="913"/>
                      <a:pt x="833" y="913"/>
                    </a:cubicBezTo>
                    <a:cubicBezTo>
                      <a:pt x="828" y="916"/>
                      <a:pt x="828" y="916"/>
                      <a:pt x="828" y="916"/>
                    </a:cubicBezTo>
                    <a:cubicBezTo>
                      <a:pt x="831" y="917"/>
                      <a:pt x="831" y="917"/>
                      <a:pt x="831" y="917"/>
                    </a:cubicBezTo>
                    <a:cubicBezTo>
                      <a:pt x="832" y="920"/>
                      <a:pt x="832" y="920"/>
                      <a:pt x="832" y="920"/>
                    </a:cubicBezTo>
                    <a:cubicBezTo>
                      <a:pt x="830" y="921"/>
                      <a:pt x="830" y="921"/>
                      <a:pt x="830" y="921"/>
                    </a:cubicBezTo>
                    <a:cubicBezTo>
                      <a:pt x="829" y="919"/>
                      <a:pt x="829" y="919"/>
                      <a:pt x="829" y="919"/>
                    </a:cubicBezTo>
                    <a:cubicBezTo>
                      <a:pt x="825" y="916"/>
                      <a:pt x="825" y="916"/>
                      <a:pt x="825" y="916"/>
                    </a:cubicBezTo>
                    <a:cubicBezTo>
                      <a:pt x="822" y="916"/>
                      <a:pt x="822" y="916"/>
                      <a:pt x="822" y="916"/>
                    </a:cubicBezTo>
                    <a:cubicBezTo>
                      <a:pt x="822" y="918"/>
                      <a:pt x="822" y="918"/>
                      <a:pt x="822" y="918"/>
                    </a:cubicBezTo>
                    <a:cubicBezTo>
                      <a:pt x="820" y="919"/>
                      <a:pt x="820" y="919"/>
                      <a:pt x="820" y="919"/>
                    </a:cubicBezTo>
                    <a:cubicBezTo>
                      <a:pt x="824" y="922"/>
                      <a:pt x="824" y="922"/>
                      <a:pt x="824" y="922"/>
                    </a:cubicBezTo>
                    <a:cubicBezTo>
                      <a:pt x="823" y="924"/>
                      <a:pt x="823" y="924"/>
                      <a:pt x="823" y="924"/>
                    </a:cubicBezTo>
                    <a:cubicBezTo>
                      <a:pt x="823" y="926"/>
                      <a:pt x="823" y="926"/>
                      <a:pt x="823" y="926"/>
                    </a:cubicBezTo>
                    <a:cubicBezTo>
                      <a:pt x="819" y="926"/>
                      <a:pt x="819" y="926"/>
                      <a:pt x="819" y="926"/>
                    </a:cubicBezTo>
                    <a:cubicBezTo>
                      <a:pt x="816" y="931"/>
                      <a:pt x="816" y="931"/>
                      <a:pt x="816" y="931"/>
                    </a:cubicBezTo>
                    <a:cubicBezTo>
                      <a:pt x="811" y="933"/>
                      <a:pt x="811" y="933"/>
                      <a:pt x="811" y="933"/>
                    </a:cubicBezTo>
                    <a:cubicBezTo>
                      <a:pt x="813" y="936"/>
                      <a:pt x="813" y="936"/>
                      <a:pt x="813" y="936"/>
                    </a:cubicBezTo>
                    <a:cubicBezTo>
                      <a:pt x="812" y="938"/>
                      <a:pt x="812" y="938"/>
                      <a:pt x="812" y="938"/>
                    </a:cubicBezTo>
                    <a:cubicBezTo>
                      <a:pt x="810" y="938"/>
                      <a:pt x="810" y="938"/>
                      <a:pt x="810" y="938"/>
                    </a:cubicBezTo>
                    <a:cubicBezTo>
                      <a:pt x="807" y="941"/>
                      <a:pt x="807" y="941"/>
                      <a:pt x="807" y="941"/>
                    </a:cubicBezTo>
                    <a:cubicBezTo>
                      <a:pt x="808" y="944"/>
                      <a:pt x="808" y="944"/>
                      <a:pt x="808" y="944"/>
                    </a:cubicBezTo>
                    <a:cubicBezTo>
                      <a:pt x="805" y="945"/>
                      <a:pt x="805" y="945"/>
                      <a:pt x="805" y="945"/>
                    </a:cubicBezTo>
                    <a:cubicBezTo>
                      <a:pt x="799" y="951"/>
                      <a:pt x="799" y="951"/>
                      <a:pt x="799" y="951"/>
                    </a:cubicBezTo>
                    <a:cubicBezTo>
                      <a:pt x="795" y="952"/>
                      <a:pt x="795" y="952"/>
                      <a:pt x="795" y="952"/>
                    </a:cubicBezTo>
                    <a:cubicBezTo>
                      <a:pt x="795" y="955"/>
                      <a:pt x="795" y="955"/>
                      <a:pt x="795" y="955"/>
                    </a:cubicBezTo>
                    <a:cubicBezTo>
                      <a:pt x="791" y="959"/>
                      <a:pt x="791" y="959"/>
                      <a:pt x="791" y="959"/>
                    </a:cubicBezTo>
                    <a:cubicBezTo>
                      <a:pt x="787" y="956"/>
                      <a:pt x="787" y="956"/>
                      <a:pt x="787" y="956"/>
                    </a:cubicBezTo>
                    <a:cubicBezTo>
                      <a:pt x="786" y="958"/>
                      <a:pt x="786" y="958"/>
                      <a:pt x="786" y="958"/>
                    </a:cubicBezTo>
                    <a:cubicBezTo>
                      <a:pt x="788" y="963"/>
                      <a:pt x="788" y="963"/>
                      <a:pt x="788" y="963"/>
                    </a:cubicBezTo>
                    <a:cubicBezTo>
                      <a:pt x="785" y="966"/>
                      <a:pt x="785" y="966"/>
                      <a:pt x="785" y="966"/>
                    </a:cubicBezTo>
                    <a:cubicBezTo>
                      <a:pt x="783" y="973"/>
                      <a:pt x="783" y="973"/>
                      <a:pt x="783" y="973"/>
                    </a:cubicBezTo>
                    <a:cubicBezTo>
                      <a:pt x="781" y="976"/>
                      <a:pt x="781" y="976"/>
                      <a:pt x="781" y="976"/>
                    </a:cubicBezTo>
                    <a:cubicBezTo>
                      <a:pt x="779" y="981"/>
                      <a:pt x="779" y="981"/>
                      <a:pt x="779" y="981"/>
                    </a:cubicBezTo>
                    <a:cubicBezTo>
                      <a:pt x="776" y="983"/>
                      <a:pt x="776" y="983"/>
                      <a:pt x="776" y="983"/>
                    </a:cubicBezTo>
                    <a:cubicBezTo>
                      <a:pt x="774" y="990"/>
                      <a:pt x="774" y="990"/>
                      <a:pt x="774" y="990"/>
                    </a:cubicBezTo>
                    <a:cubicBezTo>
                      <a:pt x="775" y="992"/>
                      <a:pt x="775" y="992"/>
                      <a:pt x="775" y="992"/>
                    </a:cubicBezTo>
                    <a:cubicBezTo>
                      <a:pt x="775" y="997"/>
                      <a:pt x="775" y="997"/>
                      <a:pt x="775" y="997"/>
                    </a:cubicBezTo>
                    <a:cubicBezTo>
                      <a:pt x="772" y="1003"/>
                      <a:pt x="772" y="1003"/>
                      <a:pt x="772" y="1003"/>
                    </a:cubicBezTo>
                    <a:cubicBezTo>
                      <a:pt x="770" y="1006"/>
                      <a:pt x="770" y="1006"/>
                      <a:pt x="770" y="1006"/>
                    </a:cubicBezTo>
                    <a:cubicBezTo>
                      <a:pt x="767" y="1007"/>
                      <a:pt x="767" y="1007"/>
                      <a:pt x="767" y="1007"/>
                    </a:cubicBezTo>
                    <a:cubicBezTo>
                      <a:pt x="765" y="1009"/>
                      <a:pt x="765" y="1009"/>
                      <a:pt x="765" y="1009"/>
                    </a:cubicBezTo>
                    <a:cubicBezTo>
                      <a:pt x="769" y="1010"/>
                      <a:pt x="769" y="1010"/>
                      <a:pt x="769" y="1010"/>
                    </a:cubicBezTo>
                    <a:cubicBezTo>
                      <a:pt x="770" y="1012"/>
                      <a:pt x="770" y="1012"/>
                      <a:pt x="770" y="1012"/>
                    </a:cubicBezTo>
                    <a:cubicBezTo>
                      <a:pt x="769" y="1016"/>
                      <a:pt x="769" y="1016"/>
                      <a:pt x="769" y="1016"/>
                    </a:cubicBezTo>
                    <a:cubicBezTo>
                      <a:pt x="771" y="1018"/>
                      <a:pt x="771" y="1018"/>
                      <a:pt x="771" y="1018"/>
                    </a:cubicBezTo>
                    <a:cubicBezTo>
                      <a:pt x="771" y="1023"/>
                      <a:pt x="771" y="1023"/>
                      <a:pt x="771" y="1023"/>
                    </a:cubicBezTo>
                    <a:cubicBezTo>
                      <a:pt x="773" y="1024"/>
                      <a:pt x="773" y="1024"/>
                      <a:pt x="773" y="1024"/>
                    </a:cubicBezTo>
                    <a:cubicBezTo>
                      <a:pt x="769" y="1032"/>
                      <a:pt x="769" y="1032"/>
                      <a:pt x="769" y="1032"/>
                    </a:cubicBezTo>
                    <a:cubicBezTo>
                      <a:pt x="764" y="1037"/>
                      <a:pt x="764" y="1037"/>
                      <a:pt x="764" y="1037"/>
                    </a:cubicBezTo>
                    <a:cubicBezTo>
                      <a:pt x="754" y="1039"/>
                      <a:pt x="754" y="1039"/>
                      <a:pt x="754" y="1039"/>
                    </a:cubicBezTo>
                    <a:cubicBezTo>
                      <a:pt x="752" y="1043"/>
                      <a:pt x="752" y="1043"/>
                      <a:pt x="752" y="1043"/>
                    </a:cubicBezTo>
                    <a:cubicBezTo>
                      <a:pt x="757" y="1039"/>
                      <a:pt x="757" y="1039"/>
                      <a:pt x="757" y="1039"/>
                    </a:cubicBezTo>
                    <a:cubicBezTo>
                      <a:pt x="766" y="1038"/>
                      <a:pt x="766" y="1038"/>
                      <a:pt x="766" y="1038"/>
                    </a:cubicBezTo>
                    <a:cubicBezTo>
                      <a:pt x="773" y="1030"/>
                      <a:pt x="773" y="1030"/>
                      <a:pt x="773" y="1030"/>
                    </a:cubicBezTo>
                    <a:cubicBezTo>
                      <a:pt x="778" y="1021"/>
                      <a:pt x="778" y="1021"/>
                      <a:pt x="778" y="1021"/>
                    </a:cubicBezTo>
                    <a:cubicBezTo>
                      <a:pt x="789" y="1020"/>
                      <a:pt x="789" y="1020"/>
                      <a:pt x="789" y="1020"/>
                    </a:cubicBezTo>
                    <a:cubicBezTo>
                      <a:pt x="792" y="1022"/>
                      <a:pt x="792" y="1022"/>
                      <a:pt x="792" y="1022"/>
                    </a:cubicBezTo>
                    <a:cubicBezTo>
                      <a:pt x="792" y="1025"/>
                      <a:pt x="792" y="1025"/>
                      <a:pt x="792" y="1025"/>
                    </a:cubicBezTo>
                    <a:cubicBezTo>
                      <a:pt x="790" y="1029"/>
                      <a:pt x="790" y="1029"/>
                      <a:pt x="790" y="1029"/>
                    </a:cubicBezTo>
                    <a:cubicBezTo>
                      <a:pt x="790" y="1034"/>
                      <a:pt x="790" y="1034"/>
                      <a:pt x="790" y="1034"/>
                    </a:cubicBezTo>
                    <a:cubicBezTo>
                      <a:pt x="793" y="1039"/>
                      <a:pt x="793" y="1039"/>
                      <a:pt x="793" y="1039"/>
                    </a:cubicBezTo>
                    <a:cubicBezTo>
                      <a:pt x="793" y="1046"/>
                      <a:pt x="793" y="1046"/>
                      <a:pt x="793" y="1046"/>
                    </a:cubicBezTo>
                    <a:cubicBezTo>
                      <a:pt x="790" y="1053"/>
                      <a:pt x="790" y="1053"/>
                      <a:pt x="790" y="1053"/>
                    </a:cubicBezTo>
                    <a:cubicBezTo>
                      <a:pt x="792" y="1057"/>
                      <a:pt x="792" y="1057"/>
                      <a:pt x="792" y="1057"/>
                    </a:cubicBezTo>
                    <a:cubicBezTo>
                      <a:pt x="793" y="1064"/>
                      <a:pt x="793" y="1064"/>
                      <a:pt x="793" y="1064"/>
                    </a:cubicBezTo>
                    <a:cubicBezTo>
                      <a:pt x="792" y="1068"/>
                      <a:pt x="792" y="1068"/>
                      <a:pt x="792" y="1068"/>
                    </a:cubicBezTo>
                    <a:cubicBezTo>
                      <a:pt x="780" y="1078"/>
                      <a:pt x="780" y="1078"/>
                      <a:pt x="780" y="1078"/>
                    </a:cubicBezTo>
                    <a:cubicBezTo>
                      <a:pt x="774" y="1080"/>
                      <a:pt x="774" y="1080"/>
                      <a:pt x="774" y="1080"/>
                    </a:cubicBezTo>
                    <a:cubicBezTo>
                      <a:pt x="770" y="1080"/>
                      <a:pt x="770" y="1080"/>
                      <a:pt x="770" y="1080"/>
                    </a:cubicBezTo>
                    <a:cubicBezTo>
                      <a:pt x="775" y="1081"/>
                      <a:pt x="775" y="1081"/>
                      <a:pt x="775" y="1081"/>
                    </a:cubicBezTo>
                    <a:cubicBezTo>
                      <a:pt x="780" y="1081"/>
                      <a:pt x="780" y="1081"/>
                      <a:pt x="780" y="1081"/>
                    </a:cubicBezTo>
                    <a:cubicBezTo>
                      <a:pt x="794" y="1077"/>
                      <a:pt x="794" y="1077"/>
                      <a:pt x="794" y="1077"/>
                    </a:cubicBezTo>
                    <a:cubicBezTo>
                      <a:pt x="808" y="1073"/>
                      <a:pt x="808" y="1073"/>
                      <a:pt x="808" y="1073"/>
                    </a:cubicBezTo>
                    <a:cubicBezTo>
                      <a:pt x="815" y="1072"/>
                      <a:pt x="815" y="1072"/>
                      <a:pt x="815" y="1072"/>
                    </a:cubicBezTo>
                    <a:cubicBezTo>
                      <a:pt x="823" y="1078"/>
                      <a:pt x="823" y="1078"/>
                      <a:pt x="823" y="1078"/>
                    </a:cubicBezTo>
                    <a:cubicBezTo>
                      <a:pt x="829" y="1082"/>
                      <a:pt x="829" y="1082"/>
                      <a:pt x="829" y="1082"/>
                    </a:cubicBezTo>
                    <a:cubicBezTo>
                      <a:pt x="837" y="1085"/>
                      <a:pt x="837" y="1085"/>
                      <a:pt x="837" y="1085"/>
                    </a:cubicBezTo>
                    <a:cubicBezTo>
                      <a:pt x="840" y="1087"/>
                      <a:pt x="840" y="1087"/>
                      <a:pt x="840" y="1087"/>
                    </a:cubicBezTo>
                    <a:cubicBezTo>
                      <a:pt x="843" y="1088"/>
                      <a:pt x="843" y="1088"/>
                      <a:pt x="843" y="1088"/>
                    </a:cubicBezTo>
                    <a:cubicBezTo>
                      <a:pt x="849" y="1094"/>
                      <a:pt x="849" y="1094"/>
                      <a:pt x="849" y="1094"/>
                    </a:cubicBezTo>
                    <a:cubicBezTo>
                      <a:pt x="852" y="1095"/>
                      <a:pt x="852" y="1095"/>
                      <a:pt x="852" y="1095"/>
                    </a:cubicBezTo>
                    <a:cubicBezTo>
                      <a:pt x="855" y="1100"/>
                      <a:pt x="855" y="1100"/>
                      <a:pt x="855" y="1100"/>
                    </a:cubicBezTo>
                    <a:cubicBezTo>
                      <a:pt x="859" y="1102"/>
                      <a:pt x="859" y="1102"/>
                      <a:pt x="859" y="1102"/>
                    </a:cubicBezTo>
                    <a:cubicBezTo>
                      <a:pt x="859" y="1106"/>
                      <a:pt x="859" y="1106"/>
                      <a:pt x="859" y="1106"/>
                    </a:cubicBezTo>
                    <a:cubicBezTo>
                      <a:pt x="861" y="1108"/>
                      <a:pt x="861" y="1108"/>
                      <a:pt x="861" y="1108"/>
                    </a:cubicBezTo>
                    <a:cubicBezTo>
                      <a:pt x="864" y="1115"/>
                      <a:pt x="864" y="1115"/>
                      <a:pt x="864" y="1115"/>
                    </a:cubicBezTo>
                    <a:cubicBezTo>
                      <a:pt x="864" y="1116"/>
                      <a:pt x="864" y="1116"/>
                      <a:pt x="864" y="1116"/>
                    </a:cubicBezTo>
                    <a:cubicBezTo>
                      <a:pt x="866" y="1115"/>
                      <a:pt x="866" y="1115"/>
                      <a:pt x="866" y="1115"/>
                    </a:cubicBezTo>
                    <a:cubicBezTo>
                      <a:pt x="868" y="1117"/>
                      <a:pt x="868" y="1117"/>
                      <a:pt x="868" y="1117"/>
                    </a:cubicBezTo>
                    <a:cubicBezTo>
                      <a:pt x="876" y="1122"/>
                      <a:pt x="876" y="1122"/>
                      <a:pt x="876" y="1122"/>
                    </a:cubicBezTo>
                    <a:cubicBezTo>
                      <a:pt x="879" y="1123"/>
                      <a:pt x="879" y="1123"/>
                      <a:pt x="879" y="1123"/>
                    </a:cubicBezTo>
                    <a:cubicBezTo>
                      <a:pt x="884" y="1127"/>
                      <a:pt x="884" y="1127"/>
                      <a:pt x="884" y="1127"/>
                    </a:cubicBezTo>
                    <a:cubicBezTo>
                      <a:pt x="887" y="1128"/>
                      <a:pt x="887" y="1128"/>
                      <a:pt x="887" y="1128"/>
                    </a:cubicBezTo>
                    <a:cubicBezTo>
                      <a:pt x="894" y="1133"/>
                      <a:pt x="894" y="1133"/>
                      <a:pt x="894" y="1133"/>
                    </a:cubicBezTo>
                    <a:cubicBezTo>
                      <a:pt x="895" y="1136"/>
                      <a:pt x="895" y="1136"/>
                      <a:pt x="895" y="1136"/>
                    </a:cubicBezTo>
                    <a:cubicBezTo>
                      <a:pt x="899" y="1141"/>
                      <a:pt x="899" y="1141"/>
                      <a:pt x="899" y="1141"/>
                    </a:cubicBezTo>
                    <a:cubicBezTo>
                      <a:pt x="899" y="1142"/>
                      <a:pt x="899" y="1142"/>
                      <a:pt x="899" y="1142"/>
                    </a:cubicBezTo>
                    <a:cubicBezTo>
                      <a:pt x="900" y="1144"/>
                      <a:pt x="900" y="1144"/>
                      <a:pt x="900" y="1144"/>
                    </a:cubicBezTo>
                    <a:cubicBezTo>
                      <a:pt x="906" y="1144"/>
                      <a:pt x="906" y="1144"/>
                      <a:pt x="906" y="1144"/>
                    </a:cubicBezTo>
                    <a:cubicBezTo>
                      <a:pt x="908" y="1144"/>
                      <a:pt x="908" y="1144"/>
                      <a:pt x="908" y="1144"/>
                    </a:cubicBezTo>
                    <a:cubicBezTo>
                      <a:pt x="912" y="1143"/>
                      <a:pt x="912" y="1143"/>
                      <a:pt x="912" y="1143"/>
                    </a:cubicBezTo>
                    <a:cubicBezTo>
                      <a:pt x="920" y="1144"/>
                      <a:pt x="920" y="1144"/>
                      <a:pt x="920" y="1144"/>
                    </a:cubicBezTo>
                    <a:cubicBezTo>
                      <a:pt x="922" y="1145"/>
                      <a:pt x="922" y="1145"/>
                      <a:pt x="922" y="1145"/>
                    </a:cubicBezTo>
                    <a:cubicBezTo>
                      <a:pt x="924" y="1145"/>
                      <a:pt x="924" y="1145"/>
                      <a:pt x="924" y="1145"/>
                    </a:cubicBezTo>
                    <a:cubicBezTo>
                      <a:pt x="930" y="1147"/>
                      <a:pt x="930" y="1147"/>
                      <a:pt x="930" y="1147"/>
                    </a:cubicBezTo>
                    <a:cubicBezTo>
                      <a:pt x="936" y="1148"/>
                      <a:pt x="936" y="1148"/>
                      <a:pt x="936" y="1148"/>
                    </a:cubicBezTo>
                    <a:cubicBezTo>
                      <a:pt x="941" y="1147"/>
                      <a:pt x="941" y="1147"/>
                      <a:pt x="941" y="1147"/>
                    </a:cubicBezTo>
                    <a:cubicBezTo>
                      <a:pt x="944" y="1147"/>
                      <a:pt x="944" y="1147"/>
                      <a:pt x="944" y="1147"/>
                    </a:cubicBezTo>
                    <a:cubicBezTo>
                      <a:pt x="944" y="1148"/>
                      <a:pt x="944" y="1148"/>
                      <a:pt x="944" y="1148"/>
                    </a:cubicBezTo>
                    <a:cubicBezTo>
                      <a:pt x="945" y="1148"/>
                      <a:pt x="945" y="1148"/>
                      <a:pt x="945" y="1148"/>
                    </a:cubicBezTo>
                    <a:cubicBezTo>
                      <a:pt x="947" y="1148"/>
                      <a:pt x="947" y="1148"/>
                      <a:pt x="947" y="1148"/>
                    </a:cubicBezTo>
                    <a:cubicBezTo>
                      <a:pt x="947" y="1153"/>
                      <a:pt x="947" y="1153"/>
                      <a:pt x="947" y="1153"/>
                    </a:cubicBezTo>
                    <a:cubicBezTo>
                      <a:pt x="942" y="1162"/>
                      <a:pt x="942" y="1162"/>
                      <a:pt x="942" y="1162"/>
                    </a:cubicBezTo>
                    <a:cubicBezTo>
                      <a:pt x="942" y="1165"/>
                      <a:pt x="942" y="1165"/>
                      <a:pt x="942" y="1165"/>
                    </a:cubicBezTo>
                    <a:cubicBezTo>
                      <a:pt x="940" y="1169"/>
                      <a:pt x="940" y="1169"/>
                      <a:pt x="940" y="1169"/>
                    </a:cubicBezTo>
                    <a:cubicBezTo>
                      <a:pt x="937" y="1174"/>
                      <a:pt x="937" y="1174"/>
                      <a:pt x="937" y="1174"/>
                    </a:cubicBezTo>
                    <a:cubicBezTo>
                      <a:pt x="938" y="1178"/>
                      <a:pt x="938" y="1178"/>
                      <a:pt x="938" y="1178"/>
                    </a:cubicBezTo>
                    <a:cubicBezTo>
                      <a:pt x="939" y="1179"/>
                      <a:pt x="939" y="1179"/>
                      <a:pt x="939" y="1179"/>
                    </a:cubicBezTo>
                    <a:cubicBezTo>
                      <a:pt x="939" y="1187"/>
                      <a:pt x="939" y="1187"/>
                      <a:pt x="939" y="1187"/>
                    </a:cubicBezTo>
                    <a:cubicBezTo>
                      <a:pt x="934" y="1194"/>
                      <a:pt x="934" y="1194"/>
                      <a:pt x="934" y="1194"/>
                    </a:cubicBezTo>
                    <a:cubicBezTo>
                      <a:pt x="934" y="1198"/>
                      <a:pt x="934" y="1198"/>
                      <a:pt x="934" y="1198"/>
                    </a:cubicBezTo>
                    <a:cubicBezTo>
                      <a:pt x="933" y="1202"/>
                      <a:pt x="933" y="1202"/>
                      <a:pt x="933" y="1202"/>
                    </a:cubicBezTo>
                    <a:cubicBezTo>
                      <a:pt x="929" y="1206"/>
                      <a:pt x="929" y="1206"/>
                      <a:pt x="929" y="1206"/>
                    </a:cubicBezTo>
                    <a:cubicBezTo>
                      <a:pt x="927" y="1213"/>
                      <a:pt x="927" y="1213"/>
                      <a:pt x="927" y="1213"/>
                    </a:cubicBezTo>
                    <a:cubicBezTo>
                      <a:pt x="928" y="1216"/>
                      <a:pt x="928" y="1216"/>
                      <a:pt x="928" y="1216"/>
                    </a:cubicBezTo>
                    <a:cubicBezTo>
                      <a:pt x="932" y="1219"/>
                      <a:pt x="932" y="1219"/>
                      <a:pt x="932" y="1219"/>
                    </a:cubicBezTo>
                    <a:cubicBezTo>
                      <a:pt x="932" y="1223"/>
                      <a:pt x="932" y="1223"/>
                      <a:pt x="932" y="1223"/>
                    </a:cubicBezTo>
                    <a:cubicBezTo>
                      <a:pt x="935" y="1225"/>
                      <a:pt x="935" y="1225"/>
                      <a:pt x="935" y="1225"/>
                    </a:cubicBezTo>
                    <a:cubicBezTo>
                      <a:pt x="937" y="1228"/>
                      <a:pt x="937" y="1228"/>
                      <a:pt x="937" y="1228"/>
                    </a:cubicBezTo>
                    <a:cubicBezTo>
                      <a:pt x="937" y="1231"/>
                      <a:pt x="937" y="1231"/>
                      <a:pt x="937" y="1231"/>
                    </a:cubicBezTo>
                    <a:cubicBezTo>
                      <a:pt x="937" y="1233"/>
                      <a:pt x="937" y="1233"/>
                      <a:pt x="937" y="1233"/>
                    </a:cubicBezTo>
                    <a:cubicBezTo>
                      <a:pt x="937" y="1235"/>
                      <a:pt x="937" y="1235"/>
                      <a:pt x="937" y="1235"/>
                    </a:cubicBezTo>
                    <a:cubicBezTo>
                      <a:pt x="940" y="1237"/>
                      <a:pt x="940" y="1237"/>
                      <a:pt x="940" y="1237"/>
                    </a:cubicBezTo>
                    <a:cubicBezTo>
                      <a:pt x="945" y="1239"/>
                      <a:pt x="945" y="1239"/>
                      <a:pt x="945" y="1239"/>
                    </a:cubicBezTo>
                    <a:cubicBezTo>
                      <a:pt x="946" y="1239"/>
                      <a:pt x="946" y="1239"/>
                      <a:pt x="946" y="1239"/>
                    </a:cubicBezTo>
                    <a:cubicBezTo>
                      <a:pt x="947" y="1241"/>
                      <a:pt x="947" y="1241"/>
                      <a:pt x="947" y="1241"/>
                    </a:cubicBezTo>
                    <a:cubicBezTo>
                      <a:pt x="949" y="1245"/>
                      <a:pt x="949" y="1245"/>
                      <a:pt x="949" y="1245"/>
                    </a:cubicBezTo>
                    <a:cubicBezTo>
                      <a:pt x="950" y="1250"/>
                      <a:pt x="950" y="1250"/>
                      <a:pt x="950" y="1250"/>
                    </a:cubicBezTo>
                    <a:cubicBezTo>
                      <a:pt x="951" y="1253"/>
                      <a:pt x="951" y="1253"/>
                      <a:pt x="951" y="1253"/>
                    </a:cubicBezTo>
                    <a:cubicBezTo>
                      <a:pt x="949" y="1258"/>
                      <a:pt x="949" y="1258"/>
                      <a:pt x="949" y="1258"/>
                    </a:cubicBezTo>
                    <a:cubicBezTo>
                      <a:pt x="942" y="1264"/>
                      <a:pt x="942" y="1264"/>
                      <a:pt x="942" y="1264"/>
                    </a:cubicBezTo>
                    <a:cubicBezTo>
                      <a:pt x="947" y="1262"/>
                      <a:pt x="947" y="1262"/>
                      <a:pt x="947" y="1262"/>
                    </a:cubicBezTo>
                    <a:cubicBezTo>
                      <a:pt x="952" y="1258"/>
                      <a:pt x="952" y="1258"/>
                      <a:pt x="952" y="1258"/>
                    </a:cubicBezTo>
                    <a:cubicBezTo>
                      <a:pt x="957" y="1260"/>
                      <a:pt x="957" y="1260"/>
                      <a:pt x="957" y="1260"/>
                    </a:cubicBezTo>
                    <a:cubicBezTo>
                      <a:pt x="960" y="1263"/>
                      <a:pt x="960" y="1263"/>
                      <a:pt x="960" y="1263"/>
                    </a:cubicBezTo>
                    <a:cubicBezTo>
                      <a:pt x="964" y="1263"/>
                      <a:pt x="964" y="1263"/>
                      <a:pt x="964" y="1263"/>
                    </a:cubicBezTo>
                    <a:cubicBezTo>
                      <a:pt x="965" y="1260"/>
                      <a:pt x="965" y="1260"/>
                      <a:pt x="965" y="1260"/>
                    </a:cubicBezTo>
                    <a:cubicBezTo>
                      <a:pt x="965" y="1257"/>
                      <a:pt x="965" y="1257"/>
                      <a:pt x="965" y="1257"/>
                    </a:cubicBezTo>
                    <a:cubicBezTo>
                      <a:pt x="971" y="1249"/>
                      <a:pt x="971" y="1249"/>
                      <a:pt x="971" y="1249"/>
                    </a:cubicBezTo>
                    <a:cubicBezTo>
                      <a:pt x="973" y="1249"/>
                      <a:pt x="973" y="1249"/>
                      <a:pt x="973" y="1249"/>
                    </a:cubicBezTo>
                    <a:cubicBezTo>
                      <a:pt x="972" y="1252"/>
                      <a:pt x="972" y="1252"/>
                      <a:pt x="972" y="1252"/>
                    </a:cubicBezTo>
                    <a:cubicBezTo>
                      <a:pt x="972" y="1254"/>
                      <a:pt x="972" y="1254"/>
                      <a:pt x="972" y="1254"/>
                    </a:cubicBezTo>
                    <a:cubicBezTo>
                      <a:pt x="975" y="1255"/>
                      <a:pt x="975" y="1255"/>
                      <a:pt x="975" y="1255"/>
                    </a:cubicBezTo>
                    <a:cubicBezTo>
                      <a:pt x="976" y="1261"/>
                      <a:pt x="976" y="1261"/>
                      <a:pt x="976" y="1261"/>
                    </a:cubicBezTo>
                    <a:cubicBezTo>
                      <a:pt x="975" y="1266"/>
                      <a:pt x="975" y="1266"/>
                      <a:pt x="975" y="1266"/>
                    </a:cubicBezTo>
                    <a:cubicBezTo>
                      <a:pt x="980" y="1270"/>
                      <a:pt x="980" y="1270"/>
                      <a:pt x="980" y="1270"/>
                    </a:cubicBezTo>
                    <a:cubicBezTo>
                      <a:pt x="986" y="1270"/>
                      <a:pt x="986" y="1270"/>
                      <a:pt x="986" y="1270"/>
                    </a:cubicBezTo>
                    <a:cubicBezTo>
                      <a:pt x="983" y="1269"/>
                      <a:pt x="983" y="1269"/>
                      <a:pt x="983" y="1269"/>
                    </a:cubicBezTo>
                    <a:cubicBezTo>
                      <a:pt x="979" y="1265"/>
                      <a:pt x="979" y="1265"/>
                      <a:pt x="979" y="1265"/>
                    </a:cubicBezTo>
                    <a:cubicBezTo>
                      <a:pt x="978" y="1260"/>
                      <a:pt x="978" y="1260"/>
                      <a:pt x="978" y="1260"/>
                    </a:cubicBezTo>
                    <a:cubicBezTo>
                      <a:pt x="979" y="1255"/>
                      <a:pt x="979" y="1255"/>
                      <a:pt x="979" y="1255"/>
                    </a:cubicBezTo>
                    <a:cubicBezTo>
                      <a:pt x="981" y="1252"/>
                      <a:pt x="981" y="1252"/>
                      <a:pt x="981" y="1252"/>
                    </a:cubicBezTo>
                    <a:cubicBezTo>
                      <a:pt x="979" y="1250"/>
                      <a:pt x="979" y="1250"/>
                      <a:pt x="979" y="1250"/>
                    </a:cubicBezTo>
                    <a:cubicBezTo>
                      <a:pt x="979" y="1246"/>
                      <a:pt x="979" y="1246"/>
                      <a:pt x="979" y="1246"/>
                    </a:cubicBezTo>
                    <a:cubicBezTo>
                      <a:pt x="980" y="1247"/>
                      <a:pt x="980" y="1247"/>
                      <a:pt x="980" y="1247"/>
                    </a:cubicBezTo>
                    <a:cubicBezTo>
                      <a:pt x="982" y="1246"/>
                      <a:pt x="982" y="1246"/>
                      <a:pt x="982" y="1246"/>
                    </a:cubicBezTo>
                    <a:cubicBezTo>
                      <a:pt x="984" y="1241"/>
                      <a:pt x="984" y="1241"/>
                      <a:pt x="984" y="1241"/>
                    </a:cubicBezTo>
                    <a:cubicBezTo>
                      <a:pt x="989" y="1237"/>
                      <a:pt x="989" y="1237"/>
                      <a:pt x="989" y="1237"/>
                    </a:cubicBezTo>
                    <a:cubicBezTo>
                      <a:pt x="987" y="1235"/>
                      <a:pt x="987" y="1235"/>
                      <a:pt x="987" y="1235"/>
                    </a:cubicBezTo>
                    <a:cubicBezTo>
                      <a:pt x="987" y="1230"/>
                      <a:pt x="987" y="1230"/>
                      <a:pt x="987" y="1230"/>
                    </a:cubicBezTo>
                    <a:cubicBezTo>
                      <a:pt x="985" y="1229"/>
                      <a:pt x="985" y="1229"/>
                      <a:pt x="985" y="1229"/>
                    </a:cubicBezTo>
                    <a:cubicBezTo>
                      <a:pt x="985" y="1225"/>
                      <a:pt x="985" y="1225"/>
                      <a:pt x="985" y="1225"/>
                    </a:cubicBezTo>
                    <a:cubicBezTo>
                      <a:pt x="988" y="1220"/>
                      <a:pt x="988" y="1220"/>
                      <a:pt x="988" y="1220"/>
                    </a:cubicBezTo>
                    <a:cubicBezTo>
                      <a:pt x="987" y="1218"/>
                      <a:pt x="987" y="1218"/>
                      <a:pt x="987" y="1218"/>
                    </a:cubicBezTo>
                    <a:cubicBezTo>
                      <a:pt x="987" y="1216"/>
                      <a:pt x="987" y="1216"/>
                      <a:pt x="987" y="1216"/>
                    </a:cubicBezTo>
                    <a:cubicBezTo>
                      <a:pt x="985" y="1216"/>
                      <a:pt x="985" y="1216"/>
                      <a:pt x="985" y="1216"/>
                    </a:cubicBezTo>
                    <a:cubicBezTo>
                      <a:pt x="984" y="1213"/>
                      <a:pt x="984" y="1213"/>
                      <a:pt x="984" y="1213"/>
                    </a:cubicBezTo>
                    <a:cubicBezTo>
                      <a:pt x="988" y="1204"/>
                      <a:pt x="988" y="1204"/>
                      <a:pt x="988" y="1204"/>
                    </a:cubicBezTo>
                    <a:cubicBezTo>
                      <a:pt x="987" y="1201"/>
                      <a:pt x="987" y="1201"/>
                      <a:pt x="987" y="1201"/>
                    </a:cubicBezTo>
                    <a:cubicBezTo>
                      <a:pt x="988" y="1194"/>
                      <a:pt x="988" y="1194"/>
                      <a:pt x="988" y="1194"/>
                    </a:cubicBezTo>
                    <a:cubicBezTo>
                      <a:pt x="990" y="1192"/>
                      <a:pt x="990" y="1192"/>
                      <a:pt x="990" y="1192"/>
                    </a:cubicBezTo>
                    <a:cubicBezTo>
                      <a:pt x="989" y="1189"/>
                      <a:pt x="989" y="1189"/>
                      <a:pt x="989" y="1189"/>
                    </a:cubicBezTo>
                    <a:cubicBezTo>
                      <a:pt x="991" y="1188"/>
                      <a:pt x="991" y="1188"/>
                      <a:pt x="991" y="1188"/>
                    </a:cubicBezTo>
                    <a:cubicBezTo>
                      <a:pt x="989" y="1185"/>
                      <a:pt x="989" y="1185"/>
                      <a:pt x="989" y="1185"/>
                    </a:cubicBezTo>
                    <a:cubicBezTo>
                      <a:pt x="991" y="1183"/>
                      <a:pt x="991" y="1183"/>
                      <a:pt x="991" y="1183"/>
                    </a:cubicBezTo>
                    <a:cubicBezTo>
                      <a:pt x="989" y="1183"/>
                      <a:pt x="989" y="1183"/>
                      <a:pt x="989" y="1183"/>
                    </a:cubicBezTo>
                    <a:cubicBezTo>
                      <a:pt x="988" y="1180"/>
                      <a:pt x="988" y="1180"/>
                      <a:pt x="988" y="1180"/>
                    </a:cubicBezTo>
                    <a:cubicBezTo>
                      <a:pt x="990" y="1179"/>
                      <a:pt x="990" y="1179"/>
                      <a:pt x="990" y="1179"/>
                    </a:cubicBezTo>
                    <a:cubicBezTo>
                      <a:pt x="988" y="1176"/>
                      <a:pt x="988" y="1176"/>
                      <a:pt x="988" y="1176"/>
                    </a:cubicBezTo>
                    <a:cubicBezTo>
                      <a:pt x="989" y="1173"/>
                      <a:pt x="989" y="1173"/>
                      <a:pt x="989" y="1173"/>
                    </a:cubicBezTo>
                    <a:cubicBezTo>
                      <a:pt x="987" y="1170"/>
                      <a:pt x="987" y="1170"/>
                      <a:pt x="987" y="1170"/>
                    </a:cubicBezTo>
                    <a:cubicBezTo>
                      <a:pt x="987" y="1166"/>
                      <a:pt x="987" y="1166"/>
                      <a:pt x="987" y="1166"/>
                    </a:cubicBezTo>
                    <a:cubicBezTo>
                      <a:pt x="985" y="1164"/>
                      <a:pt x="985" y="1164"/>
                      <a:pt x="985" y="1164"/>
                    </a:cubicBezTo>
                    <a:cubicBezTo>
                      <a:pt x="990" y="1162"/>
                      <a:pt x="990" y="1162"/>
                      <a:pt x="990" y="1162"/>
                    </a:cubicBezTo>
                    <a:cubicBezTo>
                      <a:pt x="998" y="1161"/>
                      <a:pt x="998" y="1161"/>
                      <a:pt x="998" y="1161"/>
                    </a:cubicBezTo>
                    <a:cubicBezTo>
                      <a:pt x="1002" y="1158"/>
                      <a:pt x="1002" y="1158"/>
                      <a:pt x="1002" y="1158"/>
                    </a:cubicBezTo>
                    <a:cubicBezTo>
                      <a:pt x="1006" y="1158"/>
                      <a:pt x="1006" y="1158"/>
                      <a:pt x="1006" y="1158"/>
                    </a:cubicBezTo>
                    <a:cubicBezTo>
                      <a:pt x="1008" y="1156"/>
                      <a:pt x="1008" y="1156"/>
                      <a:pt x="1008" y="1156"/>
                    </a:cubicBezTo>
                    <a:cubicBezTo>
                      <a:pt x="1016" y="1153"/>
                      <a:pt x="1016" y="1153"/>
                      <a:pt x="1016" y="1153"/>
                    </a:cubicBezTo>
                    <a:cubicBezTo>
                      <a:pt x="1028" y="1149"/>
                      <a:pt x="1028" y="1149"/>
                      <a:pt x="1028" y="1149"/>
                    </a:cubicBezTo>
                    <a:cubicBezTo>
                      <a:pt x="1028" y="1147"/>
                      <a:pt x="1028" y="1147"/>
                      <a:pt x="1028" y="1147"/>
                    </a:cubicBezTo>
                    <a:cubicBezTo>
                      <a:pt x="1030" y="1145"/>
                      <a:pt x="1030" y="1145"/>
                      <a:pt x="1030" y="1145"/>
                    </a:cubicBezTo>
                    <a:cubicBezTo>
                      <a:pt x="1039" y="1141"/>
                      <a:pt x="1039" y="1141"/>
                      <a:pt x="1039" y="1141"/>
                    </a:cubicBezTo>
                    <a:cubicBezTo>
                      <a:pt x="1040" y="1138"/>
                      <a:pt x="1040" y="1138"/>
                      <a:pt x="1040" y="1138"/>
                    </a:cubicBezTo>
                    <a:cubicBezTo>
                      <a:pt x="1044" y="1136"/>
                      <a:pt x="1044" y="1136"/>
                      <a:pt x="1044" y="1136"/>
                    </a:cubicBezTo>
                    <a:cubicBezTo>
                      <a:pt x="1050" y="1128"/>
                      <a:pt x="1050" y="1128"/>
                      <a:pt x="1050" y="1128"/>
                    </a:cubicBezTo>
                    <a:cubicBezTo>
                      <a:pt x="1052" y="1128"/>
                      <a:pt x="1052" y="1128"/>
                      <a:pt x="1052" y="1128"/>
                    </a:cubicBezTo>
                    <a:cubicBezTo>
                      <a:pt x="1054" y="1130"/>
                      <a:pt x="1054" y="1130"/>
                      <a:pt x="1054" y="1130"/>
                    </a:cubicBezTo>
                    <a:cubicBezTo>
                      <a:pt x="1058" y="1130"/>
                      <a:pt x="1058" y="1130"/>
                      <a:pt x="1058" y="1130"/>
                    </a:cubicBezTo>
                    <a:cubicBezTo>
                      <a:pt x="1061" y="1127"/>
                      <a:pt x="1061" y="1127"/>
                      <a:pt x="1061" y="1127"/>
                    </a:cubicBezTo>
                    <a:cubicBezTo>
                      <a:pt x="1057" y="1122"/>
                      <a:pt x="1057" y="1122"/>
                      <a:pt x="1057" y="1122"/>
                    </a:cubicBezTo>
                    <a:cubicBezTo>
                      <a:pt x="1057" y="1118"/>
                      <a:pt x="1057" y="1118"/>
                      <a:pt x="1057" y="1118"/>
                    </a:cubicBezTo>
                    <a:cubicBezTo>
                      <a:pt x="1054" y="1120"/>
                      <a:pt x="1054" y="1120"/>
                      <a:pt x="1054" y="1120"/>
                    </a:cubicBezTo>
                    <a:cubicBezTo>
                      <a:pt x="1054" y="1123"/>
                      <a:pt x="1054" y="1123"/>
                      <a:pt x="1054" y="1123"/>
                    </a:cubicBezTo>
                    <a:cubicBezTo>
                      <a:pt x="1052" y="1124"/>
                      <a:pt x="1052" y="1124"/>
                      <a:pt x="1052" y="1124"/>
                    </a:cubicBezTo>
                    <a:cubicBezTo>
                      <a:pt x="1053" y="1119"/>
                      <a:pt x="1053" y="1119"/>
                      <a:pt x="1053" y="1119"/>
                    </a:cubicBezTo>
                    <a:cubicBezTo>
                      <a:pt x="1057" y="1110"/>
                      <a:pt x="1057" y="1110"/>
                      <a:pt x="1057" y="1110"/>
                    </a:cubicBezTo>
                    <a:cubicBezTo>
                      <a:pt x="1058" y="1109"/>
                      <a:pt x="1058" y="1109"/>
                      <a:pt x="1058" y="1109"/>
                    </a:cubicBezTo>
                    <a:cubicBezTo>
                      <a:pt x="1058" y="1102"/>
                      <a:pt x="1058" y="1102"/>
                      <a:pt x="1058" y="1102"/>
                    </a:cubicBezTo>
                    <a:cubicBezTo>
                      <a:pt x="1059" y="1098"/>
                      <a:pt x="1059" y="1098"/>
                      <a:pt x="1059" y="1098"/>
                    </a:cubicBezTo>
                    <a:cubicBezTo>
                      <a:pt x="1056" y="1092"/>
                      <a:pt x="1056" y="1092"/>
                      <a:pt x="1056" y="1092"/>
                    </a:cubicBezTo>
                    <a:cubicBezTo>
                      <a:pt x="1056" y="1081"/>
                      <a:pt x="1056" y="1081"/>
                      <a:pt x="1056" y="1081"/>
                    </a:cubicBezTo>
                    <a:cubicBezTo>
                      <a:pt x="1055" y="1071"/>
                      <a:pt x="1055" y="1071"/>
                      <a:pt x="1055" y="1071"/>
                    </a:cubicBezTo>
                    <a:cubicBezTo>
                      <a:pt x="1049" y="1062"/>
                      <a:pt x="1049" y="1062"/>
                      <a:pt x="1049" y="1062"/>
                    </a:cubicBezTo>
                    <a:cubicBezTo>
                      <a:pt x="1045" y="1060"/>
                      <a:pt x="1045" y="1060"/>
                      <a:pt x="1045" y="1060"/>
                    </a:cubicBezTo>
                    <a:cubicBezTo>
                      <a:pt x="1044" y="1056"/>
                      <a:pt x="1044" y="1056"/>
                      <a:pt x="1044" y="1056"/>
                    </a:cubicBezTo>
                    <a:cubicBezTo>
                      <a:pt x="1040" y="1055"/>
                      <a:pt x="1040" y="1055"/>
                      <a:pt x="1040" y="1055"/>
                    </a:cubicBezTo>
                    <a:cubicBezTo>
                      <a:pt x="1039" y="1052"/>
                      <a:pt x="1039" y="1052"/>
                      <a:pt x="1039" y="1052"/>
                    </a:cubicBezTo>
                    <a:cubicBezTo>
                      <a:pt x="1041" y="1045"/>
                      <a:pt x="1041" y="1045"/>
                      <a:pt x="1041" y="1045"/>
                    </a:cubicBezTo>
                    <a:cubicBezTo>
                      <a:pt x="1045" y="1043"/>
                      <a:pt x="1045" y="1043"/>
                      <a:pt x="1045" y="1043"/>
                    </a:cubicBezTo>
                    <a:cubicBezTo>
                      <a:pt x="1055" y="1033"/>
                      <a:pt x="1055" y="1033"/>
                      <a:pt x="1055" y="1033"/>
                    </a:cubicBezTo>
                    <a:cubicBezTo>
                      <a:pt x="1058" y="1032"/>
                      <a:pt x="1058" y="1032"/>
                      <a:pt x="1058" y="1032"/>
                    </a:cubicBezTo>
                    <a:cubicBezTo>
                      <a:pt x="1061" y="1030"/>
                      <a:pt x="1061" y="1030"/>
                      <a:pt x="1061" y="1030"/>
                    </a:cubicBezTo>
                    <a:cubicBezTo>
                      <a:pt x="1061" y="1027"/>
                      <a:pt x="1061" y="1027"/>
                      <a:pt x="1061" y="1027"/>
                    </a:cubicBezTo>
                    <a:cubicBezTo>
                      <a:pt x="1059" y="1026"/>
                      <a:pt x="1059" y="1026"/>
                      <a:pt x="1059" y="1026"/>
                    </a:cubicBezTo>
                    <a:cubicBezTo>
                      <a:pt x="1059" y="1025"/>
                      <a:pt x="1059" y="1025"/>
                      <a:pt x="1059" y="1025"/>
                    </a:cubicBezTo>
                    <a:cubicBezTo>
                      <a:pt x="1063" y="1020"/>
                      <a:pt x="1063" y="1020"/>
                      <a:pt x="1063" y="1020"/>
                    </a:cubicBezTo>
                    <a:cubicBezTo>
                      <a:pt x="1065" y="1020"/>
                      <a:pt x="1065" y="1020"/>
                      <a:pt x="1065" y="1020"/>
                    </a:cubicBezTo>
                    <a:cubicBezTo>
                      <a:pt x="1067" y="1024"/>
                      <a:pt x="1067" y="1024"/>
                      <a:pt x="1067" y="1024"/>
                    </a:cubicBezTo>
                    <a:cubicBezTo>
                      <a:pt x="1070" y="1025"/>
                      <a:pt x="1070" y="1025"/>
                      <a:pt x="1070" y="1025"/>
                    </a:cubicBezTo>
                    <a:cubicBezTo>
                      <a:pt x="1069" y="1023"/>
                      <a:pt x="1069" y="1023"/>
                      <a:pt x="1069" y="1023"/>
                    </a:cubicBezTo>
                    <a:cubicBezTo>
                      <a:pt x="1069" y="1019"/>
                      <a:pt x="1069" y="1019"/>
                      <a:pt x="1069" y="1019"/>
                    </a:cubicBezTo>
                    <a:cubicBezTo>
                      <a:pt x="1073" y="1017"/>
                      <a:pt x="1073" y="1017"/>
                      <a:pt x="1073" y="1017"/>
                    </a:cubicBezTo>
                    <a:cubicBezTo>
                      <a:pt x="1077" y="1010"/>
                      <a:pt x="1077" y="1010"/>
                      <a:pt x="1077" y="1010"/>
                    </a:cubicBezTo>
                    <a:cubicBezTo>
                      <a:pt x="1076" y="1008"/>
                      <a:pt x="1076" y="1008"/>
                      <a:pt x="1076" y="1008"/>
                    </a:cubicBezTo>
                    <a:cubicBezTo>
                      <a:pt x="1071" y="1008"/>
                      <a:pt x="1071" y="1008"/>
                      <a:pt x="1071" y="1008"/>
                    </a:cubicBezTo>
                    <a:cubicBezTo>
                      <a:pt x="1071" y="1006"/>
                      <a:pt x="1071" y="1006"/>
                      <a:pt x="1071" y="1006"/>
                    </a:cubicBezTo>
                    <a:cubicBezTo>
                      <a:pt x="1074" y="1002"/>
                      <a:pt x="1074" y="1002"/>
                      <a:pt x="1074" y="1002"/>
                    </a:cubicBezTo>
                    <a:cubicBezTo>
                      <a:pt x="1072" y="1000"/>
                      <a:pt x="1072" y="1000"/>
                      <a:pt x="1072" y="1000"/>
                    </a:cubicBezTo>
                    <a:cubicBezTo>
                      <a:pt x="1071" y="998"/>
                      <a:pt x="1071" y="998"/>
                      <a:pt x="1071" y="998"/>
                    </a:cubicBezTo>
                    <a:cubicBezTo>
                      <a:pt x="1073" y="995"/>
                      <a:pt x="1073" y="995"/>
                      <a:pt x="1073" y="995"/>
                    </a:cubicBezTo>
                    <a:cubicBezTo>
                      <a:pt x="1077" y="994"/>
                      <a:pt x="1077" y="994"/>
                      <a:pt x="1077" y="994"/>
                    </a:cubicBezTo>
                    <a:cubicBezTo>
                      <a:pt x="1073" y="993"/>
                      <a:pt x="1073" y="993"/>
                      <a:pt x="1073" y="993"/>
                    </a:cubicBezTo>
                    <a:cubicBezTo>
                      <a:pt x="1073" y="991"/>
                      <a:pt x="1073" y="991"/>
                      <a:pt x="1073" y="991"/>
                    </a:cubicBezTo>
                    <a:cubicBezTo>
                      <a:pt x="1074" y="986"/>
                      <a:pt x="1074" y="986"/>
                      <a:pt x="1074" y="986"/>
                    </a:cubicBezTo>
                    <a:cubicBezTo>
                      <a:pt x="1077" y="984"/>
                      <a:pt x="1077" y="984"/>
                      <a:pt x="1077" y="984"/>
                    </a:cubicBezTo>
                    <a:cubicBezTo>
                      <a:pt x="1075" y="984"/>
                      <a:pt x="1075" y="984"/>
                      <a:pt x="1075" y="984"/>
                    </a:cubicBezTo>
                    <a:cubicBezTo>
                      <a:pt x="1069" y="984"/>
                      <a:pt x="1069" y="984"/>
                      <a:pt x="1069" y="984"/>
                    </a:cubicBezTo>
                    <a:cubicBezTo>
                      <a:pt x="1067" y="983"/>
                      <a:pt x="1067" y="983"/>
                      <a:pt x="1067" y="983"/>
                    </a:cubicBezTo>
                    <a:cubicBezTo>
                      <a:pt x="1067" y="980"/>
                      <a:pt x="1067" y="980"/>
                      <a:pt x="1067" y="980"/>
                    </a:cubicBezTo>
                    <a:cubicBezTo>
                      <a:pt x="1075" y="974"/>
                      <a:pt x="1075" y="974"/>
                      <a:pt x="1075" y="974"/>
                    </a:cubicBezTo>
                    <a:cubicBezTo>
                      <a:pt x="1080" y="967"/>
                      <a:pt x="1080" y="967"/>
                      <a:pt x="1080" y="967"/>
                    </a:cubicBezTo>
                    <a:cubicBezTo>
                      <a:pt x="1081" y="963"/>
                      <a:pt x="1081" y="963"/>
                      <a:pt x="1081" y="963"/>
                    </a:cubicBezTo>
                    <a:cubicBezTo>
                      <a:pt x="1084" y="963"/>
                      <a:pt x="1084" y="963"/>
                      <a:pt x="1084" y="963"/>
                    </a:cubicBezTo>
                    <a:cubicBezTo>
                      <a:pt x="1085" y="961"/>
                      <a:pt x="1085" y="961"/>
                      <a:pt x="1085" y="961"/>
                    </a:cubicBezTo>
                    <a:cubicBezTo>
                      <a:pt x="1085" y="957"/>
                      <a:pt x="1085" y="957"/>
                      <a:pt x="1085" y="957"/>
                    </a:cubicBezTo>
                    <a:cubicBezTo>
                      <a:pt x="1083" y="956"/>
                      <a:pt x="1083" y="956"/>
                      <a:pt x="1083" y="956"/>
                    </a:cubicBezTo>
                    <a:cubicBezTo>
                      <a:pt x="1083" y="955"/>
                      <a:pt x="1083" y="955"/>
                      <a:pt x="1083" y="955"/>
                    </a:cubicBezTo>
                    <a:cubicBezTo>
                      <a:pt x="1081" y="954"/>
                      <a:pt x="1081" y="954"/>
                      <a:pt x="1081" y="954"/>
                    </a:cubicBezTo>
                    <a:cubicBezTo>
                      <a:pt x="1079" y="951"/>
                      <a:pt x="1079" y="951"/>
                      <a:pt x="1079" y="951"/>
                    </a:cubicBezTo>
                    <a:cubicBezTo>
                      <a:pt x="1079" y="943"/>
                      <a:pt x="1079" y="943"/>
                      <a:pt x="1079" y="943"/>
                    </a:cubicBezTo>
                    <a:cubicBezTo>
                      <a:pt x="1082" y="938"/>
                      <a:pt x="1082" y="938"/>
                      <a:pt x="1082" y="938"/>
                    </a:cubicBezTo>
                    <a:cubicBezTo>
                      <a:pt x="1082" y="933"/>
                      <a:pt x="1082" y="933"/>
                      <a:pt x="1082" y="933"/>
                    </a:cubicBezTo>
                    <a:cubicBezTo>
                      <a:pt x="1085" y="932"/>
                      <a:pt x="1085" y="932"/>
                      <a:pt x="1085" y="932"/>
                    </a:cubicBezTo>
                    <a:cubicBezTo>
                      <a:pt x="1086" y="933"/>
                      <a:pt x="1086" y="933"/>
                      <a:pt x="1086" y="933"/>
                    </a:cubicBezTo>
                    <a:cubicBezTo>
                      <a:pt x="1089" y="933"/>
                      <a:pt x="1089" y="933"/>
                      <a:pt x="1089" y="933"/>
                    </a:cubicBezTo>
                    <a:cubicBezTo>
                      <a:pt x="1089" y="930"/>
                      <a:pt x="1089" y="930"/>
                      <a:pt x="1089" y="930"/>
                    </a:cubicBezTo>
                    <a:cubicBezTo>
                      <a:pt x="1091" y="928"/>
                      <a:pt x="1091" y="928"/>
                      <a:pt x="1091" y="928"/>
                    </a:cubicBezTo>
                    <a:cubicBezTo>
                      <a:pt x="1093" y="928"/>
                      <a:pt x="1093" y="928"/>
                      <a:pt x="1093" y="928"/>
                    </a:cubicBezTo>
                    <a:cubicBezTo>
                      <a:pt x="1096" y="927"/>
                      <a:pt x="1096" y="927"/>
                      <a:pt x="1096" y="927"/>
                    </a:cubicBezTo>
                    <a:cubicBezTo>
                      <a:pt x="1098" y="928"/>
                      <a:pt x="1098" y="928"/>
                      <a:pt x="1098" y="928"/>
                    </a:cubicBezTo>
                    <a:cubicBezTo>
                      <a:pt x="1105" y="928"/>
                      <a:pt x="1105" y="928"/>
                      <a:pt x="1105" y="928"/>
                    </a:cubicBezTo>
                    <a:cubicBezTo>
                      <a:pt x="1111" y="932"/>
                      <a:pt x="1111" y="932"/>
                      <a:pt x="1111" y="932"/>
                    </a:cubicBezTo>
                    <a:cubicBezTo>
                      <a:pt x="1120" y="936"/>
                      <a:pt x="1120" y="936"/>
                      <a:pt x="1120" y="936"/>
                    </a:cubicBezTo>
                    <a:cubicBezTo>
                      <a:pt x="1124" y="936"/>
                      <a:pt x="1124" y="936"/>
                      <a:pt x="1124" y="936"/>
                    </a:cubicBezTo>
                    <a:cubicBezTo>
                      <a:pt x="1123" y="940"/>
                      <a:pt x="1123" y="940"/>
                      <a:pt x="1123" y="940"/>
                    </a:cubicBezTo>
                    <a:cubicBezTo>
                      <a:pt x="1118" y="942"/>
                      <a:pt x="1118" y="942"/>
                      <a:pt x="1118" y="942"/>
                    </a:cubicBezTo>
                    <a:cubicBezTo>
                      <a:pt x="1125" y="942"/>
                      <a:pt x="1125" y="942"/>
                      <a:pt x="1125" y="942"/>
                    </a:cubicBezTo>
                    <a:cubicBezTo>
                      <a:pt x="1130" y="938"/>
                      <a:pt x="1130" y="938"/>
                      <a:pt x="1130" y="938"/>
                    </a:cubicBezTo>
                    <a:cubicBezTo>
                      <a:pt x="1134" y="938"/>
                      <a:pt x="1134" y="938"/>
                      <a:pt x="1134" y="938"/>
                    </a:cubicBezTo>
                    <a:cubicBezTo>
                      <a:pt x="1135" y="940"/>
                      <a:pt x="1135" y="940"/>
                      <a:pt x="1135" y="940"/>
                    </a:cubicBezTo>
                    <a:cubicBezTo>
                      <a:pt x="1138" y="940"/>
                      <a:pt x="1138" y="940"/>
                      <a:pt x="1138" y="940"/>
                    </a:cubicBezTo>
                    <a:cubicBezTo>
                      <a:pt x="1141" y="944"/>
                      <a:pt x="1141" y="944"/>
                      <a:pt x="1141" y="944"/>
                    </a:cubicBezTo>
                    <a:cubicBezTo>
                      <a:pt x="1141" y="940"/>
                      <a:pt x="1141" y="940"/>
                      <a:pt x="1141" y="940"/>
                    </a:cubicBezTo>
                    <a:cubicBezTo>
                      <a:pt x="1145" y="942"/>
                      <a:pt x="1145" y="942"/>
                      <a:pt x="1145" y="942"/>
                    </a:cubicBezTo>
                    <a:cubicBezTo>
                      <a:pt x="1147" y="940"/>
                      <a:pt x="1147" y="940"/>
                      <a:pt x="1147" y="940"/>
                    </a:cubicBezTo>
                    <a:cubicBezTo>
                      <a:pt x="1150" y="939"/>
                      <a:pt x="1150" y="939"/>
                      <a:pt x="1150" y="939"/>
                    </a:cubicBezTo>
                    <a:cubicBezTo>
                      <a:pt x="1155" y="936"/>
                      <a:pt x="1155" y="936"/>
                      <a:pt x="1155" y="936"/>
                    </a:cubicBezTo>
                    <a:cubicBezTo>
                      <a:pt x="1162" y="942"/>
                      <a:pt x="1162" y="942"/>
                      <a:pt x="1162" y="942"/>
                    </a:cubicBezTo>
                    <a:cubicBezTo>
                      <a:pt x="1162" y="945"/>
                      <a:pt x="1162" y="945"/>
                      <a:pt x="1162" y="945"/>
                    </a:cubicBezTo>
                    <a:cubicBezTo>
                      <a:pt x="1167" y="949"/>
                      <a:pt x="1167" y="949"/>
                      <a:pt x="1167" y="949"/>
                    </a:cubicBezTo>
                    <a:cubicBezTo>
                      <a:pt x="1170" y="949"/>
                      <a:pt x="1170" y="949"/>
                      <a:pt x="1170" y="949"/>
                    </a:cubicBezTo>
                    <a:cubicBezTo>
                      <a:pt x="1170" y="955"/>
                      <a:pt x="1170" y="955"/>
                      <a:pt x="1170" y="955"/>
                    </a:cubicBezTo>
                    <a:cubicBezTo>
                      <a:pt x="1168" y="958"/>
                      <a:pt x="1168" y="958"/>
                      <a:pt x="1168" y="958"/>
                    </a:cubicBezTo>
                    <a:cubicBezTo>
                      <a:pt x="1168" y="960"/>
                      <a:pt x="1168" y="960"/>
                      <a:pt x="1168" y="960"/>
                    </a:cubicBezTo>
                    <a:cubicBezTo>
                      <a:pt x="1170" y="959"/>
                      <a:pt x="1170" y="959"/>
                      <a:pt x="1170" y="959"/>
                    </a:cubicBezTo>
                    <a:cubicBezTo>
                      <a:pt x="1174" y="962"/>
                      <a:pt x="1174" y="962"/>
                      <a:pt x="1174" y="962"/>
                    </a:cubicBezTo>
                    <a:cubicBezTo>
                      <a:pt x="1176" y="966"/>
                      <a:pt x="1176" y="966"/>
                      <a:pt x="1176" y="966"/>
                    </a:cubicBezTo>
                    <a:cubicBezTo>
                      <a:pt x="1173" y="967"/>
                      <a:pt x="1173" y="967"/>
                      <a:pt x="1173" y="967"/>
                    </a:cubicBezTo>
                    <a:cubicBezTo>
                      <a:pt x="1177" y="970"/>
                      <a:pt x="1177" y="970"/>
                      <a:pt x="1177" y="970"/>
                    </a:cubicBezTo>
                    <a:cubicBezTo>
                      <a:pt x="1179" y="967"/>
                      <a:pt x="1179" y="967"/>
                      <a:pt x="1179" y="967"/>
                    </a:cubicBezTo>
                    <a:cubicBezTo>
                      <a:pt x="1183" y="972"/>
                      <a:pt x="1183" y="972"/>
                      <a:pt x="1183" y="972"/>
                    </a:cubicBezTo>
                    <a:cubicBezTo>
                      <a:pt x="1182" y="974"/>
                      <a:pt x="1182" y="974"/>
                      <a:pt x="1182" y="974"/>
                    </a:cubicBezTo>
                    <a:cubicBezTo>
                      <a:pt x="1179" y="971"/>
                      <a:pt x="1179" y="971"/>
                      <a:pt x="1179" y="971"/>
                    </a:cubicBezTo>
                    <a:cubicBezTo>
                      <a:pt x="1177" y="975"/>
                      <a:pt x="1177" y="975"/>
                      <a:pt x="1177" y="975"/>
                    </a:cubicBezTo>
                    <a:cubicBezTo>
                      <a:pt x="1174" y="975"/>
                      <a:pt x="1174" y="975"/>
                      <a:pt x="1174" y="975"/>
                    </a:cubicBezTo>
                    <a:cubicBezTo>
                      <a:pt x="1178" y="979"/>
                      <a:pt x="1178" y="979"/>
                      <a:pt x="1178" y="979"/>
                    </a:cubicBezTo>
                    <a:cubicBezTo>
                      <a:pt x="1178" y="983"/>
                      <a:pt x="1178" y="983"/>
                      <a:pt x="1178" y="983"/>
                    </a:cubicBezTo>
                    <a:cubicBezTo>
                      <a:pt x="1182" y="980"/>
                      <a:pt x="1182" y="980"/>
                      <a:pt x="1182" y="980"/>
                    </a:cubicBezTo>
                    <a:cubicBezTo>
                      <a:pt x="1182" y="983"/>
                      <a:pt x="1182" y="983"/>
                      <a:pt x="1182" y="983"/>
                    </a:cubicBezTo>
                    <a:cubicBezTo>
                      <a:pt x="1185" y="981"/>
                      <a:pt x="1185" y="981"/>
                      <a:pt x="1185" y="981"/>
                    </a:cubicBezTo>
                    <a:cubicBezTo>
                      <a:pt x="1191" y="986"/>
                      <a:pt x="1191" y="986"/>
                      <a:pt x="1191" y="986"/>
                    </a:cubicBezTo>
                    <a:cubicBezTo>
                      <a:pt x="1193" y="985"/>
                      <a:pt x="1193" y="985"/>
                      <a:pt x="1193" y="985"/>
                    </a:cubicBezTo>
                    <a:cubicBezTo>
                      <a:pt x="1195" y="987"/>
                      <a:pt x="1195" y="987"/>
                      <a:pt x="1195" y="987"/>
                    </a:cubicBezTo>
                    <a:cubicBezTo>
                      <a:pt x="1199" y="985"/>
                      <a:pt x="1199" y="985"/>
                      <a:pt x="1199" y="985"/>
                    </a:cubicBezTo>
                    <a:cubicBezTo>
                      <a:pt x="1204" y="987"/>
                      <a:pt x="1204" y="987"/>
                      <a:pt x="1204" y="987"/>
                    </a:cubicBezTo>
                    <a:cubicBezTo>
                      <a:pt x="1203" y="994"/>
                      <a:pt x="1203" y="994"/>
                      <a:pt x="1203" y="994"/>
                    </a:cubicBezTo>
                    <a:cubicBezTo>
                      <a:pt x="1205" y="997"/>
                      <a:pt x="1205" y="997"/>
                      <a:pt x="1205" y="997"/>
                    </a:cubicBezTo>
                    <a:cubicBezTo>
                      <a:pt x="1209" y="993"/>
                      <a:pt x="1209" y="993"/>
                      <a:pt x="1209" y="993"/>
                    </a:cubicBezTo>
                    <a:cubicBezTo>
                      <a:pt x="1210" y="988"/>
                      <a:pt x="1210" y="988"/>
                      <a:pt x="1210" y="988"/>
                    </a:cubicBezTo>
                    <a:cubicBezTo>
                      <a:pt x="1213" y="988"/>
                      <a:pt x="1213" y="988"/>
                      <a:pt x="1213" y="988"/>
                    </a:cubicBezTo>
                    <a:cubicBezTo>
                      <a:pt x="1213" y="994"/>
                      <a:pt x="1213" y="994"/>
                      <a:pt x="1213" y="994"/>
                    </a:cubicBezTo>
                    <a:cubicBezTo>
                      <a:pt x="1212" y="1000"/>
                      <a:pt x="1212" y="1000"/>
                      <a:pt x="1212" y="1000"/>
                    </a:cubicBezTo>
                    <a:cubicBezTo>
                      <a:pt x="1207" y="1001"/>
                      <a:pt x="1207" y="1001"/>
                      <a:pt x="1207" y="1001"/>
                    </a:cubicBezTo>
                    <a:cubicBezTo>
                      <a:pt x="1204" y="1007"/>
                      <a:pt x="1204" y="1007"/>
                      <a:pt x="1204" y="1007"/>
                    </a:cubicBezTo>
                    <a:cubicBezTo>
                      <a:pt x="1205" y="1016"/>
                      <a:pt x="1205" y="1016"/>
                      <a:pt x="1205" y="1016"/>
                    </a:cubicBezTo>
                    <a:cubicBezTo>
                      <a:pt x="1203" y="1019"/>
                      <a:pt x="1203" y="1019"/>
                      <a:pt x="1203" y="1019"/>
                    </a:cubicBezTo>
                    <a:cubicBezTo>
                      <a:pt x="1202" y="1014"/>
                      <a:pt x="1202" y="1014"/>
                      <a:pt x="1202" y="1014"/>
                    </a:cubicBezTo>
                    <a:cubicBezTo>
                      <a:pt x="1200" y="1016"/>
                      <a:pt x="1200" y="1016"/>
                      <a:pt x="1200" y="1016"/>
                    </a:cubicBezTo>
                    <a:cubicBezTo>
                      <a:pt x="1199" y="1022"/>
                      <a:pt x="1199" y="1022"/>
                      <a:pt x="1199" y="1022"/>
                    </a:cubicBezTo>
                    <a:cubicBezTo>
                      <a:pt x="1191" y="1021"/>
                      <a:pt x="1191" y="1021"/>
                      <a:pt x="1191" y="1021"/>
                    </a:cubicBezTo>
                    <a:cubicBezTo>
                      <a:pt x="1181" y="1018"/>
                      <a:pt x="1181" y="1018"/>
                      <a:pt x="1181" y="1018"/>
                    </a:cubicBezTo>
                    <a:cubicBezTo>
                      <a:pt x="1190" y="1022"/>
                      <a:pt x="1190" y="1022"/>
                      <a:pt x="1190" y="1022"/>
                    </a:cubicBezTo>
                    <a:cubicBezTo>
                      <a:pt x="1197" y="1024"/>
                      <a:pt x="1197" y="1024"/>
                      <a:pt x="1197" y="1024"/>
                    </a:cubicBezTo>
                    <a:cubicBezTo>
                      <a:pt x="1202" y="1028"/>
                      <a:pt x="1202" y="1028"/>
                      <a:pt x="1202" y="1028"/>
                    </a:cubicBezTo>
                    <a:cubicBezTo>
                      <a:pt x="1202" y="1034"/>
                      <a:pt x="1202" y="1034"/>
                      <a:pt x="1202" y="1034"/>
                    </a:cubicBezTo>
                    <a:cubicBezTo>
                      <a:pt x="1198" y="1039"/>
                      <a:pt x="1198" y="1039"/>
                      <a:pt x="1198" y="1039"/>
                    </a:cubicBezTo>
                    <a:cubicBezTo>
                      <a:pt x="1198" y="1041"/>
                      <a:pt x="1198" y="1041"/>
                      <a:pt x="1198" y="1041"/>
                    </a:cubicBezTo>
                    <a:cubicBezTo>
                      <a:pt x="1194" y="1046"/>
                      <a:pt x="1194" y="1046"/>
                      <a:pt x="1194" y="1046"/>
                    </a:cubicBezTo>
                    <a:cubicBezTo>
                      <a:pt x="1195" y="1047"/>
                      <a:pt x="1195" y="1047"/>
                      <a:pt x="1195" y="1047"/>
                    </a:cubicBezTo>
                    <a:cubicBezTo>
                      <a:pt x="1200" y="1054"/>
                      <a:pt x="1200" y="1054"/>
                      <a:pt x="1200" y="1054"/>
                    </a:cubicBezTo>
                    <a:cubicBezTo>
                      <a:pt x="1203" y="1055"/>
                      <a:pt x="1203" y="1055"/>
                      <a:pt x="1203" y="1055"/>
                    </a:cubicBezTo>
                    <a:cubicBezTo>
                      <a:pt x="1201" y="1056"/>
                      <a:pt x="1201" y="1056"/>
                      <a:pt x="1201" y="1056"/>
                    </a:cubicBezTo>
                    <a:cubicBezTo>
                      <a:pt x="1194" y="1053"/>
                      <a:pt x="1194" y="1053"/>
                      <a:pt x="1194" y="1053"/>
                    </a:cubicBezTo>
                    <a:cubicBezTo>
                      <a:pt x="1199" y="1059"/>
                      <a:pt x="1199" y="1059"/>
                      <a:pt x="1199" y="1059"/>
                    </a:cubicBezTo>
                    <a:cubicBezTo>
                      <a:pt x="1202" y="1061"/>
                      <a:pt x="1202" y="1061"/>
                      <a:pt x="1202" y="1061"/>
                    </a:cubicBezTo>
                    <a:cubicBezTo>
                      <a:pt x="1203" y="1061"/>
                      <a:pt x="1203" y="1061"/>
                      <a:pt x="1203" y="1061"/>
                    </a:cubicBezTo>
                    <a:cubicBezTo>
                      <a:pt x="1202" y="1057"/>
                      <a:pt x="1202" y="1057"/>
                      <a:pt x="1202" y="1057"/>
                    </a:cubicBezTo>
                    <a:cubicBezTo>
                      <a:pt x="1206" y="1057"/>
                      <a:pt x="1206" y="1057"/>
                      <a:pt x="1206" y="1057"/>
                    </a:cubicBezTo>
                    <a:cubicBezTo>
                      <a:pt x="1210" y="1060"/>
                      <a:pt x="1210" y="1060"/>
                      <a:pt x="1210" y="1060"/>
                    </a:cubicBezTo>
                    <a:cubicBezTo>
                      <a:pt x="1212" y="1064"/>
                      <a:pt x="1212" y="1064"/>
                      <a:pt x="1212" y="1064"/>
                    </a:cubicBezTo>
                    <a:cubicBezTo>
                      <a:pt x="1211" y="1068"/>
                      <a:pt x="1211" y="1068"/>
                      <a:pt x="1211" y="1068"/>
                    </a:cubicBezTo>
                    <a:cubicBezTo>
                      <a:pt x="1211" y="1072"/>
                      <a:pt x="1211" y="1072"/>
                      <a:pt x="1211" y="1072"/>
                    </a:cubicBezTo>
                    <a:cubicBezTo>
                      <a:pt x="1207" y="1079"/>
                      <a:pt x="1207" y="1079"/>
                      <a:pt x="1207" y="1079"/>
                    </a:cubicBezTo>
                    <a:cubicBezTo>
                      <a:pt x="1206" y="1083"/>
                      <a:pt x="1206" y="1083"/>
                      <a:pt x="1206" y="1083"/>
                    </a:cubicBezTo>
                    <a:cubicBezTo>
                      <a:pt x="1203" y="1086"/>
                      <a:pt x="1203" y="1086"/>
                      <a:pt x="1203" y="1086"/>
                    </a:cubicBezTo>
                    <a:cubicBezTo>
                      <a:pt x="1207" y="1084"/>
                      <a:pt x="1207" y="1084"/>
                      <a:pt x="1207" y="1084"/>
                    </a:cubicBezTo>
                    <a:cubicBezTo>
                      <a:pt x="1212" y="1074"/>
                      <a:pt x="1212" y="1074"/>
                      <a:pt x="1212" y="1074"/>
                    </a:cubicBezTo>
                    <a:cubicBezTo>
                      <a:pt x="1217" y="1070"/>
                      <a:pt x="1217" y="1070"/>
                      <a:pt x="1217" y="1070"/>
                    </a:cubicBezTo>
                    <a:cubicBezTo>
                      <a:pt x="1218" y="1070"/>
                      <a:pt x="1218" y="1070"/>
                      <a:pt x="1218" y="1070"/>
                    </a:cubicBezTo>
                    <a:cubicBezTo>
                      <a:pt x="1218" y="1074"/>
                      <a:pt x="1218" y="1074"/>
                      <a:pt x="1218" y="1074"/>
                    </a:cubicBezTo>
                    <a:cubicBezTo>
                      <a:pt x="1218" y="1081"/>
                      <a:pt x="1218" y="1081"/>
                      <a:pt x="1218" y="1081"/>
                    </a:cubicBezTo>
                    <a:cubicBezTo>
                      <a:pt x="1217" y="1082"/>
                      <a:pt x="1217" y="1082"/>
                      <a:pt x="1217" y="1082"/>
                    </a:cubicBezTo>
                    <a:cubicBezTo>
                      <a:pt x="1217" y="1086"/>
                      <a:pt x="1217" y="1086"/>
                      <a:pt x="1217" y="1086"/>
                    </a:cubicBezTo>
                    <a:cubicBezTo>
                      <a:pt x="1216" y="1089"/>
                      <a:pt x="1216" y="1089"/>
                      <a:pt x="1216" y="1089"/>
                    </a:cubicBezTo>
                    <a:cubicBezTo>
                      <a:pt x="1220" y="1084"/>
                      <a:pt x="1220" y="1084"/>
                      <a:pt x="1220" y="1084"/>
                    </a:cubicBezTo>
                    <a:cubicBezTo>
                      <a:pt x="1221" y="1080"/>
                      <a:pt x="1221" y="1080"/>
                      <a:pt x="1221" y="1080"/>
                    </a:cubicBezTo>
                    <a:cubicBezTo>
                      <a:pt x="1225" y="1077"/>
                      <a:pt x="1225" y="1077"/>
                      <a:pt x="1225" y="1077"/>
                    </a:cubicBezTo>
                    <a:cubicBezTo>
                      <a:pt x="1228" y="1077"/>
                      <a:pt x="1228" y="1077"/>
                      <a:pt x="1228" y="1077"/>
                    </a:cubicBezTo>
                    <a:cubicBezTo>
                      <a:pt x="1232" y="1074"/>
                      <a:pt x="1232" y="1074"/>
                      <a:pt x="1232" y="1074"/>
                    </a:cubicBezTo>
                    <a:cubicBezTo>
                      <a:pt x="1235" y="1074"/>
                      <a:pt x="1235" y="1074"/>
                      <a:pt x="1235" y="1074"/>
                    </a:cubicBezTo>
                    <a:cubicBezTo>
                      <a:pt x="1235" y="1076"/>
                      <a:pt x="1235" y="1076"/>
                      <a:pt x="1235" y="1076"/>
                    </a:cubicBezTo>
                    <a:cubicBezTo>
                      <a:pt x="1237" y="1074"/>
                      <a:pt x="1237" y="1074"/>
                      <a:pt x="1237" y="1074"/>
                    </a:cubicBezTo>
                    <a:cubicBezTo>
                      <a:pt x="1240" y="1073"/>
                      <a:pt x="1240" y="1073"/>
                      <a:pt x="1240" y="1073"/>
                    </a:cubicBezTo>
                    <a:cubicBezTo>
                      <a:pt x="1241" y="1070"/>
                      <a:pt x="1241" y="1070"/>
                      <a:pt x="1241" y="1070"/>
                    </a:cubicBezTo>
                    <a:cubicBezTo>
                      <a:pt x="1243" y="1066"/>
                      <a:pt x="1243" y="1066"/>
                      <a:pt x="1243" y="1066"/>
                    </a:cubicBezTo>
                    <a:cubicBezTo>
                      <a:pt x="1248" y="1063"/>
                      <a:pt x="1248" y="1063"/>
                      <a:pt x="1248" y="1063"/>
                    </a:cubicBezTo>
                    <a:cubicBezTo>
                      <a:pt x="1251" y="1065"/>
                      <a:pt x="1251" y="1065"/>
                      <a:pt x="1251" y="1065"/>
                    </a:cubicBezTo>
                    <a:cubicBezTo>
                      <a:pt x="1252" y="1070"/>
                      <a:pt x="1252" y="1070"/>
                      <a:pt x="1252" y="1070"/>
                    </a:cubicBezTo>
                    <a:cubicBezTo>
                      <a:pt x="1251" y="1075"/>
                      <a:pt x="1251" y="1075"/>
                      <a:pt x="1251" y="1075"/>
                    </a:cubicBezTo>
                    <a:cubicBezTo>
                      <a:pt x="1254" y="1069"/>
                      <a:pt x="1254" y="1069"/>
                      <a:pt x="1254" y="1069"/>
                    </a:cubicBezTo>
                    <a:cubicBezTo>
                      <a:pt x="1254" y="1064"/>
                      <a:pt x="1254" y="1064"/>
                      <a:pt x="1254" y="1064"/>
                    </a:cubicBezTo>
                    <a:cubicBezTo>
                      <a:pt x="1255" y="1063"/>
                      <a:pt x="1255" y="1063"/>
                      <a:pt x="1255" y="1063"/>
                    </a:cubicBezTo>
                    <a:cubicBezTo>
                      <a:pt x="1255" y="1061"/>
                      <a:pt x="1255" y="1061"/>
                      <a:pt x="1255" y="1061"/>
                    </a:cubicBezTo>
                    <a:cubicBezTo>
                      <a:pt x="1257" y="1058"/>
                      <a:pt x="1257" y="1058"/>
                      <a:pt x="1257" y="1058"/>
                    </a:cubicBezTo>
                    <a:cubicBezTo>
                      <a:pt x="1260" y="1057"/>
                      <a:pt x="1260" y="1057"/>
                      <a:pt x="1260" y="1057"/>
                    </a:cubicBezTo>
                    <a:cubicBezTo>
                      <a:pt x="1261" y="1053"/>
                      <a:pt x="1261" y="1053"/>
                      <a:pt x="1261" y="1053"/>
                    </a:cubicBezTo>
                    <a:cubicBezTo>
                      <a:pt x="1264" y="1051"/>
                      <a:pt x="1264" y="1051"/>
                      <a:pt x="1264" y="1051"/>
                    </a:cubicBezTo>
                    <a:cubicBezTo>
                      <a:pt x="1267" y="1047"/>
                      <a:pt x="1267" y="1047"/>
                      <a:pt x="1267" y="1047"/>
                    </a:cubicBezTo>
                    <a:cubicBezTo>
                      <a:pt x="1268" y="1045"/>
                      <a:pt x="1268" y="1045"/>
                      <a:pt x="1268" y="1045"/>
                    </a:cubicBezTo>
                    <a:cubicBezTo>
                      <a:pt x="1270" y="1045"/>
                      <a:pt x="1270" y="1045"/>
                      <a:pt x="1270" y="1045"/>
                    </a:cubicBezTo>
                    <a:cubicBezTo>
                      <a:pt x="1273" y="1048"/>
                      <a:pt x="1273" y="1048"/>
                      <a:pt x="1273" y="1048"/>
                    </a:cubicBezTo>
                    <a:cubicBezTo>
                      <a:pt x="1273" y="1046"/>
                      <a:pt x="1273" y="1046"/>
                      <a:pt x="1273" y="1046"/>
                    </a:cubicBezTo>
                    <a:cubicBezTo>
                      <a:pt x="1271" y="1043"/>
                      <a:pt x="1271" y="1043"/>
                      <a:pt x="1271" y="1043"/>
                    </a:cubicBezTo>
                    <a:cubicBezTo>
                      <a:pt x="1268" y="1043"/>
                      <a:pt x="1268" y="1043"/>
                      <a:pt x="1268" y="1043"/>
                    </a:cubicBezTo>
                    <a:cubicBezTo>
                      <a:pt x="1268" y="1040"/>
                      <a:pt x="1268" y="1040"/>
                      <a:pt x="1268" y="1040"/>
                    </a:cubicBezTo>
                    <a:cubicBezTo>
                      <a:pt x="1271" y="1035"/>
                      <a:pt x="1271" y="1035"/>
                      <a:pt x="1271" y="1035"/>
                    </a:cubicBezTo>
                    <a:cubicBezTo>
                      <a:pt x="1273" y="1034"/>
                      <a:pt x="1273" y="1034"/>
                      <a:pt x="1273" y="1034"/>
                    </a:cubicBezTo>
                    <a:cubicBezTo>
                      <a:pt x="1275" y="1036"/>
                      <a:pt x="1275" y="1036"/>
                      <a:pt x="1275" y="1036"/>
                    </a:cubicBezTo>
                    <a:cubicBezTo>
                      <a:pt x="1275" y="1033"/>
                      <a:pt x="1275" y="1033"/>
                      <a:pt x="1275" y="1033"/>
                    </a:cubicBezTo>
                    <a:cubicBezTo>
                      <a:pt x="1277" y="1031"/>
                      <a:pt x="1277" y="1031"/>
                      <a:pt x="1277" y="1031"/>
                    </a:cubicBezTo>
                    <a:cubicBezTo>
                      <a:pt x="1277" y="1028"/>
                      <a:pt x="1277" y="1028"/>
                      <a:pt x="1277" y="1028"/>
                    </a:cubicBezTo>
                    <a:cubicBezTo>
                      <a:pt x="1281" y="1024"/>
                      <a:pt x="1281" y="1024"/>
                      <a:pt x="1281" y="1024"/>
                    </a:cubicBezTo>
                    <a:cubicBezTo>
                      <a:pt x="1283" y="1021"/>
                      <a:pt x="1283" y="1021"/>
                      <a:pt x="1283" y="1021"/>
                    </a:cubicBezTo>
                    <a:cubicBezTo>
                      <a:pt x="1282" y="1018"/>
                      <a:pt x="1282" y="1018"/>
                      <a:pt x="1282" y="1018"/>
                    </a:cubicBezTo>
                    <a:cubicBezTo>
                      <a:pt x="1286" y="1014"/>
                      <a:pt x="1286" y="1014"/>
                      <a:pt x="1286" y="1014"/>
                    </a:cubicBezTo>
                    <a:cubicBezTo>
                      <a:pt x="1290" y="1013"/>
                      <a:pt x="1290" y="1013"/>
                      <a:pt x="1290" y="1013"/>
                    </a:cubicBezTo>
                    <a:cubicBezTo>
                      <a:pt x="1291" y="1014"/>
                      <a:pt x="1291" y="1014"/>
                      <a:pt x="1291" y="1014"/>
                    </a:cubicBezTo>
                    <a:cubicBezTo>
                      <a:pt x="1288" y="1017"/>
                      <a:pt x="1288" y="1017"/>
                      <a:pt x="1288" y="1017"/>
                    </a:cubicBezTo>
                    <a:cubicBezTo>
                      <a:pt x="1291" y="1015"/>
                      <a:pt x="1291" y="1015"/>
                      <a:pt x="1291" y="1015"/>
                    </a:cubicBezTo>
                    <a:cubicBezTo>
                      <a:pt x="1293" y="1017"/>
                      <a:pt x="1293" y="1017"/>
                      <a:pt x="1293" y="1017"/>
                    </a:cubicBezTo>
                    <a:cubicBezTo>
                      <a:pt x="1290" y="1019"/>
                      <a:pt x="1290" y="1019"/>
                      <a:pt x="1290" y="1019"/>
                    </a:cubicBezTo>
                    <a:cubicBezTo>
                      <a:pt x="1290" y="1021"/>
                      <a:pt x="1290" y="1021"/>
                      <a:pt x="1290" y="1021"/>
                    </a:cubicBezTo>
                    <a:cubicBezTo>
                      <a:pt x="1292" y="1023"/>
                      <a:pt x="1292" y="1023"/>
                      <a:pt x="1292" y="1023"/>
                    </a:cubicBezTo>
                    <a:cubicBezTo>
                      <a:pt x="1290" y="1026"/>
                      <a:pt x="1290" y="1026"/>
                      <a:pt x="1290" y="1026"/>
                    </a:cubicBezTo>
                    <a:cubicBezTo>
                      <a:pt x="1288" y="1026"/>
                      <a:pt x="1288" y="1026"/>
                      <a:pt x="1288" y="1026"/>
                    </a:cubicBezTo>
                    <a:cubicBezTo>
                      <a:pt x="1288" y="1027"/>
                      <a:pt x="1288" y="1027"/>
                      <a:pt x="1288" y="1027"/>
                    </a:cubicBezTo>
                    <a:cubicBezTo>
                      <a:pt x="1290" y="1027"/>
                      <a:pt x="1290" y="1027"/>
                      <a:pt x="1290" y="1027"/>
                    </a:cubicBezTo>
                    <a:cubicBezTo>
                      <a:pt x="1293" y="1028"/>
                      <a:pt x="1293" y="1028"/>
                      <a:pt x="1293" y="1028"/>
                    </a:cubicBezTo>
                    <a:cubicBezTo>
                      <a:pt x="1292" y="1031"/>
                      <a:pt x="1292" y="1031"/>
                      <a:pt x="1292" y="1031"/>
                    </a:cubicBezTo>
                    <a:cubicBezTo>
                      <a:pt x="1290" y="1032"/>
                      <a:pt x="1290" y="1032"/>
                      <a:pt x="1290" y="1032"/>
                    </a:cubicBezTo>
                    <a:cubicBezTo>
                      <a:pt x="1293" y="1032"/>
                      <a:pt x="1293" y="1032"/>
                      <a:pt x="1293" y="1032"/>
                    </a:cubicBezTo>
                    <a:cubicBezTo>
                      <a:pt x="1294" y="1035"/>
                      <a:pt x="1294" y="1035"/>
                      <a:pt x="1294" y="1035"/>
                    </a:cubicBezTo>
                    <a:cubicBezTo>
                      <a:pt x="1291" y="1037"/>
                      <a:pt x="1291" y="1037"/>
                      <a:pt x="1291" y="1037"/>
                    </a:cubicBezTo>
                    <a:cubicBezTo>
                      <a:pt x="1292" y="1041"/>
                      <a:pt x="1292" y="1041"/>
                      <a:pt x="1292" y="1041"/>
                    </a:cubicBezTo>
                    <a:cubicBezTo>
                      <a:pt x="1295" y="1044"/>
                      <a:pt x="1295" y="1044"/>
                      <a:pt x="1295" y="1044"/>
                    </a:cubicBezTo>
                    <a:cubicBezTo>
                      <a:pt x="1296" y="1048"/>
                      <a:pt x="1296" y="1048"/>
                      <a:pt x="1296" y="1048"/>
                    </a:cubicBezTo>
                    <a:cubicBezTo>
                      <a:pt x="1294" y="1050"/>
                      <a:pt x="1294" y="1050"/>
                      <a:pt x="1294" y="1050"/>
                    </a:cubicBezTo>
                    <a:cubicBezTo>
                      <a:pt x="1292" y="1048"/>
                      <a:pt x="1292" y="1048"/>
                      <a:pt x="1292" y="1048"/>
                    </a:cubicBezTo>
                    <a:cubicBezTo>
                      <a:pt x="1290" y="1049"/>
                      <a:pt x="1290" y="1049"/>
                      <a:pt x="1290" y="1049"/>
                    </a:cubicBezTo>
                    <a:cubicBezTo>
                      <a:pt x="1292" y="1052"/>
                      <a:pt x="1292" y="1052"/>
                      <a:pt x="1292" y="1052"/>
                    </a:cubicBezTo>
                    <a:cubicBezTo>
                      <a:pt x="1293" y="1054"/>
                      <a:pt x="1293" y="1054"/>
                      <a:pt x="1293" y="1054"/>
                    </a:cubicBezTo>
                    <a:cubicBezTo>
                      <a:pt x="1295" y="1054"/>
                      <a:pt x="1295" y="1054"/>
                      <a:pt x="1295" y="1054"/>
                    </a:cubicBezTo>
                    <a:cubicBezTo>
                      <a:pt x="1297" y="1051"/>
                      <a:pt x="1297" y="1051"/>
                      <a:pt x="1297" y="1051"/>
                    </a:cubicBezTo>
                    <a:cubicBezTo>
                      <a:pt x="1298" y="1054"/>
                      <a:pt x="1298" y="1054"/>
                      <a:pt x="1298" y="1054"/>
                    </a:cubicBezTo>
                    <a:cubicBezTo>
                      <a:pt x="1300" y="1056"/>
                      <a:pt x="1300" y="1056"/>
                      <a:pt x="1300" y="1056"/>
                    </a:cubicBezTo>
                    <a:cubicBezTo>
                      <a:pt x="1297" y="1060"/>
                      <a:pt x="1297" y="1060"/>
                      <a:pt x="1297" y="1060"/>
                    </a:cubicBezTo>
                    <a:cubicBezTo>
                      <a:pt x="1294" y="1061"/>
                      <a:pt x="1294" y="1061"/>
                      <a:pt x="1294" y="1061"/>
                    </a:cubicBezTo>
                    <a:cubicBezTo>
                      <a:pt x="1290" y="1060"/>
                      <a:pt x="1290" y="1060"/>
                      <a:pt x="1290" y="1060"/>
                    </a:cubicBezTo>
                    <a:cubicBezTo>
                      <a:pt x="1288" y="1063"/>
                      <a:pt x="1288" y="1063"/>
                      <a:pt x="1288" y="1063"/>
                    </a:cubicBezTo>
                    <a:cubicBezTo>
                      <a:pt x="1291" y="1064"/>
                      <a:pt x="1291" y="1064"/>
                      <a:pt x="1291" y="1064"/>
                    </a:cubicBezTo>
                    <a:cubicBezTo>
                      <a:pt x="1300" y="1062"/>
                      <a:pt x="1300" y="1062"/>
                      <a:pt x="1300" y="1062"/>
                    </a:cubicBezTo>
                    <a:cubicBezTo>
                      <a:pt x="1303" y="1063"/>
                      <a:pt x="1303" y="1063"/>
                      <a:pt x="1303" y="1063"/>
                    </a:cubicBezTo>
                    <a:cubicBezTo>
                      <a:pt x="1302" y="1066"/>
                      <a:pt x="1302" y="1066"/>
                      <a:pt x="1302" y="1066"/>
                    </a:cubicBezTo>
                    <a:cubicBezTo>
                      <a:pt x="1298" y="1070"/>
                      <a:pt x="1298" y="1070"/>
                      <a:pt x="1298" y="1070"/>
                    </a:cubicBezTo>
                    <a:cubicBezTo>
                      <a:pt x="1301" y="1071"/>
                      <a:pt x="1301" y="1071"/>
                      <a:pt x="1301" y="1071"/>
                    </a:cubicBezTo>
                    <a:cubicBezTo>
                      <a:pt x="1304" y="1069"/>
                      <a:pt x="1304" y="1069"/>
                      <a:pt x="1304" y="1069"/>
                    </a:cubicBezTo>
                    <a:cubicBezTo>
                      <a:pt x="1304" y="1073"/>
                      <a:pt x="1304" y="1073"/>
                      <a:pt x="1304" y="1073"/>
                    </a:cubicBezTo>
                    <a:cubicBezTo>
                      <a:pt x="1301" y="1077"/>
                      <a:pt x="1301" y="1077"/>
                      <a:pt x="1301" y="1077"/>
                    </a:cubicBezTo>
                    <a:cubicBezTo>
                      <a:pt x="1295" y="1077"/>
                      <a:pt x="1295" y="1077"/>
                      <a:pt x="1295" y="1077"/>
                    </a:cubicBezTo>
                    <a:cubicBezTo>
                      <a:pt x="1292" y="1075"/>
                      <a:pt x="1292" y="1075"/>
                      <a:pt x="1292" y="1075"/>
                    </a:cubicBezTo>
                    <a:cubicBezTo>
                      <a:pt x="1291" y="1078"/>
                      <a:pt x="1291" y="1078"/>
                      <a:pt x="1291" y="1078"/>
                    </a:cubicBezTo>
                    <a:cubicBezTo>
                      <a:pt x="1292" y="1080"/>
                      <a:pt x="1292" y="1080"/>
                      <a:pt x="1292" y="1080"/>
                    </a:cubicBezTo>
                    <a:cubicBezTo>
                      <a:pt x="1290" y="1083"/>
                      <a:pt x="1290" y="1083"/>
                      <a:pt x="1290" y="1083"/>
                    </a:cubicBezTo>
                    <a:cubicBezTo>
                      <a:pt x="1295" y="1081"/>
                      <a:pt x="1295" y="1081"/>
                      <a:pt x="1295" y="1081"/>
                    </a:cubicBezTo>
                    <a:cubicBezTo>
                      <a:pt x="1301" y="1081"/>
                      <a:pt x="1301" y="1081"/>
                      <a:pt x="1301" y="1081"/>
                    </a:cubicBezTo>
                    <a:cubicBezTo>
                      <a:pt x="1306" y="1080"/>
                      <a:pt x="1306" y="1080"/>
                      <a:pt x="1306" y="1080"/>
                    </a:cubicBezTo>
                    <a:cubicBezTo>
                      <a:pt x="1307" y="1081"/>
                      <a:pt x="1307" y="1081"/>
                      <a:pt x="1307" y="1081"/>
                    </a:cubicBezTo>
                    <a:cubicBezTo>
                      <a:pt x="1304" y="1083"/>
                      <a:pt x="1304" y="1083"/>
                      <a:pt x="1304" y="1083"/>
                    </a:cubicBezTo>
                    <a:cubicBezTo>
                      <a:pt x="1304" y="1085"/>
                      <a:pt x="1304" y="1085"/>
                      <a:pt x="1304" y="1085"/>
                    </a:cubicBezTo>
                    <a:cubicBezTo>
                      <a:pt x="1301" y="1087"/>
                      <a:pt x="1301" y="1087"/>
                      <a:pt x="1301" y="1087"/>
                    </a:cubicBezTo>
                    <a:cubicBezTo>
                      <a:pt x="1298" y="1087"/>
                      <a:pt x="1298" y="1087"/>
                      <a:pt x="1298" y="1087"/>
                    </a:cubicBezTo>
                    <a:cubicBezTo>
                      <a:pt x="1292" y="1093"/>
                      <a:pt x="1292" y="1093"/>
                      <a:pt x="1292" y="1093"/>
                    </a:cubicBezTo>
                    <a:cubicBezTo>
                      <a:pt x="1298" y="1091"/>
                      <a:pt x="1298" y="1091"/>
                      <a:pt x="1298" y="1091"/>
                    </a:cubicBezTo>
                    <a:cubicBezTo>
                      <a:pt x="1302" y="1091"/>
                      <a:pt x="1302" y="1091"/>
                      <a:pt x="1302" y="1091"/>
                    </a:cubicBezTo>
                    <a:cubicBezTo>
                      <a:pt x="1305" y="1090"/>
                      <a:pt x="1305" y="1090"/>
                      <a:pt x="1305" y="1090"/>
                    </a:cubicBezTo>
                    <a:cubicBezTo>
                      <a:pt x="1308" y="1090"/>
                      <a:pt x="1308" y="1090"/>
                      <a:pt x="1308" y="1090"/>
                    </a:cubicBezTo>
                    <a:cubicBezTo>
                      <a:pt x="1308" y="1094"/>
                      <a:pt x="1308" y="1094"/>
                      <a:pt x="1308" y="1094"/>
                    </a:cubicBezTo>
                    <a:cubicBezTo>
                      <a:pt x="1305" y="1094"/>
                      <a:pt x="1305" y="1094"/>
                      <a:pt x="1305" y="1094"/>
                    </a:cubicBezTo>
                    <a:cubicBezTo>
                      <a:pt x="1301" y="1097"/>
                      <a:pt x="1301" y="1097"/>
                      <a:pt x="1301" y="1097"/>
                    </a:cubicBezTo>
                    <a:cubicBezTo>
                      <a:pt x="1300" y="1100"/>
                      <a:pt x="1300" y="1100"/>
                      <a:pt x="1300" y="1100"/>
                    </a:cubicBezTo>
                    <a:cubicBezTo>
                      <a:pt x="1303" y="1098"/>
                      <a:pt x="1303" y="1098"/>
                      <a:pt x="1303" y="1098"/>
                    </a:cubicBezTo>
                    <a:cubicBezTo>
                      <a:pt x="1306" y="1099"/>
                      <a:pt x="1306" y="1099"/>
                      <a:pt x="1306" y="1099"/>
                    </a:cubicBezTo>
                    <a:cubicBezTo>
                      <a:pt x="1308" y="1097"/>
                      <a:pt x="1308" y="1097"/>
                      <a:pt x="1308" y="1097"/>
                    </a:cubicBezTo>
                    <a:cubicBezTo>
                      <a:pt x="1312" y="1100"/>
                      <a:pt x="1312" y="1100"/>
                      <a:pt x="1312" y="1100"/>
                    </a:cubicBezTo>
                    <a:cubicBezTo>
                      <a:pt x="1314" y="1106"/>
                      <a:pt x="1314" y="1106"/>
                      <a:pt x="1314" y="1106"/>
                    </a:cubicBezTo>
                    <a:cubicBezTo>
                      <a:pt x="1310" y="1109"/>
                      <a:pt x="1310" y="1109"/>
                      <a:pt x="1310" y="1109"/>
                    </a:cubicBezTo>
                    <a:cubicBezTo>
                      <a:pt x="1307" y="1108"/>
                      <a:pt x="1307" y="1108"/>
                      <a:pt x="1307" y="1108"/>
                    </a:cubicBezTo>
                    <a:cubicBezTo>
                      <a:pt x="1305" y="1110"/>
                      <a:pt x="1305" y="1110"/>
                      <a:pt x="1305" y="1110"/>
                    </a:cubicBezTo>
                    <a:cubicBezTo>
                      <a:pt x="1302" y="1110"/>
                      <a:pt x="1302" y="1110"/>
                      <a:pt x="1302" y="1110"/>
                    </a:cubicBezTo>
                    <a:cubicBezTo>
                      <a:pt x="1304" y="1112"/>
                      <a:pt x="1304" y="1112"/>
                      <a:pt x="1304" y="1112"/>
                    </a:cubicBezTo>
                    <a:cubicBezTo>
                      <a:pt x="1307" y="1112"/>
                      <a:pt x="1307" y="1112"/>
                      <a:pt x="1307" y="1112"/>
                    </a:cubicBezTo>
                    <a:cubicBezTo>
                      <a:pt x="1309" y="1113"/>
                      <a:pt x="1309" y="1113"/>
                      <a:pt x="1309" y="1113"/>
                    </a:cubicBezTo>
                    <a:cubicBezTo>
                      <a:pt x="1313" y="1113"/>
                      <a:pt x="1313" y="1113"/>
                      <a:pt x="1313" y="1113"/>
                    </a:cubicBezTo>
                    <a:cubicBezTo>
                      <a:pt x="1314" y="1115"/>
                      <a:pt x="1314" y="1115"/>
                      <a:pt x="1314" y="1115"/>
                    </a:cubicBezTo>
                    <a:cubicBezTo>
                      <a:pt x="1313" y="1117"/>
                      <a:pt x="1313" y="1117"/>
                      <a:pt x="1313" y="1117"/>
                    </a:cubicBezTo>
                    <a:cubicBezTo>
                      <a:pt x="1311" y="1119"/>
                      <a:pt x="1311" y="1119"/>
                      <a:pt x="1311" y="1119"/>
                    </a:cubicBezTo>
                    <a:cubicBezTo>
                      <a:pt x="1314" y="1120"/>
                      <a:pt x="1314" y="1120"/>
                      <a:pt x="1314" y="1120"/>
                    </a:cubicBezTo>
                    <a:cubicBezTo>
                      <a:pt x="1317" y="1120"/>
                      <a:pt x="1317" y="1120"/>
                      <a:pt x="1317" y="1120"/>
                    </a:cubicBezTo>
                    <a:cubicBezTo>
                      <a:pt x="1321" y="1123"/>
                      <a:pt x="1321" y="1123"/>
                      <a:pt x="1321" y="1123"/>
                    </a:cubicBezTo>
                    <a:cubicBezTo>
                      <a:pt x="1320" y="1126"/>
                      <a:pt x="1320" y="1126"/>
                      <a:pt x="1320" y="1126"/>
                    </a:cubicBezTo>
                    <a:cubicBezTo>
                      <a:pt x="1317" y="1128"/>
                      <a:pt x="1317" y="1128"/>
                      <a:pt x="1317" y="1128"/>
                    </a:cubicBezTo>
                    <a:cubicBezTo>
                      <a:pt x="1312" y="1131"/>
                      <a:pt x="1312" y="1131"/>
                      <a:pt x="1312" y="1131"/>
                    </a:cubicBezTo>
                    <a:cubicBezTo>
                      <a:pt x="1309" y="1130"/>
                      <a:pt x="1309" y="1130"/>
                      <a:pt x="1309" y="1130"/>
                    </a:cubicBezTo>
                    <a:cubicBezTo>
                      <a:pt x="1308" y="1132"/>
                      <a:pt x="1308" y="1132"/>
                      <a:pt x="1308" y="1132"/>
                    </a:cubicBezTo>
                    <a:cubicBezTo>
                      <a:pt x="1312" y="1133"/>
                      <a:pt x="1312" y="1133"/>
                      <a:pt x="1312" y="1133"/>
                    </a:cubicBezTo>
                    <a:cubicBezTo>
                      <a:pt x="1312" y="1136"/>
                      <a:pt x="1312" y="1136"/>
                      <a:pt x="1312" y="1136"/>
                    </a:cubicBezTo>
                    <a:cubicBezTo>
                      <a:pt x="1308" y="1136"/>
                      <a:pt x="1308" y="1136"/>
                      <a:pt x="1308" y="1136"/>
                    </a:cubicBezTo>
                    <a:cubicBezTo>
                      <a:pt x="1303" y="1133"/>
                      <a:pt x="1303" y="1133"/>
                      <a:pt x="1303" y="1133"/>
                    </a:cubicBezTo>
                    <a:cubicBezTo>
                      <a:pt x="1297" y="1133"/>
                      <a:pt x="1297" y="1133"/>
                      <a:pt x="1297" y="1133"/>
                    </a:cubicBezTo>
                    <a:cubicBezTo>
                      <a:pt x="1302" y="1136"/>
                      <a:pt x="1302" y="1136"/>
                      <a:pt x="1302" y="1136"/>
                    </a:cubicBezTo>
                    <a:cubicBezTo>
                      <a:pt x="1303" y="1140"/>
                      <a:pt x="1303" y="1140"/>
                      <a:pt x="1303" y="1140"/>
                    </a:cubicBezTo>
                    <a:cubicBezTo>
                      <a:pt x="1306" y="1143"/>
                      <a:pt x="1306" y="1143"/>
                      <a:pt x="1306" y="1143"/>
                    </a:cubicBezTo>
                    <a:cubicBezTo>
                      <a:pt x="1308" y="1145"/>
                      <a:pt x="1308" y="1145"/>
                      <a:pt x="1308" y="1145"/>
                    </a:cubicBezTo>
                    <a:cubicBezTo>
                      <a:pt x="1307" y="1147"/>
                      <a:pt x="1307" y="1147"/>
                      <a:pt x="1307" y="1147"/>
                    </a:cubicBezTo>
                    <a:cubicBezTo>
                      <a:pt x="1303" y="1147"/>
                      <a:pt x="1303" y="1147"/>
                      <a:pt x="1303" y="1147"/>
                    </a:cubicBezTo>
                    <a:cubicBezTo>
                      <a:pt x="1302" y="1150"/>
                      <a:pt x="1302" y="1150"/>
                      <a:pt x="1302" y="1150"/>
                    </a:cubicBezTo>
                    <a:cubicBezTo>
                      <a:pt x="1296" y="1149"/>
                      <a:pt x="1296" y="1149"/>
                      <a:pt x="1296" y="1149"/>
                    </a:cubicBezTo>
                    <a:cubicBezTo>
                      <a:pt x="1303" y="1151"/>
                      <a:pt x="1303" y="1151"/>
                      <a:pt x="1303" y="1151"/>
                    </a:cubicBezTo>
                    <a:cubicBezTo>
                      <a:pt x="1306" y="1150"/>
                      <a:pt x="1306" y="1150"/>
                      <a:pt x="1306" y="1150"/>
                    </a:cubicBezTo>
                    <a:cubicBezTo>
                      <a:pt x="1306" y="1149"/>
                      <a:pt x="1306" y="1149"/>
                      <a:pt x="1306" y="1149"/>
                    </a:cubicBezTo>
                    <a:cubicBezTo>
                      <a:pt x="1311" y="1148"/>
                      <a:pt x="1311" y="1148"/>
                      <a:pt x="1311" y="1148"/>
                    </a:cubicBezTo>
                    <a:cubicBezTo>
                      <a:pt x="1313" y="1148"/>
                      <a:pt x="1313" y="1148"/>
                      <a:pt x="1313" y="1148"/>
                    </a:cubicBezTo>
                    <a:cubicBezTo>
                      <a:pt x="1313" y="1151"/>
                      <a:pt x="1313" y="1151"/>
                      <a:pt x="1313" y="1151"/>
                    </a:cubicBezTo>
                    <a:cubicBezTo>
                      <a:pt x="1315" y="1153"/>
                      <a:pt x="1315" y="1153"/>
                      <a:pt x="1315" y="1153"/>
                    </a:cubicBezTo>
                    <a:cubicBezTo>
                      <a:pt x="1313" y="1154"/>
                      <a:pt x="1313" y="1154"/>
                      <a:pt x="1313" y="1154"/>
                    </a:cubicBezTo>
                    <a:cubicBezTo>
                      <a:pt x="1316" y="1155"/>
                      <a:pt x="1316" y="1155"/>
                      <a:pt x="1316" y="1155"/>
                    </a:cubicBezTo>
                    <a:cubicBezTo>
                      <a:pt x="1316" y="1156"/>
                      <a:pt x="1316" y="1156"/>
                      <a:pt x="1316" y="1156"/>
                    </a:cubicBezTo>
                    <a:cubicBezTo>
                      <a:pt x="1316" y="1158"/>
                      <a:pt x="1316" y="1158"/>
                      <a:pt x="1316" y="1158"/>
                    </a:cubicBezTo>
                    <a:cubicBezTo>
                      <a:pt x="1317" y="1160"/>
                      <a:pt x="1317" y="1160"/>
                      <a:pt x="1317" y="1160"/>
                    </a:cubicBezTo>
                    <a:cubicBezTo>
                      <a:pt x="1320" y="1158"/>
                      <a:pt x="1320" y="1158"/>
                      <a:pt x="1320" y="1158"/>
                    </a:cubicBezTo>
                    <a:cubicBezTo>
                      <a:pt x="1322" y="1158"/>
                      <a:pt x="1322" y="1158"/>
                      <a:pt x="1322" y="1158"/>
                    </a:cubicBezTo>
                    <a:cubicBezTo>
                      <a:pt x="1324" y="1159"/>
                      <a:pt x="1324" y="1159"/>
                      <a:pt x="1324" y="1159"/>
                    </a:cubicBezTo>
                    <a:cubicBezTo>
                      <a:pt x="1324" y="1164"/>
                      <a:pt x="1324" y="1164"/>
                      <a:pt x="1324" y="1164"/>
                    </a:cubicBezTo>
                    <a:cubicBezTo>
                      <a:pt x="1322" y="1166"/>
                      <a:pt x="1322" y="1166"/>
                      <a:pt x="1322" y="1166"/>
                    </a:cubicBezTo>
                    <a:cubicBezTo>
                      <a:pt x="1322" y="1167"/>
                      <a:pt x="1322" y="1167"/>
                      <a:pt x="1322" y="1167"/>
                    </a:cubicBezTo>
                    <a:cubicBezTo>
                      <a:pt x="1324" y="1167"/>
                      <a:pt x="1324" y="1167"/>
                      <a:pt x="1324" y="1167"/>
                    </a:cubicBezTo>
                    <a:cubicBezTo>
                      <a:pt x="1328" y="1162"/>
                      <a:pt x="1328" y="1162"/>
                      <a:pt x="1328" y="1162"/>
                    </a:cubicBezTo>
                    <a:cubicBezTo>
                      <a:pt x="1329" y="1163"/>
                      <a:pt x="1329" y="1163"/>
                      <a:pt x="1329" y="1163"/>
                    </a:cubicBezTo>
                    <a:cubicBezTo>
                      <a:pt x="1328" y="1166"/>
                      <a:pt x="1328" y="1166"/>
                      <a:pt x="1328" y="1166"/>
                    </a:cubicBezTo>
                    <a:cubicBezTo>
                      <a:pt x="1330" y="1168"/>
                      <a:pt x="1330" y="1168"/>
                      <a:pt x="1330" y="1168"/>
                    </a:cubicBezTo>
                    <a:cubicBezTo>
                      <a:pt x="1326" y="1171"/>
                      <a:pt x="1326" y="1171"/>
                      <a:pt x="1326" y="1171"/>
                    </a:cubicBezTo>
                    <a:cubicBezTo>
                      <a:pt x="1320" y="1178"/>
                      <a:pt x="1320" y="1178"/>
                      <a:pt x="1320" y="1178"/>
                    </a:cubicBezTo>
                    <a:cubicBezTo>
                      <a:pt x="1317" y="1181"/>
                      <a:pt x="1317" y="1181"/>
                      <a:pt x="1317" y="1181"/>
                    </a:cubicBezTo>
                    <a:cubicBezTo>
                      <a:pt x="1313" y="1180"/>
                      <a:pt x="1313" y="1180"/>
                      <a:pt x="1313" y="1180"/>
                    </a:cubicBezTo>
                    <a:cubicBezTo>
                      <a:pt x="1316" y="1182"/>
                      <a:pt x="1316" y="1182"/>
                      <a:pt x="1316" y="1182"/>
                    </a:cubicBezTo>
                    <a:cubicBezTo>
                      <a:pt x="1320" y="1181"/>
                      <a:pt x="1320" y="1181"/>
                      <a:pt x="1320" y="1181"/>
                    </a:cubicBezTo>
                    <a:cubicBezTo>
                      <a:pt x="1327" y="1175"/>
                      <a:pt x="1327" y="1175"/>
                      <a:pt x="1327" y="1175"/>
                    </a:cubicBezTo>
                    <a:cubicBezTo>
                      <a:pt x="1330" y="1175"/>
                      <a:pt x="1330" y="1175"/>
                      <a:pt x="1330" y="1175"/>
                    </a:cubicBezTo>
                    <a:cubicBezTo>
                      <a:pt x="1330" y="1177"/>
                      <a:pt x="1330" y="1177"/>
                      <a:pt x="1330" y="1177"/>
                    </a:cubicBezTo>
                    <a:cubicBezTo>
                      <a:pt x="1326" y="1179"/>
                      <a:pt x="1326" y="1179"/>
                      <a:pt x="1326" y="1179"/>
                    </a:cubicBezTo>
                    <a:cubicBezTo>
                      <a:pt x="1325" y="1182"/>
                      <a:pt x="1325" y="1182"/>
                      <a:pt x="1325" y="1182"/>
                    </a:cubicBezTo>
                    <a:cubicBezTo>
                      <a:pt x="1327" y="1183"/>
                      <a:pt x="1327" y="1183"/>
                      <a:pt x="1327" y="1183"/>
                    </a:cubicBezTo>
                    <a:cubicBezTo>
                      <a:pt x="1331" y="1179"/>
                      <a:pt x="1331" y="1179"/>
                      <a:pt x="1331" y="1179"/>
                    </a:cubicBezTo>
                    <a:cubicBezTo>
                      <a:pt x="1334" y="1175"/>
                      <a:pt x="1334" y="1175"/>
                      <a:pt x="1334" y="1175"/>
                    </a:cubicBezTo>
                    <a:cubicBezTo>
                      <a:pt x="1338" y="1174"/>
                      <a:pt x="1338" y="1174"/>
                      <a:pt x="1338" y="1174"/>
                    </a:cubicBezTo>
                    <a:cubicBezTo>
                      <a:pt x="1338" y="1176"/>
                      <a:pt x="1338" y="1176"/>
                      <a:pt x="1338" y="1176"/>
                    </a:cubicBezTo>
                    <a:cubicBezTo>
                      <a:pt x="1335" y="1177"/>
                      <a:pt x="1335" y="1177"/>
                      <a:pt x="1335" y="1177"/>
                    </a:cubicBezTo>
                    <a:cubicBezTo>
                      <a:pt x="1333" y="1179"/>
                      <a:pt x="1333" y="1179"/>
                      <a:pt x="1333" y="1179"/>
                    </a:cubicBezTo>
                    <a:cubicBezTo>
                      <a:pt x="1335" y="1180"/>
                      <a:pt x="1335" y="1180"/>
                      <a:pt x="1335" y="1180"/>
                    </a:cubicBezTo>
                    <a:cubicBezTo>
                      <a:pt x="1340" y="1178"/>
                      <a:pt x="1340" y="1178"/>
                      <a:pt x="1340" y="1178"/>
                    </a:cubicBezTo>
                    <a:cubicBezTo>
                      <a:pt x="1341" y="1179"/>
                      <a:pt x="1341" y="1179"/>
                      <a:pt x="1341" y="1179"/>
                    </a:cubicBezTo>
                    <a:cubicBezTo>
                      <a:pt x="1336" y="1183"/>
                      <a:pt x="1336" y="1183"/>
                      <a:pt x="1336" y="1183"/>
                    </a:cubicBezTo>
                    <a:cubicBezTo>
                      <a:pt x="1334" y="1186"/>
                      <a:pt x="1334" y="1186"/>
                      <a:pt x="1334" y="1186"/>
                    </a:cubicBezTo>
                    <a:cubicBezTo>
                      <a:pt x="1335" y="1186"/>
                      <a:pt x="1335" y="1186"/>
                      <a:pt x="1335" y="1186"/>
                    </a:cubicBezTo>
                    <a:cubicBezTo>
                      <a:pt x="1338" y="1184"/>
                      <a:pt x="1338" y="1184"/>
                      <a:pt x="1338" y="1184"/>
                    </a:cubicBezTo>
                    <a:cubicBezTo>
                      <a:pt x="1346" y="1178"/>
                      <a:pt x="1346" y="1178"/>
                      <a:pt x="1346" y="1178"/>
                    </a:cubicBezTo>
                    <a:cubicBezTo>
                      <a:pt x="1347" y="1178"/>
                      <a:pt x="1347" y="1178"/>
                      <a:pt x="1347" y="1178"/>
                    </a:cubicBezTo>
                    <a:cubicBezTo>
                      <a:pt x="1345" y="1180"/>
                      <a:pt x="1345" y="1180"/>
                      <a:pt x="1345" y="1180"/>
                    </a:cubicBezTo>
                    <a:cubicBezTo>
                      <a:pt x="1345" y="1182"/>
                      <a:pt x="1345" y="1182"/>
                      <a:pt x="1345" y="1182"/>
                    </a:cubicBezTo>
                    <a:cubicBezTo>
                      <a:pt x="1350" y="1178"/>
                      <a:pt x="1350" y="1178"/>
                      <a:pt x="1350" y="1178"/>
                    </a:cubicBezTo>
                    <a:cubicBezTo>
                      <a:pt x="1349" y="1180"/>
                      <a:pt x="1349" y="1180"/>
                      <a:pt x="1349" y="1180"/>
                    </a:cubicBezTo>
                    <a:cubicBezTo>
                      <a:pt x="1349" y="1186"/>
                      <a:pt x="1349" y="1186"/>
                      <a:pt x="1349" y="1186"/>
                    </a:cubicBezTo>
                    <a:cubicBezTo>
                      <a:pt x="1347" y="1187"/>
                      <a:pt x="1347" y="1187"/>
                      <a:pt x="1347" y="1187"/>
                    </a:cubicBezTo>
                    <a:cubicBezTo>
                      <a:pt x="1348" y="1189"/>
                      <a:pt x="1348" y="1189"/>
                      <a:pt x="1348" y="1189"/>
                    </a:cubicBezTo>
                    <a:cubicBezTo>
                      <a:pt x="1352" y="1189"/>
                      <a:pt x="1352" y="1189"/>
                      <a:pt x="1352" y="1189"/>
                    </a:cubicBezTo>
                    <a:cubicBezTo>
                      <a:pt x="1356" y="1191"/>
                      <a:pt x="1356" y="1191"/>
                      <a:pt x="1356" y="1191"/>
                    </a:cubicBezTo>
                    <a:cubicBezTo>
                      <a:pt x="1359" y="1188"/>
                      <a:pt x="1359" y="1188"/>
                      <a:pt x="1359" y="1188"/>
                    </a:cubicBezTo>
                    <a:cubicBezTo>
                      <a:pt x="1364" y="1186"/>
                      <a:pt x="1364" y="1186"/>
                      <a:pt x="1364" y="1186"/>
                    </a:cubicBezTo>
                    <a:cubicBezTo>
                      <a:pt x="1367" y="1187"/>
                      <a:pt x="1367" y="1187"/>
                      <a:pt x="1367" y="1187"/>
                    </a:cubicBezTo>
                    <a:cubicBezTo>
                      <a:pt x="1365" y="1191"/>
                      <a:pt x="1365" y="1191"/>
                      <a:pt x="1365" y="1191"/>
                    </a:cubicBezTo>
                    <a:cubicBezTo>
                      <a:pt x="1363" y="1191"/>
                      <a:pt x="1363" y="1191"/>
                      <a:pt x="1363" y="1191"/>
                    </a:cubicBezTo>
                    <a:cubicBezTo>
                      <a:pt x="1361" y="1192"/>
                      <a:pt x="1361" y="1192"/>
                      <a:pt x="1361" y="1192"/>
                    </a:cubicBezTo>
                    <a:cubicBezTo>
                      <a:pt x="1371" y="1195"/>
                      <a:pt x="1371" y="1195"/>
                      <a:pt x="1371" y="1195"/>
                    </a:cubicBezTo>
                    <a:cubicBezTo>
                      <a:pt x="1374" y="1198"/>
                      <a:pt x="1374" y="1198"/>
                      <a:pt x="1374" y="1198"/>
                    </a:cubicBezTo>
                    <a:cubicBezTo>
                      <a:pt x="1368" y="1199"/>
                      <a:pt x="1368" y="1199"/>
                      <a:pt x="1368" y="1199"/>
                    </a:cubicBezTo>
                    <a:cubicBezTo>
                      <a:pt x="1368" y="1200"/>
                      <a:pt x="1368" y="1200"/>
                      <a:pt x="1368" y="1200"/>
                    </a:cubicBezTo>
                    <a:cubicBezTo>
                      <a:pt x="1361" y="1201"/>
                      <a:pt x="1361" y="1201"/>
                      <a:pt x="1361" y="1201"/>
                    </a:cubicBezTo>
                    <a:cubicBezTo>
                      <a:pt x="1359" y="1200"/>
                      <a:pt x="1359" y="1200"/>
                      <a:pt x="1359" y="1200"/>
                    </a:cubicBezTo>
                    <a:cubicBezTo>
                      <a:pt x="1353" y="1202"/>
                      <a:pt x="1353" y="1202"/>
                      <a:pt x="1353" y="1202"/>
                    </a:cubicBezTo>
                    <a:cubicBezTo>
                      <a:pt x="1350" y="1206"/>
                      <a:pt x="1350" y="1206"/>
                      <a:pt x="1350" y="1206"/>
                    </a:cubicBezTo>
                    <a:cubicBezTo>
                      <a:pt x="1343" y="1206"/>
                      <a:pt x="1343" y="1206"/>
                      <a:pt x="1343" y="1206"/>
                    </a:cubicBezTo>
                    <a:cubicBezTo>
                      <a:pt x="1333" y="1208"/>
                      <a:pt x="1333" y="1208"/>
                      <a:pt x="1333" y="1208"/>
                    </a:cubicBezTo>
                    <a:cubicBezTo>
                      <a:pt x="1332" y="1210"/>
                      <a:pt x="1332" y="1210"/>
                      <a:pt x="1332" y="1210"/>
                    </a:cubicBezTo>
                    <a:cubicBezTo>
                      <a:pt x="1339" y="1209"/>
                      <a:pt x="1339" y="1209"/>
                      <a:pt x="1339" y="1209"/>
                    </a:cubicBezTo>
                    <a:cubicBezTo>
                      <a:pt x="1347" y="1206"/>
                      <a:pt x="1347" y="1206"/>
                      <a:pt x="1347" y="1206"/>
                    </a:cubicBezTo>
                    <a:cubicBezTo>
                      <a:pt x="1349" y="1207"/>
                      <a:pt x="1349" y="1207"/>
                      <a:pt x="1349" y="1207"/>
                    </a:cubicBezTo>
                    <a:cubicBezTo>
                      <a:pt x="1350" y="1209"/>
                      <a:pt x="1350" y="1209"/>
                      <a:pt x="1350" y="1209"/>
                    </a:cubicBezTo>
                    <a:cubicBezTo>
                      <a:pt x="1342" y="1210"/>
                      <a:pt x="1342" y="1210"/>
                      <a:pt x="1342" y="1210"/>
                    </a:cubicBezTo>
                    <a:cubicBezTo>
                      <a:pt x="1335" y="1211"/>
                      <a:pt x="1335" y="1211"/>
                      <a:pt x="1335" y="1211"/>
                    </a:cubicBezTo>
                    <a:cubicBezTo>
                      <a:pt x="1329" y="1214"/>
                      <a:pt x="1329" y="1214"/>
                      <a:pt x="1329" y="1214"/>
                    </a:cubicBezTo>
                    <a:cubicBezTo>
                      <a:pt x="1326" y="1217"/>
                      <a:pt x="1326" y="1217"/>
                      <a:pt x="1326" y="1217"/>
                    </a:cubicBezTo>
                    <a:cubicBezTo>
                      <a:pt x="1322" y="1217"/>
                      <a:pt x="1322" y="1217"/>
                      <a:pt x="1322" y="1217"/>
                    </a:cubicBezTo>
                    <a:cubicBezTo>
                      <a:pt x="1322" y="1220"/>
                      <a:pt x="1322" y="1220"/>
                      <a:pt x="1322" y="1220"/>
                    </a:cubicBezTo>
                    <a:cubicBezTo>
                      <a:pt x="1320" y="1222"/>
                      <a:pt x="1320" y="1222"/>
                      <a:pt x="1320" y="1222"/>
                    </a:cubicBezTo>
                    <a:cubicBezTo>
                      <a:pt x="1313" y="1218"/>
                      <a:pt x="1313" y="1218"/>
                      <a:pt x="1313" y="1218"/>
                    </a:cubicBezTo>
                    <a:cubicBezTo>
                      <a:pt x="1309" y="1211"/>
                      <a:pt x="1309" y="1211"/>
                      <a:pt x="1309" y="1211"/>
                    </a:cubicBezTo>
                    <a:cubicBezTo>
                      <a:pt x="1309" y="1214"/>
                      <a:pt x="1309" y="1214"/>
                      <a:pt x="1309" y="1214"/>
                    </a:cubicBezTo>
                    <a:cubicBezTo>
                      <a:pt x="1308" y="1216"/>
                      <a:pt x="1308" y="1216"/>
                      <a:pt x="1308" y="1216"/>
                    </a:cubicBezTo>
                    <a:cubicBezTo>
                      <a:pt x="1311" y="1217"/>
                      <a:pt x="1311" y="1217"/>
                      <a:pt x="1311" y="1217"/>
                    </a:cubicBezTo>
                    <a:cubicBezTo>
                      <a:pt x="1312" y="1219"/>
                      <a:pt x="1312" y="1219"/>
                      <a:pt x="1312" y="1219"/>
                    </a:cubicBezTo>
                    <a:cubicBezTo>
                      <a:pt x="1320" y="1225"/>
                      <a:pt x="1320" y="1225"/>
                      <a:pt x="1320" y="1225"/>
                    </a:cubicBezTo>
                    <a:cubicBezTo>
                      <a:pt x="1318" y="1227"/>
                      <a:pt x="1318" y="1227"/>
                      <a:pt x="1318" y="1227"/>
                    </a:cubicBezTo>
                    <a:cubicBezTo>
                      <a:pt x="1316" y="1226"/>
                      <a:pt x="1316" y="1226"/>
                      <a:pt x="1316" y="1226"/>
                    </a:cubicBezTo>
                    <a:cubicBezTo>
                      <a:pt x="1314" y="1228"/>
                      <a:pt x="1314" y="1228"/>
                      <a:pt x="1314" y="1228"/>
                    </a:cubicBezTo>
                    <a:cubicBezTo>
                      <a:pt x="1315" y="1231"/>
                      <a:pt x="1315" y="1231"/>
                      <a:pt x="1315" y="1231"/>
                    </a:cubicBezTo>
                    <a:cubicBezTo>
                      <a:pt x="1317" y="1232"/>
                      <a:pt x="1317" y="1232"/>
                      <a:pt x="1317" y="1232"/>
                    </a:cubicBezTo>
                    <a:cubicBezTo>
                      <a:pt x="1319" y="1230"/>
                      <a:pt x="1319" y="1230"/>
                      <a:pt x="1319" y="1230"/>
                    </a:cubicBezTo>
                    <a:cubicBezTo>
                      <a:pt x="1321" y="1230"/>
                      <a:pt x="1321" y="1230"/>
                      <a:pt x="1321" y="1230"/>
                    </a:cubicBezTo>
                    <a:cubicBezTo>
                      <a:pt x="1324" y="1224"/>
                      <a:pt x="1324" y="1224"/>
                      <a:pt x="1324" y="1224"/>
                    </a:cubicBezTo>
                    <a:cubicBezTo>
                      <a:pt x="1330" y="1224"/>
                      <a:pt x="1330" y="1224"/>
                      <a:pt x="1330" y="1224"/>
                    </a:cubicBezTo>
                    <a:cubicBezTo>
                      <a:pt x="1334" y="1221"/>
                      <a:pt x="1334" y="1221"/>
                      <a:pt x="1334" y="1221"/>
                    </a:cubicBezTo>
                    <a:cubicBezTo>
                      <a:pt x="1337" y="1220"/>
                      <a:pt x="1337" y="1220"/>
                      <a:pt x="1337" y="1220"/>
                    </a:cubicBezTo>
                    <a:cubicBezTo>
                      <a:pt x="1338" y="1217"/>
                      <a:pt x="1338" y="1217"/>
                      <a:pt x="1338" y="1217"/>
                    </a:cubicBezTo>
                    <a:cubicBezTo>
                      <a:pt x="1342" y="1213"/>
                      <a:pt x="1342" y="1213"/>
                      <a:pt x="1342" y="1213"/>
                    </a:cubicBezTo>
                    <a:cubicBezTo>
                      <a:pt x="1347" y="1212"/>
                      <a:pt x="1347" y="1212"/>
                      <a:pt x="1347" y="1212"/>
                    </a:cubicBezTo>
                    <a:cubicBezTo>
                      <a:pt x="1353" y="1210"/>
                      <a:pt x="1353" y="1210"/>
                      <a:pt x="1353" y="1210"/>
                    </a:cubicBezTo>
                    <a:cubicBezTo>
                      <a:pt x="1358" y="1210"/>
                      <a:pt x="1358" y="1210"/>
                      <a:pt x="1358" y="1210"/>
                    </a:cubicBezTo>
                    <a:cubicBezTo>
                      <a:pt x="1362" y="1210"/>
                      <a:pt x="1362" y="1210"/>
                      <a:pt x="1362" y="1210"/>
                    </a:cubicBezTo>
                    <a:cubicBezTo>
                      <a:pt x="1360" y="1209"/>
                      <a:pt x="1360" y="1209"/>
                      <a:pt x="1360" y="1209"/>
                    </a:cubicBezTo>
                    <a:cubicBezTo>
                      <a:pt x="1356" y="1209"/>
                      <a:pt x="1356" y="1209"/>
                      <a:pt x="1356" y="1209"/>
                    </a:cubicBezTo>
                    <a:cubicBezTo>
                      <a:pt x="1354" y="1208"/>
                      <a:pt x="1354" y="1208"/>
                      <a:pt x="1354" y="1208"/>
                    </a:cubicBezTo>
                    <a:cubicBezTo>
                      <a:pt x="1357" y="1207"/>
                      <a:pt x="1357" y="1207"/>
                      <a:pt x="1357" y="1207"/>
                    </a:cubicBezTo>
                    <a:cubicBezTo>
                      <a:pt x="1365" y="1206"/>
                      <a:pt x="1365" y="1206"/>
                      <a:pt x="1365" y="1206"/>
                    </a:cubicBezTo>
                    <a:cubicBezTo>
                      <a:pt x="1372" y="1208"/>
                      <a:pt x="1372" y="1208"/>
                      <a:pt x="1372" y="1208"/>
                    </a:cubicBezTo>
                    <a:cubicBezTo>
                      <a:pt x="1374" y="1214"/>
                      <a:pt x="1374" y="1214"/>
                      <a:pt x="1374" y="1214"/>
                    </a:cubicBezTo>
                    <a:cubicBezTo>
                      <a:pt x="1374" y="1217"/>
                      <a:pt x="1374" y="1217"/>
                      <a:pt x="1374" y="1217"/>
                    </a:cubicBezTo>
                    <a:cubicBezTo>
                      <a:pt x="1370" y="1221"/>
                      <a:pt x="1370" y="1221"/>
                      <a:pt x="1370" y="1221"/>
                    </a:cubicBezTo>
                    <a:cubicBezTo>
                      <a:pt x="1367" y="1221"/>
                      <a:pt x="1367" y="1221"/>
                      <a:pt x="1367" y="1221"/>
                    </a:cubicBezTo>
                    <a:cubicBezTo>
                      <a:pt x="1365" y="1224"/>
                      <a:pt x="1365" y="1224"/>
                      <a:pt x="1365" y="1224"/>
                    </a:cubicBezTo>
                    <a:cubicBezTo>
                      <a:pt x="1370" y="1224"/>
                      <a:pt x="1370" y="1224"/>
                      <a:pt x="1370" y="1224"/>
                    </a:cubicBezTo>
                    <a:cubicBezTo>
                      <a:pt x="1371" y="1227"/>
                      <a:pt x="1371" y="1227"/>
                      <a:pt x="1371" y="1227"/>
                    </a:cubicBezTo>
                    <a:cubicBezTo>
                      <a:pt x="1373" y="1225"/>
                      <a:pt x="1373" y="1225"/>
                      <a:pt x="1373" y="1225"/>
                    </a:cubicBezTo>
                    <a:cubicBezTo>
                      <a:pt x="1374" y="1222"/>
                      <a:pt x="1374" y="1222"/>
                      <a:pt x="1374" y="1222"/>
                    </a:cubicBezTo>
                    <a:cubicBezTo>
                      <a:pt x="1380" y="1219"/>
                      <a:pt x="1380" y="1219"/>
                      <a:pt x="1380" y="1219"/>
                    </a:cubicBezTo>
                    <a:cubicBezTo>
                      <a:pt x="1384" y="1219"/>
                      <a:pt x="1384" y="1219"/>
                      <a:pt x="1384" y="1219"/>
                    </a:cubicBezTo>
                    <a:cubicBezTo>
                      <a:pt x="1385" y="1221"/>
                      <a:pt x="1385" y="1221"/>
                      <a:pt x="1385" y="1221"/>
                    </a:cubicBezTo>
                    <a:cubicBezTo>
                      <a:pt x="1383" y="1221"/>
                      <a:pt x="1383" y="1221"/>
                      <a:pt x="1383" y="1221"/>
                    </a:cubicBezTo>
                    <a:cubicBezTo>
                      <a:pt x="1383" y="1224"/>
                      <a:pt x="1383" y="1224"/>
                      <a:pt x="1383" y="1224"/>
                    </a:cubicBezTo>
                    <a:cubicBezTo>
                      <a:pt x="1388" y="1224"/>
                      <a:pt x="1388" y="1224"/>
                      <a:pt x="1388" y="1224"/>
                    </a:cubicBezTo>
                    <a:cubicBezTo>
                      <a:pt x="1393" y="1226"/>
                      <a:pt x="1393" y="1226"/>
                      <a:pt x="1393" y="1226"/>
                    </a:cubicBezTo>
                    <a:cubicBezTo>
                      <a:pt x="1394" y="1228"/>
                      <a:pt x="1394" y="1228"/>
                      <a:pt x="1394" y="1228"/>
                    </a:cubicBezTo>
                    <a:cubicBezTo>
                      <a:pt x="1390" y="1226"/>
                      <a:pt x="1390" y="1226"/>
                      <a:pt x="1390" y="1226"/>
                    </a:cubicBezTo>
                    <a:cubicBezTo>
                      <a:pt x="1388" y="1227"/>
                      <a:pt x="1388" y="1227"/>
                      <a:pt x="1388" y="1227"/>
                    </a:cubicBezTo>
                    <a:cubicBezTo>
                      <a:pt x="1389" y="1230"/>
                      <a:pt x="1389" y="1230"/>
                      <a:pt x="1389" y="1230"/>
                    </a:cubicBezTo>
                    <a:cubicBezTo>
                      <a:pt x="1395" y="1232"/>
                      <a:pt x="1395" y="1232"/>
                      <a:pt x="1395" y="1232"/>
                    </a:cubicBezTo>
                    <a:cubicBezTo>
                      <a:pt x="1395" y="1235"/>
                      <a:pt x="1395" y="1235"/>
                      <a:pt x="1395" y="1235"/>
                    </a:cubicBezTo>
                    <a:cubicBezTo>
                      <a:pt x="1392" y="1237"/>
                      <a:pt x="1392" y="1237"/>
                      <a:pt x="1392" y="1237"/>
                    </a:cubicBezTo>
                    <a:cubicBezTo>
                      <a:pt x="1389" y="1236"/>
                      <a:pt x="1389" y="1236"/>
                      <a:pt x="1389" y="1236"/>
                    </a:cubicBezTo>
                    <a:cubicBezTo>
                      <a:pt x="1386" y="1239"/>
                      <a:pt x="1386" y="1239"/>
                      <a:pt x="1386" y="1239"/>
                    </a:cubicBezTo>
                    <a:cubicBezTo>
                      <a:pt x="1392" y="1241"/>
                      <a:pt x="1392" y="1241"/>
                      <a:pt x="1392" y="1241"/>
                    </a:cubicBezTo>
                    <a:cubicBezTo>
                      <a:pt x="1390" y="1244"/>
                      <a:pt x="1390" y="1244"/>
                      <a:pt x="1390" y="1244"/>
                    </a:cubicBezTo>
                    <a:cubicBezTo>
                      <a:pt x="1388" y="1245"/>
                      <a:pt x="1388" y="1245"/>
                      <a:pt x="1388" y="1245"/>
                    </a:cubicBezTo>
                    <a:cubicBezTo>
                      <a:pt x="1387" y="1248"/>
                      <a:pt x="1387" y="1248"/>
                      <a:pt x="1387" y="1248"/>
                    </a:cubicBezTo>
                    <a:cubicBezTo>
                      <a:pt x="1384" y="1250"/>
                      <a:pt x="1384" y="1250"/>
                      <a:pt x="1384" y="1250"/>
                    </a:cubicBezTo>
                    <a:cubicBezTo>
                      <a:pt x="1379" y="1247"/>
                      <a:pt x="1379" y="1247"/>
                      <a:pt x="1379" y="1247"/>
                    </a:cubicBezTo>
                    <a:cubicBezTo>
                      <a:pt x="1381" y="1250"/>
                      <a:pt x="1381" y="1250"/>
                      <a:pt x="1381" y="1250"/>
                    </a:cubicBezTo>
                    <a:cubicBezTo>
                      <a:pt x="1386" y="1252"/>
                      <a:pt x="1386" y="1252"/>
                      <a:pt x="1386" y="1252"/>
                    </a:cubicBezTo>
                    <a:cubicBezTo>
                      <a:pt x="1390" y="1252"/>
                      <a:pt x="1390" y="1252"/>
                      <a:pt x="1390" y="1252"/>
                    </a:cubicBezTo>
                    <a:cubicBezTo>
                      <a:pt x="1392" y="1255"/>
                      <a:pt x="1392" y="1255"/>
                      <a:pt x="1392" y="1255"/>
                    </a:cubicBezTo>
                    <a:cubicBezTo>
                      <a:pt x="1390" y="1256"/>
                      <a:pt x="1390" y="1256"/>
                      <a:pt x="1390" y="1256"/>
                    </a:cubicBezTo>
                    <a:cubicBezTo>
                      <a:pt x="1386" y="1255"/>
                      <a:pt x="1386" y="1255"/>
                      <a:pt x="1386" y="1255"/>
                    </a:cubicBezTo>
                    <a:cubicBezTo>
                      <a:pt x="1384" y="1255"/>
                      <a:pt x="1384" y="1255"/>
                      <a:pt x="1384" y="1255"/>
                    </a:cubicBezTo>
                    <a:cubicBezTo>
                      <a:pt x="1387" y="1258"/>
                      <a:pt x="1387" y="1258"/>
                      <a:pt x="1387" y="1258"/>
                    </a:cubicBezTo>
                    <a:cubicBezTo>
                      <a:pt x="1390" y="1257"/>
                      <a:pt x="1390" y="1257"/>
                      <a:pt x="1390" y="1257"/>
                    </a:cubicBezTo>
                    <a:cubicBezTo>
                      <a:pt x="1392" y="1258"/>
                      <a:pt x="1392" y="1258"/>
                      <a:pt x="1392" y="1258"/>
                    </a:cubicBezTo>
                    <a:cubicBezTo>
                      <a:pt x="1390" y="1261"/>
                      <a:pt x="1390" y="1261"/>
                      <a:pt x="1390" y="1261"/>
                    </a:cubicBezTo>
                    <a:cubicBezTo>
                      <a:pt x="1390" y="1265"/>
                      <a:pt x="1390" y="1265"/>
                      <a:pt x="1390" y="1265"/>
                    </a:cubicBezTo>
                    <a:cubicBezTo>
                      <a:pt x="1387" y="1265"/>
                      <a:pt x="1387" y="1265"/>
                      <a:pt x="1387" y="1265"/>
                    </a:cubicBezTo>
                    <a:cubicBezTo>
                      <a:pt x="1386" y="1268"/>
                      <a:pt x="1386" y="1268"/>
                      <a:pt x="1386" y="1268"/>
                    </a:cubicBezTo>
                    <a:cubicBezTo>
                      <a:pt x="1380" y="1271"/>
                      <a:pt x="1380" y="1271"/>
                      <a:pt x="1380" y="1271"/>
                    </a:cubicBezTo>
                    <a:cubicBezTo>
                      <a:pt x="1376" y="1272"/>
                      <a:pt x="1376" y="1272"/>
                      <a:pt x="1376" y="1272"/>
                    </a:cubicBezTo>
                    <a:cubicBezTo>
                      <a:pt x="1372" y="1275"/>
                      <a:pt x="1372" y="1275"/>
                      <a:pt x="1372" y="1275"/>
                    </a:cubicBezTo>
                    <a:cubicBezTo>
                      <a:pt x="1371" y="1275"/>
                      <a:pt x="1371" y="1275"/>
                      <a:pt x="1371" y="1275"/>
                    </a:cubicBezTo>
                    <a:cubicBezTo>
                      <a:pt x="1368" y="1278"/>
                      <a:pt x="1368" y="1278"/>
                      <a:pt x="1368" y="1278"/>
                    </a:cubicBezTo>
                    <a:cubicBezTo>
                      <a:pt x="1366" y="1278"/>
                      <a:pt x="1366" y="1278"/>
                      <a:pt x="1366" y="1278"/>
                    </a:cubicBezTo>
                    <a:cubicBezTo>
                      <a:pt x="1365" y="1280"/>
                      <a:pt x="1365" y="1280"/>
                      <a:pt x="1365" y="1280"/>
                    </a:cubicBezTo>
                    <a:cubicBezTo>
                      <a:pt x="1361" y="1280"/>
                      <a:pt x="1361" y="1280"/>
                      <a:pt x="1361" y="1280"/>
                    </a:cubicBezTo>
                    <a:cubicBezTo>
                      <a:pt x="1359" y="1278"/>
                      <a:pt x="1359" y="1278"/>
                      <a:pt x="1359" y="1278"/>
                    </a:cubicBezTo>
                    <a:cubicBezTo>
                      <a:pt x="1357" y="1280"/>
                      <a:pt x="1357" y="1280"/>
                      <a:pt x="1357" y="1280"/>
                    </a:cubicBezTo>
                    <a:cubicBezTo>
                      <a:pt x="1354" y="1280"/>
                      <a:pt x="1354" y="1280"/>
                      <a:pt x="1354" y="1280"/>
                    </a:cubicBezTo>
                    <a:cubicBezTo>
                      <a:pt x="1353" y="1278"/>
                      <a:pt x="1353" y="1278"/>
                      <a:pt x="1353" y="1278"/>
                    </a:cubicBezTo>
                    <a:cubicBezTo>
                      <a:pt x="1349" y="1281"/>
                      <a:pt x="1349" y="1281"/>
                      <a:pt x="1349" y="1281"/>
                    </a:cubicBezTo>
                    <a:cubicBezTo>
                      <a:pt x="1344" y="1280"/>
                      <a:pt x="1344" y="1280"/>
                      <a:pt x="1344" y="1280"/>
                    </a:cubicBezTo>
                    <a:cubicBezTo>
                      <a:pt x="1343" y="1278"/>
                      <a:pt x="1343" y="1278"/>
                      <a:pt x="1343" y="1278"/>
                    </a:cubicBezTo>
                    <a:cubicBezTo>
                      <a:pt x="1341" y="1279"/>
                      <a:pt x="1341" y="1279"/>
                      <a:pt x="1341" y="1279"/>
                    </a:cubicBezTo>
                    <a:cubicBezTo>
                      <a:pt x="1342" y="1281"/>
                      <a:pt x="1342" y="1281"/>
                      <a:pt x="1342" y="1281"/>
                    </a:cubicBezTo>
                    <a:cubicBezTo>
                      <a:pt x="1338" y="1282"/>
                      <a:pt x="1338" y="1282"/>
                      <a:pt x="1338" y="1282"/>
                    </a:cubicBezTo>
                    <a:cubicBezTo>
                      <a:pt x="1334" y="1282"/>
                      <a:pt x="1334" y="1282"/>
                      <a:pt x="1334" y="1282"/>
                    </a:cubicBezTo>
                    <a:cubicBezTo>
                      <a:pt x="1333" y="1283"/>
                      <a:pt x="1333" y="1283"/>
                      <a:pt x="1333" y="1283"/>
                    </a:cubicBezTo>
                    <a:cubicBezTo>
                      <a:pt x="1335" y="1284"/>
                      <a:pt x="1335" y="1284"/>
                      <a:pt x="1335" y="1284"/>
                    </a:cubicBezTo>
                    <a:cubicBezTo>
                      <a:pt x="1334" y="1286"/>
                      <a:pt x="1334" y="1286"/>
                      <a:pt x="1334" y="1286"/>
                    </a:cubicBezTo>
                    <a:cubicBezTo>
                      <a:pt x="1331" y="1288"/>
                      <a:pt x="1331" y="1288"/>
                      <a:pt x="1331" y="1288"/>
                    </a:cubicBezTo>
                    <a:cubicBezTo>
                      <a:pt x="1329" y="1288"/>
                      <a:pt x="1329" y="1288"/>
                      <a:pt x="1329" y="1288"/>
                    </a:cubicBezTo>
                    <a:cubicBezTo>
                      <a:pt x="1329" y="1291"/>
                      <a:pt x="1329" y="1291"/>
                      <a:pt x="1329" y="1291"/>
                    </a:cubicBezTo>
                    <a:cubicBezTo>
                      <a:pt x="1326" y="1296"/>
                      <a:pt x="1326" y="1296"/>
                      <a:pt x="1326" y="1296"/>
                    </a:cubicBezTo>
                    <a:cubicBezTo>
                      <a:pt x="1323" y="1296"/>
                      <a:pt x="1323" y="1296"/>
                      <a:pt x="1323" y="1296"/>
                    </a:cubicBezTo>
                    <a:cubicBezTo>
                      <a:pt x="1322" y="1298"/>
                      <a:pt x="1322" y="1298"/>
                      <a:pt x="1322" y="1298"/>
                    </a:cubicBezTo>
                    <a:cubicBezTo>
                      <a:pt x="1319" y="1299"/>
                      <a:pt x="1319" y="1299"/>
                      <a:pt x="1319" y="1299"/>
                    </a:cubicBezTo>
                    <a:cubicBezTo>
                      <a:pt x="1316" y="1303"/>
                      <a:pt x="1316" y="1303"/>
                      <a:pt x="1316" y="1303"/>
                    </a:cubicBezTo>
                    <a:cubicBezTo>
                      <a:pt x="1315" y="1302"/>
                      <a:pt x="1315" y="1302"/>
                      <a:pt x="1315" y="1302"/>
                    </a:cubicBezTo>
                    <a:cubicBezTo>
                      <a:pt x="1312" y="1304"/>
                      <a:pt x="1312" y="1304"/>
                      <a:pt x="1312" y="1304"/>
                    </a:cubicBezTo>
                    <a:cubicBezTo>
                      <a:pt x="1308" y="1304"/>
                      <a:pt x="1308" y="1304"/>
                      <a:pt x="1308" y="1304"/>
                    </a:cubicBezTo>
                    <a:cubicBezTo>
                      <a:pt x="1308" y="1306"/>
                      <a:pt x="1308" y="1306"/>
                      <a:pt x="1308" y="1306"/>
                    </a:cubicBezTo>
                    <a:cubicBezTo>
                      <a:pt x="1304" y="1307"/>
                      <a:pt x="1304" y="1307"/>
                      <a:pt x="1304" y="1307"/>
                    </a:cubicBezTo>
                    <a:cubicBezTo>
                      <a:pt x="1302" y="1306"/>
                      <a:pt x="1302" y="1306"/>
                      <a:pt x="1302" y="1306"/>
                    </a:cubicBezTo>
                    <a:cubicBezTo>
                      <a:pt x="1295" y="1306"/>
                      <a:pt x="1295" y="1306"/>
                      <a:pt x="1295" y="1306"/>
                    </a:cubicBezTo>
                    <a:cubicBezTo>
                      <a:pt x="1294" y="1305"/>
                      <a:pt x="1294" y="1305"/>
                      <a:pt x="1294" y="1305"/>
                    </a:cubicBezTo>
                    <a:cubicBezTo>
                      <a:pt x="1290" y="1306"/>
                      <a:pt x="1290" y="1306"/>
                      <a:pt x="1290" y="1306"/>
                    </a:cubicBezTo>
                    <a:cubicBezTo>
                      <a:pt x="1288" y="1306"/>
                      <a:pt x="1288" y="1306"/>
                      <a:pt x="1288" y="1306"/>
                    </a:cubicBezTo>
                    <a:cubicBezTo>
                      <a:pt x="1279" y="1309"/>
                      <a:pt x="1279" y="1309"/>
                      <a:pt x="1279" y="1309"/>
                    </a:cubicBezTo>
                    <a:cubicBezTo>
                      <a:pt x="1275" y="1308"/>
                      <a:pt x="1275" y="1308"/>
                      <a:pt x="1275" y="1308"/>
                    </a:cubicBezTo>
                    <a:cubicBezTo>
                      <a:pt x="1276" y="1306"/>
                      <a:pt x="1276" y="1306"/>
                      <a:pt x="1276" y="1306"/>
                    </a:cubicBezTo>
                    <a:cubicBezTo>
                      <a:pt x="1273" y="1305"/>
                      <a:pt x="1273" y="1305"/>
                      <a:pt x="1273" y="1305"/>
                    </a:cubicBezTo>
                    <a:cubicBezTo>
                      <a:pt x="1270" y="1306"/>
                      <a:pt x="1270" y="1306"/>
                      <a:pt x="1270" y="1306"/>
                    </a:cubicBezTo>
                    <a:cubicBezTo>
                      <a:pt x="1267" y="1307"/>
                      <a:pt x="1267" y="1307"/>
                      <a:pt x="1267" y="1307"/>
                    </a:cubicBezTo>
                    <a:cubicBezTo>
                      <a:pt x="1261" y="1304"/>
                      <a:pt x="1261" y="1304"/>
                      <a:pt x="1261" y="1304"/>
                    </a:cubicBezTo>
                    <a:cubicBezTo>
                      <a:pt x="1260" y="1305"/>
                      <a:pt x="1260" y="1305"/>
                      <a:pt x="1260" y="1305"/>
                    </a:cubicBezTo>
                    <a:cubicBezTo>
                      <a:pt x="1255" y="1304"/>
                      <a:pt x="1255" y="1304"/>
                      <a:pt x="1255" y="1304"/>
                    </a:cubicBezTo>
                    <a:cubicBezTo>
                      <a:pt x="1252" y="1302"/>
                      <a:pt x="1252" y="1302"/>
                      <a:pt x="1252" y="1302"/>
                    </a:cubicBezTo>
                    <a:cubicBezTo>
                      <a:pt x="1250" y="1302"/>
                      <a:pt x="1250" y="1302"/>
                      <a:pt x="1250" y="1302"/>
                    </a:cubicBezTo>
                    <a:cubicBezTo>
                      <a:pt x="1247" y="1304"/>
                      <a:pt x="1247" y="1304"/>
                      <a:pt x="1247" y="1304"/>
                    </a:cubicBezTo>
                    <a:cubicBezTo>
                      <a:pt x="1242" y="1303"/>
                      <a:pt x="1242" y="1303"/>
                      <a:pt x="1242" y="1303"/>
                    </a:cubicBezTo>
                    <a:cubicBezTo>
                      <a:pt x="1237" y="1301"/>
                      <a:pt x="1237" y="1301"/>
                      <a:pt x="1237" y="1301"/>
                    </a:cubicBezTo>
                    <a:cubicBezTo>
                      <a:pt x="1234" y="1302"/>
                      <a:pt x="1234" y="1302"/>
                      <a:pt x="1234" y="1302"/>
                    </a:cubicBezTo>
                    <a:cubicBezTo>
                      <a:pt x="1231" y="1303"/>
                      <a:pt x="1231" y="1303"/>
                      <a:pt x="1231" y="1303"/>
                    </a:cubicBezTo>
                    <a:cubicBezTo>
                      <a:pt x="1228" y="1300"/>
                      <a:pt x="1228" y="1300"/>
                      <a:pt x="1228" y="1300"/>
                    </a:cubicBezTo>
                    <a:cubicBezTo>
                      <a:pt x="1223" y="1303"/>
                      <a:pt x="1223" y="1303"/>
                      <a:pt x="1223" y="1303"/>
                    </a:cubicBezTo>
                    <a:cubicBezTo>
                      <a:pt x="1221" y="1302"/>
                      <a:pt x="1221" y="1302"/>
                      <a:pt x="1221" y="1302"/>
                    </a:cubicBezTo>
                    <a:cubicBezTo>
                      <a:pt x="1219" y="1302"/>
                      <a:pt x="1219" y="1302"/>
                      <a:pt x="1219" y="1302"/>
                    </a:cubicBezTo>
                    <a:cubicBezTo>
                      <a:pt x="1213" y="1300"/>
                      <a:pt x="1213" y="1300"/>
                      <a:pt x="1213" y="1300"/>
                    </a:cubicBezTo>
                    <a:cubicBezTo>
                      <a:pt x="1205" y="1301"/>
                      <a:pt x="1205" y="1301"/>
                      <a:pt x="1205" y="1301"/>
                    </a:cubicBezTo>
                    <a:cubicBezTo>
                      <a:pt x="1200" y="1300"/>
                      <a:pt x="1200" y="1300"/>
                      <a:pt x="1200" y="1300"/>
                    </a:cubicBezTo>
                    <a:cubicBezTo>
                      <a:pt x="1197" y="1296"/>
                      <a:pt x="1197" y="1296"/>
                      <a:pt x="1197" y="1296"/>
                    </a:cubicBezTo>
                    <a:cubicBezTo>
                      <a:pt x="1194" y="1298"/>
                      <a:pt x="1194" y="1298"/>
                      <a:pt x="1194" y="1298"/>
                    </a:cubicBezTo>
                    <a:cubicBezTo>
                      <a:pt x="1192" y="1300"/>
                      <a:pt x="1192" y="1300"/>
                      <a:pt x="1192" y="1300"/>
                    </a:cubicBezTo>
                    <a:cubicBezTo>
                      <a:pt x="1194" y="1302"/>
                      <a:pt x="1194" y="1302"/>
                      <a:pt x="1194" y="1302"/>
                    </a:cubicBezTo>
                    <a:cubicBezTo>
                      <a:pt x="1192" y="1303"/>
                      <a:pt x="1192" y="1303"/>
                      <a:pt x="1192" y="1303"/>
                    </a:cubicBezTo>
                    <a:cubicBezTo>
                      <a:pt x="1189" y="1304"/>
                      <a:pt x="1189" y="1304"/>
                      <a:pt x="1189" y="1304"/>
                    </a:cubicBezTo>
                    <a:cubicBezTo>
                      <a:pt x="1182" y="1310"/>
                      <a:pt x="1182" y="1310"/>
                      <a:pt x="1182" y="1310"/>
                    </a:cubicBezTo>
                    <a:cubicBezTo>
                      <a:pt x="1177" y="1312"/>
                      <a:pt x="1177" y="1312"/>
                      <a:pt x="1177" y="1312"/>
                    </a:cubicBezTo>
                    <a:cubicBezTo>
                      <a:pt x="1177" y="1315"/>
                      <a:pt x="1177" y="1315"/>
                      <a:pt x="1177" y="1315"/>
                    </a:cubicBezTo>
                    <a:cubicBezTo>
                      <a:pt x="1175" y="1317"/>
                      <a:pt x="1175" y="1317"/>
                      <a:pt x="1175" y="1317"/>
                    </a:cubicBezTo>
                    <a:cubicBezTo>
                      <a:pt x="1175" y="1321"/>
                      <a:pt x="1175" y="1321"/>
                      <a:pt x="1175" y="1321"/>
                    </a:cubicBezTo>
                    <a:cubicBezTo>
                      <a:pt x="1172" y="1325"/>
                      <a:pt x="1172" y="1325"/>
                      <a:pt x="1172" y="1325"/>
                    </a:cubicBezTo>
                    <a:cubicBezTo>
                      <a:pt x="1166" y="1325"/>
                      <a:pt x="1166" y="1325"/>
                      <a:pt x="1166" y="1325"/>
                    </a:cubicBezTo>
                    <a:cubicBezTo>
                      <a:pt x="1163" y="1326"/>
                      <a:pt x="1163" y="1326"/>
                      <a:pt x="1163" y="1326"/>
                    </a:cubicBezTo>
                    <a:cubicBezTo>
                      <a:pt x="1157" y="1326"/>
                      <a:pt x="1157" y="1326"/>
                      <a:pt x="1157" y="1326"/>
                    </a:cubicBezTo>
                    <a:cubicBezTo>
                      <a:pt x="1154" y="1331"/>
                      <a:pt x="1154" y="1331"/>
                      <a:pt x="1154" y="1331"/>
                    </a:cubicBezTo>
                    <a:cubicBezTo>
                      <a:pt x="1152" y="1331"/>
                      <a:pt x="1152" y="1331"/>
                      <a:pt x="1152" y="1331"/>
                    </a:cubicBezTo>
                    <a:cubicBezTo>
                      <a:pt x="1150" y="1330"/>
                      <a:pt x="1150" y="1330"/>
                      <a:pt x="1150" y="1330"/>
                    </a:cubicBezTo>
                    <a:cubicBezTo>
                      <a:pt x="1147" y="1331"/>
                      <a:pt x="1147" y="1331"/>
                      <a:pt x="1147" y="1331"/>
                    </a:cubicBezTo>
                    <a:cubicBezTo>
                      <a:pt x="1145" y="1335"/>
                      <a:pt x="1145" y="1335"/>
                      <a:pt x="1145" y="1335"/>
                    </a:cubicBezTo>
                    <a:cubicBezTo>
                      <a:pt x="1142" y="1336"/>
                      <a:pt x="1142" y="1336"/>
                      <a:pt x="1142" y="1336"/>
                    </a:cubicBezTo>
                    <a:cubicBezTo>
                      <a:pt x="1138" y="1339"/>
                      <a:pt x="1138" y="1339"/>
                      <a:pt x="1138" y="1339"/>
                    </a:cubicBezTo>
                    <a:cubicBezTo>
                      <a:pt x="1137" y="1341"/>
                      <a:pt x="1137" y="1341"/>
                      <a:pt x="1137" y="1341"/>
                    </a:cubicBezTo>
                    <a:cubicBezTo>
                      <a:pt x="1134" y="1341"/>
                      <a:pt x="1134" y="1341"/>
                      <a:pt x="1134" y="1341"/>
                    </a:cubicBezTo>
                    <a:cubicBezTo>
                      <a:pt x="1130" y="1348"/>
                      <a:pt x="1130" y="1348"/>
                      <a:pt x="1130" y="1348"/>
                    </a:cubicBezTo>
                    <a:cubicBezTo>
                      <a:pt x="1122" y="1352"/>
                      <a:pt x="1122" y="1352"/>
                      <a:pt x="1122" y="1352"/>
                    </a:cubicBezTo>
                    <a:cubicBezTo>
                      <a:pt x="1120" y="1358"/>
                      <a:pt x="1120" y="1358"/>
                      <a:pt x="1120" y="1358"/>
                    </a:cubicBezTo>
                    <a:cubicBezTo>
                      <a:pt x="1115" y="1361"/>
                      <a:pt x="1115" y="1361"/>
                      <a:pt x="1115" y="1361"/>
                    </a:cubicBezTo>
                    <a:cubicBezTo>
                      <a:pt x="1111" y="1365"/>
                      <a:pt x="1111" y="1365"/>
                      <a:pt x="1111" y="1365"/>
                    </a:cubicBezTo>
                    <a:cubicBezTo>
                      <a:pt x="1107" y="1366"/>
                      <a:pt x="1107" y="1366"/>
                      <a:pt x="1107" y="1366"/>
                    </a:cubicBezTo>
                    <a:cubicBezTo>
                      <a:pt x="1106" y="1371"/>
                      <a:pt x="1106" y="1371"/>
                      <a:pt x="1106" y="1371"/>
                    </a:cubicBezTo>
                    <a:cubicBezTo>
                      <a:pt x="1103" y="1375"/>
                      <a:pt x="1103" y="1375"/>
                      <a:pt x="1103" y="1375"/>
                    </a:cubicBezTo>
                    <a:cubicBezTo>
                      <a:pt x="1094" y="1380"/>
                      <a:pt x="1094" y="1380"/>
                      <a:pt x="1094" y="1380"/>
                    </a:cubicBezTo>
                    <a:cubicBezTo>
                      <a:pt x="1094" y="1383"/>
                      <a:pt x="1094" y="1383"/>
                      <a:pt x="1094" y="1383"/>
                    </a:cubicBezTo>
                    <a:cubicBezTo>
                      <a:pt x="1083" y="1387"/>
                      <a:pt x="1083" y="1387"/>
                      <a:pt x="1083" y="1387"/>
                    </a:cubicBezTo>
                    <a:cubicBezTo>
                      <a:pt x="1078" y="1388"/>
                      <a:pt x="1078" y="1388"/>
                      <a:pt x="1078" y="1388"/>
                    </a:cubicBezTo>
                    <a:cubicBezTo>
                      <a:pt x="1082" y="1388"/>
                      <a:pt x="1082" y="1388"/>
                      <a:pt x="1082" y="1388"/>
                    </a:cubicBezTo>
                    <a:cubicBezTo>
                      <a:pt x="1092" y="1384"/>
                      <a:pt x="1092" y="1384"/>
                      <a:pt x="1092" y="1384"/>
                    </a:cubicBezTo>
                    <a:cubicBezTo>
                      <a:pt x="1101" y="1380"/>
                      <a:pt x="1101" y="1380"/>
                      <a:pt x="1101" y="1380"/>
                    </a:cubicBezTo>
                    <a:cubicBezTo>
                      <a:pt x="1107" y="1376"/>
                      <a:pt x="1107" y="1376"/>
                      <a:pt x="1107" y="1376"/>
                    </a:cubicBezTo>
                    <a:cubicBezTo>
                      <a:pt x="1112" y="1370"/>
                      <a:pt x="1112" y="1370"/>
                      <a:pt x="1112" y="1370"/>
                    </a:cubicBezTo>
                    <a:cubicBezTo>
                      <a:pt x="1117" y="1366"/>
                      <a:pt x="1117" y="1366"/>
                      <a:pt x="1117" y="1366"/>
                    </a:cubicBezTo>
                    <a:cubicBezTo>
                      <a:pt x="1120" y="1364"/>
                      <a:pt x="1120" y="1364"/>
                      <a:pt x="1120" y="1364"/>
                    </a:cubicBezTo>
                    <a:cubicBezTo>
                      <a:pt x="1130" y="1356"/>
                      <a:pt x="1130" y="1356"/>
                      <a:pt x="1130" y="1356"/>
                    </a:cubicBezTo>
                    <a:cubicBezTo>
                      <a:pt x="1143" y="1347"/>
                      <a:pt x="1143" y="1347"/>
                      <a:pt x="1143" y="1347"/>
                    </a:cubicBezTo>
                    <a:cubicBezTo>
                      <a:pt x="1151" y="1341"/>
                      <a:pt x="1151" y="1341"/>
                      <a:pt x="1151" y="1341"/>
                    </a:cubicBezTo>
                    <a:cubicBezTo>
                      <a:pt x="1157" y="1341"/>
                      <a:pt x="1157" y="1341"/>
                      <a:pt x="1157" y="1341"/>
                    </a:cubicBezTo>
                    <a:cubicBezTo>
                      <a:pt x="1162" y="1338"/>
                      <a:pt x="1162" y="1338"/>
                      <a:pt x="1162" y="1338"/>
                    </a:cubicBezTo>
                    <a:cubicBezTo>
                      <a:pt x="1171" y="1336"/>
                      <a:pt x="1171" y="1336"/>
                      <a:pt x="1171" y="1336"/>
                    </a:cubicBezTo>
                    <a:cubicBezTo>
                      <a:pt x="1184" y="1332"/>
                      <a:pt x="1184" y="1332"/>
                      <a:pt x="1184" y="1332"/>
                    </a:cubicBezTo>
                    <a:cubicBezTo>
                      <a:pt x="1188" y="1332"/>
                      <a:pt x="1188" y="1332"/>
                      <a:pt x="1188" y="1332"/>
                    </a:cubicBezTo>
                    <a:cubicBezTo>
                      <a:pt x="1191" y="1330"/>
                      <a:pt x="1191" y="1330"/>
                      <a:pt x="1191" y="1330"/>
                    </a:cubicBezTo>
                    <a:cubicBezTo>
                      <a:pt x="1204" y="1330"/>
                      <a:pt x="1204" y="1330"/>
                      <a:pt x="1204" y="1330"/>
                    </a:cubicBezTo>
                    <a:cubicBezTo>
                      <a:pt x="1211" y="1333"/>
                      <a:pt x="1211" y="1333"/>
                      <a:pt x="1211" y="1333"/>
                    </a:cubicBezTo>
                    <a:cubicBezTo>
                      <a:pt x="1219" y="1337"/>
                      <a:pt x="1219" y="1337"/>
                      <a:pt x="1219" y="1337"/>
                    </a:cubicBezTo>
                    <a:cubicBezTo>
                      <a:pt x="1219" y="1339"/>
                      <a:pt x="1219" y="1339"/>
                      <a:pt x="1219" y="1339"/>
                    </a:cubicBezTo>
                    <a:cubicBezTo>
                      <a:pt x="1213" y="1338"/>
                      <a:pt x="1213" y="1338"/>
                      <a:pt x="1213" y="1338"/>
                    </a:cubicBezTo>
                    <a:cubicBezTo>
                      <a:pt x="1213" y="1339"/>
                      <a:pt x="1213" y="1339"/>
                      <a:pt x="1213" y="1339"/>
                    </a:cubicBezTo>
                    <a:cubicBezTo>
                      <a:pt x="1213" y="1340"/>
                      <a:pt x="1213" y="1340"/>
                      <a:pt x="1213" y="1340"/>
                    </a:cubicBezTo>
                    <a:cubicBezTo>
                      <a:pt x="1216" y="1340"/>
                      <a:pt x="1216" y="1340"/>
                      <a:pt x="1216" y="1340"/>
                    </a:cubicBezTo>
                    <a:cubicBezTo>
                      <a:pt x="1220" y="1341"/>
                      <a:pt x="1220" y="1341"/>
                      <a:pt x="1220" y="1341"/>
                    </a:cubicBezTo>
                    <a:cubicBezTo>
                      <a:pt x="1222" y="1344"/>
                      <a:pt x="1222" y="1344"/>
                      <a:pt x="1222" y="1344"/>
                    </a:cubicBezTo>
                    <a:cubicBezTo>
                      <a:pt x="1219" y="1345"/>
                      <a:pt x="1219" y="1345"/>
                      <a:pt x="1219" y="1345"/>
                    </a:cubicBezTo>
                    <a:cubicBezTo>
                      <a:pt x="1221" y="1346"/>
                      <a:pt x="1221" y="1346"/>
                      <a:pt x="1221" y="1346"/>
                    </a:cubicBezTo>
                    <a:cubicBezTo>
                      <a:pt x="1218" y="1352"/>
                      <a:pt x="1218" y="1352"/>
                      <a:pt x="1218" y="1352"/>
                    </a:cubicBezTo>
                    <a:cubicBezTo>
                      <a:pt x="1214" y="1353"/>
                      <a:pt x="1214" y="1353"/>
                      <a:pt x="1214" y="1353"/>
                    </a:cubicBezTo>
                    <a:cubicBezTo>
                      <a:pt x="1210" y="1356"/>
                      <a:pt x="1210" y="1356"/>
                      <a:pt x="1210" y="1356"/>
                    </a:cubicBezTo>
                    <a:cubicBezTo>
                      <a:pt x="1207" y="1357"/>
                      <a:pt x="1207" y="1357"/>
                      <a:pt x="1207" y="1357"/>
                    </a:cubicBezTo>
                    <a:cubicBezTo>
                      <a:pt x="1202" y="1360"/>
                      <a:pt x="1202" y="1360"/>
                      <a:pt x="1202" y="1360"/>
                    </a:cubicBezTo>
                    <a:cubicBezTo>
                      <a:pt x="1198" y="1360"/>
                      <a:pt x="1198" y="1360"/>
                      <a:pt x="1198" y="1360"/>
                    </a:cubicBezTo>
                    <a:cubicBezTo>
                      <a:pt x="1195" y="1358"/>
                      <a:pt x="1195" y="1358"/>
                      <a:pt x="1195" y="1358"/>
                    </a:cubicBezTo>
                    <a:cubicBezTo>
                      <a:pt x="1190" y="1356"/>
                      <a:pt x="1190" y="1356"/>
                      <a:pt x="1190" y="1356"/>
                    </a:cubicBezTo>
                    <a:cubicBezTo>
                      <a:pt x="1188" y="1358"/>
                      <a:pt x="1188" y="1358"/>
                      <a:pt x="1188" y="1358"/>
                    </a:cubicBezTo>
                    <a:cubicBezTo>
                      <a:pt x="1184" y="1359"/>
                      <a:pt x="1184" y="1359"/>
                      <a:pt x="1184" y="1359"/>
                    </a:cubicBezTo>
                    <a:cubicBezTo>
                      <a:pt x="1179" y="1358"/>
                      <a:pt x="1179" y="1358"/>
                      <a:pt x="1179" y="1358"/>
                    </a:cubicBezTo>
                    <a:cubicBezTo>
                      <a:pt x="1174" y="1360"/>
                      <a:pt x="1174" y="1360"/>
                      <a:pt x="1174" y="1360"/>
                    </a:cubicBezTo>
                    <a:cubicBezTo>
                      <a:pt x="1180" y="1360"/>
                      <a:pt x="1180" y="1360"/>
                      <a:pt x="1180" y="1360"/>
                    </a:cubicBezTo>
                    <a:cubicBezTo>
                      <a:pt x="1185" y="1360"/>
                      <a:pt x="1185" y="1360"/>
                      <a:pt x="1185" y="1360"/>
                    </a:cubicBezTo>
                    <a:cubicBezTo>
                      <a:pt x="1192" y="1362"/>
                      <a:pt x="1192" y="1362"/>
                      <a:pt x="1192" y="1362"/>
                    </a:cubicBezTo>
                    <a:cubicBezTo>
                      <a:pt x="1194" y="1366"/>
                      <a:pt x="1194" y="1366"/>
                      <a:pt x="1194" y="1366"/>
                    </a:cubicBezTo>
                    <a:cubicBezTo>
                      <a:pt x="1195" y="1368"/>
                      <a:pt x="1195" y="1368"/>
                      <a:pt x="1195" y="1368"/>
                    </a:cubicBezTo>
                    <a:cubicBezTo>
                      <a:pt x="1199" y="1366"/>
                      <a:pt x="1199" y="1366"/>
                      <a:pt x="1199" y="1366"/>
                    </a:cubicBezTo>
                    <a:cubicBezTo>
                      <a:pt x="1203" y="1364"/>
                      <a:pt x="1203" y="1364"/>
                      <a:pt x="1203" y="1364"/>
                    </a:cubicBezTo>
                    <a:cubicBezTo>
                      <a:pt x="1207" y="1364"/>
                      <a:pt x="1207" y="1364"/>
                      <a:pt x="1207" y="1364"/>
                    </a:cubicBezTo>
                    <a:cubicBezTo>
                      <a:pt x="1208" y="1365"/>
                      <a:pt x="1208" y="1365"/>
                      <a:pt x="1208" y="1365"/>
                    </a:cubicBezTo>
                    <a:cubicBezTo>
                      <a:pt x="1211" y="1365"/>
                      <a:pt x="1211" y="1365"/>
                      <a:pt x="1211" y="1365"/>
                    </a:cubicBezTo>
                    <a:cubicBezTo>
                      <a:pt x="1211" y="1367"/>
                      <a:pt x="1211" y="1367"/>
                      <a:pt x="1211" y="1367"/>
                    </a:cubicBezTo>
                    <a:cubicBezTo>
                      <a:pt x="1208" y="1370"/>
                      <a:pt x="1208" y="1370"/>
                      <a:pt x="1208" y="1370"/>
                    </a:cubicBezTo>
                    <a:cubicBezTo>
                      <a:pt x="1203" y="1380"/>
                      <a:pt x="1203" y="1380"/>
                      <a:pt x="1203" y="1380"/>
                    </a:cubicBezTo>
                    <a:cubicBezTo>
                      <a:pt x="1201" y="1380"/>
                      <a:pt x="1201" y="1380"/>
                      <a:pt x="1201" y="1380"/>
                    </a:cubicBezTo>
                    <a:cubicBezTo>
                      <a:pt x="1198" y="1382"/>
                      <a:pt x="1198" y="1382"/>
                      <a:pt x="1198" y="1382"/>
                    </a:cubicBezTo>
                    <a:cubicBezTo>
                      <a:pt x="1205" y="1382"/>
                      <a:pt x="1205" y="1382"/>
                      <a:pt x="1205" y="1382"/>
                    </a:cubicBezTo>
                    <a:cubicBezTo>
                      <a:pt x="1205" y="1384"/>
                      <a:pt x="1205" y="1384"/>
                      <a:pt x="1205" y="1384"/>
                    </a:cubicBezTo>
                    <a:cubicBezTo>
                      <a:pt x="1203" y="1387"/>
                      <a:pt x="1203" y="1387"/>
                      <a:pt x="1203" y="1387"/>
                    </a:cubicBezTo>
                    <a:cubicBezTo>
                      <a:pt x="1206" y="1390"/>
                      <a:pt x="1206" y="1390"/>
                      <a:pt x="1206" y="1390"/>
                    </a:cubicBezTo>
                    <a:cubicBezTo>
                      <a:pt x="1205" y="1393"/>
                      <a:pt x="1205" y="1393"/>
                      <a:pt x="1205" y="1393"/>
                    </a:cubicBezTo>
                    <a:cubicBezTo>
                      <a:pt x="1206" y="1399"/>
                      <a:pt x="1206" y="1399"/>
                      <a:pt x="1206" y="1399"/>
                    </a:cubicBezTo>
                    <a:cubicBezTo>
                      <a:pt x="1207" y="1400"/>
                      <a:pt x="1207" y="1400"/>
                      <a:pt x="1207" y="1400"/>
                    </a:cubicBezTo>
                    <a:cubicBezTo>
                      <a:pt x="1209" y="1405"/>
                      <a:pt x="1209" y="1405"/>
                      <a:pt x="1209" y="1405"/>
                    </a:cubicBezTo>
                    <a:cubicBezTo>
                      <a:pt x="1213" y="1405"/>
                      <a:pt x="1213" y="1405"/>
                      <a:pt x="1213" y="1405"/>
                    </a:cubicBezTo>
                    <a:cubicBezTo>
                      <a:pt x="1215" y="1406"/>
                      <a:pt x="1215" y="1406"/>
                      <a:pt x="1215" y="1406"/>
                    </a:cubicBezTo>
                    <a:cubicBezTo>
                      <a:pt x="1221" y="1406"/>
                      <a:pt x="1221" y="1406"/>
                      <a:pt x="1221" y="1406"/>
                    </a:cubicBezTo>
                    <a:cubicBezTo>
                      <a:pt x="1220" y="1409"/>
                      <a:pt x="1220" y="1409"/>
                      <a:pt x="1220" y="1409"/>
                    </a:cubicBezTo>
                    <a:cubicBezTo>
                      <a:pt x="1215" y="1410"/>
                      <a:pt x="1215" y="1410"/>
                      <a:pt x="1215" y="1410"/>
                    </a:cubicBezTo>
                    <a:cubicBezTo>
                      <a:pt x="1221" y="1414"/>
                      <a:pt x="1221" y="1414"/>
                      <a:pt x="1221" y="1414"/>
                    </a:cubicBezTo>
                    <a:cubicBezTo>
                      <a:pt x="1226" y="1414"/>
                      <a:pt x="1226" y="1414"/>
                      <a:pt x="1226" y="1414"/>
                    </a:cubicBezTo>
                    <a:cubicBezTo>
                      <a:pt x="1230" y="1415"/>
                      <a:pt x="1230" y="1415"/>
                      <a:pt x="1230" y="1415"/>
                    </a:cubicBezTo>
                    <a:cubicBezTo>
                      <a:pt x="1232" y="1414"/>
                      <a:pt x="1232" y="1414"/>
                      <a:pt x="1232" y="1414"/>
                    </a:cubicBezTo>
                    <a:cubicBezTo>
                      <a:pt x="1237" y="1416"/>
                      <a:pt x="1237" y="1416"/>
                      <a:pt x="1237" y="1416"/>
                    </a:cubicBezTo>
                    <a:cubicBezTo>
                      <a:pt x="1238" y="1418"/>
                      <a:pt x="1238" y="1418"/>
                      <a:pt x="1238" y="1418"/>
                    </a:cubicBezTo>
                    <a:cubicBezTo>
                      <a:pt x="1244" y="1419"/>
                      <a:pt x="1244" y="1419"/>
                      <a:pt x="1244" y="1419"/>
                    </a:cubicBezTo>
                    <a:cubicBezTo>
                      <a:pt x="1246" y="1417"/>
                      <a:pt x="1246" y="1417"/>
                      <a:pt x="1246" y="1417"/>
                    </a:cubicBezTo>
                    <a:cubicBezTo>
                      <a:pt x="1251" y="1414"/>
                      <a:pt x="1251" y="1414"/>
                      <a:pt x="1251" y="1414"/>
                    </a:cubicBezTo>
                    <a:cubicBezTo>
                      <a:pt x="1252" y="1417"/>
                      <a:pt x="1252" y="1417"/>
                      <a:pt x="1252" y="1417"/>
                    </a:cubicBezTo>
                    <a:cubicBezTo>
                      <a:pt x="1251" y="1418"/>
                      <a:pt x="1251" y="1418"/>
                      <a:pt x="1251" y="1418"/>
                    </a:cubicBezTo>
                    <a:cubicBezTo>
                      <a:pt x="1256" y="1419"/>
                      <a:pt x="1256" y="1419"/>
                      <a:pt x="1256" y="1419"/>
                    </a:cubicBezTo>
                    <a:cubicBezTo>
                      <a:pt x="1262" y="1422"/>
                      <a:pt x="1262" y="1422"/>
                      <a:pt x="1262" y="1422"/>
                    </a:cubicBezTo>
                    <a:cubicBezTo>
                      <a:pt x="1262" y="1424"/>
                      <a:pt x="1262" y="1424"/>
                      <a:pt x="1262" y="1424"/>
                    </a:cubicBezTo>
                    <a:cubicBezTo>
                      <a:pt x="1260" y="1425"/>
                      <a:pt x="1260" y="1425"/>
                      <a:pt x="1260" y="1425"/>
                    </a:cubicBezTo>
                    <a:cubicBezTo>
                      <a:pt x="1258" y="1425"/>
                      <a:pt x="1258" y="1425"/>
                      <a:pt x="1258" y="1425"/>
                    </a:cubicBezTo>
                    <a:cubicBezTo>
                      <a:pt x="1262" y="1427"/>
                      <a:pt x="1262" y="1427"/>
                      <a:pt x="1262" y="1427"/>
                    </a:cubicBezTo>
                    <a:cubicBezTo>
                      <a:pt x="1265" y="1427"/>
                      <a:pt x="1265" y="1427"/>
                      <a:pt x="1265" y="1427"/>
                    </a:cubicBezTo>
                    <a:cubicBezTo>
                      <a:pt x="1267" y="1429"/>
                      <a:pt x="1267" y="1429"/>
                      <a:pt x="1267" y="1429"/>
                    </a:cubicBezTo>
                    <a:cubicBezTo>
                      <a:pt x="1264" y="1430"/>
                      <a:pt x="1264" y="1430"/>
                      <a:pt x="1264" y="1430"/>
                    </a:cubicBezTo>
                    <a:cubicBezTo>
                      <a:pt x="1262" y="1429"/>
                      <a:pt x="1262" y="1429"/>
                      <a:pt x="1262" y="1429"/>
                    </a:cubicBezTo>
                    <a:cubicBezTo>
                      <a:pt x="1258" y="1430"/>
                      <a:pt x="1258" y="1430"/>
                      <a:pt x="1258" y="1430"/>
                    </a:cubicBezTo>
                    <a:cubicBezTo>
                      <a:pt x="1253" y="1431"/>
                      <a:pt x="1253" y="1431"/>
                      <a:pt x="1253" y="1431"/>
                    </a:cubicBezTo>
                    <a:cubicBezTo>
                      <a:pt x="1244" y="1436"/>
                      <a:pt x="1244" y="1436"/>
                      <a:pt x="1244" y="1436"/>
                    </a:cubicBezTo>
                    <a:cubicBezTo>
                      <a:pt x="1240" y="1436"/>
                      <a:pt x="1240" y="1436"/>
                      <a:pt x="1240" y="1436"/>
                    </a:cubicBezTo>
                    <a:cubicBezTo>
                      <a:pt x="1234" y="1438"/>
                      <a:pt x="1234" y="1438"/>
                      <a:pt x="1234" y="1438"/>
                    </a:cubicBezTo>
                    <a:cubicBezTo>
                      <a:pt x="1228" y="1439"/>
                      <a:pt x="1228" y="1439"/>
                      <a:pt x="1228" y="1439"/>
                    </a:cubicBezTo>
                    <a:cubicBezTo>
                      <a:pt x="1222" y="1442"/>
                      <a:pt x="1222" y="1442"/>
                      <a:pt x="1222" y="1442"/>
                    </a:cubicBezTo>
                    <a:cubicBezTo>
                      <a:pt x="1219" y="1442"/>
                      <a:pt x="1219" y="1442"/>
                      <a:pt x="1219" y="1442"/>
                    </a:cubicBezTo>
                    <a:cubicBezTo>
                      <a:pt x="1219" y="1444"/>
                      <a:pt x="1219" y="1444"/>
                      <a:pt x="1219" y="1444"/>
                    </a:cubicBezTo>
                    <a:cubicBezTo>
                      <a:pt x="1214" y="1443"/>
                      <a:pt x="1214" y="1443"/>
                      <a:pt x="1214" y="1443"/>
                    </a:cubicBezTo>
                    <a:cubicBezTo>
                      <a:pt x="1212" y="1440"/>
                      <a:pt x="1212" y="1440"/>
                      <a:pt x="1212" y="1440"/>
                    </a:cubicBezTo>
                    <a:cubicBezTo>
                      <a:pt x="1211" y="1439"/>
                      <a:pt x="1211" y="1439"/>
                      <a:pt x="1211" y="1439"/>
                    </a:cubicBezTo>
                    <a:cubicBezTo>
                      <a:pt x="1209" y="1441"/>
                      <a:pt x="1209" y="1441"/>
                      <a:pt x="1209" y="1441"/>
                    </a:cubicBezTo>
                    <a:cubicBezTo>
                      <a:pt x="1207" y="1441"/>
                      <a:pt x="1207" y="1441"/>
                      <a:pt x="1207" y="1441"/>
                    </a:cubicBezTo>
                    <a:cubicBezTo>
                      <a:pt x="1204" y="1445"/>
                      <a:pt x="1204" y="1445"/>
                      <a:pt x="1204" y="1445"/>
                    </a:cubicBezTo>
                    <a:cubicBezTo>
                      <a:pt x="1205" y="1447"/>
                      <a:pt x="1205" y="1447"/>
                      <a:pt x="1205" y="1447"/>
                    </a:cubicBezTo>
                    <a:cubicBezTo>
                      <a:pt x="1200" y="1452"/>
                      <a:pt x="1200" y="1452"/>
                      <a:pt x="1200" y="1452"/>
                    </a:cubicBezTo>
                    <a:cubicBezTo>
                      <a:pt x="1194" y="1458"/>
                      <a:pt x="1194" y="1458"/>
                      <a:pt x="1194" y="1458"/>
                    </a:cubicBezTo>
                    <a:cubicBezTo>
                      <a:pt x="1191" y="1459"/>
                      <a:pt x="1191" y="1459"/>
                      <a:pt x="1191" y="1459"/>
                    </a:cubicBezTo>
                    <a:cubicBezTo>
                      <a:pt x="1186" y="1462"/>
                      <a:pt x="1186" y="1462"/>
                      <a:pt x="1186" y="1462"/>
                    </a:cubicBezTo>
                    <a:cubicBezTo>
                      <a:pt x="1184" y="1462"/>
                      <a:pt x="1184" y="1462"/>
                      <a:pt x="1184" y="1462"/>
                    </a:cubicBezTo>
                    <a:cubicBezTo>
                      <a:pt x="1183" y="1463"/>
                      <a:pt x="1183" y="1463"/>
                      <a:pt x="1183" y="1463"/>
                    </a:cubicBezTo>
                    <a:cubicBezTo>
                      <a:pt x="1182" y="1466"/>
                      <a:pt x="1182" y="1466"/>
                      <a:pt x="1182" y="1466"/>
                    </a:cubicBezTo>
                    <a:cubicBezTo>
                      <a:pt x="1181" y="1468"/>
                      <a:pt x="1181" y="1468"/>
                      <a:pt x="1181" y="1468"/>
                    </a:cubicBezTo>
                    <a:cubicBezTo>
                      <a:pt x="1179" y="1466"/>
                      <a:pt x="1179" y="1466"/>
                      <a:pt x="1179" y="1466"/>
                    </a:cubicBezTo>
                    <a:cubicBezTo>
                      <a:pt x="1177" y="1467"/>
                      <a:pt x="1177" y="1467"/>
                      <a:pt x="1177" y="1467"/>
                    </a:cubicBezTo>
                    <a:cubicBezTo>
                      <a:pt x="1174" y="1465"/>
                      <a:pt x="1174" y="1465"/>
                      <a:pt x="1174" y="1465"/>
                    </a:cubicBezTo>
                    <a:cubicBezTo>
                      <a:pt x="1173" y="1461"/>
                      <a:pt x="1173" y="1461"/>
                      <a:pt x="1173" y="1461"/>
                    </a:cubicBezTo>
                    <a:cubicBezTo>
                      <a:pt x="1171" y="1460"/>
                      <a:pt x="1171" y="1460"/>
                      <a:pt x="1171" y="1460"/>
                    </a:cubicBezTo>
                    <a:cubicBezTo>
                      <a:pt x="1169" y="1461"/>
                      <a:pt x="1169" y="1461"/>
                      <a:pt x="1169" y="1461"/>
                    </a:cubicBezTo>
                    <a:cubicBezTo>
                      <a:pt x="1169" y="1457"/>
                      <a:pt x="1169" y="1457"/>
                      <a:pt x="1169" y="1457"/>
                    </a:cubicBezTo>
                    <a:cubicBezTo>
                      <a:pt x="1167" y="1454"/>
                      <a:pt x="1167" y="1454"/>
                      <a:pt x="1167" y="1454"/>
                    </a:cubicBezTo>
                    <a:cubicBezTo>
                      <a:pt x="1168" y="1450"/>
                      <a:pt x="1168" y="1450"/>
                      <a:pt x="1168" y="1450"/>
                    </a:cubicBezTo>
                    <a:cubicBezTo>
                      <a:pt x="1171" y="1444"/>
                      <a:pt x="1171" y="1444"/>
                      <a:pt x="1171" y="1444"/>
                    </a:cubicBezTo>
                    <a:cubicBezTo>
                      <a:pt x="1175" y="1440"/>
                      <a:pt x="1175" y="1440"/>
                      <a:pt x="1175" y="1440"/>
                    </a:cubicBezTo>
                    <a:cubicBezTo>
                      <a:pt x="1176" y="1437"/>
                      <a:pt x="1176" y="1437"/>
                      <a:pt x="1176" y="1437"/>
                    </a:cubicBezTo>
                    <a:cubicBezTo>
                      <a:pt x="1183" y="1433"/>
                      <a:pt x="1183" y="1433"/>
                      <a:pt x="1183" y="1433"/>
                    </a:cubicBezTo>
                    <a:cubicBezTo>
                      <a:pt x="1191" y="1431"/>
                      <a:pt x="1191" y="1431"/>
                      <a:pt x="1191" y="1431"/>
                    </a:cubicBezTo>
                    <a:cubicBezTo>
                      <a:pt x="1198" y="1427"/>
                      <a:pt x="1198" y="1427"/>
                      <a:pt x="1198" y="1427"/>
                    </a:cubicBezTo>
                    <a:cubicBezTo>
                      <a:pt x="1204" y="1426"/>
                      <a:pt x="1204" y="1426"/>
                      <a:pt x="1204" y="1426"/>
                    </a:cubicBezTo>
                    <a:cubicBezTo>
                      <a:pt x="1206" y="1427"/>
                      <a:pt x="1206" y="1427"/>
                      <a:pt x="1206" y="1427"/>
                    </a:cubicBezTo>
                    <a:cubicBezTo>
                      <a:pt x="1207" y="1430"/>
                      <a:pt x="1207" y="1430"/>
                      <a:pt x="1207" y="1430"/>
                    </a:cubicBezTo>
                    <a:cubicBezTo>
                      <a:pt x="1209" y="1432"/>
                      <a:pt x="1209" y="1432"/>
                      <a:pt x="1209" y="1432"/>
                    </a:cubicBezTo>
                    <a:cubicBezTo>
                      <a:pt x="1209" y="1430"/>
                      <a:pt x="1209" y="1430"/>
                      <a:pt x="1209" y="1430"/>
                    </a:cubicBezTo>
                    <a:cubicBezTo>
                      <a:pt x="1209" y="1428"/>
                      <a:pt x="1209" y="1428"/>
                      <a:pt x="1209" y="1428"/>
                    </a:cubicBezTo>
                    <a:cubicBezTo>
                      <a:pt x="1213" y="1427"/>
                      <a:pt x="1213" y="1427"/>
                      <a:pt x="1213" y="1427"/>
                    </a:cubicBezTo>
                    <a:cubicBezTo>
                      <a:pt x="1218" y="1426"/>
                      <a:pt x="1218" y="1426"/>
                      <a:pt x="1218" y="1426"/>
                    </a:cubicBezTo>
                    <a:cubicBezTo>
                      <a:pt x="1223" y="1424"/>
                      <a:pt x="1223" y="1424"/>
                      <a:pt x="1223" y="1424"/>
                    </a:cubicBezTo>
                    <a:cubicBezTo>
                      <a:pt x="1217" y="1425"/>
                      <a:pt x="1217" y="1425"/>
                      <a:pt x="1217" y="1425"/>
                    </a:cubicBezTo>
                    <a:cubicBezTo>
                      <a:pt x="1209" y="1424"/>
                      <a:pt x="1209" y="1424"/>
                      <a:pt x="1209" y="1424"/>
                    </a:cubicBezTo>
                    <a:cubicBezTo>
                      <a:pt x="1206" y="1422"/>
                      <a:pt x="1206" y="1422"/>
                      <a:pt x="1206" y="1422"/>
                    </a:cubicBezTo>
                    <a:cubicBezTo>
                      <a:pt x="1202" y="1422"/>
                      <a:pt x="1202" y="1422"/>
                      <a:pt x="1202" y="1422"/>
                    </a:cubicBezTo>
                    <a:cubicBezTo>
                      <a:pt x="1200" y="1426"/>
                      <a:pt x="1200" y="1426"/>
                      <a:pt x="1200" y="1426"/>
                    </a:cubicBezTo>
                    <a:cubicBezTo>
                      <a:pt x="1195" y="1424"/>
                      <a:pt x="1195" y="1424"/>
                      <a:pt x="1195" y="1424"/>
                    </a:cubicBezTo>
                    <a:cubicBezTo>
                      <a:pt x="1199" y="1420"/>
                      <a:pt x="1199" y="1420"/>
                      <a:pt x="1199" y="1420"/>
                    </a:cubicBezTo>
                    <a:cubicBezTo>
                      <a:pt x="1203" y="1419"/>
                      <a:pt x="1203" y="1419"/>
                      <a:pt x="1203" y="1419"/>
                    </a:cubicBezTo>
                    <a:cubicBezTo>
                      <a:pt x="1207" y="1415"/>
                      <a:pt x="1207" y="1415"/>
                      <a:pt x="1207" y="1415"/>
                    </a:cubicBezTo>
                    <a:cubicBezTo>
                      <a:pt x="1207" y="1413"/>
                      <a:pt x="1207" y="1413"/>
                      <a:pt x="1207" y="1413"/>
                    </a:cubicBezTo>
                    <a:cubicBezTo>
                      <a:pt x="1205" y="1414"/>
                      <a:pt x="1205" y="1414"/>
                      <a:pt x="1205" y="1414"/>
                    </a:cubicBezTo>
                    <a:cubicBezTo>
                      <a:pt x="1204" y="1412"/>
                      <a:pt x="1204" y="1412"/>
                      <a:pt x="1204" y="1412"/>
                    </a:cubicBezTo>
                    <a:cubicBezTo>
                      <a:pt x="1200" y="1418"/>
                      <a:pt x="1200" y="1418"/>
                      <a:pt x="1200" y="1418"/>
                    </a:cubicBezTo>
                    <a:cubicBezTo>
                      <a:pt x="1197" y="1418"/>
                      <a:pt x="1197" y="1418"/>
                      <a:pt x="1197" y="1418"/>
                    </a:cubicBezTo>
                    <a:cubicBezTo>
                      <a:pt x="1193" y="1422"/>
                      <a:pt x="1193" y="1422"/>
                      <a:pt x="1193" y="1422"/>
                    </a:cubicBezTo>
                    <a:cubicBezTo>
                      <a:pt x="1188" y="1423"/>
                      <a:pt x="1188" y="1423"/>
                      <a:pt x="1188" y="1423"/>
                    </a:cubicBezTo>
                    <a:cubicBezTo>
                      <a:pt x="1187" y="1425"/>
                      <a:pt x="1187" y="1425"/>
                      <a:pt x="1187" y="1425"/>
                    </a:cubicBezTo>
                    <a:cubicBezTo>
                      <a:pt x="1178" y="1427"/>
                      <a:pt x="1178" y="1427"/>
                      <a:pt x="1178" y="1427"/>
                    </a:cubicBezTo>
                    <a:cubicBezTo>
                      <a:pt x="1177" y="1426"/>
                      <a:pt x="1177" y="1426"/>
                      <a:pt x="1177" y="1426"/>
                    </a:cubicBezTo>
                    <a:cubicBezTo>
                      <a:pt x="1177" y="1424"/>
                      <a:pt x="1177" y="1424"/>
                      <a:pt x="1177" y="1424"/>
                    </a:cubicBezTo>
                    <a:cubicBezTo>
                      <a:pt x="1176" y="1424"/>
                      <a:pt x="1176" y="1424"/>
                      <a:pt x="1176" y="1424"/>
                    </a:cubicBezTo>
                    <a:cubicBezTo>
                      <a:pt x="1179" y="1421"/>
                      <a:pt x="1179" y="1421"/>
                      <a:pt x="1179" y="1421"/>
                    </a:cubicBezTo>
                    <a:cubicBezTo>
                      <a:pt x="1175" y="1424"/>
                      <a:pt x="1175" y="1424"/>
                      <a:pt x="1175" y="1424"/>
                    </a:cubicBezTo>
                    <a:cubicBezTo>
                      <a:pt x="1173" y="1428"/>
                      <a:pt x="1173" y="1428"/>
                      <a:pt x="1173" y="1428"/>
                    </a:cubicBezTo>
                    <a:cubicBezTo>
                      <a:pt x="1169" y="1429"/>
                      <a:pt x="1169" y="1429"/>
                      <a:pt x="1169" y="1429"/>
                    </a:cubicBezTo>
                    <a:cubicBezTo>
                      <a:pt x="1166" y="1427"/>
                      <a:pt x="1166" y="1427"/>
                      <a:pt x="1166" y="1427"/>
                    </a:cubicBezTo>
                    <a:cubicBezTo>
                      <a:pt x="1164" y="1430"/>
                      <a:pt x="1164" y="1430"/>
                      <a:pt x="1164" y="1430"/>
                    </a:cubicBezTo>
                    <a:cubicBezTo>
                      <a:pt x="1162" y="1429"/>
                      <a:pt x="1162" y="1429"/>
                      <a:pt x="1162" y="1429"/>
                    </a:cubicBezTo>
                    <a:cubicBezTo>
                      <a:pt x="1161" y="1426"/>
                      <a:pt x="1161" y="1426"/>
                      <a:pt x="1161" y="1426"/>
                    </a:cubicBezTo>
                    <a:cubicBezTo>
                      <a:pt x="1157" y="1427"/>
                      <a:pt x="1157" y="1427"/>
                      <a:pt x="1157" y="1427"/>
                    </a:cubicBezTo>
                    <a:cubicBezTo>
                      <a:pt x="1151" y="1426"/>
                      <a:pt x="1151" y="1426"/>
                      <a:pt x="1151" y="1426"/>
                    </a:cubicBezTo>
                    <a:cubicBezTo>
                      <a:pt x="1151" y="1426"/>
                      <a:pt x="1151" y="1426"/>
                      <a:pt x="1151" y="1426"/>
                    </a:cubicBezTo>
                    <a:cubicBezTo>
                      <a:pt x="1150" y="1425"/>
                      <a:pt x="1150" y="1425"/>
                      <a:pt x="1150" y="1425"/>
                    </a:cubicBezTo>
                    <a:cubicBezTo>
                      <a:pt x="1151" y="1423"/>
                      <a:pt x="1151" y="1423"/>
                      <a:pt x="1151" y="1423"/>
                    </a:cubicBezTo>
                    <a:cubicBezTo>
                      <a:pt x="1150" y="1421"/>
                      <a:pt x="1150" y="1421"/>
                      <a:pt x="1150" y="1421"/>
                    </a:cubicBezTo>
                    <a:cubicBezTo>
                      <a:pt x="1151" y="1419"/>
                      <a:pt x="1151" y="1419"/>
                      <a:pt x="1151" y="1419"/>
                    </a:cubicBezTo>
                    <a:cubicBezTo>
                      <a:pt x="1151" y="1416"/>
                      <a:pt x="1151" y="1416"/>
                      <a:pt x="1151" y="1416"/>
                    </a:cubicBezTo>
                    <a:cubicBezTo>
                      <a:pt x="1149" y="1414"/>
                      <a:pt x="1149" y="1414"/>
                      <a:pt x="1149" y="1414"/>
                    </a:cubicBezTo>
                    <a:cubicBezTo>
                      <a:pt x="1148" y="1412"/>
                      <a:pt x="1148" y="1412"/>
                      <a:pt x="1148" y="1412"/>
                    </a:cubicBezTo>
                    <a:cubicBezTo>
                      <a:pt x="1146" y="1412"/>
                      <a:pt x="1146" y="1412"/>
                      <a:pt x="1146" y="1412"/>
                    </a:cubicBezTo>
                    <a:cubicBezTo>
                      <a:pt x="1147" y="1409"/>
                      <a:pt x="1147" y="1409"/>
                      <a:pt x="1147" y="1409"/>
                    </a:cubicBezTo>
                    <a:cubicBezTo>
                      <a:pt x="1151" y="1386"/>
                      <a:pt x="1151" y="1386"/>
                      <a:pt x="1151" y="1386"/>
                    </a:cubicBezTo>
                    <a:cubicBezTo>
                      <a:pt x="1151" y="1380"/>
                      <a:pt x="1151" y="1380"/>
                      <a:pt x="1151" y="1380"/>
                    </a:cubicBezTo>
                    <a:cubicBezTo>
                      <a:pt x="1144" y="1373"/>
                      <a:pt x="1144" y="1373"/>
                      <a:pt x="1144" y="1373"/>
                    </a:cubicBezTo>
                    <a:cubicBezTo>
                      <a:pt x="1142" y="1374"/>
                      <a:pt x="1142" y="1374"/>
                      <a:pt x="1142" y="1374"/>
                    </a:cubicBezTo>
                    <a:cubicBezTo>
                      <a:pt x="1137" y="1373"/>
                      <a:pt x="1137" y="1373"/>
                      <a:pt x="1137" y="1373"/>
                    </a:cubicBezTo>
                    <a:cubicBezTo>
                      <a:pt x="1133" y="1374"/>
                      <a:pt x="1133" y="1374"/>
                      <a:pt x="1133" y="1374"/>
                    </a:cubicBezTo>
                    <a:cubicBezTo>
                      <a:pt x="1130" y="1371"/>
                      <a:pt x="1130" y="1371"/>
                      <a:pt x="1130" y="1371"/>
                    </a:cubicBezTo>
                    <a:cubicBezTo>
                      <a:pt x="1128" y="1370"/>
                      <a:pt x="1128" y="1370"/>
                      <a:pt x="1128" y="1370"/>
                    </a:cubicBezTo>
                    <a:cubicBezTo>
                      <a:pt x="1127" y="1370"/>
                      <a:pt x="1127" y="1370"/>
                      <a:pt x="1127" y="1370"/>
                    </a:cubicBezTo>
                    <a:cubicBezTo>
                      <a:pt x="1123" y="1373"/>
                      <a:pt x="1123" y="1373"/>
                      <a:pt x="1123" y="1373"/>
                    </a:cubicBezTo>
                    <a:cubicBezTo>
                      <a:pt x="1122" y="1376"/>
                      <a:pt x="1122" y="1376"/>
                      <a:pt x="1122" y="1376"/>
                    </a:cubicBezTo>
                    <a:cubicBezTo>
                      <a:pt x="1115" y="1384"/>
                      <a:pt x="1115" y="1384"/>
                      <a:pt x="1115" y="1384"/>
                    </a:cubicBezTo>
                    <a:cubicBezTo>
                      <a:pt x="1112" y="1388"/>
                      <a:pt x="1112" y="1388"/>
                      <a:pt x="1112" y="1388"/>
                    </a:cubicBezTo>
                    <a:cubicBezTo>
                      <a:pt x="1112" y="1391"/>
                      <a:pt x="1112" y="1391"/>
                      <a:pt x="1112" y="1391"/>
                    </a:cubicBezTo>
                    <a:cubicBezTo>
                      <a:pt x="1107" y="1393"/>
                      <a:pt x="1107" y="1393"/>
                      <a:pt x="1107" y="1393"/>
                    </a:cubicBezTo>
                    <a:cubicBezTo>
                      <a:pt x="1106" y="1398"/>
                      <a:pt x="1106" y="1398"/>
                      <a:pt x="1106" y="1398"/>
                    </a:cubicBezTo>
                    <a:cubicBezTo>
                      <a:pt x="1105" y="1402"/>
                      <a:pt x="1105" y="1402"/>
                      <a:pt x="1105" y="1402"/>
                    </a:cubicBezTo>
                    <a:cubicBezTo>
                      <a:pt x="1100" y="1408"/>
                      <a:pt x="1100" y="1408"/>
                      <a:pt x="1100" y="1408"/>
                    </a:cubicBezTo>
                    <a:cubicBezTo>
                      <a:pt x="1097" y="1408"/>
                      <a:pt x="1097" y="1408"/>
                      <a:pt x="1097" y="1408"/>
                    </a:cubicBezTo>
                    <a:cubicBezTo>
                      <a:pt x="1091" y="1415"/>
                      <a:pt x="1091" y="1415"/>
                      <a:pt x="1091" y="1415"/>
                    </a:cubicBezTo>
                    <a:cubicBezTo>
                      <a:pt x="1090" y="1418"/>
                      <a:pt x="1090" y="1418"/>
                      <a:pt x="1090" y="1418"/>
                    </a:cubicBezTo>
                    <a:cubicBezTo>
                      <a:pt x="1088" y="1419"/>
                      <a:pt x="1088" y="1419"/>
                      <a:pt x="1088" y="1419"/>
                    </a:cubicBezTo>
                    <a:cubicBezTo>
                      <a:pt x="1084" y="1418"/>
                      <a:pt x="1084" y="1418"/>
                      <a:pt x="1084" y="1418"/>
                    </a:cubicBezTo>
                    <a:cubicBezTo>
                      <a:pt x="1082" y="1418"/>
                      <a:pt x="1082" y="1418"/>
                      <a:pt x="1082" y="1418"/>
                    </a:cubicBezTo>
                    <a:cubicBezTo>
                      <a:pt x="1080" y="1420"/>
                      <a:pt x="1080" y="1420"/>
                      <a:pt x="1080" y="1420"/>
                    </a:cubicBezTo>
                    <a:cubicBezTo>
                      <a:pt x="1079" y="1420"/>
                      <a:pt x="1079" y="1420"/>
                      <a:pt x="1079" y="1420"/>
                    </a:cubicBezTo>
                    <a:cubicBezTo>
                      <a:pt x="1074" y="1424"/>
                      <a:pt x="1074" y="1424"/>
                      <a:pt x="1074" y="1424"/>
                    </a:cubicBezTo>
                    <a:cubicBezTo>
                      <a:pt x="1018" y="1423"/>
                      <a:pt x="1018" y="1423"/>
                      <a:pt x="1018" y="1423"/>
                    </a:cubicBezTo>
                    <a:cubicBezTo>
                      <a:pt x="1012" y="1424"/>
                      <a:pt x="1012" y="1424"/>
                      <a:pt x="1012" y="1424"/>
                    </a:cubicBezTo>
                    <a:cubicBezTo>
                      <a:pt x="1008" y="1427"/>
                      <a:pt x="1008" y="1427"/>
                      <a:pt x="1008" y="1427"/>
                    </a:cubicBezTo>
                    <a:cubicBezTo>
                      <a:pt x="1004" y="1429"/>
                      <a:pt x="1004" y="1429"/>
                      <a:pt x="1004" y="1429"/>
                    </a:cubicBezTo>
                    <a:cubicBezTo>
                      <a:pt x="1000" y="1432"/>
                      <a:pt x="1000" y="1432"/>
                      <a:pt x="1000" y="1432"/>
                    </a:cubicBezTo>
                    <a:cubicBezTo>
                      <a:pt x="991" y="1440"/>
                      <a:pt x="991" y="1440"/>
                      <a:pt x="991" y="1440"/>
                    </a:cubicBezTo>
                    <a:cubicBezTo>
                      <a:pt x="986" y="1441"/>
                      <a:pt x="986" y="1441"/>
                      <a:pt x="986" y="1441"/>
                    </a:cubicBezTo>
                    <a:cubicBezTo>
                      <a:pt x="982" y="1443"/>
                      <a:pt x="982" y="1443"/>
                      <a:pt x="982" y="1443"/>
                    </a:cubicBezTo>
                    <a:cubicBezTo>
                      <a:pt x="966" y="1455"/>
                      <a:pt x="966" y="1455"/>
                      <a:pt x="966" y="1455"/>
                    </a:cubicBezTo>
                    <a:cubicBezTo>
                      <a:pt x="930" y="1465"/>
                      <a:pt x="930" y="1465"/>
                      <a:pt x="930" y="1465"/>
                    </a:cubicBezTo>
                    <a:cubicBezTo>
                      <a:pt x="928" y="1474"/>
                      <a:pt x="928" y="1474"/>
                      <a:pt x="928" y="1474"/>
                    </a:cubicBezTo>
                    <a:cubicBezTo>
                      <a:pt x="920" y="1477"/>
                      <a:pt x="920" y="1477"/>
                      <a:pt x="920" y="1477"/>
                    </a:cubicBezTo>
                    <a:cubicBezTo>
                      <a:pt x="854" y="1494"/>
                      <a:pt x="854" y="1494"/>
                      <a:pt x="854" y="1494"/>
                    </a:cubicBezTo>
                    <a:cubicBezTo>
                      <a:pt x="851" y="1488"/>
                      <a:pt x="851" y="1488"/>
                      <a:pt x="851" y="1488"/>
                    </a:cubicBezTo>
                    <a:cubicBezTo>
                      <a:pt x="855" y="1484"/>
                      <a:pt x="855" y="1484"/>
                      <a:pt x="855" y="1484"/>
                    </a:cubicBezTo>
                    <a:cubicBezTo>
                      <a:pt x="862" y="1480"/>
                      <a:pt x="862" y="1480"/>
                      <a:pt x="862" y="1480"/>
                    </a:cubicBezTo>
                    <a:cubicBezTo>
                      <a:pt x="865" y="1476"/>
                      <a:pt x="865" y="1476"/>
                      <a:pt x="865" y="1476"/>
                    </a:cubicBezTo>
                    <a:cubicBezTo>
                      <a:pt x="867" y="1472"/>
                      <a:pt x="867" y="1472"/>
                      <a:pt x="867" y="1472"/>
                    </a:cubicBezTo>
                    <a:cubicBezTo>
                      <a:pt x="869" y="1468"/>
                      <a:pt x="869" y="1468"/>
                      <a:pt x="869" y="1468"/>
                    </a:cubicBezTo>
                    <a:cubicBezTo>
                      <a:pt x="871" y="1443"/>
                      <a:pt x="871" y="1443"/>
                      <a:pt x="871" y="1443"/>
                    </a:cubicBezTo>
                    <a:cubicBezTo>
                      <a:pt x="858" y="1386"/>
                      <a:pt x="858" y="1386"/>
                      <a:pt x="858" y="1386"/>
                    </a:cubicBezTo>
                    <a:cubicBezTo>
                      <a:pt x="846" y="1377"/>
                      <a:pt x="846" y="1377"/>
                      <a:pt x="846" y="1377"/>
                    </a:cubicBezTo>
                    <a:cubicBezTo>
                      <a:pt x="841" y="1371"/>
                      <a:pt x="841" y="1371"/>
                      <a:pt x="841" y="1371"/>
                    </a:cubicBezTo>
                    <a:cubicBezTo>
                      <a:pt x="765" y="1337"/>
                      <a:pt x="765" y="1337"/>
                      <a:pt x="765" y="1337"/>
                    </a:cubicBezTo>
                    <a:cubicBezTo>
                      <a:pt x="762" y="1335"/>
                      <a:pt x="762" y="1335"/>
                      <a:pt x="762" y="1335"/>
                    </a:cubicBezTo>
                    <a:cubicBezTo>
                      <a:pt x="757" y="1334"/>
                      <a:pt x="757" y="1334"/>
                      <a:pt x="757" y="1334"/>
                    </a:cubicBezTo>
                    <a:cubicBezTo>
                      <a:pt x="755" y="1332"/>
                      <a:pt x="755" y="1332"/>
                      <a:pt x="755" y="1332"/>
                    </a:cubicBezTo>
                    <a:cubicBezTo>
                      <a:pt x="746" y="1331"/>
                      <a:pt x="746" y="1331"/>
                      <a:pt x="746" y="1331"/>
                    </a:cubicBezTo>
                    <a:cubicBezTo>
                      <a:pt x="744" y="1328"/>
                      <a:pt x="744" y="1328"/>
                      <a:pt x="744" y="1328"/>
                    </a:cubicBezTo>
                    <a:cubicBezTo>
                      <a:pt x="742" y="1326"/>
                      <a:pt x="742" y="1326"/>
                      <a:pt x="742" y="1326"/>
                    </a:cubicBezTo>
                    <a:cubicBezTo>
                      <a:pt x="739" y="1328"/>
                      <a:pt x="739" y="1328"/>
                      <a:pt x="739" y="1328"/>
                    </a:cubicBezTo>
                    <a:cubicBezTo>
                      <a:pt x="733" y="1328"/>
                      <a:pt x="733" y="1328"/>
                      <a:pt x="733" y="1328"/>
                    </a:cubicBezTo>
                    <a:cubicBezTo>
                      <a:pt x="730" y="1327"/>
                      <a:pt x="730" y="1327"/>
                      <a:pt x="730" y="1327"/>
                    </a:cubicBezTo>
                    <a:cubicBezTo>
                      <a:pt x="727" y="1324"/>
                      <a:pt x="727" y="1324"/>
                      <a:pt x="727" y="1324"/>
                    </a:cubicBezTo>
                    <a:cubicBezTo>
                      <a:pt x="724" y="1323"/>
                      <a:pt x="724" y="1323"/>
                      <a:pt x="724" y="1323"/>
                    </a:cubicBezTo>
                    <a:cubicBezTo>
                      <a:pt x="717" y="1321"/>
                      <a:pt x="717" y="1321"/>
                      <a:pt x="717" y="1321"/>
                    </a:cubicBezTo>
                    <a:cubicBezTo>
                      <a:pt x="715" y="1317"/>
                      <a:pt x="715" y="1317"/>
                      <a:pt x="715" y="1317"/>
                    </a:cubicBezTo>
                    <a:cubicBezTo>
                      <a:pt x="713" y="1317"/>
                      <a:pt x="713" y="1317"/>
                      <a:pt x="713" y="1317"/>
                    </a:cubicBezTo>
                    <a:cubicBezTo>
                      <a:pt x="708" y="1314"/>
                      <a:pt x="708" y="1314"/>
                      <a:pt x="708" y="1314"/>
                    </a:cubicBezTo>
                    <a:cubicBezTo>
                      <a:pt x="705" y="1314"/>
                      <a:pt x="705" y="1314"/>
                      <a:pt x="705" y="1314"/>
                    </a:cubicBezTo>
                    <a:cubicBezTo>
                      <a:pt x="702" y="1313"/>
                      <a:pt x="702" y="1313"/>
                      <a:pt x="702" y="1313"/>
                    </a:cubicBezTo>
                    <a:cubicBezTo>
                      <a:pt x="698" y="1314"/>
                      <a:pt x="698" y="1314"/>
                      <a:pt x="698" y="1314"/>
                    </a:cubicBezTo>
                    <a:cubicBezTo>
                      <a:pt x="696" y="1314"/>
                      <a:pt x="696" y="1314"/>
                      <a:pt x="696" y="1314"/>
                    </a:cubicBezTo>
                    <a:cubicBezTo>
                      <a:pt x="695" y="1312"/>
                      <a:pt x="695" y="1312"/>
                      <a:pt x="695" y="1312"/>
                    </a:cubicBezTo>
                    <a:cubicBezTo>
                      <a:pt x="691" y="1311"/>
                      <a:pt x="691" y="1311"/>
                      <a:pt x="691" y="1311"/>
                    </a:cubicBezTo>
                    <a:cubicBezTo>
                      <a:pt x="690" y="1310"/>
                      <a:pt x="690" y="1310"/>
                      <a:pt x="690" y="1310"/>
                    </a:cubicBezTo>
                    <a:cubicBezTo>
                      <a:pt x="686" y="1309"/>
                      <a:pt x="686" y="1309"/>
                      <a:pt x="686" y="1309"/>
                    </a:cubicBezTo>
                    <a:cubicBezTo>
                      <a:pt x="685" y="1308"/>
                      <a:pt x="685" y="1308"/>
                      <a:pt x="685" y="1308"/>
                    </a:cubicBezTo>
                    <a:cubicBezTo>
                      <a:pt x="683" y="1306"/>
                      <a:pt x="683" y="1306"/>
                      <a:pt x="683" y="1306"/>
                    </a:cubicBezTo>
                    <a:cubicBezTo>
                      <a:pt x="682" y="1304"/>
                      <a:pt x="682" y="1304"/>
                      <a:pt x="682" y="1304"/>
                    </a:cubicBezTo>
                    <a:cubicBezTo>
                      <a:pt x="678" y="1301"/>
                      <a:pt x="678" y="1301"/>
                      <a:pt x="678" y="1301"/>
                    </a:cubicBezTo>
                    <a:cubicBezTo>
                      <a:pt x="674" y="1301"/>
                      <a:pt x="674" y="1301"/>
                      <a:pt x="674" y="1301"/>
                    </a:cubicBezTo>
                    <a:cubicBezTo>
                      <a:pt x="670" y="1301"/>
                      <a:pt x="670" y="1301"/>
                      <a:pt x="670" y="1301"/>
                    </a:cubicBezTo>
                    <a:lnTo>
                      <a:pt x="171" y="1252"/>
                    </a:lnTo>
                    <a:close/>
                  </a:path>
                </a:pathLst>
              </a:custGeom>
              <a:solidFill>
                <a:schemeClr val="accent4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611" name="Freeform 415"/>
              <p:cNvSpPr>
                <a:spLocks noEditPoints="1"/>
              </p:cNvSpPr>
              <p:nvPr userDrawn="1"/>
            </p:nvSpPr>
            <p:spPr bwMode="auto">
              <a:xfrm>
                <a:off x="1287" y="1870"/>
                <a:ext cx="1040" cy="591"/>
              </a:xfrm>
              <a:custGeom>
                <a:avLst/>
                <a:gdLst>
                  <a:gd name="T0" fmla="*/ 632 w 1089"/>
                  <a:gd name="T1" fmla="*/ 62 h 619"/>
                  <a:gd name="T2" fmla="*/ 765 w 1089"/>
                  <a:gd name="T3" fmla="*/ 119 h 619"/>
                  <a:gd name="T4" fmla="*/ 910 w 1089"/>
                  <a:gd name="T5" fmla="*/ 189 h 619"/>
                  <a:gd name="T6" fmla="*/ 1024 w 1089"/>
                  <a:gd name="T7" fmla="*/ 156 h 619"/>
                  <a:gd name="T8" fmla="*/ 1075 w 1089"/>
                  <a:gd name="T9" fmla="*/ 128 h 619"/>
                  <a:gd name="T10" fmla="*/ 1083 w 1089"/>
                  <a:gd name="T11" fmla="*/ 185 h 619"/>
                  <a:gd name="T12" fmla="*/ 1047 w 1089"/>
                  <a:gd name="T13" fmla="*/ 194 h 619"/>
                  <a:gd name="T14" fmla="*/ 1017 w 1089"/>
                  <a:gd name="T15" fmla="*/ 210 h 619"/>
                  <a:gd name="T16" fmla="*/ 1012 w 1089"/>
                  <a:gd name="T17" fmla="*/ 246 h 619"/>
                  <a:gd name="T18" fmla="*/ 988 w 1089"/>
                  <a:gd name="T19" fmla="*/ 264 h 619"/>
                  <a:gd name="T20" fmla="*/ 934 w 1089"/>
                  <a:gd name="T21" fmla="*/ 285 h 619"/>
                  <a:gd name="T22" fmla="*/ 914 w 1089"/>
                  <a:gd name="T23" fmla="*/ 318 h 619"/>
                  <a:gd name="T24" fmla="*/ 908 w 1089"/>
                  <a:gd name="T25" fmla="*/ 325 h 619"/>
                  <a:gd name="T26" fmla="*/ 890 w 1089"/>
                  <a:gd name="T27" fmla="*/ 348 h 619"/>
                  <a:gd name="T28" fmla="*/ 886 w 1089"/>
                  <a:gd name="T29" fmla="*/ 312 h 619"/>
                  <a:gd name="T30" fmla="*/ 880 w 1089"/>
                  <a:gd name="T31" fmla="*/ 339 h 619"/>
                  <a:gd name="T32" fmla="*/ 881 w 1089"/>
                  <a:gd name="T33" fmla="*/ 350 h 619"/>
                  <a:gd name="T34" fmla="*/ 870 w 1089"/>
                  <a:gd name="T35" fmla="*/ 361 h 619"/>
                  <a:gd name="T36" fmla="*/ 875 w 1089"/>
                  <a:gd name="T37" fmla="*/ 386 h 619"/>
                  <a:gd name="T38" fmla="*/ 885 w 1089"/>
                  <a:gd name="T39" fmla="*/ 397 h 619"/>
                  <a:gd name="T40" fmla="*/ 869 w 1089"/>
                  <a:gd name="T41" fmla="*/ 409 h 619"/>
                  <a:gd name="T42" fmla="*/ 836 w 1089"/>
                  <a:gd name="T43" fmla="*/ 435 h 619"/>
                  <a:gd name="T44" fmla="*/ 790 w 1089"/>
                  <a:gd name="T45" fmla="*/ 462 h 619"/>
                  <a:gd name="T46" fmla="*/ 765 w 1089"/>
                  <a:gd name="T47" fmla="*/ 512 h 619"/>
                  <a:gd name="T48" fmla="*/ 778 w 1089"/>
                  <a:gd name="T49" fmla="*/ 593 h 619"/>
                  <a:gd name="T50" fmla="*/ 747 w 1089"/>
                  <a:gd name="T51" fmla="*/ 605 h 619"/>
                  <a:gd name="T52" fmla="*/ 733 w 1089"/>
                  <a:gd name="T53" fmla="*/ 577 h 619"/>
                  <a:gd name="T54" fmla="*/ 729 w 1089"/>
                  <a:gd name="T55" fmla="*/ 536 h 619"/>
                  <a:gd name="T56" fmla="*/ 696 w 1089"/>
                  <a:gd name="T57" fmla="*/ 522 h 619"/>
                  <a:gd name="T58" fmla="*/ 678 w 1089"/>
                  <a:gd name="T59" fmla="*/ 511 h 619"/>
                  <a:gd name="T60" fmla="*/ 644 w 1089"/>
                  <a:gd name="T61" fmla="*/ 508 h 619"/>
                  <a:gd name="T62" fmla="*/ 601 w 1089"/>
                  <a:gd name="T63" fmla="*/ 519 h 619"/>
                  <a:gd name="T64" fmla="*/ 605 w 1089"/>
                  <a:gd name="T65" fmla="*/ 535 h 619"/>
                  <a:gd name="T66" fmla="*/ 572 w 1089"/>
                  <a:gd name="T67" fmla="*/ 531 h 619"/>
                  <a:gd name="T68" fmla="*/ 542 w 1089"/>
                  <a:gd name="T69" fmla="*/ 523 h 619"/>
                  <a:gd name="T70" fmla="*/ 503 w 1089"/>
                  <a:gd name="T71" fmla="*/ 524 h 619"/>
                  <a:gd name="T72" fmla="*/ 468 w 1089"/>
                  <a:gd name="T73" fmla="*/ 546 h 619"/>
                  <a:gd name="T74" fmla="*/ 448 w 1089"/>
                  <a:gd name="T75" fmla="*/ 598 h 619"/>
                  <a:gd name="T76" fmla="*/ 414 w 1089"/>
                  <a:gd name="T77" fmla="*/ 571 h 619"/>
                  <a:gd name="T78" fmla="*/ 391 w 1089"/>
                  <a:gd name="T79" fmla="*/ 522 h 619"/>
                  <a:gd name="T80" fmla="*/ 357 w 1089"/>
                  <a:gd name="T81" fmla="*/ 523 h 619"/>
                  <a:gd name="T82" fmla="*/ 330 w 1089"/>
                  <a:gd name="T83" fmla="*/ 522 h 619"/>
                  <a:gd name="T84" fmla="*/ 316 w 1089"/>
                  <a:gd name="T85" fmla="*/ 499 h 619"/>
                  <a:gd name="T86" fmla="*/ 291 w 1089"/>
                  <a:gd name="T87" fmla="*/ 467 h 619"/>
                  <a:gd name="T88" fmla="*/ 76 w 1089"/>
                  <a:gd name="T89" fmla="*/ 410 h 619"/>
                  <a:gd name="T90" fmla="*/ 39 w 1089"/>
                  <a:gd name="T91" fmla="*/ 381 h 619"/>
                  <a:gd name="T92" fmla="*/ 26 w 1089"/>
                  <a:gd name="T93" fmla="*/ 333 h 619"/>
                  <a:gd name="T94" fmla="*/ 24 w 1089"/>
                  <a:gd name="T95" fmla="*/ 308 h 619"/>
                  <a:gd name="T96" fmla="*/ 18 w 1089"/>
                  <a:gd name="T97" fmla="*/ 307 h 619"/>
                  <a:gd name="T98" fmla="*/ 3 w 1089"/>
                  <a:gd name="T99" fmla="*/ 243 h 619"/>
                  <a:gd name="T100" fmla="*/ 13 w 1089"/>
                  <a:gd name="T101" fmla="*/ 179 h 619"/>
                  <a:gd name="T102" fmla="*/ 47 w 1089"/>
                  <a:gd name="T103" fmla="*/ 89 h 619"/>
                  <a:gd name="T104" fmla="*/ 50 w 1089"/>
                  <a:gd name="T105" fmla="*/ 76 h 619"/>
                  <a:gd name="T106" fmla="*/ 55 w 1089"/>
                  <a:gd name="T107" fmla="*/ 35 h 619"/>
                  <a:gd name="T108" fmla="*/ 81 w 1089"/>
                  <a:gd name="T109" fmla="*/ 38 h 619"/>
                  <a:gd name="T110" fmla="*/ 82 w 1089"/>
                  <a:gd name="T111" fmla="*/ 55 h 619"/>
                  <a:gd name="T112" fmla="*/ 100 w 1089"/>
                  <a:gd name="T113" fmla="*/ 13 h 619"/>
                  <a:gd name="T114" fmla="*/ 943 w 1089"/>
                  <a:gd name="T115" fmla="*/ 279 h 619"/>
                  <a:gd name="T116" fmla="*/ 964 w 1089"/>
                  <a:gd name="T117" fmla="*/ 272 h 619"/>
                  <a:gd name="T118" fmla="*/ 96 w 1089"/>
                  <a:gd name="T119" fmla="*/ 21 h 619"/>
                  <a:gd name="T120" fmla="*/ 455 w 1089"/>
                  <a:gd name="T121" fmla="*/ 571 h 6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089" h="619">
                    <a:moveTo>
                      <a:pt x="95" y="0"/>
                    </a:moveTo>
                    <a:cubicBezTo>
                      <a:pt x="594" y="49"/>
                      <a:pt x="594" y="49"/>
                      <a:pt x="594" y="49"/>
                    </a:cubicBezTo>
                    <a:cubicBezTo>
                      <a:pt x="598" y="49"/>
                      <a:pt x="598" y="49"/>
                      <a:pt x="598" y="49"/>
                    </a:cubicBezTo>
                    <a:cubicBezTo>
                      <a:pt x="602" y="49"/>
                      <a:pt x="602" y="49"/>
                      <a:pt x="602" y="49"/>
                    </a:cubicBezTo>
                    <a:cubicBezTo>
                      <a:pt x="606" y="52"/>
                      <a:pt x="606" y="52"/>
                      <a:pt x="606" y="52"/>
                    </a:cubicBezTo>
                    <a:cubicBezTo>
                      <a:pt x="607" y="54"/>
                      <a:pt x="607" y="54"/>
                      <a:pt x="607" y="54"/>
                    </a:cubicBezTo>
                    <a:cubicBezTo>
                      <a:pt x="609" y="56"/>
                      <a:pt x="609" y="56"/>
                      <a:pt x="609" y="56"/>
                    </a:cubicBezTo>
                    <a:cubicBezTo>
                      <a:pt x="610" y="57"/>
                      <a:pt x="610" y="57"/>
                      <a:pt x="610" y="57"/>
                    </a:cubicBezTo>
                    <a:cubicBezTo>
                      <a:pt x="614" y="58"/>
                      <a:pt x="614" y="58"/>
                      <a:pt x="614" y="58"/>
                    </a:cubicBezTo>
                    <a:cubicBezTo>
                      <a:pt x="615" y="59"/>
                      <a:pt x="615" y="59"/>
                      <a:pt x="615" y="59"/>
                    </a:cubicBezTo>
                    <a:cubicBezTo>
                      <a:pt x="619" y="60"/>
                      <a:pt x="619" y="60"/>
                      <a:pt x="619" y="60"/>
                    </a:cubicBezTo>
                    <a:cubicBezTo>
                      <a:pt x="620" y="62"/>
                      <a:pt x="620" y="62"/>
                      <a:pt x="620" y="62"/>
                    </a:cubicBezTo>
                    <a:cubicBezTo>
                      <a:pt x="622" y="62"/>
                      <a:pt x="622" y="62"/>
                      <a:pt x="622" y="62"/>
                    </a:cubicBezTo>
                    <a:cubicBezTo>
                      <a:pt x="626" y="61"/>
                      <a:pt x="626" y="61"/>
                      <a:pt x="626" y="61"/>
                    </a:cubicBezTo>
                    <a:cubicBezTo>
                      <a:pt x="629" y="62"/>
                      <a:pt x="629" y="62"/>
                      <a:pt x="629" y="62"/>
                    </a:cubicBezTo>
                    <a:cubicBezTo>
                      <a:pt x="632" y="62"/>
                      <a:pt x="632" y="62"/>
                      <a:pt x="632" y="62"/>
                    </a:cubicBezTo>
                    <a:cubicBezTo>
                      <a:pt x="637" y="65"/>
                      <a:pt x="637" y="65"/>
                      <a:pt x="637" y="65"/>
                    </a:cubicBezTo>
                    <a:cubicBezTo>
                      <a:pt x="639" y="65"/>
                      <a:pt x="639" y="65"/>
                      <a:pt x="639" y="65"/>
                    </a:cubicBezTo>
                    <a:cubicBezTo>
                      <a:pt x="641" y="69"/>
                      <a:pt x="641" y="69"/>
                      <a:pt x="641" y="69"/>
                    </a:cubicBezTo>
                    <a:cubicBezTo>
                      <a:pt x="648" y="71"/>
                      <a:pt x="648" y="71"/>
                      <a:pt x="648" y="71"/>
                    </a:cubicBezTo>
                    <a:cubicBezTo>
                      <a:pt x="651" y="72"/>
                      <a:pt x="651" y="72"/>
                      <a:pt x="651" y="72"/>
                    </a:cubicBezTo>
                    <a:cubicBezTo>
                      <a:pt x="654" y="75"/>
                      <a:pt x="654" y="75"/>
                      <a:pt x="654" y="75"/>
                    </a:cubicBezTo>
                    <a:cubicBezTo>
                      <a:pt x="657" y="76"/>
                      <a:pt x="657" y="76"/>
                      <a:pt x="657" y="76"/>
                    </a:cubicBezTo>
                    <a:cubicBezTo>
                      <a:pt x="663" y="76"/>
                      <a:pt x="663" y="76"/>
                      <a:pt x="663" y="76"/>
                    </a:cubicBezTo>
                    <a:cubicBezTo>
                      <a:pt x="666" y="74"/>
                      <a:pt x="666" y="74"/>
                      <a:pt x="666" y="74"/>
                    </a:cubicBezTo>
                    <a:cubicBezTo>
                      <a:pt x="668" y="76"/>
                      <a:pt x="668" y="76"/>
                      <a:pt x="668" y="76"/>
                    </a:cubicBezTo>
                    <a:cubicBezTo>
                      <a:pt x="670" y="79"/>
                      <a:pt x="670" y="79"/>
                      <a:pt x="670" y="79"/>
                    </a:cubicBezTo>
                    <a:cubicBezTo>
                      <a:pt x="679" y="80"/>
                      <a:pt x="679" y="80"/>
                      <a:pt x="679" y="80"/>
                    </a:cubicBezTo>
                    <a:cubicBezTo>
                      <a:pt x="681" y="82"/>
                      <a:pt x="681" y="82"/>
                      <a:pt x="681" y="82"/>
                    </a:cubicBezTo>
                    <a:cubicBezTo>
                      <a:pt x="686" y="83"/>
                      <a:pt x="686" y="83"/>
                      <a:pt x="686" y="83"/>
                    </a:cubicBezTo>
                    <a:cubicBezTo>
                      <a:pt x="689" y="85"/>
                      <a:pt x="689" y="85"/>
                      <a:pt x="689" y="85"/>
                    </a:cubicBezTo>
                    <a:cubicBezTo>
                      <a:pt x="765" y="119"/>
                      <a:pt x="765" y="119"/>
                      <a:pt x="765" y="119"/>
                    </a:cubicBezTo>
                    <a:cubicBezTo>
                      <a:pt x="770" y="125"/>
                      <a:pt x="770" y="125"/>
                      <a:pt x="770" y="125"/>
                    </a:cubicBezTo>
                    <a:cubicBezTo>
                      <a:pt x="782" y="134"/>
                      <a:pt x="782" y="134"/>
                      <a:pt x="782" y="134"/>
                    </a:cubicBezTo>
                    <a:cubicBezTo>
                      <a:pt x="795" y="191"/>
                      <a:pt x="795" y="191"/>
                      <a:pt x="795" y="191"/>
                    </a:cubicBezTo>
                    <a:cubicBezTo>
                      <a:pt x="793" y="216"/>
                      <a:pt x="793" y="216"/>
                      <a:pt x="793" y="216"/>
                    </a:cubicBezTo>
                    <a:cubicBezTo>
                      <a:pt x="791" y="220"/>
                      <a:pt x="791" y="220"/>
                      <a:pt x="791" y="220"/>
                    </a:cubicBezTo>
                    <a:cubicBezTo>
                      <a:pt x="789" y="224"/>
                      <a:pt x="789" y="224"/>
                      <a:pt x="789" y="224"/>
                    </a:cubicBezTo>
                    <a:cubicBezTo>
                      <a:pt x="786" y="228"/>
                      <a:pt x="786" y="228"/>
                      <a:pt x="786" y="228"/>
                    </a:cubicBezTo>
                    <a:cubicBezTo>
                      <a:pt x="779" y="232"/>
                      <a:pt x="779" y="232"/>
                      <a:pt x="779" y="232"/>
                    </a:cubicBezTo>
                    <a:cubicBezTo>
                      <a:pt x="775" y="236"/>
                      <a:pt x="775" y="236"/>
                      <a:pt x="775" y="236"/>
                    </a:cubicBezTo>
                    <a:cubicBezTo>
                      <a:pt x="778" y="242"/>
                      <a:pt x="778" y="242"/>
                      <a:pt x="778" y="242"/>
                    </a:cubicBezTo>
                    <a:cubicBezTo>
                      <a:pt x="844" y="225"/>
                      <a:pt x="844" y="225"/>
                      <a:pt x="844" y="225"/>
                    </a:cubicBezTo>
                    <a:cubicBezTo>
                      <a:pt x="852" y="222"/>
                      <a:pt x="852" y="222"/>
                      <a:pt x="852" y="222"/>
                    </a:cubicBezTo>
                    <a:cubicBezTo>
                      <a:pt x="854" y="213"/>
                      <a:pt x="854" y="213"/>
                      <a:pt x="854" y="213"/>
                    </a:cubicBezTo>
                    <a:cubicBezTo>
                      <a:pt x="890" y="203"/>
                      <a:pt x="890" y="203"/>
                      <a:pt x="890" y="203"/>
                    </a:cubicBezTo>
                    <a:cubicBezTo>
                      <a:pt x="906" y="191"/>
                      <a:pt x="906" y="191"/>
                      <a:pt x="906" y="191"/>
                    </a:cubicBezTo>
                    <a:cubicBezTo>
                      <a:pt x="910" y="189"/>
                      <a:pt x="910" y="189"/>
                      <a:pt x="910" y="189"/>
                    </a:cubicBezTo>
                    <a:cubicBezTo>
                      <a:pt x="915" y="188"/>
                      <a:pt x="915" y="188"/>
                      <a:pt x="915" y="188"/>
                    </a:cubicBezTo>
                    <a:cubicBezTo>
                      <a:pt x="924" y="180"/>
                      <a:pt x="924" y="180"/>
                      <a:pt x="924" y="180"/>
                    </a:cubicBezTo>
                    <a:cubicBezTo>
                      <a:pt x="928" y="177"/>
                      <a:pt x="928" y="177"/>
                      <a:pt x="928" y="177"/>
                    </a:cubicBezTo>
                    <a:cubicBezTo>
                      <a:pt x="932" y="175"/>
                      <a:pt x="932" y="175"/>
                      <a:pt x="932" y="175"/>
                    </a:cubicBezTo>
                    <a:cubicBezTo>
                      <a:pt x="936" y="172"/>
                      <a:pt x="936" y="172"/>
                      <a:pt x="936" y="172"/>
                    </a:cubicBezTo>
                    <a:cubicBezTo>
                      <a:pt x="942" y="171"/>
                      <a:pt x="942" y="171"/>
                      <a:pt x="942" y="171"/>
                    </a:cubicBezTo>
                    <a:cubicBezTo>
                      <a:pt x="998" y="172"/>
                      <a:pt x="998" y="172"/>
                      <a:pt x="998" y="172"/>
                    </a:cubicBezTo>
                    <a:cubicBezTo>
                      <a:pt x="1003" y="168"/>
                      <a:pt x="1003" y="168"/>
                      <a:pt x="1003" y="168"/>
                    </a:cubicBezTo>
                    <a:cubicBezTo>
                      <a:pt x="1004" y="168"/>
                      <a:pt x="1004" y="168"/>
                      <a:pt x="1004" y="168"/>
                    </a:cubicBezTo>
                    <a:cubicBezTo>
                      <a:pt x="1006" y="166"/>
                      <a:pt x="1006" y="166"/>
                      <a:pt x="1006" y="166"/>
                    </a:cubicBezTo>
                    <a:cubicBezTo>
                      <a:pt x="1008" y="166"/>
                      <a:pt x="1008" y="166"/>
                      <a:pt x="1008" y="166"/>
                    </a:cubicBezTo>
                    <a:cubicBezTo>
                      <a:pt x="1012" y="167"/>
                      <a:pt x="1012" y="167"/>
                      <a:pt x="1012" y="167"/>
                    </a:cubicBezTo>
                    <a:cubicBezTo>
                      <a:pt x="1014" y="166"/>
                      <a:pt x="1014" y="166"/>
                      <a:pt x="1014" y="166"/>
                    </a:cubicBezTo>
                    <a:cubicBezTo>
                      <a:pt x="1015" y="163"/>
                      <a:pt x="1015" y="163"/>
                      <a:pt x="1015" y="163"/>
                    </a:cubicBezTo>
                    <a:cubicBezTo>
                      <a:pt x="1021" y="156"/>
                      <a:pt x="1021" y="156"/>
                      <a:pt x="1021" y="156"/>
                    </a:cubicBezTo>
                    <a:cubicBezTo>
                      <a:pt x="1024" y="156"/>
                      <a:pt x="1024" y="156"/>
                      <a:pt x="1024" y="156"/>
                    </a:cubicBezTo>
                    <a:cubicBezTo>
                      <a:pt x="1029" y="150"/>
                      <a:pt x="1029" y="150"/>
                      <a:pt x="1029" y="150"/>
                    </a:cubicBezTo>
                    <a:cubicBezTo>
                      <a:pt x="1030" y="146"/>
                      <a:pt x="1030" y="146"/>
                      <a:pt x="1030" y="146"/>
                    </a:cubicBezTo>
                    <a:cubicBezTo>
                      <a:pt x="1031" y="141"/>
                      <a:pt x="1031" y="141"/>
                      <a:pt x="1031" y="141"/>
                    </a:cubicBezTo>
                    <a:cubicBezTo>
                      <a:pt x="1036" y="139"/>
                      <a:pt x="1036" y="139"/>
                      <a:pt x="1036" y="139"/>
                    </a:cubicBezTo>
                    <a:cubicBezTo>
                      <a:pt x="1036" y="136"/>
                      <a:pt x="1036" y="136"/>
                      <a:pt x="1036" y="136"/>
                    </a:cubicBezTo>
                    <a:cubicBezTo>
                      <a:pt x="1039" y="132"/>
                      <a:pt x="1039" y="132"/>
                      <a:pt x="1039" y="132"/>
                    </a:cubicBezTo>
                    <a:cubicBezTo>
                      <a:pt x="1046" y="124"/>
                      <a:pt x="1046" y="124"/>
                      <a:pt x="1046" y="124"/>
                    </a:cubicBezTo>
                    <a:cubicBezTo>
                      <a:pt x="1047" y="121"/>
                      <a:pt x="1047" y="121"/>
                      <a:pt x="1047" y="121"/>
                    </a:cubicBezTo>
                    <a:cubicBezTo>
                      <a:pt x="1051" y="118"/>
                      <a:pt x="1051" y="118"/>
                      <a:pt x="1051" y="118"/>
                    </a:cubicBezTo>
                    <a:cubicBezTo>
                      <a:pt x="1052" y="118"/>
                      <a:pt x="1052" y="118"/>
                      <a:pt x="1052" y="118"/>
                    </a:cubicBezTo>
                    <a:cubicBezTo>
                      <a:pt x="1054" y="119"/>
                      <a:pt x="1054" y="119"/>
                      <a:pt x="1054" y="119"/>
                    </a:cubicBezTo>
                    <a:cubicBezTo>
                      <a:pt x="1057" y="122"/>
                      <a:pt x="1057" y="122"/>
                      <a:pt x="1057" y="122"/>
                    </a:cubicBezTo>
                    <a:cubicBezTo>
                      <a:pt x="1061" y="121"/>
                      <a:pt x="1061" y="121"/>
                      <a:pt x="1061" y="121"/>
                    </a:cubicBezTo>
                    <a:cubicBezTo>
                      <a:pt x="1066" y="122"/>
                      <a:pt x="1066" y="122"/>
                      <a:pt x="1066" y="122"/>
                    </a:cubicBezTo>
                    <a:cubicBezTo>
                      <a:pt x="1068" y="121"/>
                      <a:pt x="1068" y="121"/>
                      <a:pt x="1068" y="121"/>
                    </a:cubicBezTo>
                    <a:cubicBezTo>
                      <a:pt x="1075" y="128"/>
                      <a:pt x="1075" y="128"/>
                      <a:pt x="1075" y="128"/>
                    </a:cubicBezTo>
                    <a:cubicBezTo>
                      <a:pt x="1075" y="134"/>
                      <a:pt x="1075" y="134"/>
                      <a:pt x="1075" y="134"/>
                    </a:cubicBezTo>
                    <a:cubicBezTo>
                      <a:pt x="1071" y="157"/>
                      <a:pt x="1071" y="157"/>
                      <a:pt x="1071" y="157"/>
                    </a:cubicBezTo>
                    <a:cubicBezTo>
                      <a:pt x="1070" y="160"/>
                      <a:pt x="1070" y="160"/>
                      <a:pt x="1070" y="160"/>
                    </a:cubicBezTo>
                    <a:cubicBezTo>
                      <a:pt x="1072" y="160"/>
                      <a:pt x="1072" y="160"/>
                      <a:pt x="1072" y="160"/>
                    </a:cubicBezTo>
                    <a:cubicBezTo>
                      <a:pt x="1073" y="162"/>
                      <a:pt x="1073" y="162"/>
                      <a:pt x="1073" y="162"/>
                    </a:cubicBezTo>
                    <a:cubicBezTo>
                      <a:pt x="1075" y="164"/>
                      <a:pt x="1075" y="164"/>
                      <a:pt x="1075" y="164"/>
                    </a:cubicBezTo>
                    <a:cubicBezTo>
                      <a:pt x="1075" y="167"/>
                      <a:pt x="1075" y="167"/>
                      <a:pt x="1075" y="167"/>
                    </a:cubicBezTo>
                    <a:cubicBezTo>
                      <a:pt x="1074" y="169"/>
                      <a:pt x="1074" y="169"/>
                      <a:pt x="1074" y="169"/>
                    </a:cubicBezTo>
                    <a:cubicBezTo>
                      <a:pt x="1075" y="171"/>
                      <a:pt x="1075" y="171"/>
                      <a:pt x="1075" y="171"/>
                    </a:cubicBezTo>
                    <a:cubicBezTo>
                      <a:pt x="1074" y="173"/>
                      <a:pt x="1074" y="173"/>
                      <a:pt x="1074" y="173"/>
                    </a:cubicBezTo>
                    <a:cubicBezTo>
                      <a:pt x="1075" y="174"/>
                      <a:pt x="1075" y="174"/>
                      <a:pt x="1075" y="174"/>
                    </a:cubicBezTo>
                    <a:cubicBezTo>
                      <a:pt x="1075" y="174"/>
                      <a:pt x="1075" y="174"/>
                      <a:pt x="1075" y="174"/>
                    </a:cubicBezTo>
                    <a:cubicBezTo>
                      <a:pt x="1075" y="174"/>
                      <a:pt x="1075" y="174"/>
                      <a:pt x="1075" y="174"/>
                    </a:cubicBezTo>
                    <a:cubicBezTo>
                      <a:pt x="1082" y="178"/>
                      <a:pt x="1082" y="178"/>
                      <a:pt x="1082" y="178"/>
                    </a:cubicBezTo>
                    <a:cubicBezTo>
                      <a:pt x="1081" y="182"/>
                      <a:pt x="1081" y="182"/>
                      <a:pt x="1081" y="182"/>
                    </a:cubicBezTo>
                    <a:cubicBezTo>
                      <a:pt x="1083" y="185"/>
                      <a:pt x="1083" y="185"/>
                      <a:pt x="1083" y="185"/>
                    </a:cubicBezTo>
                    <a:cubicBezTo>
                      <a:pt x="1085" y="182"/>
                      <a:pt x="1085" y="182"/>
                      <a:pt x="1085" y="182"/>
                    </a:cubicBezTo>
                    <a:cubicBezTo>
                      <a:pt x="1089" y="184"/>
                      <a:pt x="1089" y="184"/>
                      <a:pt x="1089" y="184"/>
                    </a:cubicBezTo>
                    <a:cubicBezTo>
                      <a:pt x="1086" y="187"/>
                      <a:pt x="1086" y="187"/>
                      <a:pt x="1086" y="187"/>
                    </a:cubicBezTo>
                    <a:cubicBezTo>
                      <a:pt x="1083" y="188"/>
                      <a:pt x="1083" y="188"/>
                      <a:pt x="1083" y="188"/>
                    </a:cubicBezTo>
                    <a:cubicBezTo>
                      <a:pt x="1081" y="186"/>
                      <a:pt x="1081" y="186"/>
                      <a:pt x="1081" y="186"/>
                    </a:cubicBezTo>
                    <a:cubicBezTo>
                      <a:pt x="1077" y="188"/>
                      <a:pt x="1077" y="188"/>
                      <a:pt x="1077" y="188"/>
                    </a:cubicBezTo>
                    <a:cubicBezTo>
                      <a:pt x="1074" y="188"/>
                      <a:pt x="1074" y="188"/>
                      <a:pt x="1074" y="188"/>
                    </a:cubicBezTo>
                    <a:cubicBezTo>
                      <a:pt x="1070" y="190"/>
                      <a:pt x="1070" y="190"/>
                      <a:pt x="1070" y="190"/>
                    </a:cubicBezTo>
                    <a:cubicBezTo>
                      <a:pt x="1068" y="191"/>
                      <a:pt x="1068" y="191"/>
                      <a:pt x="1068" y="191"/>
                    </a:cubicBezTo>
                    <a:cubicBezTo>
                      <a:pt x="1065" y="190"/>
                      <a:pt x="1065" y="190"/>
                      <a:pt x="1065" y="190"/>
                    </a:cubicBezTo>
                    <a:cubicBezTo>
                      <a:pt x="1062" y="194"/>
                      <a:pt x="1062" y="194"/>
                      <a:pt x="1062" y="194"/>
                    </a:cubicBezTo>
                    <a:cubicBezTo>
                      <a:pt x="1060" y="194"/>
                      <a:pt x="1060" y="194"/>
                      <a:pt x="1060" y="194"/>
                    </a:cubicBezTo>
                    <a:cubicBezTo>
                      <a:pt x="1058" y="190"/>
                      <a:pt x="1058" y="190"/>
                      <a:pt x="1058" y="190"/>
                    </a:cubicBezTo>
                    <a:cubicBezTo>
                      <a:pt x="1054" y="190"/>
                      <a:pt x="1054" y="190"/>
                      <a:pt x="1054" y="190"/>
                    </a:cubicBezTo>
                    <a:cubicBezTo>
                      <a:pt x="1051" y="194"/>
                      <a:pt x="1051" y="194"/>
                      <a:pt x="1051" y="194"/>
                    </a:cubicBezTo>
                    <a:cubicBezTo>
                      <a:pt x="1047" y="194"/>
                      <a:pt x="1047" y="194"/>
                      <a:pt x="1047" y="194"/>
                    </a:cubicBezTo>
                    <a:cubicBezTo>
                      <a:pt x="1046" y="191"/>
                      <a:pt x="1046" y="191"/>
                      <a:pt x="1046" y="191"/>
                    </a:cubicBezTo>
                    <a:cubicBezTo>
                      <a:pt x="1047" y="188"/>
                      <a:pt x="1047" y="188"/>
                      <a:pt x="1047" y="188"/>
                    </a:cubicBezTo>
                    <a:cubicBezTo>
                      <a:pt x="1042" y="194"/>
                      <a:pt x="1042" y="194"/>
                      <a:pt x="1042" y="194"/>
                    </a:cubicBezTo>
                    <a:cubicBezTo>
                      <a:pt x="1039" y="199"/>
                      <a:pt x="1039" y="199"/>
                      <a:pt x="1039" y="199"/>
                    </a:cubicBezTo>
                    <a:cubicBezTo>
                      <a:pt x="1037" y="201"/>
                      <a:pt x="1037" y="201"/>
                      <a:pt x="1037" y="201"/>
                    </a:cubicBezTo>
                    <a:cubicBezTo>
                      <a:pt x="1036" y="199"/>
                      <a:pt x="1036" y="199"/>
                      <a:pt x="1036" y="199"/>
                    </a:cubicBezTo>
                    <a:cubicBezTo>
                      <a:pt x="1033" y="203"/>
                      <a:pt x="1033" y="203"/>
                      <a:pt x="1033" y="203"/>
                    </a:cubicBezTo>
                    <a:cubicBezTo>
                      <a:pt x="1031" y="203"/>
                      <a:pt x="1031" y="203"/>
                      <a:pt x="1031" y="203"/>
                    </a:cubicBezTo>
                    <a:cubicBezTo>
                      <a:pt x="1031" y="199"/>
                      <a:pt x="1031" y="199"/>
                      <a:pt x="1031" y="199"/>
                    </a:cubicBezTo>
                    <a:cubicBezTo>
                      <a:pt x="1028" y="203"/>
                      <a:pt x="1028" y="203"/>
                      <a:pt x="1028" y="203"/>
                    </a:cubicBezTo>
                    <a:cubicBezTo>
                      <a:pt x="1027" y="205"/>
                      <a:pt x="1027" y="205"/>
                      <a:pt x="1027" y="205"/>
                    </a:cubicBezTo>
                    <a:cubicBezTo>
                      <a:pt x="1024" y="204"/>
                      <a:pt x="1024" y="204"/>
                      <a:pt x="1024" y="204"/>
                    </a:cubicBezTo>
                    <a:cubicBezTo>
                      <a:pt x="1024" y="202"/>
                      <a:pt x="1024" y="202"/>
                      <a:pt x="1024" y="202"/>
                    </a:cubicBezTo>
                    <a:cubicBezTo>
                      <a:pt x="1022" y="205"/>
                      <a:pt x="1022" y="205"/>
                      <a:pt x="1022" y="205"/>
                    </a:cubicBezTo>
                    <a:cubicBezTo>
                      <a:pt x="1019" y="205"/>
                      <a:pt x="1019" y="205"/>
                      <a:pt x="1019" y="205"/>
                    </a:cubicBezTo>
                    <a:cubicBezTo>
                      <a:pt x="1017" y="210"/>
                      <a:pt x="1017" y="210"/>
                      <a:pt x="1017" y="210"/>
                    </a:cubicBezTo>
                    <a:cubicBezTo>
                      <a:pt x="1010" y="216"/>
                      <a:pt x="1010" y="216"/>
                      <a:pt x="1010" y="216"/>
                    </a:cubicBezTo>
                    <a:cubicBezTo>
                      <a:pt x="1008" y="222"/>
                      <a:pt x="1008" y="222"/>
                      <a:pt x="1008" y="222"/>
                    </a:cubicBezTo>
                    <a:cubicBezTo>
                      <a:pt x="1005" y="225"/>
                      <a:pt x="1005" y="225"/>
                      <a:pt x="1005" y="225"/>
                    </a:cubicBezTo>
                    <a:cubicBezTo>
                      <a:pt x="1004" y="228"/>
                      <a:pt x="1004" y="228"/>
                      <a:pt x="1004" y="228"/>
                    </a:cubicBezTo>
                    <a:cubicBezTo>
                      <a:pt x="1002" y="229"/>
                      <a:pt x="1002" y="229"/>
                      <a:pt x="1002" y="229"/>
                    </a:cubicBezTo>
                    <a:cubicBezTo>
                      <a:pt x="1002" y="231"/>
                      <a:pt x="1002" y="231"/>
                      <a:pt x="1002" y="231"/>
                    </a:cubicBezTo>
                    <a:cubicBezTo>
                      <a:pt x="1004" y="231"/>
                      <a:pt x="1004" y="231"/>
                      <a:pt x="1004" y="231"/>
                    </a:cubicBezTo>
                    <a:cubicBezTo>
                      <a:pt x="1005" y="234"/>
                      <a:pt x="1005" y="234"/>
                      <a:pt x="1005" y="234"/>
                    </a:cubicBezTo>
                    <a:cubicBezTo>
                      <a:pt x="998" y="240"/>
                      <a:pt x="998" y="240"/>
                      <a:pt x="998" y="240"/>
                    </a:cubicBezTo>
                    <a:cubicBezTo>
                      <a:pt x="998" y="242"/>
                      <a:pt x="998" y="242"/>
                      <a:pt x="998" y="242"/>
                    </a:cubicBezTo>
                    <a:cubicBezTo>
                      <a:pt x="1003" y="245"/>
                      <a:pt x="1003" y="245"/>
                      <a:pt x="1003" y="245"/>
                    </a:cubicBezTo>
                    <a:cubicBezTo>
                      <a:pt x="1005" y="251"/>
                      <a:pt x="1005" y="251"/>
                      <a:pt x="1005" y="251"/>
                    </a:cubicBezTo>
                    <a:cubicBezTo>
                      <a:pt x="1005" y="254"/>
                      <a:pt x="1005" y="254"/>
                      <a:pt x="1005" y="254"/>
                    </a:cubicBezTo>
                    <a:cubicBezTo>
                      <a:pt x="1011" y="254"/>
                      <a:pt x="1011" y="254"/>
                      <a:pt x="1011" y="254"/>
                    </a:cubicBezTo>
                    <a:cubicBezTo>
                      <a:pt x="1013" y="249"/>
                      <a:pt x="1013" y="249"/>
                      <a:pt x="1013" y="249"/>
                    </a:cubicBezTo>
                    <a:cubicBezTo>
                      <a:pt x="1012" y="246"/>
                      <a:pt x="1012" y="246"/>
                      <a:pt x="1012" y="246"/>
                    </a:cubicBezTo>
                    <a:cubicBezTo>
                      <a:pt x="1014" y="246"/>
                      <a:pt x="1014" y="246"/>
                      <a:pt x="1014" y="246"/>
                    </a:cubicBezTo>
                    <a:cubicBezTo>
                      <a:pt x="1016" y="252"/>
                      <a:pt x="1016" y="252"/>
                      <a:pt x="1016" y="252"/>
                    </a:cubicBezTo>
                    <a:cubicBezTo>
                      <a:pt x="1013" y="256"/>
                      <a:pt x="1013" y="256"/>
                      <a:pt x="1013" y="256"/>
                    </a:cubicBezTo>
                    <a:cubicBezTo>
                      <a:pt x="1004" y="260"/>
                      <a:pt x="1004" y="260"/>
                      <a:pt x="1004" y="260"/>
                    </a:cubicBezTo>
                    <a:cubicBezTo>
                      <a:pt x="1002" y="259"/>
                      <a:pt x="1002" y="259"/>
                      <a:pt x="1002" y="259"/>
                    </a:cubicBezTo>
                    <a:cubicBezTo>
                      <a:pt x="1002" y="257"/>
                      <a:pt x="1002" y="257"/>
                      <a:pt x="1002" y="257"/>
                    </a:cubicBezTo>
                    <a:cubicBezTo>
                      <a:pt x="1000" y="253"/>
                      <a:pt x="1000" y="253"/>
                      <a:pt x="1000" y="253"/>
                    </a:cubicBezTo>
                    <a:cubicBezTo>
                      <a:pt x="997" y="260"/>
                      <a:pt x="997" y="260"/>
                      <a:pt x="997" y="260"/>
                    </a:cubicBezTo>
                    <a:cubicBezTo>
                      <a:pt x="993" y="263"/>
                      <a:pt x="993" y="263"/>
                      <a:pt x="993" y="263"/>
                    </a:cubicBezTo>
                    <a:cubicBezTo>
                      <a:pt x="991" y="263"/>
                      <a:pt x="991" y="263"/>
                      <a:pt x="991" y="263"/>
                    </a:cubicBezTo>
                    <a:cubicBezTo>
                      <a:pt x="991" y="260"/>
                      <a:pt x="991" y="260"/>
                      <a:pt x="991" y="260"/>
                    </a:cubicBezTo>
                    <a:cubicBezTo>
                      <a:pt x="991" y="257"/>
                      <a:pt x="991" y="257"/>
                      <a:pt x="991" y="257"/>
                    </a:cubicBezTo>
                    <a:cubicBezTo>
                      <a:pt x="987" y="253"/>
                      <a:pt x="987" y="253"/>
                      <a:pt x="987" y="253"/>
                    </a:cubicBezTo>
                    <a:cubicBezTo>
                      <a:pt x="987" y="257"/>
                      <a:pt x="987" y="257"/>
                      <a:pt x="987" y="257"/>
                    </a:cubicBezTo>
                    <a:cubicBezTo>
                      <a:pt x="987" y="262"/>
                      <a:pt x="987" y="262"/>
                      <a:pt x="987" y="262"/>
                    </a:cubicBezTo>
                    <a:cubicBezTo>
                      <a:pt x="988" y="264"/>
                      <a:pt x="988" y="264"/>
                      <a:pt x="988" y="264"/>
                    </a:cubicBezTo>
                    <a:cubicBezTo>
                      <a:pt x="986" y="264"/>
                      <a:pt x="986" y="264"/>
                      <a:pt x="986" y="264"/>
                    </a:cubicBezTo>
                    <a:cubicBezTo>
                      <a:pt x="978" y="265"/>
                      <a:pt x="978" y="265"/>
                      <a:pt x="978" y="265"/>
                    </a:cubicBezTo>
                    <a:cubicBezTo>
                      <a:pt x="973" y="266"/>
                      <a:pt x="973" y="266"/>
                      <a:pt x="973" y="266"/>
                    </a:cubicBezTo>
                    <a:cubicBezTo>
                      <a:pt x="970" y="265"/>
                      <a:pt x="970" y="265"/>
                      <a:pt x="970" y="265"/>
                    </a:cubicBezTo>
                    <a:cubicBezTo>
                      <a:pt x="962" y="266"/>
                      <a:pt x="962" y="266"/>
                      <a:pt x="962" y="266"/>
                    </a:cubicBezTo>
                    <a:cubicBezTo>
                      <a:pt x="961" y="264"/>
                      <a:pt x="961" y="264"/>
                      <a:pt x="961" y="264"/>
                    </a:cubicBezTo>
                    <a:cubicBezTo>
                      <a:pt x="958" y="264"/>
                      <a:pt x="958" y="264"/>
                      <a:pt x="958" y="264"/>
                    </a:cubicBezTo>
                    <a:cubicBezTo>
                      <a:pt x="952" y="269"/>
                      <a:pt x="952" y="269"/>
                      <a:pt x="952" y="269"/>
                    </a:cubicBezTo>
                    <a:cubicBezTo>
                      <a:pt x="948" y="269"/>
                      <a:pt x="948" y="269"/>
                      <a:pt x="948" y="269"/>
                    </a:cubicBezTo>
                    <a:cubicBezTo>
                      <a:pt x="942" y="272"/>
                      <a:pt x="942" y="272"/>
                      <a:pt x="942" y="272"/>
                    </a:cubicBezTo>
                    <a:cubicBezTo>
                      <a:pt x="939" y="273"/>
                      <a:pt x="939" y="273"/>
                      <a:pt x="939" y="273"/>
                    </a:cubicBezTo>
                    <a:cubicBezTo>
                      <a:pt x="936" y="275"/>
                      <a:pt x="936" y="275"/>
                      <a:pt x="936" y="275"/>
                    </a:cubicBezTo>
                    <a:cubicBezTo>
                      <a:pt x="935" y="278"/>
                      <a:pt x="935" y="278"/>
                      <a:pt x="935" y="278"/>
                    </a:cubicBezTo>
                    <a:cubicBezTo>
                      <a:pt x="930" y="281"/>
                      <a:pt x="930" y="281"/>
                      <a:pt x="930" y="281"/>
                    </a:cubicBezTo>
                    <a:cubicBezTo>
                      <a:pt x="932" y="283"/>
                      <a:pt x="932" y="283"/>
                      <a:pt x="932" y="283"/>
                    </a:cubicBezTo>
                    <a:cubicBezTo>
                      <a:pt x="934" y="285"/>
                      <a:pt x="934" y="285"/>
                      <a:pt x="934" y="285"/>
                    </a:cubicBezTo>
                    <a:cubicBezTo>
                      <a:pt x="935" y="287"/>
                      <a:pt x="935" y="287"/>
                      <a:pt x="935" y="287"/>
                    </a:cubicBezTo>
                    <a:cubicBezTo>
                      <a:pt x="933" y="290"/>
                      <a:pt x="933" y="290"/>
                      <a:pt x="933" y="290"/>
                    </a:cubicBezTo>
                    <a:cubicBezTo>
                      <a:pt x="933" y="291"/>
                      <a:pt x="933" y="291"/>
                      <a:pt x="933" y="291"/>
                    </a:cubicBezTo>
                    <a:cubicBezTo>
                      <a:pt x="931" y="295"/>
                      <a:pt x="931" y="295"/>
                      <a:pt x="931" y="295"/>
                    </a:cubicBezTo>
                    <a:cubicBezTo>
                      <a:pt x="932" y="296"/>
                      <a:pt x="932" y="296"/>
                      <a:pt x="932" y="296"/>
                    </a:cubicBezTo>
                    <a:cubicBezTo>
                      <a:pt x="930" y="299"/>
                      <a:pt x="930" y="299"/>
                      <a:pt x="930" y="299"/>
                    </a:cubicBezTo>
                    <a:cubicBezTo>
                      <a:pt x="929" y="303"/>
                      <a:pt x="929" y="303"/>
                      <a:pt x="929" y="303"/>
                    </a:cubicBezTo>
                    <a:cubicBezTo>
                      <a:pt x="927" y="303"/>
                      <a:pt x="927" y="303"/>
                      <a:pt x="927" y="303"/>
                    </a:cubicBezTo>
                    <a:cubicBezTo>
                      <a:pt x="925" y="305"/>
                      <a:pt x="925" y="305"/>
                      <a:pt x="925" y="305"/>
                    </a:cubicBezTo>
                    <a:cubicBezTo>
                      <a:pt x="924" y="310"/>
                      <a:pt x="924" y="310"/>
                      <a:pt x="924" y="310"/>
                    </a:cubicBezTo>
                    <a:cubicBezTo>
                      <a:pt x="921" y="311"/>
                      <a:pt x="921" y="311"/>
                      <a:pt x="921" y="311"/>
                    </a:cubicBezTo>
                    <a:cubicBezTo>
                      <a:pt x="919" y="313"/>
                      <a:pt x="919" y="313"/>
                      <a:pt x="919" y="313"/>
                    </a:cubicBezTo>
                    <a:cubicBezTo>
                      <a:pt x="918" y="313"/>
                      <a:pt x="918" y="313"/>
                      <a:pt x="918" y="313"/>
                    </a:cubicBezTo>
                    <a:cubicBezTo>
                      <a:pt x="917" y="316"/>
                      <a:pt x="917" y="316"/>
                      <a:pt x="917" y="316"/>
                    </a:cubicBezTo>
                    <a:cubicBezTo>
                      <a:pt x="914" y="319"/>
                      <a:pt x="914" y="319"/>
                      <a:pt x="914" y="319"/>
                    </a:cubicBezTo>
                    <a:cubicBezTo>
                      <a:pt x="914" y="318"/>
                      <a:pt x="914" y="318"/>
                      <a:pt x="914" y="318"/>
                    </a:cubicBezTo>
                    <a:cubicBezTo>
                      <a:pt x="911" y="320"/>
                      <a:pt x="911" y="320"/>
                      <a:pt x="911" y="320"/>
                    </a:cubicBezTo>
                    <a:cubicBezTo>
                      <a:pt x="913" y="315"/>
                      <a:pt x="913" y="315"/>
                      <a:pt x="913" y="315"/>
                    </a:cubicBezTo>
                    <a:cubicBezTo>
                      <a:pt x="912" y="314"/>
                      <a:pt x="912" y="314"/>
                      <a:pt x="912" y="314"/>
                    </a:cubicBezTo>
                    <a:cubicBezTo>
                      <a:pt x="909" y="314"/>
                      <a:pt x="909" y="314"/>
                      <a:pt x="909" y="314"/>
                    </a:cubicBezTo>
                    <a:cubicBezTo>
                      <a:pt x="904" y="310"/>
                      <a:pt x="904" y="310"/>
                      <a:pt x="904" y="310"/>
                    </a:cubicBezTo>
                    <a:cubicBezTo>
                      <a:pt x="903" y="307"/>
                      <a:pt x="903" y="307"/>
                      <a:pt x="903" y="307"/>
                    </a:cubicBezTo>
                    <a:cubicBezTo>
                      <a:pt x="904" y="305"/>
                      <a:pt x="904" y="305"/>
                      <a:pt x="904" y="305"/>
                    </a:cubicBezTo>
                    <a:cubicBezTo>
                      <a:pt x="910" y="298"/>
                      <a:pt x="910" y="298"/>
                      <a:pt x="910" y="298"/>
                    </a:cubicBezTo>
                    <a:cubicBezTo>
                      <a:pt x="906" y="300"/>
                      <a:pt x="906" y="300"/>
                      <a:pt x="906" y="300"/>
                    </a:cubicBezTo>
                    <a:cubicBezTo>
                      <a:pt x="903" y="303"/>
                      <a:pt x="903" y="303"/>
                      <a:pt x="903" y="303"/>
                    </a:cubicBezTo>
                    <a:cubicBezTo>
                      <a:pt x="901" y="307"/>
                      <a:pt x="901" y="307"/>
                      <a:pt x="901" y="307"/>
                    </a:cubicBezTo>
                    <a:cubicBezTo>
                      <a:pt x="901" y="310"/>
                      <a:pt x="901" y="310"/>
                      <a:pt x="901" y="310"/>
                    </a:cubicBezTo>
                    <a:cubicBezTo>
                      <a:pt x="903" y="312"/>
                      <a:pt x="903" y="312"/>
                      <a:pt x="903" y="312"/>
                    </a:cubicBezTo>
                    <a:cubicBezTo>
                      <a:pt x="903" y="317"/>
                      <a:pt x="903" y="317"/>
                      <a:pt x="903" y="317"/>
                    </a:cubicBezTo>
                    <a:cubicBezTo>
                      <a:pt x="905" y="319"/>
                      <a:pt x="905" y="319"/>
                      <a:pt x="905" y="319"/>
                    </a:cubicBezTo>
                    <a:cubicBezTo>
                      <a:pt x="908" y="325"/>
                      <a:pt x="908" y="325"/>
                      <a:pt x="908" y="325"/>
                    </a:cubicBezTo>
                    <a:cubicBezTo>
                      <a:pt x="908" y="330"/>
                      <a:pt x="908" y="330"/>
                      <a:pt x="908" y="330"/>
                    </a:cubicBezTo>
                    <a:cubicBezTo>
                      <a:pt x="904" y="337"/>
                      <a:pt x="904" y="337"/>
                      <a:pt x="904" y="337"/>
                    </a:cubicBezTo>
                    <a:cubicBezTo>
                      <a:pt x="900" y="339"/>
                      <a:pt x="900" y="339"/>
                      <a:pt x="900" y="339"/>
                    </a:cubicBezTo>
                    <a:cubicBezTo>
                      <a:pt x="897" y="347"/>
                      <a:pt x="897" y="347"/>
                      <a:pt x="897" y="347"/>
                    </a:cubicBezTo>
                    <a:cubicBezTo>
                      <a:pt x="895" y="350"/>
                      <a:pt x="895" y="350"/>
                      <a:pt x="895" y="350"/>
                    </a:cubicBezTo>
                    <a:cubicBezTo>
                      <a:pt x="895" y="353"/>
                      <a:pt x="895" y="353"/>
                      <a:pt x="895" y="353"/>
                    </a:cubicBezTo>
                    <a:cubicBezTo>
                      <a:pt x="894" y="354"/>
                      <a:pt x="894" y="354"/>
                      <a:pt x="894" y="354"/>
                    </a:cubicBezTo>
                    <a:cubicBezTo>
                      <a:pt x="894" y="353"/>
                      <a:pt x="894" y="353"/>
                      <a:pt x="894" y="353"/>
                    </a:cubicBezTo>
                    <a:cubicBezTo>
                      <a:pt x="893" y="351"/>
                      <a:pt x="893" y="351"/>
                      <a:pt x="893" y="351"/>
                    </a:cubicBezTo>
                    <a:cubicBezTo>
                      <a:pt x="889" y="358"/>
                      <a:pt x="889" y="358"/>
                      <a:pt x="889" y="358"/>
                    </a:cubicBezTo>
                    <a:cubicBezTo>
                      <a:pt x="889" y="360"/>
                      <a:pt x="889" y="360"/>
                      <a:pt x="889" y="360"/>
                    </a:cubicBezTo>
                    <a:cubicBezTo>
                      <a:pt x="888" y="361"/>
                      <a:pt x="888" y="361"/>
                      <a:pt x="888" y="361"/>
                    </a:cubicBezTo>
                    <a:cubicBezTo>
                      <a:pt x="887" y="358"/>
                      <a:pt x="887" y="358"/>
                      <a:pt x="887" y="358"/>
                    </a:cubicBezTo>
                    <a:cubicBezTo>
                      <a:pt x="888" y="354"/>
                      <a:pt x="888" y="354"/>
                      <a:pt x="888" y="354"/>
                    </a:cubicBezTo>
                    <a:cubicBezTo>
                      <a:pt x="891" y="350"/>
                      <a:pt x="891" y="350"/>
                      <a:pt x="891" y="350"/>
                    </a:cubicBezTo>
                    <a:cubicBezTo>
                      <a:pt x="890" y="348"/>
                      <a:pt x="890" y="348"/>
                      <a:pt x="890" y="348"/>
                    </a:cubicBezTo>
                    <a:cubicBezTo>
                      <a:pt x="892" y="345"/>
                      <a:pt x="892" y="345"/>
                      <a:pt x="892" y="345"/>
                    </a:cubicBezTo>
                    <a:cubicBezTo>
                      <a:pt x="892" y="344"/>
                      <a:pt x="892" y="344"/>
                      <a:pt x="892" y="344"/>
                    </a:cubicBezTo>
                    <a:cubicBezTo>
                      <a:pt x="895" y="342"/>
                      <a:pt x="895" y="342"/>
                      <a:pt x="895" y="342"/>
                    </a:cubicBezTo>
                    <a:cubicBezTo>
                      <a:pt x="891" y="342"/>
                      <a:pt x="891" y="342"/>
                      <a:pt x="891" y="342"/>
                    </a:cubicBezTo>
                    <a:cubicBezTo>
                      <a:pt x="889" y="340"/>
                      <a:pt x="889" y="340"/>
                      <a:pt x="889" y="340"/>
                    </a:cubicBezTo>
                    <a:cubicBezTo>
                      <a:pt x="890" y="338"/>
                      <a:pt x="890" y="338"/>
                      <a:pt x="890" y="338"/>
                    </a:cubicBezTo>
                    <a:cubicBezTo>
                      <a:pt x="890" y="337"/>
                      <a:pt x="890" y="337"/>
                      <a:pt x="890" y="337"/>
                    </a:cubicBezTo>
                    <a:cubicBezTo>
                      <a:pt x="889" y="337"/>
                      <a:pt x="889" y="337"/>
                      <a:pt x="889" y="337"/>
                    </a:cubicBezTo>
                    <a:cubicBezTo>
                      <a:pt x="888" y="336"/>
                      <a:pt x="888" y="336"/>
                      <a:pt x="888" y="336"/>
                    </a:cubicBezTo>
                    <a:cubicBezTo>
                      <a:pt x="887" y="337"/>
                      <a:pt x="887" y="337"/>
                      <a:pt x="887" y="337"/>
                    </a:cubicBezTo>
                    <a:cubicBezTo>
                      <a:pt x="884" y="333"/>
                      <a:pt x="884" y="333"/>
                      <a:pt x="884" y="333"/>
                    </a:cubicBezTo>
                    <a:cubicBezTo>
                      <a:pt x="884" y="330"/>
                      <a:pt x="884" y="330"/>
                      <a:pt x="884" y="330"/>
                    </a:cubicBezTo>
                    <a:cubicBezTo>
                      <a:pt x="886" y="326"/>
                      <a:pt x="886" y="326"/>
                      <a:pt x="886" y="326"/>
                    </a:cubicBezTo>
                    <a:cubicBezTo>
                      <a:pt x="887" y="321"/>
                      <a:pt x="887" y="321"/>
                      <a:pt x="887" y="321"/>
                    </a:cubicBezTo>
                    <a:cubicBezTo>
                      <a:pt x="884" y="316"/>
                      <a:pt x="884" y="316"/>
                      <a:pt x="884" y="316"/>
                    </a:cubicBezTo>
                    <a:cubicBezTo>
                      <a:pt x="886" y="312"/>
                      <a:pt x="886" y="312"/>
                      <a:pt x="886" y="312"/>
                    </a:cubicBezTo>
                    <a:cubicBezTo>
                      <a:pt x="889" y="310"/>
                      <a:pt x="889" y="310"/>
                      <a:pt x="889" y="310"/>
                    </a:cubicBezTo>
                    <a:cubicBezTo>
                      <a:pt x="889" y="309"/>
                      <a:pt x="889" y="309"/>
                      <a:pt x="889" y="309"/>
                    </a:cubicBezTo>
                    <a:cubicBezTo>
                      <a:pt x="889" y="305"/>
                      <a:pt x="889" y="305"/>
                      <a:pt x="889" y="305"/>
                    </a:cubicBezTo>
                    <a:cubicBezTo>
                      <a:pt x="888" y="304"/>
                      <a:pt x="888" y="304"/>
                      <a:pt x="888" y="304"/>
                    </a:cubicBezTo>
                    <a:cubicBezTo>
                      <a:pt x="889" y="305"/>
                      <a:pt x="889" y="305"/>
                      <a:pt x="889" y="305"/>
                    </a:cubicBezTo>
                    <a:cubicBezTo>
                      <a:pt x="887" y="308"/>
                      <a:pt x="887" y="308"/>
                      <a:pt x="887" y="308"/>
                    </a:cubicBezTo>
                    <a:cubicBezTo>
                      <a:pt x="884" y="311"/>
                      <a:pt x="884" y="311"/>
                      <a:pt x="884" y="311"/>
                    </a:cubicBezTo>
                    <a:cubicBezTo>
                      <a:pt x="881" y="313"/>
                      <a:pt x="881" y="313"/>
                      <a:pt x="881" y="313"/>
                    </a:cubicBezTo>
                    <a:cubicBezTo>
                      <a:pt x="880" y="313"/>
                      <a:pt x="880" y="313"/>
                      <a:pt x="880" y="313"/>
                    </a:cubicBezTo>
                    <a:cubicBezTo>
                      <a:pt x="881" y="316"/>
                      <a:pt x="881" y="316"/>
                      <a:pt x="881" y="316"/>
                    </a:cubicBezTo>
                    <a:cubicBezTo>
                      <a:pt x="881" y="318"/>
                      <a:pt x="881" y="318"/>
                      <a:pt x="881" y="318"/>
                    </a:cubicBezTo>
                    <a:cubicBezTo>
                      <a:pt x="880" y="323"/>
                      <a:pt x="880" y="323"/>
                      <a:pt x="880" y="323"/>
                    </a:cubicBezTo>
                    <a:cubicBezTo>
                      <a:pt x="881" y="325"/>
                      <a:pt x="881" y="325"/>
                      <a:pt x="881" y="325"/>
                    </a:cubicBezTo>
                    <a:cubicBezTo>
                      <a:pt x="880" y="328"/>
                      <a:pt x="880" y="328"/>
                      <a:pt x="880" y="328"/>
                    </a:cubicBezTo>
                    <a:cubicBezTo>
                      <a:pt x="881" y="331"/>
                      <a:pt x="881" y="331"/>
                      <a:pt x="881" y="331"/>
                    </a:cubicBezTo>
                    <a:cubicBezTo>
                      <a:pt x="880" y="339"/>
                      <a:pt x="880" y="339"/>
                      <a:pt x="880" y="339"/>
                    </a:cubicBezTo>
                    <a:cubicBezTo>
                      <a:pt x="879" y="339"/>
                      <a:pt x="879" y="339"/>
                      <a:pt x="879" y="339"/>
                    </a:cubicBezTo>
                    <a:cubicBezTo>
                      <a:pt x="875" y="334"/>
                      <a:pt x="875" y="334"/>
                      <a:pt x="875" y="334"/>
                    </a:cubicBezTo>
                    <a:cubicBezTo>
                      <a:pt x="871" y="333"/>
                      <a:pt x="871" y="333"/>
                      <a:pt x="871" y="333"/>
                    </a:cubicBezTo>
                    <a:cubicBezTo>
                      <a:pt x="868" y="329"/>
                      <a:pt x="868" y="329"/>
                      <a:pt x="868" y="329"/>
                    </a:cubicBezTo>
                    <a:cubicBezTo>
                      <a:pt x="867" y="329"/>
                      <a:pt x="867" y="329"/>
                      <a:pt x="867" y="329"/>
                    </a:cubicBezTo>
                    <a:cubicBezTo>
                      <a:pt x="866" y="327"/>
                      <a:pt x="866" y="327"/>
                      <a:pt x="866" y="327"/>
                    </a:cubicBezTo>
                    <a:cubicBezTo>
                      <a:pt x="868" y="323"/>
                      <a:pt x="868" y="323"/>
                      <a:pt x="868" y="323"/>
                    </a:cubicBezTo>
                    <a:cubicBezTo>
                      <a:pt x="865" y="327"/>
                      <a:pt x="865" y="327"/>
                      <a:pt x="865" y="327"/>
                    </a:cubicBezTo>
                    <a:cubicBezTo>
                      <a:pt x="865" y="330"/>
                      <a:pt x="865" y="330"/>
                      <a:pt x="865" y="330"/>
                    </a:cubicBezTo>
                    <a:cubicBezTo>
                      <a:pt x="868" y="331"/>
                      <a:pt x="868" y="331"/>
                      <a:pt x="868" y="331"/>
                    </a:cubicBezTo>
                    <a:cubicBezTo>
                      <a:pt x="870" y="335"/>
                      <a:pt x="870" y="335"/>
                      <a:pt x="870" y="335"/>
                    </a:cubicBezTo>
                    <a:cubicBezTo>
                      <a:pt x="874" y="336"/>
                      <a:pt x="874" y="336"/>
                      <a:pt x="874" y="336"/>
                    </a:cubicBezTo>
                    <a:cubicBezTo>
                      <a:pt x="878" y="341"/>
                      <a:pt x="878" y="341"/>
                      <a:pt x="878" y="341"/>
                    </a:cubicBezTo>
                    <a:cubicBezTo>
                      <a:pt x="881" y="343"/>
                      <a:pt x="881" y="343"/>
                      <a:pt x="881" y="343"/>
                    </a:cubicBezTo>
                    <a:cubicBezTo>
                      <a:pt x="882" y="346"/>
                      <a:pt x="882" y="346"/>
                      <a:pt x="882" y="346"/>
                    </a:cubicBezTo>
                    <a:cubicBezTo>
                      <a:pt x="881" y="350"/>
                      <a:pt x="881" y="350"/>
                      <a:pt x="881" y="350"/>
                    </a:cubicBezTo>
                    <a:cubicBezTo>
                      <a:pt x="878" y="350"/>
                      <a:pt x="878" y="350"/>
                      <a:pt x="878" y="350"/>
                    </a:cubicBezTo>
                    <a:cubicBezTo>
                      <a:pt x="877" y="346"/>
                      <a:pt x="877" y="346"/>
                      <a:pt x="877" y="346"/>
                    </a:cubicBezTo>
                    <a:cubicBezTo>
                      <a:pt x="875" y="346"/>
                      <a:pt x="875" y="346"/>
                      <a:pt x="875" y="346"/>
                    </a:cubicBezTo>
                    <a:cubicBezTo>
                      <a:pt x="876" y="350"/>
                      <a:pt x="876" y="350"/>
                      <a:pt x="876" y="350"/>
                    </a:cubicBezTo>
                    <a:cubicBezTo>
                      <a:pt x="881" y="353"/>
                      <a:pt x="881" y="353"/>
                      <a:pt x="881" y="353"/>
                    </a:cubicBezTo>
                    <a:cubicBezTo>
                      <a:pt x="882" y="355"/>
                      <a:pt x="882" y="355"/>
                      <a:pt x="882" y="355"/>
                    </a:cubicBezTo>
                    <a:cubicBezTo>
                      <a:pt x="880" y="356"/>
                      <a:pt x="880" y="356"/>
                      <a:pt x="880" y="356"/>
                    </a:cubicBezTo>
                    <a:cubicBezTo>
                      <a:pt x="880" y="358"/>
                      <a:pt x="880" y="358"/>
                      <a:pt x="880" y="358"/>
                    </a:cubicBezTo>
                    <a:cubicBezTo>
                      <a:pt x="876" y="357"/>
                      <a:pt x="876" y="357"/>
                      <a:pt x="876" y="357"/>
                    </a:cubicBezTo>
                    <a:cubicBezTo>
                      <a:pt x="881" y="361"/>
                      <a:pt x="881" y="361"/>
                      <a:pt x="881" y="361"/>
                    </a:cubicBezTo>
                    <a:cubicBezTo>
                      <a:pt x="880" y="364"/>
                      <a:pt x="880" y="364"/>
                      <a:pt x="880" y="364"/>
                    </a:cubicBezTo>
                    <a:cubicBezTo>
                      <a:pt x="877" y="363"/>
                      <a:pt x="877" y="363"/>
                      <a:pt x="877" y="363"/>
                    </a:cubicBezTo>
                    <a:cubicBezTo>
                      <a:pt x="875" y="359"/>
                      <a:pt x="875" y="359"/>
                      <a:pt x="875" y="359"/>
                    </a:cubicBezTo>
                    <a:cubicBezTo>
                      <a:pt x="871" y="359"/>
                      <a:pt x="871" y="359"/>
                      <a:pt x="871" y="359"/>
                    </a:cubicBezTo>
                    <a:cubicBezTo>
                      <a:pt x="867" y="358"/>
                      <a:pt x="867" y="358"/>
                      <a:pt x="867" y="358"/>
                    </a:cubicBezTo>
                    <a:cubicBezTo>
                      <a:pt x="870" y="361"/>
                      <a:pt x="870" y="361"/>
                      <a:pt x="870" y="361"/>
                    </a:cubicBezTo>
                    <a:cubicBezTo>
                      <a:pt x="873" y="362"/>
                      <a:pt x="873" y="362"/>
                      <a:pt x="873" y="362"/>
                    </a:cubicBezTo>
                    <a:cubicBezTo>
                      <a:pt x="875" y="362"/>
                      <a:pt x="875" y="362"/>
                      <a:pt x="875" y="362"/>
                    </a:cubicBezTo>
                    <a:cubicBezTo>
                      <a:pt x="877" y="367"/>
                      <a:pt x="877" y="367"/>
                      <a:pt x="877" y="367"/>
                    </a:cubicBezTo>
                    <a:cubicBezTo>
                      <a:pt x="880" y="367"/>
                      <a:pt x="880" y="367"/>
                      <a:pt x="880" y="367"/>
                    </a:cubicBezTo>
                    <a:cubicBezTo>
                      <a:pt x="883" y="367"/>
                      <a:pt x="883" y="367"/>
                      <a:pt x="883" y="367"/>
                    </a:cubicBezTo>
                    <a:cubicBezTo>
                      <a:pt x="885" y="368"/>
                      <a:pt x="885" y="368"/>
                      <a:pt x="885" y="368"/>
                    </a:cubicBezTo>
                    <a:cubicBezTo>
                      <a:pt x="886" y="372"/>
                      <a:pt x="886" y="372"/>
                      <a:pt x="886" y="372"/>
                    </a:cubicBezTo>
                    <a:cubicBezTo>
                      <a:pt x="884" y="375"/>
                      <a:pt x="884" y="375"/>
                      <a:pt x="884" y="375"/>
                    </a:cubicBezTo>
                    <a:cubicBezTo>
                      <a:pt x="882" y="374"/>
                      <a:pt x="882" y="374"/>
                      <a:pt x="882" y="374"/>
                    </a:cubicBezTo>
                    <a:cubicBezTo>
                      <a:pt x="882" y="376"/>
                      <a:pt x="882" y="376"/>
                      <a:pt x="882" y="376"/>
                    </a:cubicBezTo>
                    <a:cubicBezTo>
                      <a:pt x="884" y="378"/>
                      <a:pt x="884" y="378"/>
                      <a:pt x="884" y="378"/>
                    </a:cubicBezTo>
                    <a:cubicBezTo>
                      <a:pt x="884" y="382"/>
                      <a:pt x="884" y="382"/>
                      <a:pt x="884" y="382"/>
                    </a:cubicBezTo>
                    <a:cubicBezTo>
                      <a:pt x="883" y="384"/>
                      <a:pt x="883" y="384"/>
                      <a:pt x="883" y="384"/>
                    </a:cubicBezTo>
                    <a:cubicBezTo>
                      <a:pt x="881" y="384"/>
                      <a:pt x="881" y="384"/>
                      <a:pt x="881" y="384"/>
                    </a:cubicBezTo>
                    <a:cubicBezTo>
                      <a:pt x="880" y="385"/>
                      <a:pt x="880" y="385"/>
                      <a:pt x="880" y="385"/>
                    </a:cubicBezTo>
                    <a:cubicBezTo>
                      <a:pt x="875" y="386"/>
                      <a:pt x="875" y="386"/>
                      <a:pt x="875" y="386"/>
                    </a:cubicBezTo>
                    <a:cubicBezTo>
                      <a:pt x="873" y="388"/>
                      <a:pt x="873" y="388"/>
                      <a:pt x="873" y="388"/>
                    </a:cubicBezTo>
                    <a:cubicBezTo>
                      <a:pt x="870" y="387"/>
                      <a:pt x="870" y="387"/>
                      <a:pt x="870" y="387"/>
                    </a:cubicBezTo>
                    <a:cubicBezTo>
                      <a:pt x="868" y="383"/>
                      <a:pt x="868" y="383"/>
                      <a:pt x="868" y="383"/>
                    </a:cubicBezTo>
                    <a:cubicBezTo>
                      <a:pt x="867" y="384"/>
                      <a:pt x="867" y="384"/>
                      <a:pt x="867" y="384"/>
                    </a:cubicBezTo>
                    <a:cubicBezTo>
                      <a:pt x="867" y="389"/>
                      <a:pt x="867" y="389"/>
                      <a:pt x="867" y="389"/>
                    </a:cubicBezTo>
                    <a:cubicBezTo>
                      <a:pt x="866" y="391"/>
                      <a:pt x="866" y="391"/>
                      <a:pt x="866" y="391"/>
                    </a:cubicBezTo>
                    <a:cubicBezTo>
                      <a:pt x="870" y="390"/>
                      <a:pt x="870" y="390"/>
                      <a:pt x="870" y="390"/>
                    </a:cubicBezTo>
                    <a:cubicBezTo>
                      <a:pt x="878" y="389"/>
                      <a:pt x="878" y="389"/>
                      <a:pt x="878" y="389"/>
                    </a:cubicBezTo>
                    <a:cubicBezTo>
                      <a:pt x="879" y="390"/>
                      <a:pt x="879" y="390"/>
                      <a:pt x="879" y="390"/>
                    </a:cubicBezTo>
                    <a:cubicBezTo>
                      <a:pt x="880" y="395"/>
                      <a:pt x="880" y="395"/>
                      <a:pt x="880" y="395"/>
                    </a:cubicBezTo>
                    <a:cubicBezTo>
                      <a:pt x="882" y="396"/>
                      <a:pt x="882" y="396"/>
                      <a:pt x="882" y="396"/>
                    </a:cubicBezTo>
                    <a:cubicBezTo>
                      <a:pt x="882" y="394"/>
                      <a:pt x="882" y="394"/>
                      <a:pt x="882" y="394"/>
                    </a:cubicBezTo>
                    <a:cubicBezTo>
                      <a:pt x="884" y="390"/>
                      <a:pt x="884" y="390"/>
                      <a:pt x="884" y="390"/>
                    </a:cubicBezTo>
                    <a:cubicBezTo>
                      <a:pt x="885" y="390"/>
                      <a:pt x="885" y="390"/>
                      <a:pt x="885" y="390"/>
                    </a:cubicBezTo>
                    <a:cubicBezTo>
                      <a:pt x="886" y="393"/>
                      <a:pt x="886" y="393"/>
                      <a:pt x="886" y="393"/>
                    </a:cubicBezTo>
                    <a:cubicBezTo>
                      <a:pt x="885" y="397"/>
                      <a:pt x="885" y="397"/>
                      <a:pt x="885" y="397"/>
                    </a:cubicBezTo>
                    <a:cubicBezTo>
                      <a:pt x="884" y="397"/>
                      <a:pt x="884" y="397"/>
                      <a:pt x="884" y="397"/>
                    </a:cubicBezTo>
                    <a:cubicBezTo>
                      <a:pt x="880" y="400"/>
                      <a:pt x="880" y="400"/>
                      <a:pt x="880" y="400"/>
                    </a:cubicBezTo>
                    <a:cubicBezTo>
                      <a:pt x="879" y="403"/>
                      <a:pt x="879" y="403"/>
                      <a:pt x="879" y="403"/>
                    </a:cubicBezTo>
                    <a:cubicBezTo>
                      <a:pt x="877" y="404"/>
                      <a:pt x="877" y="404"/>
                      <a:pt x="877" y="404"/>
                    </a:cubicBezTo>
                    <a:cubicBezTo>
                      <a:pt x="875" y="403"/>
                      <a:pt x="875" y="403"/>
                      <a:pt x="875" y="403"/>
                    </a:cubicBezTo>
                    <a:cubicBezTo>
                      <a:pt x="872" y="403"/>
                      <a:pt x="872" y="403"/>
                      <a:pt x="872" y="403"/>
                    </a:cubicBezTo>
                    <a:cubicBezTo>
                      <a:pt x="870" y="399"/>
                      <a:pt x="870" y="399"/>
                      <a:pt x="870" y="399"/>
                    </a:cubicBezTo>
                    <a:cubicBezTo>
                      <a:pt x="870" y="402"/>
                      <a:pt x="870" y="402"/>
                      <a:pt x="870" y="402"/>
                    </a:cubicBezTo>
                    <a:cubicBezTo>
                      <a:pt x="867" y="403"/>
                      <a:pt x="867" y="403"/>
                      <a:pt x="867" y="403"/>
                    </a:cubicBezTo>
                    <a:cubicBezTo>
                      <a:pt x="865" y="402"/>
                      <a:pt x="865" y="402"/>
                      <a:pt x="865" y="402"/>
                    </a:cubicBezTo>
                    <a:cubicBezTo>
                      <a:pt x="862" y="401"/>
                      <a:pt x="862" y="401"/>
                      <a:pt x="862" y="401"/>
                    </a:cubicBezTo>
                    <a:cubicBezTo>
                      <a:pt x="864" y="404"/>
                      <a:pt x="864" y="404"/>
                      <a:pt x="864" y="404"/>
                    </a:cubicBezTo>
                    <a:cubicBezTo>
                      <a:pt x="869" y="405"/>
                      <a:pt x="869" y="405"/>
                      <a:pt x="869" y="405"/>
                    </a:cubicBezTo>
                    <a:cubicBezTo>
                      <a:pt x="870" y="406"/>
                      <a:pt x="870" y="406"/>
                      <a:pt x="870" y="406"/>
                    </a:cubicBezTo>
                    <a:cubicBezTo>
                      <a:pt x="868" y="408"/>
                      <a:pt x="868" y="408"/>
                      <a:pt x="868" y="408"/>
                    </a:cubicBezTo>
                    <a:cubicBezTo>
                      <a:pt x="869" y="409"/>
                      <a:pt x="869" y="409"/>
                      <a:pt x="869" y="409"/>
                    </a:cubicBezTo>
                    <a:cubicBezTo>
                      <a:pt x="864" y="412"/>
                      <a:pt x="864" y="412"/>
                      <a:pt x="864" y="412"/>
                    </a:cubicBezTo>
                    <a:cubicBezTo>
                      <a:pt x="860" y="410"/>
                      <a:pt x="860" y="410"/>
                      <a:pt x="860" y="410"/>
                    </a:cubicBezTo>
                    <a:cubicBezTo>
                      <a:pt x="863" y="413"/>
                      <a:pt x="863" y="413"/>
                      <a:pt x="863" y="413"/>
                    </a:cubicBezTo>
                    <a:cubicBezTo>
                      <a:pt x="868" y="413"/>
                      <a:pt x="868" y="413"/>
                      <a:pt x="868" y="413"/>
                    </a:cubicBezTo>
                    <a:cubicBezTo>
                      <a:pt x="871" y="410"/>
                      <a:pt x="871" y="410"/>
                      <a:pt x="871" y="410"/>
                    </a:cubicBezTo>
                    <a:cubicBezTo>
                      <a:pt x="872" y="412"/>
                      <a:pt x="872" y="412"/>
                      <a:pt x="872" y="412"/>
                    </a:cubicBezTo>
                    <a:cubicBezTo>
                      <a:pt x="874" y="412"/>
                      <a:pt x="874" y="412"/>
                      <a:pt x="874" y="412"/>
                    </a:cubicBezTo>
                    <a:cubicBezTo>
                      <a:pt x="870" y="416"/>
                      <a:pt x="870" y="416"/>
                      <a:pt x="870" y="416"/>
                    </a:cubicBezTo>
                    <a:cubicBezTo>
                      <a:pt x="867" y="416"/>
                      <a:pt x="867" y="416"/>
                      <a:pt x="867" y="416"/>
                    </a:cubicBezTo>
                    <a:cubicBezTo>
                      <a:pt x="866" y="415"/>
                      <a:pt x="866" y="415"/>
                      <a:pt x="866" y="415"/>
                    </a:cubicBezTo>
                    <a:cubicBezTo>
                      <a:pt x="864" y="415"/>
                      <a:pt x="864" y="415"/>
                      <a:pt x="864" y="415"/>
                    </a:cubicBezTo>
                    <a:cubicBezTo>
                      <a:pt x="863" y="416"/>
                      <a:pt x="863" y="416"/>
                      <a:pt x="863" y="416"/>
                    </a:cubicBezTo>
                    <a:cubicBezTo>
                      <a:pt x="858" y="417"/>
                      <a:pt x="858" y="417"/>
                      <a:pt x="858" y="417"/>
                    </a:cubicBezTo>
                    <a:cubicBezTo>
                      <a:pt x="849" y="422"/>
                      <a:pt x="849" y="422"/>
                      <a:pt x="849" y="422"/>
                    </a:cubicBezTo>
                    <a:cubicBezTo>
                      <a:pt x="839" y="429"/>
                      <a:pt x="839" y="429"/>
                      <a:pt x="839" y="429"/>
                    </a:cubicBezTo>
                    <a:cubicBezTo>
                      <a:pt x="836" y="435"/>
                      <a:pt x="836" y="435"/>
                      <a:pt x="836" y="435"/>
                    </a:cubicBezTo>
                    <a:cubicBezTo>
                      <a:pt x="835" y="435"/>
                      <a:pt x="835" y="435"/>
                      <a:pt x="835" y="435"/>
                    </a:cubicBezTo>
                    <a:cubicBezTo>
                      <a:pt x="833" y="434"/>
                      <a:pt x="833" y="434"/>
                      <a:pt x="833" y="434"/>
                    </a:cubicBezTo>
                    <a:cubicBezTo>
                      <a:pt x="827" y="435"/>
                      <a:pt x="827" y="435"/>
                      <a:pt x="827" y="435"/>
                    </a:cubicBezTo>
                    <a:cubicBezTo>
                      <a:pt x="823" y="438"/>
                      <a:pt x="823" y="438"/>
                      <a:pt x="823" y="438"/>
                    </a:cubicBezTo>
                    <a:cubicBezTo>
                      <a:pt x="816" y="447"/>
                      <a:pt x="816" y="447"/>
                      <a:pt x="816" y="447"/>
                    </a:cubicBezTo>
                    <a:cubicBezTo>
                      <a:pt x="816" y="449"/>
                      <a:pt x="816" y="449"/>
                      <a:pt x="816" y="449"/>
                    </a:cubicBezTo>
                    <a:cubicBezTo>
                      <a:pt x="813" y="452"/>
                      <a:pt x="813" y="452"/>
                      <a:pt x="813" y="452"/>
                    </a:cubicBezTo>
                    <a:cubicBezTo>
                      <a:pt x="811" y="452"/>
                      <a:pt x="811" y="452"/>
                      <a:pt x="811" y="452"/>
                    </a:cubicBezTo>
                    <a:cubicBezTo>
                      <a:pt x="811" y="454"/>
                      <a:pt x="811" y="454"/>
                      <a:pt x="811" y="454"/>
                    </a:cubicBezTo>
                    <a:cubicBezTo>
                      <a:pt x="807" y="458"/>
                      <a:pt x="807" y="458"/>
                      <a:pt x="807" y="458"/>
                    </a:cubicBezTo>
                    <a:cubicBezTo>
                      <a:pt x="805" y="457"/>
                      <a:pt x="805" y="457"/>
                      <a:pt x="805" y="457"/>
                    </a:cubicBezTo>
                    <a:cubicBezTo>
                      <a:pt x="803" y="457"/>
                      <a:pt x="803" y="457"/>
                      <a:pt x="803" y="457"/>
                    </a:cubicBezTo>
                    <a:cubicBezTo>
                      <a:pt x="802" y="459"/>
                      <a:pt x="802" y="459"/>
                      <a:pt x="802" y="459"/>
                    </a:cubicBezTo>
                    <a:cubicBezTo>
                      <a:pt x="798" y="459"/>
                      <a:pt x="798" y="459"/>
                      <a:pt x="798" y="459"/>
                    </a:cubicBezTo>
                    <a:cubicBezTo>
                      <a:pt x="796" y="461"/>
                      <a:pt x="796" y="461"/>
                      <a:pt x="796" y="461"/>
                    </a:cubicBezTo>
                    <a:cubicBezTo>
                      <a:pt x="790" y="462"/>
                      <a:pt x="790" y="462"/>
                      <a:pt x="790" y="462"/>
                    </a:cubicBezTo>
                    <a:cubicBezTo>
                      <a:pt x="789" y="464"/>
                      <a:pt x="789" y="464"/>
                      <a:pt x="789" y="464"/>
                    </a:cubicBezTo>
                    <a:cubicBezTo>
                      <a:pt x="786" y="464"/>
                      <a:pt x="786" y="464"/>
                      <a:pt x="786" y="464"/>
                    </a:cubicBezTo>
                    <a:cubicBezTo>
                      <a:pt x="785" y="466"/>
                      <a:pt x="785" y="466"/>
                      <a:pt x="785" y="466"/>
                    </a:cubicBezTo>
                    <a:cubicBezTo>
                      <a:pt x="780" y="466"/>
                      <a:pt x="780" y="466"/>
                      <a:pt x="780" y="466"/>
                    </a:cubicBezTo>
                    <a:cubicBezTo>
                      <a:pt x="779" y="467"/>
                      <a:pt x="779" y="467"/>
                      <a:pt x="779" y="467"/>
                    </a:cubicBezTo>
                    <a:cubicBezTo>
                      <a:pt x="781" y="468"/>
                      <a:pt x="781" y="468"/>
                      <a:pt x="781" y="468"/>
                    </a:cubicBezTo>
                    <a:cubicBezTo>
                      <a:pt x="780" y="471"/>
                      <a:pt x="780" y="471"/>
                      <a:pt x="780" y="471"/>
                    </a:cubicBezTo>
                    <a:cubicBezTo>
                      <a:pt x="778" y="475"/>
                      <a:pt x="778" y="475"/>
                      <a:pt x="778" y="475"/>
                    </a:cubicBezTo>
                    <a:cubicBezTo>
                      <a:pt x="776" y="475"/>
                      <a:pt x="776" y="475"/>
                      <a:pt x="776" y="475"/>
                    </a:cubicBezTo>
                    <a:cubicBezTo>
                      <a:pt x="774" y="477"/>
                      <a:pt x="774" y="477"/>
                      <a:pt x="774" y="477"/>
                    </a:cubicBezTo>
                    <a:cubicBezTo>
                      <a:pt x="771" y="478"/>
                      <a:pt x="771" y="478"/>
                      <a:pt x="771" y="478"/>
                    </a:cubicBezTo>
                    <a:cubicBezTo>
                      <a:pt x="768" y="483"/>
                      <a:pt x="768" y="483"/>
                      <a:pt x="768" y="483"/>
                    </a:cubicBezTo>
                    <a:cubicBezTo>
                      <a:pt x="765" y="489"/>
                      <a:pt x="765" y="489"/>
                      <a:pt x="765" y="489"/>
                    </a:cubicBezTo>
                    <a:cubicBezTo>
                      <a:pt x="765" y="495"/>
                      <a:pt x="765" y="495"/>
                      <a:pt x="765" y="495"/>
                    </a:cubicBezTo>
                    <a:cubicBezTo>
                      <a:pt x="764" y="506"/>
                      <a:pt x="764" y="506"/>
                      <a:pt x="764" y="506"/>
                    </a:cubicBezTo>
                    <a:cubicBezTo>
                      <a:pt x="765" y="512"/>
                      <a:pt x="765" y="512"/>
                      <a:pt x="765" y="512"/>
                    </a:cubicBezTo>
                    <a:cubicBezTo>
                      <a:pt x="763" y="520"/>
                      <a:pt x="763" y="520"/>
                      <a:pt x="763" y="520"/>
                    </a:cubicBezTo>
                    <a:cubicBezTo>
                      <a:pt x="766" y="525"/>
                      <a:pt x="766" y="525"/>
                      <a:pt x="766" y="525"/>
                    </a:cubicBezTo>
                    <a:cubicBezTo>
                      <a:pt x="766" y="533"/>
                      <a:pt x="766" y="533"/>
                      <a:pt x="766" y="533"/>
                    </a:cubicBezTo>
                    <a:cubicBezTo>
                      <a:pt x="768" y="536"/>
                      <a:pt x="768" y="536"/>
                      <a:pt x="768" y="536"/>
                    </a:cubicBezTo>
                    <a:cubicBezTo>
                      <a:pt x="770" y="545"/>
                      <a:pt x="770" y="545"/>
                      <a:pt x="770" y="545"/>
                    </a:cubicBezTo>
                    <a:cubicBezTo>
                      <a:pt x="772" y="548"/>
                      <a:pt x="772" y="548"/>
                      <a:pt x="772" y="548"/>
                    </a:cubicBezTo>
                    <a:cubicBezTo>
                      <a:pt x="774" y="552"/>
                      <a:pt x="774" y="552"/>
                      <a:pt x="774" y="552"/>
                    </a:cubicBezTo>
                    <a:cubicBezTo>
                      <a:pt x="772" y="556"/>
                      <a:pt x="772" y="556"/>
                      <a:pt x="772" y="556"/>
                    </a:cubicBezTo>
                    <a:cubicBezTo>
                      <a:pt x="772" y="561"/>
                      <a:pt x="772" y="561"/>
                      <a:pt x="772" y="561"/>
                    </a:cubicBezTo>
                    <a:cubicBezTo>
                      <a:pt x="773" y="563"/>
                      <a:pt x="773" y="563"/>
                      <a:pt x="773" y="563"/>
                    </a:cubicBezTo>
                    <a:cubicBezTo>
                      <a:pt x="775" y="575"/>
                      <a:pt x="775" y="575"/>
                      <a:pt x="775" y="575"/>
                    </a:cubicBezTo>
                    <a:cubicBezTo>
                      <a:pt x="779" y="578"/>
                      <a:pt x="779" y="578"/>
                      <a:pt x="779" y="578"/>
                    </a:cubicBezTo>
                    <a:cubicBezTo>
                      <a:pt x="780" y="583"/>
                      <a:pt x="780" y="583"/>
                      <a:pt x="780" y="583"/>
                    </a:cubicBezTo>
                    <a:cubicBezTo>
                      <a:pt x="778" y="585"/>
                      <a:pt x="778" y="585"/>
                      <a:pt x="778" y="585"/>
                    </a:cubicBezTo>
                    <a:cubicBezTo>
                      <a:pt x="779" y="587"/>
                      <a:pt x="779" y="587"/>
                      <a:pt x="779" y="587"/>
                    </a:cubicBezTo>
                    <a:cubicBezTo>
                      <a:pt x="778" y="593"/>
                      <a:pt x="778" y="593"/>
                      <a:pt x="778" y="593"/>
                    </a:cubicBezTo>
                    <a:cubicBezTo>
                      <a:pt x="777" y="595"/>
                      <a:pt x="777" y="595"/>
                      <a:pt x="777" y="595"/>
                    </a:cubicBezTo>
                    <a:cubicBezTo>
                      <a:pt x="778" y="598"/>
                      <a:pt x="778" y="598"/>
                      <a:pt x="778" y="598"/>
                    </a:cubicBezTo>
                    <a:cubicBezTo>
                      <a:pt x="774" y="605"/>
                      <a:pt x="774" y="605"/>
                      <a:pt x="774" y="605"/>
                    </a:cubicBezTo>
                    <a:cubicBezTo>
                      <a:pt x="773" y="609"/>
                      <a:pt x="773" y="609"/>
                      <a:pt x="773" y="609"/>
                    </a:cubicBezTo>
                    <a:cubicBezTo>
                      <a:pt x="770" y="612"/>
                      <a:pt x="770" y="612"/>
                      <a:pt x="770" y="612"/>
                    </a:cubicBezTo>
                    <a:cubicBezTo>
                      <a:pt x="770" y="617"/>
                      <a:pt x="770" y="617"/>
                      <a:pt x="770" y="617"/>
                    </a:cubicBezTo>
                    <a:cubicBezTo>
                      <a:pt x="766" y="618"/>
                      <a:pt x="766" y="618"/>
                      <a:pt x="766" y="618"/>
                    </a:cubicBezTo>
                    <a:cubicBezTo>
                      <a:pt x="763" y="619"/>
                      <a:pt x="763" y="619"/>
                      <a:pt x="763" y="619"/>
                    </a:cubicBezTo>
                    <a:cubicBezTo>
                      <a:pt x="759" y="618"/>
                      <a:pt x="759" y="618"/>
                      <a:pt x="759" y="618"/>
                    </a:cubicBezTo>
                    <a:cubicBezTo>
                      <a:pt x="757" y="616"/>
                      <a:pt x="757" y="616"/>
                      <a:pt x="757" y="616"/>
                    </a:cubicBezTo>
                    <a:cubicBezTo>
                      <a:pt x="753" y="615"/>
                      <a:pt x="753" y="615"/>
                      <a:pt x="753" y="615"/>
                    </a:cubicBezTo>
                    <a:cubicBezTo>
                      <a:pt x="756" y="614"/>
                      <a:pt x="756" y="614"/>
                      <a:pt x="756" y="614"/>
                    </a:cubicBezTo>
                    <a:cubicBezTo>
                      <a:pt x="751" y="610"/>
                      <a:pt x="751" y="610"/>
                      <a:pt x="751" y="610"/>
                    </a:cubicBezTo>
                    <a:cubicBezTo>
                      <a:pt x="752" y="607"/>
                      <a:pt x="752" y="607"/>
                      <a:pt x="752" y="607"/>
                    </a:cubicBezTo>
                    <a:cubicBezTo>
                      <a:pt x="750" y="605"/>
                      <a:pt x="750" y="605"/>
                      <a:pt x="750" y="605"/>
                    </a:cubicBezTo>
                    <a:cubicBezTo>
                      <a:pt x="747" y="605"/>
                      <a:pt x="747" y="605"/>
                      <a:pt x="747" y="605"/>
                    </a:cubicBezTo>
                    <a:cubicBezTo>
                      <a:pt x="745" y="603"/>
                      <a:pt x="745" y="603"/>
                      <a:pt x="745" y="603"/>
                    </a:cubicBezTo>
                    <a:cubicBezTo>
                      <a:pt x="746" y="598"/>
                      <a:pt x="746" y="598"/>
                      <a:pt x="746" y="598"/>
                    </a:cubicBezTo>
                    <a:cubicBezTo>
                      <a:pt x="745" y="595"/>
                      <a:pt x="745" y="595"/>
                      <a:pt x="745" y="595"/>
                    </a:cubicBezTo>
                    <a:cubicBezTo>
                      <a:pt x="740" y="591"/>
                      <a:pt x="740" y="591"/>
                      <a:pt x="740" y="591"/>
                    </a:cubicBezTo>
                    <a:cubicBezTo>
                      <a:pt x="740" y="589"/>
                      <a:pt x="740" y="589"/>
                      <a:pt x="740" y="589"/>
                    </a:cubicBezTo>
                    <a:cubicBezTo>
                      <a:pt x="742" y="587"/>
                      <a:pt x="742" y="587"/>
                      <a:pt x="742" y="587"/>
                    </a:cubicBezTo>
                    <a:cubicBezTo>
                      <a:pt x="742" y="584"/>
                      <a:pt x="742" y="584"/>
                      <a:pt x="742" y="584"/>
                    </a:cubicBezTo>
                    <a:cubicBezTo>
                      <a:pt x="745" y="582"/>
                      <a:pt x="745" y="582"/>
                      <a:pt x="745" y="582"/>
                    </a:cubicBezTo>
                    <a:cubicBezTo>
                      <a:pt x="741" y="582"/>
                      <a:pt x="741" y="582"/>
                      <a:pt x="741" y="582"/>
                    </a:cubicBezTo>
                    <a:cubicBezTo>
                      <a:pt x="740" y="581"/>
                      <a:pt x="740" y="581"/>
                      <a:pt x="740" y="581"/>
                    </a:cubicBezTo>
                    <a:cubicBezTo>
                      <a:pt x="740" y="583"/>
                      <a:pt x="740" y="583"/>
                      <a:pt x="740" y="583"/>
                    </a:cubicBezTo>
                    <a:cubicBezTo>
                      <a:pt x="739" y="585"/>
                      <a:pt x="739" y="585"/>
                      <a:pt x="739" y="585"/>
                    </a:cubicBezTo>
                    <a:cubicBezTo>
                      <a:pt x="738" y="581"/>
                      <a:pt x="738" y="581"/>
                      <a:pt x="738" y="581"/>
                    </a:cubicBezTo>
                    <a:cubicBezTo>
                      <a:pt x="736" y="582"/>
                      <a:pt x="736" y="582"/>
                      <a:pt x="736" y="582"/>
                    </a:cubicBezTo>
                    <a:cubicBezTo>
                      <a:pt x="735" y="580"/>
                      <a:pt x="735" y="580"/>
                      <a:pt x="735" y="580"/>
                    </a:cubicBezTo>
                    <a:cubicBezTo>
                      <a:pt x="733" y="577"/>
                      <a:pt x="733" y="577"/>
                      <a:pt x="733" y="577"/>
                    </a:cubicBezTo>
                    <a:cubicBezTo>
                      <a:pt x="733" y="574"/>
                      <a:pt x="733" y="574"/>
                      <a:pt x="733" y="574"/>
                    </a:cubicBezTo>
                    <a:cubicBezTo>
                      <a:pt x="732" y="571"/>
                      <a:pt x="732" y="571"/>
                      <a:pt x="732" y="571"/>
                    </a:cubicBezTo>
                    <a:cubicBezTo>
                      <a:pt x="736" y="565"/>
                      <a:pt x="736" y="565"/>
                      <a:pt x="736" y="565"/>
                    </a:cubicBezTo>
                    <a:cubicBezTo>
                      <a:pt x="736" y="561"/>
                      <a:pt x="736" y="561"/>
                      <a:pt x="736" y="561"/>
                    </a:cubicBezTo>
                    <a:cubicBezTo>
                      <a:pt x="733" y="560"/>
                      <a:pt x="733" y="560"/>
                      <a:pt x="733" y="560"/>
                    </a:cubicBezTo>
                    <a:cubicBezTo>
                      <a:pt x="732" y="561"/>
                      <a:pt x="732" y="561"/>
                      <a:pt x="732" y="561"/>
                    </a:cubicBezTo>
                    <a:cubicBezTo>
                      <a:pt x="733" y="563"/>
                      <a:pt x="733" y="563"/>
                      <a:pt x="733" y="563"/>
                    </a:cubicBezTo>
                    <a:cubicBezTo>
                      <a:pt x="730" y="566"/>
                      <a:pt x="730" y="566"/>
                      <a:pt x="730" y="566"/>
                    </a:cubicBezTo>
                    <a:cubicBezTo>
                      <a:pt x="729" y="567"/>
                      <a:pt x="729" y="567"/>
                      <a:pt x="729" y="567"/>
                    </a:cubicBezTo>
                    <a:cubicBezTo>
                      <a:pt x="727" y="563"/>
                      <a:pt x="727" y="563"/>
                      <a:pt x="727" y="563"/>
                    </a:cubicBezTo>
                    <a:cubicBezTo>
                      <a:pt x="727" y="560"/>
                      <a:pt x="727" y="560"/>
                      <a:pt x="727" y="560"/>
                    </a:cubicBezTo>
                    <a:cubicBezTo>
                      <a:pt x="731" y="554"/>
                      <a:pt x="731" y="554"/>
                      <a:pt x="731" y="554"/>
                    </a:cubicBezTo>
                    <a:cubicBezTo>
                      <a:pt x="734" y="545"/>
                      <a:pt x="734" y="545"/>
                      <a:pt x="734" y="545"/>
                    </a:cubicBezTo>
                    <a:cubicBezTo>
                      <a:pt x="734" y="541"/>
                      <a:pt x="734" y="541"/>
                      <a:pt x="734" y="541"/>
                    </a:cubicBezTo>
                    <a:cubicBezTo>
                      <a:pt x="731" y="536"/>
                      <a:pt x="731" y="536"/>
                      <a:pt x="731" y="536"/>
                    </a:cubicBezTo>
                    <a:cubicBezTo>
                      <a:pt x="729" y="536"/>
                      <a:pt x="729" y="536"/>
                      <a:pt x="729" y="536"/>
                    </a:cubicBezTo>
                    <a:cubicBezTo>
                      <a:pt x="727" y="533"/>
                      <a:pt x="727" y="533"/>
                      <a:pt x="727" y="533"/>
                    </a:cubicBezTo>
                    <a:cubicBezTo>
                      <a:pt x="727" y="532"/>
                      <a:pt x="727" y="532"/>
                      <a:pt x="727" y="532"/>
                    </a:cubicBezTo>
                    <a:cubicBezTo>
                      <a:pt x="725" y="532"/>
                      <a:pt x="725" y="532"/>
                      <a:pt x="725" y="532"/>
                    </a:cubicBezTo>
                    <a:cubicBezTo>
                      <a:pt x="723" y="530"/>
                      <a:pt x="723" y="530"/>
                      <a:pt x="723" y="530"/>
                    </a:cubicBezTo>
                    <a:cubicBezTo>
                      <a:pt x="722" y="526"/>
                      <a:pt x="722" y="526"/>
                      <a:pt x="722" y="526"/>
                    </a:cubicBezTo>
                    <a:cubicBezTo>
                      <a:pt x="721" y="525"/>
                      <a:pt x="721" y="525"/>
                      <a:pt x="721" y="525"/>
                    </a:cubicBezTo>
                    <a:cubicBezTo>
                      <a:pt x="719" y="523"/>
                      <a:pt x="719" y="523"/>
                      <a:pt x="719" y="523"/>
                    </a:cubicBezTo>
                    <a:cubicBezTo>
                      <a:pt x="717" y="517"/>
                      <a:pt x="717" y="517"/>
                      <a:pt x="717" y="517"/>
                    </a:cubicBezTo>
                    <a:cubicBezTo>
                      <a:pt x="712" y="516"/>
                      <a:pt x="712" y="516"/>
                      <a:pt x="712" y="516"/>
                    </a:cubicBezTo>
                    <a:cubicBezTo>
                      <a:pt x="710" y="514"/>
                      <a:pt x="710" y="514"/>
                      <a:pt x="710" y="514"/>
                    </a:cubicBezTo>
                    <a:cubicBezTo>
                      <a:pt x="706" y="515"/>
                      <a:pt x="706" y="515"/>
                      <a:pt x="706" y="515"/>
                    </a:cubicBezTo>
                    <a:cubicBezTo>
                      <a:pt x="704" y="517"/>
                      <a:pt x="704" y="517"/>
                      <a:pt x="704" y="517"/>
                    </a:cubicBezTo>
                    <a:cubicBezTo>
                      <a:pt x="704" y="518"/>
                      <a:pt x="704" y="518"/>
                      <a:pt x="704" y="518"/>
                    </a:cubicBezTo>
                    <a:cubicBezTo>
                      <a:pt x="703" y="518"/>
                      <a:pt x="703" y="518"/>
                      <a:pt x="703" y="518"/>
                    </a:cubicBezTo>
                    <a:cubicBezTo>
                      <a:pt x="701" y="518"/>
                      <a:pt x="701" y="518"/>
                      <a:pt x="701" y="518"/>
                    </a:cubicBezTo>
                    <a:cubicBezTo>
                      <a:pt x="696" y="522"/>
                      <a:pt x="696" y="522"/>
                      <a:pt x="696" y="522"/>
                    </a:cubicBezTo>
                    <a:cubicBezTo>
                      <a:pt x="693" y="523"/>
                      <a:pt x="693" y="523"/>
                      <a:pt x="693" y="523"/>
                    </a:cubicBezTo>
                    <a:cubicBezTo>
                      <a:pt x="687" y="523"/>
                      <a:pt x="687" y="523"/>
                      <a:pt x="687" y="523"/>
                    </a:cubicBezTo>
                    <a:cubicBezTo>
                      <a:pt x="686" y="522"/>
                      <a:pt x="686" y="522"/>
                      <a:pt x="686" y="522"/>
                    </a:cubicBezTo>
                    <a:cubicBezTo>
                      <a:pt x="687" y="521"/>
                      <a:pt x="687" y="521"/>
                      <a:pt x="687" y="521"/>
                    </a:cubicBezTo>
                    <a:cubicBezTo>
                      <a:pt x="687" y="522"/>
                      <a:pt x="687" y="522"/>
                      <a:pt x="687" y="522"/>
                    </a:cubicBezTo>
                    <a:cubicBezTo>
                      <a:pt x="688" y="522"/>
                      <a:pt x="688" y="522"/>
                      <a:pt x="688" y="522"/>
                    </a:cubicBezTo>
                    <a:cubicBezTo>
                      <a:pt x="687" y="520"/>
                      <a:pt x="687" y="520"/>
                      <a:pt x="687" y="520"/>
                    </a:cubicBezTo>
                    <a:cubicBezTo>
                      <a:pt x="686" y="517"/>
                      <a:pt x="686" y="517"/>
                      <a:pt x="686" y="517"/>
                    </a:cubicBezTo>
                    <a:cubicBezTo>
                      <a:pt x="681" y="514"/>
                      <a:pt x="681" y="514"/>
                      <a:pt x="681" y="514"/>
                    </a:cubicBezTo>
                    <a:cubicBezTo>
                      <a:pt x="681" y="514"/>
                      <a:pt x="681" y="514"/>
                      <a:pt x="681" y="514"/>
                    </a:cubicBezTo>
                    <a:cubicBezTo>
                      <a:pt x="684" y="515"/>
                      <a:pt x="684" y="515"/>
                      <a:pt x="684" y="515"/>
                    </a:cubicBezTo>
                    <a:cubicBezTo>
                      <a:pt x="685" y="514"/>
                      <a:pt x="685" y="514"/>
                      <a:pt x="685" y="514"/>
                    </a:cubicBezTo>
                    <a:cubicBezTo>
                      <a:pt x="681" y="511"/>
                      <a:pt x="681" y="511"/>
                      <a:pt x="681" y="511"/>
                    </a:cubicBezTo>
                    <a:cubicBezTo>
                      <a:pt x="680" y="509"/>
                      <a:pt x="680" y="509"/>
                      <a:pt x="680" y="509"/>
                    </a:cubicBezTo>
                    <a:cubicBezTo>
                      <a:pt x="679" y="509"/>
                      <a:pt x="679" y="509"/>
                      <a:pt x="679" y="509"/>
                    </a:cubicBezTo>
                    <a:cubicBezTo>
                      <a:pt x="678" y="511"/>
                      <a:pt x="678" y="511"/>
                      <a:pt x="678" y="511"/>
                    </a:cubicBezTo>
                    <a:cubicBezTo>
                      <a:pt x="680" y="513"/>
                      <a:pt x="680" y="513"/>
                      <a:pt x="680" y="513"/>
                    </a:cubicBezTo>
                    <a:cubicBezTo>
                      <a:pt x="677" y="512"/>
                      <a:pt x="677" y="512"/>
                      <a:pt x="677" y="512"/>
                    </a:cubicBezTo>
                    <a:cubicBezTo>
                      <a:pt x="674" y="509"/>
                      <a:pt x="674" y="509"/>
                      <a:pt x="674" y="509"/>
                    </a:cubicBezTo>
                    <a:cubicBezTo>
                      <a:pt x="669" y="509"/>
                      <a:pt x="669" y="509"/>
                      <a:pt x="669" y="509"/>
                    </a:cubicBezTo>
                    <a:cubicBezTo>
                      <a:pt x="664" y="509"/>
                      <a:pt x="664" y="509"/>
                      <a:pt x="664" y="509"/>
                    </a:cubicBezTo>
                    <a:cubicBezTo>
                      <a:pt x="665" y="508"/>
                      <a:pt x="665" y="508"/>
                      <a:pt x="665" y="508"/>
                    </a:cubicBezTo>
                    <a:cubicBezTo>
                      <a:pt x="669" y="508"/>
                      <a:pt x="669" y="508"/>
                      <a:pt x="669" y="508"/>
                    </a:cubicBezTo>
                    <a:cubicBezTo>
                      <a:pt x="672" y="507"/>
                      <a:pt x="672" y="507"/>
                      <a:pt x="672" y="507"/>
                    </a:cubicBezTo>
                    <a:cubicBezTo>
                      <a:pt x="671" y="506"/>
                      <a:pt x="671" y="506"/>
                      <a:pt x="671" y="506"/>
                    </a:cubicBezTo>
                    <a:cubicBezTo>
                      <a:pt x="667" y="506"/>
                      <a:pt x="667" y="506"/>
                      <a:pt x="667" y="506"/>
                    </a:cubicBezTo>
                    <a:cubicBezTo>
                      <a:pt x="662" y="509"/>
                      <a:pt x="662" y="509"/>
                      <a:pt x="662" y="509"/>
                    </a:cubicBezTo>
                    <a:cubicBezTo>
                      <a:pt x="661" y="508"/>
                      <a:pt x="661" y="508"/>
                      <a:pt x="661" y="508"/>
                    </a:cubicBezTo>
                    <a:cubicBezTo>
                      <a:pt x="655" y="509"/>
                      <a:pt x="655" y="509"/>
                      <a:pt x="655" y="509"/>
                    </a:cubicBezTo>
                    <a:cubicBezTo>
                      <a:pt x="653" y="507"/>
                      <a:pt x="653" y="507"/>
                      <a:pt x="653" y="507"/>
                    </a:cubicBezTo>
                    <a:cubicBezTo>
                      <a:pt x="650" y="508"/>
                      <a:pt x="650" y="508"/>
                      <a:pt x="650" y="508"/>
                    </a:cubicBezTo>
                    <a:cubicBezTo>
                      <a:pt x="644" y="508"/>
                      <a:pt x="644" y="508"/>
                      <a:pt x="644" y="508"/>
                    </a:cubicBezTo>
                    <a:cubicBezTo>
                      <a:pt x="641" y="509"/>
                      <a:pt x="641" y="509"/>
                      <a:pt x="641" y="509"/>
                    </a:cubicBezTo>
                    <a:cubicBezTo>
                      <a:pt x="638" y="506"/>
                      <a:pt x="638" y="506"/>
                      <a:pt x="638" y="506"/>
                    </a:cubicBezTo>
                    <a:cubicBezTo>
                      <a:pt x="638" y="504"/>
                      <a:pt x="638" y="504"/>
                      <a:pt x="638" y="504"/>
                    </a:cubicBezTo>
                    <a:cubicBezTo>
                      <a:pt x="638" y="501"/>
                      <a:pt x="638" y="501"/>
                      <a:pt x="638" y="501"/>
                    </a:cubicBezTo>
                    <a:cubicBezTo>
                      <a:pt x="636" y="501"/>
                      <a:pt x="636" y="501"/>
                      <a:pt x="636" y="501"/>
                    </a:cubicBezTo>
                    <a:cubicBezTo>
                      <a:pt x="634" y="504"/>
                      <a:pt x="634" y="504"/>
                      <a:pt x="634" y="504"/>
                    </a:cubicBezTo>
                    <a:cubicBezTo>
                      <a:pt x="632" y="507"/>
                      <a:pt x="632" y="507"/>
                      <a:pt x="632" y="507"/>
                    </a:cubicBezTo>
                    <a:cubicBezTo>
                      <a:pt x="629" y="507"/>
                      <a:pt x="629" y="507"/>
                      <a:pt x="629" y="507"/>
                    </a:cubicBezTo>
                    <a:cubicBezTo>
                      <a:pt x="627" y="507"/>
                      <a:pt x="627" y="507"/>
                      <a:pt x="627" y="507"/>
                    </a:cubicBezTo>
                    <a:cubicBezTo>
                      <a:pt x="623" y="507"/>
                      <a:pt x="623" y="507"/>
                      <a:pt x="623" y="507"/>
                    </a:cubicBezTo>
                    <a:cubicBezTo>
                      <a:pt x="611" y="509"/>
                      <a:pt x="611" y="509"/>
                      <a:pt x="611" y="509"/>
                    </a:cubicBezTo>
                    <a:cubicBezTo>
                      <a:pt x="608" y="511"/>
                      <a:pt x="608" y="511"/>
                      <a:pt x="608" y="511"/>
                    </a:cubicBezTo>
                    <a:cubicBezTo>
                      <a:pt x="602" y="514"/>
                      <a:pt x="602" y="514"/>
                      <a:pt x="602" y="514"/>
                    </a:cubicBezTo>
                    <a:cubicBezTo>
                      <a:pt x="598" y="517"/>
                      <a:pt x="598" y="517"/>
                      <a:pt x="598" y="517"/>
                    </a:cubicBezTo>
                    <a:cubicBezTo>
                      <a:pt x="598" y="520"/>
                      <a:pt x="598" y="520"/>
                      <a:pt x="598" y="520"/>
                    </a:cubicBezTo>
                    <a:cubicBezTo>
                      <a:pt x="601" y="519"/>
                      <a:pt x="601" y="519"/>
                      <a:pt x="601" y="519"/>
                    </a:cubicBezTo>
                    <a:cubicBezTo>
                      <a:pt x="603" y="517"/>
                      <a:pt x="603" y="517"/>
                      <a:pt x="603" y="517"/>
                    </a:cubicBezTo>
                    <a:cubicBezTo>
                      <a:pt x="604" y="517"/>
                      <a:pt x="604" y="517"/>
                      <a:pt x="604" y="517"/>
                    </a:cubicBezTo>
                    <a:cubicBezTo>
                      <a:pt x="606" y="519"/>
                      <a:pt x="606" y="519"/>
                      <a:pt x="606" y="519"/>
                    </a:cubicBezTo>
                    <a:cubicBezTo>
                      <a:pt x="609" y="520"/>
                      <a:pt x="609" y="520"/>
                      <a:pt x="609" y="520"/>
                    </a:cubicBezTo>
                    <a:cubicBezTo>
                      <a:pt x="608" y="522"/>
                      <a:pt x="608" y="522"/>
                      <a:pt x="608" y="522"/>
                    </a:cubicBezTo>
                    <a:cubicBezTo>
                      <a:pt x="602" y="524"/>
                      <a:pt x="602" y="524"/>
                      <a:pt x="602" y="524"/>
                    </a:cubicBezTo>
                    <a:cubicBezTo>
                      <a:pt x="602" y="527"/>
                      <a:pt x="602" y="527"/>
                      <a:pt x="602" y="527"/>
                    </a:cubicBezTo>
                    <a:cubicBezTo>
                      <a:pt x="603" y="530"/>
                      <a:pt x="603" y="530"/>
                      <a:pt x="603" y="530"/>
                    </a:cubicBezTo>
                    <a:cubicBezTo>
                      <a:pt x="609" y="532"/>
                      <a:pt x="609" y="532"/>
                      <a:pt x="609" y="532"/>
                    </a:cubicBezTo>
                    <a:cubicBezTo>
                      <a:pt x="614" y="535"/>
                      <a:pt x="614" y="535"/>
                      <a:pt x="614" y="535"/>
                    </a:cubicBezTo>
                    <a:cubicBezTo>
                      <a:pt x="613" y="536"/>
                      <a:pt x="613" y="536"/>
                      <a:pt x="613" y="536"/>
                    </a:cubicBezTo>
                    <a:cubicBezTo>
                      <a:pt x="611" y="537"/>
                      <a:pt x="611" y="537"/>
                      <a:pt x="611" y="537"/>
                    </a:cubicBezTo>
                    <a:cubicBezTo>
                      <a:pt x="609" y="539"/>
                      <a:pt x="609" y="539"/>
                      <a:pt x="609" y="539"/>
                    </a:cubicBezTo>
                    <a:cubicBezTo>
                      <a:pt x="609" y="536"/>
                      <a:pt x="609" y="536"/>
                      <a:pt x="609" y="536"/>
                    </a:cubicBezTo>
                    <a:cubicBezTo>
                      <a:pt x="607" y="535"/>
                      <a:pt x="607" y="535"/>
                      <a:pt x="607" y="535"/>
                    </a:cubicBezTo>
                    <a:cubicBezTo>
                      <a:pt x="605" y="535"/>
                      <a:pt x="605" y="535"/>
                      <a:pt x="605" y="535"/>
                    </a:cubicBezTo>
                    <a:cubicBezTo>
                      <a:pt x="603" y="532"/>
                      <a:pt x="603" y="532"/>
                      <a:pt x="603" y="532"/>
                    </a:cubicBezTo>
                    <a:cubicBezTo>
                      <a:pt x="600" y="531"/>
                      <a:pt x="600" y="531"/>
                      <a:pt x="600" y="531"/>
                    </a:cubicBezTo>
                    <a:cubicBezTo>
                      <a:pt x="597" y="527"/>
                      <a:pt x="597" y="527"/>
                      <a:pt x="597" y="527"/>
                    </a:cubicBezTo>
                    <a:cubicBezTo>
                      <a:pt x="594" y="527"/>
                      <a:pt x="594" y="527"/>
                      <a:pt x="594" y="527"/>
                    </a:cubicBezTo>
                    <a:cubicBezTo>
                      <a:pt x="596" y="531"/>
                      <a:pt x="596" y="531"/>
                      <a:pt x="596" y="531"/>
                    </a:cubicBezTo>
                    <a:cubicBezTo>
                      <a:pt x="596" y="535"/>
                      <a:pt x="596" y="535"/>
                      <a:pt x="596" y="535"/>
                    </a:cubicBezTo>
                    <a:cubicBezTo>
                      <a:pt x="593" y="537"/>
                      <a:pt x="593" y="537"/>
                      <a:pt x="593" y="537"/>
                    </a:cubicBezTo>
                    <a:cubicBezTo>
                      <a:pt x="591" y="534"/>
                      <a:pt x="591" y="534"/>
                      <a:pt x="591" y="534"/>
                    </a:cubicBezTo>
                    <a:cubicBezTo>
                      <a:pt x="588" y="532"/>
                      <a:pt x="588" y="532"/>
                      <a:pt x="588" y="532"/>
                    </a:cubicBezTo>
                    <a:cubicBezTo>
                      <a:pt x="585" y="534"/>
                      <a:pt x="585" y="534"/>
                      <a:pt x="585" y="534"/>
                    </a:cubicBezTo>
                    <a:cubicBezTo>
                      <a:pt x="583" y="536"/>
                      <a:pt x="583" y="536"/>
                      <a:pt x="583" y="536"/>
                    </a:cubicBezTo>
                    <a:cubicBezTo>
                      <a:pt x="578" y="535"/>
                      <a:pt x="578" y="535"/>
                      <a:pt x="578" y="535"/>
                    </a:cubicBezTo>
                    <a:cubicBezTo>
                      <a:pt x="576" y="533"/>
                      <a:pt x="576" y="533"/>
                      <a:pt x="576" y="533"/>
                    </a:cubicBezTo>
                    <a:cubicBezTo>
                      <a:pt x="573" y="534"/>
                      <a:pt x="573" y="534"/>
                      <a:pt x="573" y="534"/>
                    </a:cubicBezTo>
                    <a:cubicBezTo>
                      <a:pt x="571" y="533"/>
                      <a:pt x="571" y="533"/>
                      <a:pt x="571" y="533"/>
                    </a:cubicBezTo>
                    <a:cubicBezTo>
                      <a:pt x="572" y="531"/>
                      <a:pt x="572" y="531"/>
                      <a:pt x="572" y="531"/>
                    </a:cubicBezTo>
                    <a:cubicBezTo>
                      <a:pt x="575" y="529"/>
                      <a:pt x="575" y="529"/>
                      <a:pt x="575" y="529"/>
                    </a:cubicBezTo>
                    <a:cubicBezTo>
                      <a:pt x="573" y="527"/>
                      <a:pt x="573" y="527"/>
                      <a:pt x="573" y="527"/>
                    </a:cubicBezTo>
                    <a:cubicBezTo>
                      <a:pt x="569" y="528"/>
                      <a:pt x="569" y="528"/>
                      <a:pt x="569" y="528"/>
                    </a:cubicBezTo>
                    <a:cubicBezTo>
                      <a:pt x="568" y="526"/>
                      <a:pt x="568" y="526"/>
                      <a:pt x="568" y="526"/>
                    </a:cubicBezTo>
                    <a:cubicBezTo>
                      <a:pt x="568" y="523"/>
                      <a:pt x="568" y="523"/>
                      <a:pt x="568" y="523"/>
                    </a:cubicBezTo>
                    <a:cubicBezTo>
                      <a:pt x="567" y="522"/>
                      <a:pt x="567" y="522"/>
                      <a:pt x="567" y="522"/>
                    </a:cubicBezTo>
                    <a:cubicBezTo>
                      <a:pt x="564" y="523"/>
                      <a:pt x="564" y="523"/>
                      <a:pt x="564" y="523"/>
                    </a:cubicBezTo>
                    <a:cubicBezTo>
                      <a:pt x="562" y="522"/>
                      <a:pt x="562" y="522"/>
                      <a:pt x="562" y="522"/>
                    </a:cubicBezTo>
                    <a:cubicBezTo>
                      <a:pt x="564" y="520"/>
                      <a:pt x="564" y="520"/>
                      <a:pt x="564" y="520"/>
                    </a:cubicBezTo>
                    <a:cubicBezTo>
                      <a:pt x="562" y="519"/>
                      <a:pt x="562" y="519"/>
                      <a:pt x="562" y="519"/>
                    </a:cubicBezTo>
                    <a:cubicBezTo>
                      <a:pt x="558" y="521"/>
                      <a:pt x="558" y="521"/>
                      <a:pt x="558" y="521"/>
                    </a:cubicBezTo>
                    <a:cubicBezTo>
                      <a:pt x="557" y="523"/>
                      <a:pt x="557" y="523"/>
                      <a:pt x="557" y="523"/>
                    </a:cubicBezTo>
                    <a:cubicBezTo>
                      <a:pt x="558" y="525"/>
                      <a:pt x="558" y="525"/>
                      <a:pt x="558" y="525"/>
                    </a:cubicBezTo>
                    <a:cubicBezTo>
                      <a:pt x="555" y="525"/>
                      <a:pt x="555" y="525"/>
                      <a:pt x="555" y="525"/>
                    </a:cubicBezTo>
                    <a:cubicBezTo>
                      <a:pt x="544" y="524"/>
                      <a:pt x="544" y="524"/>
                      <a:pt x="544" y="524"/>
                    </a:cubicBezTo>
                    <a:cubicBezTo>
                      <a:pt x="542" y="523"/>
                      <a:pt x="542" y="523"/>
                      <a:pt x="542" y="523"/>
                    </a:cubicBezTo>
                    <a:cubicBezTo>
                      <a:pt x="533" y="520"/>
                      <a:pt x="533" y="520"/>
                      <a:pt x="533" y="520"/>
                    </a:cubicBezTo>
                    <a:cubicBezTo>
                      <a:pt x="528" y="520"/>
                      <a:pt x="528" y="520"/>
                      <a:pt x="528" y="520"/>
                    </a:cubicBezTo>
                    <a:cubicBezTo>
                      <a:pt x="522" y="522"/>
                      <a:pt x="522" y="522"/>
                      <a:pt x="522" y="522"/>
                    </a:cubicBezTo>
                    <a:cubicBezTo>
                      <a:pt x="519" y="523"/>
                      <a:pt x="519" y="523"/>
                      <a:pt x="519" y="523"/>
                    </a:cubicBezTo>
                    <a:cubicBezTo>
                      <a:pt x="516" y="524"/>
                      <a:pt x="516" y="524"/>
                      <a:pt x="516" y="524"/>
                    </a:cubicBezTo>
                    <a:cubicBezTo>
                      <a:pt x="513" y="528"/>
                      <a:pt x="513" y="528"/>
                      <a:pt x="513" y="528"/>
                    </a:cubicBezTo>
                    <a:cubicBezTo>
                      <a:pt x="509" y="529"/>
                      <a:pt x="509" y="529"/>
                      <a:pt x="509" y="529"/>
                    </a:cubicBezTo>
                    <a:cubicBezTo>
                      <a:pt x="509" y="525"/>
                      <a:pt x="509" y="525"/>
                      <a:pt x="509" y="525"/>
                    </a:cubicBezTo>
                    <a:cubicBezTo>
                      <a:pt x="508" y="523"/>
                      <a:pt x="508" y="523"/>
                      <a:pt x="508" y="523"/>
                    </a:cubicBezTo>
                    <a:cubicBezTo>
                      <a:pt x="511" y="520"/>
                      <a:pt x="511" y="520"/>
                      <a:pt x="511" y="520"/>
                    </a:cubicBezTo>
                    <a:cubicBezTo>
                      <a:pt x="509" y="516"/>
                      <a:pt x="509" y="516"/>
                      <a:pt x="509" y="516"/>
                    </a:cubicBezTo>
                    <a:cubicBezTo>
                      <a:pt x="509" y="518"/>
                      <a:pt x="509" y="518"/>
                      <a:pt x="509" y="518"/>
                    </a:cubicBezTo>
                    <a:cubicBezTo>
                      <a:pt x="505" y="521"/>
                      <a:pt x="505" y="521"/>
                      <a:pt x="505" y="521"/>
                    </a:cubicBezTo>
                    <a:cubicBezTo>
                      <a:pt x="503" y="521"/>
                      <a:pt x="503" y="521"/>
                      <a:pt x="503" y="521"/>
                    </a:cubicBezTo>
                    <a:cubicBezTo>
                      <a:pt x="501" y="518"/>
                      <a:pt x="501" y="518"/>
                      <a:pt x="501" y="518"/>
                    </a:cubicBezTo>
                    <a:cubicBezTo>
                      <a:pt x="503" y="524"/>
                      <a:pt x="503" y="524"/>
                      <a:pt x="503" y="524"/>
                    </a:cubicBezTo>
                    <a:cubicBezTo>
                      <a:pt x="503" y="528"/>
                      <a:pt x="503" y="528"/>
                      <a:pt x="503" y="528"/>
                    </a:cubicBezTo>
                    <a:cubicBezTo>
                      <a:pt x="504" y="531"/>
                      <a:pt x="504" y="531"/>
                      <a:pt x="504" y="531"/>
                    </a:cubicBezTo>
                    <a:cubicBezTo>
                      <a:pt x="502" y="533"/>
                      <a:pt x="502" y="533"/>
                      <a:pt x="502" y="533"/>
                    </a:cubicBezTo>
                    <a:cubicBezTo>
                      <a:pt x="499" y="533"/>
                      <a:pt x="499" y="533"/>
                      <a:pt x="499" y="533"/>
                    </a:cubicBezTo>
                    <a:cubicBezTo>
                      <a:pt x="493" y="539"/>
                      <a:pt x="493" y="539"/>
                      <a:pt x="493" y="539"/>
                    </a:cubicBezTo>
                    <a:cubicBezTo>
                      <a:pt x="485" y="543"/>
                      <a:pt x="485" y="543"/>
                      <a:pt x="485" y="543"/>
                    </a:cubicBezTo>
                    <a:cubicBezTo>
                      <a:pt x="482" y="542"/>
                      <a:pt x="482" y="542"/>
                      <a:pt x="482" y="542"/>
                    </a:cubicBezTo>
                    <a:cubicBezTo>
                      <a:pt x="479" y="545"/>
                      <a:pt x="479" y="545"/>
                      <a:pt x="479" y="545"/>
                    </a:cubicBezTo>
                    <a:cubicBezTo>
                      <a:pt x="476" y="546"/>
                      <a:pt x="476" y="546"/>
                      <a:pt x="476" y="546"/>
                    </a:cubicBezTo>
                    <a:cubicBezTo>
                      <a:pt x="479" y="543"/>
                      <a:pt x="479" y="543"/>
                      <a:pt x="479" y="543"/>
                    </a:cubicBezTo>
                    <a:cubicBezTo>
                      <a:pt x="477" y="541"/>
                      <a:pt x="477" y="541"/>
                      <a:pt x="477" y="541"/>
                    </a:cubicBezTo>
                    <a:cubicBezTo>
                      <a:pt x="475" y="542"/>
                      <a:pt x="475" y="542"/>
                      <a:pt x="475" y="542"/>
                    </a:cubicBezTo>
                    <a:cubicBezTo>
                      <a:pt x="473" y="541"/>
                      <a:pt x="473" y="541"/>
                      <a:pt x="473" y="541"/>
                    </a:cubicBezTo>
                    <a:cubicBezTo>
                      <a:pt x="470" y="543"/>
                      <a:pt x="470" y="543"/>
                      <a:pt x="470" y="543"/>
                    </a:cubicBezTo>
                    <a:cubicBezTo>
                      <a:pt x="472" y="545"/>
                      <a:pt x="472" y="545"/>
                      <a:pt x="472" y="545"/>
                    </a:cubicBezTo>
                    <a:cubicBezTo>
                      <a:pt x="468" y="546"/>
                      <a:pt x="468" y="546"/>
                      <a:pt x="468" y="546"/>
                    </a:cubicBezTo>
                    <a:cubicBezTo>
                      <a:pt x="466" y="545"/>
                      <a:pt x="466" y="545"/>
                      <a:pt x="466" y="545"/>
                    </a:cubicBezTo>
                    <a:cubicBezTo>
                      <a:pt x="466" y="549"/>
                      <a:pt x="466" y="549"/>
                      <a:pt x="466" y="549"/>
                    </a:cubicBezTo>
                    <a:cubicBezTo>
                      <a:pt x="463" y="551"/>
                      <a:pt x="463" y="551"/>
                      <a:pt x="463" y="551"/>
                    </a:cubicBezTo>
                    <a:cubicBezTo>
                      <a:pt x="461" y="550"/>
                      <a:pt x="461" y="550"/>
                      <a:pt x="461" y="550"/>
                    </a:cubicBezTo>
                    <a:cubicBezTo>
                      <a:pt x="457" y="554"/>
                      <a:pt x="457" y="554"/>
                      <a:pt x="457" y="554"/>
                    </a:cubicBezTo>
                    <a:cubicBezTo>
                      <a:pt x="459" y="556"/>
                      <a:pt x="459" y="556"/>
                      <a:pt x="459" y="556"/>
                    </a:cubicBezTo>
                    <a:cubicBezTo>
                      <a:pt x="455" y="559"/>
                      <a:pt x="455" y="559"/>
                      <a:pt x="455" y="559"/>
                    </a:cubicBezTo>
                    <a:cubicBezTo>
                      <a:pt x="453" y="560"/>
                      <a:pt x="453" y="560"/>
                      <a:pt x="453" y="560"/>
                    </a:cubicBezTo>
                    <a:cubicBezTo>
                      <a:pt x="454" y="567"/>
                      <a:pt x="454" y="567"/>
                      <a:pt x="454" y="567"/>
                    </a:cubicBezTo>
                    <a:cubicBezTo>
                      <a:pt x="451" y="571"/>
                      <a:pt x="451" y="571"/>
                      <a:pt x="451" y="571"/>
                    </a:cubicBezTo>
                    <a:cubicBezTo>
                      <a:pt x="450" y="576"/>
                      <a:pt x="450" y="576"/>
                      <a:pt x="450" y="576"/>
                    </a:cubicBezTo>
                    <a:cubicBezTo>
                      <a:pt x="447" y="581"/>
                      <a:pt x="447" y="581"/>
                      <a:pt x="447" y="581"/>
                    </a:cubicBezTo>
                    <a:cubicBezTo>
                      <a:pt x="449" y="584"/>
                      <a:pt x="449" y="584"/>
                      <a:pt x="449" y="584"/>
                    </a:cubicBezTo>
                    <a:cubicBezTo>
                      <a:pt x="449" y="592"/>
                      <a:pt x="449" y="592"/>
                      <a:pt x="449" y="592"/>
                    </a:cubicBezTo>
                    <a:cubicBezTo>
                      <a:pt x="450" y="594"/>
                      <a:pt x="450" y="594"/>
                      <a:pt x="450" y="594"/>
                    </a:cubicBezTo>
                    <a:cubicBezTo>
                      <a:pt x="448" y="598"/>
                      <a:pt x="448" y="598"/>
                      <a:pt x="448" y="598"/>
                    </a:cubicBezTo>
                    <a:cubicBezTo>
                      <a:pt x="446" y="604"/>
                      <a:pt x="446" y="604"/>
                      <a:pt x="446" y="604"/>
                    </a:cubicBezTo>
                    <a:cubicBezTo>
                      <a:pt x="445" y="603"/>
                      <a:pt x="445" y="603"/>
                      <a:pt x="445" y="603"/>
                    </a:cubicBezTo>
                    <a:cubicBezTo>
                      <a:pt x="444" y="601"/>
                      <a:pt x="444" y="601"/>
                      <a:pt x="444" y="601"/>
                    </a:cubicBezTo>
                    <a:cubicBezTo>
                      <a:pt x="440" y="600"/>
                      <a:pt x="440" y="600"/>
                      <a:pt x="440" y="600"/>
                    </a:cubicBezTo>
                    <a:cubicBezTo>
                      <a:pt x="437" y="598"/>
                      <a:pt x="437" y="598"/>
                      <a:pt x="437" y="598"/>
                    </a:cubicBezTo>
                    <a:cubicBezTo>
                      <a:pt x="430" y="596"/>
                      <a:pt x="430" y="596"/>
                      <a:pt x="430" y="596"/>
                    </a:cubicBezTo>
                    <a:cubicBezTo>
                      <a:pt x="427" y="593"/>
                      <a:pt x="427" y="593"/>
                      <a:pt x="427" y="593"/>
                    </a:cubicBezTo>
                    <a:cubicBezTo>
                      <a:pt x="425" y="592"/>
                      <a:pt x="425" y="592"/>
                      <a:pt x="425" y="592"/>
                    </a:cubicBezTo>
                    <a:cubicBezTo>
                      <a:pt x="422" y="592"/>
                      <a:pt x="422" y="592"/>
                      <a:pt x="422" y="592"/>
                    </a:cubicBezTo>
                    <a:cubicBezTo>
                      <a:pt x="420" y="591"/>
                      <a:pt x="420" y="591"/>
                      <a:pt x="420" y="591"/>
                    </a:cubicBezTo>
                    <a:cubicBezTo>
                      <a:pt x="419" y="591"/>
                      <a:pt x="419" y="591"/>
                      <a:pt x="419" y="591"/>
                    </a:cubicBezTo>
                    <a:cubicBezTo>
                      <a:pt x="418" y="589"/>
                      <a:pt x="418" y="589"/>
                      <a:pt x="418" y="589"/>
                    </a:cubicBezTo>
                    <a:cubicBezTo>
                      <a:pt x="418" y="584"/>
                      <a:pt x="418" y="584"/>
                      <a:pt x="418" y="584"/>
                    </a:cubicBezTo>
                    <a:cubicBezTo>
                      <a:pt x="414" y="573"/>
                      <a:pt x="414" y="573"/>
                      <a:pt x="414" y="573"/>
                    </a:cubicBezTo>
                    <a:cubicBezTo>
                      <a:pt x="414" y="572"/>
                      <a:pt x="414" y="572"/>
                      <a:pt x="414" y="572"/>
                    </a:cubicBezTo>
                    <a:cubicBezTo>
                      <a:pt x="414" y="571"/>
                      <a:pt x="414" y="571"/>
                      <a:pt x="414" y="571"/>
                    </a:cubicBezTo>
                    <a:cubicBezTo>
                      <a:pt x="414" y="568"/>
                      <a:pt x="414" y="568"/>
                      <a:pt x="414" y="568"/>
                    </a:cubicBezTo>
                    <a:cubicBezTo>
                      <a:pt x="415" y="564"/>
                      <a:pt x="415" y="564"/>
                      <a:pt x="415" y="564"/>
                    </a:cubicBezTo>
                    <a:cubicBezTo>
                      <a:pt x="411" y="561"/>
                      <a:pt x="411" y="561"/>
                      <a:pt x="411" y="561"/>
                    </a:cubicBezTo>
                    <a:cubicBezTo>
                      <a:pt x="410" y="558"/>
                      <a:pt x="410" y="558"/>
                      <a:pt x="410" y="558"/>
                    </a:cubicBezTo>
                    <a:cubicBezTo>
                      <a:pt x="409" y="555"/>
                      <a:pt x="409" y="555"/>
                      <a:pt x="409" y="555"/>
                    </a:cubicBezTo>
                    <a:cubicBezTo>
                      <a:pt x="406" y="553"/>
                      <a:pt x="406" y="553"/>
                      <a:pt x="406" y="553"/>
                    </a:cubicBezTo>
                    <a:cubicBezTo>
                      <a:pt x="405" y="551"/>
                      <a:pt x="405" y="551"/>
                      <a:pt x="405" y="551"/>
                    </a:cubicBezTo>
                    <a:cubicBezTo>
                      <a:pt x="403" y="550"/>
                      <a:pt x="403" y="550"/>
                      <a:pt x="403" y="550"/>
                    </a:cubicBezTo>
                    <a:cubicBezTo>
                      <a:pt x="401" y="543"/>
                      <a:pt x="401" y="543"/>
                      <a:pt x="401" y="543"/>
                    </a:cubicBezTo>
                    <a:cubicBezTo>
                      <a:pt x="400" y="540"/>
                      <a:pt x="400" y="540"/>
                      <a:pt x="400" y="540"/>
                    </a:cubicBezTo>
                    <a:cubicBezTo>
                      <a:pt x="398" y="539"/>
                      <a:pt x="398" y="539"/>
                      <a:pt x="398" y="539"/>
                    </a:cubicBezTo>
                    <a:cubicBezTo>
                      <a:pt x="397" y="535"/>
                      <a:pt x="397" y="535"/>
                      <a:pt x="397" y="535"/>
                    </a:cubicBezTo>
                    <a:cubicBezTo>
                      <a:pt x="397" y="532"/>
                      <a:pt x="397" y="532"/>
                      <a:pt x="397" y="532"/>
                    </a:cubicBezTo>
                    <a:cubicBezTo>
                      <a:pt x="396" y="531"/>
                      <a:pt x="396" y="531"/>
                      <a:pt x="396" y="531"/>
                    </a:cubicBezTo>
                    <a:cubicBezTo>
                      <a:pt x="394" y="527"/>
                      <a:pt x="394" y="527"/>
                      <a:pt x="394" y="527"/>
                    </a:cubicBezTo>
                    <a:cubicBezTo>
                      <a:pt x="391" y="522"/>
                      <a:pt x="391" y="522"/>
                      <a:pt x="391" y="522"/>
                    </a:cubicBezTo>
                    <a:cubicBezTo>
                      <a:pt x="388" y="519"/>
                      <a:pt x="388" y="519"/>
                      <a:pt x="388" y="519"/>
                    </a:cubicBezTo>
                    <a:cubicBezTo>
                      <a:pt x="386" y="516"/>
                      <a:pt x="386" y="516"/>
                      <a:pt x="386" y="516"/>
                    </a:cubicBezTo>
                    <a:cubicBezTo>
                      <a:pt x="384" y="515"/>
                      <a:pt x="384" y="515"/>
                      <a:pt x="384" y="515"/>
                    </a:cubicBezTo>
                    <a:cubicBezTo>
                      <a:pt x="381" y="516"/>
                      <a:pt x="381" y="516"/>
                      <a:pt x="381" y="516"/>
                    </a:cubicBezTo>
                    <a:cubicBezTo>
                      <a:pt x="380" y="515"/>
                      <a:pt x="380" y="515"/>
                      <a:pt x="380" y="515"/>
                    </a:cubicBezTo>
                    <a:cubicBezTo>
                      <a:pt x="379" y="514"/>
                      <a:pt x="379" y="514"/>
                      <a:pt x="379" y="514"/>
                    </a:cubicBezTo>
                    <a:cubicBezTo>
                      <a:pt x="375" y="514"/>
                      <a:pt x="375" y="514"/>
                      <a:pt x="375" y="514"/>
                    </a:cubicBezTo>
                    <a:cubicBezTo>
                      <a:pt x="372" y="514"/>
                      <a:pt x="372" y="514"/>
                      <a:pt x="372" y="514"/>
                    </a:cubicBezTo>
                    <a:cubicBezTo>
                      <a:pt x="368" y="514"/>
                      <a:pt x="368" y="514"/>
                      <a:pt x="368" y="514"/>
                    </a:cubicBezTo>
                    <a:cubicBezTo>
                      <a:pt x="367" y="516"/>
                      <a:pt x="367" y="516"/>
                      <a:pt x="367" y="516"/>
                    </a:cubicBezTo>
                    <a:cubicBezTo>
                      <a:pt x="366" y="516"/>
                      <a:pt x="366" y="516"/>
                      <a:pt x="366" y="516"/>
                    </a:cubicBezTo>
                    <a:cubicBezTo>
                      <a:pt x="365" y="516"/>
                      <a:pt x="365" y="516"/>
                      <a:pt x="365" y="516"/>
                    </a:cubicBezTo>
                    <a:cubicBezTo>
                      <a:pt x="364" y="515"/>
                      <a:pt x="364" y="515"/>
                      <a:pt x="364" y="515"/>
                    </a:cubicBezTo>
                    <a:cubicBezTo>
                      <a:pt x="362" y="516"/>
                      <a:pt x="362" y="516"/>
                      <a:pt x="362" y="516"/>
                    </a:cubicBezTo>
                    <a:cubicBezTo>
                      <a:pt x="360" y="518"/>
                      <a:pt x="360" y="518"/>
                      <a:pt x="360" y="518"/>
                    </a:cubicBezTo>
                    <a:cubicBezTo>
                      <a:pt x="357" y="523"/>
                      <a:pt x="357" y="523"/>
                      <a:pt x="357" y="523"/>
                    </a:cubicBezTo>
                    <a:cubicBezTo>
                      <a:pt x="355" y="525"/>
                      <a:pt x="355" y="525"/>
                      <a:pt x="355" y="525"/>
                    </a:cubicBezTo>
                    <a:cubicBezTo>
                      <a:pt x="356" y="526"/>
                      <a:pt x="356" y="526"/>
                      <a:pt x="356" y="526"/>
                    </a:cubicBezTo>
                    <a:cubicBezTo>
                      <a:pt x="355" y="528"/>
                      <a:pt x="355" y="528"/>
                      <a:pt x="355" y="528"/>
                    </a:cubicBezTo>
                    <a:cubicBezTo>
                      <a:pt x="353" y="528"/>
                      <a:pt x="353" y="528"/>
                      <a:pt x="353" y="528"/>
                    </a:cubicBezTo>
                    <a:cubicBezTo>
                      <a:pt x="351" y="530"/>
                      <a:pt x="351" y="530"/>
                      <a:pt x="351" y="530"/>
                    </a:cubicBezTo>
                    <a:cubicBezTo>
                      <a:pt x="350" y="531"/>
                      <a:pt x="350" y="531"/>
                      <a:pt x="350" y="531"/>
                    </a:cubicBezTo>
                    <a:cubicBezTo>
                      <a:pt x="348" y="532"/>
                      <a:pt x="348" y="532"/>
                      <a:pt x="348" y="532"/>
                    </a:cubicBezTo>
                    <a:cubicBezTo>
                      <a:pt x="347" y="532"/>
                      <a:pt x="347" y="532"/>
                      <a:pt x="347" y="532"/>
                    </a:cubicBezTo>
                    <a:cubicBezTo>
                      <a:pt x="346" y="530"/>
                      <a:pt x="346" y="530"/>
                      <a:pt x="346" y="530"/>
                    </a:cubicBezTo>
                    <a:cubicBezTo>
                      <a:pt x="342" y="529"/>
                      <a:pt x="342" y="529"/>
                      <a:pt x="342" y="529"/>
                    </a:cubicBezTo>
                    <a:cubicBezTo>
                      <a:pt x="339" y="528"/>
                      <a:pt x="339" y="528"/>
                      <a:pt x="339" y="528"/>
                    </a:cubicBezTo>
                    <a:cubicBezTo>
                      <a:pt x="338" y="526"/>
                      <a:pt x="338" y="526"/>
                      <a:pt x="338" y="526"/>
                    </a:cubicBezTo>
                    <a:cubicBezTo>
                      <a:pt x="334" y="524"/>
                      <a:pt x="334" y="524"/>
                      <a:pt x="334" y="524"/>
                    </a:cubicBezTo>
                    <a:cubicBezTo>
                      <a:pt x="332" y="524"/>
                      <a:pt x="332" y="524"/>
                      <a:pt x="332" y="524"/>
                    </a:cubicBezTo>
                    <a:cubicBezTo>
                      <a:pt x="331" y="523"/>
                      <a:pt x="331" y="523"/>
                      <a:pt x="331" y="523"/>
                    </a:cubicBezTo>
                    <a:cubicBezTo>
                      <a:pt x="330" y="522"/>
                      <a:pt x="330" y="522"/>
                      <a:pt x="330" y="522"/>
                    </a:cubicBezTo>
                    <a:cubicBezTo>
                      <a:pt x="330" y="521"/>
                      <a:pt x="330" y="521"/>
                      <a:pt x="330" y="521"/>
                    </a:cubicBezTo>
                    <a:cubicBezTo>
                      <a:pt x="328" y="520"/>
                      <a:pt x="328" y="520"/>
                      <a:pt x="328" y="520"/>
                    </a:cubicBezTo>
                    <a:cubicBezTo>
                      <a:pt x="327" y="520"/>
                      <a:pt x="327" y="520"/>
                      <a:pt x="327" y="520"/>
                    </a:cubicBezTo>
                    <a:cubicBezTo>
                      <a:pt x="325" y="518"/>
                      <a:pt x="325" y="518"/>
                      <a:pt x="325" y="518"/>
                    </a:cubicBezTo>
                    <a:cubicBezTo>
                      <a:pt x="324" y="518"/>
                      <a:pt x="324" y="518"/>
                      <a:pt x="324" y="518"/>
                    </a:cubicBezTo>
                    <a:cubicBezTo>
                      <a:pt x="324" y="517"/>
                      <a:pt x="324" y="517"/>
                      <a:pt x="324" y="517"/>
                    </a:cubicBezTo>
                    <a:cubicBezTo>
                      <a:pt x="323" y="515"/>
                      <a:pt x="323" y="515"/>
                      <a:pt x="323" y="515"/>
                    </a:cubicBezTo>
                    <a:cubicBezTo>
                      <a:pt x="320" y="512"/>
                      <a:pt x="320" y="512"/>
                      <a:pt x="320" y="512"/>
                    </a:cubicBezTo>
                    <a:cubicBezTo>
                      <a:pt x="317" y="508"/>
                      <a:pt x="317" y="508"/>
                      <a:pt x="317" y="508"/>
                    </a:cubicBezTo>
                    <a:cubicBezTo>
                      <a:pt x="317" y="507"/>
                      <a:pt x="317" y="507"/>
                      <a:pt x="317" y="507"/>
                    </a:cubicBezTo>
                    <a:cubicBezTo>
                      <a:pt x="319" y="506"/>
                      <a:pt x="319" y="506"/>
                      <a:pt x="319" y="506"/>
                    </a:cubicBezTo>
                    <a:cubicBezTo>
                      <a:pt x="320" y="505"/>
                      <a:pt x="320" y="505"/>
                      <a:pt x="320" y="505"/>
                    </a:cubicBezTo>
                    <a:cubicBezTo>
                      <a:pt x="320" y="502"/>
                      <a:pt x="320" y="502"/>
                      <a:pt x="320" y="502"/>
                    </a:cubicBezTo>
                    <a:cubicBezTo>
                      <a:pt x="318" y="500"/>
                      <a:pt x="318" y="500"/>
                      <a:pt x="318" y="500"/>
                    </a:cubicBezTo>
                    <a:cubicBezTo>
                      <a:pt x="318" y="499"/>
                      <a:pt x="318" y="499"/>
                      <a:pt x="318" y="499"/>
                    </a:cubicBezTo>
                    <a:cubicBezTo>
                      <a:pt x="316" y="499"/>
                      <a:pt x="316" y="499"/>
                      <a:pt x="316" y="499"/>
                    </a:cubicBezTo>
                    <a:cubicBezTo>
                      <a:pt x="315" y="497"/>
                      <a:pt x="315" y="497"/>
                      <a:pt x="315" y="497"/>
                    </a:cubicBezTo>
                    <a:cubicBezTo>
                      <a:pt x="315" y="493"/>
                      <a:pt x="315" y="493"/>
                      <a:pt x="315" y="493"/>
                    </a:cubicBezTo>
                    <a:cubicBezTo>
                      <a:pt x="313" y="491"/>
                      <a:pt x="313" y="491"/>
                      <a:pt x="313" y="491"/>
                    </a:cubicBezTo>
                    <a:cubicBezTo>
                      <a:pt x="310" y="489"/>
                      <a:pt x="310" y="489"/>
                      <a:pt x="310" y="489"/>
                    </a:cubicBezTo>
                    <a:cubicBezTo>
                      <a:pt x="308" y="488"/>
                      <a:pt x="308" y="488"/>
                      <a:pt x="308" y="488"/>
                    </a:cubicBezTo>
                    <a:cubicBezTo>
                      <a:pt x="309" y="487"/>
                      <a:pt x="309" y="487"/>
                      <a:pt x="309" y="487"/>
                    </a:cubicBezTo>
                    <a:cubicBezTo>
                      <a:pt x="309" y="485"/>
                      <a:pt x="309" y="485"/>
                      <a:pt x="309" y="485"/>
                    </a:cubicBezTo>
                    <a:cubicBezTo>
                      <a:pt x="306" y="483"/>
                      <a:pt x="306" y="483"/>
                      <a:pt x="306" y="483"/>
                    </a:cubicBezTo>
                    <a:cubicBezTo>
                      <a:pt x="303" y="482"/>
                      <a:pt x="303" y="482"/>
                      <a:pt x="303" y="482"/>
                    </a:cubicBezTo>
                    <a:cubicBezTo>
                      <a:pt x="304" y="480"/>
                      <a:pt x="304" y="480"/>
                      <a:pt x="304" y="480"/>
                    </a:cubicBezTo>
                    <a:cubicBezTo>
                      <a:pt x="302" y="477"/>
                      <a:pt x="302" y="477"/>
                      <a:pt x="302" y="477"/>
                    </a:cubicBezTo>
                    <a:cubicBezTo>
                      <a:pt x="300" y="477"/>
                      <a:pt x="300" y="477"/>
                      <a:pt x="300" y="477"/>
                    </a:cubicBezTo>
                    <a:cubicBezTo>
                      <a:pt x="300" y="476"/>
                      <a:pt x="300" y="476"/>
                      <a:pt x="300" y="476"/>
                    </a:cubicBezTo>
                    <a:cubicBezTo>
                      <a:pt x="298" y="474"/>
                      <a:pt x="298" y="474"/>
                      <a:pt x="298" y="474"/>
                    </a:cubicBezTo>
                    <a:cubicBezTo>
                      <a:pt x="295" y="469"/>
                      <a:pt x="295" y="469"/>
                      <a:pt x="295" y="469"/>
                    </a:cubicBezTo>
                    <a:cubicBezTo>
                      <a:pt x="291" y="467"/>
                      <a:pt x="291" y="467"/>
                      <a:pt x="291" y="467"/>
                    </a:cubicBezTo>
                    <a:cubicBezTo>
                      <a:pt x="260" y="466"/>
                      <a:pt x="260" y="466"/>
                      <a:pt x="260" y="466"/>
                    </a:cubicBezTo>
                    <a:cubicBezTo>
                      <a:pt x="260" y="473"/>
                      <a:pt x="260" y="473"/>
                      <a:pt x="260" y="473"/>
                    </a:cubicBezTo>
                    <a:cubicBezTo>
                      <a:pt x="205" y="472"/>
                      <a:pt x="205" y="472"/>
                      <a:pt x="205" y="472"/>
                    </a:cubicBezTo>
                    <a:cubicBezTo>
                      <a:pt x="140" y="443"/>
                      <a:pt x="140" y="443"/>
                      <a:pt x="140" y="443"/>
                    </a:cubicBezTo>
                    <a:cubicBezTo>
                      <a:pt x="140" y="441"/>
                      <a:pt x="140" y="441"/>
                      <a:pt x="140" y="441"/>
                    </a:cubicBezTo>
                    <a:cubicBezTo>
                      <a:pt x="139" y="440"/>
                      <a:pt x="139" y="440"/>
                      <a:pt x="139" y="440"/>
                    </a:cubicBezTo>
                    <a:cubicBezTo>
                      <a:pt x="93" y="440"/>
                      <a:pt x="93" y="440"/>
                      <a:pt x="93" y="440"/>
                    </a:cubicBezTo>
                    <a:cubicBezTo>
                      <a:pt x="93" y="437"/>
                      <a:pt x="93" y="437"/>
                      <a:pt x="93" y="437"/>
                    </a:cubicBezTo>
                    <a:cubicBezTo>
                      <a:pt x="94" y="433"/>
                      <a:pt x="94" y="433"/>
                      <a:pt x="94" y="433"/>
                    </a:cubicBezTo>
                    <a:cubicBezTo>
                      <a:pt x="93" y="427"/>
                      <a:pt x="93" y="427"/>
                      <a:pt x="93" y="427"/>
                    </a:cubicBezTo>
                    <a:cubicBezTo>
                      <a:pt x="86" y="418"/>
                      <a:pt x="86" y="418"/>
                      <a:pt x="86" y="418"/>
                    </a:cubicBezTo>
                    <a:cubicBezTo>
                      <a:pt x="82" y="413"/>
                      <a:pt x="82" y="413"/>
                      <a:pt x="82" y="413"/>
                    </a:cubicBezTo>
                    <a:cubicBezTo>
                      <a:pt x="80" y="414"/>
                      <a:pt x="80" y="414"/>
                      <a:pt x="80" y="414"/>
                    </a:cubicBezTo>
                    <a:cubicBezTo>
                      <a:pt x="78" y="414"/>
                      <a:pt x="78" y="414"/>
                      <a:pt x="78" y="414"/>
                    </a:cubicBezTo>
                    <a:cubicBezTo>
                      <a:pt x="76" y="413"/>
                      <a:pt x="76" y="413"/>
                      <a:pt x="76" y="413"/>
                    </a:cubicBezTo>
                    <a:cubicBezTo>
                      <a:pt x="76" y="410"/>
                      <a:pt x="76" y="410"/>
                      <a:pt x="76" y="410"/>
                    </a:cubicBezTo>
                    <a:cubicBezTo>
                      <a:pt x="76" y="408"/>
                      <a:pt x="76" y="408"/>
                      <a:pt x="76" y="408"/>
                    </a:cubicBezTo>
                    <a:cubicBezTo>
                      <a:pt x="71" y="407"/>
                      <a:pt x="71" y="407"/>
                      <a:pt x="71" y="407"/>
                    </a:cubicBezTo>
                    <a:cubicBezTo>
                      <a:pt x="68" y="407"/>
                      <a:pt x="68" y="407"/>
                      <a:pt x="68" y="407"/>
                    </a:cubicBezTo>
                    <a:cubicBezTo>
                      <a:pt x="63" y="404"/>
                      <a:pt x="63" y="404"/>
                      <a:pt x="63" y="404"/>
                    </a:cubicBezTo>
                    <a:cubicBezTo>
                      <a:pt x="63" y="401"/>
                      <a:pt x="63" y="401"/>
                      <a:pt x="63" y="401"/>
                    </a:cubicBezTo>
                    <a:cubicBezTo>
                      <a:pt x="60" y="398"/>
                      <a:pt x="60" y="398"/>
                      <a:pt x="60" y="398"/>
                    </a:cubicBezTo>
                    <a:cubicBezTo>
                      <a:pt x="55" y="398"/>
                      <a:pt x="55" y="398"/>
                      <a:pt x="55" y="398"/>
                    </a:cubicBezTo>
                    <a:cubicBezTo>
                      <a:pt x="52" y="398"/>
                      <a:pt x="52" y="398"/>
                      <a:pt x="52" y="398"/>
                    </a:cubicBezTo>
                    <a:cubicBezTo>
                      <a:pt x="49" y="396"/>
                      <a:pt x="49" y="396"/>
                      <a:pt x="49" y="396"/>
                    </a:cubicBezTo>
                    <a:cubicBezTo>
                      <a:pt x="45" y="395"/>
                      <a:pt x="45" y="395"/>
                      <a:pt x="45" y="395"/>
                    </a:cubicBezTo>
                    <a:cubicBezTo>
                      <a:pt x="39" y="395"/>
                      <a:pt x="39" y="395"/>
                      <a:pt x="39" y="395"/>
                    </a:cubicBezTo>
                    <a:cubicBezTo>
                      <a:pt x="37" y="394"/>
                      <a:pt x="37" y="394"/>
                      <a:pt x="37" y="394"/>
                    </a:cubicBezTo>
                    <a:cubicBezTo>
                      <a:pt x="36" y="390"/>
                      <a:pt x="36" y="390"/>
                      <a:pt x="36" y="390"/>
                    </a:cubicBezTo>
                    <a:cubicBezTo>
                      <a:pt x="37" y="390"/>
                      <a:pt x="37" y="390"/>
                      <a:pt x="37" y="390"/>
                    </a:cubicBezTo>
                    <a:cubicBezTo>
                      <a:pt x="38" y="387"/>
                      <a:pt x="38" y="387"/>
                      <a:pt x="38" y="387"/>
                    </a:cubicBezTo>
                    <a:cubicBezTo>
                      <a:pt x="39" y="381"/>
                      <a:pt x="39" y="381"/>
                      <a:pt x="39" y="381"/>
                    </a:cubicBezTo>
                    <a:cubicBezTo>
                      <a:pt x="38" y="377"/>
                      <a:pt x="38" y="377"/>
                      <a:pt x="38" y="377"/>
                    </a:cubicBezTo>
                    <a:cubicBezTo>
                      <a:pt x="35" y="374"/>
                      <a:pt x="35" y="374"/>
                      <a:pt x="35" y="374"/>
                    </a:cubicBezTo>
                    <a:cubicBezTo>
                      <a:pt x="34" y="373"/>
                      <a:pt x="34" y="373"/>
                      <a:pt x="34" y="373"/>
                    </a:cubicBezTo>
                    <a:cubicBezTo>
                      <a:pt x="35" y="372"/>
                      <a:pt x="35" y="372"/>
                      <a:pt x="35" y="372"/>
                    </a:cubicBezTo>
                    <a:cubicBezTo>
                      <a:pt x="34" y="371"/>
                      <a:pt x="34" y="371"/>
                      <a:pt x="34" y="371"/>
                    </a:cubicBezTo>
                    <a:cubicBezTo>
                      <a:pt x="31" y="367"/>
                      <a:pt x="31" y="367"/>
                      <a:pt x="31" y="367"/>
                    </a:cubicBezTo>
                    <a:cubicBezTo>
                      <a:pt x="27" y="358"/>
                      <a:pt x="27" y="358"/>
                      <a:pt x="27" y="358"/>
                    </a:cubicBezTo>
                    <a:cubicBezTo>
                      <a:pt x="26" y="352"/>
                      <a:pt x="26" y="352"/>
                      <a:pt x="26" y="352"/>
                    </a:cubicBezTo>
                    <a:cubicBezTo>
                      <a:pt x="23" y="350"/>
                      <a:pt x="23" y="350"/>
                      <a:pt x="23" y="350"/>
                    </a:cubicBezTo>
                    <a:cubicBezTo>
                      <a:pt x="22" y="348"/>
                      <a:pt x="22" y="348"/>
                      <a:pt x="22" y="348"/>
                    </a:cubicBezTo>
                    <a:cubicBezTo>
                      <a:pt x="22" y="344"/>
                      <a:pt x="22" y="344"/>
                      <a:pt x="22" y="344"/>
                    </a:cubicBezTo>
                    <a:cubicBezTo>
                      <a:pt x="21" y="340"/>
                      <a:pt x="21" y="340"/>
                      <a:pt x="21" y="340"/>
                    </a:cubicBezTo>
                    <a:cubicBezTo>
                      <a:pt x="22" y="339"/>
                      <a:pt x="22" y="339"/>
                      <a:pt x="22" y="339"/>
                    </a:cubicBezTo>
                    <a:cubicBezTo>
                      <a:pt x="23" y="339"/>
                      <a:pt x="23" y="339"/>
                      <a:pt x="23" y="339"/>
                    </a:cubicBezTo>
                    <a:cubicBezTo>
                      <a:pt x="26" y="336"/>
                      <a:pt x="26" y="336"/>
                      <a:pt x="26" y="336"/>
                    </a:cubicBezTo>
                    <a:cubicBezTo>
                      <a:pt x="26" y="333"/>
                      <a:pt x="26" y="333"/>
                      <a:pt x="26" y="333"/>
                    </a:cubicBezTo>
                    <a:cubicBezTo>
                      <a:pt x="24" y="331"/>
                      <a:pt x="24" y="331"/>
                      <a:pt x="24" y="331"/>
                    </a:cubicBezTo>
                    <a:cubicBezTo>
                      <a:pt x="21" y="330"/>
                      <a:pt x="21" y="330"/>
                      <a:pt x="21" y="330"/>
                    </a:cubicBezTo>
                    <a:cubicBezTo>
                      <a:pt x="20" y="326"/>
                      <a:pt x="20" y="326"/>
                      <a:pt x="20" y="326"/>
                    </a:cubicBezTo>
                    <a:cubicBezTo>
                      <a:pt x="18" y="325"/>
                      <a:pt x="18" y="325"/>
                      <a:pt x="18" y="325"/>
                    </a:cubicBezTo>
                    <a:cubicBezTo>
                      <a:pt x="18" y="322"/>
                      <a:pt x="18" y="322"/>
                      <a:pt x="18" y="322"/>
                    </a:cubicBezTo>
                    <a:cubicBezTo>
                      <a:pt x="19" y="319"/>
                      <a:pt x="19" y="319"/>
                      <a:pt x="19" y="319"/>
                    </a:cubicBezTo>
                    <a:cubicBezTo>
                      <a:pt x="18" y="317"/>
                      <a:pt x="18" y="317"/>
                      <a:pt x="18" y="317"/>
                    </a:cubicBezTo>
                    <a:cubicBezTo>
                      <a:pt x="20" y="315"/>
                      <a:pt x="20" y="315"/>
                      <a:pt x="20" y="315"/>
                    </a:cubicBezTo>
                    <a:cubicBezTo>
                      <a:pt x="20" y="313"/>
                      <a:pt x="20" y="313"/>
                      <a:pt x="20" y="313"/>
                    </a:cubicBezTo>
                    <a:cubicBezTo>
                      <a:pt x="21" y="311"/>
                      <a:pt x="21" y="311"/>
                      <a:pt x="21" y="311"/>
                    </a:cubicBezTo>
                    <a:cubicBezTo>
                      <a:pt x="23" y="312"/>
                      <a:pt x="23" y="312"/>
                      <a:pt x="23" y="312"/>
                    </a:cubicBezTo>
                    <a:cubicBezTo>
                      <a:pt x="24" y="315"/>
                      <a:pt x="24" y="315"/>
                      <a:pt x="24" y="315"/>
                    </a:cubicBezTo>
                    <a:cubicBezTo>
                      <a:pt x="27" y="317"/>
                      <a:pt x="27" y="317"/>
                      <a:pt x="27" y="317"/>
                    </a:cubicBezTo>
                    <a:cubicBezTo>
                      <a:pt x="26" y="315"/>
                      <a:pt x="26" y="315"/>
                      <a:pt x="26" y="315"/>
                    </a:cubicBezTo>
                    <a:cubicBezTo>
                      <a:pt x="25" y="313"/>
                      <a:pt x="25" y="313"/>
                      <a:pt x="25" y="313"/>
                    </a:cubicBezTo>
                    <a:cubicBezTo>
                      <a:pt x="24" y="308"/>
                      <a:pt x="24" y="308"/>
                      <a:pt x="24" y="308"/>
                    </a:cubicBezTo>
                    <a:cubicBezTo>
                      <a:pt x="23" y="307"/>
                      <a:pt x="23" y="307"/>
                      <a:pt x="23" y="307"/>
                    </a:cubicBezTo>
                    <a:cubicBezTo>
                      <a:pt x="23" y="304"/>
                      <a:pt x="23" y="304"/>
                      <a:pt x="23" y="304"/>
                    </a:cubicBezTo>
                    <a:cubicBezTo>
                      <a:pt x="25" y="304"/>
                      <a:pt x="25" y="304"/>
                      <a:pt x="25" y="304"/>
                    </a:cubicBezTo>
                    <a:cubicBezTo>
                      <a:pt x="26" y="305"/>
                      <a:pt x="26" y="305"/>
                      <a:pt x="26" y="305"/>
                    </a:cubicBezTo>
                    <a:cubicBezTo>
                      <a:pt x="30" y="305"/>
                      <a:pt x="30" y="305"/>
                      <a:pt x="30" y="305"/>
                    </a:cubicBezTo>
                    <a:cubicBezTo>
                      <a:pt x="33" y="304"/>
                      <a:pt x="33" y="304"/>
                      <a:pt x="33" y="304"/>
                    </a:cubicBezTo>
                    <a:cubicBezTo>
                      <a:pt x="28" y="303"/>
                      <a:pt x="28" y="303"/>
                      <a:pt x="28" y="303"/>
                    </a:cubicBezTo>
                    <a:cubicBezTo>
                      <a:pt x="27" y="302"/>
                      <a:pt x="27" y="302"/>
                      <a:pt x="27" y="302"/>
                    </a:cubicBezTo>
                    <a:cubicBezTo>
                      <a:pt x="24" y="302"/>
                      <a:pt x="24" y="302"/>
                      <a:pt x="24" y="302"/>
                    </a:cubicBezTo>
                    <a:cubicBezTo>
                      <a:pt x="24" y="300"/>
                      <a:pt x="24" y="300"/>
                      <a:pt x="24" y="300"/>
                    </a:cubicBezTo>
                    <a:cubicBezTo>
                      <a:pt x="23" y="301"/>
                      <a:pt x="23" y="301"/>
                      <a:pt x="23" y="301"/>
                    </a:cubicBezTo>
                    <a:cubicBezTo>
                      <a:pt x="20" y="300"/>
                      <a:pt x="20" y="300"/>
                      <a:pt x="20" y="300"/>
                    </a:cubicBezTo>
                    <a:cubicBezTo>
                      <a:pt x="20" y="304"/>
                      <a:pt x="20" y="304"/>
                      <a:pt x="20" y="304"/>
                    </a:cubicBezTo>
                    <a:cubicBezTo>
                      <a:pt x="20" y="308"/>
                      <a:pt x="20" y="308"/>
                      <a:pt x="20" y="308"/>
                    </a:cubicBezTo>
                    <a:cubicBezTo>
                      <a:pt x="19" y="307"/>
                      <a:pt x="19" y="307"/>
                      <a:pt x="19" y="307"/>
                    </a:cubicBezTo>
                    <a:cubicBezTo>
                      <a:pt x="18" y="307"/>
                      <a:pt x="18" y="307"/>
                      <a:pt x="18" y="307"/>
                    </a:cubicBezTo>
                    <a:cubicBezTo>
                      <a:pt x="17" y="305"/>
                      <a:pt x="17" y="305"/>
                      <a:pt x="17" y="305"/>
                    </a:cubicBezTo>
                    <a:cubicBezTo>
                      <a:pt x="12" y="301"/>
                      <a:pt x="12" y="301"/>
                      <a:pt x="12" y="301"/>
                    </a:cubicBezTo>
                    <a:cubicBezTo>
                      <a:pt x="12" y="299"/>
                      <a:pt x="12" y="299"/>
                      <a:pt x="12" y="299"/>
                    </a:cubicBezTo>
                    <a:cubicBezTo>
                      <a:pt x="13" y="297"/>
                      <a:pt x="13" y="297"/>
                      <a:pt x="13" y="297"/>
                    </a:cubicBezTo>
                    <a:cubicBezTo>
                      <a:pt x="12" y="293"/>
                      <a:pt x="12" y="293"/>
                      <a:pt x="12" y="293"/>
                    </a:cubicBezTo>
                    <a:cubicBezTo>
                      <a:pt x="4" y="281"/>
                      <a:pt x="4" y="281"/>
                      <a:pt x="4" y="281"/>
                    </a:cubicBezTo>
                    <a:cubicBezTo>
                      <a:pt x="3" y="279"/>
                      <a:pt x="3" y="279"/>
                      <a:pt x="3" y="279"/>
                    </a:cubicBezTo>
                    <a:cubicBezTo>
                      <a:pt x="4" y="276"/>
                      <a:pt x="4" y="276"/>
                      <a:pt x="4" y="276"/>
                    </a:cubicBezTo>
                    <a:cubicBezTo>
                      <a:pt x="6" y="274"/>
                      <a:pt x="6" y="274"/>
                      <a:pt x="6" y="274"/>
                    </a:cubicBezTo>
                    <a:cubicBezTo>
                      <a:pt x="5" y="270"/>
                      <a:pt x="5" y="270"/>
                      <a:pt x="5" y="270"/>
                    </a:cubicBezTo>
                    <a:cubicBezTo>
                      <a:pt x="3" y="267"/>
                      <a:pt x="3" y="267"/>
                      <a:pt x="3" y="267"/>
                    </a:cubicBezTo>
                    <a:cubicBezTo>
                      <a:pt x="3" y="265"/>
                      <a:pt x="3" y="265"/>
                      <a:pt x="3" y="265"/>
                    </a:cubicBezTo>
                    <a:cubicBezTo>
                      <a:pt x="6" y="262"/>
                      <a:pt x="6" y="262"/>
                      <a:pt x="6" y="262"/>
                    </a:cubicBezTo>
                    <a:cubicBezTo>
                      <a:pt x="6" y="258"/>
                      <a:pt x="6" y="258"/>
                      <a:pt x="6" y="258"/>
                    </a:cubicBezTo>
                    <a:cubicBezTo>
                      <a:pt x="6" y="250"/>
                      <a:pt x="6" y="250"/>
                      <a:pt x="6" y="250"/>
                    </a:cubicBezTo>
                    <a:cubicBezTo>
                      <a:pt x="3" y="243"/>
                      <a:pt x="3" y="243"/>
                      <a:pt x="3" y="243"/>
                    </a:cubicBezTo>
                    <a:cubicBezTo>
                      <a:pt x="0" y="239"/>
                      <a:pt x="0" y="239"/>
                      <a:pt x="0" y="239"/>
                    </a:cubicBezTo>
                    <a:cubicBezTo>
                      <a:pt x="0" y="235"/>
                      <a:pt x="0" y="235"/>
                      <a:pt x="0" y="235"/>
                    </a:cubicBezTo>
                    <a:cubicBezTo>
                      <a:pt x="2" y="230"/>
                      <a:pt x="2" y="230"/>
                      <a:pt x="2" y="230"/>
                    </a:cubicBezTo>
                    <a:cubicBezTo>
                      <a:pt x="8" y="227"/>
                      <a:pt x="8" y="227"/>
                      <a:pt x="8" y="227"/>
                    </a:cubicBezTo>
                    <a:cubicBezTo>
                      <a:pt x="9" y="222"/>
                      <a:pt x="9" y="222"/>
                      <a:pt x="9" y="222"/>
                    </a:cubicBezTo>
                    <a:cubicBezTo>
                      <a:pt x="8" y="221"/>
                      <a:pt x="8" y="221"/>
                      <a:pt x="8" y="221"/>
                    </a:cubicBezTo>
                    <a:cubicBezTo>
                      <a:pt x="8" y="219"/>
                      <a:pt x="8" y="219"/>
                      <a:pt x="8" y="219"/>
                    </a:cubicBezTo>
                    <a:cubicBezTo>
                      <a:pt x="10" y="217"/>
                      <a:pt x="10" y="217"/>
                      <a:pt x="10" y="217"/>
                    </a:cubicBezTo>
                    <a:cubicBezTo>
                      <a:pt x="12" y="212"/>
                      <a:pt x="12" y="212"/>
                      <a:pt x="12" y="212"/>
                    </a:cubicBezTo>
                    <a:cubicBezTo>
                      <a:pt x="13" y="205"/>
                      <a:pt x="13" y="205"/>
                      <a:pt x="13" y="205"/>
                    </a:cubicBezTo>
                    <a:cubicBezTo>
                      <a:pt x="11" y="200"/>
                      <a:pt x="11" y="200"/>
                      <a:pt x="11" y="200"/>
                    </a:cubicBezTo>
                    <a:cubicBezTo>
                      <a:pt x="11" y="197"/>
                      <a:pt x="11" y="197"/>
                      <a:pt x="11" y="197"/>
                    </a:cubicBezTo>
                    <a:cubicBezTo>
                      <a:pt x="13" y="195"/>
                      <a:pt x="13" y="195"/>
                      <a:pt x="13" y="195"/>
                    </a:cubicBezTo>
                    <a:cubicBezTo>
                      <a:pt x="10" y="191"/>
                      <a:pt x="10" y="191"/>
                      <a:pt x="10" y="191"/>
                    </a:cubicBezTo>
                    <a:cubicBezTo>
                      <a:pt x="11" y="186"/>
                      <a:pt x="11" y="186"/>
                      <a:pt x="11" y="186"/>
                    </a:cubicBezTo>
                    <a:cubicBezTo>
                      <a:pt x="13" y="179"/>
                      <a:pt x="13" y="179"/>
                      <a:pt x="13" y="179"/>
                    </a:cubicBezTo>
                    <a:cubicBezTo>
                      <a:pt x="12" y="172"/>
                      <a:pt x="12" y="172"/>
                      <a:pt x="12" y="172"/>
                    </a:cubicBezTo>
                    <a:cubicBezTo>
                      <a:pt x="13" y="169"/>
                      <a:pt x="13" y="169"/>
                      <a:pt x="13" y="169"/>
                    </a:cubicBezTo>
                    <a:cubicBezTo>
                      <a:pt x="18" y="163"/>
                      <a:pt x="18" y="163"/>
                      <a:pt x="18" y="163"/>
                    </a:cubicBezTo>
                    <a:cubicBezTo>
                      <a:pt x="20" y="159"/>
                      <a:pt x="20" y="159"/>
                      <a:pt x="20" y="159"/>
                    </a:cubicBezTo>
                    <a:cubicBezTo>
                      <a:pt x="21" y="157"/>
                      <a:pt x="21" y="157"/>
                      <a:pt x="21" y="157"/>
                    </a:cubicBezTo>
                    <a:cubicBezTo>
                      <a:pt x="24" y="151"/>
                      <a:pt x="24" y="151"/>
                      <a:pt x="24" y="151"/>
                    </a:cubicBezTo>
                    <a:cubicBezTo>
                      <a:pt x="27" y="147"/>
                      <a:pt x="27" y="147"/>
                      <a:pt x="27" y="147"/>
                    </a:cubicBezTo>
                    <a:cubicBezTo>
                      <a:pt x="30" y="142"/>
                      <a:pt x="30" y="142"/>
                      <a:pt x="30" y="142"/>
                    </a:cubicBezTo>
                    <a:cubicBezTo>
                      <a:pt x="31" y="132"/>
                      <a:pt x="31" y="132"/>
                      <a:pt x="31" y="132"/>
                    </a:cubicBezTo>
                    <a:cubicBezTo>
                      <a:pt x="36" y="123"/>
                      <a:pt x="36" y="123"/>
                      <a:pt x="36" y="123"/>
                    </a:cubicBezTo>
                    <a:cubicBezTo>
                      <a:pt x="37" y="115"/>
                      <a:pt x="37" y="115"/>
                      <a:pt x="37" y="115"/>
                    </a:cubicBezTo>
                    <a:cubicBezTo>
                      <a:pt x="42" y="104"/>
                      <a:pt x="42" y="104"/>
                      <a:pt x="42" y="104"/>
                    </a:cubicBezTo>
                    <a:cubicBezTo>
                      <a:pt x="44" y="100"/>
                      <a:pt x="44" y="100"/>
                      <a:pt x="44" y="100"/>
                    </a:cubicBezTo>
                    <a:cubicBezTo>
                      <a:pt x="47" y="95"/>
                      <a:pt x="47" y="95"/>
                      <a:pt x="47" y="95"/>
                    </a:cubicBezTo>
                    <a:cubicBezTo>
                      <a:pt x="47" y="92"/>
                      <a:pt x="47" y="92"/>
                      <a:pt x="47" y="92"/>
                    </a:cubicBezTo>
                    <a:cubicBezTo>
                      <a:pt x="47" y="89"/>
                      <a:pt x="47" y="89"/>
                      <a:pt x="47" y="89"/>
                    </a:cubicBezTo>
                    <a:cubicBezTo>
                      <a:pt x="50" y="85"/>
                      <a:pt x="50" y="85"/>
                      <a:pt x="50" y="85"/>
                    </a:cubicBezTo>
                    <a:cubicBezTo>
                      <a:pt x="50" y="82"/>
                      <a:pt x="50" y="82"/>
                      <a:pt x="50" y="82"/>
                    </a:cubicBezTo>
                    <a:cubicBezTo>
                      <a:pt x="52" y="81"/>
                      <a:pt x="52" y="81"/>
                      <a:pt x="52" y="81"/>
                    </a:cubicBezTo>
                    <a:cubicBezTo>
                      <a:pt x="54" y="82"/>
                      <a:pt x="54" y="82"/>
                      <a:pt x="54" y="82"/>
                    </a:cubicBezTo>
                    <a:cubicBezTo>
                      <a:pt x="60" y="83"/>
                      <a:pt x="60" y="83"/>
                      <a:pt x="60" y="83"/>
                    </a:cubicBezTo>
                    <a:cubicBezTo>
                      <a:pt x="63" y="84"/>
                      <a:pt x="63" y="84"/>
                      <a:pt x="63" y="84"/>
                    </a:cubicBezTo>
                    <a:cubicBezTo>
                      <a:pt x="65" y="84"/>
                      <a:pt x="65" y="84"/>
                      <a:pt x="65" y="84"/>
                    </a:cubicBezTo>
                    <a:cubicBezTo>
                      <a:pt x="69" y="86"/>
                      <a:pt x="69" y="86"/>
                      <a:pt x="69" y="86"/>
                    </a:cubicBezTo>
                    <a:cubicBezTo>
                      <a:pt x="71" y="90"/>
                      <a:pt x="71" y="90"/>
                      <a:pt x="71" y="90"/>
                    </a:cubicBezTo>
                    <a:cubicBezTo>
                      <a:pt x="70" y="86"/>
                      <a:pt x="70" y="86"/>
                      <a:pt x="70" y="86"/>
                    </a:cubicBezTo>
                    <a:cubicBezTo>
                      <a:pt x="68" y="83"/>
                      <a:pt x="68" y="83"/>
                      <a:pt x="68" y="83"/>
                    </a:cubicBezTo>
                    <a:cubicBezTo>
                      <a:pt x="64" y="83"/>
                      <a:pt x="64" y="83"/>
                      <a:pt x="64" y="83"/>
                    </a:cubicBezTo>
                    <a:cubicBezTo>
                      <a:pt x="61" y="80"/>
                      <a:pt x="61" y="80"/>
                      <a:pt x="61" y="80"/>
                    </a:cubicBezTo>
                    <a:cubicBezTo>
                      <a:pt x="56" y="80"/>
                      <a:pt x="56" y="80"/>
                      <a:pt x="56" y="80"/>
                    </a:cubicBezTo>
                    <a:cubicBezTo>
                      <a:pt x="50" y="78"/>
                      <a:pt x="50" y="78"/>
                      <a:pt x="50" y="78"/>
                    </a:cubicBezTo>
                    <a:cubicBezTo>
                      <a:pt x="50" y="76"/>
                      <a:pt x="50" y="76"/>
                      <a:pt x="50" y="76"/>
                    </a:cubicBezTo>
                    <a:cubicBezTo>
                      <a:pt x="51" y="75"/>
                      <a:pt x="51" y="75"/>
                      <a:pt x="51" y="75"/>
                    </a:cubicBezTo>
                    <a:cubicBezTo>
                      <a:pt x="53" y="75"/>
                      <a:pt x="53" y="75"/>
                      <a:pt x="53" y="75"/>
                    </a:cubicBezTo>
                    <a:cubicBezTo>
                      <a:pt x="55" y="73"/>
                      <a:pt x="55" y="73"/>
                      <a:pt x="55" y="73"/>
                    </a:cubicBezTo>
                    <a:cubicBezTo>
                      <a:pt x="55" y="69"/>
                      <a:pt x="55" y="69"/>
                      <a:pt x="55" y="69"/>
                    </a:cubicBezTo>
                    <a:cubicBezTo>
                      <a:pt x="56" y="66"/>
                      <a:pt x="56" y="66"/>
                      <a:pt x="56" y="66"/>
                    </a:cubicBezTo>
                    <a:cubicBezTo>
                      <a:pt x="53" y="65"/>
                      <a:pt x="53" y="65"/>
                      <a:pt x="53" y="65"/>
                    </a:cubicBezTo>
                    <a:cubicBezTo>
                      <a:pt x="52" y="64"/>
                      <a:pt x="52" y="64"/>
                      <a:pt x="52" y="64"/>
                    </a:cubicBezTo>
                    <a:cubicBezTo>
                      <a:pt x="53" y="61"/>
                      <a:pt x="53" y="61"/>
                      <a:pt x="53" y="61"/>
                    </a:cubicBezTo>
                    <a:cubicBezTo>
                      <a:pt x="54" y="61"/>
                      <a:pt x="54" y="61"/>
                      <a:pt x="54" y="61"/>
                    </a:cubicBezTo>
                    <a:cubicBezTo>
                      <a:pt x="56" y="58"/>
                      <a:pt x="56" y="58"/>
                      <a:pt x="56" y="58"/>
                    </a:cubicBezTo>
                    <a:cubicBezTo>
                      <a:pt x="56" y="57"/>
                      <a:pt x="56" y="57"/>
                      <a:pt x="56" y="57"/>
                    </a:cubicBezTo>
                    <a:cubicBezTo>
                      <a:pt x="53" y="56"/>
                      <a:pt x="53" y="56"/>
                      <a:pt x="53" y="56"/>
                    </a:cubicBezTo>
                    <a:cubicBezTo>
                      <a:pt x="53" y="54"/>
                      <a:pt x="53" y="54"/>
                      <a:pt x="53" y="54"/>
                    </a:cubicBezTo>
                    <a:cubicBezTo>
                      <a:pt x="54" y="49"/>
                      <a:pt x="54" y="49"/>
                      <a:pt x="54" y="49"/>
                    </a:cubicBezTo>
                    <a:cubicBezTo>
                      <a:pt x="53" y="45"/>
                      <a:pt x="53" y="45"/>
                      <a:pt x="53" y="45"/>
                    </a:cubicBezTo>
                    <a:cubicBezTo>
                      <a:pt x="55" y="35"/>
                      <a:pt x="55" y="35"/>
                      <a:pt x="55" y="35"/>
                    </a:cubicBezTo>
                    <a:cubicBezTo>
                      <a:pt x="53" y="28"/>
                      <a:pt x="53" y="28"/>
                      <a:pt x="53" y="28"/>
                    </a:cubicBezTo>
                    <a:cubicBezTo>
                      <a:pt x="53" y="25"/>
                      <a:pt x="53" y="25"/>
                      <a:pt x="53" y="25"/>
                    </a:cubicBezTo>
                    <a:cubicBezTo>
                      <a:pt x="56" y="18"/>
                      <a:pt x="56" y="18"/>
                      <a:pt x="56" y="18"/>
                    </a:cubicBezTo>
                    <a:cubicBezTo>
                      <a:pt x="56" y="14"/>
                      <a:pt x="56" y="14"/>
                      <a:pt x="56" y="14"/>
                    </a:cubicBezTo>
                    <a:cubicBezTo>
                      <a:pt x="58" y="14"/>
                      <a:pt x="58" y="14"/>
                      <a:pt x="58" y="14"/>
                    </a:cubicBezTo>
                    <a:cubicBezTo>
                      <a:pt x="66" y="21"/>
                      <a:pt x="66" y="21"/>
                      <a:pt x="66" y="21"/>
                    </a:cubicBezTo>
                    <a:cubicBezTo>
                      <a:pt x="71" y="24"/>
                      <a:pt x="71" y="24"/>
                      <a:pt x="71" y="24"/>
                    </a:cubicBezTo>
                    <a:cubicBezTo>
                      <a:pt x="80" y="25"/>
                      <a:pt x="80" y="25"/>
                      <a:pt x="80" y="25"/>
                    </a:cubicBezTo>
                    <a:cubicBezTo>
                      <a:pt x="83" y="26"/>
                      <a:pt x="83" y="26"/>
                      <a:pt x="83" y="26"/>
                    </a:cubicBezTo>
                    <a:cubicBezTo>
                      <a:pt x="85" y="30"/>
                      <a:pt x="85" y="30"/>
                      <a:pt x="85" y="30"/>
                    </a:cubicBezTo>
                    <a:cubicBezTo>
                      <a:pt x="86" y="29"/>
                      <a:pt x="86" y="29"/>
                      <a:pt x="86" y="29"/>
                    </a:cubicBezTo>
                    <a:cubicBezTo>
                      <a:pt x="88" y="29"/>
                      <a:pt x="88" y="29"/>
                      <a:pt x="88" y="29"/>
                    </a:cubicBezTo>
                    <a:cubicBezTo>
                      <a:pt x="89" y="31"/>
                      <a:pt x="89" y="31"/>
                      <a:pt x="89" y="31"/>
                    </a:cubicBezTo>
                    <a:cubicBezTo>
                      <a:pt x="88" y="34"/>
                      <a:pt x="88" y="34"/>
                      <a:pt x="88" y="34"/>
                    </a:cubicBezTo>
                    <a:cubicBezTo>
                      <a:pt x="84" y="35"/>
                      <a:pt x="84" y="35"/>
                      <a:pt x="84" y="35"/>
                    </a:cubicBezTo>
                    <a:cubicBezTo>
                      <a:pt x="81" y="38"/>
                      <a:pt x="81" y="38"/>
                      <a:pt x="81" y="38"/>
                    </a:cubicBezTo>
                    <a:cubicBezTo>
                      <a:pt x="81" y="40"/>
                      <a:pt x="81" y="40"/>
                      <a:pt x="81" y="40"/>
                    </a:cubicBezTo>
                    <a:cubicBezTo>
                      <a:pt x="84" y="40"/>
                      <a:pt x="84" y="40"/>
                      <a:pt x="84" y="40"/>
                    </a:cubicBezTo>
                    <a:cubicBezTo>
                      <a:pt x="85" y="38"/>
                      <a:pt x="85" y="38"/>
                      <a:pt x="85" y="38"/>
                    </a:cubicBezTo>
                    <a:cubicBezTo>
                      <a:pt x="89" y="35"/>
                      <a:pt x="89" y="35"/>
                      <a:pt x="89" y="35"/>
                    </a:cubicBezTo>
                    <a:cubicBezTo>
                      <a:pt x="91" y="34"/>
                      <a:pt x="91" y="34"/>
                      <a:pt x="91" y="34"/>
                    </a:cubicBezTo>
                    <a:cubicBezTo>
                      <a:pt x="91" y="37"/>
                      <a:pt x="91" y="37"/>
                      <a:pt x="91" y="37"/>
                    </a:cubicBezTo>
                    <a:cubicBezTo>
                      <a:pt x="88" y="40"/>
                      <a:pt x="88" y="40"/>
                      <a:pt x="88" y="40"/>
                    </a:cubicBezTo>
                    <a:cubicBezTo>
                      <a:pt x="86" y="44"/>
                      <a:pt x="86" y="44"/>
                      <a:pt x="86" y="44"/>
                    </a:cubicBezTo>
                    <a:cubicBezTo>
                      <a:pt x="86" y="49"/>
                      <a:pt x="86" y="49"/>
                      <a:pt x="86" y="49"/>
                    </a:cubicBezTo>
                    <a:cubicBezTo>
                      <a:pt x="85" y="50"/>
                      <a:pt x="85" y="50"/>
                      <a:pt x="85" y="50"/>
                    </a:cubicBezTo>
                    <a:cubicBezTo>
                      <a:pt x="84" y="47"/>
                      <a:pt x="84" y="47"/>
                      <a:pt x="84" y="47"/>
                    </a:cubicBezTo>
                    <a:cubicBezTo>
                      <a:pt x="82" y="49"/>
                      <a:pt x="82" y="49"/>
                      <a:pt x="82" y="49"/>
                    </a:cubicBezTo>
                    <a:cubicBezTo>
                      <a:pt x="81" y="48"/>
                      <a:pt x="81" y="48"/>
                      <a:pt x="81" y="48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9" y="53"/>
                      <a:pt x="79" y="53"/>
                      <a:pt x="79" y="53"/>
                    </a:cubicBezTo>
                    <a:cubicBezTo>
                      <a:pt x="82" y="55"/>
                      <a:pt x="82" y="55"/>
                      <a:pt x="82" y="55"/>
                    </a:cubicBezTo>
                    <a:cubicBezTo>
                      <a:pt x="87" y="52"/>
                      <a:pt x="87" y="52"/>
                      <a:pt x="87" y="52"/>
                    </a:cubicBezTo>
                    <a:cubicBezTo>
                      <a:pt x="88" y="49"/>
                      <a:pt x="88" y="49"/>
                      <a:pt x="88" y="49"/>
                    </a:cubicBezTo>
                    <a:cubicBezTo>
                      <a:pt x="90" y="46"/>
                      <a:pt x="90" y="46"/>
                      <a:pt x="90" y="46"/>
                    </a:cubicBezTo>
                    <a:cubicBezTo>
                      <a:pt x="90" y="42"/>
                      <a:pt x="90" y="42"/>
                      <a:pt x="90" y="42"/>
                    </a:cubicBezTo>
                    <a:cubicBezTo>
                      <a:pt x="92" y="40"/>
                      <a:pt x="92" y="40"/>
                      <a:pt x="92" y="40"/>
                    </a:cubicBezTo>
                    <a:cubicBezTo>
                      <a:pt x="93" y="36"/>
                      <a:pt x="93" y="36"/>
                      <a:pt x="93" y="36"/>
                    </a:cubicBezTo>
                    <a:cubicBezTo>
                      <a:pt x="97" y="34"/>
                      <a:pt x="97" y="34"/>
                      <a:pt x="97" y="34"/>
                    </a:cubicBezTo>
                    <a:cubicBezTo>
                      <a:pt x="100" y="30"/>
                      <a:pt x="100" y="30"/>
                      <a:pt x="100" y="30"/>
                    </a:cubicBezTo>
                    <a:cubicBezTo>
                      <a:pt x="98" y="28"/>
                      <a:pt x="98" y="28"/>
                      <a:pt x="98" y="28"/>
                    </a:cubicBezTo>
                    <a:cubicBezTo>
                      <a:pt x="98" y="25"/>
                      <a:pt x="98" y="25"/>
                      <a:pt x="98" y="25"/>
                    </a:cubicBezTo>
                    <a:cubicBezTo>
                      <a:pt x="96" y="24"/>
                      <a:pt x="96" y="24"/>
                      <a:pt x="96" y="24"/>
                    </a:cubicBezTo>
                    <a:cubicBezTo>
                      <a:pt x="99" y="21"/>
                      <a:pt x="99" y="21"/>
                      <a:pt x="99" y="21"/>
                    </a:cubicBezTo>
                    <a:cubicBezTo>
                      <a:pt x="100" y="20"/>
                      <a:pt x="100" y="20"/>
                      <a:pt x="100" y="20"/>
                    </a:cubicBezTo>
                    <a:cubicBezTo>
                      <a:pt x="97" y="18"/>
                      <a:pt x="97" y="18"/>
                      <a:pt x="97" y="18"/>
                    </a:cubicBezTo>
                    <a:cubicBezTo>
                      <a:pt x="97" y="15"/>
                      <a:pt x="97" y="15"/>
                      <a:pt x="97" y="15"/>
                    </a:cubicBezTo>
                    <a:cubicBezTo>
                      <a:pt x="100" y="13"/>
                      <a:pt x="100" y="13"/>
                      <a:pt x="100" y="13"/>
                    </a:cubicBezTo>
                    <a:cubicBezTo>
                      <a:pt x="100" y="10"/>
                      <a:pt x="100" y="10"/>
                      <a:pt x="100" y="10"/>
                    </a:cubicBezTo>
                    <a:cubicBezTo>
                      <a:pt x="96" y="7"/>
                      <a:pt x="96" y="7"/>
                      <a:pt x="96" y="7"/>
                    </a:cubicBezTo>
                    <a:cubicBezTo>
                      <a:pt x="95" y="0"/>
                      <a:pt x="95" y="0"/>
                      <a:pt x="95" y="0"/>
                    </a:cubicBezTo>
                    <a:close/>
                    <a:moveTo>
                      <a:pt x="999" y="264"/>
                    </a:moveTo>
                    <a:cubicBezTo>
                      <a:pt x="999" y="265"/>
                      <a:pt x="999" y="265"/>
                      <a:pt x="999" y="265"/>
                    </a:cubicBezTo>
                    <a:cubicBezTo>
                      <a:pt x="1002" y="265"/>
                      <a:pt x="1002" y="265"/>
                      <a:pt x="1002" y="265"/>
                    </a:cubicBezTo>
                    <a:cubicBezTo>
                      <a:pt x="1003" y="264"/>
                      <a:pt x="1003" y="264"/>
                      <a:pt x="1003" y="264"/>
                    </a:cubicBezTo>
                    <a:cubicBezTo>
                      <a:pt x="1006" y="264"/>
                      <a:pt x="1006" y="264"/>
                      <a:pt x="1006" y="264"/>
                    </a:cubicBezTo>
                    <a:cubicBezTo>
                      <a:pt x="1004" y="262"/>
                      <a:pt x="1004" y="262"/>
                      <a:pt x="1004" y="262"/>
                    </a:cubicBezTo>
                    <a:cubicBezTo>
                      <a:pt x="1001" y="262"/>
                      <a:pt x="1001" y="262"/>
                      <a:pt x="1001" y="262"/>
                    </a:cubicBezTo>
                    <a:cubicBezTo>
                      <a:pt x="1000" y="263"/>
                      <a:pt x="1000" y="263"/>
                      <a:pt x="1000" y="263"/>
                    </a:cubicBezTo>
                    <a:cubicBezTo>
                      <a:pt x="999" y="264"/>
                      <a:pt x="999" y="264"/>
                      <a:pt x="999" y="264"/>
                    </a:cubicBezTo>
                    <a:close/>
                    <a:moveTo>
                      <a:pt x="940" y="279"/>
                    </a:moveTo>
                    <a:cubicBezTo>
                      <a:pt x="939" y="281"/>
                      <a:pt x="939" y="281"/>
                      <a:pt x="939" y="281"/>
                    </a:cubicBezTo>
                    <a:cubicBezTo>
                      <a:pt x="941" y="280"/>
                      <a:pt x="941" y="280"/>
                      <a:pt x="941" y="280"/>
                    </a:cubicBezTo>
                    <a:cubicBezTo>
                      <a:pt x="943" y="279"/>
                      <a:pt x="943" y="279"/>
                      <a:pt x="943" y="279"/>
                    </a:cubicBezTo>
                    <a:cubicBezTo>
                      <a:pt x="947" y="278"/>
                      <a:pt x="947" y="278"/>
                      <a:pt x="947" y="278"/>
                    </a:cubicBezTo>
                    <a:cubicBezTo>
                      <a:pt x="951" y="277"/>
                      <a:pt x="951" y="277"/>
                      <a:pt x="951" y="277"/>
                    </a:cubicBezTo>
                    <a:cubicBezTo>
                      <a:pt x="957" y="277"/>
                      <a:pt x="957" y="277"/>
                      <a:pt x="957" y="277"/>
                    </a:cubicBezTo>
                    <a:cubicBezTo>
                      <a:pt x="960" y="276"/>
                      <a:pt x="960" y="276"/>
                      <a:pt x="960" y="276"/>
                    </a:cubicBezTo>
                    <a:cubicBezTo>
                      <a:pt x="966" y="276"/>
                      <a:pt x="966" y="276"/>
                      <a:pt x="966" y="276"/>
                    </a:cubicBezTo>
                    <a:cubicBezTo>
                      <a:pt x="967" y="275"/>
                      <a:pt x="967" y="275"/>
                      <a:pt x="967" y="275"/>
                    </a:cubicBezTo>
                    <a:cubicBezTo>
                      <a:pt x="969" y="275"/>
                      <a:pt x="969" y="275"/>
                      <a:pt x="969" y="275"/>
                    </a:cubicBezTo>
                    <a:cubicBezTo>
                      <a:pt x="974" y="273"/>
                      <a:pt x="974" y="273"/>
                      <a:pt x="974" y="273"/>
                    </a:cubicBezTo>
                    <a:cubicBezTo>
                      <a:pt x="976" y="271"/>
                      <a:pt x="976" y="271"/>
                      <a:pt x="976" y="271"/>
                    </a:cubicBezTo>
                    <a:cubicBezTo>
                      <a:pt x="973" y="272"/>
                      <a:pt x="973" y="272"/>
                      <a:pt x="973" y="272"/>
                    </a:cubicBezTo>
                    <a:cubicBezTo>
                      <a:pt x="971" y="272"/>
                      <a:pt x="971" y="272"/>
                      <a:pt x="971" y="272"/>
                    </a:cubicBezTo>
                    <a:cubicBezTo>
                      <a:pt x="967" y="273"/>
                      <a:pt x="967" y="273"/>
                      <a:pt x="967" y="273"/>
                    </a:cubicBezTo>
                    <a:cubicBezTo>
                      <a:pt x="968" y="271"/>
                      <a:pt x="968" y="271"/>
                      <a:pt x="968" y="271"/>
                    </a:cubicBezTo>
                    <a:cubicBezTo>
                      <a:pt x="970" y="270"/>
                      <a:pt x="970" y="270"/>
                      <a:pt x="970" y="270"/>
                    </a:cubicBezTo>
                    <a:cubicBezTo>
                      <a:pt x="970" y="269"/>
                      <a:pt x="970" y="269"/>
                      <a:pt x="970" y="269"/>
                    </a:cubicBezTo>
                    <a:cubicBezTo>
                      <a:pt x="964" y="272"/>
                      <a:pt x="964" y="272"/>
                      <a:pt x="964" y="272"/>
                    </a:cubicBezTo>
                    <a:cubicBezTo>
                      <a:pt x="958" y="272"/>
                      <a:pt x="958" y="272"/>
                      <a:pt x="958" y="272"/>
                    </a:cubicBezTo>
                    <a:cubicBezTo>
                      <a:pt x="953" y="273"/>
                      <a:pt x="953" y="273"/>
                      <a:pt x="953" y="273"/>
                    </a:cubicBezTo>
                    <a:cubicBezTo>
                      <a:pt x="949" y="272"/>
                      <a:pt x="949" y="272"/>
                      <a:pt x="949" y="272"/>
                    </a:cubicBezTo>
                    <a:cubicBezTo>
                      <a:pt x="944" y="274"/>
                      <a:pt x="944" y="274"/>
                      <a:pt x="944" y="274"/>
                    </a:cubicBezTo>
                    <a:cubicBezTo>
                      <a:pt x="939" y="275"/>
                      <a:pt x="939" y="275"/>
                      <a:pt x="939" y="275"/>
                    </a:cubicBezTo>
                    <a:cubicBezTo>
                      <a:pt x="937" y="278"/>
                      <a:pt x="937" y="278"/>
                      <a:pt x="937" y="278"/>
                    </a:cubicBezTo>
                    <a:cubicBezTo>
                      <a:pt x="938" y="279"/>
                      <a:pt x="938" y="279"/>
                      <a:pt x="938" y="279"/>
                    </a:cubicBezTo>
                    <a:cubicBezTo>
                      <a:pt x="940" y="279"/>
                      <a:pt x="940" y="279"/>
                      <a:pt x="940" y="279"/>
                    </a:cubicBezTo>
                    <a:close/>
                    <a:moveTo>
                      <a:pt x="95" y="19"/>
                    </a:moveTo>
                    <a:cubicBezTo>
                      <a:pt x="91" y="22"/>
                      <a:pt x="91" y="22"/>
                      <a:pt x="91" y="22"/>
                    </a:cubicBezTo>
                    <a:cubicBezTo>
                      <a:pt x="91" y="27"/>
                      <a:pt x="91" y="27"/>
                      <a:pt x="91" y="27"/>
                    </a:cubicBezTo>
                    <a:cubicBezTo>
                      <a:pt x="94" y="33"/>
                      <a:pt x="94" y="33"/>
                      <a:pt x="94" y="33"/>
                    </a:cubicBezTo>
                    <a:cubicBezTo>
                      <a:pt x="95" y="32"/>
                      <a:pt x="95" y="32"/>
                      <a:pt x="95" y="32"/>
                    </a:cubicBezTo>
                    <a:cubicBezTo>
                      <a:pt x="93" y="25"/>
                      <a:pt x="93" y="25"/>
                      <a:pt x="93" y="25"/>
                    </a:cubicBezTo>
                    <a:cubicBezTo>
                      <a:pt x="94" y="22"/>
                      <a:pt x="94" y="22"/>
                      <a:pt x="94" y="22"/>
                    </a:cubicBezTo>
                    <a:cubicBezTo>
                      <a:pt x="96" y="21"/>
                      <a:pt x="96" y="21"/>
                      <a:pt x="96" y="21"/>
                    </a:cubicBezTo>
                    <a:cubicBezTo>
                      <a:pt x="95" y="19"/>
                      <a:pt x="95" y="19"/>
                      <a:pt x="95" y="19"/>
                    </a:cubicBezTo>
                    <a:close/>
                    <a:moveTo>
                      <a:pt x="459" y="560"/>
                    </a:moveTo>
                    <a:cubicBezTo>
                      <a:pt x="461" y="559"/>
                      <a:pt x="461" y="559"/>
                      <a:pt x="461" y="559"/>
                    </a:cubicBezTo>
                    <a:cubicBezTo>
                      <a:pt x="465" y="554"/>
                      <a:pt x="465" y="554"/>
                      <a:pt x="465" y="554"/>
                    </a:cubicBezTo>
                    <a:cubicBezTo>
                      <a:pt x="468" y="551"/>
                      <a:pt x="468" y="551"/>
                      <a:pt x="468" y="551"/>
                    </a:cubicBezTo>
                    <a:cubicBezTo>
                      <a:pt x="464" y="553"/>
                      <a:pt x="464" y="553"/>
                      <a:pt x="464" y="553"/>
                    </a:cubicBezTo>
                    <a:cubicBezTo>
                      <a:pt x="459" y="560"/>
                      <a:pt x="459" y="560"/>
                      <a:pt x="459" y="560"/>
                    </a:cubicBezTo>
                    <a:close/>
                    <a:moveTo>
                      <a:pt x="455" y="570"/>
                    </a:moveTo>
                    <a:cubicBezTo>
                      <a:pt x="456" y="569"/>
                      <a:pt x="456" y="569"/>
                      <a:pt x="456" y="569"/>
                    </a:cubicBezTo>
                    <a:cubicBezTo>
                      <a:pt x="458" y="564"/>
                      <a:pt x="458" y="564"/>
                      <a:pt x="458" y="564"/>
                    </a:cubicBezTo>
                    <a:cubicBezTo>
                      <a:pt x="458" y="562"/>
                      <a:pt x="458" y="562"/>
                      <a:pt x="458" y="562"/>
                    </a:cubicBezTo>
                    <a:cubicBezTo>
                      <a:pt x="455" y="570"/>
                      <a:pt x="455" y="570"/>
                      <a:pt x="455" y="570"/>
                    </a:cubicBezTo>
                    <a:close/>
                    <a:moveTo>
                      <a:pt x="453" y="595"/>
                    </a:moveTo>
                    <a:cubicBezTo>
                      <a:pt x="452" y="589"/>
                      <a:pt x="452" y="589"/>
                      <a:pt x="452" y="589"/>
                    </a:cubicBezTo>
                    <a:cubicBezTo>
                      <a:pt x="452" y="580"/>
                      <a:pt x="452" y="580"/>
                      <a:pt x="452" y="580"/>
                    </a:cubicBezTo>
                    <a:cubicBezTo>
                      <a:pt x="455" y="571"/>
                      <a:pt x="455" y="571"/>
                      <a:pt x="455" y="571"/>
                    </a:cubicBezTo>
                    <a:cubicBezTo>
                      <a:pt x="451" y="580"/>
                      <a:pt x="451" y="580"/>
                      <a:pt x="451" y="580"/>
                    </a:cubicBezTo>
                    <a:cubicBezTo>
                      <a:pt x="451" y="588"/>
                      <a:pt x="451" y="588"/>
                      <a:pt x="451" y="588"/>
                    </a:cubicBezTo>
                    <a:cubicBezTo>
                      <a:pt x="451" y="588"/>
                      <a:pt x="454" y="595"/>
                      <a:pt x="453" y="595"/>
                    </a:cubicBezTo>
                    <a:close/>
                  </a:path>
                </a:pathLst>
              </a:custGeom>
              <a:solidFill>
                <a:schemeClr val="accent4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612" name="Freeform 416"/>
              <p:cNvSpPr>
                <a:spLocks noEditPoints="1"/>
              </p:cNvSpPr>
              <p:nvPr userDrawn="1"/>
            </p:nvSpPr>
            <p:spPr bwMode="auto">
              <a:xfrm>
                <a:off x="2123" y="2834"/>
                <a:ext cx="719" cy="728"/>
              </a:xfrm>
              <a:custGeom>
                <a:avLst/>
                <a:gdLst>
                  <a:gd name="T0" fmla="*/ 448 w 753"/>
                  <a:gd name="T1" fmla="*/ 103 h 762"/>
                  <a:gd name="T2" fmla="*/ 453 w 753"/>
                  <a:gd name="T3" fmla="*/ 99 h 762"/>
                  <a:gd name="T4" fmla="*/ 461 w 753"/>
                  <a:gd name="T5" fmla="*/ 99 h 762"/>
                  <a:gd name="T6" fmla="*/ 473 w 753"/>
                  <a:gd name="T7" fmla="*/ 103 h 762"/>
                  <a:gd name="T8" fmla="*/ 434 w 753"/>
                  <a:gd name="T9" fmla="*/ 22 h 762"/>
                  <a:gd name="T10" fmla="*/ 407 w 753"/>
                  <a:gd name="T11" fmla="*/ 56 h 762"/>
                  <a:gd name="T12" fmla="*/ 381 w 753"/>
                  <a:gd name="T13" fmla="*/ 62 h 762"/>
                  <a:gd name="T14" fmla="*/ 343 w 753"/>
                  <a:gd name="T15" fmla="*/ 55 h 762"/>
                  <a:gd name="T16" fmla="*/ 327 w 753"/>
                  <a:gd name="T17" fmla="*/ 62 h 762"/>
                  <a:gd name="T18" fmla="*/ 279 w 753"/>
                  <a:gd name="T19" fmla="*/ 71 h 762"/>
                  <a:gd name="T20" fmla="*/ 278 w 753"/>
                  <a:gd name="T21" fmla="*/ 24 h 762"/>
                  <a:gd name="T22" fmla="*/ 257 w 753"/>
                  <a:gd name="T23" fmla="*/ 0 h 762"/>
                  <a:gd name="T24" fmla="*/ 191 w 753"/>
                  <a:gd name="T25" fmla="*/ 26 h 762"/>
                  <a:gd name="T26" fmla="*/ 202 w 753"/>
                  <a:gd name="T27" fmla="*/ 54 h 762"/>
                  <a:gd name="T28" fmla="*/ 132 w 753"/>
                  <a:gd name="T29" fmla="*/ 77 h 762"/>
                  <a:gd name="T30" fmla="*/ 79 w 753"/>
                  <a:gd name="T31" fmla="*/ 74 h 762"/>
                  <a:gd name="T32" fmla="*/ 89 w 753"/>
                  <a:gd name="T33" fmla="*/ 129 h 762"/>
                  <a:gd name="T34" fmla="*/ 44 w 753"/>
                  <a:gd name="T35" fmla="*/ 187 h 762"/>
                  <a:gd name="T36" fmla="*/ 12 w 753"/>
                  <a:gd name="T37" fmla="*/ 228 h 762"/>
                  <a:gd name="T38" fmla="*/ 22 w 753"/>
                  <a:gd name="T39" fmla="*/ 277 h 762"/>
                  <a:gd name="T40" fmla="*/ 67 w 753"/>
                  <a:gd name="T41" fmla="*/ 309 h 762"/>
                  <a:gd name="T42" fmla="*/ 116 w 753"/>
                  <a:gd name="T43" fmla="*/ 304 h 762"/>
                  <a:gd name="T44" fmla="*/ 165 w 753"/>
                  <a:gd name="T45" fmla="*/ 303 h 762"/>
                  <a:gd name="T46" fmla="*/ 218 w 753"/>
                  <a:gd name="T47" fmla="*/ 347 h 762"/>
                  <a:gd name="T48" fmla="*/ 271 w 753"/>
                  <a:gd name="T49" fmla="*/ 399 h 762"/>
                  <a:gd name="T50" fmla="*/ 320 w 753"/>
                  <a:gd name="T51" fmla="*/ 489 h 762"/>
                  <a:gd name="T52" fmla="*/ 365 w 753"/>
                  <a:gd name="T53" fmla="*/ 527 h 762"/>
                  <a:gd name="T54" fmla="*/ 392 w 753"/>
                  <a:gd name="T55" fmla="*/ 586 h 762"/>
                  <a:gd name="T56" fmla="*/ 398 w 753"/>
                  <a:gd name="T57" fmla="*/ 627 h 762"/>
                  <a:gd name="T58" fmla="*/ 360 w 753"/>
                  <a:gd name="T59" fmla="*/ 663 h 762"/>
                  <a:gd name="T60" fmla="*/ 365 w 753"/>
                  <a:gd name="T61" fmla="*/ 693 h 762"/>
                  <a:gd name="T62" fmla="*/ 413 w 753"/>
                  <a:gd name="T63" fmla="*/ 725 h 762"/>
                  <a:gd name="T64" fmla="*/ 442 w 753"/>
                  <a:gd name="T65" fmla="*/ 738 h 762"/>
                  <a:gd name="T66" fmla="*/ 457 w 753"/>
                  <a:gd name="T67" fmla="*/ 702 h 762"/>
                  <a:gd name="T68" fmla="*/ 469 w 753"/>
                  <a:gd name="T69" fmla="*/ 689 h 762"/>
                  <a:gd name="T70" fmla="*/ 451 w 753"/>
                  <a:gd name="T71" fmla="*/ 720 h 762"/>
                  <a:gd name="T72" fmla="*/ 502 w 753"/>
                  <a:gd name="T73" fmla="*/ 647 h 762"/>
                  <a:gd name="T74" fmla="*/ 503 w 753"/>
                  <a:gd name="T75" fmla="*/ 614 h 762"/>
                  <a:gd name="T76" fmla="*/ 517 w 753"/>
                  <a:gd name="T77" fmla="*/ 582 h 762"/>
                  <a:gd name="T78" fmla="*/ 566 w 753"/>
                  <a:gd name="T79" fmla="*/ 548 h 762"/>
                  <a:gd name="T80" fmla="*/ 591 w 753"/>
                  <a:gd name="T81" fmla="*/ 534 h 762"/>
                  <a:gd name="T82" fmla="*/ 611 w 753"/>
                  <a:gd name="T83" fmla="*/ 535 h 762"/>
                  <a:gd name="T84" fmla="*/ 645 w 753"/>
                  <a:gd name="T85" fmla="*/ 502 h 762"/>
                  <a:gd name="T86" fmla="*/ 667 w 753"/>
                  <a:gd name="T87" fmla="*/ 443 h 762"/>
                  <a:gd name="T88" fmla="*/ 677 w 753"/>
                  <a:gd name="T89" fmla="*/ 362 h 762"/>
                  <a:gd name="T90" fmla="*/ 673 w 753"/>
                  <a:gd name="T91" fmla="*/ 336 h 762"/>
                  <a:gd name="T92" fmla="*/ 698 w 753"/>
                  <a:gd name="T93" fmla="*/ 330 h 762"/>
                  <a:gd name="T94" fmla="*/ 749 w 753"/>
                  <a:gd name="T95" fmla="*/ 260 h 762"/>
                  <a:gd name="T96" fmla="*/ 729 w 753"/>
                  <a:gd name="T97" fmla="*/ 195 h 762"/>
                  <a:gd name="T98" fmla="*/ 656 w 753"/>
                  <a:gd name="T99" fmla="*/ 153 h 762"/>
                  <a:gd name="T100" fmla="*/ 616 w 753"/>
                  <a:gd name="T101" fmla="*/ 153 h 762"/>
                  <a:gd name="T102" fmla="*/ 582 w 753"/>
                  <a:gd name="T103" fmla="*/ 148 h 762"/>
                  <a:gd name="T104" fmla="*/ 564 w 753"/>
                  <a:gd name="T105" fmla="*/ 161 h 762"/>
                  <a:gd name="T106" fmla="*/ 547 w 753"/>
                  <a:gd name="T107" fmla="*/ 133 h 762"/>
                  <a:gd name="T108" fmla="*/ 522 w 753"/>
                  <a:gd name="T109" fmla="*/ 118 h 762"/>
                  <a:gd name="T110" fmla="*/ 490 w 753"/>
                  <a:gd name="T111" fmla="*/ 126 h 762"/>
                  <a:gd name="T112" fmla="*/ 463 w 753"/>
                  <a:gd name="T113" fmla="*/ 154 h 762"/>
                  <a:gd name="T114" fmla="*/ 454 w 753"/>
                  <a:gd name="T115" fmla="*/ 134 h 762"/>
                  <a:gd name="T116" fmla="*/ 490 w 753"/>
                  <a:gd name="T117" fmla="*/ 110 h 762"/>
                  <a:gd name="T118" fmla="*/ 449 w 753"/>
                  <a:gd name="T119" fmla="*/ 114 h 762"/>
                  <a:gd name="T120" fmla="*/ 428 w 753"/>
                  <a:gd name="T121" fmla="*/ 117 h 762"/>
                  <a:gd name="T122" fmla="*/ 459 w 753"/>
                  <a:gd name="T123" fmla="*/ 81 h 762"/>
                  <a:gd name="T124" fmla="*/ 440 w 753"/>
                  <a:gd name="T125" fmla="*/ 41 h 7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753" h="762">
                    <a:moveTo>
                      <a:pt x="440" y="112"/>
                    </a:moveTo>
                    <a:cubicBezTo>
                      <a:pt x="442" y="110"/>
                      <a:pt x="442" y="110"/>
                      <a:pt x="442" y="110"/>
                    </a:cubicBezTo>
                    <a:cubicBezTo>
                      <a:pt x="444" y="109"/>
                      <a:pt x="444" y="109"/>
                      <a:pt x="444" y="109"/>
                    </a:cubicBezTo>
                    <a:cubicBezTo>
                      <a:pt x="445" y="109"/>
                      <a:pt x="445" y="109"/>
                      <a:pt x="445" y="109"/>
                    </a:cubicBezTo>
                    <a:cubicBezTo>
                      <a:pt x="444" y="112"/>
                      <a:pt x="444" y="112"/>
                      <a:pt x="444" y="112"/>
                    </a:cubicBezTo>
                    <a:cubicBezTo>
                      <a:pt x="441" y="112"/>
                      <a:pt x="441" y="112"/>
                      <a:pt x="441" y="112"/>
                    </a:cubicBezTo>
                    <a:cubicBezTo>
                      <a:pt x="440" y="112"/>
                      <a:pt x="440" y="112"/>
                      <a:pt x="440" y="112"/>
                    </a:cubicBezTo>
                    <a:close/>
                    <a:moveTo>
                      <a:pt x="437" y="112"/>
                    </a:moveTo>
                    <a:cubicBezTo>
                      <a:pt x="438" y="112"/>
                      <a:pt x="438" y="112"/>
                      <a:pt x="438" y="112"/>
                    </a:cubicBezTo>
                    <a:cubicBezTo>
                      <a:pt x="439" y="110"/>
                      <a:pt x="439" y="110"/>
                      <a:pt x="439" y="110"/>
                    </a:cubicBezTo>
                    <a:cubicBezTo>
                      <a:pt x="443" y="106"/>
                      <a:pt x="443" y="106"/>
                      <a:pt x="443" y="106"/>
                    </a:cubicBezTo>
                    <a:cubicBezTo>
                      <a:pt x="445" y="106"/>
                      <a:pt x="445" y="106"/>
                      <a:pt x="445" y="106"/>
                    </a:cubicBezTo>
                    <a:cubicBezTo>
                      <a:pt x="448" y="103"/>
                      <a:pt x="448" y="103"/>
                      <a:pt x="448" y="103"/>
                    </a:cubicBezTo>
                    <a:cubicBezTo>
                      <a:pt x="448" y="101"/>
                      <a:pt x="448" y="101"/>
                      <a:pt x="448" y="101"/>
                    </a:cubicBezTo>
                    <a:cubicBezTo>
                      <a:pt x="446" y="102"/>
                      <a:pt x="446" y="102"/>
                      <a:pt x="446" y="102"/>
                    </a:cubicBezTo>
                    <a:cubicBezTo>
                      <a:pt x="444" y="102"/>
                      <a:pt x="444" y="102"/>
                      <a:pt x="444" y="102"/>
                    </a:cubicBezTo>
                    <a:cubicBezTo>
                      <a:pt x="443" y="102"/>
                      <a:pt x="443" y="102"/>
                      <a:pt x="443" y="102"/>
                    </a:cubicBezTo>
                    <a:cubicBezTo>
                      <a:pt x="439" y="106"/>
                      <a:pt x="439" y="106"/>
                      <a:pt x="439" y="106"/>
                    </a:cubicBezTo>
                    <a:cubicBezTo>
                      <a:pt x="437" y="112"/>
                      <a:pt x="437" y="112"/>
                      <a:pt x="437" y="112"/>
                    </a:cubicBezTo>
                    <a:close/>
                    <a:moveTo>
                      <a:pt x="453" y="99"/>
                    </a:moveTo>
                    <a:cubicBezTo>
                      <a:pt x="453" y="97"/>
                      <a:pt x="453" y="97"/>
                      <a:pt x="453" y="97"/>
                    </a:cubicBezTo>
                    <a:cubicBezTo>
                      <a:pt x="451" y="96"/>
                      <a:pt x="451" y="96"/>
                      <a:pt x="451" y="96"/>
                    </a:cubicBezTo>
                    <a:cubicBezTo>
                      <a:pt x="450" y="98"/>
                      <a:pt x="450" y="98"/>
                      <a:pt x="450" y="98"/>
                    </a:cubicBezTo>
                    <a:cubicBezTo>
                      <a:pt x="451" y="100"/>
                      <a:pt x="451" y="100"/>
                      <a:pt x="451" y="100"/>
                    </a:cubicBezTo>
                    <a:cubicBezTo>
                      <a:pt x="453" y="100"/>
                      <a:pt x="453" y="100"/>
                      <a:pt x="453" y="100"/>
                    </a:cubicBezTo>
                    <a:cubicBezTo>
                      <a:pt x="453" y="99"/>
                      <a:pt x="453" y="99"/>
                      <a:pt x="453" y="99"/>
                    </a:cubicBezTo>
                    <a:close/>
                    <a:moveTo>
                      <a:pt x="453" y="95"/>
                    </a:moveTo>
                    <a:cubicBezTo>
                      <a:pt x="453" y="92"/>
                      <a:pt x="453" y="92"/>
                      <a:pt x="453" y="92"/>
                    </a:cubicBezTo>
                    <a:cubicBezTo>
                      <a:pt x="455" y="89"/>
                      <a:pt x="455" y="89"/>
                      <a:pt x="455" y="89"/>
                    </a:cubicBezTo>
                    <a:cubicBezTo>
                      <a:pt x="457" y="88"/>
                      <a:pt x="457" y="88"/>
                      <a:pt x="457" y="88"/>
                    </a:cubicBezTo>
                    <a:cubicBezTo>
                      <a:pt x="459" y="87"/>
                      <a:pt x="459" y="87"/>
                      <a:pt x="459" y="87"/>
                    </a:cubicBezTo>
                    <a:cubicBezTo>
                      <a:pt x="461" y="87"/>
                      <a:pt x="461" y="87"/>
                      <a:pt x="461" y="87"/>
                    </a:cubicBezTo>
                    <a:cubicBezTo>
                      <a:pt x="460" y="89"/>
                      <a:pt x="460" y="89"/>
                      <a:pt x="460" y="89"/>
                    </a:cubicBezTo>
                    <a:cubicBezTo>
                      <a:pt x="457" y="90"/>
                      <a:pt x="457" y="90"/>
                      <a:pt x="457" y="90"/>
                    </a:cubicBezTo>
                    <a:cubicBezTo>
                      <a:pt x="456" y="93"/>
                      <a:pt x="456" y="93"/>
                      <a:pt x="456" y="93"/>
                    </a:cubicBezTo>
                    <a:cubicBezTo>
                      <a:pt x="453" y="95"/>
                      <a:pt x="453" y="95"/>
                      <a:pt x="453" y="95"/>
                    </a:cubicBezTo>
                    <a:close/>
                    <a:moveTo>
                      <a:pt x="455" y="97"/>
                    </a:moveTo>
                    <a:cubicBezTo>
                      <a:pt x="457" y="98"/>
                      <a:pt x="457" y="98"/>
                      <a:pt x="457" y="98"/>
                    </a:cubicBezTo>
                    <a:cubicBezTo>
                      <a:pt x="461" y="99"/>
                      <a:pt x="461" y="99"/>
                      <a:pt x="461" y="99"/>
                    </a:cubicBezTo>
                    <a:cubicBezTo>
                      <a:pt x="463" y="99"/>
                      <a:pt x="463" y="99"/>
                      <a:pt x="463" y="99"/>
                    </a:cubicBezTo>
                    <a:cubicBezTo>
                      <a:pt x="465" y="98"/>
                      <a:pt x="465" y="98"/>
                      <a:pt x="465" y="98"/>
                    </a:cubicBezTo>
                    <a:cubicBezTo>
                      <a:pt x="466" y="96"/>
                      <a:pt x="466" y="96"/>
                      <a:pt x="466" y="96"/>
                    </a:cubicBezTo>
                    <a:cubicBezTo>
                      <a:pt x="464" y="94"/>
                      <a:pt x="464" y="94"/>
                      <a:pt x="464" y="94"/>
                    </a:cubicBezTo>
                    <a:cubicBezTo>
                      <a:pt x="458" y="96"/>
                      <a:pt x="458" y="96"/>
                      <a:pt x="458" y="96"/>
                    </a:cubicBezTo>
                    <a:cubicBezTo>
                      <a:pt x="456" y="96"/>
                      <a:pt x="456" y="96"/>
                      <a:pt x="456" y="96"/>
                    </a:cubicBezTo>
                    <a:cubicBezTo>
                      <a:pt x="455" y="97"/>
                      <a:pt x="455" y="97"/>
                      <a:pt x="455" y="97"/>
                    </a:cubicBezTo>
                    <a:close/>
                    <a:moveTo>
                      <a:pt x="466" y="102"/>
                    </a:moveTo>
                    <a:cubicBezTo>
                      <a:pt x="468" y="101"/>
                      <a:pt x="468" y="101"/>
                      <a:pt x="468" y="101"/>
                    </a:cubicBezTo>
                    <a:cubicBezTo>
                      <a:pt x="469" y="99"/>
                      <a:pt x="469" y="99"/>
                      <a:pt x="469" y="99"/>
                    </a:cubicBezTo>
                    <a:cubicBezTo>
                      <a:pt x="472" y="99"/>
                      <a:pt x="472" y="99"/>
                      <a:pt x="472" y="99"/>
                    </a:cubicBezTo>
                    <a:cubicBezTo>
                      <a:pt x="474" y="100"/>
                      <a:pt x="474" y="100"/>
                      <a:pt x="474" y="100"/>
                    </a:cubicBezTo>
                    <a:cubicBezTo>
                      <a:pt x="473" y="103"/>
                      <a:pt x="473" y="103"/>
                      <a:pt x="473" y="103"/>
                    </a:cubicBezTo>
                    <a:cubicBezTo>
                      <a:pt x="468" y="103"/>
                      <a:pt x="468" y="103"/>
                      <a:pt x="468" y="103"/>
                    </a:cubicBezTo>
                    <a:cubicBezTo>
                      <a:pt x="466" y="102"/>
                      <a:pt x="466" y="102"/>
                      <a:pt x="466" y="102"/>
                    </a:cubicBezTo>
                    <a:close/>
                    <a:moveTo>
                      <a:pt x="454" y="63"/>
                    </a:moveTo>
                    <a:cubicBezTo>
                      <a:pt x="452" y="61"/>
                      <a:pt x="452" y="61"/>
                      <a:pt x="452" y="61"/>
                    </a:cubicBezTo>
                    <a:cubicBezTo>
                      <a:pt x="450" y="56"/>
                      <a:pt x="450" y="56"/>
                      <a:pt x="450" y="56"/>
                    </a:cubicBezTo>
                    <a:cubicBezTo>
                      <a:pt x="451" y="55"/>
                      <a:pt x="451" y="55"/>
                      <a:pt x="451" y="55"/>
                    </a:cubicBezTo>
                    <a:cubicBezTo>
                      <a:pt x="453" y="56"/>
                      <a:pt x="453" y="56"/>
                      <a:pt x="453" y="56"/>
                    </a:cubicBezTo>
                    <a:cubicBezTo>
                      <a:pt x="456" y="61"/>
                      <a:pt x="456" y="61"/>
                      <a:pt x="456" y="61"/>
                    </a:cubicBezTo>
                    <a:cubicBezTo>
                      <a:pt x="456" y="64"/>
                      <a:pt x="456" y="64"/>
                      <a:pt x="456" y="64"/>
                    </a:cubicBezTo>
                    <a:cubicBezTo>
                      <a:pt x="454" y="63"/>
                      <a:pt x="454" y="63"/>
                      <a:pt x="454" y="63"/>
                    </a:cubicBezTo>
                    <a:close/>
                    <a:moveTo>
                      <a:pt x="437" y="27"/>
                    </a:moveTo>
                    <a:cubicBezTo>
                      <a:pt x="435" y="25"/>
                      <a:pt x="435" y="25"/>
                      <a:pt x="435" y="25"/>
                    </a:cubicBezTo>
                    <a:cubicBezTo>
                      <a:pt x="434" y="22"/>
                      <a:pt x="434" y="22"/>
                      <a:pt x="434" y="22"/>
                    </a:cubicBezTo>
                    <a:cubicBezTo>
                      <a:pt x="432" y="17"/>
                      <a:pt x="432" y="17"/>
                      <a:pt x="432" y="17"/>
                    </a:cubicBezTo>
                    <a:cubicBezTo>
                      <a:pt x="431" y="18"/>
                      <a:pt x="431" y="18"/>
                      <a:pt x="431" y="18"/>
                    </a:cubicBezTo>
                    <a:cubicBezTo>
                      <a:pt x="431" y="21"/>
                      <a:pt x="431" y="21"/>
                      <a:pt x="431" y="21"/>
                    </a:cubicBezTo>
                    <a:cubicBezTo>
                      <a:pt x="430" y="23"/>
                      <a:pt x="430" y="23"/>
                      <a:pt x="430" y="23"/>
                    </a:cubicBezTo>
                    <a:cubicBezTo>
                      <a:pt x="425" y="26"/>
                      <a:pt x="425" y="26"/>
                      <a:pt x="425" y="26"/>
                    </a:cubicBezTo>
                    <a:cubicBezTo>
                      <a:pt x="425" y="26"/>
                      <a:pt x="425" y="26"/>
                      <a:pt x="425" y="26"/>
                    </a:cubicBezTo>
                    <a:cubicBezTo>
                      <a:pt x="425" y="26"/>
                      <a:pt x="425" y="26"/>
                      <a:pt x="425" y="26"/>
                    </a:cubicBezTo>
                    <a:cubicBezTo>
                      <a:pt x="424" y="28"/>
                      <a:pt x="424" y="28"/>
                      <a:pt x="424" y="28"/>
                    </a:cubicBezTo>
                    <a:cubicBezTo>
                      <a:pt x="419" y="34"/>
                      <a:pt x="419" y="34"/>
                      <a:pt x="419" y="34"/>
                    </a:cubicBezTo>
                    <a:cubicBezTo>
                      <a:pt x="414" y="40"/>
                      <a:pt x="414" y="40"/>
                      <a:pt x="414" y="40"/>
                    </a:cubicBezTo>
                    <a:cubicBezTo>
                      <a:pt x="414" y="43"/>
                      <a:pt x="414" y="43"/>
                      <a:pt x="414" y="43"/>
                    </a:cubicBezTo>
                    <a:cubicBezTo>
                      <a:pt x="410" y="51"/>
                      <a:pt x="410" y="51"/>
                      <a:pt x="410" y="51"/>
                    </a:cubicBezTo>
                    <a:cubicBezTo>
                      <a:pt x="407" y="56"/>
                      <a:pt x="407" y="56"/>
                      <a:pt x="407" y="56"/>
                    </a:cubicBezTo>
                    <a:cubicBezTo>
                      <a:pt x="405" y="60"/>
                      <a:pt x="405" y="60"/>
                      <a:pt x="405" y="60"/>
                    </a:cubicBezTo>
                    <a:cubicBezTo>
                      <a:pt x="401" y="61"/>
                      <a:pt x="401" y="61"/>
                      <a:pt x="401" y="61"/>
                    </a:cubicBezTo>
                    <a:cubicBezTo>
                      <a:pt x="399" y="62"/>
                      <a:pt x="399" y="62"/>
                      <a:pt x="399" y="62"/>
                    </a:cubicBezTo>
                    <a:cubicBezTo>
                      <a:pt x="399" y="65"/>
                      <a:pt x="399" y="65"/>
                      <a:pt x="399" y="65"/>
                    </a:cubicBezTo>
                    <a:cubicBezTo>
                      <a:pt x="395" y="68"/>
                      <a:pt x="395" y="68"/>
                      <a:pt x="395" y="68"/>
                    </a:cubicBezTo>
                    <a:cubicBezTo>
                      <a:pt x="393" y="67"/>
                      <a:pt x="393" y="67"/>
                      <a:pt x="393" y="67"/>
                    </a:cubicBezTo>
                    <a:cubicBezTo>
                      <a:pt x="393" y="62"/>
                      <a:pt x="393" y="62"/>
                      <a:pt x="393" y="62"/>
                    </a:cubicBezTo>
                    <a:cubicBezTo>
                      <a:pt x="391" y="61"/>
                      <a:pt x="391" y="61"/>
                      <a:pt x="391" y="61"/>
                    </a:cubicBezTo>
                    <a:cubicBezTo>
                      <a:pt x="391" y="60"/>
                      <a:pt x="391" y="60"/>
                      <a:pt x="391" y="60"/>
                    </a:cubicBezTo>
                    <a:cubicBezTo>
                      <a:pt x="389" y="60"/>
                      <a:pt x="389" y="60"/>
                      <a:pt x="389" y="60"/>
                    </a:cubicBezTo>
                    <a:cubicBezTo>
                      <a:pt x="386" y="61"/>
                      <a:pt x="386" y="61"/>
                      <a:pt x="386" y="61"/>
                    </a:cubicBezTo>
                    <a:cubicBezTo>
                      <a:pt x="384" y="63"/>
                      <a:pt x="384" y="63"/>
                      <a:pt x="384" y="63"/>
                    </a:cubicBezTo>
                    <a:cubicBezTo>
                      <a:pt x="381" y="62"/>
                      <a:pt x="381" y="62"/>
                      <a:pt x="381" y="62"/>
                    </a:cubicBezTo>
                    <a:cubicBezTo>
                      <a:pt x="378" y="59"/>
                      <a:pt x="378" y="59"/>
                      <a:pt x="378" y="59"/>
                    </a:cubicBezTo>
                    <a:cubicBezTo>
                      <a:pt x="378" y="58"/>
                      <a:pt x="378" y="58"/>
                      <a:pt x="378" y="58"/>
                    </a:cubicBezTo>
                    <a:cubicBezTo>
                      <a:pt x="377" y="57"/>
                      <a:pt x="377" y="57"/>
                      <a:pt x="377" y="57"/>
                    </a:cubicBezTo>
                    <a:cubicBezTo>
                      <a:pt x="376" y="54"/>
                      <a:pt x="376" y="54"/>
                      <a:pt x="376" y="54"/>
                    </a:cubicBezTo>
                    <a:cubicBezTo>
                      <a:pt x="375" y="52"/>
                      <a:pt x="375" y="52"/>
                      <a:pt x="375" y="52"/>
                    </a:cubicBezTo>
                    <a:cubicBezTo>
                      <a:pt x="373" y="51"/>
                      <a:pt x="373" y="51"/>
                      <a:pt x="373" y="51"/>
                    </a:cubicBezTo>
                    <a:cubicBezTo>
                      <a:pt x="369" y="48"/>
                      <a:pt x="369" y="48"/>
                      <a:pt x="369" y="48"/>
                    </a:cubicBezTo>
                    <a:cubicBezTo>
                      <a:pt x="364" y="48"/>
                      <a:pt x="364" y="48"/>
                      <a:pt x="364" y="48"/>
                    </a:cubicBezTo>
                    <a:cubicBezTo>
                      <a:pt x="360" y="49"/>
                      <a:pt x="360" y="49"/>
                      <a:pt x="360" y="49"/>
                    </a:cubicBezTo>
                    <a:cubicBezTo>
                      <a:pt x="352" y="50"/>
                      <a:pt x="352" y="50"/>
                      <a:pt x="352" y="50"/>
                    </a:cubicBezTo>
                    <a:cubicBezTo>
                      <a:pt x="348" y="49"/>
                      <a:pt x="348" y="49"/>
                      <a:pt x="348" y="49"/>
                    </a:cubicBezTo>
                    <a:cubicBezTo>
                      <a:pt x="344" y="51"/>
                      <a:pt x="344" y="51"/>
                      <a:pt x="344" y="51"/>
                    </a:cubicBezTo>
                    <a:cubicBezTo>
                      <a:pt x="343" y="55"/>
                      <a:pt x="343" y="55"/>
                      <a:pt x="343" y="55"/>
                    </a:cubicBezTo>
                    <a:cubicBezTo>
                      <a:pt x="347" y="58"/>
                      <a:pt x="347" y="58"/>
                      <a:pt x="347" y="58"/>
                    </a:cubicBezTo>
                    <a:cubicBezTo>
                      <a:pt x="348" y="60"/>
                      <a:pt x="348" y="60"/>
                      <a:pt x="348" y="60"/>
                    </a:cubicBezTo>
                    <a:cubicBezTo>
                      <a:pt x="350" y="64"/>
                      <a:pt x="350" y="64"/>
                      <a:pt x="350" y="64"/>
                    </a:cubicBezTo>
                    <a:cubicBezTo>
                      <a:pt x="349" y="65"/>
                      <a:pt x="349" y="65"/>
                      <a:pt x="349" y="65"/>
                    </a:cubicBezTo>
                    <a:cubicBezTo>
                      <a:pt x="346" y="66"/>
                      <a:pt x="346" y="66"/>
                      <a:pt x="346" y="66"/>
                    </a:cubicBezTo>
                    <a:cubicBezTo>
                      <a:pt x="341" y="64"/>
                      <a:pt x="341" y="64"/>
                      <a:pt x="341" y="64"/>
                    </a:cubicBezTo>
                    <a:cubicBezTo>
                      <a:pt x="340" y="63"/>
                      <a:pt x="340" y="63"/>
                      <a:pt x="340" y="63"/>
                    </a:cubicBezTo>
                    <a:cubicBezTo>
                      <a:pt x="338" y="63"/>
                      <a:pt x="338" y="63"/>
                      <a:pt x="338" y="63"/>
                    </a:cubicBezTo>
                    <a:cubicBezTo>
                      <a:pt x="338" y="63"/>
                      <a:pt x="338" y="63"/>
                      <a:pt x="338" y="63"/>
                    </a:cubicBezTo>
                    <a:cubicBezTo>
                      <a:pt x="338" y="63"/>
                      <a:pt x="338" y="63"/>
                      <a:pt x="338" y="63"/>
                    </a:cubicBezTo>
                    <a:cubicBezTo>
                      <a:pt x="332" y="63"/>
                      <a:pt x="332" y="63"/>
                      <a:pt x="332" y="63"/>
                    </a:cubicBezTo>
                    <a:cubicBezTo>
                      <a:pt x="328" y="64"/>
                      <a:pt x="328" y="64"/>
                      <a:pt x="328" y="64"/>
                    </a:cubicBezTo>
                    <a:cubicBezTo>
                      <a:pt x="327" y="62"/>
                      <a:pt x="327" y="62"/>
                      <a:pt x="327" y="62"/>
                    </a:cubicBezTo>
                    <a:cubicBezTo>
                      <a:pt x="321" y="63"/>
                      <a:pt x="321" y="63"/>
                      <a:pt x="321" y="63"/>
                    </a:cubicBezTo>
                    <a:cubicBezTo>
                      <a:pt x="317" y="64"/>
                      <a:pt x="317" y="64"/>
                      <a:pt x="317" y="64"/>
                    </a:cubicBezTo>
                    <a:cubicBezTo>
                      <a:pt x="315" y="70"/>
                      <a:pt x="315" y="70"/>
                      <a:pt x="315" y="70"/>
                    </a:cubicBezTo>
                    <a:cubicBezTo>
                      <a:pt x="307" y="70"/>
                      <a:pt x="307" y="70"/>
                      <a:pt x="307" y="70"/>
                    </a:cubicBezTo>
                    <a:cubicBezTo>
                      <a:pt x="303" y="71"/>
                      <a:pt x="303" y="71"/>
                      <a:pt x="303" y="71"/>
                    </a:cubicBezTo>
                    <a:cubicBezTo>
                      <a:pt x="302" y="73"/>
                      <a:pt x="302" y="73"/>
                      <a:pt x="302" y="73"/>
                    </a:cubicBezTo>
                    <a:cubicBezTo>
                      <a:pt x="300" y="76"/>
                      <a:pt x="300" y="76"/>
                      <a:pt x="300" y="76"/>
                    </a:cubicBezTo>
                    <a:cubicBezTo>
                      <a:pt x="295" y="76"/>
                      <a:pt x="295" y="76"/>
                      <a:pt x="295" y="76"/>
                    </a:cubicBezTo>
                    <a:cubicBezTo>
                      <a:pt x="295" y="75"/>
                      <a:pt x="295" y="75"/>
                      <a:pt x="295" y="75"/>
                    </a:cubicBezTo>
                    <a:cubicBezTo>
                      <a:pt x="292" y="76"/>
                      <a:pt x="292" y="76"/>
                      <a:pt x="292" y="76"/>
                    </a:cubicBezTo>
                    <a:cubicBezTo>
                      <a:pt x="290" y="79"/>
                      <a:pt x="290" y="79"/>
                      <a:pt x="290" y="79"/>
                    </a:cubicBezTo>
                    <a:cubicBezTo>
                      <a:pt x="287" y="77"/>
                      <a:pt x="287" y="77"/>
                      <a:pt x="287" y="77"/>
                    </a:cubicBezTo>
                    <a:cubicBezTo>
                      <a:pt x="279" y="71"/>
                      <a:pt x="279" y="71"/>
                      <a:pt x="279" y="71"/>
                    </a:cubicBezTo>
                    <a:cubicBezTo>
                      <a:pt x="276" y="68"/>
                      <a:pt x="276" y="68"/>
                      <a:pt x="276" y="68"/>
                    </a:cubicBezTo>
                    <a:cubicBezTo>
                      <a:pt x="276" y="65"/>
                      <a:pt x="276" y="65"/>
                      <a:pt x="276" y="65"/>
                    </a:cubicBezTo>
                    <a:cubicBezTo>
                      <a:pt x="272" y="61"/>
                      <a:pt x="272" y="61"/>
                      <a:pt x="272" y="61"/>
                    </a:cubicBezTo>
                    <a:cubicBezTo>
                      <a:pt x="269" y="58"/>
                      <a:pt x="269" y="58"/>
                      <a:pt x="269" y="58"/>
                    </a:cubicBezTo>
                    <a:cubicBezTo>
                      <a:pt x="268" y="54"/>
                      <a:pt x="268" y="54"/>
                      <a:pt x="268" y="54"/>
                    </a:cubicBezTo>
                    <a:cubicBezTo>
                      <a:pt x="269" y="51"/>
                      <a:pt x="269" y="51"/>
                      <a:pt x="269" y="51"/>
                    </a:cubicBezTo>
                    <a:cubicBezTo>
                      <a:pt x="268" y="49"/>
                      <a:pt x="268" y="49"/>
                      <a:pt x="268" y="49"/>
                    </a:cubicBezTo>
                    <a:cubicBezTo>
                      <a:pt x="269" y="46"/>
                      <a:pt x="269" y="46"/>
                      <a:pt x="269" y="46"/>
                    </a:cubicBezTo>
                    <a:cubicBezTo>
                      <a:pt x="270" y="43"/>
                      <a:pt x="270" y="43"/>
                      <a:pt x="270" y="43"/>
                    </a:cubicBezTo>
                    <a:cubicBezTo>
                      <a:pt x="270" y="39"/>
                      <a:pt x="270" y="39"/>
                      <a:pt x="270" y="39"/>
                    </a:cubicBezTo>
                    <a:cubicBezTo>
                      <a:pt x="273" y="33"/>
                      <a:pt x="273" y="33"/>
                      <a:pt x="273" y="33"/>
                    </a:cubicBezTo>
                    <a:cubicBezTo>
                      <a:pt x="275" y="28"/>
                      <a:pt x="275" y="28"/>
                      <a:pt x="275" y="28"/>
                    </a:cubicBezTo>
                    <a:cubicBezTo>
                      <a:pt x="278" y="24"/>
                      <a:pt x="278" y="24"/>
                      <a:pt x="278" y="24"/>
                    </a:cubicBezTo>
                    <a:cubicBezTo>
                      <a:pt x="278" y="22"/>
                      <a:pt x="278" y="22"/>
                      <a:pt x="278" y="22"/>
                    </a:cubicBezTo>
                    <a:cubicBezTo>
                      <a:pt x="274" y="22"/>
                      <a:pt x="274" y="22"/>
                      <a:pt x="274" y="22"/>
                    </a:cubicBezTo>
                    <a:cubicBezTo>
                      <a:pt x="273" y="19"/>
                      <a:pt x="273" y="19"/>
                      <a:pt x="273" y="19"/>
                    </a:cubicBezTo>
                    <a:cubicBezTo>
                      <a:pt x="271" y="17"/>
                      <a:pt x="271" y="17"/>
                      <a:pt x="271" y="17"/>
                    </a:cubicBezTo>
                    <a:cubicBezTo>
                      <a:pt x="267" y="17"/>
                      <a:pt x="267" y="17"/>
                      <a:pt x="267" y="17"/>
                    </a:cubicBezTo>
                    <a:cubicBezTo>
                      <a:pt x="264" y="15"/>
                      <a:pt x="264" y="15"/>
                      <a:pt x="264" y="15"/>
                    </a:cubicBezTo>
                    <a:cubicBezTo>
                      <a:pt x="266" y="13"/>
                      <a:pt x="266" y="13"/>
                      <a:pt x="266" y="13"/>
                    </a:cubicBezTo>
                    <a:cubicBezTo>
                      <a:pt x="268" y="10"/>
                      <a:pt x="268" y="10"/>
                      <a:pt x="268" y="10"/>
                    </a:cubicBezTo>
                    <a:cubicBezTo>
                      <a:pt x="268" y="5"/>
                      <a:pt x="268" y="5"/>
                      <a:pt x="268" y="5"/>
                    </a:cubicBezTo>
                    <a:cubicBezTo>
                      <a:pt x="265" y="1"/>
                      <a:pt x="265" y="1"/>
                      <a:pt x="265" y="1"/>
                    </a:cubicBezTo>
                    <a:cubicBezTo>
                      <a:pt x="260" y="0"/>
                      <a:pt x="260" y="0"/>
                      <a:pt x="260" y="0"/>
                    </a:cubicBezTo>
                    <a:cubicBezTo>
                      <a:pt x="258" y="2"/>
                      <a:pt x="258" y="2"/>
                      <a:pt x="258" y="2"/>
                    </a:cubicBezTo>
                    <a:cubicBezTo>
                      <a:pt x="257" y="0"/>
                      <a:pt x="257" y="0"/>
                      <a:pt x="257" y="0"/>
                    </a:cubicBezTo>
                    <a:cubicBezTo>
                      <a:pt x="255" y="0"/>
                      <a:pt x="255" y="0"/>
                      <a:pt x="255" y="0"/>
                    </a:cubicBezTo>
                    <a:cubicBezTo>
                      <a:pt x="255" y="4"/>
                      <a:pt x="255" y="4"/>
                      <a:pt x="255" y="4"/>
                    </a:cubicBezTo>
                    <a:cubicBezTo>
                      <a:pt x="254" y="8"/>
                      <a:pt x="254" y="8"/>
                      <a:pt x="254" y="8"/>
                    </a:cubicBezTo>
                    <a:cubicBezTo>
                      <a:pt x="244" y="15"/>
                      <a:pt x="244" y="15"/>
                      <a:pt x="244" y="15"/>
                    </a:cubicBezTo>
                    <a:cubicBezTo>
                      <a:pt x="237" y="15"/>
                      <a:pt x="237" y="15"/>
                      <a:pt x="237" y="15"/>
                    </a:cubicBezTo>
                    <a:cubicBezTo>
                      <a:pt x="229" y="19"/>
                      <a:pt x="229" y="19"/>
                      <a:pt x="229" y="19"/>
                    </a:cubicBezTo>
                    <a:cubicBezTo>
                      <a:pt x="226" y="17"/>
                      <a:pt x="226" y="17"/>
                      <a:pt x="226" y="17"/>
                    </a:cubicBezTo>
                    <a:cubicBezTo>
                      <a:pt x="220" y="18"/>
                      <a:pt x="220" y="18"/>
                      <a:pt x="220" y="18"/>
                    </a:cubicBezTo>
                    <a:cubicBezTo>
                      <a:pt x="214" y="23"/>
                      <a:pt x="214" y="23"/>
                      <a:pt x="214" y="23"/>
                    </a:cubicBezTo>
                    <a:cubicBezTo>
                      <a:pt x="208" y="25"/>
                      <a:pt x="208" y="25"/>
                      <a:pt x="208" y="25"/>
                    </a:cubicBezTo>
                    <a:cubicBezTo>
                      <a:pt x="206" y="24"/>
                      <a:pt x="206" y="24"/>
                      <a:pt x="206" y="24"/>
                    </a:cubicBezTo>
                    <a:cubicBezTo>
                      <a:pt x="197" y="25"/>
                      <a:pt x="197" y="25"/>
                      <a:pt x="197" y="25"/>
                    </a:cubicBezTo>
                    <a:cubicBezTo>
                      <a:pt x="191" y="26"/>
                      <a:pt x="191" y="26"/>
                      <a:pt x="191" y="26"/>
                    </a:cubicBezTo>
                    <a:cubicBezTo>
                      <a:pt x="185" y="22"/>
                      <a:pt x="185" y="22"/>
                      <a:pt x="185" y="22"/>
                    </a:cubicBezTo>
                    <a:cubicBezTo>
                      <a:pt x="179" y="21"/>
                      <a:pt x="179" y="21"/>
                      <a:pt x="179" y="21"/>
                    </a:cubicBezTo>
                    <a:cubicBezTo>
                      <a:pt x="173" y="20"/>
                      <a:pt x="173" y="20"/>
                      <a:pt x="173" y="20"/>
                    </a:cubicBezTo>
                    <a:cubicBezTo>
                      <a:pt x="176" y="24"/>
                      <a:pt x="176" y="24"/>
                      <a:pt x="176" y="24"/>
                    </a:cubicBezTo>
                    <a:cubicBezTo>
                      <a:pt x="180" y="26"/>
                      <a:pt x="180" y="26"/>
                      <a:pt x="180" y="26"/>
                    </a:cubicBezTo>
                    <a:cubicBezTo>
                      <a:pt x="184" y="30"/>
                      <a:pt x="184" y="30"/>
                      <a:pt x="184" y="30"/>
                    </a:cubicBezTo>
                    <a:cubicBezTo>
                      <a:pt x="185" y="33"/>
                      <a:pt x="185" y="33"/>
                      <a:pt x="185" y="33"/>
                    </a:cubicBezTo>
                    <a:cubicBezTo>
                      <a:pt x="180" y="41"/>
                      <a:pt x="180" y="41"/>
                      <a:pt x="180" y="41"/>
                    </a:cubicBezTo>
                    <a:cubicBezTo>
                      <a:pt x="182" y="45"/>
                      <a:pt x="182" y="45"/>
                      <a:pt x="182" y="45"/>
                    </a:cubicBezTo>
                    <a:cubicBezTo>
                      <a:pt x="181" y="51"/>
                      <a:pt x="181" y="51"/>
                      <a:pt x="181" y="51"/>
                    </a:cubicBezTo>
                    <a:cubicBezTo>
                      <a:pt x="189" y="54"/>
                      <a:pt x="189" y="54"/>
                      <a:pt x="189" y="54"/>
                    </a:cubicBezTo>
                    <a:cubicBezTo>
                      <a:pt x="195" y="53"/>
                      <a:pt x="195" y="53"/>
                      <a:pt x="195" y="53"/>
                    </a:cubicBezTo>
                    <a:cubicBezTo>
                      <a:pt x="202" y="54"/>
                      <a:pt x="202" y="54"/>
                      <a:pt x="202" y="54"/>
                    </a:cubicBezTo>
                    <a:cubicBezTo>
                      <a:pt x="202" y="58"/>
                      <a:pt x="202" y="58"/>
                      <a:pt x="202" y="58"/>
                    </a:cubicBezTo>
                    <a:cubicBezTo>
                      <a:pt x="197" y="60"/>
                      <a:pt x="197" y="60"/>
                      <a:pt x="197" y="60"/>
                    </a:cubicBezTo>
                    <a:cubicBezTo>
                      <a:pt x="188" y="62"/>
                      <a:pt x="188" y="62"/>
                      <a:pt x="188" y="62"/>
                    </a:cubicBezTo>
                    <a:cubicBezTo>
                      <a:pt x="185" y="65"/>
                      <a:pt x="185" y="65"/>
                      <a:pt x="185" y="65"/>
                    </a:cubicBezTo>
                    <a:cubicBezTo>
                      <a:pt x="183" y="70"/>
                      <a:pt x="183" y="70"/>
                      <a:pt x="183" y="70"/>
                    </a:cubicBezTo>
                    <a:cubicBezTo>
                      <a:pt x="174" y="75"/>
                      <a:pt x="174" y="75"/>
                      <a:pt x="174" y="75"/>
                    </a:cubicBezTo>
                    <a:cubicBezTo>
                      <a:pt x="170" y="78"/>
                      <a:pt x="170" y="78"/>
                      <a:pt x="170" y="78"/>
                    </a:cubicBezTo>
                    <a:cubicBezTo>
                      <a:pt x="164" y="83"/>
                      <a:pt x="164" y="83"/>
                      <a:pt x="164" y="83"/>
                    </a:cubicBezTo>
                    <a:cubicBezTo>
                      <a:pt x="159" y="88"/>
                      <a:pt x="159" y="88"/>
                      <a:pt x="159" y="88"/>
                    </a:cubicBezTo>
                    <a:cubicBezTo>
                      <a:pt x="151" y="88"/>
                      <a:pt x="151" y="88"/>
                      <a:pt x="151" y="88"/>
                    </a:cubicBezTo>
                    <a:cubicBezTo>
                      <a:pt x="147" y="88"/>
                      <a:pt x="147" y="88"/>
                      <a:pt x="147" y="88"/>
                    </a:cubicBezTo>
                    <a:cubicBezTo>
                      <a:pt x="139" y="82"/>
                      <a:pt x="139" y="82"/>
                      <a:pt x="139" y="82"/>
                    </a:cubicBezTo>
                    <a:cubicBezTo>
                      <a:pt x="132" y="77"/>
                      <a:pt x="132" y="77"/>
                      <a:pt x="132" y="77"/>
                    </a:cubicBezTo>
                    <a:cubicBezTo>
                      <a:pt x="127" y="78"/>
                      <a:pt x="127" y="78"/>
                      <a:pt x="127" y="78"/>
                    </a:cubicBezTo>
                    <a:cubicBezTo>
                      <a:pt x="127" y="73"/>
                      <a:pt x="127" y="73"/>
                      <a:pt x="127" y="73"/>
                    </a:cubicBezTo>
                    <a:cubicBezTo>
                      <a:pt x="126" y="68"/>
                      <a:pt x="126" y="68"/>
                      <a:pt x="126" y="68"/>
                    </a:cubicBezTo>
                    <a:cubicBezTo>
                      <a:pt x="123" y="65"/>
                      <a:pt x="123" y="65"/>
                      <a:pt x="123" y="65"/>
                    </a:cubicBezTo>
                    <a:cubicBezTo>
                      <a:pt x="122" y="62"/>
                      <a:pt x="122" y="62"/>
                      <a:pt x="122" y="62"/>
                    </a:cubicBezTo>
                    <a:cubicBezTo>
                      <a:pt x="117" y="63"/>
                      <a:pt x="117" y="63"/>
                      <a:pt x="117" y="63"/>
                    </a:cubicBezTo>
                    <a:cubicBezTo>
                      <a:pt x="113" y="67"/>
                      <a:pt x="113" y="67"/>
                      <a:pt x="113" y="67"/>
                    </a:cubicBezTo>
                    <a:cubicBezTo>
                      <a:pt x="111" y="68"/>
                      <a:pt x="111" y="68"/>
                      <a:pt x="111" y="68"/>
                    </a:cubicBezTo>
                    <a:cubicBezTo>
                      <a:pt x="108" y="66"/>
                      <a:pt x="108" y="66"/>
                      <a:pt x="108" y="66"/>
                    </a:cubicBezTo>
                    <a:cubicBezTo>
                      <a:pt x="105" y="66"/>
                      <a:pt x="105" y="66"/>
                      <a:pt x="105" y="66"/>
                    </a:cubicBezTo>
                    <a:cubicBezTo>
                      <a:pt x="102" y="68"/>
                      <a:pt x="102" y="68"/>
                      <a:pt x="102" y="68"/>
                    </a:cubicBezTo>
                    <a:cubicBezTo>
                      <a:pt x="81" y="68"/>
                      <a:pt x="81" y="68"/>
                      <a:pt x="81" y="68"/>
                    </a:cubicBezTo>
                    <a:cubicBezTo>
                      <a:pt x="79" y="74"/>
                      <a:pt x="79" y="74"/>
                      <a:pt x="79" y="74"/>
                    </a:cubicBezTo>
                    <a:cubicBezTo>
                      <a:pt x="81" y="79"/>
                      <a:pt x="81" y="79"/>
                      <a:pt x="81" y="79"/>
                    </a:cubicBezTo>
                    <a:cubicBezTo>
                      <a:pt x="89" y="81"/>
                      <a:pt x="89" y="81"/>
                      <a:pt x="89" y="81"/>
                    </a:cubicBezTo>
                    <a:cubicBezTo>
                      <a:pt x="91" y="86"/>
                      <a:pt x="91" y="86"/>
                      <a:pt x="91" y="86"/>
                    </a:cubicBezTo>
                    <a:cubicBezTo>
                      <a:pt x="89" y="88"/>
                      <a:pt x="89" y="88"/>
                      <a:pt x="89" y="88"/>
                    </a:cubicBezTo>
                    <a:cubicBezTo>
                      <a:pt x="91" y="90"/>
                      <a:pt x="91" y="90"/>
                      <a:pt x="91" y="90"/>
                    </a:cubicBezTo>
                    <a:cubicBezTo>
                      <a:pt x="90" y="93"/>
                      <a:pt x="90" y="93"/>
                      <a:pt x="90" y="93"/>
                    </a:cubicBezTo>
                    <a:cubicBezTo>
                      <a:pt x="86" y="90"/>
                      <a:pt x="86" y="90"/>
                      <a:pt x="86" y="90"/>
                    </a:cubicBezTo>
                    <a:cubicBezTo>
                      <a:pt x="73" y="95"/>
                      <a:pt x="73" y="95"/>
                      <a:pt x="73" y="95"/>
                    </a:cubicBezTo>
                    <a:cubicBezTo>
                      <a:pt x="74" y="105"/>
                      <a:pt x="74" y="105"/>
                      <a:pt x="74" y="105"/>
                    </a:cubicBezTo>
                    <a:cubicBezTo>
                      <a:pt x="77" y="109"/>
                      <a:pt x="77" y="109"/>
                      <a:pt x="77" y="109"/>
                    </a:cubicBezTo>
                    <a:cubicBezTo>
                      <a:pt x="84" y="114"/>
                      <a:pt x="84" y="114"/>
                      <a:pt x="84" y="114"/>
                    </a:cubicBezTo>
                    <a:cubicBezTo>
                      <a:pt x="89" y="122"/>
                      <a:pt x="89" y="122"/>
                      <a:pt x="89" y="122"/>
                    </a:cubicBezTo>
                    <a:cubicBezTo>
                      <a:pt x="89" y="129"/>
                      <a:pt x="89" y="129"/>
                      <a:pt x="89" y="129"/>
                    </a:cubicBezTo>
                    <a:cubicBezTo>
                      <a:pt x="88" y="131"/>
                      <a:pt x="88" y="131"/>
                      <a:pt x="88" y="131"/>
                    </a:cubicBezTo>
                    <a:cubicBezTo>
                      <a:pt x="78" y="170"/>
                      <a:pt x="78" y="170"/>
                      <a:pt x="78" y="170"/>
                    </a:cubicBezTo>
                    <a:cubicBezTo>
                      <a:pt x="74" y="180"/>
                      <a:pt x="74" y="180"/>
                      <a:pt x="74" y="180"/>
                    </a:cubicBezTo>
                    <a:cubicBezTo>
                      <a:pt x="75" y="182"/>
                      <a:pt x="75" y="182"/>
                      <a:pt x="75" y="182"/>
                    </a:cubicBezTo>
                    <a:cubicBezTo>
                      <a:pt x="73" y="185"/>
                      <a:pt x="73" y="185"/>
                      <a:pt x="73" y="185"/>
                    </a:cubicBezTo>
                    <a:cubicBezTo>
                      <a:pt x="69" y="184"/>
                      <a:pt x="69" y="184"/>
                      <a:pt x="69" y="184"/>
                    </a:cubicBezTo>
                    <a:cubicBezTo>
                      <a:pt x="69" y="182"/>
                      <a:pt x="69" y="182"/>
                      <a:pt x="69" y="182"/>
                    </a:cubicBezTo>
                    <a:cubicBezTo>
                      <a:pt x="65" y="180"/>
                      <a:pt x="65" y="180"/>
                      <a:pt x="65" y="180"/>
                    </a:cubicBezTo>
                    <a:cubicBezTo>
                      <a:pt x="64" y="180"/>
                      <a:pt x="64" y="180"/>
                      <a:pt x="64" y="180"/>
                    </a:cubicBezTo>
                    <a:cubicBezTo>
                      <a:pt x="60" y="180"/>
                      <a:pt x="60" y="180"/>
                      <a:pt x="60" y="180"/>
                    </a:cubicBezTo>
                    <a:cubicBezTo>
                      <a:pt x="58" y="180"/>
                      <a:pt x="58" y="180"/>
                      <a:pt x="58" y="180"/>
                    </a:cubicBezTo>
                    <a:cubicBezTo>
                      <a:pt x="57" y="182"/>
                      <a:pt x="57" y="182"/>
                      <a:pt x="57" y="182"/>
                    </a:cubicBezTo>
                    <a:cubicBezTo>
                      <a:pt x="44" y="187"/>
                      <a:pt x="44" y="187"/>
                      <a:pt x="44" y="187"/>
                    </a:cubicBezTo>
                    <a:cubicBezTo>
                      <a:pt x="34" y="189"/>
                      <a:pt x="34" y="189"/>
                      <a:pt x="34" y="189"/>
                    </a:cubicBezTo>
                    <a:cubicBezTo>
                      <a:pt x="31" y="191"/>
                      <a:pt x="31" y="191"/>
                      <a:pt x="31" y="191"/>
                    </a:cubicBezTo>
                    <a:cubicBezTo>
                      <a:pt x="29" y="192"/>
                      <a:pt x="29" y="192"/>
                      <a:pt x="29" y="192"/>
                    </a:cubicBezTo>
                    <a:cubicBezTo>
                      <a:pt x="25" y="196"/>
                      <a:pt x="25" y="196"/>
                      <a:pt x="25" y="196"/>
                    </a:cubicBezTo>
                    <a:cubicBezTo>
                      <a:pt x="21" y="198"/>
                      <a:pt x="21" y="198"/>
                      <a:pt x="21" y="198"/>
                    </a:cubicBezTo>
                    <a:cubicBezTo>
                      <a:pt x="17" y="200"/>
                      <a:pt x="17" y="200"/>
                      <a:pt x="17" y="200"/>
                    </a:cubicBezTo>
                    <a:cubicBezTo>
                      <a:pt x="18" y="205"/>
                      <a:pt x="18" y="205"/>
                      <a:pt x="18" y="205"/>
                    </a:cubicBezTo>
                    <a:cubicBezTo>
                      <a:pt x="16" y="207"/>
                      <a:pt x="16" y="207"/>
                      <a:pt x="16" y="207"/>
                    </a:cubicBezTo>
                    <a:cubicBezTo>
                      <a:pt x="17" y="210"/>
                      <a:pt x="17" y="210"/>
                      <a:pt x="17" y="210"/>
                    </a:cubicBezTo>
                    <a:cubicBezTo>
                      <a:pt x="11" y="215"/>
                      <a:pt x="11" y="215"/>
                      <a:pt x="11" y="215"/>
                    </a:cubicBezTo>
                    <a:cubicBezTo>
                      <a:pt x="13" y="222"/>
                      <a:pt x="13" y="222"/>
                      <a:pt x="13" y="222"/>
                    </a:cubicBezTo>
                    <a:cubicBezTo>
                      <a:pt x="15" y="225"/>
                      <a:pt x="15" y="225"/>
                      <a:pt x="15" y="225"/>
                    </a:cubicBezTo>
                    <a:cubicBezTo>
                      <a:pt x="12" y="228"/>
                      <a:pt x="12" y="228"/>
                      <a:pt x="12" y="228"/>
                    </a:cubicBezTo>
                    <a:cubicBezTo>
                      <a:pt x="9" y="227"/>
                      <a:pt x="9" y="227"/>
                      <a:pt x="9" y="227"/>
                    </a:cubicBezTo>
                    <a:cubicBezTo>
                      <a:pt x="3" y="231"/>
                      <a:pt x="3" y="231"/>
                      <a:pt x="3" y="231"/>
                    </a:cubicBezTo>
                    <a:cubicBezTo>
                      <a:pt x="3" y="235"/>
                      <a:pt x="3" y="235"/>
                      <a:pt x="3" y="235"/>
                    </a:cubicBezTo>
                    <a:cubicBezTo>
                      <a:pt x="1" y="237"/>
                      <a:pt x="1" y="237"/>
                      <a:pt x="1" y="237"/>
                    </a:cubicBezTo>
                    <a:cubicBezTo>
                      <a:pt x="3" y="239"/>
                      <a:pt x="3" y="239"/>
                      <a:pt x="3" y="239"/>
                    </a:cubicBezTo>
                    <a:cubicBezTo>
                      <a:pt x="2" y="243"/>
                      <a:pt x="2" y="243"/>
                      <a:pt x="2" y="243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2" y="250"/>
                      <a:pt x="2" y="250"/>
                      <a:pt x="2" y="250"/>
                    </a:cubicBezTo>
                    <a:cubicBezTo>
                      <a:pt x="1" y="253"/>
                      <a:pt x="1" y="253"/>
                      <a:pt x="1" y="253"/>
                    </a:cubicBezTo>
                    <a:cubicBezTo>
                      <a:pt x="6" y="258"/>
                      <a:pt x="6" y="258"/>
                      <a:pt x="6" y="258"/>
                    </a:cubicBezTo>
                    <a:cubicBezTo>
                      <a:pt x="15" y="272"/>
                      <a:pt x="15" y="272"/>
                      <a:pt x="15" y="272"/>
                    </a:cubicBezTo>
                    <a:cubicBezTo>
                      <a:pt x="11" y="278"/>
                      <a:pt x="11" y="278"/>
                      <a:pt x="11" y="278"/>
                    </a:cubicBezTo>
                    <a:cubicBezTo>
                      <a:pt x="22" y="277"/>
                      <a:pt x="22" y="277"/>
                      <a:pt x="22" y="277"/>
                    </a:cubicBezTo>
                    <a:cubicBezTo>
                      <a:pt x="28" y="278"/>
                      <a:pt x="28" y="278"/>
                      <a:pt x="28" y="278"/>
                    </a:cubicBezTo>
                    <a:cubicBezTo>
                      <a:pt x="32" y="284"/>
                      <a:pt x="32" y="284"/>
                      <a:pt x="32" y="284"/>
                    </a:cubicBezTo>
                    <a:cubicBezTo>
                      <a:pt x="34" y="289"/>
                      <a:pt x="34" y="289"/>
                      <a:pt x="34" y="289"/>
                    </a:cubicBezTo>
                    <a:cubicBezTo>
                      <a:pt x="42" y="290"/>
                      <a:pt x="42" y="290"/>
                      <a:pt x="42" y="290"/>
                    </a:cubicBezTo>
                    <a:cubicBezTo>
                      <a:pt x="52" y="290"/>
                      <a:pt x="52" y="290"/>
                      <a:pt x="52" y="290"/>
                    </a:cubicBezTo>
                    <a:cubicBezTo>
                      <a:pt x="60" y="283"/>
                      <a:pt x="60" y="283"/>
                      <a:pt x="60" y="283"/>
                    </a:cubicBezTo>
                    <a:cubicBezTo>
                      <a:pt x="67" y="279"/>
                      <a:pt x="67" y="279"/>
                      <a:pt x="67" y="279"/>
                    </a:cubicBezTo>
                    <a:cubicBezTo>
                      <a:pt x="69" y="281"/>
                      <a:pt x="69" y="281"/>
                      <a:pt x="69" y="281"/>
                    </a:cubicBezTo>
                    <a:cubicBezTo>
                      <a:pt x="68" y="285"/>
                      <a:pt x="68" y="285"/>
                      <a:pt x="68" y="285"/>
                    </a:cubicBezTo>
                    <a:cubicBezTo>
                      <a:pt x="66" y="287"/>
                      <a:pt x="66" y="287"/>
                      <a:pt x="66" y="287"/>
                    </a:cubicBezTo>
                    <a:cubicBezTo>
                      <a:pt x="66" y="293"/>
                      <a:pt x="66" y="293"/>
                      <a:pt x="66" y="293"/>
                    </a:cubicBezTo>
                    <a:cubicBezTo>
                      <a:pt x="67" y="304"/>
                      <a:pt x="67" y="304"/>
                      <a:pt x="67" y="304"/>
                    </a:cubicBezTo>
                    <a:cubicBezTo>
                      <a:pt x="67" y="309"/>
                      <a:pt x="67" y="309"/>
                      <a:pt x="67" y="309"/>
                    </a:cubicBezTo>
                    <a:cubicBezTo>
                      <a:pt x="70" y="311"/>
                      <a:pt x="70" y="311"/>
                      <a:pt x="70" y="311"/>
                    </a:cubicBezTo>
                    <a:cubicBezTo>
                      <a:pt x="74" y="310"/>
                      <a:pt x="74" y="310"/>
                      <a:pt x="74" y="310"/>
                    </a:cubicBezTo>
                    <a:cubicBezTo>
                      <a:pt x="77" y="309"/>
                      <a:pt x="77" y="309"/>
                      <a:pt x="77" y="309"/>
                    </a:cubicBezTo>
                    <a:cubicBezTo>
                      <a:pt x="81" y="309"/>
                      <a:pt x="81" y="309"/>
                      <a:pt x="81" y="309"/>
                    </a:cubicBezTo>
                    <a:cubicBezTo>
                      <a:pt x="83" y="309"/>
                      <a:pt x="83" y="309"/>
                      <a:pt x="83" y="309"/>
                    </a:cubicBezTo>
                    <a:cubicBezTo>
                      <a:pt x="85" y="310"/>
                      <a:pt x="85" y="310"/>
                      <a:pt x="85" y="310"/>
                    </a:cubicBezTo>
                    <a:cubicBezTo>
                      <a:pt x="86" y="310"/>
                      <a:pt x="86" y="310"/>
                      <a:pt x="86" y="310"/>
                    </a:cubicBezTo>
                    <a:cubicBezTo>
                      <a:pt x="86" y="310"/>
                      <a:pt x="86" y="310"/>
                      <a:pt x="86" y="310"/>
                    </a:cubicBezTo>
                    <a:cubicBezTo>
                      <a:pt x="98" y="310"/>
                      <a:pt x="98" y="310"/>
                      <a:pt x="98" y="310"/>
                    </a:cubicBezTo>
                    <a:cubicBezTo>
                      <a:pt x="104" y="310"/>
                      <a:pt x="104" y="310"/>
                      <a:pt x="104" y="310"/>
                    </a:cubicBezTo>
                    <a:cubicBezTo>
                      <a:pt x="109" y="307"/>
                      <a:pt x="109" y="307"/>
                      <a:pt x="109" y="307"/>
                    </a:cubicBezTo>
                    <a:cubicBezTo>
                      <a:pt x="112" y="307"/>
                      <a:pt x="112" y="307"/>
                      <a:pt x="112" y="307"/>
                    </a:cubicBezTo>
                    <a:cubicBezTo>
                      <a:pt x="116" y="304"/>
                      <a:pt x="116" y="304"/>
                      <a:pt x="116" y="304"/>
                    </a:cubicBezTo>
                    <a:cubicBezTo>
                      <a:pt x="121" y="304"/>
                      <a:pt x="121" y="304"/>
                      <a:pt x="121" y="304"/>
                    </a:cubicBezTo>
                    <a:cubicBezTo>
                      <a:pt x="127" y="302"/>
                      <a:pt x="127" y="302"/>
                      <a:pt x="127" y="302"/>
                    </a:cubicBezTo>
                    <a:cubicBezTo>
                      <a:pt x="130" y="294"/>
                      <a:pt x="130" y="294"/>
                      <a:pt x="130" y="294"/>
                    </a:cubicBezTo>
                    <a:cubicBezTo>
                      <a:pt x="139" y="288"/>
                      <a:pt x="139" y="288"/>
                      <a:pt x="139" y="288"/>
                    </a:cubicBezTo>
                    <a:cubicBezTo>
                      <a:pt x="146" y="287"/>
                      <a:pt x="146" y="287"/>
                      <a:pt x="146" y="287"/>
                    </a:cubicBezTo>
                    <a:cubicBezTo>
                      <a:pt x="152" y="284"/>
                      <a:pt x="152" y="284"/>
                      <a:pt x="152" y="284"/>
                    </a:cubicBezTo>
                    <a:cubicBezTo>
                      <a:pt x="156" y="284"/>
                      <a:pt x="156" y="284"/>
                      <a:pt x="156" y="284"/>
                    </a:cubicBezTo>
                    <a:cubicBezTo>
                      <a:pt x="160" y="287"/>
                      <a:pt x="160" y="287"/>
                      <a:pt x="160" y="287"/>
                    </a:cubicBezTo>
                    <a:cubicBezTo>
                      <a:pt x="164" y="284"/>
                      <a:pt x="164" y="284"/>
                      <a:pt x="164" y="284"/>
                    </a:cubicBezTo>
                    <a:cubicBezTo>
                      <a:pt x="166" y="286"/>
                      <a:pt x="166" y="286"/>
                      <a:pt x="166" y="286"/>
                    </a:cubicBezTo>
                    <a:cubicBezTo>
                      <a:pt x="166" y="290"/>
                      <a:pt x="166" y="290"/>
                      <a:pt x="166" y="290"/>
                    </a:cubicBezTo>
                    <a:cubicBezTo>
                      <a:pt x="168" y="297"/>
                      <a:pt x="168" y="297"/>
                      <a:pt x="168" y="297"/>
                    </a:cubicBezTo>
                    <a:cubicBezTo>
                      <a:pt x="165" y="303"/>
                      <a:pt x="165" y="303"/>
                      <a:pt x="165" y="303"/>
                    </a:cubicBezTo>
                    <a:cubicBezTo>
                      <a:pt x="167" y="311"/>
                      <a:pt x="167" y="311"/>
                      <a:pt x="167" y="311"/>
                    </a:cubicBezTo>
                    <a:cubicBezTo>
                      <a:pt x="166" y="315"/>
                      <a:pt x="166" y="315"/>
                      <a:pt x="166" y="315"/>
                    </a:cubicBezTo>
                    <a:cubicBezTo>
                      <a:pt x="169" y="322"/>
                      <a:pt x="169" y="322"/>
                      <a:pt x="169" y="322"/>
                    </a:cubicBezTo>
                    <a:cubicBezTo>
                      <a:pt x="174" y="324"/>
                      <a:pt x="174" y="324"/>
                      <a:pt x="174" y="324"/>
                    </a:cubicBezTo>
                    <a:cubicBezTo>
                      <a:pt x="175" y="329"/>
                      <a:pt x="175" y="329"/>
                      <a:pt x="175" y="329"/>
                    </a:cubicBezTo>
                    <a:cubicBezTo>
                      <a:pt x="179" y="331"/>
                      <a:pt x="179" y="331"/>
                      <a:pt x="179" y="331"/>
                    </a:cubicBezTo>
                    <a:cubicBezTo>
                      <a:pt x="186" y="335"/>
                      <a:pt x="186" y="335"/>
                      <a:pt x="186" y="335"/>
                    </a:cubicBezTo>
                    <a:cubicBezTo>
                      <a:pt x="190" y="339"/>
                      <a:pt x="190" y="339"/>
                      <a:pt x="190" y="339"/>
                    </a:cubicBezTo>
                    <a:cubicBezTo>
                      <a:pt x="191" y="337"/>
                      <a:pt x="191" y="337"/>
                      <a:pt x="191" y="337"/>
                    </a:cubicBezTo>
                    <a:cubicBezTo>
                      <a:pt x="199" y="335"/>
                      <a:pt x="199" y="335"/>
                      <a:pt x="199" y="335"/>
                    </a:cubicBezTo>
                    <a:cubicBezTo>
                      <a:pt x="206" y="342"/>
                      <a:pt x="206" y="342"/>
                      <a:pt x="206" y="342"/>
                    </a:cubicBezTo>
                    <a:cubicBezTo>
                      <a:pt x="211" y="340"/>
                      <a:pt x="211" y="340"/>
                      <a:pt x="211" y="340"/>
                    </a:cubicBezTo>
                    <a:cubicBezTo>
                      <a:pt x="218" y="347"/>
                      <a:pt x="218" y="347"/>
                      <a:pt x="218" y="347"/>
                    </a:cubicBezTo>
                    <a:cubicBezTo>
                      <a:pt x="221" y="347"/>
                      <a:pt x="221" y="347"/>
                      <a:pt x="221" y="347"/>
                    </a:cubicBezTo>
                    <a:cubicBezTo>
                      <a:pt x="229" y="350"/>
                      <a:pt x="229" y="350"/>
                      <a:pt x="229" y="350"/>
                    </a:cubicBezTo>
                    <a:cubicBezTo>
                      <a:pt x="235" y="352"/>
                      <a:pt x="235" y="352"/>
                      <a:pt x="235" y="352"/>
                    </a:cubicBezTo>
                    <a:cubicBezTo>
                      <a:pt x="236" y="357"/>
                      <a:pt x="236" y="357"/>
                      <a:pt x="236" y="357"/>
                    </a:cubicBezTo>
                    <a:cubicBezTo>
                      <a:pt x="240" y="358"/>
                      <a:pt x="240" y="358"/>
                      <a:pt x="240" y="358"/>
                    </a:cubicBezTo>
                    <a:cubicBezTo>
                      <a:pt x="245" y="361"/>
                      <a:pt x="245" y="361"/>
                      <a:pt x="245" y="361"/>
                    </a:cubicBezTo>
                    <a:cubicBezTo>
                      <a:pt x="256" y="360"/>
                      <a:pt x="256" y="360"/>
                      <a:pt x="256" y="360"/>
                    </a:cubicBezTo>
                    <a:cubicBezTo>
                      <a:pt x="264" y="364"/>
                      <a:pt x="264" y="364"/>
                      <a:pt x="264" y="364"/>
                    </a:cubicBezTo>
                    <a:cubicBezTo>
                      <a:pt x="265" y="367"/>
                      <a:pt x="265" y="367"/>
                      <a:pt x="265" y="367"/>
                    </a:cubicBezTo>
                    <a:cubicBezTo>
                      <a:pt x="264" y="376"/>
                      <a:pt x="264" y="376"/>
                      <a:pt x="264" y="376"/>
                    </a:cubicBezTo>
                    <a:cubicBezTo>
                      <a:pt x="266" y="383"/>
                      <a:pt x="266" y="383"/>
                      <a:pt x="266" y="383"/>
                    </a:cubicBezTo>
                    <a:cubicBezTo>
                      <a:pt x="264" y="387"/>
                      <a:pt x="264" y="387"/>
                      <a:pt x="264" y="387"/>
                    </a:cubicBezTo>
                    <a:cubicBezTo>
                      <a:pt x="271" y="399"/>
                      <a:pt x="271" y="399"/>
                      <a:pt x="271" y="399"/>
                    </a:cubicBezTo>
                    <a:cubicBezTo>
                      <a:pt x="270" y="407"/>
                      <a:pt x="270" y="407"/>
                      <a:pt x="270" y="407"/>
                    </a:cubicBezTo>
                    <a:cubicBezTo>
                      <a:pt x="304" y="408"/>
                      <a:pt x="304" y="408"/>
                      <a:pt x="304" y="408"/>
                    </a:cubicBezTo>
                    <a:cubicBezTo>
                      <a:pt x="306" y="420"/>
                      <a:pt x="306" y="420"/>
                      <a:pt x="306" y="420"/>
                    </a:cubicBezTo>
                    <a:cubicBezTo>
                      <a:pt x="305" y="427"/>
                      <a:pt x="305" y="427"/>
                      <a:pt x="305" y="427"/>
                    </a:cubicBezTo>
                    <a:cubicBezTo>
                      <a:pt x="315" y="429"/>
                      <a:pt x="315" y="429"/>
                      <a:pt x="315" y="429"/>
                    </a:cubicBezTo>
                    <a:cubicBezTo>
                      <a:pt x="325" y="446"/>
                      <a:pt x="325" y="446"/>
                      <a:pt x="325" y="446"/>
                    </a:cubicBezTo>
                    <a:cubicBezTo>
                      <a:pt x="326" y="456"/>
                      <a:pt x="326" y="456"/>
                      <a:pt x="326" y="456"/>
                    </a:cubicBezTo>
                    <a:cubicBezTo>
                      <a:pt x="316" y="474"/>
                      <a:pt x="316" y="474"/>
                      <a:pt x="316" y="474"/>
                    </a:cubicBezTo>
                    <a:cubicBezTo>
                      <a:pt x="317" y="476"/>
                      <a:pt x="317" y="476"/>
                      <a:pt x="317" y="476"/>
                    </a:cubicBezTo>
                    <a:cubicBezTo>
                      <a:pt x="314" y="480"/>
                      <a:pt x="314" y="480"/>
                      <a:pt x="314" y="480"/>
                    </a:cubicBezTo>
                    <a:cubicBezTo>
                      <a:pt x="316" y="482"/>
                      <a:pt x="316" y="482"/>
                      <a:pt x="316" y="482"/>
                    </a:cubicBezTo>
                    <a:cubicBezTo>
                      <a:pt x="315" y="486"/>
                      <a:pt x="315" y="486"/>
                      <a:pt x="315" y="486"/>
                    </a:cubicBezTo>
                    <a:cubicBezTo>
                      <a:pt x="320" y="489"/>
                      <a:pt x="320" y="489"/>
                      <a:pt x="320" y="489"/>
                    </a:cubicBezTo>
                    <a:cubicBezTo>
                      <a:pt x="320" y="495"/>
                      <a:pt x="320" y="495"/>
                      <a:pt x="320" y="495"/>
                    </a:cubicBezTo>
                    <a:cubicBezTo>
                      <a:pt x="324" y="501"/>
                      <a:pt x="324" y="501"/>
                      <a:pt x="324" y="501"/>
                    </a:cubicBezTo>
                    <a:cubicBezTo>
                      <a:pt x="322" y="512"/>
                      <a:pt x="322" y="512"/>
                      <a:pt x="322" y="512"/>
                    </a:cubicBezTo>
                    <a:cubicBezTo>
                      <a:pt x="323" y="516"/>
                      <a:pt x="323" y="516"/>
                      <a:pt x="323" y="516"/>
                    </a:cubicBezTo>
                    <a:cubicBezTo>
                      <a:pt x="321" y="520"/>
                      <a:pt x="321" y="520"/>
                      <a:pt x="321" y="520"/>
                    </a:cubicBezTo>
                    <a:cubicBezTo>
                      <a:pt x="323" y="524"/>
                      <a:pt x="323" y="524"/>
                      <a:pt x="323" y="524"/>
                    </a:cubicBezTo>
                    <a:cubicBezTo>
                      <a:pt x="330" y="524"/>
                      <a:pt x="330" y="524"/>
                      <a:pt x="330" y="524"/>
                    </a:cubicBezTo>
                    <a:cubicBezTo>
                      <a:pt x="333" y="525"/>
                      <a:pt x="333" y="525"/>
                      <a:pt x="333" y="525"/>
                    </a:cubicBezTo>
                    <a:cubicBezTo>
                      <a:pt x="342" y="525"/>
                      <a:pt x="342" y="525"/>
                      <a:pt x="342" y="525"/>
                    </a:cubicBezTo>
                    <a:cubicBezTo>
                      <a:pt x="348" y="526"/>
                      <a:pt x="348" y="526"/>
                      <a:pt x="348" y="526"/>
                    </a:cubicBezTo>
                    <a:cubicBezTo>
                      <a:pt x="356" y="523"/>
                      <a:pt x="356" y="523"/>
                      <a:pt x="356" y="523"/>
                    </a:cubicBezTo>
                    <a:cubicBezTo>
                      <a:pt x="361" y="526"/>
                      <a:pt x="361" y="526"/>
                      <a:pt x="361" y="526"/>
                    </a:cubicBezTo>
                    <a:cubicBezTo>
                      <a:pt x="365" y="527"/>
                      <a:pt x="365" y="527"/>
                      <a:pt x="365" y="527"/>
                    </a:cubicBezTo>
                    <a:cubicBezTo>
                      <a:pt x="366" y="532"/>
                      <a:pt x="366" y="532"/>
                      <a:pt x="366" y="532"/>
                    </a:cubicBezTo>
                    <a:cubicBezTo>
                      <a:pt x="371" y="552"/>
                      <a:pt x="371" y="552"/>
                      <a:pt x="371" y="552"/>
                    </a:cubicBezTo>
                    <a:cubicBezTo>
                      <a:pt x="374" y="559"/>
                      <a:pt x="374" y="559"/>
                      <a:pt x="374" y="559"/>
                    </a:cubicBezTo>
                    <a:cubicBezTo>
                      <a:pt x="378" y="560"/>
                      <a:pt x="378" y="560"/>
                      <a:pt x="378" y="560"/>
                    </a:cubicBezTo>
                    <a:cubicBezTo>
                      <a:pt x="385" y="556"/>
                      <a:pt x="385" y="556"/>
                      <a:pt x="385" y="556"/>
                    </a:cubicBezTo>
                    <a:cubicBezTo>
                      <a:pt x="390" y="557"/>
                      <a:pt x="390" y="557"/>
                      <a:pt x="390" y="557"/>
                    </a:cubicBezTo>
                    <a:cubicBezTo>
                      <a:pt x="393" y="560"/>
                      <a:pt x="393" y="560"/>
                      <a:pt x="393" y="560"/>
                    </a:cubicBezTo>
                    <a:cubicBezTo>
                      <a:pt x="395" y="560"/>
                      <a:pt x="395" y="560"/>
                      <a:pt x="395" y="560"/>
                    </a:cubicBezTo>
                    <a:cubicBezTo>
                      <a:pt x="394" y="563"/>
                      <a:pt x="394" y="563"/>
                      <a:pt x="394" y="563"/>
                    </a:cubicBezTo>
                    <a:cubicBezTo>
                      <a:pt x="393" y="581"/>
                      <a:pt x="393" y="581"/>
                      <a:pt x="393" y="581"/>
                    </a:cubicBezTo>
                    <a:cubicBezTo>
                      <a:pt x="392" y="583"/>
                      <a:pt x="392" y="583"/>
                      <a:pt x="392" y="583"/>
                    </a:cubicBezTo>
                    <a:cubicBezTo>
                      <a:pt x="392" y="584"/>
                      <a:pt x="392" y="584"/>
                      <a:pt x="392" y="584"/>
                    </a:cubicBezTo>
                    <a:cubicBezTo>
                      <a:pt x="392" y="586"/>
                      <a:pt x="392" y="586"/>
                      <a:pt x="392" y="586"/>
                    </a:cubicBezTo>
                    <a:cubicBezTo>
                      <a:pt x="391" y="588"/>
                      <a:pt x="391" y="588"/>
                      <a:pt x="391" y="588"/>
                    </a:cubicBezTo>
                    <a:cubicBezTo>
                      <a:pt x="391" y="590"/>
                      <a:pt x="391" y="590"/>
                      <a:pt x="391" y="590"/>
                    </a:cubicBezTo>
                    <a:cubicBezTo>
                      <a:pt x="394" y="588"/>
                      <a:pt x="394" y="588"/>
                      <a:pt x="394" y="588"/>
                    </a:cubicBezTo>
                    <a:cubicBezTo>
                      <a:pt x="403" y="589"/>
                      <a:pt x="403" y="589"/>
                      <a:pt x="403" y="589"/>
                    </a:cubicBezTo>
                    <a:cubicBezTo>
                      <a:pt x="404" y="593"/>
                      <a:pt x="404" y="593"/>
                      <a:pt x="404" y="593"/>
                    </a:cubicBezTo>
                    <a:cubicBezTo>
                      <a:pt x="407" y="601"/>
                      <a:pt x="407" y="601"/>
                      <a:pt x="407" y="601"/>
                    </a:cubicBezTo>
                    <a:cubicBezTo>
                      <a:pt x="407" y="607"/>
                      <a:pt x="407" y="607"/>
                      <a:pt x="407" y="607"/>
                    </a:cubicBezTo>
                    <a:cubicBezTo>
                      <a:pt x="408" y="614"/>
                      <a:pt x="408" y="614"/>
                      <a:pt x="408" y="614"/>
                    </a:cubicBezTo>
                    <a:cubicBezTo>
                      <a:pt x="408" y="621"/>
                      <a:pt x="408" y="621"/>
                      <a:pt x="408" y="621"/>
                    </a:cubicBezTo>
                    <a:cubicBezTo>
                      <a:pt x="407" y="624"/>
                      <a:pt x="407" y="624"/>
                      <a:pt x="407" y="624"/>
                    </a:cubicBezTo>
                    <a:cubicBezTo>
                      <a:pt x="403" y="623"/>
                      <a:pt x="403" y="623"/>
                      <a:pt x="403" y="623"/>
                    </a:cubicBezTo>
                    <a:cubicBezTo>
                      <a:pt x="399" y="626"/>
                      <a:pt x="399" y="626"/>
                      <a:pt x="399" y="626"/>
                    </a:cubicBezTo>
                    <a:cubicBezTo>
                      <a:pt x="398" y="627"/>
                      <a:pt x="398" y="627"/>
                      <a:pt x="398" y="627"/>
                    </a:cubicBezTo>
                    <a:cubicBezTo>
                      <a:pt x="395" y="630"/>
                      <a:pt x="395" y="630"/>
                      <a:pt x="395" y="630"/>
                    </a:cubicBezTo>
                    <a:cubicBezTo>
                      <a:pt x="394" y="629"/>
                      <a:pt x="394" y="629"/>
                      <a:pt x="394" y="629"/>
                    </a:cubicBezTo>
                    <a:cubicBezTo>
                      <a:pt x="386" y="634"/>
                      <a:pt x="386" y="634"/>
                      <a:pt x="386" y="634"/>
                    </a:cubicBezTo>
                    <a:cubicBezTo>
                      <a:pt x="385" y="636"/>
                      <a:pt x="385" y="636"/>
                      <a:pt x="385" y="636"/>
                    </a:cubicBezTo>
                    <a:cubicBezTo>
                      <a:pt x="382" y="637"/>
                      <a:pt x="382" y="637"/>
                      <a:pt x="382" y="637"/>
                    </a:cubicBezTo>
                    <a:cubicBezTo>
                      <a:pt x="374" y="643"/>
                      <a:pt x="374" y="643"/>
                      <a:pt x="374" y="643"/>
                    </a:cubicBezTo>
                    <a:cubicBezTo>
                      <a:pt x="372" y="644"/>
                      <a:pt x="372" y="644"/>
                      <a:pt x="372" y="644"/>
                    </a:cubicBezTo>
                    <a:cubicBezTo>
                      <a:pt x="372" y="648"/>
                      <a:pt x="372" y="648"/>
                      <a:pt x="372" y="648"/>
                    </a:cubicBezTo>
                    <a:cubicBezTo>
                      <a:pt x="369" y="649"/>
                      <a:pt x="369" y="649"/>
                      <a:pt x="369" y="649"/>
                    </a:cubicBezTo>
                    <a:cubicBezTo>
                      <a:pt x="367" y="649"/>
                      <a:pt x="367" y="649"/>
                      <a:pt x="367" y="649"/>
                    </a:cubicBezTo>
                    <a:cubicBezTo>
                      <a:pt x="361" y="656"/>
                      <a:pt x="361" y="656"/>
                      <a:pt x="361" y="656"/>
                    </a:cubicBezTo>
                    <a:cubicBezTo>
                      <a:pt x="360" y="659"/>
                      <a:pt x="360" y="659"/>
                      <a:pt x="360" y="659"/>
                    </a:cubicBezTo>
                    <a:cubicBezTo>
                      <a:pt x="360" y="663"/>
                      <a:pt x="360" y="663"/>
                      <a:pt x="360" y="663"/>
                    </a:cubicBezTo>
                    <a:cubicBezTo>
                      <a:pt x="357" y="664"/>
                      <a:pt x="357" y="664"/>
                      <a:pt x="357" y="664"/>
                    </a:cubicBezTo>
                    <a:cubicBezTo>
                      <a:pt x="355" y="666"/>
                      <a:pt x="355" y="666"/>
                      <a:pt x="355" y="666"/>
                    </a:cubicBezTo>
                    <a:cubicBezTo>
                      <a:pt x="351" y="673"/>
                      <a:pt x="351" y="673"/>
                      <a:pt x="351" y="673"/>
                    </a:cubicBezTo>
                    <a:cubicBezTo>
                      <a:pt x="349" y="676"/>
                      <a:pt x="349" y="676"/>
                      <a:pt x="349" y="676"/>
                    </a:cubicBezTo>
                    <a:cubicBezTo>
                      <a:pt x="346" y="681"/>
                      <a:pt x="346" y="681"/>
                      <a:pt x="346" y="681"/>
                    </a:cubicBezTo>
                    <a:cubicBezTo>
                      <a:pt x="346" y="682"/>
                      <a:pt x="346" y="682"/>
                      <a:pt x="346" y="682"/>
                    </a:cubicBezTo>
                    <a:cubicBezTo>
                      <a:pt x="342" y="685"/>
                      <a:pt x="342" y="685"/>
                      <a:pt x="342" y="685"/>
                    </a:cubicBezTo>
                    <a:cubicBezTo>
                      <a:pt x="341" y="686"/>
                      <a:pt x="341" y="686"/>
                      <a:pt x="341" y="686"/>
                    </a:cubicBezTo>
                    <a:cubicBezTo>
                      <a:pt x="344" y="686"/>
                      <a:pt x="344" y="686"/>
                      <a:pt x="344" y="686"/>
                    </a:cubicBezTo>
                    <a:cubicBezTo>
                      <a:pt x="346" y="688"/>
                      <a:pt x="346" y="688"/>
                      <a:pt x="346" y="688"/>
                    </a:cubicBezTo>
                    <a:cubicBezTo>
                      <a:pt x="356" y="685"/>
                      <a:pt x="356" y="685"/>
                      <a:pt x="356" y="685"/>
                    </a:cubicBezTo>
                    <a:cubicBezTo>
                      <a:pt x="360" y="687"/>
                      <a:pt x="360" y="687"/>
                      <a:pt x="360" y="687"/>
                    </a:cubicBezTo>
                    <a:cubicBezTo>
                      <a:pt x="365" y="693"/>
                      <a:pt x="365" y="693"/>
                      <a:pt x="365" y="693"/>
                    </a:cubicBezTo>
                    <a:cubicBezTo>
                      <a:pt x="368" y="695"/>
                      <a:pt x="368" y="695"/>
                      <a:pt x="368" y="695"/>
                    </a:cubicBezTo>
                    <a:cubicBezTo>
                      <a:pt x="371" y="700"/>
                      <a:pt x="371" y="700"/>
                      <a:pt x="371" y="700"/>
                    </a:cubicBezTo>
                    <a:cubicBezTo>
                      <a:pt x="375" y="707"/>
                      <a:pt x="375" y="707"/>
                      <a:pt x="375" y="707"/>
                    </a:cubicBezTo>
                    <a:cubicBezTo>
                      <a:pt x="378" y="707"/>
                      <a:pt x="378" y="707"/>
                      <a:pt x="378" y="707"/>
                    </a:cubicBezTo>
                    <a:cubicBezTo>
                      <a:pt x="381" y="703"/>
                      <a:pt x="381" y="703"/>
                      <a:pt x="381" y="703"/>
                    </a:cubicBezTo>
                    <a:cubicBezTo>
                      <a:pt x="383" y="703"/>
                      <a:pt x="383" y="703"/>
                      <a:pt x="383" y="703"/>
                    </a:cubicBezTo>
                    <a:cubicBezTo>
                      <a:pt x="388" y="710"/>
                      <a:pt x="388" y="710"/>
                      <a:pt x="388" y="710"/>
                    </a:cubicBezTo>
                    <a:cubicBezTo>
                      <a:pt x="393" y="713"/>
                      <a:pt x="393" y="713"/>
                      <a:pt x="393" y="713"/>
                    </a:cubicBezTo>
                    <a:cubicBezTo>
                      <a:pt x="397" y="714"/>
                      <a:pt x="397" y="714"/>
                      <a:pt x="397" y="714"/>
                    </a:cubicBezTo>
                    <a:cubicBezTo>
                      <a:pt x="402" y="718"/>
                      <a:pt x="402" y="718"/>
                      <a:pt x="402" y="718"/>
                    </a:cubicBezTo>
                    <a:cubicBezTo>
                      <a:pt x="402" y="723"/>
                      <a:pt x="402" y="723"/>
                      <a:pt x="402" y="723"/>
                    </a:cubicBezTo>
                    <a:cubicBezTo>
                      <a:pt x="406" y="722"/>
                      <a:pt x="406" y="722"/>
                      <a:pt x="406" y="722"/>
                    </a:cubicBezTo>
                    <a:cubicBezTo>
                      <a:pt x="413" y="725"/>
                      <a:pt x="413" y="725"/>
                      <a:pt x="413" y="725"/>
                    </a:cubicBezTo>
                    <a:cubicBezTo>
                      <a:pt x="418" y="731"/>
                      <a:pt x="418" y="731"/>
                      <a:pt x="418" y="731"/>
                    </a:cubicBezTo>
                    <a:cubicBezTo>
                      <a:pt x="423" y="738"/>
                      <a:pt x="423" y="738"/>
                      <a:pt x="423" y="738"/>
                    </a:cubicBezTo>
                    <a:cubicBezTo>
                      <a:pt x="427" y="740"/>
                      <a:pt x="427" y="740"/>
                      <a:pt x="427" y="740"/>
                    </a:cubicBezTo>
                    <a:cubicBezTo>
                      <a:pt x="426" y="746"/>
                      <a:pt x="426" y="746"/>
                      <a:pt x="426" y="746"/>
                    </a:cubicBezTo>
                    <a:cubicBezTo>
                      <a:pt x="422" y="750"/>
                      <a:pt x="422" y="750"/>
                      <a:pt x="422" y="750"/>
                    </a:cubicBezTo>
                    <a:cubicBezTo>
                      <a:pt x="424" y="756"/>
                      <a:pt x="424" y="756"/>
                      <a:pt x="424" y="756"/>
                    </a:cubicBezTo>
                    <a:cubicBezTo>
                      <a:pt x="425" y="757"/>
                      <a:pt x="425" y="757"/>
                      <a:pt x="425" y="757"/>
                    </a:cubicBezTo>
                    <a:cubicBezTo>
                      <a:pt x="425" y="758"/>
                      <a:pt x="425" y="758"/>
                      <a:pt x="425" y="758"/>
                    </a:cubicBezTo>
                    <a:cubicBezTo>
                      <a:pt x="428" y="761"/>
                      <a:pt x="428" y="761"/>
                      <a:pt x="428" y="761"/>
                    </a:cubicBezTo>
                    <a:cubicBezTo>
                      <a:pt x="429" y="762"/>
                      <a:pt x="429" y="762"/>
                      <a:pt x="429" y="762"/>
                    </a:cubicBezTo>
                    <a:cubicBezTo>
                      <a:pt x="436" y="756"/>
                      <a:pt x="436" y="756"/>
                      <a:pt x="436" y="756"/>
                    </a:cubicBezTo>
                    <a:cubicBezTo>
                      <a:pt x="439" y="751"/>
                      <a:pt x="439" y="751"/>
                      <a:pt x="439" y="751"/>
                    </a:cubicBezTo>
                    <a:cubicBezTo>
                      <a:pt x="442" y="738"/>
                      <a:pt x="442" y="738"/>
                      <a:pt x="442" y="738"/>
                    </a:cubicBezTo>
                    <a:cubicBezTo>
                      <a:pt x="445" y="729"/>
                      <a:pt x="445" y="729"/>
                      <a:pt x="445" y="729"/>
                    </a:cubicBezTo>
                    <a:cubicBezTo>
                      <a:pt x="446" y="727"/>
                      <a:pt x="446" y="727"/>
                      <a:pt x="446" y="727"/>
                    </a:cubicBezTo>
                    <a:cubicBezTo>
                      <a:pt x="444" y="725"/>
                      <a:pt x="444" y="725"/>
                      <a:pt x="444" y="725"/>
                    </a:cubicBezTo>
                    <a:cubicBezTo>
                      <a:pt x="441" y="721"/>
                      <a:pt x="441" y="721"/>
                      <a:pt x="441" y="721"/>
                    </a:cubicBezTo>
                    <a:cubicBezTo>
                      <a:pt x="443" y="717"/>
                      <a:pt x="443" y="717"/>
                      <a:pt x="443" y="717"/>
                    </a:cubicBezTo>
                    <a:cubicBezTo>
                      <a:pt x="446" y="716"/>
                      <a:pt x="446" y="716"/>
                      <a:pt x="446" y="716"/>
                    </a:cubicBezTo>
                    <a:cubicBezTo>
                      <a:pt x="446" y="713"/>
                      <a:pt x="446" y="713"/>
                      <a:pt x="446" y="713"/>
                    </a:cubicBezTo>
                    <a:cubicBezTo>
                      <a:pt x="449" y="710"/>
                      <a:pt x="449" y="710"/>
                      <a:pt x="449" y="710"/>
                    </a:cubicBezTo>
                    <a:cubicBezTo>
                      <a:pt x="449" y="707"/>
                      <a:pt x="449" y="707"/>
                      <a:pt x="449" y="707"/>
                    </a:cubicBezTo>
                    <a:cubicBezTo>
                      <a:pt x="451" y="709"/>
                      <a:pt x="451" y="709"/>
                      <a:pt x="451" y="709"/>
                    </a:cubicBezTo>
                    <a:cubicBezTo>
                      <a:pt x="453" y="709"/>
                      <a:pt x="453" y="709"/>
                      <a:pt x="453" y="709"/>
                    </a:cubicBezTo>
                    <a:cubicBezTo>
                      <a:pt x="457" y="705"/>
                      <a:pt x="457" y="705"/>
                      <a:pt x="457" y="705"/>
                    </a:cubicBezTo>
                    <a:cubicBezTo>
                      <a:pt x="457" y="702"/>
                      <a:pt x="457" y="702"/>
                      <a:pt x="457" y="702"/>
                    </a:cubicBezTo>
                    <a:cubicBezTo>
                      <a:pt x="458" y="700"/>
                      <a:pt x="458" y="700"/>
                      <a:pt x="458" y="700"/>
                    </a:cubicBezTo>
                    <a:cubicBezTo>
                      <a:pt x="459" y="696"/>
                      <a:pt x="459" y="696"/>
                      <a:pt x="459" y="696"/>
                    </a:cubicBezTo>
                    <a:cubicBezTo>
                      <a:pt x="460" y="694"/>
                      <a:pt x="460" y="694"/>
                      <a:pt x="460" y="694"/>
                    </a:cubicBezTo>
                    <a:cubicBezTo>
                      <a:pt x="462" y="694"/>
                      <a:pt x="462" y="694"/>
                      <a:pt x="462" y="694"/>
                    </a:cubicBezTo>
                    <a:cubicBezTo>
                      <a:pt x="463" y="691"/>
                      <a:pt x="463" y="691"/>
                      <a:pt x="463" y="691"/>
                    </a:cubicBezTo>
                    <a:cubicBezTo>
                      <a:pt x="462" y="688"/>
                      <a:pt x="462" y="688"/>
                      <a:pt x="462" y="688"/>
                    </a:cubicBezTo>
                    <a:cubicBezTo>
                      <a:pt x="460" y="686"/>
                      <a:pt x="460" y="686"/>
                      <a:pt x="460" y="686"/>
                    </a:cubicBezTo>
                    <a:cubicBezTo>
                      <a:pt x="461" y="680"/>
                      <a:pt x="461" y="680"/>
                      <a:pt x="461" y="680"/>
                    </a:cubicBezTo>
                    <a:cubicBezTo>
                      <a:pt x="459" y="679"/>
                      <a:pt x="459" y="679"/>
                      <a:pt x="459" y="679"/>
                    </a:cubicBezTo>
                    <a:cubicBezTo>
                      <a:pt x="461" y="679"/>
                      <a:pt x="461" y="679"/>
                      <a:pt x="461" y="679"/>
                    </a:cubicBezTo>
                    <a:cubicBezTo>
                      <a:pt x="463" y="684"/>
                      <a:pt x="463" y="684"/>
                      <a:pt x="463" y="684"/>
                    </a:cubicBezTo>
                    <a:cubicBezTo>
                      <a:pt x="468" y="689"/>
                      <a:pt x="468" y="689"/>
                      <a:pt x="468" y="689"/>
                    </a:cubicBezTo>
                    <a:cubicBezTo>
                      <a:pt x="469" y="689"/>
                      <a:pt x="469" y="689"/>
                      <a:pt x="469" y="689"/>
                    </a:cubicBezTo>
                    <a:cubicBezTo>
                      <a:pt x="471" y="688"/>
                      <a:pt x="471" y="688"/>
                      <a:pt x="471" y="688"/>
                    </a:cubicBezTo>
                    <a:cubicBezTo>
                      <a:pt x="473" y="689"/>
                      <a:pt x="473" y="689"/>
                      <a:pt x="473" y="689"/>
                    </a:cubicBezTo>
                    <a:cubicBezTo>
                      <a:pt x="473" y="692"/>
                      <a:pt x="473" y="692"/>
                      <a:pt x="473" y="692"/>
                    </a:cubicBezTo>
                    <a:cubicBezTo>
                      <a:pt x="471" y="692"/>
                      <a:pt x="471" y="692"/>
                      <a:pt x="471" y="692"/>
                    </a:cubicBezTo>
                    <a:cubicBezTo>
                      <a:pt x="470" y="699"/>
                      <a:pt x="470" y="699"/>
                      <a:pt x="470" y="699"/>
                    </a:cubicBezTo>
                    <a:cubicBezTo>
                      <a:pt x="465" y="706"/>
                      <a:pt x="465" y="706"/>
                      <a:pt x="465" y="706"/>
                    </a:cubicBezTo>
                    <a:cubicBezTo>
                      <a:pt x="461" y="706"/>
                      <a:pt x="461" y="706"/>
                      <a:pt x="461" y="706"/>
                    </a:cubicBezTo>
                    <a:cubicBezTo>
                      <a:pt x="461" y="711"/>
                      <a:pt x="461" y="711"/>
                      <a:pt x="461" y="711"/>
                    </a:cubicBezTo>
                    <a:cubicBezTo>
                      <a:pt x="459" y="714"/>
                      <a:pt x="459" y="714"/>
                      <a:pt x="459" y="714"/>
                    </a:cubicBezTo>
                    <a:cubicBezTo>
                      <a:pt x="458" y="713"/>
                      <a:pt x="458" y="713"/>
                      <a:pt x="458" y="713"/>
                    </a:cubicBezTo>
                    <a:cubicBezTo>
                      <a:pt x="454" y="715"/>
                      <a:pt x="454" y="715"/>
                      <a:pt x="454" y="715"/>
                    </a:cubicBezTo>
                    <a:cubicBezTo>
                      <a:pt x="451" y="718"/>
                      <a:pt x="451" y="718"/>
                      <a:pt x="451" y="718"/>
                    </a:cubicBezTo>
                    <a:cubicBezTo>
                      <a:pt x="451" y="720"/>
                      <a:pt x="451" y="720"/>
                      <a:pt x="451" y="720"/>
                    </a:cubicBezTo>
                    <a:cubicBezTo>
                      <a:pt x="448" y="720"/>
                      <a:pt x="448" y="720"/>
                      <a:pt x="448" y="720"/>
                    </a:cubicBezTo>
                    <a:cubicBezTo>
                      <a:pt x="446" y="722"/>
                      <a:pt x="446" y="722"/>
                      <a:pt x="446" y="722"/>
                    </a:cubicBezTo>
                    <a:cubicBezTo>
                      <a:pt x="446" y="724"/>
                      <a:pt x="446" y="724"/>
                      <a:pt x="446" y="724"/>
                    </a:cubicBezTo>
                    <a:cubicBezTo>
                      <a:pt x="450" y="725"/>
                      <a:pt x="450" y="725"/>
                      <a:pt x="450" y="725"/>
                    </a:cubicBezTo>
                    <a:cubicBezTo>
                      <a:pt x="462" y="716"/>
                      <a:pt x="462" y="716"/>
                      <a:pt x="462" y="716"/>
                    </a:cubicBezTo>
                    <a:cubicBezTo>
                      <a:pt x="468" y="709"/>
                      <a:pt x="468" y="709"/>
                      <a:pt x="468" y="709"/>
                    </a:cubicBezTo>
                    <a:cubicBezTo>
                      <a:pt x="477" y="694"/>
                      <a:pt x="477" y="694"/>
                      <a:pt x="477" y="694"/>
                    </a:cubicBezTo>
                    <a:cubicBezTo>
                      <a:pt x="481" y="686"/>
                      <a:pt x="481" y="686"/>
                      <a:pt x="481" y="686"/>
                    </a:cubicBezTo>
                    <a:cubicBezTo>
                      <a:pt x="484" y="677"/>
                      <a:pt x="484" y="677"/>
                      <a:pt x="484" y="677"/>
                    </a:cubicBezTo>
                    <a:cubicBezTo>
                      <a:pt x="493" y="661"/>
                      <a:pt x="493" y="661"/>
                      <a:pt x="493" y="661"/>
                    </a:cubicBezTo>
                    <a:cubicBezTo>
                      <a:pt x="502" y="651"/>
                      <a:pt x="502" y="651"/>
                      <a:pt x="502" y="651"/>
                    </a:cubicBezTo>
                    <a:cubicBezTo>
                      <a:pt x="503" y="648"/>
                      <a:pt x="503" y="648"/>
                      <a:pt x="503" y="648"/>
                    </a:cubicBezTo>
                    <a:cubicBezTo>
                      <a:pt x="502" y="647"/>
                      <a:pt x="502" y="647"/>
                      <a:pt x="502" y="647"/>
                    </a:cubicBezTo>
                    <a:cubicBezTo>
                      <a:pt x="503" y="644"/>
                      <a:pt x="503" y="644"/>
                      <a:pt x="503" y="644"/>
                    </a:cubicBezTo>
                    <a:cubicBezTo>
                      <a:pt x="504" y="644"/>
                      <a:pt x="504" y="644"/>
                      <a:pt x="504" y="644"/>
                    </a:cubicBezTo>
                    <a:cubicBezTo>
                      <a:pt x="506" y="640"/>
                      <a:pt x="506" y="640"/>
                      <a:pt x="506" y="640"/>
                    </a:cubicBezTo>
                    <a:cubicBezTo>
                      <a:pt x="508" y="638"/>
                      <a:pt x="508" y="638"/>
                      <a:pt x="508" y="638"/>
                    </a:cubicBezTo>
                    <a:cubicBezTo>
                      <a:pt x="508" y="635"/>
                      <a:pt x="508" y="635"/>
                      <a:pt x="508" y="635"/>
                    </a:cubicBezTo>
                    <a:cubicBezTo>
                      <a:pt x="508" y="632"/>
                      <a:pt x="508" y="632"/>
                      <a:pt x="508" y="632"/>
                    </a:cubicBezTo>
                    <a:cubicBezTo>
                      <a:pt x="508" y="631"/>
                      <a:pt x="508" y="631"/>
                      <a:pt x="508" y="631"/>
                    </a:cubicBezTo>
                    <a:cubicBezTo>
                      <a:pt x="506" y="630"/>
                      <a:pt x="506" y="630"/>
                      <a:pt x="506" y="630"/>
                    </a:cubicBezTo>
                    <a:cubicBezTo>
                      <a:pt x="506" y="626"/>
                      <a:pt x="506" y="626"/>
                      <a:pt x="506" y="626"/>
                    </a:cubicBezTo>
                    <a:cubicBezTo>
                      <a:pt x="503" y="621"/>
                      <a:pt x="503" y="621"/>
                      <a:pt x="503" y="621"/>
                    </a:cubicBezTo>
                    <a:cubicBezTo>
                      <a:pt x="503" y="619"/>
                      <a:pt x="503" y="619"/>
                      <a:pt x="503" y="619"/>
                    </a:cubicBezTo>
                    <a:cubicBezTo>
                      <a:pt x="503" y="617"/>
                      <a:pt x="503" y="617"/>
                      <a:pt x="503" y="617"/>
                    </a:cubicBezTo>
                    <a:cubicBezTo>
                      <a:pt x="503" y="614"/>
                      <a:pt x="503" y="614"/>
                      <a:pt x="503" y="614"/>
                    </a:cubicBezTo>
                    <a:cubicBezTo>
                      <a:pt x="501" y="609"/>
                      <a:pt x="501" y="609"/>
                      <a:pt x="501" y="609"/>
                    </a:cubicBezTo>
                    <a:cubicBezTo>
                      <a:pt x="499" y="603"/>
                      <a:pt x="499" y="603"/>
                      <a:pt x="499" y="603"/>
                    </a:cubicBezTo>
                    <a:cubicBezTo>
                      <a:pt x="501" y="602"/>
                      <a:pt x="501" y="602"/>
                      <a:pt x="501" y="602"/>
                    </a:cubicBezTo>
                    <a:cubicBezTo>
                      <a:pt x="506" y="601"/>
                      <a:pt x="506" y="601"/>
                      <a:pt x="506" y="601"/>
                    </a:cubicBezTo>
                    <a:cubicBezTo>
                      <a:pt x="504" y="598"/>
                      <a:pt x="504" y="598"/>
                      <a:pt x="504" y="598"/>
                    </a:cubicBezTo>
                    <a:cubicBezTo>
                      <a:pt x="502" y="597"/>
                      <a:pt x="502" y="597"/>
                      <a:pt x="502" y="597"/>
                    </a:cubicBezTo>
                    <a:cubicBezTo>
                      <a:pt x="507" y="596"/>
                      <a:pt x="507" y="596"/>
                      <a:pt x="507" y="596"/>
                    </a:cubicBezTo>
                    <a:cubicBezTo>
                      <a:pt x="507" y="592"/>
                      <a:pt x="507" y="592"/>
                      <a:pt x="507" y="592"/>
                    </a:cubicBezTo>
                    <a:cubicBezTo>
                      <a:pt x="502" y="590"/>
                      <a:pt x="502" y="590"/>
                      <a:pt x="502" y="590"/>
                    </a:cubicBezTo>
                    <a:cubicBezTo>
                      <a:pt x="506" y="589"/>
                      <a:pt x="506" y="589"/>
                      <a:pt x="506" y="589"/>
                    </a:cubicBezTo>
                    <a:cubicBezTo>
                      <a:pt x="508" y="586"/>
                      <a:pt x="508" y="586"/>
                      <a:pt x="508" y="586"/>
                    </a:cubicBezTo>
                    <a:cubicBezTo>
                      <a:pt x="510" y="587"/>
                      <a:pt x="510" y="587"/>
                      <a:pt x="510" y="587"/>
                    </a:cubicBezTo>
                    <a:cubicBezTo>
                      <a:pt x="517" y="582"/>
                      <a:pt x="517" y="582"/>
                      <a:pt x="517" y="582"/>
                    </a:cubicBezTo>
                    <a:cubicBezTo>
                      <a:pt x="520" y="579"/>
                      <a:pt x="520" y="579"/>
                      <a:pt x="520" y="579"/>
                    </a:cubicBezTo>
                    <a:cubicBezTo>
                      <a:pt x="520" y="577"/>
                      <a:pt x="520" y="577"/>
                      <a:pt x="520" y="577"/>
                    </a:cubicBezTo>
                    <a:cubicBezTo>
                      <a:pt x="525" y="573"/>
                      <a:pt x="525" y="573"/>
                      <a:pt x="525" y="573"/>
                    </a:cubicBezTo>
                    <a:cubicBezTo>
                      <a:pt x="531" y="569"/>
                      <a:pt x="531" y="569"/>
                      <a:pt x="531" y="569"/>
                    </a:cubicBezTo>
                    <a:cubicBezTo>
                      <a:pt x="539" y="561"/>
                      <a:pt x="539" y="561"/>
                      <a:pt x="539" y="561"/>
                    </a:cubicBezTo>
                    <a:cubicBezTo>
                      <a:pt x="546" y="560"/>
                      <a:pt x="546" y="560"/>
                      <a:pt x="546" y="560"/>
                    </a:cubicBezTo>
                    <a:cubicBezTo>
                      <a:pt x="550" y="556"/>
                      <a:pt x="550" y="556"/>
                      <a:pt x="550" y="556"/>
                    </a:cubicBezTo>
                    <a:cubicBezTo>
                      <a:pt x="554" y="553"/>
                      <a:pt x="554" y="553"/>
                      <a:pt x="554" y="553"/>
                    </a:cubicBezTo>
                    <a:cubicBezTo>
                      <a:pt x="558" y="553"/>
                      <a:pt x="558" y="553"/>
                      <a:pt x="558" y="553"/>
                    </a:cubicBezTo>
                    <a:cubicBezTo>
                      <a:pt x="560" y="555"/>
                      <a:pt x="560" y="555"/>
                      <a:pt x="560" y="555"/>
                    </a:cubicBezTo>
                    <a:cubicBezTo>
                      <a:pt x="563" y="556"/>
                      <a:pt x="563" y="556"/>
                      <a:pt x="563" y="556"/>
                    </a:cubicBezTo>
                    <a:cubicBezTo>
                      <a:pt x="563" y="553"/>
                      <a:pt x="563" y="553"/>
                      <a:pt x="563" y="553"/>
                    </a:cubicBezTo>
                    <a:cubicBezTo>
                      <a:pt x="566" y="548"/>
                      <a:pt x="566" y="548"/>
                      <a:pt x="566" y="548"/>
                    </a:cubicBezTo>
                    <a:cubicBezTo>
                      <a:pt x="574" y="543"/>
                      <a:pt x="574" y="543"/>
                      <a:pt x="574" y="543"/>
                    </a:cubicBezTo>
                    <a:cubicBezTo>
                      <a:pt x="577" y="542"/>
                      <a:pt x="577" y="542"/>
                      <a:pt x="577" y="542"/>
                    </a:cubicBezTo>
                    <a:cubicBezTo>
                      <a:pt x="577" y="541"/>
                      <a:pt x="577" y="541"/>
                      <a:pt x="577" y="541"/>
                    </a:cubicBezTo>
                    <a:cubicBezTo>
                      <a:pt x="576" y="540"/>
                      <a:pt x="576" y="540"/>
                      <a:pt x="576" y="540"/>
                    </a:cubicBezTo>
                    <a:cubicBezTo>
                      <a:pt x="573" y="539"/>
                      <a:pt x="573" y="539"/>
                      <a:pt x="573" y="539"/>
                    </a:cubicBezTo>
                    <a:cubicBezTo>
                      <a:pt x="572" y="537"/>
                      <a:pt x="572" y="537"/>
                      <a:pt x="572" y="537"/>
                    </a:cubicBezTo>
                    <a:cubicBezTo>
                      <a:pt x="575" y="536"/>
                      <a:pt x="575" y="536"/>
                      <a:pt x="575" y="536"/>
                    </a:cubicBezTo>
                    <a:cubicBezTo>
                      <a:pt x="580" y="533"/>
                      <a:pt x="580" y="533"/>
                      <a:pt x="580" y="533"/>
                    </a:cubicBezTo>
                    <a:cubicBezTo>
                      <a:pt x="582" y="534"/>
                      <a:pt x="582" y="534"/>
                      <a:pt x="582" y="534"/>
                    </a:cubicBezTo>
                    <a:cubicBezTo>
                      <a:pt x="586" y="534"/>
                      <a:pt x="586" y="534"/>
                      <a:pt x="586" y="534"/>
                    </a:cubicBezTo>
                    <a:cubicBezTo>
                      <a:pt x="588" y="532"/>
                      <a:pt x="588" y="532"/>
                      <a:pt x="588" y="532"/>
                    </a:cubicBezTo>
                    <a:cubicBezTo>
                      <a:pt x="591" y="532"/>
                      <a:pt x="591" y="532"/>
                      <a:pt x="591" y="532"/>
                    </a:cubicBezTo>
                    <a:cubicBezTo>
                      <a:pt x="591" y="534"/>
                      <a:pt x="591" y="534"/>
                      <a:pt x="591" y="534"/>
                    </a:cubicBezTo>
                    <a:cubicBezTo>
                      <a:pt x="586" y="536"/>
                      <a:pt x="586" y="536"/>
                      <a:pt x="586" y="536"/>
                    </a:cubicBezTo>
                    <a:cubicBezTo>
                      <a:pt x="582" y="537"/>
                      <a:pt x="582" y="537"/>
                      <a:pt x="582" y="537"/>
                    </a:cubicBezTo>
                    <a:cubicBezTo>
                      <a:pt x="581" y="538"/>
                      <a:pt x="581" y="538"/>
                      <a:pt x="581" y="538"/>
                    </a:cubicBezTo>
                    <a:cubicBezTo>
                      <a:pt x="582" y="540"/>
                      <a:pt x="582" y="540"/>
                      <a:pt x="582" y="540"/>
                    </a:cubicBezTo>
                    <a:cubicBezTo>
                      <a:pt x="590" y="537"/>
                      <a:pt x="590" y="537"/>
                      <a:pt x="590" y="537"/>
                    </a:cubicBezTo>
                    <a:cubicBezTo>
                      <a:pt x="599" y="533"/>
                      <a:pt x="599" y="533"/>
                      <a:pt x="599" y="533"/>
                    </a:cubicBezTo>
                    <a:cubicBezTo>
                      <a:pt x="598" y="532"/>
                      <a:pt x="598" y="532"/>
                      <a:pt x="598" y="532"/>
                    </a:cubicBezTo>
                    <a:cubicBezTo>
                      <a:pt x="600" y="530"/>
                      <a:pt x="600" y="530"/>
                      <a:pt x="600" y="530"/>
                    </a:cubicBezTo>
                    <a:cubicBezTo>
                      <a:pt x="602" y="530"/>
                      <a:pt x="602" y="530"/>
                      <a:pt x="602" y="530"/>
                    </a:cubicBezTo>
                    <a:cubicBezTo>
                      <a:pt x="602" y="533"/>
                      <a:pt x="602" y="533"/>
                      <a:pt x="602" y="533"/>
                    </a:cubicBezTo>
                    <a:cubicBezTo>
                      <a:pt x="602" y="536"/>
                      <a:pt x="602" y="536"/>
                      <a:pt x="602" y="536"/>
                    </a:cubicBezTo>
                    <a:cubicBezTo>
                      <a:pt x="603" y="536"/>
                      <a:pt x="608" y="537"/>
                      <a:pt x="608" y="537"/>
                    </a:cubicBezTo>
                    <a:cubicBezTo>
                      <a:pt x="611" y="535"/>
                      <a:pt x="611" y="535"/>
                      <a:pt x="611" y="535"/>
                    </a:cubicBezTo>
                    <a:cubicBezTo>
                      <a:pt x="616" y="535"/>
                      <a:pt x="616" y="535"/>
                      <a:pt x="616" y="535"/>
                    </a:cubicBezTo>
                    <a:cubicBezTo>
                      <a:pt x="623" y="536"/>
                      <a:pt x="623" y="536"/>
                      <a:pt x="623" y="536"/>
                    </a:cubicBezTo>
                    <a:cubicBezTo>
                      <a:pt x="627" y="533"/>
                      <a:pt x="627" y="533"/>
                      <a:pt x="627" y="533"/>
                    </a:cubicBezTo>
                    <a:cubicBezTo>
                      <a:pt x="627" y="531"/>
                      <a:pt x="627" y="531"/>
                      <a:pt x="627" y="531"/>
                    </a:cubicBezTo>
                    <a:cubicBezTo>
                      <a:pt x="626" y="530"/>
                      <a:pt x="626" y="530"/>
                      <a:pt x="626" y="530"/>
                    </a:cubicBezTo>
                    <a:cubicBezTo>
                      <a:pt x="626" y="528"/>
                      <a:pt x="626" y="528"/>
                      <a:pt x="626" y="528"/>
                    </a:cubicBezTo>
                    <a:cubicBezTo>
                      <a:pt x="635" y="523"/>
                      <a:pt x="635" y="523"/>
                      <a:pt x="635" y="523"/>
                    </a:cubicBezTo>
                    <a:cubicBezTo>
                      <a:pt x="642" y="520"/>
                      <a:pt x="642" y="520"/>
                      <a:pt x="642" y="520"/>
                    </a:cubicBezTo>
                    <a:cubicBezTo>
                      <a:pt x="646" y="518"/>
                      <a:pt x="646" y="518"/>
                      <a:pt x="646" y="518"/>
                    </a:cubicBezTo>
                    <a:cubicBezTo>
                      <a:pt x="647" y="516"/>
                      <a:pt x="647" y="516"/>
                      <a:pt x="647" y="516"/>
                    </a:cubicBezTo>
                    <a:cubicBezTo>
                      <a:pt x="646" y="514"/>
                      <a:pt x="646" y="514"/>
                      <a:pt x="646" y="514"/>
                    </a:cubicBezTo>
                    <a:cubicBezTo>
                      <a:pt x="643" y="507"/>
                      <a:pt x="643" y="507"/>
                      <a:pt x="643" y="507"/>
                    </a:cubicBezTo>
                    <a:cubicBezTo>
                      <a:pt x="645" y="502"/>
                      <a:pt x="645" y="502"/>
                      <a:pt x="645" y="502"/>
                    </a:cubicBezTo>
                    <a:cubicBezTo>
                      <a:pt x="648" y="499"/>
                      <a:pt x="648" y="499"/>
                      <a:pt x="648" y="499"/>
                    </a:cubicBezTo>
                    <a:cubicBezTo>
                      <a:pt x="648" y="496"/>
                      <a:pt x="648" y="496"/>
                      <a:pt x="648" y="496"/>
                    </a:cubicBezTo>
                    <a:cubicBezTo>
                      <a:pt x="650" y="494"/>
                      <a:pt x="650" y="494"/>
                      <a:pt x="650" y="494"/>
                    </a:cubicBezTo>
                    <a:cubicBezTo>
                      <a:pt x="653" y="492"/>
                      <a:pt x="653" y="492"/>
                      <a:pt x="653" y="492"/>
                    </a:cubicBezTo>
                    <a:cubicBezTo>
                      <a:pt x="654" y="488"/>
                      <a:pt x="654" y="488"/>
                      <a:pt x="654" y="488"/>
                    </a:cubicBezTo>
                    <a:cubicBezTo>
                      <a:pt x="653" y="488"/>
                      <a:pt x="653" y="488"/>
                      <a:pt x="653" y="488"/>
                    </a:cubicBezTo>
                    <a:cubicBezTo>
                      <a:pt x="658" y="479"/>
                      <a:pt x="658" y="479"/>
                      <a:pt x="658" y="479"/>
                    </a:cubicBezTo>
                    <a:cubicBezTo>
                      <a:pt x="665" y="471"/>
                      <a:pt x="665" y="471"/>
                      <a:pt x="665" y="471"/>
                    </a:cubicBezTo>
                    <a:cubicBezTo>
                      <a:pt x="666" y="467"/>
                      <a:pt x="666" y="467"/>
                      <a:pt x="666" y="467"/>
                    </a:cubicBezTo>
                    <a:cubicBezTo>
                      <a:pt x="664" y="455"/>
                      <a:pt x="664" y="455"/>
                      <a:pt x="664" y="455"/>
                    </a:cubicBezTo>
                    <a:cubicBezTo>
                      <a:pt x="663" y="453"/>
                      <a:pt x="663" y="453"/>
                      <a:pt x="663" y="453"/>
                    </a:cubicBezTo>
                    <a:cubicBezTo>
                      <a:pt x="665" y="446"/>
                      <a:pt x="665" y="446"/>
                      <a:pt x="665" y="446"/>
                    </a:cubicBezTo>
                    <a:cubicBezTo>
                      <a:pt x="667" y="443"/>
                      <a:pt x="667" y="443"/>
                      <a:pt x="667" y="443"/>
                    </a:cubicBezTo>
                    <a:cubicBezTo>
                      <a:pt x="668" y="441"/>
                      <a:pt x="668" y="441"/>
                      <a:pt x="668" y="441"/>
                    </a:cubicBezTo>
                    <a:cubicBezTo>
                      <a:pt x="673" y="437"/>
                      <a:pt x="673" y="437"/>
                      <a:pt x="673" y="437"/>
                    </a:cubicBezTo>
                    <a:cubicBezTo>
                      <a:pt x="674" y="434"/>
                      <a:pt x="674" y="434"/>
                      <a:pt x="674" y="434"/>
                    </a:cubicBezTo>
                    <a:cubicBezTo>
                      <a:pt x="672" y="428"/>
                      <a:pt x="672" y="428"/>
                      <a:pt x="672" y="428"/>
                    </a:cubicBezTo>
                    <a:cubicBezTo>
                      <a:pt x="676" y="419"/>
                      <a:pt x="676" y="419"/>
                      <a:pt x="676" y="419"/>
                    </a:cubicBezTo>
                    <a:cubicBezTo>
                      <a:pt x="675" y="413"/>
                      <a:pt x="675" y="413"/>
                      <a:pt x="675" y="413"/>
                    </a:cubicBezTo>
                    <a:cubicBezTo>
                      <a:pt x="676" y="408"/>
                      <a:pt x="676" y="408"/>
                      <a:pt x="676" y="408"/>
                    </a:cubicBezTo>
                    <a:cubicBezTo>
                      <a:pt x="676" y="405"/>
                      <a:pt x="676" y="405"/>
                      <a:pt x="676" y="405"/>
                    </a:cubicBezTo>
                    <a:cubicBezTo>
                      <a:pt x="677" y="398"/>
                      <a:pt x="677" y="398"/>
                      <a:pt x="677" y="398"/>
                    </a:cubicBezTo>
                    <a:cubicBezTo>
                      <a:pt x="675" y="373"/>
                      <a:pt x="675" y="373"/>
                      <a:pt x="675" y="373"/>
                    </a:cubicBezTo>
                    <a:cubicBezTo>
                      <a:pt x="675" y="369"/>
                      <a:pt x="675" y="369"/>
                      <a:pt x="675" y="369"/>
                    </a:cubicBezTo>
                    <a:cubicBezTo>
                      <a:pt x="677" y="365"/>
                      <a:pt x="677" y="365"/>
                      <a:pt x="677" y="365"/>
                    </a:cubicBezTo>
                    <a:cubicBezTo>
                      <a:pt x="677" y="362"/>
                      <a:pt x="677" y="362"/>
                      <a:pt x="677" y="362"/>
                    </a:cubicBezTo>
                    <a:cubicBezTo>
                      <a:pt x="675" y="363"/>
                      <a:pt x="675" y="363"/>
                      <a:pt x="675" y="363"/>
                    </a:cubicBezTo>
                    <a:cubicBezTo>
                      <a:pt x="672" y="361"/>
                      <a:pt x="672" y="361"/>
                      <a:pt x="672" y="361"/>
                    </a:cubicBezTo>
                    <a:cubicBezTo>
                      <a:pt x="672" y="359"/>
                      <a:pt x="672" y="359"/>
                      <a:pt x="672" y="359"/>
                    </a:cubicBezTo>
                    <a:cubicBezTo>
                      <a:pt x="675" y="355"/>
                      <a:pt x="675" y="355"/>
                      <a:pt x="675" y="355"/>
                    </a:cubicBezTo>
                    <a:cubicBezTo>
                      <a:pt x="674" y="351"/>
                      <a:pt x="674" y="351"/>
                      <a:pt x="674" y="351"/>
                    </a:cubicBezTo>
                    <a:cubicBezTo>
                      <a:pt x="675" y="348"/>
                      <a:pt x="675" y="348"/>
                      <a:pt x="675" y="348"/>
                    </a:cubicBezTo>
                    <a:cubicBezTo>
                      <a:pt x="677" y="347"/>
                      <a:pt x="677" y="347"/>
                      <a:pt x="677" y="347"/>
                    </a:cubicBezTo>
                    <a:cubicBezTo>
                      <a:pt x="678" y="343"/>
                      <a:pt x="678" y="343"/>
                      <a:pt x="678" y="343"/>
                    </a:cubicBezTo>
                    <a:cubicBezTo>
                      <a:pt x="675" y="339"/>
                      <a:pt x="675" y="339"/>
                      <a:pt x="675" y="339"/>
                    </a:cubicBezTo>
                    <a:cubicBezTo>
                      <a:pt x="670" y="337"/>
                      <a:pt x="670" y="337"/>
                      <a:pt x="670" y="337"/>
                    </a:cubicBezTo>
                    <a:cubicBezTo>
                      <a:pt x="672" y="336"/>
                      <a:pt x="672" y="336"/>
                      <a:pt x="672" y="336"/>
                    </a:cubicBezTo>
                    <a:cubicBezTo>
                      <a:pt x="672" y="334"/>
                      <a:pt x="672" y="334"/>
                      <a:pt x="672" y="334"/>
                    </a:cubicBezTo>
                    <a:cubicBezTo>
                      <a:pt x="673" y="336"/>
                      <a:pt x="673" y="336"/>
                      <a:pt x="673" y="336"/>
                    </a:cubicBezTo>
                    <a:cubicBezTo>
                      <a:pt x="676" y="338"/>
                      <a:pt x="676" y="338"/>
                      <a:pt x="676" y="338"/>
                    </a:cubicBezTo>
                    <a:cubicBezTo>
                      <a:pt x="679" y="339"/>
                      <a:pt x="679" y="339"/>
                      <a:pt x="679" y="339"/>
                    </a:cubicBezTo>
                    <a:cubicBezTo>
                      <a:pt x="680" y="335"/>
                      <a:pt x="680" y="335"/>
                      <a:pt x="680" y="335"/>
                    </a:cubicBezTo>
                    <a:cubicBezTo>
                      <a:pt x="683" y="335"/>
                      <a:pt x="683" y="335"/>
                      <a:pt x="683" y="335"/>
                    </a:cubicBezTo>
                    <a:cubicBezTo>
                      <a:pt x="684" y="338"/>
                      <a:pt x="684" y="338"/>
                      <a:pt x="684" y="338"/>
                    </a:cubicBezTo>
                    <a:cubicBezTo>
                      <a:pt x="686" y="338"/>
                      <a:pt x="686" y="338"/>
                      <a:pt x="686" y="338"/>
                    </a:cubicBezTo>
                    <a:cubicBezTo>
                      <a:pt x="684" y="341"/>
                      <a:pt x="684" y="341"/>
                      <a:pt x="684" y="341"/>
                    </a:cubicBezTo>
                    <a:cubicBezTo>
                      <a:pt x="681" y="343"/>
                      <a:pt x="681" y="343"/>
                      <a:pt x="681" y="343"/>
                    </a:cubicBezTo>
                    <a:cubicBezTo>
                      <a:pt x="680" y="346"/>
                      <a:pt x="680" y="346"/>
                      <a:pt x="680" y="346"/>
                    </a:cubicBezTo>
                    <a:cubicBezTo>
                      <a:pt x="682" y="346"/>
                      <a:pt x="682" y="346"/>
                      <a:pt x="682" y="346"/>
                    </a:cubicBezTo>
                    <a:cubicBezTo>
                      <a:pt x="686" y="342"/>
                      <a:pt x="686" y="342"/>
                      <a:pt x="686" y="342"/>
                    </a:cubicBezTo>
                    <a:cubicBezTo>
                      <a:pt x="691" y="340"/>
                      <a:pt x="691" y="340"/>
                      <a:pt x="691" y="340"/>
                    </a:cubicBezTo>
                    <a:cubicBezTo>
                      <a:pt x="698" y="330"/>
                      <a:pt x="698" y="330"/>
                      <a:pt x="698" y="330"/>
                    </a:cubicBezTo>
                    <a:cubicBezTo>
                      <a:pt x="700" y="323"/>
                      <a:pt x="700" y="323"/>
                      <a:pt x="700" y="323"/>
                    </a:cubicBezTo>
                    <a:cubicBezTo>
                      <a:pt x="701" y="319"/>
                      <a:pt x="701" y="319"/>
                      <a:pt x="701" y="319"/>
                    </a:cubicBezTo>
                    <a:cubicBezTo>
                      <a:pt x="704" y="317"/>
                      <a:pt x="704" y="317"/>
                      <a:pt x="704" y="317"/>
                    </a:cubicBezTo>
                    <a:cubicBezTo>
                      <a:pt x="706" y="310"/>
                      <a:pt x="706" y="310"/>
                      <a:pt x="706" y="310"/>
                    </a:cubicBezTo>
                    <a:cubicBezTo>
                      <a:pt x="709" y="305"/>
                      <a:pt x="709" y="305"/>
                      <a:pt x="709" y="305"/>
                    </a:cubicBezTo>
                    <a:cubicBezTo>
                      <a:pt x="719" y="298"/>
                      <a:pt x="719" y="298"/>
                      <a:pt x="719" y="298"/>
                    </a:cubicBezTo>
                    <a:cubicBezTo>
                      <a:pt x="721" y="295"/>
                      <a:pt x="721" y="295"/>
                      <a:pt x="721" y="295"/>
                    </a:cubicBezTo>
                    <a:cubicBezTo>
                      <a:pt x="724" y="294"/>
                      <a:pt x="724" y="294"/>
                      <a:pt x="724" y="294"/>
                    </a:cubicBezTo>
                    <a:cubicBezTo>
                      <a:pt x="726" y="291"/>
                      <a:pt x="726" y="291"/>
                      <a:pt x="726" y="291"/>
                    </a:cubicBezTo>
                    <a:cubicBezTo>
                      <a:pt x="734" y="283"/>
                      <a:pt x="734" y="283"/>
                      <a:pt x="734" y="283"/>
                    </a:cubicBezTo>
                    <a:cubicBezTo>
                      <a:pt x="742" y="273"/>
                      <a:pt x="742" y="273"/>
                      <a:pt x="742" y="273"/>
                    </a:cubicBezTo>
                    <a:cubicBezTo>
                      <a:pt x="744" y="270"/>
                      <a:pt x="744" y="270"/>
                      <a:pt x="744" y="270"/>
                    </a:cubicBezTo>
                    <a:cubicBezTo>
                      <a:pt x="749" y="260"/>
                      <a:pt x="749" y="260"/>
                      <a:pt x="749" y="260"/>
                    </a:cubicBezTo>
                    <a:cubicBezTo>
                      <a:pt x="750" y="256"/>
                      <a:pt x="750" y="256"/>
                      <a:pt x="750" y="256"/>
                    </a:cubicBezTo>
                    <a:cubicBezTo>
                      <a:pt x="752" y="253"/>
                      <a:pt x="752" y="253"/>
                      <a:pt x="752" y="253"/>
                    </a:cubicBezTo>
                    <a:cubicBezTo>
                      <a:pt x="752" y="250"/>
                      <a:pt x="752" y="250"/>
                      <a:pt x="752" y="250"/>
                    </a:cubicBezTo>
                    <a:cubicBezTo>
                      <a:pt x="750" y="246"/>
                      <a:pt x="750" y="246"/>
                      <a:pt x="750" y="246"/>
                    </a:cubicBezTo>
                    <a:cubicBezTo>
                      <a:pt x="751" y="242"/>
                      <a:pt x="751" y="242"/>
                      <a:pt x="751" y="242"/>
                    </a:cubicBezTo>
                    <a:cubicBezTo>
                      <a:pt x="753" y="240"/>
                      <a:pt x="753" y="240"/>
                      <a:pt x="753" y="240"/>
                    </a:cubicBezTo>
                    <a:cubicBezTo>
                      <a:pt x="752" y="231"/>
                      <a:pt x="752" y="231"/>
                      <a:pt x="752" y="231"/>
                    </a:cubicBezTo>
                    <a:cubicBezTo>
                      <a:pt x="750" y="230"/>
                      <a:pt x="750" y="230"/>
                      <a:pt x="750" y="230"/>
                    </a:cubicBezTo>
                    <a:cubicBezTo>
                      <a:pt x="749" y="225"/>
                      <a:pt x="749" y="225"/>
                      <a:pt x="749" y="225"/>
                    </a:cubicBezTo>
                    <a:cubicBezTo>
                      <a:pt x="743" y="211"/>
                      <a:pt x="743" y="211"/>
                      <a:pt x="743" y="211"/>
                    </a:cubicBezTo>
                    <a:cubicBezTo>
                      <a:pt x="743" y="206"/>
                      <a:pt x="743" y="206"/>
                      <a:pt x="743" y="206"/>
                    </a:cubicBezTo>
                    <a:cubicBezTo>
                      <a:pt x="742" y="200"/>
                      <a:pt x="742" y="200"/>
                      <a:pt x="742" y="200"/>
                    </a:cubicBezTo>
                    <a:cubicBezTo>
                      <a:pt x="729" y="195"/>
                      <a:pt x="729" y="195"/>
                      <a:pt x="729" y="195"/>
                    </a:cubicBezTo>
                    <a:cubicBezTo>
                      <a:pt x="722" y="195"/>
                      <a:pt x="722" y="195"/>
                      <a:pt x="722" y="195"/>
                    </a:cubicBezTo>
                    <a:cubicBezTo>
                      <a:pt x="717" y="197"/>
                      <a:pt x="717" y="197"/>
                      <a:pt x="717" y="197"/>
                    </a:cubicBezTo>
                    <a:cubicBezTo>
                      <a:pt x="713" y="193"/>
                      <a:pt x="713" y="193"/>
                      <a:pt x="713" y="193"/>
                    </a:cubicBezTo>
                    <a:cubicBezTo>
                      <a:pt x="709" y="192"/>
                      <a:pt x="709" y="192"/>
                      <a:pt x="709" y="192"/>
                    </a:cubicBezTo>
                    <a:cubicBezTo>
                      <a:pt x="705" y="187"/>
                      <a:pt x="705" y="187"/>
                      <a:pt x="705" y="187"/>
                    </a:cubicBezTo>
                    <a:cubicBezTo>
                      <a:pt x="699" y="185"/>
                      <a:pt x="699" y="185"/>
                      <a:pt x="699" y="185"/>
                    </a:cubicBezTo>
                    <a:cubicBezTo>
                      <a:pt x="695" y="184"/>
                      <a:pt x="695" y="184"/>
                      <a:pt x="695" y="184"/>
                    </a:cubicBezTo>
                    <a:cubicBezTo>
                      <a:pt x="687" y="175"/>
                      <a:pt x="687" y="175"/>
                      <a:pt x="687" y="175"/>
                    </a:cubicBezTo>
                    <a:cubicBezTo>
                      <a:pt x="680" y="166"/>
                      <a:pt x="680" y="166"/>
                      <a:pt x="680" y="166"/>
                    </a:cubicBezTo>
                    <a:cubicBezTo>
                      <a:pt x="676" y="165"/>
                      <a:pt x="676" y="165"/>
                      <a:pt x="676" y="165"/>
                    </a:cubicBezTo>
                    <a:cubicBezTo>
                      <a:pt x="672" y="161"/>
                      <a:pt x="672" y="161"/>
                      <a:pt x="672" y="161"/>
                    </a:cubicBezTo>
                    <a:cubicBezTo>
                      <a:pt x="668" y="161"/>
                      <a:pt x="668" y="161"/>
                      <a:pt x="668" y="161"/>
                    </a:cubicBezTo>
                    <a:cubicBezTo>
                      <a:pt x="656" y="153"/>
                      <a:pt x="656" y="153"/>
                      <a:pt x="656" y="153"/>
                    </a:cubicBezTo>
                    <a:cubicBezTo>
                      <a:pt x="651" y="153"/>
                      <a:pt x="651" y="153"/>
                      <a:pt x="651" y="153"/>
                    </a:cubicBezTo>
                    <a:cubicBezTo>
                      <a:pt x="645" y="151"/>
                      <a:pt x="645" y="151"/>
                      <a:pt x="645" y="151"/>
                    </a:cubicBezTo>
                    <a:cubicBezTo>
                      <a:pt x="641" y="153"/>
                      <a:pt x="641" y="153"/>
                      <a:pt x="641" y="153"/>
                    </a:cubicBezTo>
                    <a:cubicBezTo>
                      <a:pt x="636" y="153"/>
                      <a:pt x="636" y="153"/>
                      <a:pt x="636" y="153"/>
                    </a:cubicBezTo>
                    <a:cubicBezTo>
                      <a:pt x="632" y="151"/>
                      <a:pt x="632" y="151"/>
                      <a:pt x="632" y="151"/>
                    </a:cubicBezTo>
                    <a:cubicBezTo>
                      <a:pt x="629" y="153"/>
                      <a:pt x="629" y="153"/>
                      <a:pt x="629" y="153"/>
                    </a:cubicBezTo>
                    <a:cubicBezTo>
                      <a:pt x="627" y="155"/>
                      <a:pt x="627" y="155"/>
                      <a:pt x="627" y="155"/>
                    </a:cubicBezTo>
                    <a:cubicBezTo>
                      <a:pt x="625" y="153"/>
                      <a:pt x="625" y="153"/>
                      <a:pt x="625" y="153"/>
                    </a:cubicBezTo>
                    <a:cubicBezTo>
                      <a:pt x="620" y="149"/>
                      <a:pt x="620" y="149"/>
                      <a:pt x="620" y="149"/>
                    </a:cubicBezTo>
                    <a:cubicBezTo>
                      <a:pt x="619" y="151"/>
                      <a:pt x="619" y="151"/>
                      <a:pt x="619" y="151"/>
                    </a:cubicBezTo>
                    <a:cubicBezTo>
                      <a:pt x="616" y="149"/>
                      <a:pt x="616" y="149"/>
                      <a:pt x="616" y="149"/>
                    </a:cubicBezTo>
                    <a:cubicBezTo>
                      <a:pt x="616" y="151"/>
                      <a:pt x="616" y="151"/>
                      <a:pt x="616" y="151"/>
                    </a:cubicBezTo>
                    <a:cubicBezTo>
                      <a:pt x="616" y="153"/>
                      <a:pt x="616" y="153"/>
                      <a:pt x="616" y="153"/>
                    </a:cubicBezTo>
                    <a:cubicBezTo>
                      <a:pt x="613" y="151"/>
                      <a:pt x="613" y="151"/>
                      <a:pt x="613" y="151"/>
                    </a:cubicBezTo>
                    <a:cubicBezTo>
                      <a:pt x="612" y="149"/>
                      <a:pt x="612" y="149"/>
                      <a:pt x="612" y="149"/>
                    </a:cubicBezTo>
                    <a:cubicBezTo>
                      <a:pt x="610" y="148"/>
                      <a:pt x="610" y="148"/>
                      <a:pt x="610" y="148"/>
                    </a:cubicBezTo>
                    <a:cubicBezTo>
                      <a:pt x="610" y="150"/>
                      <a:pt x="610" y="150"/>
                      <a:pt x="610" y="150"/>
                    </a:cubicBezTo>
                    <a:cubicBezTo>
                      <a:pt x="609" y="151"/>
                      <a:pt x="609" y="151"/>
                      <a:pt x="609" y="151"/>
                    </a:cubicBezTo>
                    <a:cubicBezTo>
                      <a:pt x="604" y="149"/>
                      <a:pt x="604" y="149"/>
                      <a:pt x="604" y="149"/>
                    </a:cubicBezTo>
                    <a:cubicBezTo>
                      <a:pt x="602" y="149"/>
                      <a:pt x="602" y="149"/>
                      <a:pt x="602" y="149"/>
                    </a:cubicBezTo>
                    <a:cubicBezTo>
                      <a:pt x="597" y="148"/>
                      <a:pt x="597" y="148"/>
                      <a:pt x="597" y="148"/>
                    </a:cubicBezTo>
                    <a:cubicBezTo>
                      <a:pt x="586" y="143"/>
                      <a:pt x="586" y="143"/>
                      <a:pt x="586" y="143"/>
                    </a:cubicBezTo>
                    <a:cubicBezTo>
                      <a:pt x="582" y="143"/>
                      <a:pt x="582" y="143"/>
                      <a:pt x="582" y="143"/>
                    </a:cubicBezTo>
                    <a:cubicBezTo>
                      <a:pt x="582" y="145"/>
                      <a:pt x="582" y="145"/>
                      <a:pt x="582" y="145"/>
                    </a:cubicBezTo>
                    <a:cubicBezTo>
                      <a:pt x="583" y="147"/>
                      <a:pt x="583" y="147"/>
                      <a:pt x="583" y="147"/>
                    </a:cubicBezTo>
                    <a:cubicBezTo>
                      <a:pt x="582" y="148"/>
                      <a:pt x="582" y="148"/>
                      <a:pt x="582" y="148"/>
                    </a:cubicBezTo>
                    <a:cubicBezTo>
                      <a:pt x="580" y="147"/>
                      <a:pt x="580" y="147"/>
                      <a:pt x="580" y="147"/>
                    </a:cubicBezTo>
                    <a:cubicBezTo>
                      <a:pt x="579" y="147"/>
                      <a:pt x="579" y="147"/>
                      <a:pt x="579" y="147"/>
                    </a:cubicBezTo>
                    <a:cubicBezTo>
                      <a:pt x="578" y="149"/>
                      <a:pt x="578" y="149"/>
                      <a:pt x="578" y="149"/>
                    </a:cubicBezTo>
                    <a:cubicBezTo>
                      <a:pt x="575" y="150"/>
                      <a:pt x="575" y="150"/>
                      <a:pt x="575" y="150"/>
                    </a:cubicBezTo>
                    <a:cubicBezTo>
                      <a:pt x="573" y="152"/>
                      <a:pt x="573" y="152"/>
                      <a:pt x="573" y="152"/>
                    </a:cubicBezTo>
                    <a:cubicBezTo>
                      <a:pt x="573" y="157"/>
                      <a:pt x="573" y="157"/>
                      <a:pt x="573" y="157"/>
                    </a:cubicBezTo>
                    <a:cubicBezTo>
                      <a:pt x="571" y="153"/>
                      <a:pt x="571" y="153"/>
                      <a:pt x="571" y="153"/>
                    </a:cubicBezTo>
                    <a:cubicBezTo>
                      <a:pt x="570" y="151"/>
                      <a:pt x="570" y="151"/>
                      <a:pt x="570" y="151"/>
                    </a:cubicBezTo>
                    <a:cubicBezTo>
                      <a:pt x="568" y="151"/>
                      <a:pt x="568" y="151"/>
                      <a:pt x="568" y="151"/>
                    </a:cubicBezTo>
                    <a:cubicBezTo>
                      <a:pt x="568" y="155"/>
                      <a:pt x="568" y="155"/>
                      <a:pt x="568" y="155"/>
                    </a:cubicBezTo>
                    <a:cubicBezTo>
                      <a:pt x="565" y="161"/>
                      <a:pt x="565" y="161"/>
                      <a:pt x="565" y="161"/>
                    </a:cubicBezTo>
                    <a:cubicBezTo>
                      <a:pt x="565" y="166"/>
                      <a:pt x="565" y="166"/>
                      <a:pt x="565" y="166"/>
                    </a:cubicBezTo>
                    <a:cubicBezTo>
                      <a:pt x="564" y="161"/>
                      <a:pt x="564" y="161"/>
                      <a:pt x="564" y="161"/>
                    </a:cubicBezTo>
                    <a:cubicBezTo>
                      <a:pt x="565" y="156"/>
                      <a:pt x="565" y="156"/>
                      <a:pt x="565" y="156"/>
                    </a:cubicBezTo>
                    <a:cubicBezTo>
                      <a:pt x="564" y="152"/>
                      <a:pt x="564" y="152"/>
                      <a:pt x="564" y="152"/>
                    </a:cubicBezTo>
                    <a:cubicBezTo>
                      <a:pt x="566" y="146"/>
                      <a:pt x="566" y="146"/>
                      <a:pt x="566" y="146"/>
                    </a:cubicBezTo>
                    <a:cubicBezTo>
                      <a:pt x="568" y="145"/>
                      <a:pt x="568" y="145"/>
                      <a:pt x="568" y="145"/>
                    </a:cubicBezTo>
                    <a:cubicBezTo>
                      <a:pt x="567" y="143"/>
                      <a:pt x="567" y="143"/>
                      <a:pt x="567" y="143"/>
                    </a:cubicBezTo>
                    <a:cubicBezTo>
                      <a:pt x="563" y="143"/>
                      <a:pt x="563" y="143"/>
                      <a:pt x="563" y="143"/>
                    </a:cubicBezTo>
                    <a:cubicBezTo>
                      <a:pt x="567" y="139"/>
                      <a:pt x="567" y="139"/>
                      <a:pt x="567" y="139"/>
                    </a:cubicBezTo>
                    <a:cubicBezTo>
                      <a:pt x="562" y="133"/>
                      <a:pt x="562" y="133"/>
                      <a:pt x="562" y="133"/>
                    </a:cubicBezTo>
                    <a:cubicBezTo>
                      <a:pt x="559" y="129"/>
                      <a:pt x="559" y="129"/>
                      <a:pt x="559" y="129"/>
                    </a:cubicBezTo>
                    <a:cubicBezTo>
                      <a:pt x="556" y="129"/>
                      <a:pt x="556" y="129"/>
                      <a:pt x="556" y="129"/>
                    </a:cubicBezTo>
                    <a:cubicBezTo>
                      <a:pt x="552" y="128"/>
                      <a:pt x="552" y="128"/>
                      <a:pt x="552" y="128"/>
                    </a:cubicBezTo>
                    <a:cubicBezTo>
                      <a:pt x="549" y="131"/>
                      <a:pt x="549" y="131"/>
                      <a:pt x="549" y="131"/>
                    </a:cubicBezTo>
                    <a:cubicBezTo>
                      <a:pt x="547" y="133"/>
                      <a:pt x="547" y="133"/>
                      <a:pt x="547" y="133"/>
                    </a:cubicBezTo>
                    <a:cubicBezTo>
                      <a:pt x="546" y="130"/>
                      <a:pt x="546" y="130"/>
                      <a:pt x="546" y="130"/>
                    </a:cubicBezTo>
                    <a:cubicBezTo>
                      <a:pt x="544" y="129"/>
                      <a:pt x="544" y="129"/>
                      <a:pt x="544" y="129"/>
                    </a:cubicBezTo>
                    <a:cubicBezTo>
                      <a:pt x="543" y="126"/>
                      <a:pt x="543" y="126"/>
                      <a:pt x="543" y="126"/>
                    </a:cubicBezTo>
                    <a:cubicBezTo>
                      <a:pt x="541" y="124"/>
                      <a:pt x="541" y="124"/>
                      <a:pt x="541" y="124"/>
                    </a:cubicBezTo>
                    <a:cubicBezTo>
                      <a:pt x="538" y="125"/>
                      <a:pt x="538" y="125"/>
                      <a:pt x="538" y="125"/>
                    </a:cubicBezTo>
                    <a:cubicBezTo>
                      <a:pt x="536" y="123"/>
                      <a:pt x="536" y="123"/>
                      <a:pt x="536" y="123"/>
                    </a:cubicBezTo>
                    <a:cubicBezTo>
                      <a:pt x="534" y="122"/>
                      <a:pt x="534" y="122"/>
                      <a:pt x="534" y="122"/>
                    </a:cubicBezTo>
                    <a:cubicBezTo>
                      <a:pt x="532" y="124"/>
                      <a:pt x="532" y="124"/>
                      <a:pt x="532" y="124"/>
                    </a:cubicBezTo>
                    <a:cubicBezTo>
                      <a:pt x="532" y="122"/>
                      <a:pt x="532" y="122"/>
                      <a:pt x="532" y="122"/>
                    </a:cubicBezTo>
                    <a:cubicBezTo>
                      <a:pt x="530" y="121"/>
                      <a:pt x="530" y="121"/>
                      <a:pt x="530" y="121"/>
                    </a:cubicBezTo>
                    <a:cubicBezTo>
                      <a:pt x="529" y="118"/>
                      <a:pt x="529" y="118"/>
                      <a:pt x="529" y="118"/>
                    </a:cubicBezTo>
                    <a:cubicBezTo>
                      <a:pt x="526" y="119"/>
                      <a:pt x="526" y="119"/>
                      <a:pt x="526" y="119"/>
                    </a:cubicBezTo>
                    <a:cubicBezTo>
                      <a:pt x="522" y="118"/>
                      <a:pt x="522" y="118"/>
                      <a:pt x="522" y="118"/>
                    </a:cubicBezTo>
                    <a:cubicBezTo>
                      <a:pt x="516" y="115"/>
                      <a:pt x="516" y="115"/>
                      <a:pt x="516" y="115"/>
                    </a:cubicBezTo>
                    <a:cubicBezTo>
                      <a:pt x="515" y="114"/>
                      <a:pt x="515" y="114"/>
                      <a:pt x="515" y="114"/>
                    </a:cubicBezTo>
                    <a:cubicBezTo>
                      <a:pt x="514" y="116"/>
                      <a:pt x="514" y="116"/>
                      <a:pt x="514" y="116"/>
                    </a:cubicBezTo>
                    <a:cubicBezTo>
                      <a:pt x="510" y="114"/>
                      <a:pt x="510" y="114"/>
                      <a:pt x="510" y="114"/>
                    </a:cubicBezTo>
                    <a:cubicBezTo>
                      <a:pt x="508" y="114"/>
                      <a:pt x="508" y="114"/>
                      <a:pt x="508" y="114"/>
                    </a:cubicBezTo>
                    <a:cubicBezTo>
                      <a:pt x="507" y="116"/>
                      <a:pt x="507" y="116"/>
                      <a:pt x="507" y="116"/>
                    </a:cubicBezTo>
                    <a:cubicBezTo>
                      <a:pt x="506" y="116"/>
                      <a:pt x="506" y="116"/>
                      <a:pt x="506" y="116"/>
                    </a:cubicBezTo>
                    <a:cubicBezTo>
                      <a:pt x="505" y="114"/>
                      <a:pt x="505" y="114"/>
                      <a:pt x="505" y="114"/>
                    </a:cubicBezTo>
                    <a:cubicBezTo>
                      <a:pt x="500" y="114"/>
                      <a:pt x="500" y="114"/>
                      <a:pt x="500" y="114"/>
                    </a:cubicBezTo>
                    <a:cubicBezTo>
                      <a:pt x="496" y="116"/>
                      <a:pt x="496" y="116"/>
                      <a:pt x="496" y="116"/>
                    </a:cubicBezTo>
                    <a:cubicBezTo>
                      <a:pt x="494" y="119"/>
                      <a:pt x="494" y="119"/>
                      <a:pt x="494" y="119"/>
                    </a:cubicBezTo>
                    <a:cubicBezTo>
                      <a:pt x="495" y="122"/>
                      <a:pt x="495" y="122"/>
                      <a:pt x="495" y="122"/>
                    </a:cubicBezTo>
                    <a:cubicBezTo>
                      <a:pt x="490" y="126"/>
                      <a:pt x="490" y="126"/>
                      <a:pt x="490" y="126"/>
                    </a:cubicBezTo>
                    <a:cubicBezTo>
                      <a:pt x="485" y="129"/>
                      <a:pt x="485" y="129"/>
                      <a:pt x="485" y="129"/>
                    </a:cubicBezTo>
                    <a:cubicBezTo>
                      <a:pt x="478" y="133"/>
                      <a:pt x="478" y="133"/>
                      <a:pt x="478" y="133"/>
                    </a:cubicBezTo>
                    <a:cubicBezTo>
                      <a:pt x="475" y="137"/>
                      <a:pt x="475" y="137"/>
                      <a:pt x="475" y="137"/>
                    </a:cubicBezTo>
                    <a:cubicBezTo>
                      <a:pt x="473" y="142"/>
                      <a:pt x="473" y="142"/>
                      <a:pt x="473" y="142"/>
                    </a:cubicBezTo>
                    <a:cubicBezTo>
                      <a:pt x="472" y="147"/>
                      <a:pt x="472" y="147"/>
                      <a:pt x="472" y="147"/>
                    </a:cubicBezTo>
                    <a:cubicBezTo>
                      <a:pt x="470" y="149"/>
                      <a:pt x="470" y="149"/>
                      <a:pt x="470" y="149"/>
                    </a:cubicBezTo>
                    <a:cubicBezTo>
                      <a:pt x="467" y="153"/>
                      <a:pt x="467" y="153"/>
                      <a:pt x="467" y="153"/>
                    </a:cubicBezTo>
                    <a:cubicBezTo>
                      <a:pt x="467" y="155"/>
                      <a:pt x="467" y="155"/>
                      <a:pt x="467" y="155"/>
                    </a:cubicBezTo>
                    <a:cubicBezTo>
                      <a:pt x="468" y="159"/>
                      <a:pt x="468" y="159"/>
                      <a:pt x="468" y="159"/>
                    </a:cubicBezTo>
                    <a:cubicBezTo>
                      <a:pt x="467" y="166"/>
                      <a:pt x="467" y="166"/>
                      <a:pt x="467" y="166"/>
                    </a:cubicBezTo>
                    <a:cubicBezTo>
                      <a:pt x="466" y="161"/>
                      <a:pt x="466" y="161"/>
                      <a:pt x="466" y="161"/>
                    </a:cubicBezTo>
                    <a:cubicBezTo>
                      <a:pt x="463" y="157"/>
                      <a:pt x="463" y="157"/>
                      <a:pt x="463" y="157"/>
                    </a:cubicBezTo>
                    <a:cubicBezTo>
                      <a:pt x="463" y="154"/>
                      <a:pt x="463" y="154"/>
                      <a:pt x="463" y="154"/>
                    </a:cubicBezTo>
                    <a:cubicBezTo>
                      <a:pt x="466" y="151"/>
                      <a:pt x="466" y="151"/>
                      <a:pt x="466" y="151"/>
                    </a:cubicBezTo>
                    <a:cubicBezTo>
                      <a:pt x="469" y="149"/>
                      <a:pt x="469" y="149"/>
                      <a:pt x="469" y="149"/>
                    </a:cubicBezTo>
                    <a:cubicBezTo>
                      <a:pt x="469" y="143"/>
                      <a:pt x="469" y="143"/>
                      <a:pt x="469" y="143"/>
                    </a:cubicBezTo>
                    <a:cubicBezTo>
                      <a:pt x="470" y="139"/>
                      <a:pt x="470" y="139"/>
                      <a:pt x="470" y="139"/>
                    </a:cubicBezTo>
                    <a:cubicBezTo>
                      <a:pt x="470" y="137"/>
                      <a:pt x="470" y="137"/>
                      <a:pt x="470" y="137"/>
                    </a:cubicBezTo>
                    <a:cubicBezTo>
                      <a:pt x="468" y="137"/>
                      <a:pt x="468" y="137"/>
                      <a:pt x="468" y="137"/>
                    </a:cubicBezTo>
                    <a:cubicBezTo>
                      <a:pt x="463" y="138"/>
                      <a:pt x="463" y="138"/>
                      <a:pt x="463" y="138"/>
                    </a:cubicBezTo>
                    <a:cubicBezTo>
                      <a:pt x="458" y="137"/>
                      <a:pt x="458" y="137"/>
                      <a:pt x="458" y="137"/>
                    </a:cubicBezTo>
                    <a:cubicBezTo>
                      <a:pt x="454" y="137"/>
                      <a:pt x="454" y="137"/>
                      <a:pt x="454" y="137"/>
                    </a:cubicBezTo>
                    <a:cubicBezTo>
                      <a:pt x="450" y="138"/>
                      <a:pt x="450" y="138"/>
                      <a:pt x="450" y="138"/>
                    </a:cubicBezTo>
                    <a:cubicBezTo>
                      <a:pt x="448" y="136"/>
                      <a:pt x="448" y="136"/>
                      <a:pt x="448" y="136"/>
                    </a:cubicBezTo>
                    <a:cubicBezTo>
                      <a:pt x="451" y="136"/>
                      <a:pt x="451" y="136"/>
                      <a:pt x="451" y="136"/>
                    </a:cubicBezTo>
                    <a:cubicBezTo>
                      <a:pt x="454" y="134"/>
                      <a:pt x="454" y="134"/>
                      <a:pt x="454" y="134"/>
                    </a:cubicBezTo>
                    <a:cubicBezTo>
                      <a:pt x="457" y="133"/>
                      <a:pt x="457" y="133"/>
                      <a:pt x="457" y="133"/>
                    </a:cubicBezTo>
                    <a:cubicBezTo>
                      <a:pt x="463" y="134"/>
                      <a:pt x="463" y="134"/>
                      <a:pt x="463" y="134"/>
                    </a:cubicBezTo>
                    <a:cubicBezTo>
                      <a:pt x="466" y="134"/>
                      <a:pt x="466" y="134"/>
                      <a:pt x="466" y="134"/>
                    </a:cubicBezTo>
                    <a:cubicBezTo>
                      <a:pt x="469" y="130"/>
                      <a:pt x="469" y="130"/>
                      <a:pt x="469" y="130"/>
                    </a:cubicBezTo>
                    <a:cubicBezTo>
                      <a:pt x="471" y="130"/>
                      <a:pt x="471" y="130"/>
                      <a:pt x="471" y="130"/>
                    </a:cubicBezTo>
                    <a:cubicBezTo>
                      <a:pt x="473" y="131"/>
                      <a:pt x="473" y="131"/>
                      <a:pt x="473" y="131"/>
                    </a:cubicBezTo>
                    <a:cubicBezTo>
                      <a:pt x="475" y="131"/>
                      <a:pt x="475" y="131"/>
                      <a:pt x="475" y="131"/>
                    </a:cubicBezTo>
                    <a:cubicBezTo>
                      <a:pt x="478" y="129"/>
                      <a:pt x="478" y="129"/>
                      <a:pt x="478" y="129"/>
                    </a:cubicBezTo>
                    <a:cubicBezTo>
                      <a:pt x="484" y="127"/>
                      <a:pt x="484" y="127"/>
                      <a:pt x="484" y="127"/>
                    </a:cubicBezTo>
                    <a:cubicBezTo>
                      <a:pt x="484" y="123"/>
                      <a:pt x="484" y="123"/>
                      <a:pt x="484" y="123"/>
                    </a:cubicBezTo>
                    <a:cubicBezTo>
                      <a:pt x="489" y="117"/>
                      <a:pt x="489" y="117"/>
                      <a:pt x="489" y="117"/>
                    </a:cubicBezTo>
                    <a:cubicBezTo>
                      <a:pt x="489" y="113"/>
                      <a:pt x="489" y="113"/>
                      <a:pt x="489" y="113"/>
                    </a:cubicBezTo>
                    <a:cubicBezTo>
                      <a:pt x="490" y="110"/>
                      <a:pt x="490" y="110"/>
                      <a:pt x="490" y="110"/>
                    </a:cubicBezTo>
                    <a:cubicBezTo>
                      <a:pt x="491" y="107"/>
                      <a:pt x="491" y="107"/>
                      <a:pt x="491" y="107"/>
                    </a:cubicBezTo>
                    <a:cubicBezTo>
                      <a:pt x="485" y="106"/>
                      <a:pt x="485" y="106"/>
                      <a:pt x="485" y="106"/>
                    </a:cubicBezTo>
                    <a:cubicBezTo>
                      <a:pt x="481" y="103"/>
                      <a:pt x="481" y="103"/>
                      <a:pt x="481" y="103"/>
                    </a:cubicBezTo>
                    <a:cubicBezTo>
                      <a:pt x="477" y="103"/>
                      <a:pt x="477" y="103"/>
                      <a:pt x="477" y="103"/>
                    </a:cubicBezTo>
                    <a:cubicBezTo>
                      <a:pt x="472" y="106"/>
                      <a:pt x="472" y="106"/>
                      <a:pt x="472" y="106"/>
                    </a:cubicBezTo>
                    <a:cubicBezTo>
                      <a:pt x="467" y="106"/>
                      <a:pt x="467" y="106"/>
                      <a:pt x="467" y="106"/>
                    </a:cubicBezTo>
                    <a:cubicBezTo>
                      <a:pt x="461" y="104"/>
                      <a:pt x="461" y="104"/>
                      <a:pt x="461" y="104"/>
                    </a:cubicBezTo>
                    <a:cubicBezTo>
                      <a:pt x="453" y="103"/>
                      <a:pt x="453" y="103"/>
                      <a:pt x="453" y="103"/>
                    </a:cubicBezTo>
                    <a:cubicBezTo>
                      <a:pt x="448" y="108"/>
                      <a:pt x="448" y="108"/>
                      <a:pt x="448" y="108"/>
                    </a:cubicBezTo>
                    <a:cubicBezTo>
                      <a:pt x="448" y="110"/>
                      <a:pt x="448" y="110"/>
                      <a:pt x="448" y="110"/>
                    </a:cubicBezTo>
                    <a:cubicBezTo>
                      <a:pt x="450" y="112"/>
                      <a:pt x="450" y="112"/>
                      <a:pt x="450" y="112"/>
                    </a:cubicBezTo>
                    <a:cubicBezTo>
                      <a:pt x="451" y="114"/>
                      <a:pt x="451" y="114"/>
                      <a:pt x="451" y="114"/>
                    </a:cubicBezTo>
                    <a:cubicBezTo>
                      <a:pt x="449" y="114"/>
                      <a:pt x="449" y="114"/>
                      <a:pt x="449" y="114"/>
                    </a:cubicBezTo>
                    <a:cubicBezTo>
                      <a:pt x="447" y="115"/>
                      <a:pt x="447" y="115"/>
                      <a:pt x="447" y="115"/>
                    </a:cubicBezTo>
                    <a:cubicBezTo>
                      <a:pt x="446" y="118"/>
                      <a:pt x="446" y="118"/>
                      <a:pt x="446" y="118"/>
                    </a:cubicBezTo>
                    <a:cubicBezTo>
                      <a:pt x="445" y="115"/>
                      <a:pt x="445" y="115"/>
                      <a:pt x="445" y="115"/>
                    </a:cubicBezTo>
                    <a:cubicBezTo>
                      <a:pt x="443" y="114"/>
                      <a:pt x="443" y="114"/>
                      <a:pt x="443" y="114"/>
                    </a:cubicBezTo>
                    <a:cubicBezTo>
                      <a:pt x="439" y="116"/>
                      <a:pt x="439" y="116"/>
                      <a:pt x="439" y="116"/>
                    </a:cubicBezTo>
                    <a:cubicBezTo>
                      <a:pt x="434" y="122"/>
                      <a:pt x="434" y="122"/>
                      <a:pt x="434" y="122"/>
                    </a:cubicBezTo>
                    <a:cubicBezTo>
                      <a:pt x="428" y="129"/>
                      <a:pt x="428" y="129"/>
                      <a:pt x="428" y="129"/>
                    </a:cubicBezTo>
                    <a:cubicBezTo>
                      <a:pt x="433" y="122"/>
                      <a:pt x="433" y="122"/>
                      <a:pt x="433" y="122"/>
                    </a:cubicBezTo>
                    <a:cubicBezTo>
                      <a:pt x="433" y="119"/>
                      <a:pt x="433" y="119"/>
                      <a:pt x="433" y="119"/>
                    </a:cubicBezTo>
                    <a:cubicBezTo>
                      <a:pt x="434" y="116"/>
                      <a:pt x="434" y="116"/>
                      <a:pt x="434" y="116"/>
                    </a:cubicBezTo>
                    <a:cubicBezTo>
                      <a:pt x="434" y="114"/>
                      <a:pt x="434" y="114"/>
                      <a:pt x="434" y="114"/>
                    </a:cubicBezTo>
                    <a:cubicBezTo>
                      <a:pt x="432" y="114"/>
                      <a:pt x="432" y="114"/>
                      <a:pt x="432" y="114"/>
                    </a:cubicBezTo>
                    <a:cubicBezTo>
                      <a:pt x="428" y="117"/>
                      <a:pt x="428" y="117"/>
                      <a:pt x="428" y="117"/>
                    </a:cubicBezTo>
                    <a:cubicBezTo>
                      <a:pt x="426" y="121"/>
                      <a:pt x="426" y="121"/>
                      <a:pt x="426" y="121"/>
                    </a:cubicBezTo>
                    <a:cubicBezTo>
                      <a:pt x="424" y="126"/>
                      <a:pt x="424" y="126"/>
                      <a:pt x="424" y="126"/>
                    </a:cubicBezTo>
                    <a:cubicBezTo>
                      <a:pt x="421" y="128"/>
                      <a:pt x="421" y="128"/>
                      <a:pt x="421" y="128"/>
                    </a:cubicBezTo>
                    <a:cubicBezTo>
                      <a:pt x="424" y="122"/>
                      <a:pt x="424" y="122"/>
                      <a:pt x="424" y="122"/>
                    </a:cubicBezTo>
                    <a:cubicBezTo>
                      <a:pt x="425" y="118"/>
                      <a:pt x="425" y="118"/>
                      <a:pt x="425" y="118"/>
                    </a:cubicBezTo>
                    <a:cubicBezTo>
                      <a:pt x="432" y="110"/>
                      <a:pt x="432" y="110"/>
                      <a:pt x="432" y="110"/>
                    </a:cubicBezTo>
                    <a:cubicBezTo>
                      <a:pt x="433" y="104"/>
                      <a:pt x="433" y="104"/>
                      <a:pt x="433" y="104"/>
                    </a:cubicBezTo>
                    <a:cubicBezTo>
                      <a:pt x="436" y="101"/>
                      <a:pt x="436" y="101"/>
                      <a:pt x="436" y="101"/>
                    </a:cubicBezTo>
                    <a:cubicBezTo>
                      <a:pt x="439" y="99"/>
                      <a:pt x="439" y="99"/>
                      <a:pt x="439" y="99"/>
                    </a:cubicBezTo>
                    <a:cubicBezTo>
                      <a:pt x="444" y="96"/>
                      <a:pt x="444" y="96"/>
                      <a:pt x="444" y="96"/>
                    </a:cubicBezTo>
                    <a:cubicBezTo>
                      <a:pt x="446" y="95"/>
                      <a:pt x="446" y="95"/>
                      <a:pt x="446" y="95"/>
                    </a:cubicBezTo>
                    <a:cubicBezTo>
                      <a:pt x="450" y="90"/>
                      <a:pt x="450" y="90"/>
                      <a:pt x="450" y="90"/>
                    </a:cubicBezTo>
                    <a:cubicBezTo>
                      <a:pt x="459" y="81"/>
                      <a:pt x="459" y="81"/>
                      <a:pt x="459" y="81"/>
                    </a:cubicBezTo>
                    <a:cubicBezTo>
                      <a:pt x="460" y="79"/>
                      <a:pt x="460" y="79"/>
                      <a:pt x="460" y="79"/>
                    </a:cubicBezTo>
                    <a:cubicBezTo>
                      <a:pt x="461" y="77"/>
                      <a:pt x="461" y="77"/>
                      <a:pt x="461" y="77"/>
                    </a:cubicBezTo>
                    <a:cubicBezTo>
                      <a:pt x="459" y="75"/>
                      <a:pt x="459" y="75"/>
                      <a:pt x="459" y="75"/>
                    </a:cubicBezTo>
                    <a:cubicBezTo>
                      <a:pt x="460" y="73"/>
                      <a:pt x="460" y="73"/>
                      <a:pt x="460" y="73"/>
                    </a:cubicBezTo>
                    <a:cubicBezTo>
                      <a:pt x="461" y="71"/>
                      <a:pt x="461" y="71"/>
                      <a:pt x="461" y="71"/>
                    </a:cubicBezTo>
                    <a:cubicBezTo>
                      <a:pt x="462" y="68"/>
                      <a:pt x="462" y="68"/>
                      <a:pt x="462" y="68"/>
                    </a:cubicBezTo>
                    <a:cubicBezTo>
                      <a:pt x="458" y="65"/>
                      <a:pt x="458" y="65"/>
                      <a:pt x="458" y="65"/>
                    </a:cubicBezTo>
                    <a:cubicBezTo>
                      <a:pt x="454" y="66"/>
                      <a:pt x="454" y="66"/>
                      <a:pt x="454" y="66"/>
                    </a:cubicBezTo>
                    <a:cubicBezTo>
                      <a:pt x="453" y="67"/>
                      <a:pt x="453" y="67"/>
                      <a:pt x="453" y="67"/>
                    </a:cubicBezTo>
                    <a:cubicBezTo>
                      <a:pt x="451" y="64"/>
                      <a:pt x="451" y="64"/>
                      <a:pt x="451" y="64"/>
                    </a:cubicBezTo>
                    <a:cubicBezTo>
                      <a:pt x="448" y="57"/>
                      <a:pt x="448" y="57"/>
                      <a:pt x="448" y="57"/>
                    </a:cubicBezTo>
                    <a:cubicBezTo>
                      <a:pt x="444" y="47"/>
                      <a:pt x="444" y="47"/>
                      <a:pt x="444" y="47"/>
                    </a:cubicBezTo>
                    <a:cubicBezTo>
                      <a:pt x="440" y="41"/>
                      <a:pt x="440" y="41"/>
                      <a:pt x="440" y="41"/>
                    </a:cubicBezTo>
                    <a:cubicBezTo>
                      <a:pt x="437" y="34"/>
                      <a:pt x="437" y="34"/>
                      <a:pt x="437" y="34"/>
                    </a:cubicBezTo>
                    <a:cubicBezTo>
                      <a:pt x="438" y="30"/>
                      <a:pt x="438" y="30"/>
                      <a:pt x="438" y="30"/>
                    </a:cubicBezTo>
                    <a:lnTo>
                      <a:pt x="437" y="27"/>
                    </a:lnTo>
                    <a:close/>
                  </a:path>
                </a:pathLst>
              </a:custGeom>
              <a:solidFill>
                <a:schemeClr val="accent4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613" name="Freeform 417"/>
              <p:cNvSpPr>
                <a:spLocks/>
              </p:cNvSpPr>
              <p:nvPr userDrawn="1"/>
            </p:nvSpPr>
            <p:spPr bwMode="auto">
              <a:xfrm>
                <a:off x="2205" y="3106"/>
                <a:ext cx="229" cy="247"/>
              </a:xfrm>
              <a:custGeom>
                <a:avLst/>
                <a:gdLst>
                  <a:gd name="T0" fmla="*/ 220 w 229"/>
                  <a:gd name="T1" fmla="*/ 181 h 247"/>
                  <a:gd name="T2" fmla="*/ 219 w 229"/>
                  <a:gd name="T3" fmla="*/ 138 h 247"/>
                  <a:gd name="T4" fmla="*/ 208 w 229"/>
                  <a:gd name="T5" fmla="*/ 118 h 247"/>
                  <a:gd name="T6" fmla="*/ 170 w 229"/>
                  <a:gd name="T7" fmla="*/ 98 h 247"/>
                  <a:gd name="T8" fmla="*/ 171 w 229"/>
                  <a:gd name="T9" fmla="*/ 79 h 247"/>
                  <a:gd name="T10" fmla="*/ 152 w 229"/>
                  <a:gd name="T11" fmla="*/ 73 h 247"/>
                  <a:gd name="T12" fmla="*/ 142 w 229"/>
                  <a:gd name="T13" fmla="*/ 65 h 247"/>
                  <a:gd name="T14" fmla="*/ 126 w 229"/>
                  <a:gd name="T15" fmla="*/ 60 h 247"/>
                  <a:gd name="T16" fmla="*/ 108 w 229"/>
                  <a:gd name="T17" fmla="*/ 48 h 247"/>
                  <a:gd name="T18" fmla="*/ 96 w 229"/>
                  <a:gd name="T19" fmla="*/ 48 h 247"/>
                  <a:gd name="T20" fmla="*/ 84 w 229"/>
                  <a:gd name="T21" fmla="*/ 38 h 247"/>
                  <a:gd name="T22" fmla="*/ 77 w 229"/>
                  <a:gd name="T23" fmla="*/ 25 h 247"/>
                  <a:gd name="T24" fmla="*/ 77 w 229"/>
                  <a:gd name="T25" fmla="*/ 5 h 247"/>
                  <a:gd name="T26" fmla="*/ 71 w 229"/>
                  <a:gd name="T27" fmla="*/ 2 h 247"/>
                  <a:gd name="T28" fmla="*/ 57 w 229"/>
                  <a:gd name="T29" fmla="*/ 2 h 247"/>
                  <a:gd name="T30" fmla="*/ 39 w 229"/>
                  <a:gd name="T31" fmla="*/ 17 h 247"/>
                  <a:gd name="T32" fmla="*/ 25 w 229"/>
                  <a:gd name="T33" fmla="*/ 22 h 247"/>
                  <a:gd name="T34" fmla="*/ 12 w 229"/>
                  <a:gd name="T35" fmla="*/ 24 h 247"/>
                  <a:gd name="T36" fmla="*/ 17 w 229"/>
                  <a:gd name="T37" fmla="*/ 50 h 247"/>
                  <a:gd name="T38" fmla="*/ 12 w 229"/>
                  <a:gd name="T39" fmla="*/ 73 h 247"/>
                  <a:gd name="T40" fmla="*/ 12 w 229"/>
                  <a:gd name="T41" fmla="*/ 95 h 247"/>
                  <a:gd name="T42" fmla="*/ 12 w 229"/>
                  <a:gd name="T43" fmla="*/ 104 h 247"/>
                  <a:gd name="T44" fmla="*/ 16 w 229"/>
                  <a:gd name="T45" fmla="*/ 123 h 247"/>
                  <a:gd name="T46" fmla="*/ 9 w 229"/>
                  <a:gd name="T47" fmla="*/ 134 h 247"/>
                  <a:gd name="T48" fmla="*/ 10 w 229"/>
                  <a:gd name="T49" fmla="*/ 142 h 247"/>
                  <a:gd name="T50" fmla="*/ 11 w 229"/>
                  <a:gd name="T51" fmla="*/ 149 h 247"/>
                  <a:gd name="T52" fmla="*/ 17 w 229"/>
                  <a:gd name="T53" fmla="*/ 157 h 247"/>
                  <a:gd name="T54" fmla="*/ 18 w 229"/>
                  <a:gd name="T55" fmla="*/ 169 h 247"/>
                  <a:gd name="T56" fmla="*/ 30 w 229"/>
                  <a:gd name="T57" fmla="*/ 182 h 247"/>
                  <a:gd name="T58" fmla="*/ 25 w 229"/>
                  <a:gd name="T59" fmla="*/ 200 h 247"/>
                  <a:gd name="T60" fmla="*/ 50 w 229"/>
                  <a:gd name="T61" fmla="*/ 247 h 247"/>
                  <a:gd name="T62" fmla="*/ 59 w 229"/>
                  <a:gd name="T63" fmla="*/ 244 h 247"/>
                  <a:gd name="T64" fmla="*/ 65 w 229"/>
                  <a:gd name="T65" fmla="*/ 235 h 247"/>
                  <a:gd name="T66" fmla="*/ 81 w 229"/>
                  <a:gd name="T67" fmla="*/ 230 h 247"/>
                  <a:gd name="T68" fmla="*/ 94 w 229"/>
                  <a:gd name="T69" fmla="*/ 230 h 247"/>
                  <a:gd name="T70" fmla="*/ 104 w 229"/>
                  <a:gd name="T71" fmla="*/ 234 h 247"/>
                  <a:gd name="T72" fmla="*/ 110 w 229"/>
                  <a:gd name="T73" fmla="*/ 241 h 247"/>
                  <a:gd name="T74" fmla="*/ 112 w 229"/>
                  <a:gd name="T75" fmla="*/ 231 h 247"/>
                  <a:gd name="T76" fmla="*/ 135 w 229"/>
                  <a:gd name="T77" fmla="*/ 227 h 247"/>
                  <a:gd name="T78" fmla="*/ 144 w 229"/>
                  <a:gd name="T79" fmla="*/ 215 h 247"/>
                  <a:gd name="T80" fmla="*/ 142 w 229"/>
                  <a:gd name="T81" fmla="*/ 202 h 247"/>
                  <a:gd name="T82" fmla="*/ 151 w 229"/>
                  <a:gd name="T83" fmla="*/ 184 h 247"/>
                  <a:gd name="T84" fmla="*/ 201 w 229"/>
                  <a:gd name="T85" fmla="*/ 175 h 247"/>
                  <a:gd name="T86" fmla="*/ 218 w 229"/>
                  <a:gd name="T87" fmla="*/ 187 h 2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229" h="247">
                    <a:moveTo>
                      <a:pt x="218" y="187"/>
                    </a:moveTo>
                    <a:lnTo>
                      <a:pt x="221" y="183"/>
                    </a:lnTo>
                    <a:lnTo>
                      <a:pt x="220" y="181"/>
                    </a:lnTo>
                    <a:lnTo>
                      <a:pt x="229" y="164"/>
                    </a:lnTo>
                    <a:lnTo>
                      <a:pt x="228" y="154"/>
                    </a:lnTo>
                    <a:lnTo>
                      <a:pt x="219" y="138"/>
                    </a:lnTo>
                    <a:lnTo>
                      <a:pt x="209" y="136"/>
                    </a:lnTo>
                    <a:lnTo>
                      <a:pt x="210" y="130"/>
                    </a:lnTo>
                    <a:lnTo>
                      <a:pt x="208" y="118"/>
                    </a:lnTo>
                    <a:lnTo>
                      <a:pt x="176" y="117"/>
                    </a:lnTo>
                    <a:lnTo>
                      <a:pt x="177" y="109"/>
                    </a:lnTo>
                    <a:lnTo>
                      <a:pt x="170" y="98"/>
                    </a:lnTo>
                    <a:lnTo>
                      <a:pt x="172" y="94"/>
                    </a:lnTo>
                    <a:lnTo>
                      <a:pt x="170" y="88"/>
                    </a:lnTo>
                    <a:lnTo>
                      <a:pt x="171" y="79"/>
                    </a:lnTo>
                    <a:lnTo>
                      <a:pt x="170" y="76"/>
                    </a:lnTo>
                    <a:lnTo>
                      <a:pt x="163" y="72"/>
                    </a:lnTo>
                    <a:lnTo>
                      <a:pt x="152" y="73"/>
                    </a:lnTo>
                    <a:lnTo>
                      <a:pt x="147" y="70"/>
                    </a:lnTo>
                    <a:lnTo>
                      <a:pt x="143" y="69"/>
                    </a:lnTo>
                    <a:lnTo>
                      <a:pt x="142" y="65"/>
                    </a:lnTo>
                    <a:lnTo>
                      <a:pt x="137" y="63"/>
                    </a:lnTo>
                    <a:lnTo>
                      <a:pt x="129" y="60"/>
                    </a:lnTo>
                    <a:lnTo>
                      <a:pt x="126" y="60"/>
                    </a:lnTo>
                    <a:lnTo>
                      <a:pt x="120" y="53"/>
                    </a:lnTo>
                    <a:lnTo>
                      <a:pt x="115" y="55"/>
                    </a:lnTo>
                    <a:lnTo>
                      <a:pt x="108" y="48"/>
                    </a:lnTo>
                    <a:lnTo>
                      <a:pt x="100" y="50"/>
                    </a:lnTo>
                    <a:lnTo>
                      <a:pt x="99" y="52"/>
                    </a:lnTo>
                    <a:lnTo>
                      <a:pt x="96" y="48"/>
                    </a:lnTo>
                    <a:lnTo>
                      <a:pt x="89" y="44"/>
                    </a:lnTo>
                    <a:lnTo>
                      <a:pt x="85" y="43"/>
                    </a:lnTo>
                    <a:lnTo>
                      <a:pt x="84" y="38"/>
                    </a:lnTo>
                    <a:lnTo>
                      <a:pt x="79" y="36"/>
                    </a:lnTo>
                    <a:lnTo>
                      <a:pt x="77" y="29"/>
                    </a:lnTo>
                    <a:lnTo>
                      <a:pt x="77" y="25"/>
                    </a:lnTo>
                    <a:lnTo>
                      <a:pt x="76" y="18"/>
                    </a:lnTo>
                    <a:lnTo>
                      <a:pt x="78" y="12"/>
                    </a:lnTo>
                    <a:lnTo>
                      <a:pt x="77" y="5"/>
                    </a:lnTo>
                    <a:lnTo>
                      <a:pt x="77" y="1"/>
                    </a:lnTo>
                    <a:lnTo>
                      <a:pt x="75" y="0"/>
                    </a:lnTo>
                    <a:lnTo>
                      <a:pt x="71" y="2"/>
                    </a:lnTo>
                    <a:lnTo>
                      <a:pt x="67" y="0"/>
                    </a:lnTo>
                    <a:lnTo>
                      <a:pt x="63" y="0"/>
                    </a:lnTo>
                    <a:lnTo>
                      <a:pt x="57" y="2"/>
                    </a:lnTo>
                    <a:lnTo>
                      <a:pt x="51" y="3"/>
                    </a:lnTo>
                    <a:lnTo>
                      <a:pt x="42" y="9"/>
                    </a:lnTo>
                    <a:lnTo>
                      <a:pt x="39" y="17"/>
                    </a:lnTo>
                    <a:lnTo>
                      <a:pt x="34" y="19"/>
                    </a:lnTo>
                    <a:lnTo>
                      <a:pt x="29" y="19"/>
                    </a:lnTo>
                    <a:lnTo>
                      <a:pt x="25" y="22"/>
                    </a:lnTo>
                    <a:lnTo>
                      <a:pt x="22" y="22"/>
                    </a:lnTo>
                    <a:lnTo>
                      <a:pt x="17" y="24"/>
                    </a:lnTo>
                    <a:lnTo>
                      <a:pt x="12" y="24"/>
                    </a:lnTo>
                    <a:lnTo>
                      <a:pt x="0" y="24"/>
                    </a:lnTo>
                    <a:lnTo>
                      <a:pt x="17" y="47"/>
                    </a:lnTo>
                    <a:lnTo>
                      <a:pt x="17" y="50"/>
                    </a:lnTo>
                    <a:lnTo>
                      <a:pt x="14" y="55"/>
                    </a:lnTo>
                    <a:lnTo>
                      <a:pt x="14" y="67"/>
                    </a:lnTo>
                    <a:lnTo>
                      <a:pt x="12" y="73"/>
                    </a:lnTo>
                    <a:lnTo>
                      <a:pt x="13" y="78"/>
                    </a:lnTo>
                    <a:lnTo>
                      <a:pt x="14" y="89"/>
                    </a:lnTo>
                    <a:lnTo>
                      <a:pt x="12" y="95"/>
                    </a:lnTo>
                    <a:lnTo>
                      <a:pt x="11" y="98"/>
                    </a:lnTo>
                    <a:lnTo>
                      <a:pt x="12" y="102"/>
                    </a:lnTo>
                    <a:lnTo>
                      <a:pt x="12" y="104"/>
                    </a:lnTo>
                    <a:lnTo>
                      <a:pt x="12" y="109"/>
                    </a:lnTo>
                    <a:lnTo>
                      <a:pt x="12" y="111"/>
                    </a:lnTo>
                    <a:lnTo>
                      <a:pt x="16" y="123"/>
                    </a:lnTo>
                    <a:lnTo>
                      <a:pt x="16" y="127"/>
                    </a:lnTo>
                    <a:lnTo>
                      <a:pt x="12" y="131"/>
                    </a:lnTo>
                    <a:lnTo>
                      <a:pt x="9" y="134"/>
                    </a:lnTo>
                    <a:lnTo>
                      <a:pt x="6" y="140"/>
                    </a:lnTo>
                    <a:lnTo>
                      <a:pt x="7" y="142"/>
                    </a:lnTo>
                    <a:lnTo>
                      <a:pt x="10" y="142"/>
                    </a:lnTo>
                    <a:lnTo>
                      <a:pt x="10" y="145"/>
                    </a:lnTo>
                    <a:lnTo>
                      <a:pt x="11" y="145"/>
                    </a:lnTo>
                    <a:lnTo>
                      <a:pt x="11" y="149"/>
                    </a:lnTo>
                    <a:lnTo>
                      <a:pt x="14" y="153"/>
                    </a:lnTo>
                    <a:lnTo>
                      <a:pt x="16" y="154"/>
                    </a:lnTo>
                    <a:lnTo>
                      <a:pt x="17" y="157"/>
                    </a:lnTo>
                    <a:lnTo>
                      <a:pt x="16" y="161"/>
                    </a:lnTo>
                    <a:lnTo>
                      <a:pt x="17" y="163"/>
                    </a:lnTo>
                    <a:lnTo>
                      <a:pt x="18" y="169"/>
                    </a:lnTo>
                    <a:lnTo>
                      <a:pt x="21" y="173"/>
                    </a:lnTo>
                    <a:lnTo>
                      <a:pt x="30" y="179"/>
                    </a:lnTo>
                    <a:lnTo>
                      <a:pt x="30" y="182"/>
                    </a:lnTo>
                    <a:lnTo>
                      <a:pt x="28" y="187"/>
                    </a:lnTo>
                    <a:lnTo>
                      <a:pt x="29" y="191"/>
                    </a:lnTo>
                    <a:lnTo>
                      <a:pt x="25" y="200"/>
                    </a:lnTo>
                    <a:lnTo>
                      <a:pt x="28" y="204"/>
                    </a:lnTo>
                    <a:lnTo>
                      <a:pt x="36" y="212"/>
                    </a:lnTo>
                    <a:lnTo>
                      <a:pt x="50" y="247"/>
                    </a:lnTo>
                    <a:lnTo>
                      <a:pt x="55" y="247"/>
                    </a:lnTo>
                    <a:lnTo>
                      <a:pt x="56" y="244"/>
                    </a:lnTo>
                    <a:lnTo>
                      <a:pt x="59" y="244"/>
                    </a:lnTo>
                    <a:lnTo>
                      <a:pt x="59" y="244"/>
                    </a:lnTo>
                    <a:lnTo>
                      <a:pt x="61" y="241"/>
                    </a:lnTo>
                    <a:lnTo>
                      <a:pt x="65" y="235"/>
                    </a:lnTo>
                    <a:lnTo>
                      <a:pt x="72" y="228"/>
                    </a:lnTo>
                    <a:lnTo>
                      <a:pt x="77" y="226"/>
                    </a:lnTo>
                    <a:lnTo>
                      <a:pt x="81" y="230"/>
                    </a:lnTo>
                    <a:lnTo>
                      <a:pt x="86" y="230"/>
                    </a:lnTo>
                    <a:lnTo>
                      <a:pt x="90" y="229"/>
                    </a:lnTo>
                    <a:lnTo>
                      <a:pt x="94" y="230"/>
                    </a:lnTo>
                    <a:lnTo>
                      <a:pt x="100" y="229"/>
                    </a:lnTo>
                    <a:lnTo>
                      <a:pt x="103" y="229"/>
                    </a:lnTo>
                    <a:lnTo>
                      <a:pt x="104" y="234"/>
                    </a:lnTo>
                    <a:lnTo>
                      <a:pt x="107" y="241"/>
                    </a:lnTo>
                    <a:lnTo>
                      <a:pt x="108" y="243"/>
                    </a:lnTo>
                    <a:lnTo>
                      <a:pt x="110" y="241"/>
                    </a:lnTo>
                    <a:lnTo>
                      <a:pt x="110" y="238"/>
                    </a:lnTo>
                    <a:lnTo>
                      <a:pt x="112" y="235"/>
                    </a:lnTo>
                    <a:lnTo>
                      <a:pt x="112" y="231"/>
                    </a:lnTo>
                    <a:lnTo>
                      <a:pt x="115" y="227"/>
                    </a:lnTo>
                    <a:lnTo>
                      <a:pt x="125" y="227"/>
                    </a:lnTo>
                    <a:lnTo>
                      <a:pt x="135" y="227"/>
                    </a:lnTo>
                    <a:lnTo>
                      <a:pt x="139" y="230"/>
                    </a:lnTo>
                    <a:lnTo>
                      <a:pt x="140" y="224"/>
                    </a:lnTo>
                    <a:lnTo>
                      <a:pt x="144" y="215"/>
                    </a:lnTo>
                    <a:lnTo>
                      <a:pt x="145" y="210"/>
                    </a:lnTo>
                    <a:lnTo>
                      <a:pt x="144" y="205"/>
                    </a:lnTo>
                    <a:lnTo>
                      <a:pt x="142" y="202"/>
                    </a:lnTo>
                    <a:lnTo>
                      <a:pt x="148" y="194"/>
                    </a:lnTo>
                    <a:lnTo>
                      <a:pt x="151" y="188"/>
                    </a:lnTo>
                    <a:lnTo>
                      <a:pt x="151" y="184"/>
                    </a:lnTo>
                    <a:lnTo>
                      <a:pt x="155" y="182"/>
                    </a:lnTo>
                    <a:lnTo>
                      <a:pt x="180" y="175"/>
                    </a:lnTo>
                    <a:lnTo>
                      <a:pt x="201" y="175"/>
                    </a:lnTo>
                    <a:lnTo>
                      <a:pt x="213" y="184"/>
                    </a:lnTo>
                    <a:lnTo>
                      <a:pt x="216" y="185"/>
                    </a:lnTo>
                    <a:lnTo>
                      <a:pt x="218" y="187"/>
                    </a:lnTo>
                    <a:lnTo>
                      <a:pt x="218" y="187"/>
                    </a:lnTo>
                    <a:close/>
                  </a:path>
                </a:pathLst>
              </a:custGeom>
              <a:solidFill>
                <a:schemeClr val="accent4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614" name="Freeform 418"/>
              <p:cNvSpPr>
                <a:spLocks noEditPoints="1"/>
              </p:cNvSpPr>
              <p:nvPr userDrawn="1"/>
            </p:nvSpPr>
            <p:spPr bwMode="auto">
              <a:xfrm>
                <a:off x="3870" y="736"/>
                <a:ext cx="2421" cy="1407"/>
              </a:xfrm>
              <a:custGeom>
                <a:avLst/>
                <a:gdLst>
                  <a:gd name="T0" fmla="*/ 1939 w 2534"/>
                  <a:gd name="T1" fmla="*/ 1205 h 1472"/>
                  <a:gd name="T2" fmla="*/ 1770 w 2534"/>
                  <a:gd name="T3" fmla="*/ 1053 h 1472"/>
                  <a:gd name="T4" fmla="*/ 1582 w 2534"/>
                  <a:gd name="T5" fmla="*/ 1186 h 1472"/>
                  <a:gd name="T6" fmla="*/ 1230 w 2534"/>
                  <a:gd name="T7" fmla="*/ 1190 h 1472"/>
                  <a:gd name="T8" fmla="*/ 867 w 2534"/>
                  <a:gd name="T9" fmla="*/ 1133 h 1472"/>
                  <a:gd name="T10" fmla="*/ 638 w 2534"/>
                  <a:gd name="T11" fmla="*/ 1162 h 1472"/>
                  <a:gd name="T12" fmla="*/ 431 w 2534"/>
                  <a:gd name="T13" fmla="*/ 1257 h 1472"/>
                  <a:gd name="T14" fmla="*/ 368 w 2534"/>
                  <a:gd name="T15" fmla="*/ 1469 h 1472"/>
                  <a:gd name="T16" fmla="*/ 213 w 2534"/>
                  <a:gd name="T17" fmla="*/ 1255 h 1472"/>
                  <a:gd name="T18" fmla="*/ 35 w 2534"/>
                  <a:gd name="T19" fmla="*/ 988 h 1472"/>
                  <a:gd name="T20" fmla="*/ 70 w 2534"/>
                  <a:gd name="T21" fmla="*/ 702 h 1472"/>
                  <a:gd name="T22" fmla="*/ 92 w 2534"/>
                  <a:gd name="T23" fmla="*/ 799 h 1472"/>
                  <a:gd name="T24" fmla="*/ 260 w 2534"/>
                  <a:gd name="T25" fmla="*/ 777 h 1472"/>
                  <a:gd name="T26" fmla="*/ 395 w 2534"/>
                  <a:gd name="T27" fmla="*/ 705 h 1472"/>
                  <a:gd name="T28" fmla="*/ 625 w 2534"/>
                  <a:gd name="T29" fmla="*/ 664 h 1472"/>
                  <a:gd name="T30" fmla="*/ 694 w 2534"/>
                  <a:gd name="T31" fmla="*/ 671 h 1472"/>
                  <a:gd name="T32" fmla="*/ 757 w 2534"/>
                  <a:gd name="T33" fmla="*/ 651 h 1472"/>
                  <a:gd name="T34" fmla="*/ 732 w 2534"/>
                  <a:gd name="T35" fmla="*/ 507 h 1472"/>
                  <a:gd name="T36" fmla="*/ 760 w 2534"/>
                  <a:gd name="T37" fmla="*/ 426 h 1472"/>
                  <a:gd name="T38" fmla="*/ 838 w 2534"/>
                  <a:gd name="T39" fmla="*/ 283 h 1472"/>
                  <a:gd name="T40" fmla="*/ 954 w 2534"/>
                  <a:gd name="T41" fmla="*/ 193 h 1472"/>
                  <a:gd name="T42" fmla="*/ 1115 w 2534"/>
                  <a:gd name="T43" fmla="*/ 278 h 1472"/>
                  <a:gd name="T44" fmla="*/ 1183 w 2534"/>
                  <a:gd name="T45" fmla="*/ 336 h 1472"/>
                  <a:gd name="T46" fmla="*/ 1430 w 2534"/>
                  <a:gd name="T47" fmla="*/ 322 h 1472"/>
                  <a:gd name="T48" fmla="*/ 1609 w 2534"/>
                  <a:gd name="T49" fmla="*/ 302 h 1472"/>
                  <a:gd name="T50" fmla="*/ 1781 w 2534"/>
                  <a:gd name="T51" fmla="*/ 270 h 1472"/>
                  <a:gd name="T52" fmla="*/ 2159 w 2534"/>
                  <a:gd name="T53" fmla="*/ 277 h 1472"/>
                  <a:gd name="T54" fmla="*/ 2399 w 2534"/>
                  <a:gd name="T55" fmla="*/ 227 h 1472"/>
                  <a:gd name="T56" fmla="*/ 2509 w 2534"/>
                  <a:gd name="T57" fmla="*/ 288 h 1472"/>
                  <a:gd name="T58" fmla="*/ 2438 w 2534"/>
                  <a:gd name="T59" fmla="*/ 388 h 1472"/>
                  <a:gd name="T60" fmla="*/ 2451 w 2534"/>
                  <a:gd name="T61" fmla="*/ 552 h 1472"/>
                  <a:gd name="T62" fmla="*/ 2323 w 2534"/>
                  <a:gd name="T63" fmla="*/ 732 h 1472"/>
                  <a:gd name="T64" fmla="*/ 2365 w 2534"/>
                  <a:gd name="T65" fmla="*/ 1001 h 1472"/>
                  <a:gd name="T66" fmla="*/ 2270 w 2534"/>
                  <a:gd name="T67" fmla="*/ 610 h 1472"/>
                  <a:gd name="T68" fmla="*/ 2162 w 2534"/>
                  <a:gd name="T69" fmla="*/ 679 h 1472"/>
                  <a:gd name="T70" fmla="*/ 2027 w 2534"/>
                  <a:gd name="T71" fmla="*/ 779 h 1472"/>
                  <a:gd name="T72" fmla="*/ 1996 w 2534"/>
                  <a:gd name="T73" fmla="*/ 985 h 1472"/>
                  <a:gd name="T74" fmla="*/ 2012 w 2534"/>
                  <a:gd name="T75" fmla="*/ 1340 h 1472"/>
                  <a:gd name="T76" fmla="*/ 172 w 2534"/>
                  <a:gd name="T77" fmla="*/ 153 h 1472"/>
                  <a:gd name="T78" fmla="*/ 236 w 2534"/>
                  <a:gd name="T79" fmla="*/ 91 h 1472"/>
                  <a:gd name="T80" fmla="*/ 217 w 2534"/>
                  <a:gd name="T81" fmla="*/ 151 h 1472"/>
                  <a:gd name="T82" fmla="*/ 228 w 2534"/>
                  <a:gd name="T83" fmla="*/ 155 h 1472"/>
                  <a:gd name="T84" fmla="*/ 283 w 2534"/>
                  <a:gd name="T85" fmla="*/ 132 h 1472"/>
                  <a:gd name="T86" fmla="*/ 364 w 2534"/>
                  <a:gd name="T87" fmla="*/ 507 h 1472"/>
                  <a:gd name="T88" fmla="*/ 445 w 2534"/>
                  <a:gd name="T89" fmla="*/ 332 h 1472"/>
                  <a:gd name="T90" fmla="*/ 347 w 2534"/>
                  <a:gd name="T91" fmla="*/ 470 h 1472"/>
                  <a:gd name="T92" fmla="*/ 330 w 2534"/>
                  <a:gd name="T93" fmla="*/ 531 h 1472"/>
                  <a:gd name="T94" fmla="*/ 420 w 2534"/>
                  <a:gd name="T95" fmla="*/ 623 h 1472"/>
                  <a:gd name="T96" fmla="*/ 811 w 2534"/>
                  <a:gd name="T97" fmla="*/ 560 h 1472"/>
                  <a:gd name="T98" fmla="*/ 637 w 2534"/>
                  <a:gd name="T99" fmla="*/ 487 h 1472"/>
                  <a:gd name="T100" fmla="*/ 685 w 2534"/>
                  <a:gd name="T101" fmla="*/ 324 h 1472"/>
                  <a:gd name="T102" fmla="*/ 825 w 2534"/>
                  <a:gd name="T103" fmla="*/ 235 h 1472"/>
                  <a:gd name="T104" fmla="*/ 630 w 2534"/>
                  <a:gd name="T105" fmla="*/ 26 h 1472"/>
                  <a:gd name="T106" fmla="*/ 724 w 2534"/>
                  <a:gd name="T107" fmla="*/ 112 h 1472"/>
                  <a:gd name="T108" fmla="*/ 1562 w 2534"/>
                  <a:gd name="T109" fmla="*/ 77 h 1472"/>
                  <a:gd name="T110" fmla="*/ 1417 w 2534"/>
                  <a:gd name="T111" fmla="*/ 114 h 1472"/>
                  <a:gd name="T112" fmla="*/ 847 w 2534"/>
                  <a:gd name="T113" fmla="*/ 86 h 1472"/>
                  <a:gd name="T114" fmla="*/ 1153 w 2534"/>
                  <a:gd name="T115" fmla="*/ 305 h 1472"/>
                  <a:gd name="T116" fmla="*/ 2000 w 2534"/>
                  <a:gd name="T117" fmla="*/ 289 h 1472"/>
                  <a:gd name="T118" fmla="*/ 2144 w 2534"/>
                  <a:gd name="T119" fmla="*/ 1120 h 1472"/>
                  <a:gd name="T120" fmla="*/ 2126 w 2534"/>
                  <a:gd name="T121" fmla="*/ 1186 h 1472"/>
                  <a:gd name="T122" fmla="*/ 2342 w 2534"/>
                  <a:gd name="T123" fmla="*/ 746 h 1472"/>
                  <a:gd name="T124" fmla="*/ 2332 w 2534"/>
                  <a:gd name="T125" fmla="*/ 1124 h 14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534" h="1472">
                    <a:moveTo>
                      <a:pt x="1966" y="1352"/>
                    </a:moveTo>
                    <a:cubicBezTo>
                      <a:pt x="1965" y="1352"/>
                      <a:pt x="1965" y="1352"/>
                      <a:pt x="1965" y="1352"/>
                    </a:cubicBezTo>
                    <a:cubicBezTo>
                      <a:pt x="1962" y="1349"/>
                      <a:pt x="1962" y="1349"/>
                      <a:pt x="1962" y="1349"/>
                    </a:cubicBezTo>
                    <a:cubicBezTo>
                      <a:pt x="1962" y="1349"/>
                      <a:pt x="1962" y="1349"/>
                      <a:pt x="1962" y="1349"/>
                    </a:cubicBezTo>
                    <a:cubicBezTo>
                      <a:pt x="1963" y="1347"/>
                      <a:pt x="1963" y="1347"/>
                      <a:pt x="1963" y="1347"/>
                    </a:cubicBezTo>
                    <a:cubicBezTo>
                      <a:pt x="1963" y="1345"/>
                      <a:pt x="1963" y="1345"/>
                      <a:pt x="1963" y="1345"/>
                    </a:cubicBezTo>
                    <a:cubicBezTo>
                      <a:pt x="1962" y="1344"/>
                      <a:pt x="1962" y="1344"/>
                      <a:pt x="1962" y="1344"/>
                    </a:cubicBezTo>
                    <a:cubicBezTo>
                      <a:pt x="1961" y="1341"/>
                      <a:pt x="1961" y="1341"/>
                      <a:pt x="1961" y="1341"/>
                    </a:cubicBezTo>
                    <a:cubicBezTo>
                      <a:pt x="1961" y="1339"/>
                      <a:pt x="1961" y="1339"/>
                      <a:pt x="1961" y="1339"/>
                    </a:cubicBezTo>
                    <a:cubicBezTo>
                      <a:pt x="1963" y="1338"/>
                      <a:pt x="1963" y="1338"/>
                      <a:pt x="1963" y="1338"/>
                    </a:cubicBezTo>
                    <a:cubicBezTo>
                      <a:pt x="1968" y="1338"/>
                      <a:pt x="1968" y="1338"/>
                      <a:pt x="1968" y="1338"/>
                    </a:cubicBezTo>
                    <a:cubicBezTo>
                      <a:pt x="1969" y="1338"/>
                      <a:pt x="1969" y="1338"/>
                      <a:pt x="1969" y="1338"/>
                    </a:cubicBezTo>
                    <a:cubicBezTo>
                      <a:pt x="1969" y="1335"/>
                      <a:pt x="1969" y="1335"/>
                      <a:pt x="1969" y="1335"/>
                    </a:cubicBezTo>
                    <a:cubicBezTo>
                      <a:pt x="1969" y="1333"/>
                      <a:pt x="1969" y="1333"/>
                      <a:pt x="1969" y="1333"/>
                    </a:cubicBezTo>
                    <a:cubicBezTo>
                      <a:pt x="1969" y="1330"/>
                      <a:pt x="1969" y="1330"/>
                      <a:pt x="1969" y="1330"/>
                    </a:cubicBezTo>
                    <a:cubicBezTo>
                      <a:pt x="1970" y="1329"/>
                      <a:pt x="1970" y="1329"/>
                      <a:pt x="1970" y="1329"/>
                    </a:cubicBezTo>
                    <a:cubicBezTo>
                      <a:pt x="1970" y="1325"/>
                      <a:pt x="1970" y="1325"/>
                      <a:pt x="1970" y="1325"/>
                    </a:cubicBezTo>
                    <a:cubicBezTo>
                      <a:pt x="1969" y="1322"/>
                      <a:pt x="1969" y="1322"/>
                      <a:pt x="1969" y="1322"/>
                    </a:cubicBezTo>
                    <a:cubicBezTo>
                      <a:pt x="1967" y="1320"/>
                      <a:pt x="1967" y="1320"/>
                      <a:pt x="1967" y="1320"/>
                    </a:cubicBezTo>
                    <a:cubicBezTo>
                      <a:pt x="1967" y="1314"/>
                      <a:pt x="1967" y="1314"/>
                      <a:pt x="1967" y="1314"/>
                    </a:cubicBezTo>
                    <a:cubicBezTo>
                      <a:pt x="1967" y="1311"/>
                      <a:pt x="1967" y="1311"/>
                      <a:pt x="1967" y="1311"/>
                    </a:cubicBezTo>
                    <a:cubicBezTo>
                      <a:pt x="1966" y="1307"/>
                      <a:pt x="1966" y="1307"/>
                      <a:pt x="1966" y="1307"/>
                    </a:cubicBezTo>
                    <a:cubicBezTo>
                      <a:pt x="1966" y="1303"/>
                      <a:pt x="1966" y="1303"/>
                      <a:pt x="1966" y="1303"/>
                    </a:cubicBezTo>
                    <a:cubicBezTo>
                      <a:pt x="1964" y="1300"/>
                      <a:pt x="1964" y="1300"/>
                      <a:pt x="1964" y="1300"/>
                    </a:cubicBezTo>
                    <a:cubicBezTo>
                      <a:pt x="1963" y="1298"/>
                      <a:pt x="1963" y="1298"/>
                      <a:pt x="1963" y="1298"/>
                    </a:cubicBezTo>
                    <a:cubicBezTo>
                      <a:pt x="1962" y="1295"/>
                      <a:pt x="1962" y="1295"/>
                      <a:pt x="1962" y="1295"/>
                    </a:cubicBezTo>
                    <a:cubicBezTo>
                      <a:pt x="1957" y="1288"/>
                      <a:pt x="1957" y="1288"/>
                      <a:pt x="1957" y="1288"/>
                    </a:cubicBezTo>
                    <a:cubicBezTo>
                      <a:pt x="1956" y="1285"/>
                      <a:pt x="1956" y="1285"/>
                      <a:pt x="1956" y="1285"/>
                    </a:cubicBezTo>
                    <a:cubicBezTo>
                      <a:pt x="1957" y="1283"/>
                      <a:pt x="1957" y="1283"/>
                      <a:pt x="1957" y="1283"/>
                    </a:cubicBezTo>
                    <a:cubicBezTo>
                      <a:pt x="1959" y="1282"/>
                      <a:pt x="1959" y="1282"/>
                      <a:pt x="1959" y="1282"/>
                    </a:cubicBezTo>
                    <a:cubicBezTo>
                      <a:pt x="1961" y="1282"/>
                      <a:pt x="1961" y="1282"/>
                      <a:pt x="1961" y="1282"/>
                    </a:cubicBezTo>
                    <a:cubicBezTo>
                      <a:pt x="1963" y="1279"/>
                      <a:pt x="1963" y="1279"/>
                      <a:pt x="1963" y="1279"/>
                    </a:cubicBezTo>
                    <a:cubicBezTo>
                      <a:pt x="1964" y="1277"/>
                      <a:pt x="1964" y="1277"/>
                      <a:pt x="1964" y="1277"/>
                    </a:cubicBezTo>
                    <a:cubicBezTo>
                      <a:pt x="1968" y="1272"/>
                      <a:pt x="1968" y="1272"/>
                      <a:pt x="1968" y="1272"/>
                    </a:cubicBezTo>
                    <a:cubicBezTo>
                      <a:pt x="1969" y="1271"/>
                      <a:pt x="1969" y="1271"/>
                      <a:pt x="1969" y="1271"/>
                    </a:cubicBezTo>
                    <a:cubicBezTo>
                      <a:pt x="1972" y="1272"/>
                      <a:pt x="1972" y="1272"/>
                      <a:pt x="1972" y="1272"/>
                    </a:cubicBezTo>
                    <a:cubicBezTo>
                      <a:pt x="1975" y="1273"/>
                      <a:pt x="1975" y="1273"/>
                      <a:pt x="1975" y="1273"/>
                    </a:cubicBezTo>
                    <a:cubicBezTo>
                      <a:pt x="1987" y="1275"/>
                      <a:pt x="1987" y="1275"/>
                      <a:pt x="1987" y="1275"/>
                    </a:cubicBezTo>
                    <a:cubicBezTo>
                      <a:pt x="1989" y="1276"/>
                      <a:pt x="1989" y="1276"/>
                      <a:pt x="1989" y="1276"/>
                    </a:cubicBezTo>
                    <a:cubicBezTo>
                      <a:pt x="1991" y="1276"/>
                      <a:pt x="1991" y="1276"/>
                      <a:pt x="1991" y="1276"/>
                    </a:cubicBezTo>
                    <a:cubicBezTo>
                      <a:pt x="1992" y="1274"/>
                      <a:pt x="1992" y="1274"/>
                      <a:pt x="1992" y="1274"/>
                    </a:cubicBezTo>
                    <a:cubicBezTo>
                      <a:pt x="1992" y="1271"/>
                      <a:pt x="1992" y="1271"/>
                      <a:pt x="1992" y="1271"/>
                    </a:cubicBezTo>
                    <a:cubicBezTo>
                      <a:pt x="1991" y="1269"/>
                      <a:pt x="1991" y="1269"/>
                      <a:pt x="1991" y="1269"/>
                    </a:cubicBezTo>
                    <a:cubicBezTo>
                      <a:pt x="1990" y="1267"/>
                      <a:pt x="1990" y="1267"/>
                      <a:pt x="1990" y="1267"/>
                    </a:cubicBezTo>
                    <a:cubicBezTo>
                      <a:pt x="1991" y="1266"/>
                      <a:pt x="1991" y="1266"/>
                      <a:pt x="1991" y="1266"/>
                    </a:cubicBezTo>
                    <a:cubicBezTo>
                      <a:pt x="1990" y="1264"/>
                      <a:pt x="1990" y="1264"/>
                      <a:pt x="1990" y="1264"/>
                    </a:cubicBezTo>
                    <a:cubicBezTo>
                      <a:pt x="1990" y="1262"/>
                      <a:pt x="1990" y="1262"/>
                      <a:pt x="1990" y="1262"/>
                    </a:cubicBezTo>
                    <a:cubicBezTo>
                      <a:pt x="1992" y="1258"/>
                      <a:pt x="1992" y="1258"/>
                      <a:pt x="1992" y="1258"/>
                    </a:cubicBezTo>
                    <a:cubicBezTo>
                      <a:pt x="1993" y="1257"/>
                      <a:pt x="1993" y="1257"/>
                      <a:pt x="1993" y="1257"/>
                    </a:cubicBezTo>
                    <a:cubicBezTo>
                      <a:pt x="1992" y="1254"/>
                      <a:pt x="1992" y="1254"/>
                      <a:pt x="1992" y="1254"/>
                    </a:cubicBezTo>
                    <a:cubicBezTo>
                      <a:pt x="1991" y="1252"/>
                      <a:pt x="1991" y="1252"/>
                      <a:pt x="1991" y="1252"/>
                    </a:cubicBezTo>
                    <a:cubicBezTo>
                      <a:pt x="1992" y="1251"/>
                      <a:pt x="1992" y="1251"/>
                      <a:pt x="1992" y="1251"/>
                    </a:cubicBezTo>
                    <a:cubicBezTo>
                      <a:pt x="1994" y="1250"/>
                      <a:pt x="1994" y="1250"/>
                      <a:pt x="1994" y="1250"/>
                    </a:cubicBezTo>
                    <a:cubicBezTo>
                      <a:pt x="1993" y="1248"/>
                      <a:pt x="1993" y="1248"/>
                      <a:pt x="1993" y="1248"/>
                    </a:cubicBezTo>
                    <a:cubicBezTo>
                      <a:pt x="1993" y="1246"/>
                      <a:pt x="1993" y="1246"/>
                      <a:pt x="1993" y="1246"/>
                    </a:cubicBezTo>
                    <a:cubicBezTo>
                      <a:pt x="1992" y="1244"/>
                      <a:pt x="1992" y="1244"/>
                      <a:pt x="1992" y="1244"/>
                    </a:cubicBezTo>
                    <a:cubicBezTo>
                      <a:pt x="1993" y="1241"/>
                      <a:pt x="1993" y="1241"/>
                      <a:pt x="1993" y="1241"/>
                    </a:cubicBezTo>
                    <a:cubicBezTo>
                      <a:pt x="1995" y="1240"/>
                      <a:pt x="1995" y="1240"/>
                      <a:pt x="1995" y="1240"/>
                    </a:cubicBezTo>
                    <a:cubicBezTo>
                      <a:pt x="1995" y="1239"/>
                      <a:pt x="1995" y="1239"/>
                      <a:pt x="1995" y="1239"/>
                    </a:cubicBezTo>
                    <a:cubicBezTo>
                      <a:pt x="1994" y="1237"/>
                      <a:pt x="1994" y="1237"/>
                      <a:pt x="1994" y="1237"/>
                    </a:cubicBezTo>
                    <a:cubicBezTo>
                      <a:pt x="1992" y="1233"/>
                      <a:pt x="1992" y="1233"/>
                      <a:pt x="1992" y="1233"/>
                    </a:cubicBezTo>
                    <a:cubicBezTo>
                      <a:pt x="1992" y="1228"/>
                      <a:pt x="1992" y="1228"/>
                      <a:pt x="1992" y="1228"/>
                    </a:cubicBezTo>
                    <a:cubicBezTo>
                      <a:pt x="1993" y="1228"/>
                      <a:pt x="1993" y="1228"/>
                      <a:pt x="1993" y="1228"/>
                    </a:cubicBezTo>
                    <a:cubicBezTo>
                      <a:pt x="1994" y="1227"/>
                      <a:pt x="1994" y="1227"/>
                      <a:pt x="1994" y="1227"/>
                    </a:cubicBezTo>
                    <a:cubicBezTo>
                      <a:pt x="1994" y="1226"/>
                      <a:pt x="1994" y="1226"/>
                      <a:pt x="1994" y="1226"/>
                    </a:cubicBezTo>
                    <a:cubicBezTo>
                      <a:pt x="1993" y="1224"/>
                      <a:pt x="1993" y="1224"/>
                      <a:pt x="1993" y="1224"/>
                    </a:cubicBezTo>
                    <a:cubicBezTo>
                      <a:pt x="1993" y="1222"/>
                      <a:pt x="1993" y="1222"/>
                      <a:pt x="1993" y="1222"/>
                    </a:cubicBezTo>
                    <a:cubicBezTo>
                      <a:pt x="1991" y="1221"/>
                      <a:pt x="1991" y="1221"/>
                      <a:pt x="1991" y="1221"/>
                    </a:cubicBezTo>
                    <a:cubicBezTo>
                      <a:pt x="1990" y="1220"/>
                      <a:pt x="1990" y="1220"/>
                      <a:pt x="1990" y="1220"/>
                    </a:cubicBezTo>
                    <a:cubicBezTo>
                      <a:pt x="1991" y="1217"/>
                      <a:pt x="1991" y="1217"/>
                      <a:pt x="1991" y="1217"/>
                    </a:cubicBezTo>
                    <a:cubicBezTo>
                      <a:pt x="1992" y="1214"/>
                      <a:pt x="1992" y="1214"/>
                      <a:pt x="1992" y="1214"/>
                    </a:cubicBezTo>
                    <a:cubicBezTo>
                      <a:pt x="1991" y="1213"/>
                      <a:pt x="1991" y="1213"/>
                      <a:pt x="1991" y="1213"/>
                    </a:cubicBezTo>
                    <a:cubicBezTo>
                      <a:pt x="1989" y="1211"/>
                      <a:pt x="1989" y="1211"/>
                      <a:pt x="1989" y="1211"/>
                    </a:cubicBezTo>
                    <a:cubicBezTo>
                      <a:pt x="1989" y="1209"/>
                      <a:pt x="1989" y="1209"/>
                      <a:pt x="1989" y="1209"/>
                    </a:cubicBezTo>
                    <a:cubicBezTo>
                      <a:pt x="1992" y="1206"/>
                      <a:pt x="1992" y="1206"/>
                      <a:pt x="1992" y="1206"/>
                    </a:cubicBezTo>
                    <a:cubicBezTo>
                      <a:pt x="1995" y="1205"/>
                      <a:pt x="1995" y="1205"/>
                      <a:pt x="1995" y="1205"/>
                    </a:cubicBezTo>
                    <a:cubicBezTo>
                      <a:pt x="1995" y="1204"/>
                      <a:pt x="1995" y="1204"/>
                      <a:pt x="1995" y="1204"/>
                    </a:cubicBezTo>
                    <a:cubicBezTo>
                      <a:pt x="1996" y="1201"/>
                      <a:pt x="1996" y="1201"/>
                      <a:pt x="1996" y="1201"/>
                    </a:cubicBezTo>
                    <a:cubicBezTo>
                      <a:pt x="1996" y="1197"/>
                      <a:pt x="1996" y="1197"/>
                      <a:pt x="1996" y="1197"/>
                    </a:cubicBezTo>
                    <a:cubicBezTo>
                      <a:pt x="1994" y="1195"/>
                      <a:pt x="1994" y="1195"/>
                      <a:pt x="1994" y="1195"/>
                    </a:cubicBezTo>
                    <a:cubicBezTo>
                      <a:pt x="1992" y="1194"/>
                      <a:pt x="1992" y="1194"/>
                      <a:pt x="1992" y="1194"/>
                    </a:cubicBezTo>
                    <a:cubicBezTo>
                      <a:pt x="1992" y="1191"/>
                      <a:pt x="1992" y="1191"/>
                      <a:pt x="1992" y="1191"/>
                    </a:cubicBezTo>
                    <a:cubicBezTo>
                      <a:pt x="1989" y="1188"/>
                      <a:pt x="1989" y="1188"/>
                      <a:pt x="1989" y="1188"/>
                    </a:cubicBezTo>
                    <a:cubicBezTo>
                      <a:pt x="1988" y="1186"/>
                      <a:pt x="1988" y="1186"/>
                      <a:pt x="1988" y="1186"/>
                    </a:cubicBezTo>
                    <a:cubicBezTo>
                      <a:pt x="1990" y="1184"/>
                      <a:pt x="1990" y="1184"/>
                      <a:pt x="1990" y="1184"/>
                    </a:cubicBezTo>
                    <a:cubicBezTo>
                      <a:pt x="1988" y="1181"/>
                      <a:pt x="1988" y="1181"/>
                      <a:pt x="1988" y="1181"/>
                    </a:cubicBezTo>
                    <a:cubicBezTo>
                      <a:pt x="1987" y="1179"/>
                      <a:pt x="1987" y="1179"/>
                      <a:pt x="1987" y="1179"/>
                    </a:cubicBezTo>
                    <a:cubicBezTo>
                      <a:pt x="1984" y="1178"/>
                      <a:pt x="1984" y="1178"/>
                      <a:pt x="1984" y="1178"/>
                    </a:cubicBezTo>
                    <a:cubicBezTo>
                      <a:pt x="1982" y="1177"/>
                      <a:pt x="1982" y="1177"/>
                      <a:pt x="1982" y="1177"/>
                    </a:cubicBezTo>
                    <a:cubicBezTo>
                      <a:pt x="1978" y="1176"/>
                      <a:pt x="1978" y="1176"/>
                      <a:pt x="1978" y="1176"/>
                    </a:cubicBezTo>
                    <a:cubicBezTo>
                      <a:pt x="1976" y="1177"/>
                      <a:pt x="1976" y="1177"/>
                      <a:pt x="1976" y="1177"/>
                    </a:cubicBezTo>
                    <a:cubicBezTo>
                      <a:pt x="1973" y="1178"/>
                      <a:pt x="1973" y="1178"/>
                      <a:pt x="1973" y="1178"/>
                    </a:cubicBezTo>
                    <a:cubicBezTo>
                      <a:pt x="1971" y="1180"/>
                      <a:pt x="1971" y="1180"/>
                      <a:pt x="1971" y="1180"/>
                    </a:cubicBezTo>
                    <a:cubicBezTo>
                      <a:pt x="1970" y="1182"/>
                      <a:pt x="1970" y="1182"/>
                      <a:pt x="1970" y="1182"/>
                    </a:cubicBezTo>
                    <a:cubicBezTo>
                      <a:pt x="1968" y="1183"/>
                      <a:pt x="1968" y="1183"/>
                      <a:pt x="1968" y="1183"/>
                    </a:cubicBezTo>
                    <a:cubicBezTo>
                      <a:pt x="1966" y="1183"/>
                      <a:pt x="1966" y="1183"/>
                      <a:pt x="1966" y="1183"/>
                    </a:cubicBezTo>
                    <a:cubicBezTo>
                      <a:pt x="1965" y="1187"/>
                      <a:pt x="1965" y="1187"/>
                      <a:pt x="1965" y="1187"/>
                    </a:cubicBezTo>
                    <a:cubicBezTo>
                      <a:pt x="1961" y="1187"/>
                      <a:pt x="1961" y="1187"/>
                      <a:pt x="1961" y="1187"/>
                    </a:cubicBezTo>
                    <a:cubicBezTo>
                      <a:pt x="1959" y="1188"/>
                      <a:pt x="1959" y="1188"/>
                      <a:pt x="1959" y="1188"/>
                    </a:cubicBezTo>
                    <a:cubicBezTo>
                      <a:pt x="1958" y="1190"/>
                      <a:pt x="1958" y="1190"/>
                      <a:pt x="1958" y="1190"/>
                    </a:cubicBezTo>
                    <a:cubicBezTo>
                      <a:pt x="1958" y="1193"/>
                      <a:pt x="1958" y="1193"/>
                      <a:pt x="1958" y="1193"/>
                    </a:cubicBezTo>
                    <a:cubicBezTo>
                      <a:pt x="1955" y="1194"/>
                      <a:pt x="1955" y="1194"/>
                      <a:pt x="1955" y="1194"/>
                    </a:cubicBezTo>
                    <a:cubicBezTo>
                      <a:pt x="1954" y="1198"/>
                      <a:pt x="1954" y="1198"/>
                      <a:pt x="1954" y="1198"/>
                    </a:cubicBezTo>
                    <a:cubicBezTo>
                      <a:pt x="1955" y="1200"/>
                      <a:pt x="1955" y="1200"/>
                      <a:pt x="1955" y="1200"/>
                    </a:cubicBezTo>
                    <a:cubicBezTo>
                      <a:pt x="1953" y="1201"/>
                      <a:pt x="1953" y="1201"/>
                      <a:pt x="1953" y="1201"/>
                    </a:cubicBezTo>
                    <a:cubicBezTo>
                      <a:pt x="1950" y="1203"/>
                      <a:pt x="1950" y="1203"/>
                      <a:pt x="1950" y="1203"/>
                    </a:cubicBezTo>
                    <a:cubicBezTo>
                      <a:pt x="1945" y="1204"/>
                      <a:pt x="1945" y="1204"/>
                      <a:pt x="1945" y="1204"/>
                    </a:cubicBezTo>
                    <a:cubicBezTo>
                      <a:pt x="1943" y="1204"/>
                      <a:pt x="1943" y="1204"/>
                      <a:pt x="1943" y="1204"/>
                    </a:cubicBezTo>
                    <a:cubicBezTo>
                      <a:pt x="1940" y="1204"/>
                      <a:pt x="1940" y="1204"/>
                      <a:pt x="1940" y="1204"/>
                    </a:cubicBezTo>
                    <a:cubicBezTo>
                      <a:pt x="1939" y="1205"/>
                      <a:pt x="1939" y="1205"/>
                      <a:pt x="1939" y="1205"/>
                    </a:cubicBezTo>
                    <a:cubicBezTo>
                      <a:pt x="1936" y="1206"/>
                      <a:pt x="1936" y="1206"/>
                      <a:pt x="1936" y="1206"/>
                    </a:cubicBezTo>
                    <a:cubicBezTo>
                      <a:pt x="1935" y="1204"/>
                      <a:pt x="1935" y="1204"/>
                      <a:pt x="1935" y="1204"/>
                    </a:cubicBezTo>
                    <a:cubicBezTo>
                      <a:pt x="1934" y="1201"/>
                      <a:pt x="1934" y="1201"/>
                      <a:pt x="1934" y="1201"/>
                    </a:cubicBezTo>
                    <a:cubicBezTo>
                      <a:pt x="1931" y="1201"/>
                      <a:pt x="1931" y="1201"/>
                      <a:pt x="1931" y="1201"/>
                    </a:cubicBezTo>
                    <a:cubicBezTo>
                      <a:pt x="1928" y="1203"/>
                      <a:pt x="1928" y="1203"/>
                      <a:pt x="1928" y="1203"/>
                    </a:cubicBezTo>
                    <a:cubicBezTo>
                      <a:pt x="1925" y="1204"/>
                      <a:pt x="1925" y="1204"/>
                      <a:pt x="1925" y="1204"/>
                    </a:cubicBezTo>
                    <a:cubicBezTo>
                      <a:pt x="1924" y="1202"/>
                      <a:pt x="1924" y="1202"/>
                      <a:pt x="1924" y="1202"/>
                    </a:cubicBezTo>
                    <a:cubicBezTo>
                      <a:pt x="1921" y="1198"/>
                      <a:pt x="1921" y="1198"/>
                      <a:pt x="1921" y="1198"/>
                    </a:cubicBezTo>
                    <a:cubicBezTo>
                      <a:pt x="1920" y="1197"/>
                      <a:pt x="1920" y="1197"/>
                      <a:pt x="1920" y="1197"/>
                    </a:cubicBezTo>
                    <a:cubicBezTo>
                      <a:pt x="1916" y="1193"/>
                      <a:pt x="1916" y="1193"/>
                      <a:pt x="1916" y="1193"/>
                    </a:cubicBezTo>
                    <a:cubicBezTo>
                      <a:pt x="1916" y="1190"/>
                      <a:pt x="1916" y="1190"/>
                      <a:pt x="1916" y="1190"/>
                    </a:cubicBezTo>
                    <a:cubicBezTo>
                      <a:pt x="1917" y="1189"/>
                      <a:pt x="1917" y="1189"/>
                      <a:pt x="1917" y="1189"/>
                    </a:cubicBezTo>
                    <a:cubicBezTo>
                      <a:pt x="1917" y="1186"/>
                      <a:pt x="1917" y="1186"/>
                      <a:pt x="1917" y="1186"/>
                    </a:cubicBezTo>
                    <a:cubicBezTo>
                      <a:pt x="1916" y="1183"/>
                      <a:pt x="1916" y="1183"/>
                      <a:pt x="1916" y="1183"/>
                    </a:cubicBezTo>
                    <a:cubicBezTo>
                      <a:pt x="1915" y="1179"/>
                      <a:pt x="1915" y="1179"/>
                      <a:pt x="1915" y="1179"/>
                    </a:cubicBezTo>
                    <a:cubicBezTo>
                      <a:pt x="1912" y="1179"/>
                      <a:pt x="1912" y="1179"/>
                      <a:pt x="1912" y="1179"/>
                    </a:cubicBezTo>
                    <a:cubicBezTo>
                      <a:pt x="1912" y="1177"/>
                      <a:pt x="1912" y="1177"/>
                      <a:pt x="1912" y="1177"/>
                    </a:cubicBezTo>
                    <a:cubicBezTo>
                      <a:pt x="1912" y="1175"/>
                      <a:pt x="1912" y="1175"/>
                      <a:pt x="1912" y="1175"/>
                    </a:cubicBezTo>
                    <a:cubicBezTo>
                      <a:pt x="1913" y="1172"/>
                      <a:pt x="1913" y="1172"/>
                      <a:pt x="1913" y="1172"/>
                    </a:cubicBezTo>
                    <a:cubicBezTo>
                      <a:pt x="1914" y="1170"/>
                      <a:pt x="1914" y="1170"/>
                      <a:pt x="1914" y="1170"/>
                    </a:cubicBezTo>
                    <a:cubicBezTo>
                      <a:pt x="1912" y="1169"/>
                      <a:pt x="1912" y="1169"/>
                      <a:pt x="1912" y="1169"/>
                    </a:cubicBezTo>
                    <a:cubicBezTo>
                      <a:pt x="1911" y="1170"/>
                      <a:pt x="1911" y="1170"/>
                      <a:pt x="1911" y="1170"/>
                    </a:cubicBezTo>
                    <a:cubicBezTo>
                      <a:pt x="1909" y="1171"/>
                      <a:pt x="1909" y="1171"/>
                      <a:pt x="1909" y="1171"/>
                    </a:cubicBezTo>
                    <a:cubicBezTo>
                      <a:pt x="1907" y="1171"/>
                      <a:pt x="1907" y="1171"/>
                      <a:pt x="1907" y="1171"/>
                    </a:cubicBezTo>
                    <a:cubicBezTo>
                      <a:pt x="1905" y="1172"/>
                      <a:pt x="1905" y="1172"/>
                      <a:pt x="1905" y="1172"/>
                    </a:cubicBezTo>
                    <a:cubicBezTo>
                      <a:pt x="1902" y="1172"/>
                      <a:pt x="1902" y="1172"/>
                      <a:pt x="1902" y="1172"/>
                    </a:cubicBezTo>
                    <a:cubicBezTo>
                      <a:pt x="1900" y="1170"/>
                      <a:pt x="1900" y="1170"/>
                      <a:pt x="1900" y="1170"/>
                    </a:cubicBezTo>
                    <a:cubicBezTo>
                      <a:pt x="1898" y="1170"/>
                      <a:pt x="1898" y="1170"/>
                      <a:pt x="1898" y="1170"/>
                    </a:cubicBezTo>
                    <a:cubicBezTo>
                      <a:pt x="1897" y="1169"/>
                      <a:pt x="1897" y="1169"/>
                      <a:pt x="1897" y="1169"/>
                    </a:cubicBezTo>
                    <a:cubicBezTo>
                      <a:pt x="1893" y="1167"/>
                      <a:pt x="1893" y="1167"/>
                      <a:pt x="1893" y="1167"/>
                    </a:cubicBezTo>
                    <a:cubicBezTo>
                      <a:pt x="1893" y="1165"/>
                      <a:pt x="1893" y="1165"/>
                      <a:pt x="1893" y="1165"/>
                    </a:cubicBezTo>
                    <a:cubicBezTo>
                      <a:pt x="1891" y="1164"/>
                      <a:pt x="1891" y="1164"/>
                      <a:pt x="1891" y="1164"/>
                    </a:cubicBezTo>
                    <a:cubicBezTo>
                      <a:pt x="1890" y="1164"/>
                      <a:pt x="1890" y="1164"/>
                      <a:pt x="1890" y="1164"/>
                    </a:cubicBezTo>
                    <a:cubicBezTo>
                      <a:pt x="1888" y="1162"/>
                      <a:pt x="1888" y="1162"/>
                      <a:pt x="1888" y="1162"/>
                    </a:cubicBezTo>
                    <a:cubicBezTo>
                      <a:pt x="1887" y="1160"/>
                      <a:pt x="1887" y="1160"/>
                      <a:pt x="1887" y="1160"/>
                    </a:cubicBezTo>
                    <a:cubicBezTo>
                      <a:pt x="1885" y="1160"/>
                      <a:pt x="1885" y="1160"/>
                      <a:pt x="1885" y="1160"/>
                    </a:cubicBezTo>
                    <a:cubicBezTo>
                      <a:pt x="1883" y="1158"/>
                      <a:pt x="1883" y="1158"/>
                      <a:pt x="1883" y="1158"/>
                    </a:cubicBezTo>
                    <a:cubicBezTo>
                      <a:pt x="1882" y="1156"/>
                      <a:pt x="1882" y="1156"/>
                      <a:pt x="1882" y="1156"/>
                    </a:cubicBezTo>
                    <a:cubicBezTo>
                      <a:pt x="1881" y="1154"/>
                      <a:pt x="1881" y="1154"/>
                      <a:pt x="1881" y="1154"/>
                    </a:cubicBezTo>
                    <a:cubicBezTo>
                      <a:pt x="1879" y="1155"/>
                      <a:pt x="1879" y="1155"/>
                      <a:pt x="1879" y="1155"/>
                    </a:cubicBezTo>
                    <a:cubicBezTo>
                      <a:pt x="1878" y="1157"/>
                      <a:pt x="1878" y="1157"/>
                      <a:pt x="1878" y="1157"/>
                    </a:cubicBezTo>
                    <a:cubicBezTo>
                      <a:pt x="1876" y="1156"/>
                      <a:pt x="1876" y="1156"/>
                      <a:pt x="1876" y="1156"/>
                    </a:cubicBezTo>
                    <a:cubicBezTo>
                      <a:pt x="1874" y="1157"/>
                      <a:pt x="1874" y="1157"/>
                      <a:pt x="1874" y="1157"/>
                    </a:cubicBezTo>
                    <a:cubicBezTo>
                      <a:pt x="1874" y="1159"/>
                      <a:pt x="1874" y="1159"/>
                      <a:pt x="1874" y="1159"/>
                    </a:cubicBezTo>
                    <a:cubicBezTo>
                      <a:pt x="1871" y="1157"/>
                      <a:pt x="1871" y="1157"/>
                      <a:pt x="1871" y="1157"/>
                    </a:cubicBezTo>
                    <a:cubicBezTo>
                      <a:pt x="1870" y="1156"/>
                      <a:pt x="1870" y="1156"/>
                      <a:pt x="1870" y="1156"/>
                    </a:cubicBezTo>
                    <a:cubicBezTo>
                      <a:pt x="1868" y="1155"/>
                      <a:pt x="1868" y="1155"/>
                      <a:pt x="1868" y="1155"/>
                    </a:cubicBezTo>
                    <a:cubicBezTo>
                      <a:pt x="1864" y="1154"/>
                      <a:pt x="1864" y="1154"/>
                      <a:pt x="1864" y="1154"/>
                    </a:cubicBezTo>
                    <a:cubicBezTo>
                      <a:pt x="1863" y="1153"/>
                      <a:pt x="1863" y="1153"/>
                      <a:pt x="1863" y="1153"/>
                    </a:cubicBezTo>
                    <a:cubicBezTo>
                      <a:pt x="1864" y="1152"/>
                      <a:pt x="1864" y="1152"/>
                      <a:pt x="1864" y="1152"/>
                    </a:cubicBezTo>
                    <a:cubicBezTo>
                      <a:pt x="1864" y="1151"/>
                      <a:pt x="1864" y="1151"/>
                      <a:pt x="1864" y="1151"/>
                    </a:cubicBezTo>
                    <a:cubicBezTo>
                      <a:pt x="1861" y="1151"/>
                      <a:pt x="1861" y="1151"/>
                      <a:pt x="1861" y="1151"/>
                    </a:cubicBezTo>
                    <a:cubicBezTo>
                      <a:pt x="1859" y="1152"/>
                      <a:pt x="1859" y="1152"/>
                      <a:pt x="1859" y="1152"/>
                    </a:cubicBezTo>
                    <a:cubicBezTo>
                      <a:pt x="1855" y="1152"/>
                      <a:pt x="1855" y="1152"/>
                      <a:pt x="1855" y="1152"/>
                    </a:cubicBezTo>
                    <a:cubicBezTo>
                      <a:pt x="1854" y="1153"/>
                      <a:pt x="1854" y="1153"/>
                      <a:pt x="1854" y="1153"/>
                    </a:cubicBezTo>
                    <a:cubicBezTo>
                      <a:pt x="1852" y="1151"/>
                      <a:pt x="1852" y="1151"/>
                      <a:pt x="1852" y="1151"/>
                    </a:cubicBezTo>
                    <a:cubicBezTo>
                      <a:pt x="1850" y="1152"/>
                      <a:pt x="1850" y="1152"/>
                      <a:pt x="1850" y="1152"/>
                    </a:cubicBezTo>
                    <a:cubicBezTo>
                      <a:pt x="1847" y="1152"/>
                      <a:pt x="1847" y="1152"/>
                      <a:pt x="1847" y="1152"/>
                    </a:cubicBezTo>
                    <a:cubicBezTo>
                      <a:pt x="1846" y="1149"/>
                      <a:pt x="1846" y="1149"/>
                      <a:pt x="1846" y="1149"/>
                    </a:cubicBezTo>
                    <a:cubicBezTo>
                      <a:pt x="1843" y="1148"/>
                      <a:pt x="1843" y="1148"/>
                      <a:pt x="1843" y="1148"/>
                    </a:cubicBezTo>
                    <a:cubicBezTo>
                      <a:pt x="1839" y="1144"/>
                      <a:pt x="1839" y="1144"/>
                      <a:pt x="1839" y="1144"/>
                    </a:cubicBezTo>
                    <a:cubicBezTo>
                      <a:pt x="1837" y="1140"/>
                      <a:pt x="1837" y="1140"/>
                      <a:pt x="1837" y="1140"/>
                    </a:cubicBezTo>
                    <a:cubicBezTo>
                      <a:pt x="1837" y="1138"/>
                      <a:pt x="1837" y="1138"/>
                      <a:pt x="1837" y="1138"/>
                    </a:cubicBezTo>
                    <a:cubicBezTo>
                      <a:pt x="1836" y="1135"/>
                      <a:pt x="1836" y="1135"/>
                      <a:pt x="1836" y="1135"/>
                    </a:cubicBezTo>
                    <a:cubicBezTo>
                      <a:pt x="1834" y="1134"/>
                      <a:pt x="1834" y="1134"/>
                      <a:pt x="1834" y="1134"/>
                    </a:cubicBezTo>
                    <a:cubicBezTo>
                      <a:pt x="1832" y="1133"/>
                      <a:pt x="1832" y="1133"/>
                      <a:pt x="1832" y="1133"/>
                    </a:cubicBezTo>
                    <a:cubicBezTo>
                      <a:pt x="1832" y="1129"/>
                      <a:pt x="1832" y="1129"/>
                      <a:pt x="1832" y="1129"/>
                    </a:cubicBezTo>
                    <a:cubicBezTo>
                      <a:pt x="1830" y="1128"/>
                      <a:pt x="1830" y="1128"/>
                      <a:pt x="1830" y="1128"/>
                    </a:cubicBezTo>
                    <a:cubicBezTo>
                      <a:pt x="1829" y="1124"/>
                      <a:pt x="1829" y="1124"/>
                      <a:pt x="1829" y="1124"/>
                    </a:cubicBezTo>
                    <a:cubicBezTo>
                      <a:pt x="1828" y="1121"/>
                      <a:pt x="1828" y="1121"/>
                      <a:pt x="1828" y="1121"/>
                    </a:cubicBezTo>
                    <a:cubicBezTo>
                      <a:pt x="1821" y="1117"/>
                      <a:pt x="1821" y="1117"/>
                      <a:pt x="1821" y="1117"/>
                    </a:cubicBezTo>
                    <a:cubicBezTo>
                      <a:pt x="1818" y="1112"/>
                      <a:pt x="1818" y="1112"/>
                      <a:pt x="1818" y="1112"/>
                    </a:cubicBezTo>
                    <a:cubicBezTo>
                      <a:pt x="1817" y="1110"/>
                      <a:pt x="1817" y="1110"/>
                      <a:pt x="1817" y="1110"/>
                    </a:cubicBezTo>
                    <a:cubicBezTo>
                      <a:pt x="1815" y="1107"/>
                      <a:pt x="1815" y="1107"/>
                      <a:pt x="1815" y="1107"/>
                    </a:cubicBezTo>
                    <a:cubicBezTo>
                      <a:pt x="1813" y="1108"/>
                      <a:pt x="1813" y="1108"/>
                      <a:pt x="1813" y="1108"/>
                    </a:cubicBezTo>
                    <a:cubicBezTo>
                      <a:pt x="1812" y="1107"/>
                      <a:pt x="1812" y="1107"/>
                      <a:pt x="1812" y="1107"/>
                    </a:cubicBezTo>
                    <a:cubicBezTo>
                      <a:pt x="1813" y="1105"/>
                      <a:pt x="1813" y="1105"/>
                      <a:pt x="1813" y="1105"/>
                    </a:cubicBezTo>
                    <a:cubicBezTo>
                      <a:pt x="1813" y="1103"/>
                      <a:pt x="1813" y="1103"/>
                      <a:pt x="1813" y="1103"/>
                    </a:cubicBezTo>
                    <a:cubicBezTo>
                      <a:pt x="1811" y="1102"/>
                      <a:pt x="1811" y="1102"/>
                      <a:pt x="1811" y="1102"/>
                    </a:cubicBezTo>
                    <a:cubicBezTo>
                      <a:pt x="1809" y="1098"/>
                      <a:pt x="1809" y="1098"/>
                      <a:pt x="1809" y="1098"/>
                    </a:cubicBezTo>
                    <a:cubicBezTo>
                      <a:pt x="1807" y="1097"/>
                      <a:pt x="1807" y="1097"/>
                      <a:pt x="1807" y="1097"/>
                    </a:cubicBezTo>
                    <a:cubicBezTo>
                      <a:pt x="1807" y="1095"/>
                      <a:pt x="1807" y="1095"/>
                      <a:pt x="1807" y="1095"/>
                    </a:cubicBezTo>
                    <a:cubicBezTo>
                      <a:pt x="1804" y="1092"/>
                      <a:pt x="1804" y="1092"/>
                      <a:pt x="1804" y="1092"/>
                    </a:cubicBezTo>
                    <a:cubicBezTo>
                      <a:pt x="1803" y="1089"/>
                      <a:pt x="1803" y="1089"/>
                      <a:pt x="1803" y="1089"/>
                    </a:cubicBezTo>
                    <a:cubicBezTo>
                      <a:pt x="1798" y="1086"/>
                      <a:pt x="1798" y="1086"/>
                      <a:pt x="1798" y="1086"/>
                    </a:cubicBezTo>
                    <a:cubicBezTo>
                      <a:pt x="1798" y="1084"/>
                      <a:pt x="1798" y="1084"/>
                      <a:pt x="1798" y="1084"/>
                    </a:cubicBezTo>
                    <a:cubicBezTo>
                      <a:pt x="1799" y="1082"/>
                      <a:pt x="1799" y="1082"/>
                      <a:pt x="1799" y="1082"/>
                    </a:cubicBezTo>
                    <a:cubicBezTo>
                      <a:pt x="1799" y="1080"/>
                      <a:pt x="1799" y="1080"/>
                      <a:pt x="1799" y="1080"/>
                    </a:cubicBezTo>
                    <a:cubicBezTo>
                      <a:pt x="1794" y="1079"/>
                      <a:pt x="1794" y="1079"/>
                      <a:pt x="1794" y="1079"/>
                    </a:cubicBezTo>
                    <a:cubicBezTo>
                      <a:pt x="1793" y="1078"/>
                      <a:pt x="1793" y="1078"/>
                      <a:pt x="1793" y="1078"/>
                    </a:cubicBezTo>
                    <a:cubicBezTo>
                      <a:pt x="1793" y="1076"/>
                      <a:pt x="1793" y="1076"/>
                      <a:pt x="1793" y="1076"/>
                    </a:cubicBezTo>
                    <a:cubicBezTo>
                      <a:pt x="1792" y="1074"/>
                      <a:pt x="1792" y="1074"/>
                      <a:pt x="1792" y="1074"/>
                    </a:cubicBezTo>
                    <a:cubicBezTo>
                      <a:pt x="1792" y="1072"/>
                      <a:pt x="1792" y="1072"/>
                      <a:pt x="1792" y="1072"/>
                    </a:cubicBezTo>
                    <a:cubicBezTo>
                      <a:pt x="1790" y="1070"/>
                      <a:pt x="1790" y="1070"/>
                      <a:pt x="1790" y="1070"/>
                    </a:cubicBezTo>
                    <a:cubicBezTo>
                      <a:pt x="1788" y="1069"/>
                      <a:pt x="1788" y="1069"/>
                      <a:pt x="1788" y="1069"/>
                    </a:cubicBezTo>
                    <a:cubicBezTo>
                      <a:pt x="1788" y="1067"/>
                      <a:pt x="1788" y="1067"/>
                      <a:pt x="1788" y="1067"/>
                    </a:cubicBezTo>
                    <a:cubicBezTo>
                      <a:pt x="1787" y="1066"/>
                      <a:pt x="1787" y="1066"/>
                      <a:pt x="1787" y="1066"/>
                    </a:cubicBezTo>
                    <a:cubicBezTo>
                      <a:pt x="1785" y="1066"/>
                      <a:pt x="1785" y="1066"/>
                      <a:pt x="1785" y="1066"/>
                    </a:cubicBezTo>
                    <a:cubicBezTo>
                      <a:pt x="1782" y="1065"/>
                      <a:pt x="1782" y="1065"/>
                      <a:pt x="1782" y="1065"/>
                    </a:cubicBezTo>
                    <a:cubicBezTo>
                      <a:pt x="1781" y="1063"/>
                      <a:pt x="1781" y="1063"/>
                      <a:pt x="1781" y="1063"/>
                    </a:cubicBezTo>
                    <a:cubicBezTo>
                      <a:pt x="1782" y="1062"/>
                      <a:pt x="1782" y="1062"/>
                      <a:pt x="1782" y="1062"/>
                    </a:cubicBezTo>
                    <a:cubicBezTo>
                      <a:pt x="1782" y="1060"/>
                      <a:pt x="1782" y="1060"/>
                      <a:pt x="1782" y="1060"/>
                    </a:cubicBezTo>
                    <a:cubicBezTo>
                      <a:pt x="1779" y="1059"/>
                      <a:pt x="1779" y="1059"/>
                      <a:pt x="1779" y="1059"/>
                    </a:cubicBezTo>
                    <a:cubicBezTo>
                      <a:pt x="1777" y="1061"/>
                      <a:pt x="1777" y="1061"/>
                      <a:pt x="1777" y="1061"/>
                    </a:cubicBezTo>
                    <a:cubicBezTo>
                      <a:pt x="1776" y="1059"/>
                      <a:pt x="1776" y="1059"/>
                      <a:pt x="1776" y="1059"/>
                    </a:cubicBezTo>
                    <a:cubicBezTo>
                      <a:pt x="1774" y="1059"/>
                      <a:pt x="1774" y="1059"/>
                      <a:pt x="1774" y="1059"/>
                    </a:cubicBezTo>
                    <a:cubicBezTo>
                      <a:pt x="1773" y="1057"/>
                      <a:pt x="1773" y="1057"/>
                      <a:pt x="1773" y="1057"/>
                    </a:cubicBezTo>
                    <a:cubicBezTo>
                      <a:pt x="1774" y="1056"/>
                      <a:pt x="1774" y="1056"/>
                      <a:pt x="1774" y="1056"/>
                    </a:cubicBezTo>
                    <a:cubicBezTo>
                      <a:pt x="1773" y="1054"/>
                      <a:pt x="1773" y="1054"/>
                      <a:pt x="1773" y="1054"/>
                    </a:cubicBezTo>
                    <a:cubicBezTo>
                      <a:pt x="1770" y="1053"/>
                      <a:pt x="1770" y="1053"/>
                      <a:pt x="1770" y="1053"/>
                    </a:cubicBezTo>
                    <a:cubicBezTo>
                      <a:pt x="1768" y="1053"/>
                      <a:pt x="1768" y="1053"/>
                      <a:pt x="1768" y="1053"/>
                    </a:cubicBezTo>
                    <a:cubicBezTo>
                      <a:pt x="1766" y="1051"/>
                      <a:pt x="1766" y="1051"/>
                      <a:pt x="1766" y="1051"/>
                    </a:cubicBezTo>
                    <a:cubicBezTo>
                      <a:pt x="1765" y="1052"/>
                      <a:pt x="1765" y="1052"/>
                      <a:pt x="1765" y="1052"/>
                    </a:cubicBezTo>
                    <a:cubicBezTo>
                      <a:pt x="1762" y="1052"/>
                      <a:pt x="1762" y="1052"/>
                      <a:pt x="1762" y="1052"/>
                    </a:cubicBezTo>
                    <a:cubicBezTo>
                      <a:pt x="1760" y="1051"/>
                      <a:pt x="1760" y="1051"/>
                      <a:pt x="1760" y="1051"/>
                    </a:cubicBezTo>
                    <a:cubicBezTo>
                      <a:pt x="1759" y="1052"/>
                      <a:pt x="1759" y="1052"/>
                      <a:pt x="1759" y="1052"/>
                    </a:cubicBezTo>
                    <a:cubicBezTo>
                      <a:pt x="1759" y="1054"/>
                      <a:pt x="1759" y="1054"/>
                      <a:pt x="1759" y="1054"/>
                    </a:cubicBezTo>
                    <a:cubicBezTo>
                      <a:pt x="1757" y="1055"/>
                      <a:pt x="1757" y="1055"/>
                      <a:pt x="1757" y="1055"/>
                    </a:cubicBezTo>
                    <a:cubicBezTo>
                      <a:pt x="1754" y="1053"/>
                      <a:pt x="1754" y="1053"/>
                      <a:pt x="1754" y="1053"/>
                    </a:cubicBezTo>
                    <a:cubicBezTo>
                      <a:pt x="1753" y="1052"/>
                      <a:pt x="1753" y="1052"/>
                      <a:pt x="1753" y="1052"/>
                    </a:cubicBezTo>
                    <a:cubicBezTo>
                      <a:pt x="1750" y="1053"/>
                      <a:pt x="1750" y="1053"/>
                      <a:pt x="1750" y="1053"/>
                    </a:cubicBezTo>
                    <a:cubicBezTo>
                      <a:pt x="1746" y="1053"/>
                      <a:pt x="1746" y="1053"/>
                      <a:pt x="1746" y="1053"/>
                    </a:cubicBezTo>
                    <a:cubicBezTo>
                      <a:pt x="1745" y="1051"/>
                      <a:pt x="1745" y="1051"/>
                      <a:pt x="1745" y="1051"/>
                    </a:cubicBezTo>
                    <a:cubicBezTo>
                      <a:pt x="1742" y="1049"/>
                      <a:pt x="1742" y="1049"/>
                      <a:pt x="1742" y="1049"/>
                    </a:cubicBezTo>
                    <a:cubicBezTo>
                      <a:pt x="1736" y="1049"/>
                      <a:pt x="1736" y="1049"/>
                      <a:pt x="1736" y="1049"/>
                    </a:cubicBezTo>
                    <a:cubicBezTo>
                      <a:pt x="1734" y="1047"/>
                      <a:pt x="1734" y="1047"/>
                      <a:pt x="1734" y="1047"/>
                    </a:cubicBezTo>
                    <a:cubicBezTo>
                      <a:pt x="1731" y="1047"/>
                      <a:pt x="1731" y="1047"/>
                      <a:pt x="1731" y="1047"/>
                    </a:cubicBezTo>
                    <a:cubicBezTo>
                      <a:pt x="1728" y="1046"/>
                      <a:pt x="1728" y="1046"/>
                      <a:pt x="1728" y="1046"/>
                    </a:cubicBezTo>
                    <a:cubicBezTo>
                      <a:pt x="1728" y="1047"/>
                      <a:pt x="1728" y="1047"/>
                      <a:pt x="1728" y="1047"/>
                    </a:cubicBezTo>
                    <a:cubicBezTo>
                      <a:pt x="1722" y="1047"/>
                      <a:pt x="1722" y="1047"/>
                      <a:pt x="1722" y="1047"/>
                    </a:cubicBezTo>
                    <a:cubicBezTo>
                      <a:pt x="1721" y="1050"/>
                      <a:pt x="1721" y="1050"/>
                      <a:pt x="1721" y="1050"/>
                    </a:cubicBezTo>
                    <a:cubicBezTo>
                      <a:pt x="1719" y="1050"/>
                      <a:pt x="1719" y="1050"/>
                      <a:pt x="1719" y="1050"/>
                    </a:cubicBezTo>
                    <a:cubicBezTo>
                      <a:pt x="1718" y="1052"/>
                      <a:pt x="1718" y="1052"/>
                      <a:pt x="1718" y="1052"/>
                    </a:cubicBezTo>
                    <a:cubicBezTo>
                      <a:pt x="1714" y="1052"/>
                      <a:pt x="1714" y="1052"/>
                      <a:pt x="1714" y="1052"/>
                    </a:cubicBezTo>
                    <a:cubicBezTo>
                      <a:pt x="1711" y="1052"/>
                      <a:pt x="1711" y="1052"/>
                      <a:pt x="1711" y="1052"/>
                    </a:cubicBezTo>
                    <a:cubicBezTo>
                      <a:pt x="1707" y="1051"/>
                      <a:pt x="1707" y="1051"/>
                      <a:pt x="1707" y="1051"/>
                    </a:cubicBezTo>
                    <a:cubicBezTo>
                      <a:pt x="1705" y="1054"/>
                      <a:pt x="1705" y="1054"/>
                      <a:pt x="1705" y="1054"/>
                    </a:cubicBezTo>
                    <a:cubicBezTo>
                      <a:pt x="1702" y="1054"/>
                      <a:pt x="1702" y="1054"/>
                      <a:pt x="1702" y="1054"/>
                    </a:cubicBezTo>
                    <a:cubicBezTo>
                      <a:pt x="1700" y="1056"/>
                      <a:pt x="1700" y="1056"/>
                      <a:pt x="1700" y="1056"/>
                    </a:cubicBezTo>
                    <a:cubicBezTo>
                      <a:pt x="1697" y="1058"/>
                      <a:pt x="1697" y="1058"/>
                      <a:pt x="1697" y="1058"/>
                    </a:cubicBezTo>
                    <a:cubicBezTo>
                      <a:pt x="1694" y="1057"/>
                      <a:pt x="1694" y="1057"/>
                      <a:pt x="1694" y="1057"/>
                    </a:cubicBezTo>
                    <a:cubicBezTo>
                      <a:pt x="1694" y="1058"/>
                      <a:pt x="1694" y="1058"/>
                      <a:pt x="1694" y="1058"/>
                    </a:cubicBezTo>
                    <a:cubicBezTo>
                      <a:pt x="1691" y="1058"/>
                      <a:pt x="1691" y="1058"/>
                      <a:pt x="1691" y="1058"/>
                    </a:cubicBezTo>
                    <a:cubicBezTo>
                      <a:pt x="1689" y="1059"/>
                      <a:pt x="1689" y="1059"/>
                      <a:pt x="1689" y="1059"/>
                    </a:cubicBezTo>
                    <a:cubicBezTo>
                      <a:pt x="1684" y="1060"/>
                      <a:pt x="1684" y="1060"/>
                      <a:pt x="1684" y="1060"/>
                    </a:cubicBezTo>
                    <a:cubicBezTo>
                      <a:pt x="1682" y="1061"/>
                      <a:pt x="1682" y="1061"/>
                      <a:pt x="1682" y="1061"/>
                    </a:cubicBezTo>
                    <a:cubicBezTo>
                      <a:pt x="1682" y="1064"/>
                      <a:pt x="1682" y="1064"/>
                      <a:pt x="1682" y="1064"/>
                    </a:cubicBezTo>
                    <a:cubicBezTo>
                      <a:pt x="1679" y="1067"/>
                      <a:pt x="1679" y="1067"/>
                      <a:pt x="1679" y="1067"/>
                    </a:cubicBezTo>
                    <a:cubicBezTo>
                      <a:pt x="1678" y="1070"/>
                      <a:pt x="1678" y="1070"/>
                      <a:pt x="1678" y="1070"/>
                    </a:cubicBezTo>
                    <a:cubicBezTo>
                      <a:pt x="1676" y="1072"/>
                      <a:pt x="1676" y="1072"/>
                      <a:pt x="1676" y="1072"/>
                    </a:cubicBezTo>
                    <a:cubicBezTo>
                      <a:pt x="1676" y="1074"/>
                      <a:pt x="1676" y="1074"/>
                      <a:pt x="1676" y="1074"/>
                    </a:cubicBezTo>
                    <a:cubicBezTo>
                      <a:pt x="1675" y="1076"/>
                      <a:pt x="1675" y="1076"/>
                      <a:pt x="1675" y="1076"/>
                    </a:cubicBezTo>
                    <a:cubicBezTo>
                      <a:pt x="1675" y="1080"/>
                      <a:pt x="1675" y="1080"/>
                      <a:pt x="1675" y="1080"/>
                    </a:cubicBezTo>
                    <a:cubicBezTo>
                      <a:pt x="1676" y="1082"/>
                      <a:pt x="1676" y="1082"/>
                      <a:pt x="1676" y="1082"/>
                    </a:cubicBezTo>
                    <a:cubicBezTo>
                      <a:pt x="1678" y="1082"/>
                      <a:pt x="1678" y="1082"/>
                      <a:pt x="1678" y="1082"/>
                    </a:cubicBezTo>
                    <a:cubicBezTo>
                      <a:pt x="1683" y="1079"/>
                      <a:pt x="1683" y="1079"/>
                      <a:pt x="1683" y="1079"/>
                    </a:cubicBezTo>
                    <a:cubicBezTo>
                      <a:pt x="1685" y="1078"/>
                      <a:pt x="1685" y="1078"/>
                      <a:pt x="1685" y="1078"/>
                    </a:cubicBezTo>
                    <a:cubicBezTo>
                      <a:pt x="1688" y="1079"/>
                      <a:pt x="1688" y="1079"/>
                      <a:pt x="1688" y="1079"/>
                    </a:cubicBezTo>
                    <a:cubicBezTo>
                      <a:pt x="1690" y="1083"/>
                      <a:pt x="1690" y="1083"/>
                      <a:pt x="1690" y="1083"/>
                    </a:cubicBezTo>
                    <a:cubicBezTo>
                      <a:pt x="1692" y="1087"/>
                      <a:pt x="1692" y="1087"/>
                      <a:pt x="1692" y="1087"/>
                    </a:cubicBezTo>
                    <a:cubicBezTo>
                      <a:pt x="1695" y="1089"/>
                      <a:pt x="1695" y="1089"/>
                      <a:pt x="1695" y="1089"/>
                    </a:cubicBezTo>
                    <a:cubicBezTo>
                      <a:pt x="1695" y="1091"/>
                      <a:pt x="1695" y="1091"/>
                      <a:pt x="1695" y="1091"/>
                    </a:cubicBezTo>
                    <a:cubicBezTo>
                      <a:pt x="1696" y="1094"/>
                      <a:pt x="1696" y="1094"/>
                      <a:pt x="1696" y="1094"/>
                    </a:cubicBezTo>
                    <a:cubicBezTo>
                      <a:pt x="1695" y="1098"/>
                      <a:pt x="1695" y="1098"/>
                      <a:pt x="1695" y="1098"/>
                    </a:cubicBezTo>
                    <a:cubicBezTo>
                      <a:pt x="1693" y="1100"/>
                      <a:pt x="1693" y="1100"/>
                      <a:pt x="1693" y="1100"/>
                    </a:cubicBezTo>
                    <a:cubicBezTo>
                      <a:pt x="1690" y="1103"/>
                      <a:pt x="1690" y="1103"/>
                      <a:pt x="1690" y="1103"/>
                    </a:cubicBezTo>
                    <a:cubicBezTo>
                      <a:pt x="1690" y="1108"/>
                      <a:pt x="1690" y="1108"/>
                      <a:pt x="1690" y="1108"/>
                    </a:cubicBezTo>
                    <a:cubicBezTo>
                      <a:pt x="1687" y="1110"/>
                      <a:pt x="1687" y="1110"/>
                      <a:pt x="1687" y="1110"/>
                    </a:cubicBezTo>
                    <a:cubicBezTo>
                      <a:pt x="1685" y="1113"/>
                      <a:pt x="1685" y="1113"/>
                      <a:pt x="1685" y="1113"/>
                    </a:cubicBezTo>
                    <a:cubicBezTo>
                      <a:pt x="1685" y="1116"/>
                      <a:pt x="1685" y="1116"/>
                      <a:pt x="1685" y="1116"/>
                    </a:cubicBezTo>
                    <a:cubicBezTo>
                      <a:pt x="1687" y="1120"/>
                      <a:pt x="1687" y="1120"/>
                      <a:pt x="1687" y="1120"/>
                    </a:cubicBezTo>
                    <a:cubicBezTo>
                      <a:pt x="1686" y="1122"/>
                      <a:pt x="1686" y="1122"/>
                      <a:pt x="1686" y="1122"/>
                    </a:cubicBezTo>
                    <a:cubicBezTo>
                      <a:pt x="1687" y="1126"/>
                      <a:pt x="1687" y="1126"/>
                      <a:pt x="1687" y="1126"/>
                    </a:cubicBezTo>
                    <a:cubicBezTo>
                      <a:pt x="1689" y="1128"/>
                      <a:pt x="1689" y="1128"/>
                      <a:pt x="1689" y="1128"/>
                    </a:cubicBezTo>
                    <a:cubicBezTo>
                      <a:pt x="1688" y="1131"/>
                      <a:pt x="1688" y="1131"/>
                      <a:pt x="1688" y="1131"/>
                    </a:cubicBezTo>
                    <a:cubicBezTo>
                      <a:pt x="1686" y="1133"/>
                      <a:pt x="1686" y="1133"/>
                      <a:pt x="1686" y="1133"/>
                    </a:cubicBezTo>
                    <a:cubicBezTo>
                      <a:pt x="1685" y="1135"/>
                      <a:pt x="1685" y="1135"/>
                      <a:pt x="1685" y="1135"/>
                    </a:cubicBezTo>
                    <a:cubicBezTo>
                      <a:pt x="1687" y="1138"/>
                      <a:pt x="1687" y="1138"/>
                      <a:pt x="1687" y="1138"/>
                    </a:cubicBezTo>
                    <a:cubicBezTo>
                      <a:pt x="1687" y="1143"/>
                      <a:pt x="1687" y="1143"/>
                      <a:pt x="1687" y="1143"/>
                    </a:cubicBezTo>
                    <a:cubicBezTo>
                      <a:pt x="1686" y="1145"/>
                      <a:pt x="1686" y="1145"/>
                      <a:pt x="1686" y="1145"/>
                    </a:cubicBezTo>
                    <a:cubicBezTo>
                      <a:pt x="1686" y="1150"/>
                      <a:pt x="1686" y="1150"/>
                      <a:pt x="1686" y="1150"/>
                    </a:cubicBezTo>
                    <a:cubicBezTo>
                      <a:pt x="1688" y="1150"/>
                      <a:pt x="1688" y="1150"/>
                      <a:pt x="1688" y="1150"/>
                    </a:cubicBezTo>
                    <a:cubicBezTo>
                      <a:pt x="1690" y="1151"/>
                      <a:pt x="1690" y="1151"/>
                      <a:pt x="1690" y="1151"/>
                    </a:cubicBezTo>
                    <a:cubicBezTo>
                      <a:pt x="1691" y="1150"/>
                      <a:pt x="1691" y="1150"/>
                      <a:pt x="1691" y="1150"/>
                    </a:cubicBezTo>
                    <a:cubicBezTo>
                      <a:pt x="1693" y="1151"/>
                      <a:pt x="1693" y="1151"/>
                      <a:pt x="1693" y="1151"/>
                    </a:cubicBezTo>
                    <a:cubicBezTo>
                      <a:pt x="1693" y="1155"/>
                      <a:pt x="1693" y="1155"/>
                      <a:pt x="1693" y="1155"/>
                    </a:cubicBezTo>
                    <a:cubicBezTo>
                      <a:pt x="1692" y="1159"/>
                      <a:pt x="1692" y="1159"/>
                      <a:pt x="1692" y="1159"/>
                    </a:cubicBezTo>
                    <a:cubicBezTo>
                      <a:pt x="1689" y="1161"/>
                      <a:pt x="1689" y="1161"/>
                      <a:pt x="1689" y="1161"/>
                    </a:cubicBezTo>
                    <a:cubicBezTo>
                      <a:pt x="1682" y="1163"/>
                      <a:pt x="1682" y="1163"/>
                      <a:pt x="1682" y="1163"/>
                    </a:cubicBezTo>
                    <a:cubicBezTo>
                      <a:pt x="1678" y="1166"/>
                      <a:pt x="1678" y="1166"/>
                      <a:pt x="1678" y="1166"/>
                    </a:cubicBezTo>
                    <a:cubicBezTo>
                      <a:pt x="1669" y="1174"/>
                      <a:pt x="1669" y="1174"/>
                      <a:pt x="1669" y="1174"/>
                    </a:cubicBezTo>
                    <a:cubicBezTo>
                      <a:pt x="1667" y="1174"/>
                      <a:pt x="1667" y="1174"/>
                      <a:pt x="1667" y="1174"/>
                    </a:cubicBezTo>
                    <a:cubicBezTo>
                      <a:pt x="1664" y="1172"/>
                      <a:pt x="1664" y="1172"/>
                      <a:pt x="1664" y="1172"/>
                    </a:cubicBezTo>
                    <a:cubicBezTo>
                      <a:pt x="1658" y="1171"/>
                      <a:pt x="1658" y="1171"/>
                      <a:pt x="1658" y="1171"/>
                    </a:cubicBezTo>
                    <a:cubicBezTo>
                      <a:pt x="1655" y="1172"/>
                      <a:pt x="1655" y="1172"/>
                      <a:pt x="1655" y="1172"/>
                    </a:cubicBezTo>
                    <a:cubicBezTo>
                      <a:pt x="1654" y="1171"/>
                      <a:pt x="1654" y="1171"/>
                      <a:pt x="1654" y="1171"/>
                    </a:cubicBezTo>
                    <a:cubicBezTo>
                      <a:pt x="1651" y="1170"/>
                      <a:pt x="1651" y="1170"/>
                      <a:pt x="1651" y="1170"/>
                    </a:cubicBezTo>
                    <a:cubicBezTo>
                      <a:pt x="1649" y="1171"/>
                      <a:pt x="1649" y="1171"/>
                      <a:pt x="1649" y="1171"/>
                    </a:cubicBezTo>
                    <a:cubicBezTo>
                      <a:pt x="1647" y="1169"/>
                      <a:pt x="1647" y="1169"/>
                      <a:pt x="1647" y="1169"/>
                    </a:cubicBezTo>
                    <a:cubicBezTo>
                      <a:pt x="1640" y="1167"/>
                      <a:pt x="1640" y="1167"/>
                      <a:pt x="1640" y="1167"/>
                    </a:cubicBezTo>
                    <a:cubicBezTo>
                      <a:pt x="1634" y="1168"/>
                      <a:pt x="1634" y="1168"/>
                      <a:pt x="1634" y="1168"/>
                    </a:cubicBezTo>
                    <a:cubicBezTo>
                      <a:pt x="1634" y="1170"/>
                      <a:pt x="1634" y="1170"/>
                      <a:pt x="1634" y="1170"/>
                    </a:cubicBezTo>
                    <a:cubicBezTo>
                      <a:pt x="1629" y="1172"/>
                      <a:pt x="1629" y="1172"/>
                      <a:pt x="1629" y="1172"/>
                    </a:cubicBezTo>
                    <a:cubicBezTo>
                      <a:pt x="1626" y="1172"/>
                      <a:pt x="1626" y="1172"/>
                      <a:pt x="1626" y="1172"/>
                    </a:cubicBezTo>
                    <a:cubicBezTo>
                      <a:pt x="1624" y="1171"/>
                      <a:pt x="1624" y="1171"/>
                      <a:pt x="1624" y="1171"/>
                    </a:cubicBezTo>
                    <a:cubicBezTo>
                      <a:pt x="1620" y="1173"/>
                      <a:pt x="1620" y="1173"/>
                      <a:pt x="1620" y="1173"/>
                    </a:cubicBezTo>
                    <a:cubicBezTo>
                      <a:pt x="1618" y="1172"/>
                      <a:pt x="1618" y="1172"/>
                      <a:pt x="1618" y="1172"/>
                    </a:cubicBezTo>
                    <a:cubicBezTo>
                      <a:pt x="1615" y="1168"/>
                      <a:pt x="1615" y="1168"/>
                      <a:pt x="1615" y="1168"/>
                    </a:cubicBezTo>
                    <a:cubicBezTo>
                      <a:pt x="1611" y="1166"/>
                      <a:pt x="1611" y="1166"/>
                      <a:pt x="1611" y="1166"/>
                    </a:cubicBezTo>
                    <a:cubicBezTo>
                      <a:pt x="1607" y="1165"/>
                      <a:pt x="1607" y="1165"/>
                      <a:pt x="1607" y="1165"/>
                    </a:cubicBezTo>
                    <a:cubicBezTo>
                      <a:pt x="1601" y="1167"/>
                      <a:pt x="1601" y="1167"/>
                      <a:pt x="1601" y="1167"/>
                    </a:cubicBezTo>
                    <a:cubicBezTo>
                      <a:pt x="1600" y="1166"/>
                      <a:pt x="1600" y="1166"/>
                      <a:pt x="1600" y="1166"/>
                    </a:cubicBezTo>
                    <a:cubicBezTo>
                      <a:pt x="1597" y="1166"/>
                      <a:pt x="1597" y="1166"/>
                      <a:pt x="1597" y="1166"/>
                    </a:cubicBezTo>
                    <a:cubicBezTo>
                      <a:pt x="1594" y="1168"/>
                      <a:pt x="1594" y="1168"/>
                      <a:pt x="1594" y="1168"/>
                    </a:cubicBezTo>
                    <a:cubicBezTo>
                      <a:pt x="1592" y="1172"/>
                      <a:pt x="1592" y="1172"/>
                      <a:pt x="1592" y="1172"/>
                    </a:cubicBezTo>
                    <a:cubicBezTo>
                      <a:pt x="1590" y="1175"/>
                      <a:pt x="1590" y="1175"/>
                      <a:pt x="1590" y="1175"/>
                    </a:cubicBezTo>
                    <a:cubicBezTo>
                      <a:pt x="1586" y="1177"/>
                      <a:pt x="1586" y="1177"/>
                      <a:pt x="1586" y="1177"/>
                    </a:cubicBezTo>
                    <a:cubicBezTo>
                      <a:pt x="1583" y="1180"/>
                      <a:pt x="1583" y="1180"/>
                      <a:pt x="1583" y="1180"/>
                    </a:cubicBezTo>
                    <a:cubicBezTo>
                      <a:pt x="1583" y="1182"/>
                      <a:pt x="1583" y="1182"/>
                      <a:pt x="1583" y="1182"/>
                    </a:cubicBezTo>
                    <a:cubicBezTo>
                      <a:pt x="1582" y="1186"/>
                      <a:pt x="1582" y="1186"/>
                      <a:pt x="1582" y="1186"/>
                    </a:cubicBezTo>
                    <a:cubicBezTo>
                      <a:pt x="1578" y="1189"/>
                      <a:pt x="1578" y="1189"/>
                      <a:pt x="1578" y="1189"/>
                    </a:cubicBezTo>
                    <a:cubicBezTo>
                      <a:pt x="1569" y="1189"/>
                      <a:pt x="1569" y="1189"/>
                      <a:pt x="1569" y="1189"/>
                    </a:cubicBezTo>
                    <a:cubicBezTo>
                      <a:pt x="1566" y="1189"/>
                      <a:pt x="1566" y="1189"/>
                      <a:pt x="1566" y="1189"/>
                    </a:cubicBezTo>
                    <a:cubicBezTo>
                      <a:pt x="1563" y="1193"/>
                      <a:pt x="1563" y="1193"/>
                      <a:pt x="1563" y="1193"/>
                    </a:cubicBezTo>
                    <a:cubicBezTo>
                      <a:pt x="1559" y="1193"/>
                      <a:pt x="1559" y="1193"/>
                      <a:pt x="1559" y="1193"/>
                    </a:cubicBezTo>
                    <a:cubicBezTo>
                      <a:pt x="1552" y="1197"/>
                      <a:pt x="1552" y="1197"/>
                      <a:pt x="1552" y="1197"/>
                    </a:cubicBezTo>
                    <a:cubicBezTo>
                      <a:pt x="1549" y="1201"/>
                      <a:pt x="1549" y="1201"/>
                      <a:pt x="1549" y="1201"/>
                    </a:cubicBezTo>
                    <a:cubicBezTo>
                      <a:pt x="1546" y="1201"/>
                      <a:pt x="1546" y="1201"/>
                      <a:pt x="1546" y="1201"/>
                    </a:cubicBezTo>
                    <a:cubicBezTo>
                      <a:pt x="1543" y="1200"/>
                      <a:pt x="1543" y="1200"/>
                      <a:pt x="1543" y="1200"/>
                    </a:cubicBezTo>
                    <a:cubicBezTo>
                      <a:pt x="1538" y="1200"/>
                      <a:pt x="1538" y="1200"/>
                      <a:pt x="1538" y="1200"/>
                    </a:cubicBezTo>
                    <a:cubicBezTo>
                      <a:pt x="1536" y="1201"/>
                      <a:pt x="1536" y="1201"/>
                      <a:pt x="1536" y="1201"/>
                    </a:cubicBezTo>
                    <a:cubicBezTo>
                      <a:pt x="1532" y="1202"/>
                      <a:pt x="1532" y="1202"/>
                      <a:pt x="1532" y="1202"/>
                    </a:cubicBezTo>
                    <a:cubicBezTo>
                      <a:pt x="1520" y="1202"/>
                      <a:pt x="1520" y="1202"/>
                      <a:pt x="1520" y="1202"/>
                    </a:cubicBezTo>
                    <a:cubicBezTo>
                      <a:pt x="1513" y="1200"/>
                      <a:pt x="1513" y="1200"/>
                      <a:pt x="1513" y="1200"/>
                    </a:cubicBezTo>
                    <a:cubicBezTo>
                      <a:pt x="1504" y="1200"/>
                      <a:pt x="1504" y="1200"/>
                      <a:pt x="1504" y="1200"/>
                    </a:cubicBezTo>
                    <a:cubicBezTo>
                      <a:pt x="1501" y="1200"/>
                      <a:pt x="1501" y="1200"/>
                      <a:pt x="1501" y="1200"/>
                    </a:cubicBezTo>
                    <a:cubicBezTo>
                      <a:pt x="1498" y="1197"/>
                      <a:pt x="1498" y="1197"/>
                      <a:pt x="1498" y="1197"/>
                    </a:cubicBezTo>
                    <a:cubicBezTo>
                      <a:pt x="1495" y="1196"/>
                      <a:pt x="1495" y="1196"/>
                      <a:pt x="1495" y="1196"/>
                    </a:cubicBezTo>
                    <a:cubicBezTo>
                      <a:pt x="1493" y="1195"/>
                      <a:pt x="1493" y="1195"/>
                      <a:pt x="1493" y="1195"/>
                    </a:cubicBezTo>
                    <a:cubicBezTo>
                      <a:pt x="1489" y="1192"/>
                      <a:pt x="1489" y="1192"/>
                      <a:pt x="1489" y="1192"/>
                    </a:cubicBezTo>
                    <a:cubicBezTo>
                      <a:pt x="1487" y="1187"/>
                      <a:pt x="1487" y="1187"/>
                      <a:pt x="1487" y="1187"/>
                    </a:cubicBezTo>
                    <a:cubicBezTo>
                      <a:pt x="1485" y="1185"/>
                      <a:pt x="1485" y="1185"/>
                      <a:pt x="1485" y="1185"/>
                    </a:cubicBezTo>
                    <a:cubicBezTo>
                      <a:pt x="1481" y="1186"/>
                      <a:pt x="1481" y="1186"/>
                      <a:pt x="1481" y="1186"/>
                    </a:cubicBezTo>
                    <a:cubicBezTo>
                      <a:pt x="1475" y="1186"/>
                      <a:pt x="1475" y="1186"/>
                      <a:pt x="1475" y="1186"/>
                    </a:cubicBezTo>
                    <a:cubicBezTo>
                      <a:pt x="1468" y="1183"/>
                      <a:pt x="1468" y="1183"/>
                      <a:pt x="1468" y="1183"/>
                    </a:cubicBezTo>
                    <a:cubicBezTo>
                      <a:pt x="1465" y="1178"/>
                      <a:pt x="1465" y="1178"/>
                      <a:pt x="1465" y="1178"/>
                    </a:cubicBezTo>
                    <a:cubicBezTo>
                      <a:pt x="1457" y="1178"/>
                      <a:pt x="1457" y="1178"/>
                      <a:pt x="1457" y="1178"/>
                    </a:cubicBezTo>
                    <a:cubicBezTo>
                      <a:pt x="1451" y="1178"/>
                      <a:pt x="1451" y="1178"/>
                      <a:pt x="1451" y="1178"/>
                    </a:cubicBezTo>
                    <a:cubicBezTo>
                      <a:pt x="1447" y="1175"/>
                      <a:pt x="1447" y="1175"/>
                      <a:pt x="1447" y="1175"/>
                    </a:cubicBezTo>
                    <a:cubicBezTo>
                      <a:pt x="1442" y="1177"/>
                      <a:pt x="1442" y="1177"/>
                      <a:pt x="1442" y="1177"/>
                    </a:cubicBezTo>
                    <a:cubicBezTo>
                      <a:pt x="1437" y="1177"/>
                      <a:pt x="1437" y="1177"/>
                      <a:pt x="1437" y="1177"/>
                    </a:cubicBezTo>
                    <a:cubicBezTo>
                      <a:pt x="1433" y="1179"/>
                      <a:pt x="1433" y="1179"/>
                      <a:pt x="1433" y="1179"/>
                    </a:cubicBezTo>
                    <a:cubicBezTo>
                      <a:pt x="1426" y="1180"/>
                      <a:pt x="1426" y="1180"/>
                      <a:pt x="1426" y="1180"/>
                    </a:cubicBezTo>
                    <a:cubicBezTo>
                      <a:pt x="1420" y="1181"/>
                      <a:pt x="1420" y="1181"/>
                      <a:pt x="1420" y="1181"/>
                    </a:cubicBezTo>
                    <a:cubicBezTo>
                      <a:pt x="1417" y="1185"/>
                      <a:pt x="1417" y="1185"/>
                      <a:pt x="1417" y="1185"/>
                    </a:cubicBezTo>
                    <a:cubicBezTo>
                      <a:pt x="1414" y="1186"/>
                      <a:pt x="1414" y="1186"/>
                      <a:pt x="1414" y="1186"/>
                    </a:cubicBezTo>
                    <a:cubicBezTo>
                      <a:pt x="1412" y="1185"/>
                      <a:pt x="1412" y="1185"/>
                      <a:pt x="1412" y="1185"/>
                    </a:cubicBezTo>
                    <a:cubicBezTo>
                      <a:pt x="1409" y="1185"/>
                      <a:pt x="1409" y="1185"/>
                      <a:pt x="1409" y="1185"/>
                    </a:cubicBezTo>
                    <a:cubicBezTo>
                      <a:pt x="1407" y="1186"/>
                      <a:pt x="1407" y="1186"/>
                      <a:pt x="1407" y="1186"/>
                    </a:cubicBezTo>
                    <a:cubicBezTo>
                      <a:pt x="1401" y="1186"/>
                      <a:pt x="1401" y="1186"/>
                      <a:pt x="1401" y="1186"/>
                    </a:cubicBezTo>
                    <a:cubicBezTo>
                      <a:pt x="1399" y="1187"/>
                      <a:pt x="1399" y="1187"/>
                      <a:pt x="1399" y="1187"/>
                    </a:cubicBezTo>
                    <a:cubicBezTo>
                      <a:pt x="1397" y="1187"/>
                      <a:pt x="1397" y="1187"/>
                      <a:pt x="1397" y="1187"/>
                    </a:cubicBezTo>
                    <a:cubicBezTo>
                      <a:pt x="1391" y="1184"/>
                      <a:pt x="1391" y="1184"/>
                      <a:pt x="1391" y="1184"/>
                    </a:cubicBezTo>
                    <a:cubicBezTo>
                      <a:pt x="1385" y="1183"/>
                      <a:pt x="1385" y="1183"/>
                      <a:pt x="1385" y="1183"/>
                    </a:cubicBezTo>
                    <a:cubicBezTo>
                      <a:pt x="1384" y="1181"/>
                      <a:pt x="1384" y="1181"/>
                      <a:pt x="1384" y="1181"/>
                    </a:cubicBezTo>
                    <a:cubicBezTo>
                      <a:pt x="1380" y="1177"/>
                      <a:pt x="1380" y="1177"/>
                      <a:pt x="1380" y="1177"/>
                    </a:cubicBezTo>
                    <a:cubicBezTo>
                      <a:pt x="1378" y="1177"/>
                      <a:pt x="1378" y="1177"/>
                      <a:pt x="1378" y="1177"/>
                    </a:cubicBezTo>
                    <a:cubicBezTo>
                      <a:pt x="1375" y="1175"/>
                      <a:pt x="1375" y="1175"/>
                      <a:pt x="1375" y="1175"/>
                    </a:cubicBezTo>
                    <a:cubicBezTo>
                      <a:pt x="1376" y="1172"/>
                      <a:pt x="1376" y="1172"/>
                      <a:pt x="1376" y="1172"/>
                    </a:cubicBezTo>
                    <a:cubicBezTo>
                      <a:pt x="1374" y="1168"/>
                      <a:pt x="1374" y="1168"/>
                      <a:pt x="1374" y="1168"/>
                    </a:cubicBezTo>
                    <a:cubicBezTo>
                      <a:pt x="1372" y="1166"/>
                      <a:pt x="1372" y="1166"/>
                      <a:pt x="1372" y="1166"/>
                    </a:cubicBezTo>
                    <a:cubicBezTo>
                      <a:pt x="1372" y="1163"/>
                      <a:pt x="1372" y="1163"/>
                      <a:pt x="1372" y="1163"/>
                    </a:cubicBezTo>
                    <a:cubicBezTo>
                      <a:pt x="1370" y="1161"/>
                      <a:pt x="1370" y="1161"/>
                      <a:pt x="1370" y="1161"/>
                    </a:cubicBezTo>
                    <a:cubicBezTo>
                      <a:pt x="1370" y="1158"/>
                      <a:pt x="1370" y="1158"/>
                      <a:pt x="1370" y="1158"/>
                    </a:cubicBezTo>
                    <a:cubicBezTo>
                      <a:pt x="1368" y="1155"/>
                      <a:pt x="1368" y="1155"/>
                      <a:pt x="1368" y="1155"/>
                    </a:cubicBezTo>
                    <a:cubicBezTo>
                      <a:pt x="1365" y="1154"/>
                      <a:pt x="1365" y="1154"/>
                      <a:pt x="1365" y="1154"/>
                    </a:cubicBezTo>
                    <a:cubicBezTo>
                      <a:pt x="1357" y="1154"/>
                      <a:pt x="1357" y="1154"/>
                      <a:pt x="1357" y="1154"/>
                    </a:cubicBezTo>
                    <a:cubicBezTo>
                      <a:pt x="1354" y="1154"/>
                      <a:pt x="1354" y="1154"/>
                      <a:pt x="1354" y="1154"/>
                    </a:cubicBezTo>
                    <a:cubicBezTo>
                      <a:pt x="1351" y="1153"/>
                      <a:pt x="1351" y="1153"/>
                      <a:pt x="1351" y="1153"/>
                    </a:cubicBezTo>
                    <a:cubicBezTo>
                      <a:pt x="1346" y="1152"/>
                      <a:pt x="1346" y="1152"/>
                      <a:pt x="1346" y="1152"/>
                    </a:cubicBezTo>
                    <a:cubicBezTo>
                      <a:pt x="1345" y="1150"/>
                      <a:pt x="1345" y="1150"/>
                      <a:pt x="1345" y="1150"/>
                    </a:cubicBezTo>
                    <a:cubicBezTo>
                      <a:pt x="1342" y="1149"/>
                      <a:pt x="1342" y="1149"/>
                      <a:pt x="1342" y="1149"/>
                    </a:cubicBezTo>
                    <a:cubicBezTo>
                      <a:pt x="1335" y="1149"/>
                      <a:pt x="1335" y="1149"/>
                      <a:pt x="1335" y="1149"/>
                    </a:cubicBezTo>
                    <a:cubicBezTo>
                      <a:pt x="1330" y="1149"/>
                      <a:pt x="1330" y="1149"/>
                      <a:pt x="1330" y="1149"/>
                    </a:cubicBezTo>
                    <a:cubicBezTo>
                      <a:pt x="1326" y="1147"/>
                      <a:pt x="1326" y="1147"/>
                      <a:pt x="1326" y="1147"/>
                    </a:cubicBezTo>
                    <a:cubicBezTo>
                      <a:pt x="1325" y="1146"/>
                      <a:pt x="1325" y="1146"/>
                      <a:pt x="1325" y="1146"/>
                    </a:cubicBezTo>
                    <a:cubicBezTo>
                      <a:pt x="1320" y="1143"/>
                      <a:pt x="1320" y="1143"/>
                      <a:pt x="1320" y="1143"/>
                    </a:cubicBezTo>
                    <a:cubicBezTo>
                      <a:pt x="1315" y="1142"/>
                      <a:pt x="1315" y="1142"/>
                      <a:pt x="1315" y="1142"/>
                    </a:cubicBezTo>
                    <a:cubicBezTo>
                      <a:pt x="1312" y="1141"/>
                      <a:pt x="1312" y="1141"/>
                      <a:pt x="1312" y="1141"/>
                    </a:cubicBezTo>
                    <a:cubicBezTo>
                      <a:pt x="1308" y="1140"/>
                      <a:pt x="1308" y="1140"/>
                      <a:pt x="1308" y="1140"/>
                    </a:cubicBezTo>
                    <a:cubicBezTo>
                      <a:pt x="1306" y="1142"/>
                      <a:pt x="1306" y="1142"/>
                      <a:pt x="1306" y="1142"/>
                    </a:cubicBezTo>
                    <a:cubicBezTo>
                      <a:pt x="1305" y="1145"/>
                      <a:pt x="1305" y="1145"/>
                      <a:pt x="1305" y="1145"/>
                    </a:cubicBezTo>
                    <a:cubicBezTo>
                      <a:pt x="1307" y="1148"/>
                      <a:pt x="1307" y="1148"/>
                      <a:pt x="1307" y="1148"/>
                    </a:cubicBezTo>
                    <a:cubicBezTo>
                      <a:pt x="1305" y="1151"/>
                      <a:pt x="1305" y="1151"/>
                      <a:pt x="1305" y="1151"/>
                    </a:cubicBezTo>
                    <a:cubicBezTo>
                      <a:pt x="1303" y="1151"/>
                      <a:pt x="1303" y="1151"/>
                      <a:pt x="1303" y="1151"/>
                    </a:cubicBezTo>
                    <a:cubicBezTo>
                      <a:pt x="1300" y="1152"/>
                      <a:pt x="1300" y="1152"/>
                      <a:pt x="1300" y="1152"/>
                    </a:cubicBezTo>
                    <a:cubicBezTo>
                      <a:pt x="1298" y="1155"/>
                      <a:pt x="1298" y="1155"/>
                      <a:pt x="1298" y="1155"/>
                    </a:cubicBezTo>
                    <a:cubicBezTo>
                      <a:pt x="1298" y="1158"/>
                      <a:pt x="1298" y="1158"/>
                      <a:pt x="1298" y="1158"/>
                    </a:cubicBezTo>
                    <a:cubicBezTo>
                      <a:pt x="1294" y="1162"/>
                      <a:pt x="1294" y="1162"/>
                      <a:pt x="1294" y="1162"/>
                    </a:cubicBezTo>
                    <a:cubicBezTo>
                      <a:pt x="1294" y="1171"/>
                      <a:pt x="1294" y="1171"/>
                      <a:pt x="1294" y="1171"/>
                    </a:cubicBezTo>
                    <a:cubicBezTo>
                      <a:pt x="1296" y="1176"/>
                      <a:pt x="1296" y="1176"/>
                      <a:pt x="1296" y="1176"/>
                    </a:cubicBezTo>
                    <a:cubicBezTo>
                      <a:pt x="1301" y="1177"/>
                      <a:pt x="1301" y="1177"/>
                      <a:pt x="1301" y="1177"/>
                    </a:cubicBezTo>
                    <a:cubicBezTo>
                      <a:pt x="1303" y="1180"/>
                      <a:pt x="1303" y="1180"/>
                      <a:pt x="1303" y="1180"/>
                    </a:cubicBezTo>
                    <a:cubicBezTo>
                      <a:pt x="1307" y="1181"/>
                      <a:pt x="1307" y="1181"/>
                      <a:pt x="1307" y="1181"/>
                    </a:cubicBezTo>
                    <a:cubicBezTo>
                      <a:pt x="1307" y="1183"/>
                      <a:pt x="1307" y="1183"/>
                      <a:pt x="1307" y="1183"/>
                    </a:cubicBezTo>
                    <a:cubicBezTo>
                      <a:pt x="1306" y="1189"/>
                      <a:pt x="1306" y="1189"/>
                      <a:pt x="1306" y="1189"/>
                    </a:cubicBezTo>
                    <a:cubicBezTo>
                      <a:pt x="1306" y="1195"/>
                      <a:pt x="1306" y="1195"/>
                      <a:pt x="1306" y="1195"/>
                    </a:cubicBezTo>
                    <a:cubicBezTo>
                      <a:pt x="1310" y="1197"/>
                      <a:pt x="1310" y="1197"/>
                      <a:pt x="1310" y="1197"/>
                    </a:cubicBezTo>
                    <a:cubicBezTo>
                      <a:pt x="1312" y="1200"/>
                      <a:pt x="1312" y="1200"/>
                      <a:pt x="1312" y="1200"/>
                    </a:cubicBezTo>
                    <a:cubicBezTo>
                      <a:pt x="1309" y="1205"/>
                      <a:pt x="1309" y="1205"/>
                      <a:pt x="1309" y="1205"/>
                    </a:cubicBezTo>
                    <a:cubicBezTo>
                      <a:pt x="1302" y="1206"/>
                      <a:pt x="1302" y="1206"/>
                      <a:pt x="1302" y="1206"/>
                    </a:cubicBezTo>
                    <a:cubicBezTo>
                      <a:pt x="1298" y="1205"/>
                      <a:pt x="1298" y="1205"/>
                      <a:pt x="1298" y="1205"/>
                    </a:cubicBezTo>
                    <a:cubicBezTo>
                      <a:pt x="1298" y="1206"/>
                      <a:pt x="1298" y="1206"/>
                      <a:pt x="1298" y="1206"/>
                    </a:cubicBezTo>
                    <a:cubicBezTo>
                      <a:pt x="1294" y="1207"/>
                      <a:pt x="1294" y="1207"/>
                      <a:pt x="1294" y="1207"/>
                    </a:cubicBezTo>
                    <a:cubicBezTo>
                      <a:pt x="1291" y="1205"/>
                      <a:pt x="1291" y="1205"/>
                      <a:pt x="1291" y="1205"/>
                    </a:cubicBezTo>
                    <a:cubicBezTo>
                      <a:pt x="1283" y="1205"/>
                      <a:pt x="1283" y="1205"/>
                      <a:pt x="1283" y="1205"/>
                    </a:cubicBezTo>
                    <a:cubicBezTo>
                      <a:pt x="1279" y="1206"/>
                      <a:pt x="1279" y="1206"/>
                      <a:pt x="1279" y="1206"/>
                    </a:cubicBezTo>
                    <a:cubicBezTo>
                      <a:pt x="1277" y="1204"/>
                      <a:pt x="1277" y="1204"/>
                      <a:pt x="1277" y="1204"/>
                    </a:cubicBezTo>
                    <a:cubicBezTo>
                      <a:pt x="1273" y="1203"/>
                      <a:pt x="1273" y="1203"/>
                      <a:pt x="1273" y="1203"/>
                    </a:cubicBezTo>
                    <a:cubicBezTo>
                      <a:pt x="1270" y="1203"/>
                      <a:pt x="1270" y="1203"/>
                      <a:pt x="1270" y="1203"/>
                    </a:cubicBezTo>
                    <a:cubicBezTo>
                      <a:pt x="1266" y="1206"/>
                      <a:pt x="1266" y="1206"/>
                      <a:pt x="1266" y="1206"/>
                    </a:cubicBezTo>
                    <a:cubicBezTo>
                      <a:pt x="1262" y="1208"/>
                      <a:pt x="1262" y="1208"/>
                      <a:pt x="1262" y="1208"/>
                    </a:cubicBezTo>
                    <a:cubicBezTo>
                      <a:pt x="1259" y="1209"/>
                      <a:pt x="1259" y="1209"/>
                      <a:pt x="1259" y="1209"/>
                    </a:cubicBezTo>
                    <a:cubicBezTo>
                      <a:pt x="1252" y="1206"/>
                      <a:pt x="1252" y="1206"/>
                      <a:pt x="1252" y="1206"/>
                    </a:cubicBezTo>
                    <a:cubicBezTo>
                      <a:pt x="1249" y="1203"/>
                      <a:pt x="1249" y="1203"/>
                      <a:pt x="1249" y="1203"/>
                    </a:cubicBezTo>
                    <a:cubicBezTo>
                      <a:pt x="1239" y="1198"/>
                      <a:pt x="1239" y="1198"/>
                      <a:pt x="1239" y="1198"/>
                    </a:cubicBezTo>
                    <a:cubicBezTo>
                      <a:pt x="1238" y="1196"/>
                      <a:pt x="1238" y="1196"/>
                      <a:pt x="1238" y="1196"/>
                    </a:cubicBezTo>
                    <a:cubicBezTo>
                      <a:pt x="1237" y="1192"/>
                      <a:pt x="1237" y="1192"/>
                      <a:pt x="1237" y="1192"/>
                    </a:cubicBezTo>
                    <a:cubicBezTo>
                      <a:pt x="1236" y="1190"/>
                      <a:pt x="1236" y="1190"/>
                      <a:pt x="1236" y="1190"/>
                    </a:cubicBezTo>
                    <a:cubicBezTo>
                      <a:pt x="1230" y="1190"/>
                      <a:pt x="1230" y="1190"/>
                      <a:pt x="1230" y="1190"/>
                    </a:cubicBezTo>
                    <a:cubicBezTo>
                      <a:pt x="1227" y="1192"/>
                      <a:pt x="1227" y="1192"/>
                      <a:pt x="1227" y="1192"/>
                    </a:cubicBezTo>
                    <a:cubicBezTo>
                      <a:pt x="1224" y="1192"/>
                      <a:pt x="1224" y="1192"/>
                      <a:pt x="1224" y="1192"/>
                    </a:cubicBezTo>
                    <a:cubicBezTo>
                      <a:pt x="1222" y="1192"/>
                      <a:pt x="1222" y="1192"/>
                      <a:pt x="1222" y="1192"/>
                    </a:cubicBezTo>
                    <a:cubicBezTo>
                      <a:pt x="1218" y="1192"/>
                      <a:pt x="1218" y="1192"/>
                      <a:pt x="1218" y="1192"/>
                    </a:cubicBezTo>
                    <a:cubicBezTo>
                      <a:pt x="1215" y="1190"/>
                      <a:pt x="1215" y="1190"/>
                      <a:pt x="1215" y="1190"/>
                    </a:cubicBezTo>
                    <a:cubicBezTo>
                      <a:pt x="1215" y="1188"/>
                      <a:pt x="1215" y="1188"/>
                      <a:pt x="1215" y="1188"/>
                    </a:cubicBezTo>
                    <a:cubicBezTo>
                      <a:pt x="1213" y="1185"/>
                      <a:pt x="1213" y="1185"/>
                      <a:pt x="1213" y="1185"/>
                    </a:cubicBezTo>
                    <a:cubicBezTo>
                      <a:pt x="1212" y="1185"/>
                      <a:pt x="1212" y="1185"/>
                      <a:pt x="1212" y="1185"/>
                    </a:cubicBezTo>
                    <a:cubicBezTo>
                      <a:pt x="1209" y="1187"/>
                      <a:pt x="1209" y="1187"/>
                      <a:pt x="1209" y="1187"/>
                    </a:cubicBezTo>
                    <a:cubicBezTo>
                      <a:pt x="1204" y="1186"/>
                      <a:pt x="1204" y="1186"/>
                      <a:pt x="1204" y="1186"/>
                    </a:cubicBezTo>
                    <a:cubicBezTo>
                      <a:pt x="1201" y="1186"/>
                      <a:pt x="1201" y="1186"/>
                      <a:pt x="1201" y="1186"/>
                    </a:cubicBezTo>
                    <a:cubicBezTo>
                      <a:pt x="1197" y="1187"/>
                      <a:pt x="1197" y="1187"/>
                      <a:pt x="1197" y="1187"/>
                    </a:cubicBezTo>
                    <a:cubicBezTo>
                      <a:pt x="1191" y="1188"/>
                      <a:pt x="1191" y="1188"/>
                      <a:pt x="1191" y="1188"/>
                    </a:cubicBezTo>
                    <a:cubicBezTo>
                      <a:pt x="1188" y="1189"/>
                      <a:pt x="1188" y="1189"/>
                      <a:pt x="1188" y="1189"/>
                    </a:cubicBezTo>
                    <a:cubicBezTo>
                      <a:pt x="1186" y="1194"/>
                      <a:pt x="1186" y="1194"/>
                      <a:pt x="1186" y="1194"/>
                    </a:cubicBezTo>
                    <a:cubicBezTo>
                      <a:pt x="1183" y="1196"/>
                      <a:pt x="1183" y="1196"/>
                      <a:pt x="1183" y="1196"/>
                    </a:cubicBezTo>
                    <a:cubicBezTo>
                      <a:pt x="1177" y="1194"/>
                      <a:pt x="1177" y="1194"/>
                      <a:pt x="1177" y="1194"/>
                    </a:cubicBezTo>
                    <a:cubicBezTo>
                      <a:pt x="1175" y="1195"/>
                      <a:pt x="1175" y="1195"/>
                      <a:pt x="1175" y="1195"/>
                    </a:cubicBezTo>
                    <a:cubicBezTo>
                      <a:pt x="1175" y="1198"/>
                      <a:pt x="1175" y="1198"/>
                      <a:pt x="1175" y="1198"/>
                    </a:cubicBezTo>
                    <a:cubicBezTo>
                      <a:pt x="1178" y="1200"/>
                      <a:pt x="1178" y="1200"/>
                      <a:pt x="1178" y="1200"/>
                    </a:cubicBezTo>
                    <a:cubicBezTo>
                      <a:pt x="1176" y="1201"/>
                      <a:pt x="1176" y="1201"/>
                      <a:pt x="1176" y="1201"/>
                    </a:cubicBezTo>
                    <a:cubicBezTo>
                      <a:pt x="1173" y="1205"/>
                      <a:pt x="1173" y="1205"/>
                      <a:pt x="1173" y="1205"/>
                    </a:cubicBezTo>
                    <a:cubicBezTo>
                      <a:pt x="1170" y="1205"/>
                      <a:pt x="1170" y="1205"/>
                      <a:pt x="1170" y="1205"/>
                    </a:cubicBezTo>
                    <a:cubicBezTo>
                      <a:pt x="1167" y="1208"/>
                      <a:pt x="1167" y="1208"/>
                      <a:pt x="1167" y="1208"/>
                    </a:cubicBezTo>
                    <a:cubicBezTo>
                      <a:pt x="1167" y="1211"/>
                      <a:pt x="1167" y="1211"/>
                      <a:pt x="1167" y="1211"/>
                    </a:cubicBezTo>
                    <a:cubicBezTo>
                      <a:pt x="1162" y="1213"/>
                      <a:pt x="1162" y="1213"/>
                      <a:pt x="1162" y="1213"/>
                    </a:cubicBezTo>
                    <a:cubicBezTo>
                      <a:pt x="1160" y="1217"/>
                      <a:pt x="1160" y="1217"/>
                      <a:pt x="1160" y="1217"/>
                    </a:cubicBezTo>
                    <a:cubicBezTo>
                      <a:pt x="1160" y="1221"/>
                      <a:pt x="1160" y="1221"/>
                      <a:pt x="1160" y="1221"/>
                    </a:cubicBezTo>
                    <a:cubicBezTo>
                      <a:pt x="1154" y="1223"/>
                      <a:pt x="1154" y="1223"/>
                      <a:pt x="1154" y="1223"/>
                    </a:cubicBezTo>
                    <a:cubicBezTo>
                      <a:pt x="1151" y="1226"/>
                      <a:pt x="1151" y="1226"/>
                      <a:pt x="1151" y="1226"/>
                    </a:cubicBezTo>
                    <a:cubicBezTo>
                      <a:pt x="1149" y="1228"/>
                      <a:pt x="1149" y="1228"/>
                      <a:pt x="1149" y="1228"/>
                    </a:cubicBezTo>
                    <a:cubicBezTo>
                      <a:pt x="1141" y="1228"/>
                      <a:pt x="1141" y="1228"/>
                      <a:pt x="1141" y="1228"/>
                    </a:cubicBezTo>
                    <a:cubicBezTo>
                      <a:pt x="1137" y="1229"/>
                      <a:pt x="1137" y="1229"/>
                      <a:pt x="1137" y="1229"/>
                    </a:cubicBezTo>
                    <a:cubicBezTo>
                      <a:pt x="1134" y="1236"/>
                      <a:pt x="1134" y="1236"/>
                      <a:pt x="1134" y="1236"/>
                    </a:cubicBezTo>
                    <a:cubicBezTo>
                      <a:pt x="1134" y="1237"/>
                      <a:pt x="1134" y="1237"/>
                      <a:pt x="1134" y="1237"/>
                    </a:cubicBezTo>
                    <a:cubicBezTo>
                      <a:pt x="1132" y="1237"/>
                      <a:pt x="1132" y="1237"/>
                      <a:pt x="1132" y="1237"/>
                    </a:cubicBezTo>
                    <a:cubicBezTo>
                      <a:pt x="1129" y="1235"/>
                      <a:pt x="1129" y="1235"/>
                      <a:pt x="1129" y="1235"/>
                    </a:cubicBezTo>
                    <a:cubicBezTo>
                      <a:pt x="1126" y="1235"/>
                      <a:pt x="1126" y="1235"/>
                      <a:pt x="1126" y="1235"/>
                    </a:cubicBezTo>
                    <a:cubicBezTo>
                      <a:pt x="1125" y="1234"/>
                      <a:pt x="1125" y="1234"/>
                      <a:pt x="1125" y="1234"/>
                    </a:cubicBezTo>
                    <a:cubicBezTo>
                      <a:pt x="1120" y="1232"/>
                      <a:pt x="1120" y="1232"/>
                      <a:pt x="1120" y="1232"/>
                    </a:cubicBezTo>
                    <a:cubicBezTo>
                      <a:pt x="1115" y="1229"/>
                      <a:pt x="1115" y="1229"/>
                      <a:pt x="1115" y="1229"/>
                    </a:cubicBezTo>
                    <a:cubicBezTo>
                      <a:pt x="1113" y="1228"/>
                      <a:pt x="1113" y="1228"/>
                      <a:pt x="1113" y="1228"/>
                    </a:cubicBezTo>
                    <a:cubicBezTo>
                      <a:pt x="1111" y="1225"/>
                      <a:pt x="1111" y="1225"/>
                      <a:pt x="1111" y="1225"/>
                    </a:cubicBezTo>
                    <a:cubicBezTo>
                      <a:pt x="1113" y="1221"/>
                      <a:pt x="1113" y="1221"/>
                      <a:pt x="1113" y="1221"/>
                    </a:cubicBezTo>
                    <a:cubicBezTo>
                      <a:pt x="1111" y="1220"/>
                      <a:pt x="1111" y="1220"/>
                      <a:pt x="1111" y="1220"/>
                    </a:cubicBezTo>
                    <a:cubicBezTo>
                      <a:pt x="1107" y="1222"/>
                      <a:pt x="1107" y="1222"/>
                      <a:pt x="1107" y="1222"/>
                    </a:cubicBezTo>
                    <a:cubicBezTo>
                      <a:pt x="1105" y="1225"/>
                      <a:pt x="1105" y="1225"/>
                      <a:pt x="1105" y="1225"/>
                    </a:cubicBezTo>
                    <a:cubicBezTo>
                      <a:pt x="1101" y="1226"/>
                      <a:pt x="1101" y="1226"/>
                      <a:pt x="1101" y="1226"/>
                    </a:cubicBezTo>
                    <a:cubicBezTo>
                      <a:pt x="1092" y="1227"/>
                      <a:pt x="1092" y="1227"/>
                      <a:pt x="1092" y="1227"/>
                    </a:cubicBezTo>
                    <a:cubicBezTo>
                      <a:pt x="1089" y="1228"/>
                      <a:pt x="1089" y="1228"/>
                      <a:pt x="1089" y="1228"/>
                    </a:cubicBezTo>
                    <a:cubicBezTo>
                      <a:pt x="1088" y="1230"/>
                      <a:pt x="1088" y="1230"/>
                      <a:pt x="1088" y="1230"/>
                    </a:cubicBezTo>
                    <a:cubicBezTo>
                      <a:pt x="1085" y="1229"/>
                      <a:pt x="1085" y="1229"/>
                      <a:pt x="1085" y="1229"/>
                    </a:cubicBezTo>
                    <a:cubicBezTo>
                      <a:pt x="1081" y="1227"/>
                      <a:pt x="1081" y="1227"/>
                      <a:pt x="1081" y="1227"/>
                    </a:cubicBezTo>
                    <a:cubicBezTo>
                      <a:pt x="1080" y="1227"/>
                      <a:pt x="1080" y="1227"/>
                      <a:pt x="1080" y="1227"/>
                    </a:cubicBezTo>
                    <a:cubicBezTo>
                      <a:pt x="1079" y="1226"/>
                      <a:pt x="1079" y="1226"/>
                      <a:pt x="1079" y="1226"/>
                    </a:cubicBezTo>
                    <a:cubicBezTo>
                      <a:pt x="1077" y="1224"/>
                      <a:pt x="1077" y="1224"/>
                      <a:pt x="1077" y="1224"/>
                    </a:cubicBezTo>
                    <a:cubicBezTo>
                      <a:pt x="1076" y="1222"/>
                      <a:pt x="1076" y="1222"/>
                      <a:pt x="1076" y="1222"/>
                    </a:cubicBezTo>
                    <a:cubicBezTo>
                      <a:pt x="1076" y="1219"/>
                      <a:pt x="1076" y="1219"/>
                      <a:pt x="1076" y="1219"/>
                    </a:cubicBezTo>
                    <a:cubicBezTo>
                      <a:pt x="1076" y="1217"/>
                      <a:pt x="1076" y="1217"/>
                      <a:pt x="1076" y="1217"/>
                    </a:cubicBezTo>
                    <a:cubicBezTo>
                      <a:pt x="1076" y="1215"/>
                      <a:pt x="1076" y="1215"/>
                      <a:pt x="1076" y="1215"/>
                    </a:cubicBezTo>
                    <a:cubicBezTo>
                      <a:pt x="1073" y="1214"/>
                      <a:pt x="1073" y="1214"/>
                      <a:pt x="1073" y="1214"/>
                    </a:cubicBezTo>
                    <a:cubicBezTo>
                      <a:pt x="1072" y="1214"/>
                      <a:pt x="1072" y="1214"/>
                      <a:pt x="1072" y="1214"/>
                    </a:cubicBezTo>
                    <a:cubicBezTo>
                      <a:pt x="1067" y="1211"/>
                      <a:pt x="1067" y="1211"/>
                      <a:pt x="1067" y="1211"/>
                    </a:cubicBezTo>
                    <a:cubicBezTo>
                      <a:pt x="1063" y="1210"/>
                      <a:pt x="1063" y="1210"/>
                      <a:pt x="1063" y="1210"/>
                    </a:cubicBezTo>
                    <a:cubicBezTo>
                      <a:pt x="1062" y="1210"/>
                      <a:pt x="1062" y="1210"/>
                      <a:pt x="1062" y="1210"/>
                    </a:cubicBezTo>
                    <a:cubicBezTo>
                      <a:pt x="1060" y="1205"/>
                      <a:pt x="1060" y="1205"/>
                      <a:pt x="1060" y="1205"/>
                    </a:cubicBezTo>
                    <a:cubicBezTo>
                      <a:pt x="1056" y="1200"/>
                      <a:pt x="1056" y="1200"/>
                      <a:pt x="1056" y="1200"/>
                    </a:cubicBezTo>
                    <a:cubicBezTo>
                      <a:pt x="1051" y="1196"/>
                      <a:pt x="1051" y="1196"/>
                      <a:pt x="1051" y="1196"/>
                    </a:cubicBezTo>
                    <a:cubicBezTo>
                      <a:pt x="1045" y="1195"/>
                      <a:pt x="1045" y="1195"/>
                      <a:pt x="1045" y="1195"/>
                    </a:cubicBezTo>
                    <a:cubicBezTo>
                      <a:pt x="1038" y="1195"/>
                      <a:pt x="1038" y="1195"/>
                      <a:pt x="1038" y="1195"/>
                    </a:cubicBezTo>
                    <a:cubicBezTo>
                      <a:pt x="1032" y="1195"/>
                      <a:pt x="1032" y="1195"/>
                      <a:pt x="1032" y="1195"/>
                    </a:cubicBezTo>
                    <a:cubicBezTo>
                      <a:pt x="1031" y="1197"/>
                      <a:pt x="1031" y="1197"/>
                      <a:pt x="1031" y="1197"/>
                    </a:cubicBezTo>
                    <a:cubicBezTo>
                      <a:pt x="1032" y="1199"/>
                      <a:pt x="1032" y="1199"/>
                      <a:pt x="1032" y="1199"/>
                    </a:cubicBezTo>
                    <a:cubicBezTo>
                      <a:pt x="1031" y="1201"/>
                      <a:pt x="1031" y="1201"/>
                      <a:pt x="1031" y="1201"/>
                    </a:cubicBezTo>
                    <a:cubicBezTo>
                      <a:pt x="1028" y="1202"/>
                      <a:pt x="1028" y="1202"/>
                      <a:pt x="1028" y="1202"/>
                    </a:cubicBezTo>
                    <a:cubicBezTo>
                      <a:pt x="1024" y="1202"/>
                      <a:pt x="1024" y="1202"/>
                      <a:pt x="1024" y="1202"/>
                    </a:cubicBezTo>
                    <a:cubicBezTo>
                      <a:pt x="1020" y="1204"/>
                      <a:pt x="1020" y="1204"/>
                      <a:pt x="1020" y="1204"/>
                    </a:cubicBezTo>
                    <a:cubicBezTo>
                      <a:pt x="1015" y="1201"/>
                      <a:pt x="1015" y="1201"/>
                      <a:pt x="1015" y="1201"/>
                    </a:cubicBezTo>
                    <a:cubicBezTo>
                      <a:pt x="1012" y="1202"/>
                      <a:pt x="1012" y="1202"/>
                      <a:pt x="1012" y="1202"/>
                    </a:cubicBezTo>
                    <a:cubicBezTo>
                      <a:pt x="1009" y="1203"/>
                      <a:pt x="1009" y="1203"/>
                      <a:pt x="1009" y="1203"/>
                    </a:cubicBezTo>
                    <a:cubicBezTo>
                      <a:pt x="1006" y="1203"/>
                      <a:pt x="1006" y="1203"/>
                      <a:pt x="1006" y="1203"/>
                    </a:cubicBezTo>
                    <a:cubicBezTo>
                      <a:pt x="1003" y="1200"/>
                      <a:pt x="1003" y="1200"/>
                      <a:pt x="1003" y="1200"/>
                    </a:cubicBezTo>
                    <a:cubicBezTo>
                      <a:pt x="999" y="1199"/>
                      <a:pt x="999" y="1199"/>
                      <a:pt x="999" y="1199"/>
                    </a:cubicBezTo>
                    <a:cubicBezTo>
                      <a:pt x="999" y="1197"/>
                      <a:pt x="999" y="1197"/>
                      <a:pt x="999" y="1197"/>
                    </a:cubicBezTo>
                    <a:cubicBezTo>
                      <a:pt x="999" y="1194"/>
                      <a:pt x="999" y="1194"/>
                      <a:pt x="999" y="1194"/>
                    </a:cubicBezTo>
                    <a:cubicBezTo>
                      <a:pt x="994" y="1192"/>
                      <a:pt x="994" y="1192"/>
                      <a:pt x="994" y="1192"/>
                    </a:cubicBezTo>
                    <a:cubicBezTo>
                      <a:pt x="991" y="1193"/>
                      <a:pt x="991" y="1193"/>
                      <a:pt x="991" y="1193"/>
                    </a:cubicBezTo>
                    <a:cubicBezTo>
                      <a:pt x="991" y="1197"/>
                      <a:pt x="991" y="1197"/>
                      <a:pt x="991" y="1197"/>
                    </a:cubicBezTo>
                    <a:cubicBezTo>
                      <a:pt x="992" y="1198"/>
                      <a:pt x="992" y="1198"/>
                      <a:pt x="992" y="1198"/>
                    </a:cubicBezTo>
                    <a:cubicBezTo>
                      <a:pt x="991" y="1200"/>
                      <a:pt x="991" y="1200"/>
                      <a:pt x="991" y="1200"/>
                    </a:cubicBezTo>
                    <a:cubicBezTo>
                      <a:pt x="988" y="1202"/>
                      <a:pt x="988" y="1202"/>
                      <a:pt x="988" y="1202"/>
                    </a:cubicBezTo>
                    <a:cubicBezTo>
                      <a:pt x="983" y="1203"/>
                      <a:pt x="983" y="1203"/>
                      <a:pt x="983" y="1203"/>
                    </a:cubicBezTo>
                    <a:cubicBezTo>
                      <a:pt x="936" y="1146"/>
                      <a:pt x="936" y="1146"/>
                      <a:pt x="936" y="1146"/>
                    </a:cubicBezTo>
                    <a:cubicBezTo>
                      <a:pt x="901" y="1121"/>
                      <a:pt x="901" y="1121"/>
                      <a:pt x="901" y="1121"/>
                    </a:cubicBezTo>
                    <a:cubicBezTo>
                      <a:pt x="900" y="1118"/>
                      <a:pt x="900" y="1118"/>
                      <a:pt x="900" y="1118"/>
                    </a:cubicBezTo>
                    <a:cubicBezTo>
                      <a:pt x="903" y="1117"/>
                      <a:pt x="903" y="1117"/>
                      <a:pt x="903" y="1117"/>
                    </a:cubicBezTo>
                    <a:cubicBezTo>
                      <a:pt x="906" y="1114"/>
                      <a:pt x="906" y="1114"/>
                      <a:pt x="906" y="1114"/>
                    </a:cubicBezTo>
                    <a:cubicBezTo>
                      <a:pt x="906" y="1111"/>
                      <a:pt x="906" y="1111"/>
                      <a:pt x="906" y="1111"/>
                    </a:cubicBezTo>
                    <a:cubicBezTo>
                      <a:pt x="904" y="1109"/>
                      <a:pt x="904" y="1109"/>
                      <a:pt x="904" y="1109"/>
                    </a:cubicBezTo>
                    <a:cubicBezTo>
                      <a:pt x="899" y="1111"/>
                      <a:pt x="899" y="1111"/>
                      <a:pt x="899" y="1111"/>
                    </a:cubicBezTo>
                    <a:cubicBezTo>
                      <a:pt x="895" y="1112"/>
                      <a:pt x="895" y="1112"/>
                      <a:pt x="895" y="1112"/>
                    </a:cubicBezTo>
                    <a:cubicBezTo>
                      <a:pt x="892" y="1115"/>
                      <a:pt x="892" y="1115"/>
                      <a:pt x="892" y="1115"/>
                    </a:cubicBezTo>
                    <a:cubicBezTo>
                      <a:pt x="889" y="1116"/>
                      <a:pt x="889" y="1116"/>
                      <a:pt x="889" y="1116"/>
                    </a:cubicBezTo>
                    <a:cubicBezTo>
                      <a:pt x="885" y="1120"/>
                      <a:pt x="885" y="1120"/>
                      <a:pt x="885" y="1120"/>
                    </a:cubicBezTo>
                    <a:cubicBezTo>
                      <a:pt x="884" y="1123"/>
                      <a:pt x="884" y="1123"/>
                      <a:pt x="884" y="1123"/>
                    </a:cubicBezTo>
                    <a:cubicBezTo>
                      <a:pt x="881" y="1125"/>
                      <a:pt x="881" y="1125"/>
                      <a:pt x="881" y="1125"/>
                    </a:cubicBezTo>
                    <a:cubicBezTo>
                      <a:pt x="880" y="1128"/>
                      <a:pt x="880" y="1128"/>
                      <a:pt x="880" y="1128"/>
                    </a:cubicBezTo>
                    <a:cubicBezTo>
                      <a:pt x="876" y="1131"/>
                      <a:pt x="876" y="1131"/>
                      <a:pt x="876" y="1131"/>
                    </a:cubicBezTo>
                    <a:cubicBezTo>
                      <a:pt x="870" y="1131"/>
                      <a:pt x="870" y="1131"/>
                      <a:pt x="870" y="1131"/>
                    </a:cubicBezTo>
                    <a:cubicBezTo>
                      <a:pt x="867" y="1133"/>
                      <a:pt x="867" y="1133"/>
                      <a:pt x="867" y="1133"/>
                    </a:cubicBezTo>
                    <a:cubicBezTo>
                      <a:pt x="868" y="1137"/>
                      <a:pt x="868" y="1137"/>
                      <a:pt x="868" y="1137"/>
                    </a:cubicBezTo>
                    <a:cubicBezTo>
                      <a:pt x="865" y="1138"/>
                      <a:pt x="865" y="1138"/>
                      <a:pt x="865" y="1138"/>
                    </a:cubicBezTo>
                    <a:cubicBezTo>
                      <a:pt x="863" y="1137"/>
                      <a:pt x="863" y="1137"/>
                      <a:pt x="863" y="1137"/>
                    </a:cubicBezTo>
                    <a:cubicBezTo>
                      <a:pt x="856" y="1135"/>
                      <a:pt x="856" y="1135"/>
                      <a:pt x="856" y="1135"/>
                    </a:cubicBezTo>
                    <a:cubicBezTo>
                      <a:pt x="851" y="1136"/>
                      <a:pt x="851" y="1136"/>
                      <a:pt x="851" y="1136"/>
                    </a:cubicBezTo>
                    <a:cubicBezTo>
                      <a:pt x="849" y="1139"/>
                      <a:pt x="849" y="1139"/>
                      <a:pt x="849" y="1139"/>
                    </a:cubicBezTo>
                    <a:cubicBezTo>
                      <a:pt x="846" y="1139"/>
                      <a:pt x="846" y="1139"/>
                      <a:pt x="846" y="1139"/>
                    </a:cubicBezTo>
                    <a:cubicBezTo>
                      <a:pt x="844" y="1136"/>
                      <a:pt x="844" y="1136"/>
                      <a:pt x="844" y="1136"/>
                    </a:cubicBezTo>
                    <a:cubicBezTo>
                      <a:pt x="844" y="1131"/>
                      <a:pt x="844" y="1131"/>
                      <a:pt x="844" y="1131"/>
                    </a:cubicBezTo>
                    <a:cubicBezTo>
                      <a:pt x="846" y="1129"/>
                      <a:pt x="846" y="1129"/>
                      <a:pt x="846" y="1129"/>
                    </a:cubicBezTo>
                    <a:cubicBezTo>
                      <a:pt x="848" y="1126"/>
                      <a:pt x="848" y="1126"/>
                      <a:pt x="848" y="1126"/>
                    </a:cubicBezTo>
                    <a:cubicBezTo>
                      <a:pt x="846" y="1124"/>
                      <a:pt x="846" y="1124"/>
                      <a:pt x="846" y="1124"/>
                    </a:cubicBezTo>
                    <a:cubicBezTo>
                      <a:pt x="843" y="1127"/>
                      <a:pt x="843" y="1127"/>
                      <a:pt x="843" y="1127"/>
                    </a:cubicBezTo>
                    <a:cubicBezTo>
                      <a:pt x="840" y="1127"/>
                      <a:pt x="840" y="1127"/>
                      <a:pt x="840" y="1127"/>
                    </a:cubicBezTo>
                    <a:cubicBezTo>
                      <a:pt x="833" y="1123"/>
                      <a:pt x="833" y="1123"/>
                      <a:pt x="833" y="1123"/>
                    </a:cubicBezTo>
                    <a:cubicBezTo>
                      <a:pt x="829" y="1124"/>
                      <a:pt x="829" y="1124"/>
                      <a:pt x="829" y="1124"/>
                    </a:cubicBezTo>
                    <a:cubicBezTo>
                      <a:pt x="830" y="1126"/>
                      <a:pt x="830" y="1126"/>
                      <a:pt x="830" y="1126"/>
                    </a:cubicBezTo>
                    <a:cubicBezTo>
                      <a:pt x="832" y="1127"/>
                      <a:pt x="832" y="1127"/>
                      <a:pt x="832" y="1127"/>
                    </a:cubicBezTo>
                    <a:cubicBezTo>
                      <a:pt x="829" y="1130"/>
                      <a:pt x="829" y="1130"/>
                      <a:pt x="829" y="1130"/>
                    </a:cubicBezTo>
                    <a:cubicBezTo>
                      <a:pt x="827" y="1130"/>
                      <a:pt x="827" y="1130"/>
                      <a:pt x="827" y="1130"/>
                    </a:cubicBezTo>
                    <a:cubicBezTo>
                      <a:pt x="825" y="1126"/>
                      <a:pt x="825" y="1126"/>
                      <a:pt x="825" y="1126"/>
                    </a:cubicBezTo>
                    <a:cubicBezTo>
                      <a:pt x="824" y="1120"/>
                      <a:pt x="824" y="1120"/>
                      <a:pt x="824" y="1120"/>
                    </a:cubicBezTo>
                    <a:cubicBezTo>
                      <a:pt x="817" y="1115"/>
                      <a:pt x="817" y="1115"/>
                      <a:pt x="817" y="1115"/>
                    </a:cubicBezTo>
                    <a:cubicBezTo>
                      <a:pt x="816" y="1116"/>
                      <a:pt x="816" y="1116"/>
                      <a:pt x="816" y="1116"/>
                    </a:cubicBezTo>
                    <a:cubicBezTo>
                      <a:pt x="817" y="1120"/>
                      <a:pt x="817" y="1120"/>
                      <a:pt x="817" y="1120"/>
                    </a:cubicBezTo>
                    <a:cubicBezTo>
                      <a:pt x="817" y="1123"/>
                      <a:pt x="817" y="1123"/>
                      <a:pt x="817" y="1123"/>
                    </a:cubicBezTo>
                    <a:cubicBezTo>
                      <a:pt x="815" y="1123"/>
                      <a:pt x="815" y="1123"/>
                      <a:pt x="815" y="1123"/>
                    </a:cubicBezTo>
                    <a:cubicBezTo>
                      <a:pt x="813" y="1119"/>
                      <a:pt x="813" y="1119"/>
                      <a:pt x="813" y="1119"/>
                    </a:cubicBezTo>
                    <a:cubicBezTo>
                      <a:pt x="811" y="1120"/>
                      <a:pt x="811" y="1120"/>
                      <a:pt x="811" y="1120"/>
                    </a:cubicBezTo>
                    <a:cubicBezTo>
                      <a:pt x="810" y="1123"/>
                      <a:pt x="810" y="1123"/>
                      <a:pt x="810" y="1123"/>
                    </a:cubicBezTo>
                    <a:cubicBezTo>
                      <a:pt x="808" y="1124"/>
                      <a:pt x="808" y="1124"/>
                      <a:pt x="808" y="1124"/>
                    </a:cubicBezTo>
                    <a:cubicBezTo>
                      <a:pt x="805" y="1122"/>
                      <a:pt x="805" y="1122"/>
                      <a:pt x="805" y="1122"/>
                    </a:cubicBezTo>
                    <a:cubicBezTo>
                      <a:pt x="801" y="1124"/>
                      <a:pt x="801" y="1124"/>
                      <a:pt x="801" y="1124"/>
                    </a:cubicBezTo>
                    <a:cubicBezTo>
                      <a:pt x="799" y="1123"/>
                      <a:pt x="799" y="1123"/>
                      <a:pt x="799" y="1123"/>
                    </a:cubicBezTo>
                    <a:cubicBezTo>
                      <a:pt x="797" y="1119"/>
                      <a:pt x="797" y="1119"/>
                      <a:pt x="797" y="1119"/>
                    </a:cubicBezTo>
                    <a:cubicBezTo>
                      <a:pt x="800" y="1118"/>
                      <a:pt x="800" y="1118"/>
                      <a:pt x="800" y="1118"/>
                    </a:cubicBezTo>
                    <a:cubicBezTo>
                      <a:pt x="800" y="1117"/>
                      <a:pt x="800" y="1117"/>
                      <a:pt x="800" y="1117"/>
                    </a:cubicBezTo>
                    <a:cubicBezTo>
                      <a:pt x="799" y="1113"/>
                      <a:pt x="799" y="1113"/>
                      <a:pt x="799" y="1113"/>
                    </a:cubicBezTo>
                    <a:cubicBezTo>
                      <a:pt x="800" y="1110"/>
                      <a:pt x="800" y="1110"/>
                      <a:pt x="800" y="1110"/>
                    </a:cubicBezTo>
                    <a:cubicBezTo>
                      <a:pt x="800" y="1108"/>
                      <a:pt x="800" y="1108"/>
                      <a:pt x="800" y="1108"/>
                    </a:cubicBezTo>
                    <a:cubicBezTo>
                      <a:pt x="797" y="1107"/>
                      <a:pt x="797" y="1107"/>
                      <a:pt x="797" y="1107"/>
                    </a:cubicBezTo>
                    <a:cubicBezTo>
                      <a:pt x="795" y="1104"/>
                      <a:pt x="795" y="1104"/>
                      <a:pt x="795" y="1104"/>
                    </a:cubicBezTo>
                    <a:cubicBezTo>
                      <a:pt x="793" y="1100"/>
                      <a:pt x="793" y="1100"/>
                      <a:pt x="793" y="1100"/>
                    </a:cubicBezTo>
                    <a:cubicBezTo>
                      <a:pt x="792" y="1099"/>
                      <a:pt x="792" y="1099"/>
                      <a:pt x="792" y="1099"/>
                    </a:cubicBezTo>
                    <a:cubicBezTo>
                      <a:pt x="790" y="1094"/>
                      <a:pt x="790" y="1094"/>
                      <a:pt x="790" y="1094"/>
                    </a:cubicBezTo>
                    <a:cubicBezTo>
                      <a:pt x="786" y="1094"/>
                      <a:pt x="786" y="1094"/>
                      <a:pt x="786" y="1094"/>
                    </a:cubicBezTo>
                    <a:cubicBezTo>
                      <a:pt x="782" y="1095"/>
                      <a:pt x="782" y="1095"/>
                      <a:pt x="782" y="1095"/>
                    </a:cubicBezTo>
                    <a:cubicBezTo>
                      <a:pt x="777" y="1096"/>
                      <a:pt x="777" y="1096"/>
                      <a:pt x="777" y="1096"/>
                    </a:cubicBezTo>
                    <a:cubicBezTo>
                      <a:pt x="773" y="1093"/>
                      <a:pt x="773" y="1093"/>
                      <a:pt x="773" y="1093"/>
                    </a:cubicBezTo>
                    <a:cubicBezTo>
                      <a:pt x="767" y="1093"/>
                      <a:pt x="767" y="1093"/>
                      <a:pt x="767" y="1093"/>
                    </a:cubicBezTo>
                    <a:cubicBezTo>
                      <a:pt x="763" y="1091"/>
                      <a:pt x="763" y="1091"/>
                      <a:pt x="763" y="1091"/>
                    </a:cubicBezTo>
                    <a:cubicBezTo>
                      <a:pt x="760" y="1092"/>
                      <a:pt x="760" y="1092"/>
                      <a:pt x="760" y="1092"/>
                    </a:cubicBezTo>
                    <a:cubicBezTo>
                      <a:pt x="757" y="1092"/>
                      <a:pt x="757" y="1092"/>
                      <a:pt x="757" y="1092"/>
                    </a:cubicBezTo>
                    <a:cubicBezTo>
                      <a:pt x="754" y="1094"/>
                      <a:pt x="754" y="1094"/>
                      <a:pt x="754" y="1094"/>
                    </a:cubicBezTo>
                    <a:cubicBezTo>
                      <a:pt x="753" y="1097"/>
                      <a:pt x="753" y="1097"/>
                      <a:pt x="753" y="1097"/>
                    </a:cubicBezTo>
                    <a:cubicBezTo>
                      <a:pt x="748" y="1097"/>
                      <a:pt x="748" y="1097"/>
                      <a:pt x="748" y="1097"/>
                    </a:cubicBezTo>
                    <a:cubicBezTo>
                      <a:pt x="746" y="1099"/>
                      <a:pt x="746" y="1099"/>
                      <a:pt x="746" y="1099"/>
                    </a:cubicBezTo>
                    <a:cubicBezTo>
                      <a:pt x="748" y="1101"/>
                      <a:pt x="748" y="1101"/>
                      <a:pt x="748" y="1101"/>
                    </a:cubicBezTo>
                    <a:cubicBezTo>
                      <a:pt x="748" y="1104"/>
                      <a:pt x="748" y="1104"/>
                      <a:pt x="748" y="1104"/>
                    </a:cubicBezTo>
                    <a:cubicBezTo>
                      <a:pt x="743" y="1105"/>
                      <a:pt x="743" y="1105"/>
                      <a:pt x="743" y="1105"/>
                    </a:cubicBezTo>
                    <a:cubicBezTo>
                      <a:pt x="740" y="1104"/>
                      <a:pt x="740" y="1104"/>
                      <a:pt x="740" y="1104"/>
                    </a:cubicBezTo>
                    <a:cubicBezTo>
                      <a:pt x="737" y="1108"/>
                      <a:pt x="737" y="1108"/>
                      <a:pt x="737" y="1108"/>
                    </a:cubicBezTo>
                    <a:cubicBezTo>
                      <a:pt x="733" y="1109"/>
                      <a:pt x="733" y="1109"/>
                      <a:pt x="733" y="1109"/>
                    </a:cubicBezTo>
                    <a:cubicBezTo>
                      <a:pt x="731" y="1110"/>
                      <a:pt x="731" y="1110"/>
                      <a:pt x="731" y="1110"/>
                    </a:cubicBezTo>
                    <a:cubicBezTo>
                      <a:pt x="729" y="1110"/>
                      <a:pt x="729" y="1110"/>
                      <a:pt x="729" y="1110"/>
                    </a:cubicBezTo>
                    <a:cubicBezTo>
                      <a:pt x="721" y="1115"/>
                      <a:pt x="721" y="1115"/>
                      <a:pt x="721" y="1115"/>
                    </a:cubicBezTo>
                    <a:cubicBezTo>
                      <a:pt x="717" y="1116"/>
                      <a:pt x="717" y="1116"/>
                      <a:pt x="717" y="1116"/>
                    </a:cubicBezTo>
                    <a:cubicBezTo>
                      <a:pt x="713" y="1118"/>
                      <a:pt x="713" y="1118"/>
                      <a:pt x="713" y="1118"/>
                    </a:cubicBezTo>
                    <a:cubicBezTo>
                      <a:pt x="710" y="1118"/>
                      <a:pt x="710" y="1118"/>
                      <a:pt x="710" y="1118"/>
                    </a:cubicBezTo>
                    <a:cubicBezTo>
                      <a:pt x="708" y="1116"/>
                      <a:pt x="708" y="1116"/>
                      <a:pt x="708" y="1116"/>
                    </a:cubicBezTo>
                    <a:cubicBezTo>
                      <a:pt x="706" y="1118"/>
                      <a:pt x="706" y="1118"/>
                      <a:pt x="706" y="1118"/>
                    </a:cubicBezTo>
                    <a:cubicBezTo>
                      <a:pt x="705" y="1120"/>
                      <a:pt x="705" y="1120"/>
                      <a:pt x="705" y="1120"/>
                    </a:cubicBezTo>
                    <a:cubicBezTo>
                      <a:pt x="701" y="1120"/>
                      <a:pt x="701" y="1120"/>
                      <a:pt x="701" y="1120"/>
                    </a:cubicBezTo>
                    <a:cubicBezTo>
                      <a:pt x="699" y="1122"/>
                      <a:pt x="699" y="1122"/>
                      <a:pt x="699" y="1122"/>
                    </a:cubicBezTo>
                    <a:cubicBezTo>
                      <a:pt x="699" y="1126"/>
                      <a:pt x="699" y="1126"/>
                      <a:pt x="699" y="1126"/>
                    </a:cubicBezTo>
                    <a:cubicBezTo>
                      <a:pt x="698" y="1128"/>
                      <a:pt x="698" y="1128"/>
                      <a:pt x="698" y="1128"/>
                    </a:cubicBezTo>
                    <a:cubicBezTo>
                      <a:pt x="695" y="1126"/>
                      <a:pt x="695" y="1126"/>
                      <a:pt x="695" y="1126"/>
                    </a:cubicBezTo>
                    <a:cubicBezTo>
                      <a:pt x="692" y="1127"/>
                      <a:pt x="692" y="1127"/>
                      <a:pt x="692" y="1127"/>
                    </a:cubicBezTo>
                    <a:cubicBezTo>
                      <a:pt x="689" y="1129"/>
                      <a:pt x="689" y="1129"/>
                      <a:pt x="689" y="1129"/>
                    </a:cubicBezTo>
                    <a:cubicBezTo>
                      <a:pt x="684" y="1129"/>
                      <a:pt x="684" y="1129"/>
                      <a:pt x="684" y="1129"/>
                    </a:cubicBezTo>
                    <a:cubicBezTo>
                      <a:pt x="679" y="1132"/>
                      <a:pt x="679" y="1132"/>
                      <a:pt x="679" y="1132"/>
                    </a:cubicBezTo>
                    <a:cubicBezTo>
                      <a:pt x="678" y="1134"/>
                      <a:pt x="678" y="1134"/>
                      <a:pt x="678" y="1134"/>
                    </a:cubicBezTo>
                    <a:cubicBezTo>
                      <a:pt x="673" y="1134"/>
                      <a:pt x="673" y="1134"/>
                      <a:pt x="673" y="1134"/>
                    </a:cubicBezTo>
                    <a:cubicBezTo>
                      <a:pt x="668" y="1136"/>
                      <a:pt x="668" y="1136"/>
                      <a:pt x="668" y="1136"/>
                    </a:cubicBezTo>
                    <a:cubicBezTo>
                      <a:pt x="664" y="1137"/>
                      <a:pt x="664" y="1137"/>
                      <a:pt x="664" y="1137"/>
                    </a:cubicBezTo>
                    <a:cubicBezTo>
                      <a:pt x="657" y="1139"/>
                      <a:pt x="657" y="1139"/>
                      <a:pt x="657" y="1139"/>
                    </a:cubicBezTo>
                    <a:cubicBezTo>
                      <a:pt x="657" y="1141"/>
                      <a:pt x="657" y="1141"/>
                      <a:pt x="657" y="1141"/>
                    </a:cubicBezTo>
                    <a:cubicBezTo>
                      <a:pt x="655" y="1144"/>
                      <a:pt x="655" y="1144"/>
                      <a:pt x="655" y="1144"/>
                    </a:cubicBezTo>
                    <a:cubicBezTo>
                      <a:pt x="653" y="1140"/>
                      <a:pt x="653" y="1140"/>
                      <a:pt x="653" y="1140"/>
                    </a:cubicBezTo>
                    <a:cubicBezTo>
                      <a:pt x="649" y="1140"/>
                      <a:pt x="649" y="1140"/>
                      <a:pt x="649" y="1140"/>
                    </a:cubicBezTo>
                    <a:cubicBezTo>
                      <a:pt x="646" y="1142"/>
                      <a:pt x="646" y="1142"/>
                      <a:pt x="646" y="1142"/>
                    </a:cubicBezTo>
                    <a:cubicBezTo>
                      <a:pt x="646" y="1145"/>
                      <a:pt x="646" y="1145"/>
                      <a:pt x="646" y="1145"/>
                    </a:cubicBezTo>
                    <a:cubicBezTo>
                      <a:pt x="644" y="1146"/>
                      <a:pt x="644" y="1146"/>
                      <a:pt x="644" y="1146"/>
                    </a:cubicBezTo>
                    <a:cubicBezTo>
                      <a:pt x="641" y="1144"/>
                      <a:pt x="641" y="1144"/>
                      <a:pt x="641" y="1144"/>
                    </a:cubicBezTo>
                    <a:cubicBezTo>
                      <a:pt x="637" y="1145"/>
                      <a:pt x="637" y="1145"/>
                      <a:pt x="637" y="1145"/>
                    </a:cubicBezTo>
                    <a:cubicBezTo>
                      <a:pt x="635" y="1142"/>
                      <a:pt x="635" y="1142"/>
                      <a:pt x="635" y="1142"/>
                    </a:cubicBezTo>
                    <a:cubicBezTo>
                      <a:pt x="633" y="1142"/>
                      <a:pt x="633" y="1142"/>
                      <a:pt x="633" y="1142"/>
                    </a:cubicBezTo>
                    <a:cubicBezTo>
                      <a:pt x="631" y="1145"/>
                      <a:pt x="631" y="1145"/>
                      <a:pt x="631" y="1145"/>
                    </a:cubicBezTo>
                    <a:cubicBezTo>
                      <a:pt x="626" y="1145"/>
                      <a:pt x="626" y="1145"/>
                      <a:pt x="626" y="1145"/>
                    </a:cubicBezTo>
                    <a:cubicBezTo>
                      <a:pt x="625" y="1146"/>
                      <a:pt x="625" y="1146"/>
                      <a:pt x="625" y="1146"/>
                    </a:cubicBezTo>
                    <a:cubicBezTo>
                      <a:pt x="627" y="1151"/>
                      <a:pt x="627" y="1151"/>
                      <a:pt x="627" y="1151"/>
                    </a:cubicBezTo>
                    <a:cubicBezTo>
                      <a:pt x="625" y="1152"/>
                      <a:pt x="625" y="1152"/>
                      <a:pt x="625" y="1152"/>
                    </a:cubicBezTo>
                    <a:cubicBezTo>
                      <a:pt x="629" y="1153"/>
                      <a:pt x="629" y="1153"/>
                      <a:pt x="629" y="1153"/>
                    </a:cubicBezTo>
                    <a:cubicBezTo>
                      <a:pt x="634" y="1153"/>
                      <a:pt x="634" y="1153"/>
                      <a:pt x="634" y="1153"/>
                    </a:cubicBezTo>
                    <a:cubicBezTo>
                      <a:pt x="635" y="1157"/>
                      <a:pt x="635" y="1157"/>
                      <a:pt x="635" y="1157"/>
                    </a:cubicBezTo>
                    <a:cubicBezTo>
                      <a:pt x="630" y="1157"/>
                      <a:pt x="630" y="1157"/>
                      <a:pt x="630" y="1157"/>
                    </a:cubicBezTo>
                    <a:cubicBezTo>
                      <a:pt x="628" y="1158"/>
                      <a:pt x="628" y="1158"/>
                      <a:pt x="628" y="1158"/>
                    </a:cubicBezTo>
                    <a:cubicBezTo>
                      <a:pt x="629" y="1161"/>
                      <a:pt x="629" y="1161"/>
                      <a:pt x="629" y="1161"/>
                    </a:cubicBezTo>
                    <a:cubicBezTo>
                      <a:pt x="634" y="1161"/>
                      <a:pt x="634" y="1161"/>
                      <a:pt x="634" y="1161"/>
                    </a:cubicBezTo>
                    <a:cubicBezTo>
                      <a:pt x="638" y="1162"/>
                      <a:pt x="638" y="1162"/>
                      <a:pt x="638" y="1162"/>
                    </a:cubicBezTo>
                    <a:cubicBezTo>
                      <a:pt x="640" y="1161"/>
                      <a:pt x="640" y="1161"/>
                      <a:pt x="640" y="1161"/>
                    </a:cubicBezTo>
                    <a:cubicBezTo>
                      <a:pt x="643" y="1161"/>
                      <a:pt x="643" y="1161"/>
                      <a:pt x="643" y="1161"/>
                    </a:cubicBezTo>
                    <a:cubicBezTo>
                      <a:pt x="646" y="1163"/>
                      <a:pt x="646" y="1163"/>
                      <a:pt x="646" y="1163"/>
                    </a:cubicBezTo>
                    <a:cubicBezTo>
                      <a:pt x="650" y="1165"/>
                      <a:pt x="650" y="1165"/>
                      <a:pt x="650" y="1165"/>
                    </a:cubicBezTo>
                    <a:cubicBezTo>
                      <a:pt x="650" y="1168"/>
                      <a:pt x="650" y="1168"/>
                      <a:pt x="650" y="1168"/>
                    </a:cubicBezTo>
                    <a:cubicBezTo>
                      <a:pt x="647" y="1170"/>
                      <a:pt x="647" y="1170"/>
                      <a:pt x="647" y="1170"/>
                    </a:cubicBezTo>
                    <a:cubicBezTo>
                      <a:pt x="644" y="1169"/>
                      <a:pt x="644" y="1169"/>
                      <a:pt x="644" y="1169"/>
                    </a:cubicBezTo>
                    <a:cubicBezTo>
                      <a:pt x="636" y="1169"/>
                      <a:pt x="636" y="1169"/>
                      <a:pt x="636" y="1169"/>
                    </a:cubicBezTo>
                    <a:cubicBezTo>
                      <a:pt x="632" y="1173"/>
                      <a:pt x="632" y="1173"/>
                      <a:pt x="632" y="1173"/>
                    </a:cubicBezTo>
                    <a:cubicBezTo>
                      <a:pt x="627" y="1179"/>
                      <a:pt x="627" y="1179"/>
                      <a:pt x="627" y="1179"/>
                    </a:cubicBezTo>
                    <a:cubicBezTo>
                      <a:pt x="628" y="1183"/>
                      <a:pt x="628" y="1183"/>
                      <a:pt x="628" y="1183"/>
                    </a:cubicBezTo>
                    <a:cubicBezTo>
                      <a:pt x="631" y="1184"/>
                      <a:pt x="631" y="1184"/>
                      <a:pt x="631" y="1184"/>
                    </a:cubicBezTo>
                    <a:cubicBezTo>
                      <a:pt x="632" y="1188"/>
                      <a:pt x="632" y="1188"/>
                      <a:pt x="632" y="1188"/>
                    </a:cubicBezTo>
                    <a:cubicBezTo>
                      <a:pt x="629" y="1191"/>
                      <a:pt x="629" y="1191"/>
                      <a:pt x="629" y="1191"/>
                    </a:cubicBezTo>
                    <a:cubicBezTo>
                      <a:pt x="628" y="1195"/>
                      <a:pt x="628" y="1195"/>
                      <a:pt x="628" y="1195"/>
                    </a:cubicBezTo>
                    <a:cubicBezTo>
                      <a:pt x="625" y="1196"/>
                      <a:pt x="625" y="1196"/>
                      <a:pt x="625" y="1196"/>
                    </a:cubicBezTo>
                    <a:cubicBezTo>
                      <a:pt x="624" y="1198"/>
                      <a:pt x="624" y="1198"/>
                      <a:pt x="624" y="1198"/>
                    </a:cubicBezTo>
                    <a:cubicBezTo>
                      <a:pt x="625" y="1200"/>
                      <a:pt x="625" y="1200"/>
                      <a:pt x="625" y="1200"/>
                    </a:cubicBezTo>
                    <a:cubicBezTo>
                      <a:pt x="625" y="1202"/>
                      <a:pt x="625" y="1202"/>
                      <a:pt x="625" y="1202"/>
                    </a:cubicBezTo>
                    <a:cubicBezTo>
                      <a:pt x="630" y="1202"/>
                      <a:pt x="630" y="1202"/>
                      <a:pt x="630" y="1202"/>
                    </a:cubicBezTo>
                    <a:cubicBezTo>
                      <a:pt x="633" y="1205"/>
                      <a:pt x="633" y="1205"/>
                      <a:pt x="633" y="1205"/>
                    </a:cubicBezTo>
                    <a:cubicBezTo>
                      <a:pt x="637" y="1206"/>
                      <a:pt x="637" y="1206"/>
                      <a:pt x="637" y="1206"/>
                    </a:cubicBezTo>
                    <a:cubicBezTo>
                      <a:pt x="638" y="1208"/>
                      <a:pt x="638" y="1208"/>
                      <a:pt x="638" y="1208"/>
                    </a:cubicBezTo>
                    <a:cubicBezTo>
                      <a:pt x="641" y="1210"/>
                      <a:pt x="641" y="1210"/>
                      <a:pt x="641" y="1210"/>
                    </a:cubicBezTo>
                    <a:cubicBezTo>
                      <a:pt x="647" y="1210"/>
                      <a:pt x="647" y="1210"/>
                      <a:pt x="647" y="1210"/>
                    </a:cubicBezTo>
                    <a:cubicBezTo>
                      <a:pt x="649" y="1212"/>
                      <a:pt x="649" y="1212"/>
                      <a:pt x="649" y="1212"/>
                    </a:cubicBezTo>
                    <a:cubicBezTo>
                      <a:pt x="650" y="1226"/>
                      <a:pt x="650" y="1226"/>
                      <a:pt x="650" y="1226"/>
                    </a:cubicBezTo>
                    <a:cubicBezTo>
                      <a:pt x="648" y="1229"/>
                      <a:pt x="648" y="1229"/>
                      <a:pt x="648" y="1229"/>
                    </a:cubicBezTo>
                    <a:cubicBezTo>
                      <a:pt x="641" y="1232"/>
                      <a:pt x="641" y="1232"/>
                      <a:pt x="641" y="1232"/>
                    </a:cubicBezTo>
                    <a:cubicBezTo>
                      <a:pt x="636" y="1231"/>
                      <a:pt x="636" y="1231"/>
                      <a:pt x="636" y="1231"/>
                    </a:cubicBezTo>
                    <a:cubicBezTo>
                      <a:pt x="630" y="1228"/>
                      <a:pt x="630" y="1228"/>
                      <a:pt x="630" y="1228"/>
                    </a:cubicBezTo>
                    <a:cubicBezTo>
                      <a:pt x="628" y="1229"/>
                      <a:pt x="628" y="1229"/>
                      <a:pt x="628" y="1229"/>
                    </a:cubicBezTo>
                    <a:cubicBezTo>
                      <a:pt x="628" y="1233"/>
                      <a:pt x="628" y="1233"/>
                      <a:pt x="628" y="1233"/>
                    </a:cubicBezTo>
                    <a:cubicBezTo>
                      <a:pt x="626" y="1237"/>
                      <a:pt x="626" y="1237"/>
                      <a:pt x="626" y="1237"/>
                    </a:cubicBezTo>
                    <a:cubicBezTo>
                      <a:pt x="622" y="1238"/>
                      <a:pt x="622" y="1238"/>
                      <a:pt x="622" y="1238"/>
                    </a:cubicBezTo>
                    <a:cubicBezTo>
                      <a:pt x="615" y="1234"/>
                      <a:pt x="615" y="1234"/>
                      <a:pt x="615" y="1234"/>
                    </a:cubicBezTo>
                    <a:cubicBezTo>
                      <a:pt x="609" y="1234"/>
                      <a:pt x="609" y="1234"/>
                      <a:pt x="609" y="1234"/>
                    </a:cubicBezTo>
                    <a:cubicBezTo>
                      <a:pt x="606" y="1233"/>
                      <a:pt x="606" y="1233"/>
                      <a:pt x="606" y="1233"/>
                    </a:cubicBezTo>
                    <a:cubicBezTo>
                      <a:pt x="605" y="1234"/>
                      <a:pt x="605" y="1234"/>
                      <a:pt x="605" y="1234"/>
                    </a:cubicBezTo>
                    <a:cubicBezTo>
                      <a:pt x="601" y="1233"/>
                      <a:pt x="601" y="1233"/>
                      <a:pt x="601" y="1233"/>
                    </a:cubicBezTo>
                    <a:cubicBezTo>
                      <a:pt x="597" y="1229"/>
                      <a:pt x="597" y="1229"/>
                      <a:pt x="597" y="1229"/>
                    </a:cubicBezTo>
                    <a:cubicBezTo>
                      <a:pt x="600" y="1227"/>
                      <a:pt x="600" y="1227"/>
                      <a:pt x="600" y="1227"/>
                    </a:cubicBezTo>
                    <a:cubicBezTo>
                      <a:pt x="602" y="1225"/>
                      <a:pt x="602" y="1225"/>
                      <a:pt x="602" y="1225"/>
                    </a:cubicBezTo>
                    <a:cubicBezTo>
                      <a:pt x="599" y="1223"/>
                      <a:pt x="599" y="1223"/>
                      <a:pt x="599" y="1223"/>
                    </a:cubicBezTo>
                    <a:cubicBezTo>
                      <a:pt x="594" y="1221"/>
                      <a:pt x="594" y="1221"/>
                      <a:pt x="594" y="1221"/>
                    </a:cubicBezTo>
                    <a:cubicBezTo>
                      <a:pt x="592" y="1223"/>
                      <a:pt x="592" y="1223"/>
                      <a:pt x="592" y="1223"/>
                    </a:cubicBezTo>
                    <a:cubicBezTo>
                      <a:pt x="588" y="1223"/>
                      <a:pt x="588" y="1223"/>
                      <a:pt x="588" y="1223"/>
                    </a:cubicBezTo>
                    <a:cubicBezTo>
                      <a:pt x="585" y="1224"/>
                      <a:pt x="585" y="1224"/>
                      <a:pt x="585" y="1224"/>
                    </a:cubicBezTo>
                    <a:cubicBezTo>
                      <a:pt x="586" y="1228"/>
                      <a:pt x="586" y="1228"/>
                      <a:pt x="586" y="1228"/>
                    </a:cubicBezTo>
                    <a:cubicBezTo>
                      <a:pt x="580" y="1229"/>
                      <a:pt x="580" y="1229"/>
                      <a:pt x="580" y="1229"/>
                    </a:cubicBezTo>
                    <a:cubicBezTo>
                      <a:pt x="579" y="1227"/>
                      <a:pt x="579" y="1227"/>
                      <a:pt x="579" y="1227"/>
                    </a:cubicBezTo>
                    <a:cubicBezTo>
                      <a:pt x="574" y="1222"/>
                      <a:pt x="574" y="1222"/>
                      <a:pt x="574" y="1222"/>
                    </a:cubicBezTo>
                    <a:cubicBezTo>
                      <a:pt x="569" y="1223"/>
                      <a:pt x="569" y="1223"/>
                      <a:pt x="569" y="1223"/>
                    </a:cubicBezTo>
                    <a:cubicBezTo>
                      <a:pt x="567" y="1226"/>
                      <a:pt x="567" y="1226"/>
                      <a:pt x="567" y="1226"/>
                    </a:cubicBezTo>
                    <a:cubicBezTo>
                      <a:pt x="565" y="1223"/>
                      <a:pt x="565" y="1223"/>
                      <a:pt x="565" y="1223"/>
                    </a:cubicBezTo>
                    <a:cubicBezTo>
                      <a:pt x="562" y="1224"/>
                      <a:pt x="562" y="1224"/>
                      <a:pt x="562" y="1224"/>
                    </a:cubicBezTo>
                    <a:cubicBezTo>
                      <a:pt x="562" y="1227"/>
                      <a:pt x="562" y="1227"/>
                      <a:pt x="562" y="1227"/>
                    </a:cubicBezTo>
                    <a:cubicBezTo>
                      <a:pt x="558" y="1228"/>
                      <a:pt x="558" y="1228"/>
                      <a:pt x="558" y="1228"/>
                    </a:cubicBezTo>
                    <a:cubicBezTo>
                      <a:pt x="557" y="1235"/>
                      <a:pt x="557" y="1235"/>
                      <a:pt x="557" y="1235"/>
                    </a:cubicBezTo>
                    <a:cubicBezTo>
                      <a:pt x="553" y="1238"/>
                      <a:pt x="553" y="1238"/>
                      <a:pt x="553" y="1238"/>
                    </a:cubicBezTo>
                    <a:cubicBezTo>
                      <a:pt x="550" y="1237"/>
                      <a:pt x="550" y="1237"/>
                      <a:pt x="550" y="1237"/>
                    </a:cubicBezTo>
                    <a:cubicBezTo>
                      <a:pt x="547" y="1233"/>
                      <a:pt x="547" y="1233"/>
                      <a:pt x="547" y="1233"/>
                    </a:cubicBezTo>
                    <a:cubicBezTo>
                      <a:pt x="540" y="1232"/>
                      <a:pt x="540" y="1232"/>
                      <a:pt x="540" y="1232"/>
                    </a:cubicBezTo>
                    <a:cubicBezTo>
                      <a:pt x="538" y="1229"/>
                      <a:pt x="538" y="1229"/>
                      <a:pt x="538" y="1229"/>
                    </a:cubicBezTo>
                    <a:cubicBezTo>
                      <a:pt x="534" y="1231"/>
                      <a:pt x="534" y="1231"/>
                      <a:pt x="534" y="1231"/>
                    </a:cubicBezTo>
                    <a:cubicBezTo>
                      <a:pt x="534" y="1236"/>
                      <a:pt x="534" y="1236"/>
                      <a:pt x="534" y="1236"/>
                    </a:cubicBezTo>
                    <a:cubicBezTo>
                      <a:pt x="532" y="1239"/>
                      <a:pt x="532" y="1239"/>
                      <a:pt x="532" y="1239"/>
                    </a:cubicBezTo>
                    <a:cubicBezTo>
                      <a:pt x="529" y="1239"/>
                      <a:pt x="529" y="1239"/>
                      <a:pt x="529" y="1239"/>
                    </a:cubicBezTo>
                    <a:cubicBezTo>
                      <a:pt x="529" y="1234"/>
                      <a:pt x="529" y="1234"/>
                      <a:pt x="529" y="1234"/>
                    </a:cubicBezTo>
                    <a:cubicBezTo>
                      <a:pt x="528" y="1232"/>
                      <a:pt x="528" y="1232"/>
                      <a:pt x="528" y="1232"/>
                    </a:cubicBezTo>
                    <a:cubicBezTo>
                      <a:pt x="525" y="1231"/>
                      <a:pt x="525" y="1231"/>
                      <a:pt x="525" y="1231"/>
                    </a:cubicBezTo>
                    <a:cubicBezTo>
                      <a:pt x="519" y="1228"/>
                      <a:pt x="519" y="1228"/>
                      <a:pt x="519" y="1228"/>
                    </a:cubicBezTo>
                    <a:cubicBezTo>
                      <a:pt x="516" y="1224"/>
                      <a:pt x="516" y="1224"/>
                      <a:pt x="516" y="1224"/>
                    </a:cubicBezTo>
                    <a:cubicBezTo>
                      <a:pt x="512" y="1224"/>
                      <a:pt x="512" y="1224"/>
                      <a:pt x="512" y="1224"/>
                    </a:cubicBezTo>
                    <a:cubicBezTo>
                      <a:pt x="508" y="1219"/>
                      <a:pt x="508" y="1219"/>
                      <a:pt x="508" y="1219"/>
                    </a:cubicBezTo>
                    <a:cubicBezTo>
                      <a:pt x="506" y="1219"/>
                      <a:pt x="506" y="1219"/>
                      <a:pt x="506" y="1219"/>
                    </a:cubicBezTo>
                    <a:cubicBezTo>
                      <a:pt x="504" y="1216"/>
                      <a:pt x="504" y="1216"/>
                      <a:pt x="504" y="1216"/>
                    </a:cubicBezTo>
                    <a:cubicBezTo>
                      <a:pt x="501" y="1216"/>
                      <a:pt x="501" y="1216"/>
                      <a:pt x="501" y="1216"/>
                    </a:cubicBezTo>
                    <a:cubicBezTo>
                      <a:pt x="494" y="1218"/>
                      <a:pt x="494" y="1218"/>
                      <a:pt x="494" y="1218"/>
                    </a:cubicBezTo>
                    <a:cubicBezTo>
                      <a:pt x="490" y="1215"/>
                      <a:pt x="490" y="1215"/>
                      <a:pt x="490" y="1215"/>
                    </a:cubicBezTo>
                    <a:cubicBezTo>
                      <a:pt x="487" y="1210"/>
                      <a:pt x="487" y="1210"/>
                      <a:pt x="487" y="1210"/>
                    </a:cubicBezTo>
                    <a:cubicBezTo>
                      <a:pt x="484" y="1210"/>
                      <a:pt x="484" y="1210"/>
                      <a:pt x="484" y="1210"/>
                    </a:cubicBezTo>
                    <a:cubicBezTo>
                      <a:pt x="480" y="1213"/>
                      <a:pt x="480" y="1213"/>
                      <a:pt x="480" y="1213"/>
                    </a:cubicBezTo>
                    <a:cubicBezTo>
                      <a:pt x="476" y="1213"/>
                      <a:pt x="476" y="1213"/>
                      <a:pt x="476" y="1213"/>
                    </a:cubicBezTo>
                    <a:cubicBezTo>
                      <a:pt x="476" y="1216"/>
                      <a:pt x="476" y="1216"/>
                      <a:pt x="476" y="1216"/>
                    </a:cubicBezTo>
                    <a:cubicBezTo>
                      <a:pt x="473" y="1218"/>
                      <a:pt x="473" y="1218"/>
                      <a:pt x="473" y="1218"/>
                    </a:cubicBezTo>
                    <a:cubicBezTo>
                      <a:pt x="473" y="1215"/>
                      <a:pt x="473" y="1215"/>
                      <a:pt x="473" y="1215"/>
                    </a:cubicBezTo>
                    <a:cubicBezTo>
                      <a:pt x="470" y="1217"/>
                      <a:pt x="470" y="1217"/>
                      <a:pt x="470" y="1217"/>
                    </a:cubicBezTo>
                    <a:cubicBezTo>
                      <a:pt x="469" y="1219"/>
                      <a:pt x="469" y="1219"/>
                      <a:pt x="469" y="1219"/>
                    </a:cubicBezTo>
                    <a:cubicBezTo>
                      <a:pt x="466" y="1221"/>
                      <a:pt x="466" y="1221"/>
                      <a:pt x="466" y="1221"/>
                    </a:cubicBezTo>
                    <a:cubicBezTo>
                      <a:pt x="464" y="1220"/>
                      <a:pt x="464" y="1220"/>
                      <a:pt x="464" y="1220"/>
                    </a:cubicBezTo>
                    <a:cubicBezTo>
                      <a:pt x="467" y="1217"/>
                      <a:pt x="467" y="1217"/>
                      <a:pt x="467" y="1217"/>
                    </a:cubicBezTo>
                    <a:cubicBezTo>
                      <a:pt x="467" y="1214"/>
                      <a:pt x="467" y="1214"/>
                      <a:pt x="467" y="1214"/>
                    </a:cubicBezTo>
                    <a:cubicBezTo>
                      <a:pt x="463" y="1212"/>
                      <a:pt x="463" y="1212"/>
                      <a:pt x="463" y="1212"/>
                    </a:cubicBezTo>
                    <a:cubicBezTo>
                      <a:pt x="457" y="1209"/>
                      <a:pt x="457" y="1209"/>
                      <a:pt x="457" y="1209"/>
                    </a:cubicBezTo>
                    <a:cubicBezTo>
                      <a:pt x="456" y="1211"/>
                      <a:pt x="456" y="1211"/>
                      <a:pt x="456" y="1211"/>
                    </a:cubicBezTo>
                    <a:cubicBezTo>
                      <a:pt x="457" y="1215"/>
                      <a:pt x="457" y="1215"/>
                      <a:pt x="457" y="1215"/>
                    </a:cubicBezTo>
                    <a:cubicBezTo>
                      <a:pt x="456" y="1218"/>
                      <a:pt x="456" y="1218"/>
                      <a:pt x="456" y="1218"/>
                    </a:cubicBezTo>
                    <a:cubicBezTo>
                      <a:pt x="452" y="1217"/>
                      <a:pt x="452" y="1217"/>
                      <a:pt x="452" y="1217"/>
                    </a:cubicBezTo>
                    <a:cubicBezTo>
                      <a:pt x="449" y="1219"/>
                      <a:pt x="449" y="1219"/>
                      <a:pt x="449" y="1219"/>
                    </a:cubicBezTo>
                    <a:cubicBezTo>
                      <a:pt x="448" y="1224"/>
                      <a:pt x="448" y="1224"/>
                      <a:pt x="448" y="1224"/>
                    </a:cubicBezTo>
                    <a:cubicBezTo>
                      <a:pt x="445" y="1224"/>
                      <a:pt x="445" y="1224"/>
                      <a:pt x="445" y="1224"/>
                    </a:cubicBezTo>
                    <a:cubicBezTo>
                      <a:pt x="439" y="1228"/>
                      <a:pt x="439" y="1228"/>
                      <a:pt x="439" y="1228"/>
                    </a:cubicBezTo>
                    <a:cubicBezTo>
                      <a:pt x="438" y="1232"/>
                      <a:pt x="438" y="1232"/>
                      <a:pt x="438" y="1232"/>
                    </a:cubicBezTo>
                    <a:cubicBezTo>
                      <a:pt x="441" y="1235"/>
                      <a:pt x="441" y="1235"/>
                      <a:pt x="441" y="1235"/>
                    </a:cubicBezTo>
                    <a:cubicBezTo>
                      <a:pt x="441" y="1240"/>
                      <a:pt x="441" y="1240"/>
                      <a:pt x="441" y="1240"/>
                    </a:cubicBezTo>
                    <a:cubicBezTo>
                      <a:pt x="435" y="1240"/>
                      <a:pt x="435" y="1240"/>
                      <a:pt x="435" y="1240"/>
                    </a:cubicBezTo>
                    <a:cubicBezTo>
                      <a:pt x="429" y="1240"/>
                      <a:pt x="429" y="1240"/>
                      <a:pt x="429" y="1240"/>
                    </a:cubicBezTo>
                    <a:cubicBezTo>
                      <a:pt x="433" y="1255"/>
                      <a:pt x="433" y="1255"/>
                      <a:pt x="433" y="1255"/>
                    </a:cubicBezTo>
                    <a:cubicBezTo>
                      <a:pt x="431" y="1257"/>
                      <a:pt x="431" y="1257"/>
                      <a:pt x="431" y="1257"/>
                    </a:cubicBezTo>
                    <a:cubicBezTo>
                      <a:pt x="431" y="1263"/>
                      <a:pt x="431" y="1263"/>
                      <a:pt x="431" y="1263"/>
                    </a:cubicBezTo>
                    <a:cubicBezTo>
                      <a:pt x="425" y="1263"/>
                      <a:pt x="425" y="1263"/>
                      <a:pt x="425" y="1263"/>
                    </a:cubicBezTo>
                    <a:cubicBezTo>
                      <a:pt x="420" y="1260"/>
                      <a:pt x="420" y="1260"/>
                      <a:pt x="420" y="1260"/>
                    </a:cubicBezTo>
                    <a:cubicBezTo>
                      <a:pt x="418" y="1256"/>
                      <a:pt x="418" y="1256"/>
                      <a:pt x="418" y="1256"/>
                    </a:cubicBezTo>
                    <a:cubicBezTo>
                      <a:pt x="408" y="1247"/>
                      <a:pt x="408" y="1247"/>
                      <a:pt x="408" y="1247"/>
                    </a:cubicBezTo>
                    <a:cubicBezTo>
                      <a:pt x="405" y="1251"/>
                      <a:pt x="405" y="1251"/>
                      <a:pt x="405" y="1251"/>
                    </a:cubicBezTo>
                    <a:cubicBezTo>
                      <a:pt x="405" y="1256"/>
                      <a:pt x="405" y="1256"/>
                      <a:pt x="405" y="1256"/>
                    </a:cubicBezTo>
                    <a:cubicBezTo>
                      <a:pt x="400" y="1262"/>
                      <a:pt x="400" y="1262"/>
                      <a:pt x="400" y="1262"/>
                    </a:cubicBezTo>
                    <a:cubicBezTo>
                      <a:pt x="396" y="1264"/>
                      <a:pt x="396" y="1264"/>
                      <a:pt x="396" y="1264"/>
                    </a:cubicBezTo>
                    <a:cubicBezTo>
                      <a:pt x="397" y="1273"/>
                      <a:pt x="397" y="1273"/>
                      <a:pt x="397" y="1273"/>
                    </a:cubicBezTo>
                    <a:cubicBezTo>
                      <a:pt x="400" y="1275"/>
                      <a:pt x="400" y="1275"/>
                      <a:pt x="400" y="1275"/>
                    </a:cubicBezTo>
                    <a:cubicBezTo>
                      <a:pt x="399" y="1287"/>
                      <a:pt x="399" y="1287"/>
                      <a:pt x="399" y="1287"/>
                    </a:cubicBezTo>
                    <a:cubicBezTo>
                      <a:pt x="396" y="1293"/>
                      <a:pt x="396" y="1293"/>
                      <a:pt x="396" y="1293"/>
                    </a:cubicBezTo>
                    <a:cubicBezTo>
                      <a:pt x="404" y="1296"/>
                      <a:pt x="404" y="1296"/>
                      <a:pt x="404" y="1296"/>
                    </a:cubicBezTo>
                    <a:cubicBezTo>
                      <a:pt x="407" y="1301"/>
                      <a:pt x="407" y="1301"/>
                      <a:pt x="407" y="1301"/>
                    </a:cubicBezTo>
                    <a:cubicBezTo>
                      <a:pt x="406" y="1304"/>
                      <a:pt x="406" y="1304"/>
                      <a:pt x="406" y="1304"/>
                    </a:cubicBezTo>
                    <a:cubicBezTo>
                      <a:pt x="412" y="1309"/>
                      <a:pt x="412" y="1309"/>
                      <a:pt x="412" y="1309"/>
                    </a:cubicBezTo>
                    <a:cubicBezTo>
                      <a:pt x="414" y="1307"/>
                      <a:pt x="414" y="1307"/>
                      <a:pt x="414" y="1307"/>
                    </a:cubicBezTo>
                    <a:cubicBezTo>
                      <a:pt x="426" y="1310"/>
                      <a:pt x="426" y="1310"/>
                      <a:pt x="426" y="1310"/>
                    </a:cubicBezTo>
                    <a:cubicBezTo>
                      <a:pt x="435" y="1318"/>
                      <a:pt x="435" y="1318"/>
                      <a:pt x="435" y="1318"/>
                    </a:cubicBezTo>
                    <a:cubicBezTo>
                      <a:pt x="443" y="1330"/>
                      <a:pt x="443" y="1330"/>
                      <a:pt x="443" y="1330"/>
                    </a:cubicBezTo>
                    <a:cubicBezTo>
                      <a:pt x="435" y="1330"/>
                      <a:pt x="435" y="1330"/>
                      <a:pt x="435" y="1330"/>
                    </a:cubicBezTo>
                    <a:cubicBezTo>
                      <a:pt x="435" y="1334"/>
                      <a:pt x="435" y="1334"/>
                      <a:pt x="435" y="1334"/>
                    </a:cubicBezTo>
                    <a:cubicBezTo>
                      <a:pt x="442" y="1338"/>
                      <a:pt x="442" y="1338"/>
                      <a:pt x="442" y="1338"/>
                    </a:cubicBezTo>
                    <a:cubicBezTo>
                      <a:pt x="447" y="1336"/>
                      <a:pt x="447" y="1336"/>
                      <a:pt x="447" y="1336"/>
                    </a:cubicBezTo>
                    <a:cubicBezTo>
                      <a:pt x="452" y="1339"/>
                      <a:pt x="452" y="1339"/>
                      <a:pt x="452" y="1339"/>
                    </a:cubicBezTo>
                    <a:cubicBezTo>
                      <a:pt x="452" y="1339"/>
                      <a:pt x="452" y="1339"/>
                      <a:pt x="452" y="1339"/>
                    </a:cubicBezTo>
                    <a:cubicBezTo>
                      <a:pt x="451" y="1339"/>
                      <a:pt x="451" y="1339"/>
                      <a:pt x="451" y="1339"/>
                    </a:cubicBezTo>
                    <a:cubicBezTo>
                      <a:pt x="451" y="1341"/>
                      <a:pt x="451" y="1341"/>
                      <a:pt x="451" y="1341"/>
                    </a:cubicBezTo>
                    <a:cubicBezTo>
                      <a:pt x="451" y="1343"/>
                      <a:pt x="451" y="1343"/>
                      <a:pt x="451" y="1343"/>
                    </a:cubicBezTo>
                    <a:cubicBezTo>
                      <a:pt x="448" y="1343"/>
                      <a:pt x="448" y="1343"/>
                      <a:pt x="448" y="1343"/>
                    </a:cubicBezTo>
                    <a:cubicBezTo>
                      <a:pt x="450" y="1345"/>
                      <a:pt x="450" y="1345"/>
                      <a:pt x="450" y="1345"/>
                    </a:cubicBezTo>
                    <a:cubicBezTo>
                      <a:pt x="450" y="1347"/>
                      <a:pt x="450" y="1347"/>
                      <a:pt x="450" y="1347"/>
                    </a:cubicBezTo>
                    <a:cubicBezTo>
                      <a:pt x="448" y="1347"/>
                      <a:pt x="448" y="1347"/>
                      <a:pt x="448" y="1347"/>
                    </a:cubicBezTo>
                    <a:cubicBezTo>
                      <a:pt x="450" y="1348"/>
                      <a:pt x="450" y="1348"/>
                      <a:pt x="450" y="1348"/>
                    </a:cubicBezTo>
                    <a:cubicBezTo>
                      <a:pt x="450" y="1350"/>
                      <a:pt x="450" y="1350"/>
                      <a:pt x="450" y="1350"/>
                    </a:cubicBezTo>
                    <a:cubicBezTo>
                      <a:pt x="447" y="1350"/>
                      <a:pt x="447" y="1350"/>
                      <a:pt x="447" y="1350"/>
                    </a:cubicBezTo>
                    <a:cubicBezTo>
                      <a:pt x="445" y="1350"/>
                      <a:pt x="445" y="1350"/>
                      <a:pt x="445" y="1350"/>
                    </a:cubicBezTo>
                    <a:cubicBezTo>
                      <a:pt x="442" y="1349"/>
                      <a:pt x="442" y="1349"/>
                      <a:pt x="442" y="1349"/>
                    </a:cubicBezTo>
                    <a:cubicBezTo>
                      <a:pt x="439" y="1350"/>
                      <a:pt x="439" y="1350"/>
                      <a:pt x="439" y="1350"/>
                    </a:cubicBezTo>
                    <a:cubicBezTo>
                      <a:pt x="445" y="1353"/>
                      <a:pt x="445" y="1353"/>
                      <a:pt x="445" y="1353"/>
                    </a:cubicBezTo>
                    <a:cubicBezTo>
                      <a:pt x="445" y="1355"/>
                      <a:pt x="445" y="1355"/>
                      <a:pt x="445" y="1355"/>
                    </a:cubicBezTo>
                    <a:cubicBezTo>
                      <a:pt x="444" y="1356"/>
                      <a:pt x="444" y="1356"/>
                      <a:pt x="444" y="1356"/>
                    </a:cubicBezTo>
                    <a:cubicBezTo>
                      <a:pt x="442" y="1354"/>
                      <a:pt x="442" y="1354"/>
                      <a:pt x="442" y="1354"/>
                    </a:cubicBezTo>
                    <a:cubicBezTo>
                      <a:pt x="442" y="1354"/>
                      <a:pt x="440" y="1355"/>
                      <a:pt x="439" y="1355"/>
                    </a:cubicBezTo>
                    <a:cubicBezTo>
                      <a:pt x="438" y="1354"/>
                      <a:pt x="438" y="1354"/>
                      <a:pt x="438" y="1354"/>
                    </a:cubicBezTo>
                    <a:cubicBezTo>
                      <a:pt x="436" y="1354"/>
                      <a:pt x="436" y="1354"/>
                      <a:pt x="436" y="1354"/>
                    </a:cubicBezTo>
                    <a:cubicBezTo>
                      <a:pt x="438" y="1355"/>
                      <a:pt x="438" y="1355"/>
                      <a:pt x="438" y="1355"/>
                    </a:cubicBezTo>
                    <a:cubicBezTo>
                      <a:pt x="439" y="1357"/>
                      <a:pt x="439" y="1357"/>
                      <a:pt x="439" y="1357"/>
                    </a:cubicBezTo>
                    <a:cubicBezTo>
                      <a:pt x="436" y="1359"/>
                      <a:pt x="436" y="1359"/>
                      <a:pt x="436" y="1359"/>
                    </a:cubicBezTo>
                    <a:cubicBezTo>
                      <a:pt x="434" y="1359"/>
                      <a:pt x="434" y="1359"/>
                      <a:pt x="434" y="1359"/>
                    </a:cubicBezTo>
                    <a:cubicBezTo>
                      <a:pt x="432" y="1360"/>
                      <a:pt x="432" y="1360"/>
                      <a:pt x="432" y="1360"/>
                    </a:cubicBezTo>
                    <a:cubicBezTo>
                      <a:pt x="430" y="1359"/>
                      <a:pt x="430" y="1359"/>
                      <a:pt x="430" y="1359"/>
                    </a:cubicBezTo>
                    <a:cubicBezTo>
                      <a:pt x="430" y="1361"/>
                      <a:pt x="430" y="1361"/>
                      <a:pt x="430" y="1361"/>
                    </a:cubicBezTo>
                    <a:cubicBezTo>
                      <a:pt x="428" y="1362"/>
                      <a:pt x="428" y="1362"/>
                      <a:pt x="428" y="1362"/>
                    </a:cubicBezTo>
                    <a:cubicBezTo>
                      <a:pt x="426" y="1360"/>
                      <a:pt x="426" y="1360"/>
                      <a:pt x="426" y="1360"/>
                    </a:cubicBezTo>
                    <a:cubicBezTo>
                      <a:pt x="424" y="1360"/>
                      <a:pt x="424" y="1360"/>
                      <a:pt x="424" y="1360"/>
                    </a:cubicBezTo>
                    <a:cubicBezTo>
                      <a:pt x="424" y="1362"/>
                      <a:pt x="424" y="1362"/>
                      <a:pt x="424" y="1362"/>
                    </a:cubicBezTo>
                    <a:cubicBezTo>
                      <a:pt x="422" y="1365"/>
                      <a:pt x="422" y="1365"/>
                      <a:pt x="422" y="1365"/>
                    </a:cubicBezTo>
                    <a:cubicBezTo>
                      <a:pt x="422" y="1369"/>
                      <a:pt x="422" y="1369"/>
                      <a:pt x="422" y="1369"/>
                    </a:cubicBezTo>
                    <a:cubicBezTo>
                      <a:pt x="419" y="1370"/>
                      <a:pt x="419" y="1370"/>
                      <a:pt x="419" y="1370"/>
                    </a:cubicBezTo>
                    <a:cubicBezTo>
                      <a:pt x="418" y="1374"/>
                      <a:pt x="418" y="1374"/>
                      <a:pt x="418" y="1374"/>
                    </a:cubicBezTo>
                    <a:cubicBezTo>
                      <a:pt x="417" y="1377"/>
                      <a:pt x="417" y="1377"/>
                      <a:pt x="417" y="1377"/>
                    </a:cubicBezTo>
                    <a:cubicBezTo>
                      <a:pt x="417" y="1384"/>
                      <a:pt x="417" y="1384"/>
                      <a:pt x="417" y="1384"/>
                    </a:cubicBezTo>
                    <a:cubicBezTo>
                      <a:pt x="415" y="1385"/>
                      <a:pt x="415" y="1385"/>
                      <a:pt x="415" y="1385"/>
                    </a:cubicBezTo>
                    <a:cubicBezTo>
                      <a:pt x="413" y="1389"/>
                      <a:pt x="413" y="1389"/>
                      <a:pt x="413" y="1389"/>
                    </a:cubicBezTo>
                    <a:cubicBezTo>
                      <a:pt x="415" y="1395"/>
                      <a:pt x="415" y="1395"/>
                      <a:pt x="415" y="1395"/>
                    </a:cubicBezTo>
                    <a:cubicBezTo>
                      <a:pt x="418" y="1396"/>
                      <a:pt x="418" y="1396"/>
                      <a:pt x="418" y="1396"/>
                    </a:cubicBezTo>
                    <a:cubicBezTo>
                      <a:pt x="421" y="1395"/>
                      <a:pt x="421" y="1395"/>
                      <a:pt x="421" y="1395"/>
                    </a:cubicBezTo>
                    <a:cubicBezTo>
                      <a:pt x="423" y="1398"/>
                      <a:pt x="423" y="1398"/>
                      <a:pt x="423" y="1398"/>
                    </a:cubicBezTo>
                    <a:cubicBezTo>
                      <a:pt x="427" y="1399"/>
                      <a:pt x="427" y="1399"/>
                      <a:pt x="427" y="1399"/>
                    </a:cubicBezTo>
                    <a:cubicBezTo>
                      <a:pt x="427" y="1405"/>
                      <a:pt x="427" y="1405"/>
                      <a:pt x="427" y="1405"/>
                    </a:cubicBezTo>
                    <a:cubicBezTo>
                      <a:pt x="431" y="1408"/>
                      <a:pt x="431" y="1408"/>
                      <a:pt x="431" y="1408"/>
                    </a:cubicBezTo>
                    <a:cubicBezTo>
                      <a:pt x="433" y="1406"/>
                      <a:pt x="433" y="1406"/>
                      <a:pt x="433" y="1406"/>
                    </a:cubicBezTo>
                    <a:cubicBezTo>
                      <a:pt x="435" y="1406"/>
                      <a:pt x="435" y="1406"/>
                      <a:pt x="435" y="1406"/>
                    </a:cubicBezTo>
                    <a:cubicBezTo>
                      <a:pt x="434" y="1409"/>
                      <a:pt x="434" y="1409"/>
                      <a:pt x="434" y="1409"/>
                    </a:cubicBezTo>
                    <a:cubicBezTo>
                      <a:pt x="433" y="1412"/>
                      <a:pt x="433" y="1412"/>
                      <a:pt x="433" y="1412"/>
                    </a:cubicBezTo>
                    <a:cubicBezTo>
                      <a:pt x="431" y="1412"/>
                      <a:pt x="431" y="1412"/>
                      <a:pt x="431" y="1412"/>
                    </a:cubicBezTo>
                    <a:cubicBezTo>
                      <a:pt x="431" y="1415"/>
                      <a:pt x="431" y="1415"/>
                      <a:pt x="431" y="1415"/>
                    </a:cubicBezTo>
                    <a:cubicBezTo>
                      <a:pt x="433" y="1415"/>
                      <a:pt x="433" y="1415"/>
                      <a:pt x="433" y="1415"/>
                    </a:cubicBezTo>
                    <a:cubicBezTo>
                      <a:pt x="434" y="1417"/>
                      <a:pt x="434" y="1417"/>
                      <a:pt x="434" y="1417"/>
                    </a:cubicBezTo>
                    <a:cubicBezTo>
                      <a:pt x="435" y="1419"/>
                      <a:pt x="435" y="1419"/>
                      <a:pt x="435" y="1419"/>
                    </a:cubicBezTo>
                    <a:cubicBezTo>
                      <a:pt x="435" y="1425"/>
                      <a:pt x="435" y="1425"/>
                      <a:pt x="435" y="1425"/>
                    </a:cubicBezTo>
                    <a:cubicBezTo>
                      <a:pt x="438" y="1428"/>
                      <a:pt x="438" y="1428"/>
                      <a:pt x="438" y="1428"/>
                    </a:cubicBezTo>
                    <a:cubicBezTo>
                      <a:pt x="439" y="1433"/>
                      <a:pt x="439" y="1433"/>
                      <a:pt x="439" y="1433"/>
                    </a:cubicBezTo>
                    <a:cubicBezTo>
                      <a:pt x="447" y="1442"/>
                      <a:pt x="447" y="1442"/>
                      <a:pt x="447" y="1442"/>
                    </a:cubicBezTo>
                    <a:cubicBezTo>
                      <a:pt x="457" y="1450"/>
                      <a:pt x="457" y="1450"/>
                      <a:pt x="457" y="1450"/>
                    </a:cubicBezTo>
                    <a:cubicBezTo>
                      <a:pt x="459" y="1451"/>
                      <a:pt x="459" y="1451"/>
                      <a:pt x="459" y="1451"/>
                    </a:cubicBezTo>
                    <a:cubicBezTo>
                      <a:pt x="458" y="1451"/>
                      <a:pt x="458" y="1451"/>
                      <a:pt x="458" y="1451"/>
                    </a:cubicBezTo>
                    <a:cubicBezTo>
                      <a:pt x="452" y="1459"/>
                      <a:pt x="452" y="1459"/>
                      <a:pt x="452" y="1459"/>
                    </a:cubicBezTo>
                    <a:cubicBezTo>
                      <a:pt x="446" y="1462"/>
                      <a:pt x="446" y="1462"/>
                      <a:pt x="446" y="1462"/>
                    </a:cubicBezTo>
                    <a:cubicBezTo>
                      <a:pt x="445" y="1465"/>
                      <a:pt x="445" y="1465"/>
                      <a:pt x="445" y="1465"/>
                    </a:cubicBezTo>
                    <a:cubicBezTo>
                      <a:pt x="436" y="1464"/>
                      <a:pt x="436" y="1464"/>
                      <a:pt x="436" y="1464"/>
                    </a:cubicBezTo>
                    <a:cubicBezTo>
                      <a:pt x="433" y="1460"/>
                      <a:pt x="433" y="1460"/>
                      <a:pt x="433" y="1460"/>
                    </a:cubicBezTo>
                    <a:cubicBezTo>
                      <a:pt x="424" y="1453"/>
                      <a:pt x="424" y="1453"/>
                      <a:pt x="424" y="1453"/>
                    </a:cubicBezTo>
                    <a:cubicBezTo>
                      <a:pt x="419" y="1452"/>
                      <a:pt x="419" y="1452"/>
                      <a:pt x="419" y="1452"/>
                    </a:cubicBezTo>
                    <a:cubicBezTo>
                      <a:pt x="417" y="1459"/>
                      <a:pt x="417" y="1459"/>
                      <a:pt x="417" y="1459"/>
                    </a:cubicBezTo>
                    <a:cubicBezTo>
                      <a:pt x="422" y="1462"/>
                      <a:pt x="422" y="1462"/>
                      <a:pt x="422" y="1462"/>
                    </a:cubicBezTo>
                    <a:cubicBezTo>
                      <a:pt x="425" y="1466"/>
                      <a:pt x="425" y="1466"/>
                      <a:pt x="425" y="1466"/>
                    </a:cubicBezTo>
                    <a:cubicBezTo>
                      <a:pt x="424" y="1472"/>
                      <a:pt x="424" y="1472"/>
                      <a:pt x="424" y="1472"/>
                    </a:cubicBezTo>
                    <a:cubicBezTo>
                      <a:pt x="417" y="1469"/>
                      <a:pt x="417" y="1469"/>
                      <a:pt x="417" y="1469"/>
                    </a:cubicBezTo>
                    <a:cubicBezTo>
                      <a:pt x="409" y="1469"/>
                      <a:pt x="409" y="1469"/>
                      <a:pt x="409" y="1469"/>
                    </a:cubicBezTo>
                    <a:cubicBezTo>
                      <a:pt x="399" y="1463"/>
                      <a:pt x="399" y="1463"/>
                      <a:pt x="399" y="1463"/>
                    </a:cubicBezTo>
                    <a:cubicBezTo>
                      <a:pt x="391" y="1465"/>
                      <a:pt x="391" y="1465"/>
                      <a:pt x="391" y="1465"/>
                    </a:cubicBezTo>
                    <a:cubicBezTo>
                      <a:pt x="391" y="1468"/>
                      <a:pt x="391" y="1468"/>
                      <a:pt x="391" y="1468"/>
                    </a:cubicBezTo>
                    <a:cubicBezTo>
                      <a:pt x="395" y="1472"/>
                      <a:pt x="395" y="1472"/>
                      <a:pt x="395" y="1472"/>
                    </a:cubicBezTo>
                    <a:cubicBezTo>
                      <a:pt x="390" y="1467"/>
                      <a:pt x="390" y="1467"/>
                      <a:pt x="390" y="1467"/>
                    </a:cubicBezTo>
                    <a:cubicBezTo>
                      <a:pt x="379" y="1468"/>
                      <a:pt x="379" y="1468"/>
                      <a:pt x="379" y="1468"/>
                    </a:cubicBezTo>
                    <a:cubicBezTo>
                      <a:pt x="377" y="1467"/>
                      <a:pt x="377" y="1467"/>
                      <a:pt x="377" y="1467"/>
                    </a:cubicBezTo>
                    <a:cubicBezTo>
                      <a:pt x="368" y="1469"/>
                      <a:pt x="368" y="1469"/>
                      <a:pt x="368" y="1469"/>
                    </a:cubicBezTo>
                    <a:cubicBezTo>
                      <a:pt x="362" y="1471"/>
                      <a:pt x="362" y="1471"/>
                      <a:pt x="362" y="1471"/>
                    </a:cubicBezTo>
                    <a:cubicBezTo>
                      <a:pt x="362" y="1471"/>
                      <a:pt x="362" y="1471"/>
                      <a:pt x="362" y="1471"/>
                    </a:cubicBezTo>
                    <a:cubicBezTo>
                      <a:pt x="358" y="1470"/>
                      <a:pt x="358" y="1470"/>
                      <a:pt x="358" y="1470"/>
                    </a:cubicBezTo>
                    <a:cubicBezTo>
                      <a:pt x="350" y="1463"/>
                      <a:pt x="350" y="1463"/>
                      <a:pt x="350" y="1463"/>
                    </a:cubicBezTo>
                    <a:cubicBezTo>
                      <a:pt x="347" y="1463"/>
                      <a:pt x="347" y="1463"/>
                      <a:pt x="347" y="1463"/>
                    </a:cubicBezTo>
                    <a:cubicBezTo>
                      <a:pt x="344" y="1465"/>
                      <a:pt x="344" y="1465"/>
                      <a:pt x="344" y="1465"/>
                    </a:cubicBezTo>
                    <a:cubicBezTo>
                      <a:pt x="342" y="1465"/>
                      <a:pt x="342" y="1465"/>
                      <a:pt x="342" y="1465"/>
                    </a:cubicBezTo>
                    <a:cubicBezTo>
                      <a:pt x="337" y="1463"/>
                      <a:pt x="337" y="1463"/>
                      <a:pt x="337" y="1463"/>
                    </a:cubicBezTo>
                    <a:cubicBezTo>
                      <a:pt x="335" y="1466"/>
                      <a:pt x="335" y="1466"/>
                      <a:pt x="335" y="1466"/>
                    </a:cubicBezTo>
                    <a:cubicBezTo>
                      <a:pt x="333" y="1465"/>
                      <a:pt x="333" y="1465"/>
                      <a:pt x="333" y="1465"/>
                    </a:cubicBezTo>
                    <a:cubicBezTo>
                      <a:pt x="332" y="1462"/>
                      <a:pt x="332" y="1462"/>
                      <a:pt x="332" y="1462"/>
                    </a:cubicBezTo>
                    <a:cubicBezTo>
                      <a:pt x="330" y="1461"/>
                      <a:pt x="330" y="1461"/>
                      <a:pt x="330" y="1461"/>
                    </a:cubicBezTo>
                    <a:cubicBezTo>
                      <a:pt x="330" y="1461"/>
                      <a:pt x="330" y="1461"/>
                      <a:pt x="330" y="1461"/>
                    </a:cubicBezTo>
                    <a:cubicBezTo>
                      <a:pt x="330" y="1461"/>
                      <a:pt x="330" y="1461"/>
                      <a:pt x="330" y="1461"/>
                    </a:cubicBezTo>
                    <a:cubicBezTo>
                      <a:pt x="329" y="1457"/>
                      <a:pt x="329" y="1457"/>
                      <a:pt x="329" y="1457"/>
                    </a:cubicBezTo>
                    <a:cubicBezTo>
                      <a:pt x="331" y="1455"/>
                      <a:pt x="331" y="1455"/>
                      <a:pt x="331" y="1455"/>
                    </a:cubicBezTo>
                    <a:cubicBezTo>
                      <a:pt x="327" y="1449"/>
                      <a:pt x="327" y="1449"/>
                      <a:pt x="327" y="1449"/>
                    </a:cubicBezTo>
                    <a:cubicBezTo>
                      <a:pt x="326" y="1442"/>
                      <a:pt x="326" y="1442"/>
                      <a:pt x="326" y="1442"/>
                    </a:cubicBezTo>
                    <a:cubicBezTo>
                      <a:pt x="324" y="1439"/>
                      <a:pt x="324" y="1439"/>
                      <a:pt x="324" y="1439"/>
                    </a:cubicBezTo>
                    <a:cubicBezTo>
                      <a:pt x="320" y="1433"/>
                      <a:pt x="320" y="1433"/>
                      <a:pt x="320" y="1433"/>
                    </a:cubicBezTo>
                    <a:cubicBezTo>
                      <a:pt x="315" y="1432"/>
                      <a:pt x="315" y="1432"/>
                      <a:pt x="315" y="1432"/>
                    </a:cubicBezTo>
                    <a:cubicBezTo>
                      <a:pt x="315" y="1430"/>
                      <a:pt x="315" y="1430"/>
                      <a:pt x="315" y="1430"/>
                    </a:cubicBezTo>
                    <a:cubicBezTo>
                      <a:pt x="310" y="1426"/>
                      <a:pt x="310" y="1426"/>
                      <a:pt x="310" y="1426"/>
                    </a:cubicBezTo>
                    <a:cubicBezTo>
                      <a:pt x="308" y="1427"/>
                      <a:pt x="308" y="1427"/>
                      <a:pt x="308" y="1427"/>
                    </a:cubicBezTo>
                    <a:cubicBezTo>
                      <a:pt x="306" y="1426"/>
                      <a:pt x="306" y="1426"/>
                      <a:pt x="306" y="1426"/>
                    </a:cubicBezTo>
                    <a:cubicBezTo>
                      <a:pt x="302" y="1425"/>
                      <a:pt x="302" y="1425"/>
                      <a:pt x="302" y="1425"/>
                    </a:cubicBezTo>
                    <a:cubicBezTo>
                      <a:pt x="299" y="1421"/>
                      <a:pt x="299" y="1421"/>
                      <a:pt x="299" y="1421"/>
                    </a:cubicBezTo>
                    <a:cubicBezTo>
                      <a:pt x="297" y="1421"/>
                      <a:pt x="297" y="1421"/>
                      <a:pt x="297" y="1421"/>
                    </a:cubicBezTo>
                    <a:cubicBezTo>
                      <a:pt x="294" y="1420"/>
                      <a:pt x="294" y="1420"/>
                      <a:pt x="294" y="1420"/>
                    </a:cubicBezTo>
                    <a:cubicBezTo>
                      <a:pt x="293" y="1417"/>
                      <a:pt x="293" y="1417"/>
                      <a:pt x="293" y="1417"/>
                    </a:cubicBezTo>
                    <a:cubicBezTo>
                      <a:pt x="289" y="1417"/>
                      <a:pt x="289" y="1417"/>
                      <a:pt x="289" y="1417"/>
                    </a:cubicBezTo>
                    <a:cubicBezTo>
                      <a:pt x="286" y="1414"/>
                      <a:pt x="286" y="1414"/>
                      <a:pt x="286" y="1414"/>
                    </a:cubicBezTo>
                    <a:cubicBezTo>
                      <a:pt x="285" y="1412"/>
                      <a:pt x="285" y="1412"/>
                      <a:pt x="285" y="1412"/>
                    </a:cubicBezTo>
                    <a:cubicBezTo>
                      <a:pt x="282" y="1411"/>
                      <a:pt x="282" y="1411"/>
                      <a:pt x="282" y="1411"/>
                    </a:cubicBezTo>
                    <a:cubicBezTo>
                      <a:pt x="279" y="1407"/>
                      <a:pt x="279" y="1407"/>
                      <a:pt x="279" y="1407"/>
                    </a:cubicBezTo>
                    <a:cubicBezTo>
                      <a:pt x="267" y="1398"/>
                      <a:pt x="267" y="1398"/>
                      <a:pt x="267" y="1398"/>
                    </a:cubicBezTo>
                    <a:cubicBezTo>
                      <a:pt x="262" y="1397"/>
                      <a:pt x="262" y="1397"/>
                      <a:pt x="262" y="1397"/>
                    </a:cubicBezTo>
                    <a:cubicBezTo>
                      <a:pt x="254" y="1392"/>
                      <a:pt x="254" y="1392"/>
                      <a:pt x="254" y="1392"/>
                    </a:cubicBezTo>
                    <a:cubicBezTo>
                      <a:pt x="247" y="1393"/>
                      <a:pt x="247" y="1393"/>
                      <a:pt x="247" y="1393"/>
                    </a:cubicBezTo>
                    <a:cubicBezTo>
                      <a:pt x="243" y="1389"/>
                      <a:pt x="243" y="1389"/>
                      <a:pt x="243" y="1389"/>
                    </a:cubicBezTo>
                    <a:cubicBezTo>
                      <a:pt x="243" y="1386"/>
                      <a:pt x="243" y="1386"/>
                      <a:pt x="243" y="1386"/>
                    </a:cubicBezTo>
                    <a:cubicBezTo>
                      <a:pt x="238" y="1382"/>
                      <a:pt x="238" y="1382"/>
                      <a:pt x="238" y="1382"/>
                    </a:cubicBezTo>
                    <a:cubicBezTo>
                      <a:pt x="235" y="1382"/>
                      <a:pt x="235" y="1382"/>
                      <a:pt x="235" y="1382"/>
                    </a:cubicBezTo>
                    <a:cubicBezTo>
                      <a:pt x="231" y="1381"/>
                      <a:pt x="231" y="1381"/>
                      <a:pt x="231" y="1381"/>
                    </a:cubicBezTo>
                    <a:cubicBezTo>
                      <a:pt x="233" y="1379"/>
                      <a:pt x="233" y="1379"/>
                      <a:pt x="233" y="1379"/>
                    </a:cubicBezTo>
                    <a:cubicBezTo>
                      <a:pt x="236" y="1378"/>
                      <a:pt x="236" y="1378"/>
                      <a:pt x="236" y="1378"/>
                    </a:cubicBezTo>
                    <a:cubicBezTo>
                      <a:pt x="235" y="1375"/>
                      <a:pt x="235" y="1375"/>
                      <a:pt x="235" y="1375"/>
                    </a:cubicBezTo>
                    <a:cubicBezTo>
                      <a:pt x="235" y="1373"/>
                      <a:pt x="235" y="1373"/>
                      <a:pt x="235" y="1373"/>
                    </a:cubicBezTo>
                    <a:cubicBezTo>
                      <a:pt x="239" y="1374"/>
                      <a:pt x="239" y="1374"/>
                      <a:pt x="239" y="1374"/>
                    </a:cubicBezTo>
                    <a:cubicBezTo>
                      <a:pt x="242" y="1377"/>
                      <a:pt x="242" y="1377"/>
                      <a:pt x="242" y="1377"/>
                    </a:cubicBezTo>
                    <a:cubicBezTo>
                      <a:pt x="243" y="1376"/>
                      <a:pt x="243" y="1376"/>
                      <a:pt x="243" y="1376"/>
                    </a:cubicBezTo>
                    <a:cubicBezTo>
                      <a:pt x="247" y="1377"/>
                      <a:pt x="247" y="1377"/>
                      <a:pt x="247" y="1377"/>
                    </a:cubicBezTo>
                    <a:cubicBezTo>
                      <a:pt x="248" y="1371"/>
                      <a:pt x="248" y="1371"/>
                      <a:pt x="248" y="1371"/>
                    </a:cubicBezTo>
                    <a:cubicBezTo>
                      <a:pt x="246" y="1370"/>
                      <a:pt x="246" y="1370"/>
                      <a:pt x="246" y="1370"/>
                    </a:cubicBezTo>
                    <a:cubicBezTo>
                      <a:pt x="246" y="1366"/>
                      <a:pt x="246" y="1366"/>
                      <a:pt x="246" y="1366"/>
                    </a:cubicBezTo>
                    <a:cubicBezTo>
                      <a:pt x="250" y="1362"/>
                      <a:pt x="250" y="1362"/>
                      <a:pt x="250" y="1362"/>
                    </a:cubicBezTo>
                    <a:cubicBezTo>
                      <a:pt x="250" y="1361"/>
                      <a:pt x="250" y="1361"/>
                      <a:pt x="250" y="1361"/>
                    </a:cubicBezTo>
                    <a:cubicBezTo>
                      <a:pt x="252" y="1360"/>
                      <a:pt x="252" y="1360"/>
                      <a:pt x="252" y="1360"/>
                    </a:cubicBezTo>
                    <a:cubicBezTo>
                      <a:pt x="254" y="1360"/>
                      <a:pt x="254" y="1360"/>
                      <a:pt x="254" y="1360"/>
                    </a:cubicBezTo>
                    <a:cubicBezTo>
                      <a:pt x="256" y="1358"/>
                      <a:pt x="256" y="1358"/>
                      <a:pt x="256" y="1358"/>
                    </a:cubicBezTo>
                    <a:cubicBezTo>
                      <a:pt x="258" y="1357"/>
                      <a:pt x="258" y="1357"/>
                      <a:pt x="258" y="1357"/>
                    </a:cubicBezTo>
                    <a:cubicBezTo>
                      <a:pt x="258" y="1356"/>
                      <a:pt x="258" y="1356"/>
                      <a:pt x="258" y="1356"/>
                    </a:cubicBezTo>
                    <a:cubicBezTo>
                      <a:pt x="254" y="1355"/>
                      <a:pt x="254" y="1355"/>
                      <a:pt x="254" y="1355"/>
                    </a:cubicBezTo>
                    <a:cubicBezTo>
                      <a:pt x="253" y="1353"/>
                      <a:pt x="253" y="1353"/>
                      <a:pt x="253" y="1353"/>
                    </a:cubicBezTo>
                    <a:cubicBezTo>
                      <a:pt x="251" y="1354"/>
                      <a:pt x="251" y="1354"/>
                      <a:pt x="251" y="1354"/>
                    </a:cubicBezTo>
                    <a:cubicBezTo>
                      <a:pt x="249" y="1352"/>
                      <a:pt x="249" y="1352"/>
                      <a:pt x="249" y="1352"/>
                    </a:cubicBezTo>
                    <a:cubicBezTo>
                      <a:pt x="246" y="1346"/>
                      <a:pt x="246" y="1346"/>
                      <a:pt x="246" y="1346"/>
                    </a:cubicBezTo>
                    <a:cubicBezTo>
                      <a:pt x="253" y="1345"/>
                      <a:pt x="253" y="1345"/>
                      <a:pt x="253" y="1345"/>
                    </a:cubicBezTo>
                    <a:cubicBezTo>
                      <a:pt x="257" y="1346"/>
                      <a:pt x="257" y="1346"/>
                      <a:pt x="257" y="1346"/>
                    </a:cubicBezTo>
                    <a:cubicBezTo>
                      <a:pt x="260" y="1343"/>
                      <a:pt x="260" y="1343"/>
                      <a:pt x="260" y="1343"/>
                    </a:cubicBezTo>
                    <a:cubicBezTo>
                      <a:pt x="257" y="1343"/>
                      <a:pt x="257" y="1343"/>
                      <a:pt x="257" y="1343"/>
                    </a:cubicBezTo>
                    <a:cubicBezTo>
                      <a:pt x="255" y="1342"/>
                      <a:pt x="255" y="1342"/>
                      <a:pt x="255" y="1342"/>
                    </a:cubicBezTo>
                    <a:cubicBezTo>
                      <a:pt x="260" y="1339"/>
                      <a:pt x="260" y="1339"/>
                      <a:pt x="260" y="1339"/>
                    </a:cubicBezTo>
                    <a:cubicBezTo>
                      <a:pt x="270" y="1334"/>
                      <a:pt x="270" y="1334"/>
                      <a:pt x="270" y="1334"/>
                    </a:cubicBezTo>
                    <a:cubicBezTo>
                      <a:pt x="271" y="1331"/>
                      <a:pt x="271" y="1331"/>
                      <a:pt x="271" y="1331"/>
                    </a:cubicBezTo>
                    <a:cubicBezTo>
                      <a:pt x="269" y="1329"/>
                      <a:pt x="269" y="1329"/>
                      <a:pt x="269" y="1329"/>
                    </a:cubicBezTo>
                    <a:cubicBezTo>
                      <a:pt x="264" y="1330"/>
                      <a:pt x="264" y="1330"/>
                      <a:pt x="264" y="1330"/>
                    </a:cubicBezTo>
                    <a:cubicBezTo>
                      <a:pt x="260" y="1332"/>
                      <a:pt x="260" y="1332"/>
                      <a:pt x="260" y="1332"/>
                    </a:cubicBezTo>
                    <a:cubicBezTo>
                      <a:pt x="256" y="1332"/>
                      <a:pt x="256" y="1332"/>
                      <a:pt x="256" y="1332"/>
                    </a:cubicBezTo>
                    <a:cubicBezTo>
                      <a:pt x="255" y="1332"/>
                      <a:pt x="255" y="1332"/>
                      <a:pt x="255" y="1332"/>
                    </a:cubicBezTo>
                    <a:cubicBezTo>
                      <a:pt x="255" y="1332"/>
                      <a:pt x="255" y="1332"/>
                      <a:pt x="255" y="1332"/>
                    </a:cubicBezTo>
                    <a:cubicBezTo>
                      <a:pt x="256" y="1323"/>
                      <a:pt x="256" y="1323"/>
                      <a:pt x="256" y="1323"/>
                    </a:cubicBezTo>
                    <a:cubicBezTo>
                      <a:pt x="259" y="1322"/>
                      <a:pt x="259" y="1322"/>
                      <a:pt x="259" y="1322"/>
                    </a:cubicBezTo>
                    <a:cubicBezTo>
                      <a:pt x="263" y="1316"/>
                      <a:pt x="263" y="1316"/>
                      <a:pt x="263" y="1316"/>
                    </a:cubicBezTo>
                    <a:cubicBezTo>
                      <a:pt x="272" y="1315"/>
                      <a:pt x="272" y="1315"/>
                      <a:pt x="272" y="1315"/>
                    </a:cubicBezTo>
                    <a:cubicBezTo>
                      <a:pt x="276" y="1313"/>
                      <a:pt x="276" y="1313"/>
                      <a:pt x="276" y="1313"/>
                    </a:cubicBezTo>
                    <a:cubicBezTo>
                      <a:pt x="275" y="1308"/>
                      <a:pt x="275" y="1308"/>
                      <a:pt x="275" y="1308"/>
                    </a:cubicBezTo>
                    <a:cubicBezTo>
                      <a:pt x="277" y="1301"/>
                      <a:pt x="277" y="1301"/>
                      <a:pt x="277" y="1301"/>
                    </a:cubicBezTo>
                    <a:cubicBezTo>
                      <a:pt x="277" y="1296"/>
                      <a:pt x="277" y="1296"/>
                      <a:pt x="277" y="1296"/>
                    </a:cubicBezTo>
                    <a:cubicBezTo>
                      <a:pt x="271" y="1292"/>
                      <a:pt x="271" y="1292"/>
                      <a:pt x="271" y="1292"/>
                    </a:cubicBezTo>
                    <a:cubicBezTo>
                      <a:pt x="272" y="1284"/>
                      <a:pt x="272" y="1284"/>
                      <a:pt x="272" y="1284"/>
                    </a:cubicBezTo>
                    <a:cubicBezTo>
                      <a:pt x="276" y="1283"/>
                      <a:pt x="276" y="1283"/>
                      <a:pt x="276" y="1283"/>
                    </a:cubicBezTo>
                    <a:cubicBezTo>
                      <a:pt x="280" y="1279"/>
                      <a:pt x="280" y="1279"/>
                      <a:pt x="280" y="1279"/>
                    </a:cubicBezTo>
                    <a:cubicBezTo>
                      <a:pt x="279" y="1274"/>
                      <a:pt x="279" y="1274"/>
                      <a:pt x="279" y="1274"/>
                    </a:cubicBezTo>
                    <a:cubicBezTo>
                      <a:pt x="277" y="1273"/>
                      <a:pt x="277" y="1273"/>
                      <a:pt x="277" y="1273"/>
                    </a:cubicBezTo>
                    <a:cubicBezTo>
                      <a:pt x="275" y="1269"/>
                      <a:pt x="275" y="1269"/>
                      <a:pt x="275" y="1269"/>
                    </a:cubicBezTo>
                    <a:cubicBezTo>
                      <a:pt x="272" y="1271"/>
                      <a:pt x="272" y="1271"/>
                      <a:pt x="272" y="1271"/>
                    </a:cubicBezTo>
                    <a:cubicBezTo>
                      <a:pt x="266" y="1270"/>
                      <a:pt x="266" y="1270"/>
                      <a:pt x="266" y="1270"/>
                    </a:cubicBezTo>
                    <a:cubicBezTo>
                      <a:pt x="261" y="1267"/>
                      <a:pt x="261" y="1267"/>
                      <a:pt x="261" y="1267"/>
                    </a:cubicBezTo>
                    <a:cubicBezTo>
                      <a:pt x="257" y="1268"/>
                      <a:pt x="257" y="1268"/>
                      <a:pt x="257" y="1268"/>
                    </a:cubicBezTo>
                    <a:cubicBezTo>
                      <a:pt x="254" y="1266"/>
                      <a:pt x="254" y="1266"/>
                      <a:pt x="254" y="1266"/>
                    </a:cubicBezTo>
                    <a:cubicBezTo>
                      <a:pt x="249" y="1266"/>
                      <a:pt x="249" y="1266"/>
                      <a:pt x="249" y="1266"/>
                    </a:cubicBezTo>
                    <a:cubicBezTo>
                      <a:pt x="242" y="1264"/>
                      <a:pt x="242" y="1264"/>
                      <a:pt x="242" y="1264"/>
                    </a:cubicBezTo>
                    <a:cubicBezTo>
                      <a:pt x="239" y="1267"/>
                      <a:pt x="239" y="1267"/>
                      <a:pt x="239" y="1267"/>
                    </a:cubicBezTo>
                    <a:cubicBezTo>
                      <a:pt x="237" y="1263"/>
                      <a:pt x="237" y="1263"/>
                      <a:pt x="237" y="1263"/>
                    </a:cubicBezTo>
                    <a:cubicBezTo>
                      <a:pt x="231" y="1260"/>
                      <a:pt x="231" y="1260"/>
                      <a:pt x="231" y="1260"/>
                    </a:cubicBezTo>
                    <a:cubicBezTo>
                      <a:pt x="227" y="1251"/>
                      <a:pt x="227" y="1251"/>
                      <a:pt x="227" y="1251"/>
                    </a:cubicBezTo>
                    <a:cubicBezTo>
                      <a:pt x="224" y="1251"/>
                      <a:pt x="224" y="1251"/>
                      <a:pt x="224" y="1251"/>
                    </a:cubicBezTo>
                    <a:cubicBezTo>
                      <a:pt x="217" y="1256"/>
                      <a:pt x="217" y="1256"/>
                      <a:pt x="217" y="1256"/>
                    </a:cubicBezTo>
                    <a:cubicBezTo>
                      <a:pt x="213" y="1255"/>
                      <a:pt x="213" y="1255"/>
                      <a:pt x="213" y="1255"/>
                    </a:cubicBezTo>
                    <a:cubicBezTo>
                      <a:pt x="209" y="1256"/>
                      <a:pt x="209" y="1256"/>
                      <a:pt x="209" y="1256"/>
                    </a:cubicBezTo>
                    <a:cubicBezTo>
                      <a:pt x="203" y="1253"/>
                      <a:pt x="203" y="1253"/>
                      <a:pt x="203" y="1253"/>
                    </a:cubicBezTo>
                    <a:cubicBezTo>
                      <a:pt x="200" y="1257"/>
                      <a:pt x="200" y="1257"/>
                      <a:pt x="200" y="1257"/>
                    </a:cubicBezTo>
                    <a:cubicBezTo>
                      <a:pt x="191" y="1249"/>
                      <a:pt x="191" y="1249"/>
                      <a:pt x="191" y="1249"/>
                    </a:cubicBezTo>
                    <a:cubicBezTo>
                      <a:pt x="189" y="1243"/>
                      <a:pt x="189" y="1243"/>
                      <a:pt x="189" y="1243"/>
                    </a:cubicBezTo>
                    <a:cubicBezTo>
                      <a:pt x="189" y="1238"/>
                      <a:pt x="189" y="1238"/>
                      <a:pt x="189" y="1238"/>
                    </a:cubicBezTo>
                    <a:cubicBezTo>
                      <a:pt x="185" y="1237"/>
                      <a:pt x="185" y="1237"/>
                      <a:pt x="185" y="1237"/>
                    </a:cubicBezTo>
                    <a:cubicBezTo>
                      <a:pt x="185" y="1233"/>
                      <a:pt x="185" y="1233"/>
                      <a:pt x="185" y="1233"/>
                    </a:cubicBezTo>
                    <a:cubicBezTo>
                      <a:pt x="181" y="1230"/>
                      <a:pt x="181" y="1230"/>
                      <a:pt x="181" y="1230"/>
                    </a:cubicBezTo>
                    <a:cubicBezTo>
                      <a:pt x="170" y="1232"/>
                      <a:pt x="170" y="1232"/>
                      <a:pt x="170" y="1232"/>
                    </a:cubicBezTo>
                    <a:cubicBezTo>
                      <a:pt x="165" y="1225"/>
                      <a:pt x="165" y="1225"/>
                      <a:pt x="165" y="1225"/>
                    </a:cubicBezTo>
                    <a:cubicBezTo>
                      <a:pt x="167" y="1221"/>
                      <a:pt x="167" y="1221"/>
                      <a:pt x="167" y="1221"/>
                    </a:cubicBezTo>
                    <a:cubicBezTo>
                      <a:pt x="163" y="1218"/>
                      <a:pt x="163" y="1218"/>
                      <a:pt x="163" y="1218"/>
                    </a:cubicBezTo>
                    <a:cubicBezTo>
                      <a:pt x="160" y="1209"/>
                      <a:pt x="160" y="1209"/>
                      <a:pt x="160" y="1209"/>
                    </a:cubicBezTo>
                    <a:cubicBezTo>
                      <a:pt x="156" y="1209"/>
                      <a:pt x="156" y="1209"/>
                      <a:pt x="156" y="1209"/>
                    </a:cubicBezTo>
                    <a:cubicBezTo>
                      <a:pt x="151" y="1211"/>
                      <a:pt x="151" y="1211"/>
                      <a:pt x="151" y="1211"/>
                    </a:cubicBezTo>
                    <a:cubicBezTo>
                      <a:pt x="141" y="1211"/>
                      <a:pt x="141" y="1211"/>
                      <a:pt x="141" y="1211"/>
                    </a:cubicBezTo>
                    <a:cubicBezTo>
                      <a:pt x="132" y="1208"/>
                      <a:pt x="132" y="1208"/>
                      <a:pt x="132" y="1208"/>
                    </a:cubicBezTo>
                    <a:cubicBezTo>
                      <a:pt x="129" y="1211"/>
                      <a:pt x="129" y="1211"/>
                      <a:pt x="129" y="1211"/>
                    </a:cubicBezTo>
                    <a:cubicBezTo>
                      <a:pt x="129" y="1215"/>
                      <a:pt x="129" y="1215"/>
                      <a:pt x="129" y="1215"/>
                    </a:cubicBezTo>
                    <a:cubicBezTo>
                      <a:pt x="125" y="1216"/>
                      <a:pt x="125" y="1216"/>
                      <a:pt x="125" y="1216"/>
                    </a:cubicBezTo>
                    <a:cubicBezTo>
                      <a:pt x="122" y="1215"/>
                      <a:pt x="122" y="1215"/>
                      <a:pt x="122" y="1215"/>
                    </a:cubicBezTo>
                    <a:cubicBezTo>
                      <a:pt x="122" y="1210"/>
                      <a:pt x="122" y="1210"/>
                      <a:pt x="122" y="1210"/>
                    </a:cubicBezTo>
                    <a:cubicBezTo>
                      <a:pt x="117" y="1205"/>
                      <a:pt x="117" y="1205"/>
                      <a:pt x="117" y="1205"/>
                    </a:cubicBezTo>
                    <a:cubicBezTo>
                      <a:pt x="118" y="1200"/>
                      <a:pt x="118" y="1200"/>
                      <a:pt x="118" y="1200"/>
                    </a:cubicBezTo>
                    <a:cubicBezTo>
                      <a:pt x="114" y="1195"/>
                      <a:pt x="114" y="1195"/>
                      <a:pt x="114" y="1195"/>
                    </a:cubicBezTo>
                    <a:cubicBezTo>
                      <a:pt x="114" y="1190"/>
                      <a:pt x="114" y="1190"/>
                      <a:pt x="114" y="1190"/>
                    </a:cubicBezTo>
                    <a:cubicBezTo>
                      <a:pt x="115" y="1187"/>
                      <a:pt x="115" y="1187"/>
                      <a:pt x="115" y="1187"/>
                    </a:cubicBezTo>
                    <a:cubicBezTo>
                      <a:pt x="119" y="1191"/>
                      <a:pt x="119" y="1191"/>
                      <a:pt x="119" y="1191"/>
                    </a:cubicBezTo>
                    <a:cubicBezTo>
                      <a:pt x="129" y="1189"/>
                      <a:pt x="129" y="1189"/>
                      <a:pt x="129" y="1189"/>
                    </a:cubicBezTo>
                    <a:cubicBezTo>
                      <a:pt x="133" y="1183"/>
                      <a:pt x="133" y="1183"/>
                      <a:pt x="133" y="1183"/>
                    </a:cubicBezTo>
                    <a:cubicBezTo>
                      <a:pt x="136" y="1181"/>
                      <a:pt x="136" y="1181"/>
                      <a:pt x="136" y="1181"/>
                    </a:cubicBezTo>
                    <a:cubicBezTo>
                      <a:pt x="131" y="1178"/>
                      <a:pt x="131" y="1178"/>
                      <a:pt x="131" y="1178"/>
                    </a:cubicBezTo>
                    <a:cubicBezTo>
                      <a:pt x="130" y="1175"/>
                      <a:pt x="130" y="1175"/>
                      <a:pt x="130" y="1175"/>
                    </a:cubicBezTo>
                    <a:cubicBezTo>
                      <a:pt x="123" y="1169"/>
                      <a:pt x="123" y="1169"/>
                      <a:pt x="123" y="1169"/>
                    </a:cubicBezTo>
                    <a:cubicBezTo>
                      <a:pt x="116" y="1167"/>
                      <a:pt x="116" y="1167"/>
                      <a:pt x="116" y="1167"/>
                    </a:cubicBezTo>
                    <a:cubicBezTo>
                      <a:pt x="115" y="1161"/>
                      <a:pt x="115" y="1161"/>
                      <a:pt x="115" y="1161"/>
                    </a:cubicBezTo>
                    <a:cubicBezTo>
                      <a:pt x="111" y="1158"/>
                      <a:pt x="111" y="1158"/>
                      <a:pt x="111" y="1158"/>
                    </a:cubicBezTo>
                    <a:cubicBezTo>
                      <a:pt x="106" y="1151"/>
                      <a:pt x="106" y="1151"/>
                      <a:pt x="106" y="1151"/>
                    </a:cubicBezTo>
                    <a:cubicBezTo>
                      <a:pt x="104" y="1146"/>
                      <a:pt x="104" y="1146"/>
                      <a:pt x="104" y="1146"/>
                    </a:cubicBezTo>
                    <a:cubicBezTo>
                      <a:pt x="99" y="1142"/>
                      <a:pt x="99" y="1142"/>
                      <a:pt x="99" y="1142"/>
                    </a:cubicBezTo>
                    <a:cubicBezTo>
                      <a:pt x="99" y="1136"/>
                      <a:pt x="99" y="1136"/>
                      <a:pt x="99" y="1136"/>
                    </a:cubicBezTo>
                    <a:cubicBezTo>
                      <a:pt x="96" y="1132"/>
                      <a:pt x="96" y="1132"/>
                      <a:pt x="96" y="1132"/>
                    </a:cubicBezTo>
                    <a:cubicBezTo>
                      <a:pt x="97" y="1128"/>
                      <a:pt x="97" y="1128"/>
                      <a:pt x="97" y="1128"/>
                    </a:cubicBezTo>
                    <a:cubicBezTo>
                      <a:pt x="96" y="1123"/>
                      <a:pt x="96" y="1123"/>
                      <a:pt x="96" y="1123"/>
                    </a:cubicBezTo>
                    <a:cubicBezTo>
                      <a:pt x="88" y="1120"/>
                      <a:pt x="88" y="1120"/>
                      <a:pt x="88" y="1120"/>
                    </a:cubicBezTo>
                    <a:cubicBezTo>
                      <a:pt x="85" y="1120"/>
                      <a:pt x="85" y="1120"/>
                      <a:pt x="85" y="1120"/>
                    </a:cubicBezTo>
                    <a:cubicBezTo>
                      <a:pt x="83" y="1118"/>
                      <a:pt x="83" y="1118"/>
                      <a:pt x="83" y="1118"/>
                    </a:cubicBezTo>
                    <a:cubicBezTo>
                      <a:pt x="77" y="1119"/>
                      <a:pt x="77" y="1119"/>
                      <a:pt x="77" y="1119"/>
                    </a:cubicBezTo>
                    <a:cubicBezTo>
                      <a:pt x="72" y="1123"/>
                      <a:pt x="72" y="1123"/>
                      <a:pt x="72" y="1123"/>
                    </a:cubicBezTo>
                    <a:cubicBezTo>
                      <a:pt x="69" y="1117"/>
                      <a:pt x="69" y="1117"/>
                      <a:pt x="69" y="1117"/>
                    </a:cubicBezTo>
                    <a:cubicBezTo>
                      <a:pt x="65" y="1116"/>
                      <a:pt x="65" y="1116"/>
                      <a:pt x="65" y="1116"/>
                    </a:cubicBezTo>
                    <a:cubicBezTo>
                      <a:pt x="60" y="1119"/>
                      <a:pt x="60" y="1119"/>
                      <a:pt x="60" y="1119"/>
                    </a:cubicBezTo>
                    <a:cubicBezTo>
                      <a:pt x="56" y="1113"/>
                      <a:pt x="56" y="1113"/>
                      <a:pt x="56" y="1113"/>
                    </a:cubicBezTo>
                    <a:cubicBezTo>
                      <a:pt x="52" y="1115"/>
                      <a:pt x="52" y="1115"/>
                      <a:pt x="52" y="1115"/>
                    </a:cubicBezTo>
                    <a:cubicBezTo>
                      <a:pt x="48" y="1113"/>
                      <a:pt x="48" y="1113"/>
                      <a:pt x="48" y="1113"/>
                    </a:cubicBezTo>
                    <a:cubicBezTo>
                      <a:pt x="47" y="1113"/>
                      <a:pt x="47" y="1113"/>
                      <a:pt x="47" y="1113"/>
                    </a:cubicBezTo>
                    <a:cubicBezTo>
                      <a:pt x="46" y="1108"/>
                      <a:pt x="46" y="1108"/>
                      <a:pt x="46" y="1108"/>
                    </a:cubicBezTo>
                    <a:cubicBezTo>
                      <a:pt x="44" y="1105"/>
                      <a:pt x="44" y="1105"/>
                      <a:pt x="44" y="1105"/>
                    </a:cubicBezTo>
                    <a:cubicBezTo>
                      <a:pt x="42" y="1099"/>
                      <a:pt x="42" y="1099"/>
                      <a:pt x="42" y="1099"/>
                    </a:cubicBezTo>
                    <a:cubicBezTo>
                      <a:pt x="40" y="1097"/>
                      <a:pt x="40" y="1097"/>
                      <a:pt x="40" y="1097"/>
                    </a:cubicBezTo>
                    <a:cubicBezTo>
                      <a:pt x="38" y="1093"/>
                      <a:pt x="38" y="1093"/>
                      <a:pt x="38" y="1093"/>
                    </a:cubicBezTo>
                    <a:cubicBezTo>
                      <a:pt x="38" y="1091"/>
                      <a:pt x="38" y="1091"/>
                      <a:pt x="38" y="1091"/>
                    </a:cubicBezTo>
                    <a:cubicBezTo>
                      <a:pt x="37" y="1087"/>
                      <a:pt x="37" y="1087"/>
                      <a:pt x="37" y="1087"/>
                    </a:cubicBezTo>
                    <a:cubicBezTo>
                      <a:pt x="36" y="1086"/>
                      <a:pt x="36" y="1086"/>
                      <a:pt x="36" y="1086"/>
                    </a:cubicBezTo>
                    <a:cubicBezTo>
                      <a:pt x="36" y="1084"/>
                      <a:pt x="36" y="1084"/>
                      <a:pt x="36" y="1084"/>
                    </a:cubicBezTo>
                    <a:cubicBezTo>
                      <a:pt x="36" y="1081"/>
                      <a:pt x="36" y="1081"/>
                      <a:pt x="36" y="1081"/>
                    </a:cubicBezTo>
                    <a:cubicBezTo>
                      <a:pt x="32" y="1081"/>
                      <a:pt x="32" y="1081"/>
                      <a:pt x="32" y="1081"/>
                    </a:cubicBezTo>
                    <a:cubicBezTo>
                      <a:pt x="35" y="1076"/>
                      <a:pt x="35" y="1076"/>
                      <a:pt x="35" y="1076"/>
                    </a:cubicBezTo>
                    <a:cubicBezTo>
                      <a:pt x="34" y="1073"/>
                      <a:pt x="34" y="1073"/>
                      <a:pt x="34" y="1073"/>
                    </a:cubicBezTo>
                    <a:cubicBezTo>
                      <a:pt x="37" y="1070"/>
                      <a:pt x="37" y="1070"/>
                      <a:pt x="37" y="1070"/>
                    </a:cubicBezTo>
                    <a:cubicBezTo>
                      <a:pt x="37" y="1067"/>
                      <a:pt x="37" y="1067"/>
                      <a:pt x="37" y="1067"/>
                    </a:cubicBezTo>
                    <a:cubicBezTo>
                      <a:pt x="29" y="1051"/>
                      <a:pt x="29" y="1051"/>
                      <a:pt x="29" y="1051"/>
                    </a:cubicBezTo>
                    <a:cubicBezTo>
                      <a:pt x="30" y="1037"/>
                      <a:pt x="30" y="1037"/>
                      <a:pt x="30" y="1037"/>
                    </a:cubicBezTo>
                    <a:cubicBezTo>
                      <a:pt x="32" y="1036"/>
                      <a:pt x="32" y="1036"/>
                      <a:pt x="32" y="1036"/>
                    </a:cubicBezTo>
                    <a:cubicBezTo>
                      <a:pt x="33" y="1030"/>
                      <a:pt x="33" y="1030"/>
                      <a:pt x="33" y="1030"/>
                    </a:cubicBezTo>
                    <a:cubicBezTo>
                      <a:pt x="36" y="1027"/>
                      <a:pt x="36" y="1027"/>
                      <a:pt x="36" y="1027"/>
                    </a:cubicBezTo>
                    <a:cubicBezTo>
                      <a:pt x="37" y="1026"/>
                      <a:pt x="37" y="1026"/>
                      <a:pt x="37" y="1026"/>
                    </a:cubicBezTo>
                    <a:cubicBezTo>
                      <a:pt x="37" y="1025"/>
                      <a:pt x="37" y="1025"/>
                      <a:pt x="37" y="1025"/>
                    </a:cubicBezTo>
                    <a:cubicBezTo>
                      <a:pt x="35" y="1022"/>
                      <a:pt x="35" y="1022"/>
                      <a:pt x="35" y="1022"/>
                    </a:cubicBezTo>
                    <a:cubicBezTo>
                      <a:pt x="35" y="1022"/>
                      <a:pt x="35" y="1022"/>
                      <a:pt x="35" y="1022"/>
                    </a:cubicBezTo>
                    <a:cubicBezTo>
                      <a:pt x="36" y="1018"/>
                      <a:pt x="36" y="1018"/>
                      <a:pt x="36" y="1018"/>
                    </a:cubicBezTo>
                    <a:cubicBezTo>
                      <a:pt x="34" y="1015"/>
                      <a:pt x="34" y="1015"/>
                      <a:pt x="34" y="1015"/>
                    </a:cubicBezTo>
                    <a:cubicBezTo>
                      <a:pt x="34" y="1013"/>
                      <a:pt x="34" y="1013"/>
                      <a:pt x="34" y="1013"/>
                    </a:cubicBezTo>
                    <a:cubicBezTo>
                      <a:pt x="36" y="1012"/>
                      <a:pt x="36" y="1012"/>
                      <a:pt x="36" y="1012"/>
                    </a:cubicBezTo>
                    <a:cubicBezTo>
                      <a:pt x="38" y="1015"/>
                      <a:pt x="38" y="1015"/>
                      <a:pt x="38" y="1015"/>
                    </a:cubicBezTo>
                    <a:cubicBezTo>
                      <a:pt x="41" y="1014"/>
                      <a:pt x="41" y="1014"/>
                      <a:pt x="41" y="1014"/>
                    </a:cubicBezTo>
                    <a:cubicBezTo>
                      <a:pt x="41" y="1011"/>
                      <a:pt x="41" y="1011"/>
                      <a:pt x="41" y="1011"/>
                    </a:cubicBezTo>
                    <a:cubicBezTo>
                      <a:pt x="43" y="1009"/>
                      <a:pt x="43" y="1009"/>
                      <a:pt x="43" y="1009"/>
                    </a:cubicBezTo>
                    <a:cubicBezTo>
                      <a:pt x="47" y="1011"/>
                      <a:pt x="47" y="1011"/>
                      <a:pt x="47" y="1011"/>
                    </a:cubicBezTo>
                    <a:cubicBezTo>
                      <a:pt x="52" y="1008"/>
                      <a:pt x="52" y="1008"/>
                      <a:pt x="52" y="1008"/>
                    </a:cubicBezTo>
                    <a:cubicBezTo>
                      <a:pt x="53" y="1005"/>
                      <a:pt x="53" y="1005"/>
                      <a:pt x="53" y="1005"/>
                    </a:cubicBezTo>
                    <a:cubicBezTo>
                      <a:pt x="55" y="1004"/>
                      <a:pt x="55" y="1004"/>
                      <a:pt x="55" y="1004"/>
                    </a:cubicBezTo>
                    <a:cubicBezTo>
                      <a:pt x="61" y="1006"/>
                      <a:pt x="61" y="1006"/>
                      <a:pt x="61" y="1006"/>
                    </a:cubicBezTo>
                    <a:cubicBezTo>
                      <a:pt x="63" y="1003"/>
                      <a:pt x="63" y="1003"/>
                      <a:pt x="63" y="1003"/>
                    </a:cubicBezTo>
                    <a:cubicBezTo>
                      <a:pt x="60" y="998"/>
                      <a:pt x="60" y="998"/>
                      <a:pt x="60" y="998"/>
                    </a:cubicBezTo>
                    <a:cubicBezTo>
                      <a:pt x="57" y="998"/>
                      <a:pt x="57" y="998"/>
                      <a:pt x="57" y="998"/>
                    </a:cubicBezTo>
                    <a:cubicBezTo>
                      <a:pt x="55" y="999"/>
                      <a:pt x="55" y="999"/>
                      <a:pt x="55" y="999"/>
                    </a:cubicBezTo>
                    <a:cubicBezTo>
                      <a:pt x="50" y="999"/>
                      <a:pt x="50" y="999"/>
                      <a:pt x="50" y="999"/>
                    </a:cubicBezTo>
                    <a:cubicBezTo>
                      <a:pt x="48" y="995"/>
                      <a:pt x="48" y="995"/>
                      <a:pt x="48" y="995"/>
                    </a:cubicBezTo>
                    <a:cubicBezTo>
                      <a:pt x="43" y="995"/>
                      <a:pt x="43" y="995"/>
                      <a:pt x="43" y="995"/>
                    </a:cubicBezTo>
                    <a:cubicBezTo>
                      <a:pt x="39" y="990"/>
                      <a:pt x="39" y="990"/>
                      <a:pt x="39" y="990"/>
                    </a:cubicBezTo>
                    <a:cubicBezTo>
                      <a:pt x="40" y="988"/>
                      <a:pt x="40" y="988"/>
                      <a:pt x="40" y="988"/>
                    </a:cubicBezTo>
                    <a:cubicBezTo>
                      <a:pt x="44" y="991"/>
                      <a:pt x="44" y="991"/>
                      <a:pt x="44" y="991"/>
                    </a:cubicBezTo>
                    <a:cubicBezTo>
                      <a:pt x="44" y="988"/>
                      <a:pt x="44" y="988"/>
                      <a:pt x="44" y="988"/>
                    </a:cubicBezTo>
                    <a:cubicBezTo>
                      <a:pt x="43" y="986"/>
                      <a:pt x="43" y="986"/>
                      <a:pt x="43" y="986"/>
                    </a:cubicBezTo>
                    <a:cubicBezTo>
                      <a:pt x="45" y="983"/>
                      <a:pt x="45" y="983"/>
                      <a:pt x="45" y="983"/>
                    </a:cubicBezTo>
                    <a:cubicBezTo>
                      <a:pt x="41" y="984"/>
                      <a:pt x="41" y="984"/>
                      <a:pt x="41" y="984"/>
                    </a:cubicBezTo>
                    <a:cubicBezTo>
                      <a:pt x="41" y="984"/>
                      <a:pt x="37" y="987"/>
                      <a:pt x="36" y="987"/>
                    </a:cubicBezTo>
                    <a:cubicBezTo>
                      <a:pt x="35" y="987"/>
                      <a:pt x="35" y="987"/>
                      <a:pt x="35" y="988"/>
                    </a:cubicBezTo>
                    <a:cubicBezTo>
                      <a:pt x="35" y="988"/>
                      <a:pt x="35" y="988"/>
                      <a:pt x="35" y="988"/>
                    </a:cubicBezTo>
                    <a:cubicBezTo>
                      <a:pt x="34" y="983"/>
                      <a:pt x="34" y="983"/>
                      <a:pt x="34" y="983"/>
                    </a:cubicBezTo>
                    <a:cubicBezTo>
                      <a:pt x="43" y="975"/>
                      <a:pt x="43" y="975"/>
                      <a:pt x="43" y="975"/>
                    </a:cubicBezTo>
                    <a:cubicBezTo>
                      <a:pt x="48" y="972"/>
                      <a:pt x="48" y="972"/>
                      <a:pt x="48" y="972"/>
                    </a:cubicBezTo>
                    <a:cubicBezTo>
                      <a:pt x="53" y="964"/>
                      <a:pt x="53" y="964"/>
                      <a:pt x="53" y="964"/>
                    </a:cubicBezTo>
                    <a:cubicBezTo>
                      <a:pt x="58" y="956"/>
                      <a:pt x="58" y="956"/>
                      <a:pt x="58" y="956"/>
                    </a:cubicBezTo>
                    <a:cubicBezTo>
                      <a:pt x="62" y="947"/>
                      <a:pt x="62" y="947"/>
                      <a:pt x="62" y="947"/>
                    </a:cubicBezTo>
                    <a:cubicBezTo>
                      <a:pt x="70" y="934"/>
                      <a:pt x="70" y="934"/>
                      <a:pt x="70" y="934"/>
                    </a:cubicBezTo>
                    <a:cubicBezTo>
                      <a:pt x="75" y="921"/>
                      <a:pt x="75" y="921"/>
                      <a:pt x="75" y="921"/>
                    </a:cubicBezTo>
                    <a:cubicBezTo>
                      <a:pt x="74" y="915"/>
                      <a:pt x="74" y="915"/>
                      <a:pt x="74" y="915"/>
                    </a:cubicBezTo>
                    <a:cubicBezTo>
                      <a:pt x="66" y="906"/>
                      <a:pt x="66" y="906"/>
                      <a:pt x="66" y="906"/>
                    </a:cubicBezTo>
                    <a:cubicBezTo>
                      <a:pt x="61" y="904"/>
                      <a:pt x="61" y="904"/>
                      <a:pt x="61" y="904"/>
                    </a:cubicBezTo>
                    <a:cubicBezTo>
                      <a:pt x="52" y="892"/>
                      <a:pt x="52" y="892"/>
                      <a:pt x="52" y="892"/>
                    </a:cubicBezTo>
                    <a:cubicBezTo>
                      <a:pt x="53" y="887"/>
                      <a:pt x="53" y="887"/>
                      <a:pt x="53" y="887"/>
                    </a:cubicBezTo>
                    <a:cubicBezTo>
                      <a:pt x="57" y="882"/>
                      <a:pt x="57" y="882"/>
                      <a:pt x="57" y="882"/>
                    </a:cubicBezTo>
                    <a:cubicBezTo>
                      <a:pt x="57" y="877"/>
                      <a:pt x="57" y="877"/>
                      <a:pt x="57" y="877"/>
                    </a:cubicBezTo>
                    <a:cubicBezTo>
                      <a:pt x="51" y="873"/>
                      <a:pt x="51" y="873"/>
                      <a:pt x="51" y="873"/>
                    </a:cubicBezTo>
                    <a:cubicBezTo>
                      <a:pt x="49" y="868"/>
                      <a:pt x="49" y="868"/>
                      <a:pt x="49" y="868"/>
                    </a:cubicBezTo>
                    <a:cubicBezTo>
                      <a:pt x="48" y="862"/>
                      <a:pt x="48" y="862"/>
                      <a:pt x="48" y="862"/>
                    </a:cubicBezTo>
                    <a:cubicBezTo>
                      <a:pt x="50" y="860"/>
                      <a:pt x="50" y="860"/>
                      <a:pt x="50" y="860"/>
                    </a:cubicBezTo>
                    <a:cubicBezTo>
                      <a:pt x="48" y="856"/>
                      <a:pt x="48" y="856"/>
                      <a:pt x="48" y="856"/>
                    </a:cubicBezTo>
                    <a:cubicBezTo>
                      <a:pt x="44" y="856"/>
                      <a:pt x="44" y="856"/>
                      <a:pt x="44" y="856"/>
                    </a:cubicBezTo>
                    <a:cubicBezTo>
                      <a:pt x="41" y="852"/>
                      <a:pt x="41" y="852"/>
                      <a:pt x="41" y="852"/>
                    </a:cubicBezTo>
                    <a:cubicBezTo>
                      <a:pt x="41" y="846"/>
                      <a:pt x="41" y="846"/>
                      <a:pt x="41" y="846"/>
                    </a:cubicBezTo>
                    <a:cubicBezTo>
                      <a:pt x="44" y="843"/>
                      <a:pt x="44" y="843"/>
                      <a:pt x="44" y="843"/>
                    </a:cubicBezTo>
                    <a:cubicBezTo>
                      <a:pt x="40" y="842"/>
                      <a:pt x="40" y="842"/>
                      <a:pt x="40" y="842"/>
                    </a:cubicBezTo>
                    <a:cubicBezTo>
                      <a:pt x="40" y="839"/>
                      <a:pt x="40" y="839"/>
                      <a:pt x="40" y="839"/>
                    </a:cubicBezTo>
                    <a:cubicBezTo>
                      <a:pt x="41" y="827"/>
                      <a:pt x="41" y="827"/>
                      <a:pt x="41" y="827"/>
                    </a:cubicBezTo>
                    <a:cubicBezTo>
                      <a:pt x="44" y="826"/>
                      <a:pt x="44" y="826"/>
                      <a:pt x="44" y="826"/>
                    </a:cubicBezTo>
                    <a:cubicBezTo>
                      <a:pt x="36" y="807"/>
                      <a:pt x="36" y="807"/>
                      <a:pt x="36" y="807"/>
                    </a:cubicBezTo>
                    <a:cubicBezTo>
                      <a:pt x="28" y="793"/>
                      <a:pt x="28" y="793"/>
                      <a:pt x="28" y="793"/>
                    </a:cubicBezTo>
                    <a:cubicBezTo>
                      <a:pt x="26" y="788"/>
                      <a:pt x="26" y="788"/>
                      <a:pt x="26" y="788"/>
                    </a:cubicBezTo>
                    <a:cubicBezTo>
                      <a:pt x="21" y="783"/>
                      <a:pt x="21" y="783"/>
                      <a:pt x="21" y="783"/>
                    </a:cubicBezTo>
                    <a:cubicBezTo>
                      <a:pt x="25" y="774"/>
                      <a:pt x="25" y="774"/>
                      <a:pt x="25" y="774"/>
                    </a:cubicBezTo>
                    <a:cubicBezTo>
                      <a:pt x="29" y="768"/>
                      <a:pt x="29" y="768"/>
                      <a:pt x="29" y="768"/>
                    </a:cubicBezTo>
                    <a:cubicBezTo>
                      <a:pt x="30" y="762"/>
                      <a:pt x="30" y="762"/>
                      <a:pt x="30" y="762"/>
                    </a:cubicBezTo>
                    <a:cubicBezTo>
                      <a:pt x="28" y="760"/>
                      <a:pt x="28" y="760"/>
                      <a:pt x="28" y="760"/>
                    </a:cubicBezTo>
                    <a:cubicBezTo>
                      <a:pt x="19" y="755"/>
                      <a:pt x="19" y="755"/>
                      <a:pt x="19" y="755"/>
                    </a:cubicBezTo>
                    <a:cubicBezTo>
                      <a:pt x="18" y="752"/>
                      <a:pt x="18" y="752"/>
                      <a:pt x="18" y="752"/>
                    </a:cubicBezTo>
                    <a:cubicBezTo>
                      <a:pt x="15" y="747"/>
                      <a:pt x="15" y="747"/>
                      <a:pt x="15" y="747"/>
                    </a:cubicBezTo>
                    <a:cubicBezTo>
                      <a:pt x="10" y="744"/>
                      <a:pt x="10" y="744"/>
                      <a:pt x="10" y="744"/>
                    </a:cubicBezTo>
                    <a:cubicBezTo>
                      <a:pt x="7" y="744"/>
                      <a:pt x="7" y="744"/>
                      <a:pt x="7" y="744"/>
                    </a:cubicBezTo>
                    <a:cubicBezTo>
                      <a:pt x="4" y="736"/>
                      <a:pt x="4" y="736"/>
                      <a:pt x="4" y="736"/>
                    </a:cubicBezTo>
                    <a:cubicBezTo>
                      <a:pt x="1" y="733"/>
                      <a:pt x="1" y="733"/>
                      <a:pt x="1" y="733"/>
                    </a:cubicBezTo>
                    <a:cubicBezTo>
                      <a:pt x="2" y="726"/>
                      <a:pt x="2" y="726"/>
                      <a:pt x="2" y="726"/>
                    </a:cubicBezTo>
                    <a:cubicBezTo>
                      <a:pt x="3" y="721"/>
                      <a:pt x="3" y="721"/>
                      <a:pt x="3" y="721"/>
                    </a:cubicBezTo>
                    <a:cubicBezTo>
                      <a:pt x="0" y="720"/>
                      <a:pt x="0" y="720"/>
                      <a:pt x="0" y="720"/>
                    </a:cubicBezTo>
                    <a:cubicBezTo>
                      <a:pt x="3" y="718"/>
                      <a:pt x="3" y="718"/>
                      <a:pt x="3" y="718"/>
                    </a:cubicBezTo>
                    <a:cubicBezTo>
                      <a:pt x="8" y="716"/>
                      <a:pt x="8" y="716"/>
                      <a:pt x="8" y="716"/>
                    </a:cubicBezTo>
                    <a:cubicBezTo>
                      <a:pt x="8" y="716"/>
                      <a:pt x="8" y="716"/>
                      <a:pt x="8" y="716"/>
                    </a:cubicBezTo>
                    <a:cubicBezTo>
                      <a:pt x="11" y="716"/>
                      <a:pt x="11" y="716"/>
                      <a:pt x="11" y="716"/>
                    </a:cubicBezTo>
                    <a:cubicBezTo>
                      <a:pt x="11" y="709"/>
                      <a:pt x="11" y="709"/>
                      <a:pt x="11" y="709"/>
                    </a:cubicBezTo>
                    <a:cubicBezTo>
                      <a:pt x="16" y="704"/>
                      <a:pt x="16" y="704"/>
                      <a:pt x="16" y="704"/>
                    </a:cubicBezTo>
                    <a:cubicBezTo>
                      <a:pt x="20" y="704"/>
                      <a:pt x="20" y="704"/>
                      <a:pt x="20" y="704"/>
                    </a:cubicBezTo>
                    <a:cubicBezTo>
                      <a:pt x="23" y="700"/>
                      <a:pt x="23" y="700"/>
                      <a:pt x="23" y="700"/>
                    </a:cubicBezTo>
                    <a:cubicBezTo>
                      <a:pt x="23" y="695"/>
                      <a:pt x="23" y="695"/>
                      <a:pt x="23" y="695"/>
                    </a:cubicBezTo>
                    <a:cubicBezTo>
                      <a:pt x="26" y="694"/>
                      <a:pt x="26" y="694"/>
                      <a:pt x="26" y="694"/>
                    </a:cubicBezTo>
                    <a:cubicBezTo>
                      <a:pt x="30" y="696"/>
                      <a:pt x="30" y="696"/>
                      <a:pt x="30" y="696"/>
                    </a:cubicBezTo>
                    <a:cubicBezTo>
                      <a:pt x="33" y="693"/>
                      <a:pt x="33" y="693"/>
                      <a:pt x="33" y="693"/>
                    </a:cubicBezTo>
                    <a:cubicBezTo>
                      <a:pt x="32" y="689"/>
                      <a:pt x="32" y="689"/>
                      <a:pt x="32" y="689"/>
                    </a:cubicBezTo>
                    <a:cubicBezTo>
                      <a:pt x="32" y="689"/>
                      <a:pt x="32" y="689"/>
                      <a:pt x="32" y="689"/>
                    </a:cubicBezTo>
                    <a:cubicBezTo>
                      <a:pt x="37" y="690"/>
                      <a:pt x="37" y="690"/>
                      <a:pt x="37" y="690"/>
                    </a:cubicBezTo>
                    <a:cubicBezTo>
                      <a:pt x="38" y="691"/>
                      <a:pt x="38" y="691"/>
                      <a:pt x="38" y="691"/>
                    </a:cubicBezTo>
                    <a:cubicBezTo>
                      <a:pt x="38" y="695"/>
                      <a:pt x="38" y="695"/>
                      <a:pt x="38" y="695"/>
                    </a:cubicBezTo>
                    <a:cubicBezTo>
                      <a:pt x="40" y="697"/>
                      <a:pt x="40" y="697"/>
                      <a:pt x="40" y="697"/>
                    </a:cubicBezTo>
                    <a:cubicBezTo>
                      <a:pt x="40" y="692"/>
                      <a:pt x="40" y="692"/>
                      <a:pt x="40" y="692"/>
                    </a:cubicBezTo>
                    <a:cubicBezTo>
                      <a:pt x="42" y="690"/>
                      <a:pt x="42" y="690"/>
                      <a:pt x="42" y="690"/>
                    </a:cubicBezTo>
                    <a:cubicBezTo>
                      <a:pt x="44" y="690"/>
                      <a:pt x="44" y="690"/>
                      <a:pt x="44" y="690"/>
                    </a:cubicBezTo>
                    <a:cubicBezTo>
                      <a:pt x="46" y="689"/>
                      <a:pt x="46" y="689"/>
                      <a:pt x="46" y="689"/>
                    </a:cubicBezTo>
                    <a:cubicBezTo>
                      <a:pt x="43" y="687"/>
                      <a:pt x="43" y="687"/>
                      <a:pt x="43" y="687"/>
                    </a:cubicBezTo>
                    <a:cubicBezTo>
                      <a:pt x="43" y="686"/>
                      <a:pt x="43" y="686"/>
                      <a:pt x="43" y="686"/>
                    </a:cubicBezTo>
                    <a:cubicBezTo>
                      <a:pt x="45" y="686"/>
                      <a:pt x="45" y="686"/>
                      <a:pt x="45" y="686"/>
                    </a:cubicBezTo>
                    <a:cubicBezTo>
                      <a:pt x="47" y="686"/>
                      <a:pt x="47" y="686"/>
                      <a:pt x="47" y="686"/>
                    </a:cubicBezTo>
                    <a:cubicBezTo>
                      <a:pt x="47" y="684"/>
                      <a:pt x="47" y="684"/>
                      <a:pt x="47" y="684"/>
                    </a:cubicBezTo>
                    <a:cubicBezTo>
                      <a:pt x="46" y="684"/>
                      <a:pt x="46" y="684"/>
                      <a:pt x="46" y="684"/>
                    </a:cubicBezTo>
                    <a:cubicBezTo>
                      <a:pt x="45" y="682"/>
                      <a:pt x="45" y="682"/>
                      <a:pt x="45" y="682"/>
                    </a:cubicBezTo>
                    <a:cubicBezTo>
                      <a:pt x="46" y="681"/>
                      <a:pt x="46" y="681"/>
                      <a:pt x="46" y="681"/>
                    </a:cubicBezTo>
                    <a:cubicBezTo>
                      <a:pt x="49" y="681"/>
                      <a:pt x="49" y="681"/>
                      <a:pt x="49" y="681"/>
                    </a:cubicBezTo>
                    <a:cubicBezTo>
                      <a:pt x="53" y="683"/>
                      <a:pt x="53" y="683"/>
                      <a:pt x="53" y="683"/>
                    </a:cubicBezTo>
                    <a:cubicBezTo>
                      <a:pt x="55" y="686"/>
                      <a:pt x="55" y="686"/>
                      <a:pt x="55" y="686"/>
                    </a:cubicBezTo>
                    <a:cubicBezTo>
                      <a:pt x="57" y="687"/>
                      <a:pt x="57" y="687"/>
                      <a:pt x="57" y="687"/>
                    </a:cubicBezTo>
                    <a:cubicBezTo>
                      <a:pt x="59" y="686"/>
                      <a:pt x="59" y="686"/>
                      <a:pt x="59" y="686"/>
                    </a:cubicBezTo>
                    <a:cubicBezTo>
                      <a:pt x="62" y="687"/>
                      <a:pt x="62" y="687"/>
                      <a:pt x="62" y="687"/>
                    </a:cubicBezTo>
                    <a:cubicBezTo>
                      <a:pt x="63" y="688"/>
                      <a:pt x="63" y="688"/>
                      <a:pt x="63" y="688"/>
                    </a:cubicBezTo>
                    <a:cubicBezTo>
                      <a:pt x="65" y="690"/>
                      <a:pt x="65" y="690"/>
                      <a:pt x="65" y="690"/>
                    </a:cubicBezTo>
                    <a:cubicBezTo>
                      <a:pt x="65" y="692"/>
                      <a:pt x="65" y="692"/>
                      <a:pt x="65" y="692"/>
                    </a:cubicBezTo>
                    <a:cubicBezTo>
                      <a:pt x="62" y="694"/>
                      <a:pt x="62" y="694"/>
                      <a:pt x="62" y="694"/>
                    </a:cubicBezTo>
                    <a:cubicBezTo>
                      <a:pt x="59" y="693"/>
                      <a:pt x="59" y="693"/>
                      <a:pt x="59" y="693"/>
                    </a:cubicBezTo>
                    <a:cubicBezTo>
                      <a:pt x="54" y="693"/>
                      <a:pt x="54" y="693"/>
                      <a:pt x="54" y="693"/>
                    </a:cubicBezTo>
                    <a:cubicBezTo>
                      <a:pt x="51" y="691"/>
                      <a:pt x="51" y="691"/>
                      <a:pt x="51" y="691"/>
                    </a:cubicBezTo>
                    <a:cubicBezTo>
                      <a:pt x="51" y="688"/>
                      <a:pt x="51" y="688"/>
                      <a:pt x="51" y="688"/>
                    </a:cubicBezTo>
                    <a:cubicBezTo>
                      <a:pt x="49" y="691"/>
                      <a:pt x="49" y="691"/>
                      <a:pt x="49" y="691"/>
                    </a:cubicBezTo>
                    <a:cubicBezTo>
                      <a:pt x="49" y="695"/>
                      <a:pt x="49" y="695"/>
                      <a:pt x="49" y="695"/>
                    </a:cubicBezTo>
                    <a:cubicBezTo>
                      <a:pt x="50" y="698"/>
                      <a:pt x="50" y="698"/>
                      <a:pt x="50" y="698"/>
                    </a:cubicBezTo>
                    <a:cubicBezTo>
                      <a:pt x="53" y="696"/>
                      <a:pt x="53" y="696"/>
                      <a:pt x="53" y="696"/>
                    </a:cubicBezTo>
                    <a:cubicBezTo>
                      <a:pt x="54" y="697"/>
                      <a:pt x="54" y="697"/>
                      <a:pt x="54" y="697"/>
                    </a:cubicBezTo>
                    <a:cubicBezTo>
                      <a:pt x="55" y="700"/>
                      <a:pt x="55" y="700"/>
                      <a:pt x="55" y="700"/>
                    </a:cubicBezTo>
                    <a:cubicBezTo>
                      <a:pt x="58" y="698"/>
                      <a:pt x="58" y="698"/>
                      <a:pt x="58" y="698"/>
                    </a:cubicBezTo>
                    <a:cubicBezTo>
                      <a:pt x="62" y="699"/>
                      <a:pt x="62" y="699"/>
                      <a:pt x="62" y="699"/>
                    </a:cubicBezTo>
                    <a:cubicBezTo>
                      <a:pt x="62" y="701"/>
                      <a:pt x="62" y="701"/>
                      <a:pt x="62" y="701"/>
                    </a:cubicBezTo>
                    <a:cubicBezTo>
                      <a:pt x="63" y="701"/>
                      <a:pt x="63" y="701"/>
                      <a:pt x="63" y="701"/>
                    </a:cubicBezTo>
                    <a:cubicBezTo>
                      <a:pt x="65" y="699"/>
                      <a:pt x="65" y="699"/>
                      <a:pt x="65" y="699"/>
                    </a:cubicBezTo>
                    <a:cubicBezTo>
                      <a:pt x="66" y="700"/>
                      <a:pt x="66" y="700"/>
                      <a:pt x="66" y="700"/>
                    </a:cubicBezTo>
                    <a:cubicBezTo>
                      <a:pt x="65" y="701"/>
                      <a:pt x="65" y="701"/>
                      <a:pt x="65" y="701"/>
                    </a:cubicBezTo>
                    <a:cubicBezTo>
                      <a:pt x="65" y="704"/>
                      <a:pt x="65" y="704"/>
                      <a:pt x="65" y="704"/>
                    </a:cubicBezTo>
                    <a:cubicBezTo>
                      <a:pt x="68" y="700"/>
                      <a:pt x="68" y="700"/>
                      <a:pt x="68" y="700"/>
                    </a:cubicBezTo>
                    <a:cubicBezTo>
                      <a:pt x="70" y="698"/>
                      <a:pt x="70" y="698"/>
                      <a:pt x="70" y="698"/>
                    </a:cubicBezTo>
                    <a:cubicBezTo>
                      <a:pt x="72" y="699"/>
                      <a:pt x="72" y="699"/>
                      <a:pt x="72" y="699"/>
                    </a:cubicBezTo>
                    <a:cubicBezTo>
                      <a:pt x="71" y="700"/>
                      <a:pt x="71" y="700"/>
                      <a:pt x="71" y="700"/>
                    </a:cubicBezTo>
                    <a:cubicBezTo>
                      <a:pt x="70" y="702"/>
                      <a:pt x="70" y="702"/>
                      <a:pt x="70" y="702"/>
                    </a:cubicBezTo>
                    <a:cubicBezTo>
                      <a:pt x="73" y="702"/>
                      <a:pt x="73" y="702"/>
                      <a:pt x="73" y="702"/>
                    </a:cubicBezTo>
                    <a:cubicBezTo>
                      <a:pt x="74" y="704"/>
                      <a:pt x="74" y="704"/>
                      <a:pt x="74" y="704"/>
                    </a:cubicBezTo>
                    <a:cubicBezTo>
                      <a:pt x="72" y="705"/>
                      <a:pt x="72" y="705"/>
                      <a:pt x="72" y="705"/>
                    </a:cubicBezTo>
                    <a:cubicBezTo>
                      <a:pt x="70" y="709"/>
                      <a:pt x="70" y="709"/>
                      <a:pt x="70" y="709"/>
                    </a:cubicBezTo>
                    <a:cubicBezTo>
                      <a:pt x="74" y="709"/>
                      <a:pt x="74" y="709"/>
                      <a:pt x="74" y="709"/>
                    </a:cubicBezTo>
                    <a:cubicBezTo>
                      <a:pt x="76" y="704"/>
                      <a:pt x="76" y="704"/>
                      <a:pt x="76" y="704"/>
                    </a:cubicBezTo>
                    <a:cubicBezTo>
                      <a:pt x="75" y="702"/>
                      <a:pt x="75" y="702"/>
                      <a:pt x="75" y="702"/>
                    </a:cubicBezTo>
                    <a:cubicBezTo>
                      <a:pt x="77" y="700"/>
                      <a:pt x="77" y="700"/>
                      <a:pt x="77" y="700"/>
                    </a:cubicBezTo>
                    <a:cubicBezTo>
                      <a:pt x="81" y="700"/>
                      <a:pt x="81" y="700"/>
                      <a:pt x="81" y="700"/>
                    </a:cubicBezTo>
                    <a:cubicBezTo>
                      <a:pt x="83" y="702"/>
                      <a:pt x="83" y="702"/>
                      <a:pt x="83" y="702"/>
                    </a:cubicBezTo>
                    <a:cubicBezTo>
                      <a:pt x="84" y="700"/>
                      <a:pt x="84" y="700"/>
                      <a:pt x="84" y="700"/>
                    </a:cubicBezTo>
                    <a:cubicBezTo>
                      <a:pt x="82" y="697"/>
                      <a:pt x="82" y="697"/>
                      <a:pt x="82" y="697"/>
                    </a:cubicBezTo>
                    <a:cubicBezTo>
                      <a:pt x="82" y="696"/>
                      <a:pt x="82" y="696"/>
                      <a:pt x="82" y="696"/>
                    </a:cubicBezTo>
                    <a:cubicBezTo>
                      <a:pt x="86" y="698"/>
                      <a:pt x="86" y="698"/>
                      <a:pt x="86" y="698"/>
                    </a:cubicBezTo>
                    <a:cubicBezTo>
                      <a:pt x="88" y="701"/>
                      <a:pt x="88" y="701"/>
                      <a:pt x="88" y="701"/>
                    </a:cubicBezTo>
                    <a:cubicBezTo>
                      <a:pt x="94" y="701"/>
                      <a:pt x="94" y="701"/>
                      <a:pt x="94" y="701"/>
                    </a:cubicBezTo>
                    <a:cubicBezTo>
                      <a:pt x="98" y="703"/>
                      <a:pt x="98" y="703"/>
                      <a:pt x="98" y="703"/>
                    </a:cubicBezTo>
                    <a:cubicBezTo>
                      <a:pt x="100" y="701"/>
                      <a:pt x="100" y="701"/>
                      <a:pt x="100" y="701"/>
                    </a:cubicBezTo>
                    <a:cubicBezTo>
                      <a:pt x="100" y="699"/>
                      <a:pt x="100" y="699"/>
                      <a:pt x="100" y="699"/>
                    </a:cubicBezTo>
                    <a:cubicBezTo>
                      <a:pt x="105" y="700"/>
                      <a:pt x="105" y="700"/>
                      <a:pt x="105" y="700"/>
                    </a:cubicBezTo>
                    <a:cubicBezTo>
                      <a:pt x="109" y="703"/>
                      <a:pt x="109" y="703"/>
                      <a:pt x="109" y="703"/>
                    </a:cubicBezTo>
                    <a:cubicBezTo>
                      <a:pt x="109" y="701"/>
                      <a:pt x="109" y="701"/>
                      <a:pt x="109" y="701"/>
                    </a:cubicBezTo>
                    <a:cubicBezTo>
                      <a:pt x="114" y="703"/>
                      <a:pt x="114" y="703"/>
                      <a:pt x="114" y="703"/>
                    </a:cubicBezTo>
                    <a:cubicBezTo>
                      <a:pt x="133" y="713"/>
                      <a:pt x="133" y="713"/>
                      <a:pt x="133" y="713"/>
                    </a:cubicBezTo>
                    <a:cubicBezTo>
                      <a:pt x="147" y="722"/>
                      <a:pt x="147" y="722"/>
                      <a:pt x="147" y="722"/>
                    </a:cubicBezTo>
                    <a:cubicBezTo>
                      <a:pt x="149" y="725"/>
                      <a:pt x="149" y="725"/>
                      <a:pt x="149" y="725"/>
                    </a:cubicBezTo>
                    <a:cubicBezTo>
                      <a:pt x="153" y="726"/>
                      <a:pt x="153" y="726"/>
                      <a:pt x="153" y="726"/>
                    </a:cubicBezTo>
                    <a:cubicBezTo>
                      <a:pt x="158" y="732"/>
                      <a:pt x="158" y="732"/>
                      <a:pt x="158" y="732"/>
                    </a:cubicBezTo>
                    <a:cubicBezTo>
                      <a:pt x="160" y="733"/>
                      <a:pt x="160" y="733"/>
                      <a:pt x="160" y="733"/>
                    </a:cubicBezTo>
                    <a:cubicBezTo>
                      <a:pt x="160" y="731"/>
                      <a:pt x="160" y="731"/>
                      <a:pt x="160" y="731"/>
                    </a:cubicBezTo>
                    <a:cubicBezTo>
                      <a:pt x="160" y="729"/>
                      <a:pt x="160" y="729"/>
                      <a:pt x="160" y="729"/>
                    </a:cubicBezTo>
                    <a:cubicBezTo>
                      <a:pt x="162" y="729"/>
                      <a:pt x="162" y="729"/>
                      <a:pt x="162" y="729"/>
                    </a:cubicBezTo>
                    <a:cubicBezTo>
                      <a:pt x="167" y="734"/>
                      <a:pt x="167" y="734"/>
                      <a:pt x="167" y="734"/>
                    </a:cubicBezTo>
                    <a:cubicBezTo>
                      <a:pt x="170" y="734"/>
                      <a:pt x="170" y="734"/>
                      <a:pt x="170" y="734"/>
                    </a:cubicBezTo>
                    <a:cubicBezTo>
                      <a:pt x="175" y="739"/>
                      <a:pt x="175" y="739"/>
                      <a:pt x="175" y="739"/>
                    </a:cubicBezTo>
                    <a:cubicBezTo>
                      <a:pt x="178" y="738"/>
                      <a:pt x="178" y="738"/>
                      <a:pt x="178" y="738"/>
                    </a:cubicBezTo>
                    <a:cubicBezTo>
                      <a:pt x="175" y="733"/>
                      <a:pt x="175" y="733"/>
                      <a:pt x="175" y="733"/>
                    </a:cubicBezTo>
                    <a:cubicBezTo>
                      <a:pt x="174" y="731"/>
                      <a:pt x="174" y="731"/>
                      <a:pt x="174" y="731"/>
                    </a:cubicBezTo>
                    <a:cubicBezTo>
                      <a:pt x="176" y="731"/>
                      <a:pt x="176" y="731"/>
                      <a:pt x="176" y="731"/>
                    </a:cubicBezTo>
                    <a:cubicBezTo>
                      <a:pt x="180" y="735"/>
                      <a:pt x="180" y="735"/>
                      <a:pt x="180" y="735"/>
                    </a:cubicBezTo>
                    <a:cubicBezTo>
                      <a:pt x="180" y="739"/>
                      <a:pt x="180" y="739"/>
                      <a:pt x="180" y="739"/>
                    </a:cubicBezTo>
                    <a:cubicBezTo>
                      <a:pt x="187" y="744"/>
                      <a:pt x="187" y="744"/>
                      <a:pt x="187" y="744"/>
                    </a:cubicBezTo>
                    <a:cubicBezTo>
                      <a:pt x="187" y="746"/>
                      <a:pt x="187" y="746"/>
                      <a:pt x="187" y="746"/>
                    </a:cubicBezTo>
                    <a:cubicBezTo>
                      <a:pt x="191" y="748"/>
                      <a:pt x="191" y="748"/>
                      <a:pt x="191" y="748"/>
                    </a:cubicBezTo>
                    <a:cubicBezTo>
                      <a:pt x="192" y="747"/>
                      <a:pt x="192" y="747"/>
                      <a:pt x="192" y="747"/>
                    </a:cubicBezTo>
                    <a:cubicBezTo>
                      <a:pt x="196" y="747"/>
                      <a:pt x="196" y="747"/>
                      <a:pt x="196" y="747"/>
                    </a:cubicBezTo>
                    <a:cubicBezTo>
                      <a:pt x="200" y="751"/>
                      <a:pt x="200" y="751"/>
                      <a:pt x="200" y="751"/>
                    </a:cubicBezTo>
                    <a:cubicBezTo>
                      <a:pt x="201" y="756"/>
                      <a:pt x="201" y="756"/>
                      <a:pt x="201" y="756"/>
                    </a:cubicBezTo>
                    <a:cubicBezTo>
                      <a:pt x="203" y="757"/>
                      <a:pt x="203" y="757"/>
                      <a:pt x="203" y="757"/>
                    </a:cubicBezTo>
                    <a:cubicBezTo>
                      <a:pt x="206" y="762"/>
                      <a:pt x="206" y="762"/>
                      <a:pt x="206" y="762"/>
                    </a:cubicBezTo>
                    <a:cubicBezTo>
                      <a:pt x="208" y="762"/>
                      <a:pt x="208" y="762"/>
                      <a:pt x="208" y="762"/>
                    </a:cubicBezTo>
                    <a:cubicBezTo>
                      <a:pt x="209" y="763"/>
                      <a:pt x="209" y="763"/>
                      <a:pt x="209" y="763"/>
                    </a:cubicBezTo>
                    <a:cubicBezTo>
                      <a:pt x="209" y="768"/>
                      <a:pt x="209" y="768"/>
                      <a:pt x="209" y="768"/>
                    </a:cubicBezTo>
                    <a:cubicBezTo>
                      <a:pt x="209" y="772"/>
                      <a:pt x="209" y="772"/>
                      <a:pt x="209" y="772"/>
                    </a:cubicBezTo>
                    <a:cubicBezTo>
                      <a:pt x="209" y="777"/>
                      <a:pt x="209" y="777"/>
                      <a:pt x="209" y="777"/>
                    </a:cubicBezTo>
                    <a:cubicBezTo>
                      <a:pt x="207" y="780"/>
                      <a:pt x="207" y="780"/>
                      <a:pt x="207" y="780"/>
                    </a:cubicBezTo>
                    <a:cubicBezTo>
                      <a:pt x="207" y="783"/>
                      <a:pt x="207" y="783"/>
                      <a:pt x="207" y="783"/>
                    </a:cubicBezTo>
                    <a:cubicBezTo>
                      <a:pt x="203" y="788"/>
                      <a:pt x="203" y="788"/>
                      <a:pt x="203" y="788"/>
                    </a:cubicBezTo>
                    <a:cubicBezTo>
                      <a:pt x="202" y="791"/>
                      <a:pt x="202" y="791"/>
                      <a:pt x="202" y="791"/>
                    </a:cubicBezTo>
                    <a:cubicBezTo>
                      <a:pt x="195" y="800"/>
                      <a:pt x="195" y="800"/>
                      <a:pt x="195" y="800"/>
                    </a:cubicBezTo>
                    <a:cubicBezTo>
                      <a:pt x="190" y="803"/>
                      <a:pt x="190" y="803"/>
                      <a:pt x="190" y="803"/>
                    </a:cubicBezTo>
                    <a:cubicBezTo>
                      <a:pt x="184" y="804"/>
                      <a:pt x="184" y="804"/>
                      <a:pt x="184" y="804"/>
                    </a:cubicBezTo>
                    <a:cubicBezTo>
                      <a:pt x="181" y="806"/>
                      <a:pt x="181" y="806"/>
                      <a:pt x="181" y="806"/>
                    </a:cubicBezTo>
                    <a:cubicBezTo>
                      <a:pt x="175" y="806"/>
                      <a:pt x="175" y="806"/>
                      <a:pt x="175" y="806"/>
                    </a:cubicBezTo>
                    <a:cubicBezTo>
                      <a:pt x="174" y="808"/>
                      <a:pt x="174" y="808"/>
                      <a:pt x="174" y="808"/>
                    </a:cubicBezTo>
                    <a:cubicBezTo>
                      <a:pt x="165" y="808"/>
                      <a:pt x="165" y="808"/>
                      <a:pt x="165" y="808"/>
                    </a:cubicBezTo>
                    <a:cubicBezTo>
                      <a:pt x="154" y="808"/>
                      <a:pt x="154" y="808"/>
                      <a:pt x="154" y="808"/>
                    </a:cubicBezTo>
                    <a:cubicBezTo>
                      <a:pt x="148" y="806"/>
                      <a:pt x="148" y="806"/>
                      <a:pt x="148" y="806"/>
                    </a:cubicBezTo>
                    <a:cubicBezTo>
                      <a:pt x="143" y="803"/>
                      <a:pt x="143" y="803"/>
                      <a:pt x="143" y="803"/>
                    </a:cubicBezTo>
                    <a:cubicBezTo>
                      <a:pt x="140" y="805"/>
                      <a:pt x="140" y="805"/>
                      <a:pt x="140" y="805"/>
                    </a:cubicBezTo>
                    <a:cubicBezTo>
                      <a:pt x="137" y="804"/>
                      <a:pt x="137" y="804"/>
                      <a:pt x="137" y="804"/>
                    </a:cubicBezTo>
                    <a:cubicBezTo>
                      <a:pt x="132" y="804"/>
                      <a:pt x="132" y="804"/>
                      <a:pt x="132" y="804"/>
                    </a:cubicBezTo>
                    <a:cubicBezTo>
                      <a:pt x="131" y="802"/>
                      <a:pt x="131" y="802"/>
                      <a:pt x="131" y="802"/>
                    </a:cubicBezTo>
                    <a:cubicBezTo>
                      <a:pt x="128" y="801"/>
                      <a:pt x="128" y="801"/>
                      <a:pt x="128" y="801"/>
                    </a:cubicBezTo>
                    <a:cubicBezTo>
                      <a:pt x="125" y="803"/>
                      <a:pt x="125" y="803"/>
                      <a:pt x="125" y="803"/>
                    </a:cubicBezTo>
                    <a:cubicBezTo>
                      <a:pt x="120" y="799"/>
                      <a:pt x="120" y="799"/>
                      <a:pt x="120" y="799"/>
                    </a:cubicBezTo>
                    <a:cubicBezTo>
                      <a:pt x="120" y="796"/>
                      <a:pt x="120" y="796"/>
                      <a:pt x="120" y="796"/>
                    </a:cubicBezTo>
                    <a:cubicBezTo>
                      <a:pt x="117" y="797"/>
                      <a:pt x="117" y="797"/>
                      <a:pt x="117" y="797"/>
                    </a:cubicBezTo>
                    <a:cubicBezTo>
                      <a:pt x="113" y="797"/>
                      <a:pt x="113" y="797"/>
                      <a:pt x="113" y="797"/>
                    </a:cubicBezTo>
                    <a:cubicBezTo>
                      <a:pt x="115" y="796"/>
                      <a:pt x="115" y="796"/>
                      <a:pt x="115" y="796"/>
                    </a:cubicBezTo>
                    <a:cubicBezTo>
                      <a:pt x="109" y="796"/>
                      <a:pt x="109" y="796"/>
                      <a:pt x="109" y="796"/>
                    </a:cubicBezTo>
                    <a:cubicBezTo>
                      <a:pt x="107" y="797"/>
                      <a:pt x="107" y="797"/>
                      <a:pt x="107" y="797"/>
                    </a:cubicBezTo>
                    <a:cubicBezTo>
                      <a:pt x="103" y="797"/>
                      <a:pt x="103" y="797"/>
                      <a:pt x="103" y="797"/>
                    </a:cubicBezTo>
                    <a:cubicBezTo>
                      <a:pt x="103" y="795"/>
                      <a:pt x="103" y="795"/>
                      <a:pt x="103" y="795"/>
                    </a:cubicBezTo>
                    <a:cubicBezTo>
                      <a:pt x="102" y="794"/>
                      <a:pt x="102" y="794"/>
                      <a:pt x="102" y="794"/>
                    </a:cubicBezTo>
                    <a:cubicBezTo>
                      <a:pt x="104" y="793"/>
                      <a:pt x="104" y="793"/>
                      <a:pt x="104" y="793"/>
                    </a:cubicBezTo>
                    <a:cubicBezTo>
                      <a:pt x="102" y="790"/>
                      <a:pt x="102" y="790"/>
                      <a:pt x="102" y="790"/>
                    </a:cubicBezTo>
                    <a:cubicBezTo>
                      <a:pt x="101" y="791"/>
                      <a:pt x="101" y="791"/>
                      <a:pt x="101" y="791"/>
                    </a:cubicBezTo>
                    <a:cubicBezTo>
                      <a:pt x="95" y="791"/>
                      <a:pt x="95" y="791"/>
                      <a:pt x="95" y="791"/>
                    </a:cubicBezTo>
                    <a:cubicBezTo>
                      <a:pt x="91" y="789"/>
                      <a:pt x="91" y="789"/>
                      <a:pt x="91" y="789"/>
                    </a:cubicBezTo>
                    <a:cubicBezTo>
                      <a:pt x="90" y="790"/>
                      <a:pt x="90" y="790"/>
                      <a:pt x="90" y="790"/>
                    </a:cubicBezTo>
                    <a:cubicBezTo>
                      <a:pt x="87" y="790"/>
                      <a:pt x="87" y="790"/>
                      <a:pt x="87" y="790"/>
                    </a:cubicBezTo>
                    <a:cubicBezTo>
                      <a:pt x="79" y="783"/>
                      <a:pt x="79" y="783"/>
                      <a:pt x="79" y="783"/>
                    </a:cubicBezTo>
                    <a:cubicBezTo>
                      <a:pt x="78" y="780"/>
                      <a:pt x="78" y="780"/>
                      <a:pt x="78" y="780"/>
                    </a:cubicBezTo>
                    <a:cubicBezTo>
                      <a:pt x="74" y="779"/>
                      <a:pt x="74" y="779"/>
                      <a:pt x="74" y="779"/>
                    </a:cubicBezTo>
                    <a:cubicBezTo>
                      <a:pt x="73" y="778"/>
                      <a:pt x="73" y="778"/>
                      <a:pt x="73" y="778"/>
                    </a:cubicBezTo>
                    <a:cubicBezTo>
                      <a:pt x="69" y="778"/>
                      <a:pt x="69" y="778"/>
                      <a:pt x="69" y="778"/>
                    </a:cubicBezTo>
                    <a:cubicBezTo>
                      <a:pt x="68" y="779"/>
                      <a:pt x="68" y="779"/>
                      <a:pt x="68" y="779"/>
                    </a:cubicBezTo>
                    <a:cubicBezTo>
                      <a:pt x="72" y="782"/>
                      <a:pt x="72" y="782"/>
                      <a:pt x="72" y="782"/>
                    </a:cubicBezTo>
                    <a:cubicBezTo>
                      <a:pt x="73" y="787"/>
                      <a:pt x="73" y="787"/>
                      <a:pt x="73" y="787"/>
                    </a:cubicBezTo>
                    <a:cubicBezTo>
                      <a:pt x="78" y="790"/>
                      <a:pt x="78" y="790"/>
                      <a:pt x="78" y="790"/>
                    </a:cubicBezTo>
                    <a:cubicBezTo>
                      <a:pt x="79" y="793"/>
                      <a:pt x="79" y="793"/>
                      <a:pt x="79" y="793"/>
                    </a:cubicBezTo>
                    <a:cubicBezTo>
                      <a:pt x="84" y="794"/>
                      <a:pt x="84" y="794"/>
                      <a:pt x="84" y="794"/>
                    </a:cubicBezTo>
                    <a:cubicBezTo>
                      <a:pt x="85" y="795"/>
                      <a:pt x="85" y="795"/>
                      <a:pt x="85" y="795"/>
                    </a:cubicBezTo>
                    <a:cubicBezTo>
                      <a:pt x="82" y="797"/>
                      <a:pt x="82" y="797"/>
                      <a:pt x="82" y="797"/>
                    </a:cubicBezTo>
                    <a:cubicBezTo>
                      <a:pt x="80" y="800"/>
                      <a:pt x="80" y="800"/>
                      <a:pt x="80" y="800"/>
                    </a:cubicBezTo>
                    <a:cubicBezTo>
                      <a:pt x="81" y="800"/>
                      <a:pt x="81" y="800"/>
                      <a:pt x="81" y="800"/>
                    </a:cubicBezTo>
                    <a:cubicBezTo>
                      <a:pt x="87" y="799"/>
                      <a:pt x="87" y="799"/>
                      <a:pt x="87" y="799"/>
                    </a:cubicBezTo>
                    <a:cubicBezTo>
                      <a:pt x="90" y="797"/>
                      <a:pt x="90" y="797"/>
                      <a:pt x="90" y="797"/>
                    </a:cubicBezTo>
                    <a:cubicBezTo>
                      <a:pt x="92" y="799"/>
                      <a:pt x="92" y="799"/>
                      <a:pt x="92" y="799"/>
                    </a:cubicBezTo>
                    <a:cubicBezTo>
                      <a:pt x="90" y="800"/>
                      <a:pt x="90" y="800"/>
                      <a:pt x="90" y="800"/>
                    </a:cubicBezTo>
                    <a:cubicBezTo>
                      <a:pt x="90" y="801"/>
                      <a:pt x="90" y="801"/>
                      <a:pt x="90" y="801"/>
                    </a:cubicBezTo>
                    <a:cubicBezTo>
                      <a:pt x="94" y="802"/>
                      <a:pt x="94" y="802"/>
                      <a:pt x="94" y="802"/>
                    </a:cubicBezTo>
                    <a:cubicBezTo>
                      <a:pt x="93" y="805"/>
                      <a:pt x="93" y="805"/>
                      <a:pt x="93" y="805"/>
                    </a:cubicBezTo>
                    <a:cubicBezTo>
                      <a:pt x="89" y="805"/>
                      <a:pt x="89" y="805"/>
                      <a:pt x="89" y="805"/>
                    </a:cubicBezTo>
                    <a:cubicBezTo>
                      <a:pt x="87" y="807"/>
                      <a:pt x="87" y="807"/>
                      <a:pt x="87" y="807"/>
                    </a:cubicBezTo>
                    <a:cubicBezTo>
                      <a:pt x="92" y="808"/>
                      <a:pt x="92" y="808"/>
                      <a:pt x="92" y="808"/>
                    </a:cubicBezTo>
                    <a:cubicBezTo>
                      <a:pt x="93" y="807"/>
                      <a:pt x="93" y="807"/>
                      <a:pt x="93" y="807"/>
                    </a:cubicBezTo>
                    <a:cubicBezTo>
                      <a:pt x="96" y="807"/>
                      <a:pt x="96" y="807"/>
                      <a:pt x="96" y="807"/>
                    </a:cubicBezTo>
                    <a:cubicBezTo>
                      <a:pt x="98" y="809"/>
                      <a:pt x="98" y="809"/>
                      <a:pt x="98" y="809"/>
                    </a:cubicBezTo>
                    <a:cubicBezTo>
                      <a:pt x="101" y="807"/>
                      <a:pt x="101" y="807"/>
                      <a:pt x="101" y="807"/>
                    </a:cubicBezTo>
                    <a:cubicBezTo>
                      <a:pt x="109" y="811"/>
                      <a:pt x="109" y="811"/>
                      <a:pt x="109" y="811"/>
                    </a:cubicBezTo>
                    <a:cubicBezTo>
                      <a:pt x="114" y="816"/>
                      <a:pt x="114" y="816"/>
                      <a:pt x="114" y="816"/>
                    </a:cubicBezTo>
                    <a:cubicBezTo>
                      <a:pt x="116" y="817"/>
                      <a:pt x="116" y="817"/>
                      <a:pt x="116" y="817"/>
                    </a:cubicBezTo>
                    <a:cubicBezTo>
                      <a:pt x="114" y="819"/>
                      <a:pt x="114" y="819"/>
                      <a:pt x="114" y="819"/>
                    </a:cubicBezTo>
                    <a:cubicBezTo>
                      <a:pt x="114" y="821"/>
                      <a:pt x="114" y="821"/>
                      <a:pt x="114" y="821"/>
                    </a:cubicBezTo>
                    <a:cubicBezTo>
                      <a:pt x="115" y="822"/>
                      <a:pt x="115" y="822"/>
                      <a:pt x="115" y="822"/>
                    </a:cubicBezTo>
                    <a:cubicBezTo>
                      <a:pt x="116" y="825"/>
                      <a:pt x="116" y="825"/>
                      <a:pt x="116" y="825"/>
                    </a:cubicBezTo>
                    <a:cubicBezTo>
                      <a:pt x="115" y="831"/>
                      <a:pt x="115" y="831"/>
                      <a:pt x="115" y="831"/>
                    </a:cubicBezTo>
                    <a:cubicBezTo>
                      <a:pt x="112" y="832"/>
                      <a:pt x="112" y="832"/>
                      <a:pt x="112" y="832"/>
                    </a:cubicBezTo>
                    <a:cubicBezTo>
                      <a:pt x="111" y="836"/>
                      <a:pt x="111" y="836"/>
                      <a:pt x="111" y="836"/>
                    </a:cubicBezTo>
                    <a:cubicBezTo>
                      <a:pt x="115" y="836"/>
                      <a:pt x="115" y="836"/>
                      <a:pt x="115" y="836"/>
                    </a:cubicBezTo>
                    <a:cubicBezTo>
                      <a:pt x="115" y="841"/>
                      <a:pt x="115" y="841"/>
                      <a:pt x="115" y="841"/>
                    </a:cubicBezTo>
                    <a:cubicBezTo>
                      <a:pt x="120" y="846"/>
                      <a:pt x="120" y="846"/>
                      <a:pt x="120" y="846"/>
                    </a:cubicBezTo>
                    <a:cubicBezTo>
                      <a:pt x="120" y="849"/>
                      <a:pt x="120" y="849"/>
                      <a:pt x="120" y="849"/>
                    </a:cubicBezTo>
                    <a:cubicBezTo>
                      <a:pt x="124" y="851"/>
                      <a:pt x="124" y="851"/>
                      <a:pt x="124" y="851"/>
                    </a:cubicBezTo>
                    <a:cubicBezTo>
                      <a:pt x="124" y="855"/>
                      <a:pt x="124" y="855"/>
                      <a:pt x="124" y="855"/>
                    </a:cubicBezTo>
                    <a:cubicBezTo>
                      <a:pt x="124" y="859"/>
                      <a:pt x="124" y="859"/>
                      <a:pt x="124" y="859"/>
                    </a:cubicBezTo>
                    <a:cubicBezTo>
                      <a:pt x="123" y="862"/>
                      <a:pt x="123" y="862"/>
                      <a:pt x="123" y="862"/>
                    </a:cubicBezTo>
                    <a:cubicBezTo>
                      <a:pt x="125" y="864"/>
                      <a:pt x="125" y="864"/>
                      <a:pt x="125" y="864"/>
                    </a:cubicBezTo>
                    <a:cubicBezTo>
                      <a:pt x="126" y="867"/>
                      <a:pt x="126" y="867"/>
                      <a:pt x="126" y="867"/>
                    </a:cubicBezTo>
                    <a:cubicBezTo>
                      <a:pt x="134" y="870"/>
                      <a:pt x="134" y="870"/>
                      <a:pt x="134" y="870"/>
                    </a:cubicBezTo>
                    <a:cubicBezTo>
                      <a:pt x="138" y="867"/>
                      <a:pt x="138" y="867"/>
                      <a:pt x="138" y="867"/>
                    </a:cubicBezTo>
                    <a:cubicBezTo>
                      <a:pt x="139" y="867"/>
                      <a:pt x="139" y="867"/>
                      <a:pt x="139" y="867"/>
                    </a:cubicBezTo>
                    <a:cubicBezTo>
                      <a:pt x="142" y="870"/>
                      <a:pt x="142" y="870"/>
                      <a:pt x="142" y="870"/>
                    </a:cubicBezTo>
                    <a:cubicBezTo>
                      <a:pt x="145" y="872"/>
                      <a:pt x="145" y="872"/>
                      <a:pt x="145" y="872"/>
                    </a:cubicBezTo>
                    <a:cubicBezTo>
                      <a:pt x="146" y="877"/>
                      <a:pt x="146" y="877"/>
                      <a:pt x="146" y="877"/>
                    </a:cubicBezTo>
                    <a:cubicBezTo>
                      <a:pt x="147" y="878"/>
                      <a:pt x="147" y="878"/>
                      <a:pt x="147" y="878"/>
                    </a:cubicBezTo>
                    <a:cubicBezTo>
                      <a:pt x="153" y="878"/>
                      <a:pt x="153" y="878"/>
                      <a:pt x="153" y="878"/>
                    </a:cubicBezTo>
                    <a:cubicBezTo>
                      <a:pt x="156" y="880"/>
                      <a:pt x="156" y="880"/>
                      <a:pt x="156" y="880"/>
                    </a:cubicBezTo>
                    <a:cubicBezTo>
                      <a:pt x="161" y="881"/>
                      <a:pt x="161" y="881"/>
                      <a:pt x="161" y="881"/>
                    </a:cubicBezTo>
                    <a:cubicBezTo>
                      <a:pt x="165" y="884"/>
                      <a:pt x="165" y="884"/>
                      <a:pt x="165" y="884"/>
                    </a:cubicBezTo>
                    <a:cubicBezTo>
                      <a:pt x="167" y="884"/>
                      <a:pt x="167" y="884"/>
                      <a:pt x="167" y="884"/>
                    </a:cubicBezTo>
                    <a:cubicBezTo>
                      <a:pt x="171" y="879"/>
                      <a:pt x="171" y="879"/>
                      <a:pt x="171" y="879"/>
                    </a:cubicBezTo>
                    <a:cubicBezTo>
                      <a:pt x="174" y="879"/>
                      <a:pt x="174" y="879"/>
                      <a:pt x="174" y="879"/>
                    </a:cubicBezTo>
                    <a:cubicBezTo>
                      <a:pt x="176" y="878"/>
                      <a:pt x="176" y="878"/>
                      <a:pt x="176" y="878"/>
                    </a:cubicBezTo>
                    <a:cubicBezTo>
                      <a:pt x="177" y="872"/>
                      <a:pt x="177" y="872"/>
                      <a:pt x="177" y="872"/>
                    </a:cubicBezTo>
                    <a:cubicBezTo>
                      <a:pt x="174" y="870"/>
                      <a:pt x="174" y="870"/>
                      <a:pt x="174" y="870"/>
                    </a:cubicBezTo>
                    <a:cubicBezTo>
                      <a:pt x="175" y="868"/>
                      <a:pt x="175" y="868"/>
                      <a:pt x="175" y="868"/>
                    </a:cubicBezTo>
                    <a:cubicBezTo>
                      <a:pt x="175" y="867"/>
                      <a:pt x="175" y="867"/>
                      <a:pt x="175" y="867"/>
                    </a:cubicBezTo>
                    <a:cubicBezTo>
                      <a:pt x="171" y="865"/>
                      <a:pt x="171" y="865"/>
                      <a:pt x="171" y="865"/>
                    </a:cubicBezTo>
                    <a:cubicBezTo>
                      <a:pt x="170" y="862"/>
                      <a:pt x="170" y="862"/>
                      <a:pt x="170" y="862"/>
                    </a:cubicBezTo>
                    <a:cubicBezTo>
                      <a:pt x="167" y="864"/>
                      <a:pt x="167" y="864"/>
                      <a:pt x="167" y="864"/>
                    </a:cubicBezTo>
                    <a:cubicBezTo>
                      <a:pt x="165" y="864"/>
                      <a:pt x="165" y="864"/>
                      <a:pt x="165" y="864"/>
                    </a:cubicBezTo>
                    <a:cubicBezTo>
                      <a:pt x="161" y="866"/>
                      <a:pt x="161" y="866"/>
                      <a:pt x="161" y="866"/>
                    </a:cubicBezTo>
                    <a:cubicBezTo>
                      <a:pt x="157" y="863"/>
                      <a:pt x="157" y="863"/>
                      <a:pt x="157" y="863"/>
                    </a:cubicBezTo>
                    <a:cubicBezTo>
                      <a:pt x="153" y="859"/>
                      <a:pt x="153" y="859"/>
                      <a:pt x="153" y="859"/>
                    </a:cubicBezTo>
                    <a:cubicBezTo>
                      <a:pt x="148" y="857"/>
                      <a:pt x="148" y="857"/>
                      <a:pt x="148" y="857"/>
                    </a:cubicBezTo>
                    <a:cubicBezTo>
                      <a:pt x="147" y="853"/>
                      <a:pt x="147" y="853"/>
                      <a:pt x="147" y="853"/>
                    </a:cubicBezTo>
                    <a:cubicBezTo>
                      <a:pt x="144" y="848"/>
                      <a:pt x="144" y="848"/>
                      <a:pt x="144" y="848"/>
                    </a:cubicBezTo>
                    <a:cubicBezTo>
                      <a:pt x="148" y="848"/>
                      <a:pt x="148" y="848"/>
                      <a:pt x="148" y="848"/>
                    </a:cubicBezTo>
                    <a:cubicBezTo>
                      <a:pt x="151" y="846"/>
                      <a:pt x="151" y="846"/>
                      <a:pt x="151" y="846"/>
                    </a:cubicBezTo>
                    <a:cubicBezTo>
                      <a:pt x="149" y="844"/>
                      <a:pt x="149" y="844"/>
                      <a:pt x="149" y="844"/>
                    </a:cubicBezTo>
                    <a:cubicBezTo>
                      <a:pt x="150" y="841"/>
                      <a:pt x="150" y="841"/>
                      <a:pt x="150" y="841"/>
                    </a:cubicBezTo>
                    <a:cubicBezTo>
                      <a:pt x="149" y="839"/>
                      <a:pt x="149" y="839"/>
                      <a:pt x="149" y="839"/>
                    </a:cubicBezTo>
                    <a:cubicBezTo>
                      <a:pt x="150" y="837"/>
                      <a:pt x="150" y="837"/>
                      <a:pt x="150" y="837"/>
                    </a:cubicBezTo>
                    <a:cubicBezTo>
                      <a:pt x="154" y="837"/>
                      <a:pt x="154" y="837"/>
                      <a:pt x="154" y="837"/>
                    </a:cubicBezTo>
                    <a:cubicBezTo>
                      <a:pt x="159" y="839"/>
                      <a:pt x="159" y="839"/>
                      <a:pt x="159" y="839"/>
                    </a:cubicBezTo>
                    <a:cubicBezTo>
                      <a:pt x="164" y="840"/>
                      <a:pt x="164" y="840"/>
                      <a:pt x="164" y="840"/>
                    </a:cubicBezTo>
                    <a:cubicBezTo>
                      <a:pt x="167" y="844"/>
                      <a:pt x="167" y="844"/>
                      <a:pt x="167" y="844"/>
                    </a:cubicBezTo>
                    <a:cubicBezTo>
                      <a:pt x="170" y="847"/>
                      <a:pt x="170" y="847"/>
                      <a:pt x="170" y="847"/>
                    </a:cubicBezTo>
                    <a:cubicBezTo>
                      <a:pt x="177" y="847"/>
                      <a:pt x="177" y="847"/>
                      <a:pt x="177" y="847"/>
                    </a:cubicBezTo>
                    <a:cubicBezTo>
                      <a:pt x="178" y="850"/>
                      <a:pt x="178" y="850"/>
                      <a:pt x="178" y="850"/>
                    </a:cubicBezTo>
                    <a:cubicBezTo>
                      <a:pt x="182" y="850"/>
                      <a:pt x="182" y="850"/>
                      <a:pt x="182" y="850"/>
                    </a:cubicBezTo>
                    <a:cubicBezTo>
                      <a:pt x="195" y="856"/>
                      <a:pt x="195" y="856"/>
                      <a:pt x="195" y="856"/>
                    </a:cubicBezTo>
                    <a:cubicBezTo>
                      <a:pt x="200" y="861"/>
                      <a:pt x="200" y="861"/>
                      <a:pt x="200" y="861"/>
                    </a:cubicBezTo>
                    <a:cubicBezTo>
                      <a:pt x="202" y="857"/>
                      <a:pt x="202" y="857"/>
                      <a:pt x="202" y="857"/>
                    </a:cubicBezTo>
                    <a:cubicBezTo>
                      <a:pt x="205" y="855"/>
                      <a:pt x="205" y="855"/>
                      <a:pt x="205" y="855"/>
                    </a:cubicBezTo>
                    <a:cubicBezTo>
                      <a:pt x="205" y="851"/>
                      <a:pt x="205" y="851"/>
                      <a:pt x="205" y="851"/>
                    </a:cubicBezTo>
                    <a:cubicBezTo>
                      <a:pt x="208" y="851"/>
                      <a:pt x="208" y="851"/>
                      <a:pt x="208" y="851"/>
                    </a:cubicBezTo>
                    <a:cubicBezTo>
                      <a:pt x="211" y="847"/>
                      <a:pt x="211" y="847"/>
                      <a:pt x="211" y="847"/>
                    </a:cubicBezTo>
                    <a:cubicBezTo>
                      <a:pt x="206" y="840"/>
                      <a:pt x="206" y="840"/>
                      <a:pt x="206" y="840"/>
                    </a:cubicBezTo>
                    <a:cubicBezTo>
                      <a:pt x="197" y="832"/>
                      <a:pt x="197" y="832"/>
                      <a:pt x="197" y="832"/>
                    </a:cubicBezTo>
                    <a:cubicBezTo>
                      <a:pt x="195" y="826"/>
                      <a:pt x="195" y="826"/>
                      <a:pt x="195" y="826"/>
                    </a:cubicBezTo>
                    <a:cubicBezTo>
                      <a:pt x="196" y="823"/>
                      <a:pt x="196" y="823"/>
                      <a:pt x="196" y="823"/>
                    </a:cubicBezTo>
                    <a:cubicBezTo>
                      <a:pt x="201" y="819"/>
                      <a:pt x="201" y="819"/>
                      <a:pt x="201" y="819"/>
                    </a:cubicBezTo>
                    <a:cubicBezTo>
                      <a:pt x="205" y="814"/>
                      <a:pt x="205" y="814"/>
                      <a:pt x="205" y="814"/>
                    </a:cubicBezTo>
                    <a:cubicBezTo>
                      <a:pt x="206" y="809"/>
                      <a:pt x="206" y="809"/>
                      <a:pt x="206" y="809"/>
                    </a:cubicBezTo>
                    <a:cubicBezTo>
                      <a:pt x="209" y="806"/>
                      <a:pt x="209" y="806"/>
                      <a:pt x="209" y="806"/>
                    </a:cubicBezTo>
                    <a:cubicBezTo>
                      <a:pt x="214" y="805"/>
                      <a:pt x="214" y="805"/>
                      <a:pt x="214" y="805"/>
                    </a:cubicBezTo>
                    <a:cubicBezTo>
                      <a:pt x="220" y="800"/>
                      <a:pt x="220" y="800"/>
                      <a:pt x="220" y="800"/>
                    </a:cubicBezTo>
                    <a:cubicBezTo>
                      <a:pt x="224" y="791"/>
                      <a:pt x="224" y="791"/>
                      <a:pt x="224" y="791"/>
                    </a:cubicBezTo>
                    <a:cubicBezTo>
                      <a:pt x="227" y="789"/>
                      <a:pt x="227" y="789"/>
                      <a:pt x="227" y="789"/>
                    </a:cubicBezTo>
                    <a:cubicBezTo>
                      <a:pt x="232" y="790"/>
                      <a:pt x="232" y="790"/>
                      <a:pt x="232" y="790"/>
                    </a:cubicBezTo>
                    <a:cubicBezTo>
                      <a:pt x="236" y="793"/>
                      <a:pt x="236" y="793"/>
                      <a:pt x="236" y="793"/>
                    </a:cubicBezTo>
                    <a:cubicBezTo>
                      <a:pt x="241" y="792"/>
                      <a:pt x="241" y="792"/>
                      <a:pt x="241" y="792"/>
                    </a:cubicBezTo>
                    <a:cubicBezTo>
                      <a:pt x="247" y="793"/>
                      <a:pt x="247" y="793"/>
                      <a:pt x="247" y="793"/>
                    </a:cubicBezTo>
                    <a:cubicBezTo>
                      <a:pt x="249" y="795"/>
                      <a:pt x="249" y="795"/>
                      <a:pt x="249" y="795"/>
                    </a:cubicBezTo>
                    <a:cubicBezTo>
                      <a:pt x="249" y="799"/>
                      <a:pt x="249" y="799"/>
                      <a:pt x="249" y="799"/>
                    </a:cubicBezTo>
                    <a:cubicBezTo>
                      <a:pt x="253" y="795"/>
                      <a:pt x="253" y="795"/>
                      <a:pt x="253" y="795"/>
                    </a:cubicBezTo>
                    <a:cubicBezTo>
                      <a:pt x="258" y="799"/>
                      <a:pt x="258" y="799"/>
                      <a:pt x="258" y="799"/>
                    </a:cubicBezTo>
                    <a:cubicBezTo>
                      <a:pt x="260" y="803"/>
                      <a:pt x="260" y="803"/>
                      <a:pt x="260" y="803"/>
                    </a:cubicBezTo>
                    <a:cubicBezTo>
                      <a:pt x="262" y="805"/>
                      <a:pt x="262" y="805"/>
                      <a:pt x="262" y="805"/>
                    </a:cubicBezTo>
                    <a:cubicBezTo>
                      <a:pt x="261" y="799"/>
                      <a:pt x="261" y="799"/>
                      <a:pt x="261" y="799"/>
                    </a:cubicBezTo>
                    <a:cubicBezTo>
                      <a:pt x="259" y="794"/>
                      <a:pt x="259" y="794"/>
                      <a:pt x="259" y="794"/>
                    </a:cubicBezTo>
                    <a:cubicBezTo>
                      <a:pt x="260" y="792"/>
                      <a:pt x="260" y="792"/>
                      <a:pt x="260" y="792"/>
                    </a:cubicBezTo>
                    <a:cubicBezTo>
                      <a:pt x="260" y="783"/>
                      <a:pt x="260" y="783"/>
                      <a:pt x="260" y="783"/>
                    </a:cubicBezTo>
                    <a:cubicBezTo>
                      <a:pt x="262" y="780"/>
                      <a:pt x="262" y="780"/>
                      <a:pt x="262" y="780"/>
                    </a:cubicBezTo>
                    <a:cubicBezTo>
                      <a:pt x="260" y="779"/>
                      <a:pt x="260" y="779"/>
                      <a:pt x="260" y="779"/>
                    </a:cubicBezTo>
                    <a:cubicBezTo>
                      <a:pt x="260" y="777"/>
                      <a:pt x="260" y="777"/>
                      <a:pt x="260" y="777"/>
                    </a:cubicBezTo>
                    <a:cubicBezTo>
                      <a:pt x="260" y="775"/>
                      <a:pt x="260" y="775"/>
                      <a:pt x="260" y="775"/>
                    </a:cubicBezTo>
                    <a:cubicBezTo>
                      <a:pt x="260" y="773"/>
                      <a:pt x="260" y="773"/>
                      <a:pt x="260" y="773"/>
                    </a:cubicBezTo>
                    <a:cubicBezTo>
                      <a:pt x="260" y="771"/>
                      <a:pt x="260" y="771"/>
                      <a:pt x="260" y="771"/>
                    </a:cubicBezTo>
                    <a:cubicBezTo>
                      <a:pt x="258" y="768"/>
                      <a:pt x="258" y="768"/>
                      <a:pt x="258" y="768"/>
                    </a:cubicBezTo>
                    <a:cubicBezTo>
                      <a:pt x="253" y="765"/>
                      <a:pt x="253" y="765"/>
                      <a:pt x="253" y="765"/>
                    </a:cubicBezTo>
                    <a:cubicBezTo>
                      <a:pt x="248" y="766"/>
                      <a:pt x="248" y="766"/>
                      <a:pt x="248" y="766"/>
                    </a:cubicBezTo>
                    <a:cubicBezTo>
                      <a:pt x="246" y="761"/>
                      <a:pt x="246" y="761"/>
                      <a:pt x="246" y="761"/>
                    </a:cubicBezTo>
                    <a:cubicBezTo>
                      <a:pt x="248" y="756"/>
                      <a:pt x="248" y="756"/>
                      <a:pt x="248" y="756"/>
                    </a:cubicBezTo>
                    <a:cubicBezTo>
                      <a:pt x="248" y="748"/>
                      <a:pt x="248" y="748"/>
                      <a:pt x="248" y="748"/>
                    </a:cubicBezTo>
                    <a:cubicBezTo>
                      <a:pt x="249" y="747"/>
                      <a:pt x="249" y="747"/>
                      <a:pt x="249" y="747"/>
                    </a:cubicBezTo>
                    <a:cubicBezTo>
                      <a:pt x="248" y="744"/>
                      <a:pt x="248" y="744"/>
                      <a:pt x="248" y="744"/>
                    </a:cubicBezTo>
                    <a:cubicBezTo>
                      <a:pt x="248" y="741"/>
                      <a:pt x="248" y="741"/>
                      <a:pt x="248" y="741"/>
                    </a:cubicBezTo>
                    <a:cubicBezTo>
                      <a:pt x="250" y="739"/>
                      <a:pt x="250" y="739"/>
                      <a:pt x="250" y="739"/>
                    </a:cubicBezTo>
                    <a:cubicBezTo>
                      <a:pt x="248" y="737"/>
                      <a:pt x="248" y="737"/>
                      <a:pt x="248" y="737"/>
                    </a:cubicBezTo>
                    <a:cubicBezTo>
                      <a:pt x="248" y="733"/>
                      <a:pt x="248" y="733"/>
                      <a:pt x="248" y="733"/>
                    </a:cubicBezTo>
                    <a:cubicBezTo>
                      <a:pt x="245" y="725"/>
                      <a:pt x="245" y="725"/>
                      <a:pt x="245" y="725"/>
                    </a:cubicBezTo>
                    <a:cubicBezTo>
                      <a:pt x="239" y="721"/>
                      <a:pt x="239" y="721"/>
                      <a:pt x="239" y="721"/>
                    </a:cubicBezTo>
                    <a:cubicBezTo>
                      <a:pt x="230" y="714"/>
                      <a:pt x="230" y="714"/>
                      <a:pt x="230" y="714"/>
                    </a:cubicBezTo>
                    <a:cubicBezTo>
                      <a:pt x="230" y="712"/>
                      <a:pt x="230" y="712"/>
                      <a:pt x="230" y="712"/>
                    </a:cubicBezTo>
                    <a:cubicBezTo>
                      <a:pt x="234" y="712"/>
                      <a:pt x="234" y="712"/>
                      <a:pt x="234" y="712"/>
                    </a:cubicBezTo>
                    <a:cubicBezTo>
                      <a:pt x="242" y="717"/>
                      <a:pt x="242" y="717"/>
                      <a:pt x="242" y="717"/>
                    </a:cubicBezTo>
                    <a:cubicBezTo>
                      <a:pt x="247" y="717"/>
                      <a:pt x="247" y="717"/>
                      <a:pt x="247" y="717"/>
                    </a:cubicBezTo>
                    <a:cubicBezTo>
                      <a:pt x="250" y="715"/>
                      <a:pt x="250" y="715"/>
                      <a:pt x="250" y="715"/>
                    </a:cubicBezTo>
                    <a:cubicBezTo>
                      <a:pt x="257" y="714"/>
                      <a:pt x="257" y="714"/>
                      <a:pt x="257" y="714"/>
                    </a:cubicBezTo>
                    <a:cubicBezTo>
                      <a:pt x="267" y="715"/>
                      <a:pt x="267" y="715"/>
                      <a:pt x="267" y="715"/>
                    </a:cubicBezTo>
                    <a:cubicBezTo>
                      <a:pt x="272" y="718"/>
                      <a:pt x="272" y="718"/>
                      <a:pt x="272" y="718"/>
                    </a:cubicBezTo>
                    <a:cubicBezTo>
                      <a:pt x="272" y="722"/>
                      <a:pt x="272" y="722"/>
                      <a:pt x="272" y="722"/>
                    </a:cubicBezTo>
                    <a:cubicBezTo>
                      <a:pt x="276" y="726"/>
                      <a:pt x="276" y="726"/>
                      <a:pt x="276" y="726"/>
                    </a:cubicBezTo>
                    <a:cubicBezTo>
                      <a:pt x="280" y="727"/>
                      <a:pt x="280" y="727"/>
                      <a:pt x="280" y="727"/>
                    </a:cubicBezTo>
                    <a:cubicBezTo>
                      <a:pt x="281" y="730"/>
                      <a:pt x="281" y="730"/>
                      <a:pt x="281" y="730"/>
                    </a:cubicBezTo>
                    <a:cubicBezTo>
                      <a:pt x="286" y="736"/>
                      <a:pt x="286" y="736"/>
                      <a:pt x="286" y="736"/>
                    </a:cubicBezTo>
                    <a:cubicBezTo>
                      <a:pt x="286" y="739"/>
                      <a:pt x="286" y="739"/>
                      <a:pt x="286" y="739"/>
                    </a:cubicBezTo>
                    <a:cubicBezTo>
                      <a:pt x="279" y="739"/>
                      <a:pt x="279" y="739"/>
                      <a:pt x="279" y="739"/>
                    </a:cubicBezTo>
                    <a:cubicBezTo>
                      <a:pt x="277" y="742"/>
                      <a:pt x="277" y="742"/>
                      <a:pt x="277" y="742"/>
                    </a:cubicBezTo>
                    <a:cubicBezTo>
                      <a:pt x="271" y="742"/>
                      <a:pt x="271" y="742"/>
                      <a:pt x="271" y="742"/>
                    </a:cubicBezTo>
                    <a:cubicBezTo>
                      <a:pt x="269" y="744"/>
                      <a:pt x="269" y="744"/>
                      <a:pt x="269" y="744"/>
                    </a:cubicBezTo>
                    <a:cubicBezTo>
                      <a:pt x="270" y="746"/>
                      <a:pt x="270" y="746"/>
                      <a:pt x="270" y="746"/>
                    </a:cubicBezTo>
                    <a:cubicBezTo>
                      <a:pt x="268" y="748"/>
                      <a:pt x="268" y="748"/>
                      <a:pt x="268" y="748"/>
                    </a:cubicBezTo>
                    <a:cubicBezTo>
                      <a:pt x="266" y="747"/>
                      <a:pt x="266" y="747"/>
                      <a:pt x="266" y="747"/>
                    </a:cubicBezTo>
                    <a:cubicBezTo>
                      <a:pt x="265" y="749"/>
                      <a:pt x="265" y="749"/>
                      <a:pt x="265" y="749"/>
                    </a:cubicBezTo>
                    <a:cubicBezTo>
                      <a:pt x="265" y="755"/>
                      <a:pt x="265" y="755"/>
                      <a:pt x="265" y="755"/>
                    </a:cubicBezTo>
                    <a:cubicBezTo>
                      <a:pt x="268" y="756"/>
                      <a:pt x="268" y="756"/>
                      <a:pt x="268" y="756"/>
                    </a:cubicBezTo>
                    <a:cubicBezTo>
                      <a:pt x="276" y="763"/>
                      <a:pt x="276" y="763"/>
                      <a:pt x="276" y="763"/>
                    </a:cubicBezTo>
                    <a:cubicBezTo>
                      <a:pt x="283" y="772"/>
                      <a:pt x="283" y="772"/>
                      <a:pt x="283" y="772"/>
                    </a:cubicBezTo>
                    <a:cubicBezTo>
                      <a:pt x="287" y="772"/>
                      <a:pt x="287" y="772"/>
                      <a:pt x="287" y="772"/>
                    </a:cubicBezTo>
                    <a:cubicBezTo>
                      <a:pt x="292" y="769"/>
                      <a:pt x="292" y="769"/>
                      <a:pt x="292" y="769"/>
                    </a:cubicBezTo>
                    <a:cubicBezTo>
                      <a:pt x="294" y="773"/>
                      <a:pt x="294" y="773"/>
                      <a:pt x="294" y="773"/>
                    </a:cubicBezTo>
                    <a:cubicBezTo>
                      <a:pt x="296" y="771"/>
                      <a:pt x="296" y="771"/>
                      <a:pt x="296" y="771"/>
                    </a:cubicBezTo>
                    <a:cubicBezTo>
                      <a:pt x="300" y="771"/>
                      <a:pt x="300" y="771"/>
                      <a:pt x="300" y="771"/>
                    </a:cubicBezTo>
                    <a:cubicBezTo>
                      <a:pt x="301" y="769"/>
                      <a:pt x="301" y="769"/>
                      <a:pt x="301" y="769"/>
                    </a:cubicBezTo>
                    <a:cubicBezTo>
                      <a:pt x="308" y="766"/>
                      <a:pt x="308" y="766"/>
                      <a:pt x="308" y="766"/>
                    </a:cubicBezTo>
                    <a:cubicBezTo>
                      <a:pt x="309" y="762"/>
                      <a:pt x="309" y="762"/>
                      <a:pt x="309" y="762"/>
                    </a:cubicBezTo>
                    <a:cubicBezTo>
                      <a:pt x="308" y="756"/>
                      <a:pt x="308" y="756"/>
                      <a:pt x="308" y="756"/>
                    </a:cubicBezTo>
                    <a:cubicBezTo>
                      <a:pt x="310" y="752"/>
                      <a:pt x="310" y="752"/>
                      <a:pt x="310" y="752"/>
                    </a:cubicBezTo>
                    <a:cubicBezTo>
                      <a:pt x="310" y="749"/>
                      <a:pt x="310" y="749"/>
                      <a:pt x="310" y="749"/>
                    </a:cubicBezTo>
                    <a:cubicBezTo>
                      <a:pt x="307" y="745"/>
                      <a:pt x="307" y="745"/>
                      <a:pt x="307" y="745"/>
                    </a:cubicBezTo>
                    <a:cubicBezTo>
                      <a:pt x="309" y="744"/>
                      <a:pt x="309" y="744"/>
                      <a:pt x="309" y="744"/>
                    </a:cubicBezTo>
                    <a:cubicBezTo>
                      <a:pt x="319" y="743"/>
                      <a:pt x="319" y="743"/>
                      <a:pt x="319" y="743"/>
                    </a:cubicBezTo>
                    <a:cubicBezTo>
                      <a:pt x="321" y="740"/>
                      <a:pt x="321" y="740"/>
                      <a:pt x="321" y="740"/>
                    </a:cubicBezTo>
                    <a:cubicBezTo>
                      <a:pt x="327" y="743"/>
                      <a:pt x="327" y="743"/>
                      <a:pt x="327" y="743"/>
                    </a:cubicBezTo>
                    <a:cubicBezTo>
                      <a:pt x="326" y="740"/>
                      <a:pt x="326" y="740"/>
                      <a:pt x="326" y="740"/>
                    </a:cubicBezTo>
                    <a:cubicBezTo>
                      <a:pt x="321" y="736"/>
                      <a:pt x="321" y="736"/>
                      <a:pt x="321" y="736"/>
                    </a:cubicBezTo>
                    <a:cubicBezTo>
                      <a:pt x="320" y="733"/>
                      <a:pt x="320" y="733"/>
                      <a:pt x="320" y="733"/>
                    </a:cubicBezTo>
                    <a:cubicBezTo>
                      <a:pt x="321" y="733"/>
                      <a:pt x="321" y="733"/>
                      <a:pt x="321" y="733"/>
                    </a:cubicBezTo>
                    <a:cubicBezTo>
                      <a:pt x="324" y="735"/>
                      <a:pt x="324" y="735"/>
                      <a:pt x="324" y="735"/>
                    </a:cubicBezTo>
                    <a:cubicBezTo>
                      <a:pt x="328" y="734"/>
                      <a:pt x="328" y="734"/>
                      <a:pt x="328" y="734"/>
                    </a:cubicBezTo>
                    <a:cubicBezTo>
                      <a:pt x="335" y="725"/>
                      <a:pt x="335" y="725"/>
                      <a:pt x="335" y="725"/>
                    </a:cubicBezTo>
                    <a:cubicBezTo>
                      <a:pt x="337" y="725"/>
                      <a:pt x="337" y="725"/>
                      <a:pt x="337" y="725"/>
                    </a:cubicBezTo>
                    <a:cubicBezTo>
                      <a:pt x="345" y="715"/>
                      <a:pt x="345" y="715"/>
                      <a:pt x="345" y="715"/>
                    </a:cubicBezTo>
                    <a:cubicBezTo>
                      <a:pt x="345" y="713"/>
                      <a:pt x="345" y="713"/>
                      <a:pt x="345" y="713"/>
                    </a:cubicBezTo>
                    <a:cubicBezTo>
                      <a:pt x="347" y="712"/>
                      <a:pt x="347" y="712"/>
                      <a:pt x="347" y="712"/>
                    </a:cubicBezTo>
                    <a:cubicBezTo>
                      <a:pt x="351" y="713"/>
                      <a:pt x="351" y="713"/>
                      <a:pt x="351" y="713"/>
                    </a:cubicBezTo>
                    <a:cubicBezTo>
                      <a:pt x="356" y="711"/>
                      <a:pt x="356" y="711"/>
                      <a:pt x="356" y="711"/>
                    </a:cubicBezTo>
                    <a:cubicBezTo>
                      <a:pt x="357" y="708"/>
                      <a:pt x="357" y="708"/>
                      <a:pt x="357" y="708"/>
                    </a:cubicBezTo>
                    <a:cubicBezTo>
                      <a:pt x="365" y="706"/>
                      <a:pt x="365" y="706"/>
                      <a:pt x="365" y="706"/>
                    </a:cubicBezTo>
                    <a:cubicBezTo>
                      <a:pt x="365" y="709"/>
                      <a:pt x="365" y="709"/>
                      <a:pt x="365" y="709"/>
                    </a:cubicBezTo>
                    <a:cubicBezTo>
                      <a:pt x="367" y="709"/>
                      <a:pt x="367" y="709"/>
                      <a:pt x="367" y="709"/>
                    </a:cubicBezTo>
                    <a:cubicBezTo>
                      <a:pt x="367" y="712"/>
                      <a:pt x="367" y="712"/>
                      <a:pt x="367" y="712"/>
                    </a:cubicBezTo>
                    <a:cubicBezTo>
                      <a:pt x="366" y="714"/>
                      <a:pt x="366" y="714"/>
                      <a:pt x="366" y="714"/>
                    </a:cubicBezTo>
                    <a:cubicBezTo>
                      <a:pt x="368" y="715"/>
                      <a:pt x="368" y="715"/>
                      <a:pt x="368" y="715"/>
                    </a:cubicBezTo>
                    <a:cubicBezTo>
                      <a:pt x="373" y="711"/>
                      <a:pt x="373" y="711"/>
                      <a:pt x="373" y="711"/>
                    </a:cubicBezTo>
                    <a:cubicBezTo>
                      <a:pt x="373" y="708"/>
                      <a:pt x="373" y="708"/>
                      <a:pt x="373" y="708"/>
                    </a:cubicBezTo>
                    <a:cubicBezTo>
                      <a:pt x="371" y="707"/>
                      <a:pt x="371" y="707"/>
                      <a:pt x="371" y="707"/>
                    </a:cubicBezTo>
                    <a:cubicBezTo>
                      <a:pt x="368" y="705"/>
                      <a:pt x="368" y="705"/>
                      <a:pt x="368" y="705"/>
                    </a:cubicBezTo>
                    <a:cubicBezTo>
                      <a:pt x="368" y="703"/>
                      <a:pt x="368" y="703"/>
                      <a:pt x="368" y="703"/>
                    </a:cubicBezTo>
                    <a:cubicBezTo>
                      <a:pt x="375" y="696"/>
                      <a:pt x="375" y="696"/>
                      <a:pt x="375" y="696"/>
                    </a:cubicBezTo>
                    <a:cubicBezTo>
                      <a:pt x="376" y="696"/>
                      <a:pt x="376" y="696"/>
                      <a:pt x="376" y="696"/>
                    </a:cubicBezTo>
                    <a:cubicBezTo>
                      <a:pt x="377" y="698"/>
                      <a:pt x="377" y="698"/>
                      <a:pt x="377" y="698"/>
                    </a:cubicBezTo>
                    <a:cubicBezTo>
                      <a:pt x="375" y="699"/>
                      <a:pt x="375" y="699"/>
                      <a:pt x="375" y="699"/>
                    </a:cubicBezTo>
                    <a:cubicBezTo>
                      <a:pt x="374" y="701"/>
                      <a:pt x="374" y="701"/>
                      <a:pt x="374" y="701"/>
                    </a:cubicBezTo>
                    <a:cubicBezTo>
                      <a:pt x="377" y="705"/>
                      <a:pt x="377" y="705"/>
                      <a:pt x="377" y="705"/>
                    </a:cubicBezTo>
                    <a:cubicBezTo>
                      <a:pt x="380" y="704"/>
                      <a:pt x="380" y="704"/>
                      <a:pt x="380" y="704"/>
                    </a:cubicBezTo>
                    <a:cubicBezTo>
                      <a:pt x="382" y="701"/>
                      <a:pt x="382" y="701"/>
                      <a:pt x="382" y="701"/>
                    </a:cubicBezTo>
                    <a:cubicBezTo>
                      <a:pt x="381" y="699"/>
                      <a:pt x="381" y="699"/>
                      <a:pt x="381" y="699"/>
                    </a:cubicBezTo>
                    <a:cubicBezTo>
                      <a:pt x="379" y="696"/>
                      <a:pt x="379" y="696"/>
                      <a:pt x="379" y="696"/>
                    </a:cubicBezTo>
                    <a:cubicBezTo>
                      <a:pt x="378" y="694"/>
                      <a:pt x="378" y="694"/>
                      <a:pt x="378" y="694"/>
                    </a:cubicBezTo>
                    <a:cubicBezTo>
                      <a:pt x="381" y="692"/>
                      <a:pt x="381" y="692"/>
                      <a:pt x="381" y="692"/>
                    </a:cubicBezTo>
                    <a:cubicBezTo>
                      <a:pt x="391" y="687"/>
                      <a:pt x="391" y="687"/>
                      <a:pt x="391" y="687"/>
                    </a:cubicBezTo>
                    <a:cubicBezTo>
                      <a:pt x="398" y="686"/>
                      <a:pt x="398" y="686"/>
                      <a:pt x="398" y="686"/>
                    </a:cubicBezTo>
                    <a:cubicBezTo>
                      <a:pt x="399" y="688"/>
                      <a:pt x="399" y="688"/>
                      <a:pt x="399" y="688"/>
                    </a:cubicBezTo>
                    <a:cubicBezTo>
                      <a:pt x="395" y="690"/>
                      <a:pt x="395" y="690"/>
                      <a:pt x="395" y="690"/>
                    </a:cubicBezTo>
                    <a:cubicBezTo>
                      <a:pt x="392" y="690"/>
                      <a:pt x="392" y="690"/>
                      <a:pt x="392" y="690"/>
                    </a:cubicBezTo>
                    <a:cubicBezTo>
                      <a:pt x="385" y="693"/>
                      <a:pt x="385" y="693"/>
                      <a:pt x="385" y="693"/>
                    </a:cubicBezTo>
                    <a:cubicBezTo>
                      <a:pt x="386" y="695"/>
                      <a:pt x="386" y="695"/>
                      <a:pt x="386" y="695"/>
                    </a:cubicBezTo>
                    <a:cubicBezTo>
                      <a:pt x="389" y="696"/>
                      <a:pt x="389" y="696"/>
                      <a:pt x="389" y="696"/>
                    </a:cubicBezTo>
                    <a:cubicBezTo>
                      <a:pt x="391" y="694"/>
                      <a:pt x="391" y="694"/>
                      <a:pt x="391" y="694"/>
                    </a:cubicBezTo>
                    <a:cubicBezTo>
                      <a:pt x="395" y="698"/>
                      <a:pt x="395" y="698"/>
                      <a:pt x="395" y="698"/>
                    </a:cubicBezTo>
                    <a:cubicBezTo>
                      <a:pt x="393" y="700"/>
                      <a:pt x="393" y="700"/>
                      <a:pt x="393" y="700"/>
                    </a:cubicBezTo>
                    <a:cubicBezTo>
                      <a:pt x="392" y="701"/>
                      <a:pt x="392" y="701"/>
                      <a:pt x="392" y="701"/>
                    </a:cubicBezTo>
                    <a:cubicBezTo>
                      <a:pt x="395" y="705"/>
                      <a:pt x="395" y="705"/>
                      <a:pt x="395" y="705"/>
                    </a:cubicBezTo>
                    <a:cubicBezTo>
                      <a:pt x="393" y="708"/>
                      <a:pt x="393" y="708"/>
                      <a:pt x="393" y="708"/>
                    </a:cubicBezTo>
                    <a:cubicBezTo>
                      <a:pt x="389" y="708"/>
                      <a:pt x="389" y="708"/>
                      <a:pt x="389" y="708"/>
                    </a:cubicBezTo>
                    <a:cubicBezTo>
                      <a:pt x="385" y="712"/>
                      <a:pt x="385" y="712"/>
                      <a:pt x="385" y="712"/>
                    </a:cubicBezTo>
                    <a:cubicBezTo>
                      <a:pt x="386" y="715"/>
                      <a:pt x="386" y="715"/>
                      <a:pt x="386" y="715"/>
                    </a:cubicBezTo>
                    <a:cubicBezTo>
                      <a:pt x="389" y="715"/>
                      <a:pt x="389" y="715"/>
                      <a:pt x="389" y="715"/>
                    </a:cubicBezTo>
                    <a:cubicBezTo>
                      <a:pt x="392" y="714"/>
                      <a:pt x="392" y="714"/>
                      <a:pt x="392" y="714"/>
                    </a:cubicBezTo>
                    <a:cubicBezTo>
                      <a:pt x="394" y="715"/>
                      <a:pt x="394" y="715"/>
                      <a:pt x="394" y="715"/>
                    </a:cubicBezTo>
                    <a:cubicBezTo>
                      <a:pt x="397" y="713"/>
                      <a:pt x="397" y="713"/>
                      <a:pt x="397" y="713"/>
                    </a:cubicBezTo>
                    <a:cubicBezTo>
                      <a:pt x="401" y="714"/>
                      <a:pt x="401" y="714"/>
                      <a:pt x="401" y="714"/>
                    </a:cubicBezTo>
                    <a:cubicBezTo>
                      <a:pt x="401" y="719"/>
                      <a:pt x="401" y="719"/>
                      <a:pt x="401" y="719"/>
                    </a:cubicBezTo>
                    <a:cubicBezTo>
                      <a:pt x="403" y="714"/>
                      <a:pt x="403" y="714"/>
                      <a:pt x="403" y="714"/>
                    </a:cubicBezTo>
                    <a:cubicBezTo>
                      <a:pt x="407" y="710"/>
                      <a:pt x="407" y="710"/>
                      <a:pt x="407" y="710"/>
                    </a:cubicBezTo>
                    <a:cubicBezTo>
                      <a:pt x="409" y="709"/>
                      <a:pt x="409" y="709"/>
                      <a:pt x="409" y="709"/>
                    </a:cubicBezTo>
                    <a:cubicBezTo>
                      <a:pt x="411" y="712"/>
                      <a:pt x="411" y="712"/>
                      <a:pt x="411" y="712"/>
                    </a:cubicBezTo>
                    <a:cubicBezTo>
                      <a:pt x="414" y="714"/>
                      <a:pt x="414" y="714"/>
                      <a:pt x="414" y="714"/>
                    </a:cubicBezTo>
                    <a:cubicBezTo>
                      <a:pt x="415" y="713"/>
                      <a:pt x="415" y="713"/>
                      <a:pt x="415" y="713"/>
                    </a:cubicBezTo>
                    <a:cubicBezTo>
                      <a:pt x="414" y="711"/>
                      <a:pt x="414" y="711"/>
                      <a:pt x="414" y="711"/>
                    </a:cubicBezTo>
                    <a:cubicBezTo>
                      <a:pt x="415" y="708"/>
                      <a:pt x="415" y="708"/>
                      <a:pt x="415" y="708"/>
                    </a:cubicBezTo>
                    <a:cubicBezTo>
                      <a:pt x="412" y="706"/>
                      <a:pt x="412" y="706"/>
                      <a:pt x="412" y="706"/>
                    </a:cubicBezTo>
                    <a:cubicBezTo>
                      <a:pt x="412" y="705"/>
                      <a:pt x="412" y="705"/>
                      <a:pt x="412" y="705"/>
                    </a:cubicBezTo>
                    <a:cubicBezTo>
                      <a:pt x="415" y="701"/>
                      <a:pt x="415" y="701"/>
                      <a:pt x="415" y="701"/>
                    </a:cubicBezTo>
                    <a:cubicBezTo>
                      <a:pt x="419" y="701"/>
                      <a:pt x="419" y="701"/>
                      <a:pt x="419" y="701"/>
                    </a:cubicBezTo>
                    <a:cubicBezTo>
                      <a:pt x="420" y="699"/>
                      <a:pt x="420" y="699"/>
                      <a:pt x="420" y="699"/>
                    </a:cubicBezTo>
                    <a:cubicBezTo>
                      <a:pt x="425" y="695"/>
                      <a:pt x="425" y="695"/>
                      <a:pt x="425" y="695"/>
                    </a:cubicBezTo>
                    <a:cubicBezTo>
                      <a:pt x="428" y="697"/>
                      <a:pt x="428" y="697"/>
                      <a:pt x="428" y="697"/>
                    </a:cubicBezTo>
                    <a:cubicBezTo>
                      <a:pt x="430" y="697"/>
                      <a:pt x="430" y="697"/>
                      <a:pt x="430" y="697"/>
                    </a:cubicBezTo>
                    <a:cubicBezTo>
                      <a:pt x="432" y="696"/>
                      <a:pt x="432" y="696"/>
                      <a:pt x="432" y="696"/>
                    </a:cubicBezTo>
                    <a:cubicBezTo>
                      <a:pt x="435" y="697"/>
                      <a:pt x="435" y="697"/>
                      <a:pt x="435" y="697"/>
                    </a:cubicBezTo>
                    <a:cubicBezTo>
                      <a:pt x="443" y="697"/>
                      <a:pt x="443" y="697"/>
                      <a:pt x="443" y="697"/>
                    </a:cubicBezTo>
                    <a:cubicBezTo>
                      <a:pt x="446" y="695"/>
                      <a:pt x="446" y="695"/>
                      <a:pt x="446" y="695"/>
                    </a:cubicBezTo>
                    <a:cubicBezTo>
                      <a:pt x="446" y="693"/>
                      <a:pt x="446" y="693"/>
                      <a:pt x="446" y="693"/>
                    </a:cubicBezTo>
                    <a:cubicBezTo>
                      <a:pt x="448" y="691"/>
                      <a:pt x="448" y="691"/>
                      <a:pt x="448" y="691"/>
                    </a:cubicBezTo>
                    <a:cubicBezTo>
                      <a:pt x="453" y="690"/>
                      <a:pt x="453" y="690"/>
                      <a:pt x="453" y="690"/>
                    </a:cubicBezTo>
                    <a:cubicBezTo>
                      <a:pt x="453" y="688"/>
                      <a:pt x="453" y="688"/>
                      <a:pt x="453" y="688"/>
                    </a:cubicBezTo>
                    <a:cubicBezTo>
                      <a:pt x="457" y="685"/>
                      <a:pt x="457" y="685"/>
                      <a:pt x="457" y="685"/>
                    </a:cubicBezTo>
                    <a:cubicBezTo>
                      <a:pt x="460" y="685"/>
                      <a:pt x="460" y="685"/>
                      <a:pt x="460" y="685"/>
                    </a:cubicBezTo>
                    <a:cubicBezTo>
                      <a:pt x="465" y="680"/>
                      <a:pt x="465" y="680"/>
                      <a:pt x="465" y="680"/>
                    </a:cubicBezTo>
                    <a:cubicBezTo>
                      <a:pt x="467" y="680"/>
                      <a:pt x="467" y="680"/>
                      <a:pt x="467" y="680"/>
                    </a:cubicBezTo>
                    <a:cubicBezTo>
                      <a:pt x="470" y="678"/>
                      <a:pt x="470" y="678"/>
                      <a:pt x="470" y="678"/>
                    </a:cubicBezTo>
                    <a:cubicBezTo>
                      <a:pt x="471" y="680"/>
                      <a:pt x="471" y="680"/>
                      <a:pt x="471" y="680"/>
                    </a:cubicBezTo>
                    <a:cubicBezTo>
                      <a:pt x="468" y="683"/>
                      <a:pt x="468" y="683"/>
                      <a:pt x="468" y="683"/>
                    </a:cubicBezTo>
                    <a:cubicBezTo>
                      <a:pt x="471" y="684"/>
                      <a:pt x="471" y="684"/>
                      <a:pt x="471" y="684"/>
                    </a:cubicBezTo>
                    <a:cubicBezTo>
                      <a:pt x="475" y="688"/>
                      <a:pt x="475" y="688"/>
                      <a:pt x="475" y="688"/>
                    </a:cubicBezTo>
                    <a:cubicBezTo>
                      <a:pt x="475" y="690"/>
                      <a:pt x="475" y="690"/>
                      <a:pt x="475" y="690"/>
                    </a:cubicBezTo>
                    <a:cubicBezTo>
                      <a:pt x="471" y="692"/>
                      <a:pt x="471" y="692"/>
                      <a:pt x="471" y="692"/>
                    </a:cubicBezTo>
                    <a:cubicBezTo>
                      <a:pt x="473" y="696"/>
                      <a:pt x="473" y="696"/>
                      <a:pt x="473" y="696"/>
                    </a:cubicBezTo>
                    <a:cubicBezTo>
                      <a:pt x="472" y="699"/>
                      <a:pt x="472" y="699"/>
                      <a:pt x="472" y="699"/>
                    </a:cubicBezTo>
                    <a:cubicBezTo>
                      <a:pt x="475" y="702"/>
                      <a:pt x="475" y="702"/>
                      <a:pt x="475" y="702"/>
                    </a:cubicBezTo>
                    <a:cubicBezTo>
                      <a:pt x="484" y="702"/>
                      <a:pt x="484" y="702"/>
                      <a:pt x="484" y="702"/>
                    </a:cubicBezTo>
                    <a:cubicBezTo>
                      <a:pt x="486" y="700"/>
                      <a:pt x="486" y="700"/>
                      <a:pt x="486" y="700"/>
                    </a:cubicBezTo>
                    <a:cubicBezTo>
                      <a:pt x="487" y="698"/>
                      <a:pt x="487" y="698"/>
                      <a:pt x="487" y="698"/>
                    </a:cubicBezTo>
                    <a:cubicBezTo>
                      <a:pt x="485" y="696"/>
                      <a:pt x="485" y="696"/>
                      <a:pt x="485" y="696"/>
                    </a:cubicBezTo>
                    <a:cubicBezTo>
                      <a:pt x="481" y="692"/>
                      <a:pt x="481" y="692"/>
                      <a:pt x="481" y="692"/>
                    </a:cubicBezTo>
                    <a:cubicBezTo>
                      <a:pt x="481" y="690"/>
                      <a:pt x="481" y="690"/>
                      <a:pt x="481" y="690"/>
                    </a:cubicBezTo>
                    <a:cubicBezTo>
                      <a:pt x="484" y="687"/>
                      <a:pt x="484" y="687"/>
                      <a:pt x="484" y="687"/>
                    </a:cubicBezTo>
                    <a:cubicBezTo>
                      <a:pt x="489" y="690"/>
                      <a:pt x="489" y="690"/>
                      <a:pt x="489" y="690"/>
                    </a:cubicBezTo>
                    <a:cubicBezTo>
                      <a:pt x="493" y="687"/>
                      <a:pt x="493" y="687"/>
                      <a:pt x="493" y="687"/>
                    </a:cubicBezTo>
                    <a:cubicBezTo>
                      <a:pt x="495" y="681"/>
                      <a:pt x="495" y="681"/>
                      <a:pt x="495" y="681"/>
                    </a:cubicBezTo>
                    <a:cubicBezTo>
                      <a:pt x="497" y="681"/>
                      <a:pt x="497" y="681"/>
                      <a:pt x="497" y="681"/>
                    </a:cubicBezTo>
                    <a:cubicBezTo>
                      <a:pt x="499" y="682"/>
                      <a:pt x="499" y="682"/>
                      <a:pt x="499" y="682"/>
                    </a:cubicBezTo>
                    <a:cubicBezTo>
                      <a:pt x="504" y="683"/>
                      <a:pt x="504" y="683"/>
                      <a:pt x="504" y="683"/>
                    </a:cubicBezTo>
                    <a:cubicBezTo>
                      <a:pt x="499" y="678"/>
                      <a:pt x="499" y="678"/>
                      <a:pt x="499" y="678"/>
                    </a:cubicBezTo>
                    <a:cubicBezTo>
                      <a:pt x="495" y="677"/>
                      <a:pt x="495" y="677"/>
                      <a:pt x="495" y="677"/>
                    </a:cubicBezTo>
                    <a:cubicBezTo>
                      <a:pt x="494" y="673"/>
                      <a:pt x="494" y="673"/>
                      <a:pt x="494" y="673"/>
                    </a:cubicBezTo>
                    <a:cubicBezTo>
                      <a:pt x="491" y="667"/>
                      <a:pt x="491" y="667"/>
                      <a:pt x="491" y="667"/>
                    </a:cubicBezTo>
                    <a:cubicBezTo>
                      <a:pt x="489" y="667"/>
                      <a:pt x="489" y="667"/>
                      <a:pt x="489" y="667"/>
                    </a:cubicBezTo>
                    <a:cubicBezTo>
                      <a:pt x="488" y="670"/>
                      <a:pt x="488" y="670"/>
                      <a:pt x="488" y="670"/>
                    </a:cubicBezTo>
                    <a:cubicBezTo>
                      <a:pt x="486" y="667"/>
                      <a:pt x="486" y="667"/>
                      <a:pt x="486" y="667"/>
                    </a:cubicBezTo>
                    <a:cubicBezTo>
                      <a:pt x="484" y="660"/>
                      <a:pt x="484" y="660"/>
                      <a:pt x="484" y="660"/>
                    </a:cubicBezTo>
                    <a:cubicBezTo>
                      <a:pt x="481" y="659"/>
                      <a:pt x="481" y="659"/>
                      <a:pt x="481" y="659"/>
                    </a:cubicBezTo>
                    <a:cubicBezTo>
                      <a:pt x="479" y="655"/>
                      <a:pt x="479" y="655"/>
                      <a:pt x="479" y="655"/>
                    </a:cubicBezTo>
                    <a:cubicBezTo>
                      <a:pt x="479" y="653"/>
                      <a:pt x="479" y="653"/>
                      <a:pt x="479" y="653"/>
                    </a:cubicBezTo>
                    <a:cubicBezTo>
                      <a:pt x="483" y="652"/>
                      <a:pt x="483" y="652"/>
                      <a:pt x="483" y="652"/>
                    </a:cubicBezTo>
                    <a:cubicBezTo>
                      <a:pt x="483" y="649"/>
                      <a:pt x="483" y="649"/>
                      <a:pt x="483" y="649"/>
                    </a:cubicBezTo>
                    <a:cubicBezTo>
                      <a:pt x="481" y="645"/>
                      <a:pt x="481" y="645"/>
                      <a:pt x="481" y="645"/>
                    </a:cubicBezTo>
                    <a:cubicBezTo>
                      <a:pt x="483" y="643"/>
                      <a:pt x="483" y="643"/>
                      <a:pt x="483" y="643"/>
                    </a:cubicBezTo>
                    <a:cubicBezTo>
                      <a:pt x="486" y="643"/>
                      <a:pt x="486" y="643"/>
                      <a:pt x="486" y="643"/>
                    </a:cubicBezTo>
                    <a:cubicBezTo>
                      <a:pt x="488" y="643"/>
                      <a:pt x="488" y="643"/>
                      <a:pt x="488" y="643"/>
                    </a:cubicBezTo>
                    <a:cubicBezTo>
                      <a:pt x="491" y="645"/>
                      <a:pt x="491" y="645"/>
                      <a:pt x="491" y="645"/>
                    </a:cubicBezTo>
                    <a:cubicBezTo>
                      <a:pt x="495" y="644"/>
                      <a:pt x="495" y="644"/>
                      <a:pt x="495" y="644"/>
                    </a:cubicBezTo>
                    <a:cubicBezTo>
                      <a:pt x="499" y="645"/>
                      <a:pt x="499" y="645"/>
                      <a:pt x="499" y="645"/>
                    </a:cubicBezTo>
                    <a:cubicBezTo>
                      <a:pt x="513" y="643"/>
                      <a:pt x="513" y="643"/>
                      <a:pt x="513" y="643"/>
                    </a:cubicBezTo>
                    <a:cubicBezTo>
                      <a:pt x="532" y="644"/>
                      <a:pt x="532" y="644"/>
                      <a:pt x="532" y="644"/>
                    </a:cubicBezTo>
                    <a:cubicBezTo>
                      <a:pt x="537" y="648"/>
                      <a:pt x="537" y="648"/>
                      <a:pt x="537" y="648"/>
                    </a:cubicBezTo>
                    <a:cubicBezTo>
                      <a:pt x="549" y="652"/>
                      <a:pt x="549" y="652"/>
                      <a:pt x="549" y="652"/>
                    </a:cubicBezTo>
                    <a:cubicBezTo>
                      <a:pt x="550" y="655"/>
                      <a:pt x="550" y="655"/>
                      <a:pt x="550" y="655"/>
                    </a:cubicBezTo>
                    <a:cubicBezTo>
                      <a:pt x="549" y="657"/>
                      <a:pt x="549" y="657"/>
                      <a:pt x="549" y="657"/>
                    </a:cubicBezTo>
                    <a:cubicBezTo>
                      <a:pt x="551" y="661"/>
                      <a:pt x="551" y="661"/>
                      <a:pt x="551" y="661"/>
                    </a:cubicBezTo>
                    <a:cubicBezTo>
                      <a:pt x="555" y="658"/>
                      <a:pt x="555" y="658"/>
                      <a:pt x="555" y="658"/>
                    </a:cubicBezTo>
                    <a:cubicBezTo>
                      <a:pt x="560" y="656"/>
                      <a:pt x="560" y="656"/>
                      <a:pt x="560" y="656"/>
                    </a:cubicBezTo>
                    <a:cubicBezTo>
                      <a:pt x="563" y="659"/>
                      <a:pt x="563" y="659"/>
                      <a:pt x="563" y="659"/>
                    </a:cubicBezTo>
                    <a:cubicBezTo>
                      <a:pt x="566" y="659"/>
                      <a:pt x="566" y="659"/>
                      <a:pt x="566" y="659"/>
                    </a:cubicBezTo>
                    <a:cubicBezTo>
                      <a:pt x="567" y="662"/>
                      <a:pt x="567" y="662"/>
                      <a:pt x="567" y="662"/>
                    </a:cubicBezTo>
                    <a:cubicBezTo>
                      <a:pt x="573" y="663"/>
                      <a:pt x="573" y="663"/>
                      <a:pt x="573" y="663"/>
                    </a:cubicBezTo>
                    <a:cubicBezTo>
                      <a:pt x="584" y="669"/>
                      <a:pt x="584" y="669"/>
                      <a:pt x="584" y="669"/>
                    </a:cubicBezTo>
                    <a:cubicBezTo>
                      <a:pt x="594" y="670"/>
                      <a:pt x="594" y="670"/>
                      <a:pt x="594" y="670"/>
                    </a:cubicBezTo>
                    <a:cubicBezTo>
                      <a:pt x="598" y="673"/>
                      <a:pt x="598" y="673"/>
                      <a:pt x="598" y="673"/>
                    </a:cubicBezTo>
                    <a:cubicBezTo>
                      <a:pt x="601" y="678"/>
                      <a:pt x="601" y="678"/>
                      <a:pt x="601" y="678"/>
                    </a:cubicBezTo>
                    <a:cubicBezTo>
                      <a:pt x="607" y="679"/>
                      <a:pt x="607" y="679"/>
                      <a:pt x="607" y="679"/>
                    </a:cubicBezTo>
                    <a:cubicBezTo>
                      <a:pt x="612" y="683"/>
                      <a:pt x="612" y="683"/>
                      <a:pt x="612" y="683"/>
                    </a:cubicBezTo>
                    <a:cubicBezTo>
                      <a:pt x="616" y="692"/>
                      <a:pt x="616" y="692"/>
                      <a:pt x="616" y="692"/>
                    </a:cubicBezTo>
                    <a:cubicBezTo>
                      <a:pt x="620" y="692"/>
                      <a:pt x="620" y="692"/>
                      <a:pt x="620" y="692"/>
                    </a:cubicBezTo>
                    <a:cubicBezTo>
                      <a:pt x="621" y="690"/>
                      <a:pt x="621" y="690"/>
                      <a:pt x="621" y="690"/>
                    </a:cubicBezTo>
                    <a:cubicBezTo>
                      <a:pt x="620" y="685"/>
                      <a:pt x="620" y="685"/>
                      <a:pt x="620" y="685"/>
                    </a:cubicBezTo>
                    <a:cubicBezTo>
                      <a:pt x="622" y="685"/>
                      <a:pt x="622" y="685"/>
                      <a:pt x="622" y="685"/>
                    </a:cubicBezTo>
                    <a:cubicBezTo>
                      <a:pt x="623" y="683"/>
                      <a:pt x="623" y="683"/>
                      <a:pt x="623" y="683"/>
                    </a:cubicBezTo>
                    <a:cubicBezTo>
                      <a:pt x="620" y="679"/>
                      <a:pt x="620" y="679"/>
                      <a:pt x="620" y="679"/>
                    </a:cubicBezTo>
                    <a:cubicBezTo>
                      <a:pt x="621" y="676"/>
                      <a:pt x="621" y="676"/>
                      <a:pt x="621" y="676"/>
                    </a:cubicBezTo>
                    <a:cubicBezTo>
                      <a:pt x="621" y="666"/>
                      <a:pt x="621" y="666"/>
                      <a:pt x="621" y="666"/>
                    </a:cubicBezTo>
                    <a:cubicBezTo>
                      <a:pt x="625" y="664"/>
                      <a:pt x="625" y="664"/>
                      <a:pt x="625" y="664"/>
                    </a:cubicBezTo>
                    <a:cubicBezTo>
                      <a:pt x="621" y="664"/>
                      <a:pt x="621" y="664"/>
                      <a:pt x="621" y="664"/>
                    </a:cubicBezTo>
                    <a:cubicBezTo>
                      <a:pt x="621" y="662"/>
                      <a:pt x="621" y="662"/>
                      <a:pt x="621" y="662"/>
                    </a:cubicBezTo>
                    <a:cubicBezTo>
                      <a:pt x="617" y="662"/>
                      <a:pt x="617" y="662"/>
                      <a:pt x="617" y="662"/>
                    </a:cubicBezTo>
                    <a:cubicBezTo>
                      <a:pt x="614" y="664"/>
                      <a:pt x="614" y="664"/>
                      <a:pt x="614" y="664"/>
                    </a:cubicBezTo>
                    <a:cubicBezTo>
                      <a:pt x="610" y="663"/>
                      <a:pt x="610" y="663"/>
                      <a:pt x="610" y="663"/>
                    </a:cubicBezTo>
                    <a:cubicBezTo>
                      <a:pt x="602" y="654"/>
                      <a:pt x="602" y="654"/>
                      <a:pt x="602" y="654"/>
                    </a:cubicBezTo>
                    <a:cubicBezTo>
                      <a:pt x="600" y="654"/>
                      <a:pt x="600" y="654"/>
                      <a:pt x="600" y="654"/>
                    </a:cubicBezTo>
                    <a:cubicBezTo>
                      <a:pt x="597" y="650"/>
                      <a:pt x="597" y="650"/>
                      <a:pt x="597" y="650"/>
                    </a:cubicBezTo>
                    <a:cubicBezTo>
                      <a:pt x="597" y="644"/>
                      <a:pt x="597" y="644"/>
                      <a:pt x="597" y="644"/>
                    </a:cubicBezTo>
                    <a:cubicBezTo>
                      <a:pt x="595" y="642"/>
                      <a:pt x="595" y="642"/>
                      <a:pt x="595" y="642"/>
                    </a:cubicBezTo>
                    <a:cubicBezTo>
                      <a:pt x="592" y="647"/>
                      <a:pt x="592" y="647"/>
                      <a:pt x="592" y="647"/>
                    </a:cubicBezTo>
                    <a:cubicBezTo>
                      <a:pt x="588" y="644"/>
                      <a:pt x="588" y="644"/>
                      <a:pt x="588" y="644"/>
                    </a:cubicBezTo>
                    <a:cubicBezTo>
                      <a:pt x="583" y="644"/>
                      <a:pt x="583" y="644"/>
                      <a:pt x="583" y="644"/>
                    </a:cubicBezTo>
                    <a:cubicBezTo>
                      <a:pt x="580" y="642"/>
                      <a:pt x="580" y="642"/>
                      <a:pt x="580" y="642"/>
                    </a:cubicBezTo>
                    <a:cubicBezTo>
                      <a:pt x="578" y="645"/>
                      <a:pt x="578" y="645"/>
                      <a:pt x="578" y="645"/>
                    </a:cubicBezTo>
                    <a:cubicBezTo>
                      <a:pt x="576" y="638"/>
                      <a:pt x="576" y="638"/>
                      <a:pt x="576" y="638"/>
                    </a:cubicBezTo>
                    <a:cubicBezTo>
                      <a:pt x="573" y="636"/>
                      <a:pt x="573" y="636"/>
                      <a:pt x="573" y="636"/>
                    </a:cubicBezTo>
                    <a:cubicBezTo>
                      <a:pt x="570" y="628"/>
                      <a:pt x="570" y="628"/>
                      <a:pt x="570" y="628"/>
                    </a:cubicBezTo>
                    <a:cubicBezTo>
                      <a:pt x="570" y="625"/>
                      <a:pt x="570" y="625"/>
                      <a:pt x="570" y="625"/>
                    </a:cubicBezTo>
                    <a:cubicBezTo>
                      <a:pt x="573" y="627"/>
                      <a:pt x="573" y="627"/>
                      <a:pt x="573" y="627"/>
                    </a:cubicBezTo>
                    <a:cubicBezTo>
                      <a:pt x="576" y="624"/>
                      <a:pt x="576" y="624"/>
                      <a:pt x="576" y="624"/>
                    </a:cubicBezTo>
                    <a:cubicBezTo>
                      <a:pt x="576" y="620"/>
                      <a:pt x="576" y="620"/>
                      <a:pt x="576" y="620"/>
                    </a:cubicBezTo>
                    <a:cubicBezTo>
                      <a:pt x="570" y="616"/>
                      <a:pt x="570" y="616"/>
                      <a:pt x="570" y="616"/>
                    </a:cubicBezTo>
                    <a:cubicBezTo>
                      <a:pt x="570" y="611"/>
                      <a:pt x="570" y="611"/>
                      <a:pt x="570" y="611"/>
                    </a:cubicBezTo>
                    <a:cubicBezTo>
                      <a:pt x="572" y="608"/>
                      <a:pt x="572" y="608"/>
                      <a:pt x="572" y="608"/>
                    </a:cubicBezTo>
                    <a:cubicBezTo>
                      <a:pt x="575" y="609"/>
                      <a:pt x="575" y="609"/>
                      <a:pt x="575" y="609"/>
                    </a:cubicBezTo>
                    <a:cubicBezTo>
                      <a:pt x="572" y="605"/>
                      <a:pt x="572" y="605"/>
                      <a:pt x="572" y="605"/>
                    </a:cubicBezTo>
                    <a:cubicBezTo>
                      <a:pt x="567" y="605"/>
                      <a:pt x="567" y="605"/>
                      <a:pt x="567" y="605"/>
                    </a:cubicBezTo>
                    <a:cubicBezTo>
                      <a:pt x="565" y="598"/>
                      <a:pt x="565" y="598"/>
                      <a:pt x="565" y="598"/>
                    </a:cubicBezTo>
                    <a:cubicBezTo>
                      <a:pt x="562" y="596"/>
                      <a:pt x="562" y="596"/>
                      <a:pt x="562" y="596"/>
                    </a:cubicBezTo>
                    <a:cubicBezTo>
                      <a:pt x="560" y="598"/>
                      <a:pt x="560" y="598"/>
                      <a:pt x="560" y="598"/>
                    </a:cubicBezTo>
                    <a:cubicBezTo>
                      <a:pt x="555" y="593"/>
                      <a:pt x="555" y="593"/>
                      <a:pt x="555" y="593"/>
                    </a:cubicBezTo>
                    <a:cubicBezTo>
                      <a:pt x="555" y="587"/>
                      <a:pt x="555" y="587"/>
                      <a:pt x="555" y="587"/>
                    </a:cubicBezTo>
                    <a:cubicBezTo>
                      <a:pt x="558" y="584"/>
                      <a:pt x="558" y="584"/>
                      <a:pt x="558" y="584"/>
                    </a:cubicBezTo>
                    <a:cubicBezTo>
                      <a:pt x="555" y="580"/>
                      <a:pt x="555" y="580"/>
                      <a:pt x="555" y="580"/>
                    </a:cubicBezTo>
                    <a:cubicBezTo>
                      <a:pt x="554" y="577"/>
                      <a:pt x="554" y="577"/>
                      <a:pt x="554" y="577"/>
                    </a:cubicBezTo>
                    <a:cubicBezTo>
                      <a:pt x="557" y="576"/>
                      <a:pt x="557" y="576"/>
                      <a:pt x="557" y="576"/>
                    </a:cubicBezTo>
                    <a:cubicBezTo>
                      <a:pt x="564" y="565"/>
                      <a:pt x="564" y="565"/>
                      <a:pt x="564" y="565"/>
                    </a:cubicBezTo>
                    <a:cubicBezTo>
                      <a:pt x="568" y="563"/>
                      <a:pt x="568" y="563"/>
                      <a:pt x="568" y="563"/>
                    </a:cubicBezTo>
                    <a:cubicBezTo>
                      <a:pt x="569" y="560"/>
                      <a:pt x="569" y="560"/>
                      <a:pt x="569" y="560"/>
                    </a:cubicBezTo>
                    <a:cubicBezTo>
                      <a:pt x="567" y="556"/>
                      <a:pt x="567" y="556"/>
                      <a:pt x="567" y="556"/>
                    </a:cubicBezTo>
                    <a:cubicBezTo>
                      <a:pt x="567" y="552"/>
                      <a:pt x="567" y="552"/>
                      <a:pt x="567" y="552"/>
                    </a:cubicBezTo>
                    <a:cubicBezTo>
                      <a:pt x="570" y="548"/>
                      <a:pt x="570" y="548"/>
                      <a:pt x="570" y="548"/>
                    </a:cubicBezTo>
                    <a:cubicBezTo>
                      <a:pt x="567" y="543"/>
                      <a:pt x="567" y="543"/>
                      <a:pt x="567" y="543"/>
                    </a:cubicBezTo>
                    <a:cubicBezTo>
                      <a:pt x="566" y="538"/>
                      <a:pt x="566" y="538"/>
                      <a:pt x="566" y="538"/>
                    </a:cubicBezTo>
                    <a:cubicBezTo>
                      <a:pt x="568" y="535"/>
                      <a:pt x="568" y="535"/>
                      <a:pt x="568" y="535"/>
                    </a:cubicBezTo>
                    <a:cubicBezTo>
                      <a:pt x="566" y="532"/>
                      <a:pt x="566" y="532"/>
                      <a:pt x="566" y="532"/>
                    </a:cubicBezTo>
                    <a:cubicBezTo>
                      <a:pt x="567" y="528"/>
                      <a:pt x="567" y="528"/>
                      <a:pt x="567" y="528"/>
                    </a:cubicBezTo>
                    <a:cubicBezTo>
                      <a:pt x="564" y="525"/>
                      <a:pt x="564" y="525"/>
                      <a:pt x="564" y="525"/>
                    </a:cubicBezTo>
                    <a:cubicBezTo>
                      <a:pt x="566" y="519"/>
                      <a:pt x="566" y="519"/>
                      <a:pt x="566" y="519"/>
                    </a:cubicBezTo>
                    <a:cubicBezTo>
                      <a:pt x="567" y="517"/>
                      <a:pt x="567" y="517"/>
                      <a:pt x="567" y="517"/>
                    </a:cubicBezTo>
                    <a:cubicBezTo>
                      <a:pt x="564" y="513"/>
                      <a:pt x="564" y="513"/>
                      <a:pt x="564" y="513"/>
                    </a:cubicBezTo>
                    <a:cubicBezTo>
                      <a:pt x="565" y="507"/>
                      <a:pt x="565" y="507"/>
                      <a:pt x="565" y="507"/>
                    </a:cubicBezTo>
                    <a:cubicBezTo>
                      <a:pt x="565" y="499"/>
                      <a:pt x="565" y="499"/>
                      <a:pt x="565" y="499"/>
                    </a:cubicBezTo>
                    <a:cubicBezTo>
                      <a:pt x="568" y="498"/>
                      <a:pt x="568" y="498"/>
                      <a:pt x="568" y="498"/>
                    </a:cubicBezTo>
                    <a:cubicBezTo>
                      <a:pt x="571" y="500"/>
                      <a:pt x="571" y="500"/>
                      <a:pt x="571" y="500"/>
                    </a:cubicBezTo>
                    <a:cubicBezTo>
                      <a:pt x="570" y="501"/>
                      <a:pt x="570" y="501"/>
                      <a:pt x="570" y="501"/>
                    </a:cubicBezTo>
                    <a:cubicBezTo>
                      <a:pt x="571" y="503"/>
                      <a:pt x="571" y="503"/>
                      <a:pt x="571" y="503"/>
                    </a:cubicBezTo>
                    <a:cubicBezTo>
                      <a:pt x="575" y="501"/>
                      <a:pt x="575" y="501"/>
                      <a:pt x="575" y="501"/>
                    </a:cubicBezTo>
                    <a:cubicBezTo>
                      <a:pt x="581" y="501"/>
                      <a:pt x="581" y="501"/>
                      <a:pt x="581" y="501"/>
                    </a:cubicBezTo>
                    <a:cubicBezTo>
                      <a:pt x="585" y="498"/>
                      <a:pt x="585" y="498"/>
                      <a:pt x="585" y="498"/>
                    </a:cubicBezTo>
                    <a:cubicBezTo>
                      <a:pt x="589" y="499"/>
                      <a:pt x="589" y="499"/>
                      <a:pt x="589" y="499"/>
                    </a:cubicBezTo>
                    <a:cubicBezTo>
                      <a:pt x="592" y="500"/>
                      <a:pt x="592" y="500"/>
                      <a:pt x="592" y="500"/>
                    </a:cubicBezTo>
                    <a:cubicBezTo>
                      <a:pt x="594" y="498"/>
                      <a:pt x="594" y="498"/>
                      <a:pt x="594" y="498"/>
                    </a:cubicBezTo>
                    <a:cubicBezTo>
                      <a:pt x="599" y="498"/>
                      <a:pt x="599" y="498"/>
                      <a:pt x="599" y="498"/>
                    </a:cubicBezTo>
                    <a:cubicBezTo>
                      <a:pt x="610" y="503"/>
                      <a:pt x="610" y="503"/>
                      <a:pt x="610" y="503"/>
                    </a:cubicBezTo>
                    <a:cubicBezTo>
                      <a:pt x="616" y="503"/>
                      <a:pt x="616" y="503"/>
                      <a:pt x="616" y="503"/>
                    </a:cubicBezTo>
                    <a:cubicBezTo>
                      <a:pt x="620" y="504"/>
                      <a:pt x="620" y="504"/>
                      <a:pt x="620" y="504"/>
                    </a:cubicBezTo>
                    <a:cubicBezTo>
                      <a:pt x="621" y="507"/>
                      <a:pt x="621" y="507"/>
                      <a:pt x="621" y="507"/>
                    </a:cubicBezTo>
                    <a:cubicBezTo>
                      <a:pt x="618" y="509"/>
                      <a:pt x="618" y="509"/>
                      <a:pt x="618" y="509"/>
                    </a:cubicBezTo>
                    <a:cubicBezTo>
                      <a:pt x="620" y="513"/>
                      <a:pt x="620" y="513"/>
                      <a:pt x="620" y="513"/>
                    </a:cubicBezTo>
                    <a:cubicBezTo>
                      <a:pt x="620" y="517"/>
                      <a:pt x="620" y="517"/>
                      <a:pt x="620" y="517"/>
                    </a:cubicBezTo>
                    <a:cubicBezTo>
                      <a:pt x="622" y="519"/>
                      <a:pt x="622" y="519"/>
                      <a:pt x="622" y="519"/>
                    </a:cubicBezTo>
                    <a:cubicBezTo>
                      <a:pt x="623" y="526"/>
                      <a:pt x="623" y="526"/>
                      <a:pt x="623" y="526"/>
                    </a:cubicBezTo>
                    <a:cubicBezTo>
                      <a:pt x="625" y="532"/>
                      <a:pt x="625" y="532"/>
                      <a:pt x="625" y="532"/>
                    </a:cubicBezTo>
                    <a:cubicBezTo>
                      <a:pt x="623" y="542"/>
                      <a:pt x="623" y="542"/>
                      <a:pt x="623" y="542"/>
                    </a:cubicBezTo>
                    <a:cubicBezTo>
                      <a:pt x="625" y="545"/>
                      <a:pt x="625" y="545"/>
                      <a:pt x="625" y="545"/>
                    </a:cubicBezTo>
                    <a:cubicBezTo>
                      <a:pt x="625" y="547"/>
                      <a:pt x="625" y="547"/>
                      <a:pt x="625" y="547"/>
                    </a:cubicBezTo>
                    <a:cubicBezTo>
                      <a:pt x="626" y="550"/>
                      <a:pt x="626" y="550"/>
                      <a:pt x="626" y="550"/>
                    </a:cubicBezTo>
                    <a:cubicBezTo>
                      <a:pt x="625" y="554"/>
                      <a:pt x="625" y="554"/>
                      <a:pt x="625" y="554"/>
                    </a:cubicBezTo>
                    <a:cubicBezTo>
                      <a:pt x="623" y="555"/>
                      <a:pt x="623" y="555"/>
                      <a:pt x="623" y="555"/>
                    </a:cubicBezTo>
                    <a:cubicBezTo>
                      <a:pt x="624" y="559"/>
                      <a:pt x="624" y="559"/>
                      <a:pt x="624" y="559"/>
                    </a:cubicBezTo>
                    <a:cubicBezTo>
                      <a:pt x="628" y="563"/>
                      <a:pt x="628" y="563"/>
                      <a:pt x="628" y="563"/>
                    </a:cubicBezTo>
                    <a:cubicBezTo>
                      <a:pt x="631" y="568"/>
                      <a:pt x="631" y="568"/>
                      <a:pt x="631" y="568"/>
                    </a:cubicBezTo>
                    <a:cubicBezTo>
                      <a:pt x="636" y="569"/>
                      <a:pt x="636" y="569"/>
                      <a:pt x="636" y="569"/>
                    </a:cubicBezTo>
                    <a:cubicBezTo>
                      <a:pt x="636" y="570"/>
                      <a:pt x="636" y="570"/>
                      <a:pt x="636" y="570"/>
                    </a:cubicBezTo>
                    <a:cubicBezTo>
                      <a:pt x="638" y="569"/>
                      <a:pt x="638" y="569"/>
                      <a:pt x="638" y="569"/>
                    </a:cubicBezTo>
                    <a:cubicBezTo>
                      <a:pt x="641" y="571"/>
                      <a:pt x="641" y="571"/>
                      <a:pt x="641" y="571"/>
                    </a:cubicBezTo>
                    <a:cubicBezTo>
                      <a:pt x="642" y="578"/>
                      <a:pt x="642" y="578"/>
                      <a:pt x="642" y="578"/>
                    </a:cubicBezTo>
                    <a:cubicBezTo>
                      <a:pt x="647" y="581"/>
                      <a:pt x="647" y="581"/>
                      <a:pt x="647" y="581"/>
                    </a:cubicBezTo>
                    <a:cubicBezTo>
                      <a:pt x="649" y="584"/>
                      <a:pt x="649" y="584"/>
                      <a:pt x="649" y="584"/>
                    </a:cubicBezTo>
                    <a:cubicBezTo>
                      <a:pt x="651" y="596"/>
                      <a:pt x="651" y="596"/>
                      <a:pt x="651" y="596"/>
                    </a:cubicBezTo>
                    <a:cubicBezTo>
                      <a:pt x="654" y="599"/>
                      <a:pt x="654" y="599"/>
                      <a:pt x="654" y="599"/>
                    </a:cubicBezTo>
                    <a:cubicBezTo>
                      <a:pt x="654" y="602"/>
                      <a:pt x="654" y="602"/>
                      <a:pt x="654" y="602"/>
                    </a:cubicBezTo>
                    <a:cubicBezTo>
                      <a:pt x="653" y="604"/>
                      <a:pt x="653" y="604"/>
                      <a:pt x="653" y="604"/>
                    </a:cubicBezTo>
                    <a:cubicBezTo>
                      <a:pt x="657" y="609"/>
                      <a:pt x="657" y="609"/>
                      <a:pt x="657" y="609"/>
                    </a:cubicBezTo>
                    <a:cubicBezTo>
                      <a:pt x="657" y="614"/>
                      <a:pt x="657" y="614"/>
                      <a:pt x="657" y="614"/>
                    </a:cubicBezTo>
                    <a:cubicBezTo>
                      <a:pt x="663" y="623"/>
                      <a:pt x="663" y="623"/>
                      <a:pt x="663" y="623"/>
                    </a:cubicBezTo>
                    <a:cubicBezTo>
                      <a:pt x="661" y="627"/>
                      <a:pt x="661" y="627"/>
                      <a:pt x="661" y="627"/>
                    </a:cubicBezTo>
                    <a:cubicBezTo>
                      <a:pt x="663" y="632"/>
                      <a:pt x="663" y="632"/>
                      <a:pt x="663" y="632"/>
                    </a:cubicBezTo>
                    <a:cubicBezTo>
                      <a:pt x="668" y="634"/>
                      <a:pt x="668" y="634"/>
                      <a:pt x="668" y="634"/>
                    </a:cubicBezTo>
                    <a:cubicBezTo>
                      <a:pt x="666" y="637"/>
                      <a:pt x="666" y="637"/>
                      <a:pt x="666" y="637"/>
                    </a:cubicBezTo>
                    <a:cubicBezTo>
                      <a:pt x="668" y="639"/>
                      <a:pt x="668" y="639"/>
                      <a:pt x="668" y="639"/>
                    </a:cubicBezTo>
                    <a:cubicBezTo>
                      <a:pt x="669" y="647"/>
                      <a:pt x="669" y="647"/>
                      <a:pt x="669" y="647"/>
                    </a:cubicBezTo>
                    <a:cubicBezTo>
                      <a:pt x="677" y="656"/>
                      <a:pt x="677" y="656"/>
                      <a:pt x="677" y="656"/>
                    </a:cubicBezTo>
                    <a:cubicBezTo>
                      <a:pt x="683" y="658"/>
                      <a:pt x="683" y="658"/>
                      <a:pt x="683" y="658"/>
                    </a:cubicBezTo>
                    <a:cubicBezTo>
                      <a:pt x="686" y="662"/>
                      <a:pt x="686" y="662"/>
                      <a:pt x="686" y="662"/>
                    </a:cubicBezTo>
                    <a:cubicBezTo>
                      <a:pt x="689" y="662"/>
                      <a:pt x="689" y="662"/>
                      <a:pt x="689" y="662"/>
                    </a:cubicBezTo>
                    <a:cubicBezTo>
                      <a:pt x="694" y="668"/>
                      <a:pt x="694" y="668"/>
                      <a:pt x="694" y="668"/>
                    </a:cubicBezTo>
                    <a:cubicBezTo>
                      <a:pt x="694" y="671"/>
                      <a:pt x="694" y="671"/>
                      <a:pt x="694" y="671"/>
                    </a:cubicBezTo>
                    <a:cubicBezTo>
                      <a:pt x="692" y="670"/>
                      <a:pt x="692" y="670"/>
                      <a:pt x="692" y="670"/>
                    </a:cubicBezTo>
                    <a:cubicBezTo>
                      <a:pt x="692" y="674"/>
                      <a:pt x="692" y="674"/>
                      <a:pt x="692" y="674"/>
                    </a:cubicBezTo>
                    <a:cubicBezTo>
                      <a:pt x="691" y="679"/>
                      <a:pt x="691" y="679"/>
                      <a:pt x="691" y="679"/>
                    </a:cubicBezTo>
                    <a:cubicBezTo>
                      <a:pt x="694" y="686"/>
                      <a:pt x="694" y="686"/>
                      <a:pt x="694" y="686"/>
                    </a:cubicBezTo>
                    <a:cubicBezTo>
                      <a:pt x="698" y="690"/>
                      <a:pt x="698" y="690"/>
                      <a:pt x="698" y="690"/>
                    </a:cubicBezTo>
                    <a:cubicBezTo>
                      <a:pt x="699" y="696"/>
                      <a:pt x="699" y="696"/>
                      <a:pt x="699" y="696"/>
                    </a:cubicBezTo>
                    <a:cubicBezTo>
                      <a:pt x="695" y="699"/>
                      <a:pt x="695" y="699"/>
                      <a:pt x="695" y="699"/>
                    </a:cubicBezTo>
                    <a:cubicBezTo>
                      <a:pt x="695" y="701"/>
                      <a:pt x="695" y="701"/>
                      <a:pt x="695" y="701"/>
                    </a:cubicBezTo>
                    <a:cubicBezTo>
                      <a:pt x="693" y="704"/>
                      <a:pt x="693" y="704"/>
                      <a:pt x="693" y="704"/>
                    </a:cubicBezTo>
                    <a:cubicBezTo>
                      <a:pt x="694" y="706"/>
                      <a:pt x="694" y="706"/>
                      <a:pt x="694" y="706"/>
                    </a:cubicBezTo>
                    <a:cubicBezTo>
                      <a:pt x="694" y="714"/>
                      <a:pt x="694" y="714"/>
                      <a:pt x="694" y="714"/>
                    </a:cubicBezTo>
                    <a:cubicBezTo>
                      <a:pt x="690" y="716"/>
                      <a:pt x="690" y="716"/>
                      <a:pt x="690" y="716"/>
                    </a:cubicBezTo>
                    <a:cubicBezTo>
                      <a:pt x="691" y="717"/>
                      <a:pt x="691" y="717"/>
                      <a:pt x="691" y="717"/>
                    </a:cubicBezTo>
                    <a:cubicBezTo>
                      <a:pt x="694" y="717"/>
                      <a:pt x="694" y="717"/>
                      <a:pt x="694" y="717"/>
                    </a:cubicBezTo>
                    <a:cubicBezTo>
                      <a:pt x="694" y="719"/>
                      <a:pt x="694" y="719"/>
                      <a:pt x="694" y="719"/>
                    </a:cubicBezTo>
                    <a:cubicBezTo>
                      <a:pt x="690" y="721"/>
                      <a:pt x="690" y="721"/>
                      <a:pt x="690" y="721"/>
                    </a:cubicBezTo>
                    <a:cubicBezTo>
                      <a:pt x="690" y="729"/>
                      <a:pt x="690" y="729"/>
                      <a:pt x="690" y="729"/>
                    </a:cubicBezTo>
                    <a:cubicBezTo>
                      <a:pt x="688" y="732"/>
                      <a:pt x="688" y="732"/>
                      <a:pt x="688" y="732"/>
                    </a:cubicBezTo>
                    <a:cubicBezTo>
                      <a:pt x="683" y="729"/>
                      <a:pt x="683" y="729"/>
                      <a:pt x="683" y="729"/>
                    </a:cubicBezTo>
                    <a:cubicBezTo>
                      <a:pt x="683" y="732"/>
                      <a:pt x="683" y="732"/>
                      <a:pt x="683" y="732"/>
                    </a:cubicBezTo>
                    <a:cubicBezTo>
                      <a:pt x="687" y="736"/>
                      <a:pt x="687" y="736"/>
                      <a:pt x="687" y="736"/>
                    </a:cubicBezTo>
                    <a:cubicBezTo>
                      <a:pt x="687" y="739"/>
                      <a:pt x="687" y="739"/>
                      <a:pt x="687" y="739"/>
                    </a:cubicBezTo>
                    <a:cubicBezTo>
                      <a:pt x="683" y="741"/>
                      <a:pt x="683" y="741"/>
                      <a:pt x="683" y="741"/>
                    </a:cubicBezTo>
                    <a:cubicBezTo>
                      <a:pt x="681" y="744"/>
                      <a:pt x="681" y="744"/>
                      <a:pt x="681" y="744"/>
                    </a:cubicBezTo>
                    <a:cubicBezTo>
                      <a:pt x="673" y="745"/>
                      <a:pt x="673" y="745"/>
                      <a:pt x="673" y="745"/>
                    </a:cubicBezTo>
                    <a:cubicBezTo>
                      <a:pt x="670" y="742"/>
                      <a:pt x="670" y="742"/>
                      <a:pt x="670" y="742"/>
                    </a:cubicBezTo>
                    <a:cubicBezTo>
                      <a:pt x="676" y="739"/>
                      <a:pt x="676" y="739"/>
                      <a:pt x="676" y="739"/>
                    </a:cubicBezTo>
                    <a:cubicBezTo>
                      <a:pt x="676" y="736"/>
                      <a:pt x="676" y="736"/>
                      <a:pt x="676" y="736"/>
                    </a:cubicBezTo>
                    <a:cubicBezTo>
                      <a:pt x="672" y="736"/>
                      <a:pt x="672" y="736"/>
                      <a:pt x="672" y="736"/>
                    </a:cubicBezTo>
                    <a:cubicBezTo>
                      <a:pt x="671" y="738"/>
                      <a:pt x="671" y="738"/>
                      <a:pt x="671" y="738"/>
                    </a:cubicBezTo>
                    <a:cubicBezTo>
                      <a:pt x="668" y="739"/>
                      <a:pt x="668" y="739"/>
                      <a:pt x="668" y="739"/>
                    </a:cubicBezTo>
                    <a:cubicBezTo>
                      <a:pt x="659" y="734"/>
                      <a:pt x="659" y="734"/>
                      <a:pt x="659" y="734"/>
                    </a:cubicBezTo>
                    <a:cubicBezTo>
                      <a:pt x="657" y="736"/>
                      <a:pt x="657" y="736"/>
                      <a:pt x="657" y="736"/>
                    </a:cubicBezTo>
                    <a:cubicBezTo>
                      <a:pt x="646" y="738"/>
                      <a:pt x="646" y="738"/>
                      <a:pt x="646" y="738"/>
                    </a:cubicBezTo>
                    <a:cubicBezTo>
                      <a:pt x="641" y="738"/>
                      <a:pt x="641" y="738"/>
                      <a:pt x="641" y="738"/>
                    </a:cubicBezTo>
                    <a:cubicBezTo>
                      <a:pt x="638" y="743"/>
                      <a:pt x="638" y="743"/>
                      <a:pt x="638" y="743"/>
                    </a:cubicBezTo>
                    <a:cubicBezTo>
                      <a:pt x="641" y="743"/>
                      <a:pt x="641" y="743"/>
                      <a:pt x="641" y="743"/>
                    </a:cubicBezTo>
                    <a:cubicBezTo>
                      <a:pt x="642" y="745"/>
                      <a:pt x="642" y="745"/>
                      <a:pt x="642" y="745"/>
                    </a:cubicBezTo>
                    <a:cubicBezTo>
                      <a:pt x="644" y="741"/>
                      <a:pt x="644" y="741"/>
                      <a:pt x="644" y="741"/>
                    </a:cubicBezTo>
                    <a:cubicBezTo>
                      <a:pt x="650" y="740"/>
                      <a:pt x="650" y="740"/>
                      <a:pt x="650" y="740"/>
                    </a:cubicBezTo>
                    <a:cubicBezTo>
                      <a:pt x="652" y="744"/>
                      <a:pt x="652" y="744"/>
                      <a:pt x="652" y="744"/>
                    </a:cubicBezTo>
                    <a:cubicBezTo>
                      <a:pt x="657" y="748"/>
                      <a:pt x="657" y="748"/>
                      <a:pt x="657" y="748"/>
                    </a:cubicBezTo>
                    <a:cubicBezTo>
                      <a:pt x="671" y="751"/>
                      <a:pt x="671" y="751"/>
                      <a:pt x="671" y="751"/>
                    </a:cubicBezTo>
                    <a:cubicBezTo>
                      <a:pt x="677" y="752"/>
                      <a:pt x="677" y="752"/>
                      <a:pt x="677" y="752"/>
                    </a:cubicBezTo>
                    <a:cubicBezTo>
                      <a:pt x="684" y="751"/>
                      <a:pt x="684" y="751"/>
                      <a:pt x="684" y="751"/>
                    </a:cubicBezTo>
                    <a:cubicBezTo>
                      <a:pt x="691" y="751"/>
                      <a:pt x="691" y="751"/>
                      <a:pt x="691" y="751"/>
                    </a:cubicBezTo>
                    <a:cubicBezTo>
                      <a:pt x="692" y="753"/>
                      <a:pt x="692" y="753"/>
                      <a:pt x="692" y="753"/>
                    </a:cubicBezTo>
                    <a:cubicBezTo>
                      <a:pt x="700" y="755"/>
                      <a:pt x="700" y="755"/>
                      <a:pt x="700" y="755"/>
                    </a:cubicBezTo>
                    <a:cubicBezTo>
                      <a:pt x="706" y="751"/>
                      <a:pt x="706" y="751"/>
                      <a:pt x="706" y="751"/>
                    </a:cubicBezTo>
                    <a:cubicBezTo>
                      <a:pt x="705" y="748"/>
                      <a:pt x="705" y="748"/>
                      <a:pt x="705" y="748"/>
                    </a:cubicBezTo>
                    <a:cubicBezTo>
                      <a:pt x="703" y="745"/>
                      <a:pt x="703" y="745"/>
                      <a:pt x="703" y="745"/>
                    </a:cubicBezTo>
                    <a:cubicBezTo>
                      <a:pt x="703" y="740"/>
                      <a:pt x="703" y="740"/>
                      <a:pt x="703" y="740"/>
                    </a:cubicBezTo>
                    <a:cubicBezTo>
                      <a:pt x="706" y="737"/>
                      <a:pt x="706" y="737"/>
                      <a:pt x="706" y="737"/>
                    </a:cubicBezTo>
                    <a:cubicBezTo>
                      <a:pt x="709" y="735"/>
                      <a:pt x="709" y="735"/>
                      <a:pt x="709" y="735"/>
                    </a:cubicBezTo>
                    <a:cubicBezTo>
                      <a:pt x="709" y="733"/>
                      <a:pt x="709" y="733"/>
                      <a:pt x="709" y="733"/>
                    </a:cubicBezTo>
                    <a:cubicBezTo>
                      <a:pt x="715" y="728"/>
                      <a:pt x="715" y="728"/>
                      <a:pt x="715" y="728"/>
                    </a:cubicBezTo>
                    <a:cubicBezTo>
                      <a:pt x="715" y="724"/>
                      <a:pt x="715" y="724"/>
                      <a:pt x="715" y="724"/>
                    </a:cubicBezTo>
                    <a:cubicBezTo>
                      <a:pt x="719" y="716"/>
                      <a:pt x="719" y="716"/>
                      <a:pt x="719" y="716"/>
                    </a:cubicBezTo>
                    <a:cubicBezTo>
                      <a:pt x="715" y="710"/>
                      <a:pt x="715" y="710"/>
                      <a:pt x="715" y="710"/>
                    </a:cubicBezTo>
                    <a:cubicBezTo>
                      <a:pt x="716" y="704"/>
                      <a:pt x="716" y="704"/>
                      <a:pt x="716" y="704"/>
                    </a:cubicBezTo>
                    <a:cubicBezTo>
                      <a:pt x="722" y="694"/>
                      <a:pt x="722" y="694"/>
                      <a:pt x="722" y="694"/>
                    </a:cubicBezTo>
                    <a:cubicBezTo>
                      <a:pt x="723" y="690"/>
                      <a:pt x="723" y="690"/>
                      <a:pt x="723" y="690"/>
                    </a:cubicBezTo>
                    <a:cubicBezTo>
                      <a:pt x="717" y="677"/>
                      <a:pt x="717" y="677"/>
                      <a:pt x="717" y="677"/>
                    </a:cubicBezTo>
                    <a:cubicBezTo>
                      <a:pt x="709" y="672"/>
                      <a:pt x="709" y="672"/>
                      <a:pt x="709" y="672"/>
                    </a:cubicBezTo>
                    <a:cubicBezTo>
                      <a:pt x="707" y="669"/>
                      <a:pt x="707" y="669"/>
                      <a:pt x="707" y="669"/>
                    </a:cubicBezTo>
                    <a:cubicBezTo>
                      <a:pt x="706" y="658"/>
                      <a:pt x="706" y="658"/>
                      <a:pt x="706" y="658"/>
                    </a:cubicBezTo>
                    <a:cubicBezTo>
                      <a:pt x="712" y="654"/>
                      <a:pt x="712" y="654"/>
                      <a:pt x="712" y="654"/>
                    </a:cubicBezTo>
                    <a:cubicBezTo>
                      <a:pt x="715" y="650"/>
                      <a:pt x="715" y="650"/>
                      <a:pt x="715" y="650"/>
                    </a:cubicBezTo>
                    <a:cubicBezTo>
                      <a:pt x="720" y="649"/>
                      <a:pt x="720" y="649"/>
                      <a:pt x="720" y="649"/>
                    </a:cubicBezTo>
                    <a:cubicBezTo>
                      <a:pt x="728" y="642"/>
                      <a:pt x="728" y="642"/>
                      <a:pt x="728" y="642"/>
                    </a:cubicBezTo>
                    <a:cubicBezTo>
                      <a:pt x="733" y="641"/>
                      <a:pt x="733" y="641"/>
                      <a:pt x="733" y="641"/>
                    </a:cubicBezTo>
                    <a:cubicBezTo>
                      <a:pt x="739" y="647"/>
                      <a:pt x="739" y="647"/>
                      <a:pt x="739" y="647"/>
                    </a:cubicBezTo>
                    <a:cubicBezTo>
                      <a:pt x="739" y="652"/>
                      <a:pt x="739" y="652"/>
                      <a:pt x="739" y="652"/>
                    </a:cubicBezTo>
                    <a:cubicBezTo>
                      <a:pt x="746" y="655"/>
                      <a:pt x="746" y="655"/>
                      <a:pt x="746" y="655"/>
                    </a:cubicBezTo>
                    <a:cubicBezTo>
                      <a:pt x="747" y="658"/>
                      <a:pt x="747" y="658"/>
                      <a:pt x="747" y="658"/>
                    </a:cubicBezTo>
                    <a:cubicBezTo>
                      <a:pt x="749" y="658"/>
                      <a:pt x="749" y="658"/>
                      <a:pt x="749" y="658"/>
                    </a:cubicBezTo>
                    <a:cubicBezTo>
                      <a:pt x="754" y="664"/>
                      <a:pt x="754" y="664"/>
                      <a:pt x="754" y="664"/>
                    </a:cubicBezTo>
                    <a:cubicBezTo>
                      <a:pt x="753" y="668"/>
                      <a:pt x="753" y="668"/>
                      <a:pt x="753" y="668"/>
                    </a:cubicBezTo>
                    <a:cubicBezTo>
                      <a:pt x="756" y="670"/>
                      <a:pt x="756" y="670"/>
                      <a:pt x="756" y="670"/>
                    </a:cubicBezTo>
                    <a:cubicBezTo>
                      <a:pt x="757" y="674"/>
                      <a:pt x="757" y="674"/>
                      <a:pt x="757" y="674"/>
                    </a:cubicBezTo>
                    <a:cubicBezTo>
                      <a:pt x="761" y="679"/>
                      <a:pt x="761" y="679"/>
                      <a:pt x="761" y="679"/>
                    </a:cubicBezTo>
                    <a:cubicBezTo>
                      <a:pt x="762" y="683"/>
                      <a:pt x="762" y="683"/>
                      <a:pt x="762" y="683"/>
                    </a:cubicBezTo>
                    <a:cubicBezTo>
                      <a:pt x="760" y="685"/>
                      <a:pt x="760" y="685"/>
                      <a:pt x="760" y="685"/>
                    </a:cubicBezTo>
                    <a:cubicBezTo>
                      <a:pt x="763" y="689"/>
                      <a:pt x="763" y="689"/>
                      <a:pt x="763" y="689"/>
                    </a:cubicBezTo>
                    <a:cubicBezTo>
                      <a:pt x="767" y="690"/>
                      <a:pt x="767" y="690"/>
                      <a:pt x="767" y="690"/>
                    </a:cubicBezTo>
                    <a:cubicBezTo>
                      <a:pt x="773" y="693"/>
                      <a:pt x="773" y="693"/>
                      <a:pt x="773" y="693"/>
                    </a:cubicBezTo>
                    <a:cubicBezTo>
                      <a:pt x="778" y="692"/>
                      <a:pt x="778" y="692"/>
                      <a:pt x="778" y="692"/>
                    </a:cubicBezTo>
                    <a:cubicBezTo>
                      <a:pt x="781" y="691"/>
                      <a:pt x="781" y="691"/>
                      <a:pt x="781" y="691"/>
                    </a:cubicBezTo>
                    <a:cubicBezTo>
                      <a:pt x="787" y="690"/>
                      <a:pt x="787" y="690"/>
                      <a:pt x="787" y="690"/>
                    </a:cubicBezTo>
                    <a:cubicBezTo>
                      <a:pt x="788" y="688"/>
                      <a:pt x="788" y="688"/>
                      <a:pt x="788" y="688"/>
                    </a:cubicBezTo>
                    <a:cubicBezTo>
                      <a:pt x="790" y="687"/>
                      <a:pt x="790" y="687"/>
                      <a:pt x="790" y="687"/>
                    </a:cubicBezTo>
                    <a:cubicBezTo>
                      <a:pt x="788" y="686"/>
                      <a:pt x="788" y="686"/>
                      <a:pt x="788" y="686"/>
                    </a:cubicBezTo>
                    <a:cubicBezTo>
                      <a:pt x="784" y="687"/>
                      <a:pt x="784" y="687"/>
                      <a:pt x="784" y="687"/>
                    </a:cubicBezTo>
                    <a:cubicBezTo>
                      <a:pt x="783" y="684"/>
                      <a:pt x="783" y="684"/>
                      <a:pt x="783" y="684"/>
                    </a:cubicBezTo>
                    <a:cubicBezTo>
                      <a:pt x="780" y="689"/>
                      <a:pt x="780" y="689"/>
                      <a:pt x="780" y="689"/>
                    </a:cubicBezTo>
                    <a:cubicBezTo>
                      <a:pt x="774" y="689"/>
                      <a:pt x="774" y="689"/>
                      <a:pt x="774" y="689"/>
                    </a:cubicBezTo>
                    <a:cubicBezTo>
                      <a:pt x="772" y="686"/>
                      <a:pt x="772" y="686"/>
                      <a:pt x="772" y="686"/>
                    </a:cubicBezTo>
                    <a:cubicBezTo>
                      <a:pt x="767" y="686"/>
                      <a:pt x="767" y="686"/>
                      <a:pt x="767" y="686"/>
                    </a:cubicBezTo>
                    <a:cubicBezTo>
                      <a:pt x="765" y="682"/>
                      <a:pt x="765" y="682"/>
                      <a:pt x="765" y="682"/>
                    </a:cubicBezTo>
                    <a:cubicBezTo>
                      <a:pt x="766" y="679"/>
                      <a:pt x="766" y="679"/>
                      <a:pt x="766" y="679"/>
                    </a:cubicBezTo>
                    <a:cubicBezTo>
                      <a:pt x="764" y="678"/>
                      <a:pt x="764" y="678"/>
                      <a:pt x="764" y="678"/>
                    </a:cubicBezTo>
                    <a:cubicBezTo>
                      <a:pt x="761" y="673"/>
                      <a:pt x="761" y="673"/>
                      <a:pt x="761" y="673"/>
                    </a:cubicBezTo>
                    <a:cubicBezTo>
                      <a:pt x="762" y="666"/>
                      <a:pt x="762" y="666"/>
                      <a:pt x="762" y="666"/>
                    </a:cubicBezTo>
                    <a:cubicBezTo>
                      <a:pt x="765" y="665"/>
                      <a:pt x="765" y="665"/>
                      <a:pt x="765" y="665"/>
                    </a:cubicBezTo>
                    <a:cubicBezTo>
                      <a:pt x="768" y="663"/>
                      <a:pt x="768" y="663"/>
                      <a:pt x="768" y="663"/>
                    </a:cubicBezTo>
                    <a:cubicBezTo>
                      <a:pt x="766" y="661"/>
                      <a:pt x="766" y="661"/>
                      <a:pt x="766" y="661"/>
                    </a:cubicBezTo>
                    <a:cubicBezTo>
                      <a:pt x="765" y="658"/>
                      <a:pt x="765" y="658"/>
                      <a:pt x="765" y="658"/>
                    </a:cubicBezTo>
                    <a:cubicBezTo>
                      <a:pt x="764" y="657"/>
                      <a:pt x="764" y="657"/>
                      <a:pt x="764" y="657"/>
                    </a:cubicBezTo>
                    <a:cubicBezTo>
                      <a:pt x="762" y="654"/>
                      <a:pt x="762" y="654"/>
                      <a:pt x="762" y="654"/>
                    </a:cubicBezTo>
                    <a:cubicBezTo>
                      <a:pt x="757" y="651"/>
                      <a:pt x="757" y="651"/>
                      <a:pt x="757" y="651"/>
                    </a:cubicBezTo>
                    <a:cubicBezTo>
                      <a:pt x="756" y="648"/>
                      <a:pt x="756" y="648"/>
                      <a:pt x="756" y="648"/>
                    </a:cubicBezTo>
                    <a:cubicBezTo>
                      <a:pt x="752" y="642"/>
                      <a:pt x="752" y="642"/>
                      <a:pt x="752" y="642"/>
                    </a:cubicBezTo>
                    <a:cubicBezTo>
                      <a:pt x="745" y="643"/>
                      <a:pt x="745" y="643"/>
                      <a:pt x="745" y="643"/>
                    </a:cubicBezTo>
                    <a:cubicBezTo>
                      <a:pt x="736" y="639"/>
                      <a:pt x="736" y="639"/>
                      <a:pt x="736" y="639"/>
                    </a:cubicBezTo>
                    <a:cubicBezTo>
                      <a:pt x="734" y="635"/>
                      <a:pt x="734" y="635"/>
                      <a:pt x="734" y="635"/>
                    </a:cubicBezTo>
                    <a:cubicBezTo>
                      <a:pt x="730" y="636"/>
                      <a:pt x="730" y="636"/>
                      <a:pt x="730" y="636"/>
                    </a:cubicBezTo>
                    <a:cubicBezTo>
                      <a:pt x="723" y="632"/>
                      <a:pt x="723" y="632"/>
                      <a:pt x="723" y="632"/>
                    </a:cubicBezTo>
                    <a:cubicBezTo>
                      <a:pt x="719" y="633"/>
                      <a:pt x="719" y="633"/>
                      <a:pt x="719" y="633"/>
                    </a:cubicBezTo>
                    <a:cubicBezTo>
                      <a:pt x="715" y="632"/>
                      <a:pt x="715" y="632"/>
                      <a:pt x="715" y="632"/>
                    </a:cubicBezTo>
                    <a:cubicBezTo>
                      <a:pt x="710" y="637"/>
                      <a:pt x="710" y="637"/>
                      <a:pt x="710" y="637"/>
                    </a:cubicBezTo>
                    <a:cubicBezTo>
                      <a:pt x="709" y="642"/>
                      <a:pt x="709" y="642"/>
                      <a:pt x="709" y="642"/>
                    </a:cubicBezTo>
                    <a:cubicBezTo>
                      <a:pt x="706" y="644"/>
                      <a:pt x="706" y="644"/>
                      <a:pt x="706" y="644"/>
                    </a:cubicBezTo>
                    <a:cubicBezTo>
                      <a:pt x="699" y="642"/>
                      <a:pt x="699" y="642"/>
                      <a:pt x="699" y="642"/>
                    </a:cubicBezTo>
                    <a:cubicBezTo>
                      <a:pt x="694" y="645"/>
                      <a:pt x="694" y="645"/>
                      <a:pt x="694" y="645"/>
                    </a:cubicBezTo>
                    <a:cubicBezTo>
                      <a:pt x="688" y="643"/>
                      <a:pt x="688" y="643"/>
                      <a:pt x="688" y="643"/>
                    </a:cubicBezTo>
                    <a:cubicBezTo>
                      <a:pt x="686" y="641"/>
                      <a:pt x="686" y="641"/>
                      <a:pt x="686" y="641"/>
                    </a:cubicBezTo>
                    <a:cubicBezTo>
                      <a:pt x="687" y="636"/>
                      <a:pt x="687" y="636"/>
                      <a:pt x="687" y="636"/>
                    </a:cubicBezTo>
                    <a:cubicBezTo>
                      <a:pt x="686" y="632"/>
                      <a:pt x="686" y="632"/>
                      <a:pt x="686" y="632"/>
                    </a:cubicBezTo>
                    <a:cubicBezTo>
                      <a:pt x="679" y="625"/>
                      <a:pt x="679" y="625"/>
                      <a:pt x="679" y="625"/>
                    </a:cubicBezTo>
                    <a:cubicBezTo>
                      <a:pt x="677" y="621"/>
                      <a:pt x="677" y="621"/>
                      <a:pt x="677" y="621"/>
                    </a:cubicBezTo>
                    <a:cubicBezTo>
                      <a:pt x="677" y="612"/>
                      <a:pt x="677" y="612"/>
                      <a:pt x="677" y="612"/>
                    </a:cubicBezTo>
                    <a:cubicBezTo>
                      <a:pt x="673" y="606"/>
                      <a:pt x="673" y="606"/>
                      <a:pt x="673" y="606"/>
                    </a:cubicBezTo>
                    <a:cubicBezTo>
                      <a:pt x="674" y="601"/>
                      <a:pt x="674" y="601"/>
                      <a:pt x="674" y="601"/>
                    </a:cubicBezTo>
                    <a:cubicBezTo>
                      <a:pt x="675" y="589"/>
                      <a:pt x="675" y="589"/>
                      <a:pt x="675" y="589"/>
                    </a:cubicBezTo>
                    <a:cubicBezTo>
                      <a:pt x="672" y="581"/>
                      <a:pt x="672" y="581"/>
                      <a:pt x="672" y="581"/>
                    </a:cubicBezTo>
                    <a:cubicBezTo>
                      <a:pt x="667" y="577"/>
                      <a:pt x="667" y="577"/>
                      <a:pt x="667" y="577"/>
                    </a:cubicBezTo>
                    <a:cubicBezTo>
                      <a:pt x="662" y="577"/>
                      <a:pt x="662" y="577"/>
                      <a:pt x="662" y="577"/>
                    </a:cubicBezTo>
                    <a:cubicBezTo>
                      <a:pt x="661" y="572"/>
                      <a:pt x="661" y="572"/>
                      <a:pt x="661" y="572"/>
                    </a:cubicBezTo>
                    <a:cubicBezTo>
                      <a:pt x="652" y="565"/>
                      <a:pt x="652" y="565"/>
                      <a:pt x="652" y="565"/>
                    </a:cubicBezTo>
                    <a:cubicBezTo>
                      <a:pt x="644" y="561"/>
                      <a:pt x="644" y="561"/>
                      <a:pt x="644" y="561"/>
                    </a:cubicBezTo>
                    <a:cubicBezTo>
                      <a:pt x="644" y="556"/>
                      <a:pt x="644" y="556"/>
                      <a:pt x="644" y="556"/>
                    </a:cubicBezTo>
                    <a:cubicBezTo>
                      <a:pt x="647" y="549"/>
                      <a:pt x="647" y="549"/>
                      <a:pt x="647" y="549"/>
                    </a:cubicBezTo>
                    <a:cubicBezTo>
                      <a:pt x="646" y="543"/>
                      <a:pt x="646" y="543"/>
                      <a:pt x="646" y="543"/>
                    </a:cubicBezTo>
                    <a:cubicBezTo>
                      <a:pt x="643" y="541"/>
                      <a:pt x="643" y="541"/>
                      <a:pt x="643" y="541"/>
                    </a:cubicBezTo>
                    <a:cubicBezTo>
                      <a:pt x="643" y="538"/>
                      <a:pt x="643" y="538"/>
                      <a:pt x="643" y="538"/>
                    </a:cubicBezTo>
                    <a:cubicBezTo>
                      <a:pt x="647" y="534"/>
                      <a:pt x="647" y="534"/>
                      <a:pt x="647" y="534"/>
                    </a:cubicBezTo>
                    <a:cubicBezTo>
                      <a:pt x="653" y="527"/>
                      <a:pt x="653" y="527"/>
                      <a:pt x="653" y="527"/>
                    </a:cubicBezTo>
                    <a:cubicBezTo>
                      <a:pt x="655" y="519"/>
                      <a:pt x="655" y="519"/>
                      <a:pt x="655" y="519"/>
                    </a:cubicBezTo>
                    <a:cubicBezTo>
                      <a:pt x="653" y="509"/>
                      <a:pt x="653" y="509"/>
                      <a:pt x="653" y="509"/>
                    </a:cubicBezTo>
                    <a:cubicBezTo>
                      <a:pt x="645" y="494"/>
                      <a:pt x="645" y="494"/>
                      <a:pt x="645" y="494"/>
                    </a:cubicBezTo>
                    <a:cubicBezTo>
                      <a:pt x="647" y="493"/>
                      <a:pt x="647" y="493"/>
                      <a:pt x="647" y="493"/>
                    </a:cubicBezTo>
                    <a:cubicBezTo>
                      <a:pt x="653" y="497"/>
                      <a:pt x="653" y="497"/>
                      <a:pt x="653" y="497"/>
                    </a:cubicBezTo>
                    <a:cubicBezTo>
                      <a:pt x="653" y="502"/>
                      <a:pt x="653" y="502"/>
                      <a:pt x="653" y="502"/>
                    </a:cubicBezTo>
                    <a:cubicBezTo>
                      <a:pt x="656" y="502"/>
                      <a:pt x="656" y="502"/>
                      <a:pt x="656" y="502"/>
                    </a:cubicBezTo>
                    <a:cubicBezTo>
                      <a:pt x="658" y="504"/>
                      <a:pt x="658" y="504"/>
                      <a:pt x="658" y="504"/>
                    </a:cubicBezTo>
                    <a:cubicBezTo>
                      <a:pt x="658" y="510"/>
                      <a:pt x="658" y="510"/>
                      <a:pt x="658" y="510"/>
                    </a:cubicBezTo>
                    <a:cubicBezTo>
                      <a:pt x="662" y="514"/>
                      <a:pt x="662" y="514"/>
                      <a:pt x="662" y="514"/>
                    </a:cubicBezTo>
                    <a:cubicBezTo>
                      <a:pt x="662" y="522"/>
                      <a:pt x="662" y="522"/>
                      <a:pt x="662" y="522"/>
                    </a:cubicBezTo>
                    <a:cubicBezTo>
                      <a:pt x="665" y="527"/>
                      <a:pt x="665" y="527"/>
                      <a:pt x="665" y="527"/>
                    </a:cubicBezTo>
                    <a:cubicBezTo>
                      <a:pt x="663" y="532"/>
                      <a:pt x="663" y="532"/>
                      <a:pt x="663" y="532"/>
                    </a:cubicBezTo>
                    <a:cubicBezTo>
                      <a:pt x="666" y="536"/>
                      <a:pt x="666" y="536"/>
                      <a:pt x="666" y="536"/>
                    </a:cubicBezTo>
                    <a:cubicBezTo>
                      <a:pt x="671" y="541"/>
                      <a:pt x="671" y="541"/>
                      <a:pt x="671" y="541"/>
                    </a:cubicBezTo>
                    <a:cubicBezTo>
                      <a:pt x="671" y="544"/>
                      <a:pt x="671" y="544"/>
                      <a:pt x="671" y="544"/>
                    </a:cubicBezTo>
                    <a:cubicBezTo>
                      <a:pt x="675" y="547"/>
                      <a:pt x="675" y="547"/>
                      <a:pt x="675" y="547"/>
                    </a:cubicBezTo>
                    <a:cubicBezTo>
                      <a:pt x="675" y="549"/>
                      <a:pt x="675" y="549"/>
                      <a:pt x="675" y="549"/>
                    </a:cubicBezTo>
                    <a:cubicBezTo>
                      <a:pt x="671" y="551"/>
                      <a:pt x="671" y="551"/>
                      <a:pt x="671" y="551"/>
                    </a:cubicBezTo>
                    <a:cubicBezTo>
                      <a:pt x="673" y="554"/>
                      <a:pt x="673" y="554"/>
                      <a:pt x="673" y="554"/>
                    </a:cubicBezTo>
                    <a:cubicBezTo>
                      <a:pt x="678" y="554"/>
                      <a:pt x="678" y="554"/>
                      <a:pt x="678" y="554"/>
                    </a:cubicBezTo>
                    <a:cubicBezTo>
                      <a:pt x="683" y="557"/>
                      <a:pt x="683" y="557"/>
                      <a:pt x="683" y="557"/>
                    </a:cubicBezTo>
                    <a:cubicBezTo>
                      <a:pt x="690" y="557"/>
                      <a:pt x="690" y="557"/>
                      <a:pt x="690" y="557"/>
                    </a:cubicBezTo>
                    <a:cubicBezTo>
                      <a:pt x="694" y="555"/>
                      <a:pt x="694" y="555"/>
                      <a:pt x="694" y="555"/>
                    </a:cubicBezTo>
                    <a:cubicBezTo>
                      <a:pt x="697" y="558"/>
                      <a:pt x="697" y="558"/>
                      <a:pt x="697" y="558"/>
                    </a:cubicBezTo>
                    <a:cubicBezTo>
                      <a:pt x="699" y="561"/>
                      <a:pt x="699" y="561"/>
                      <a:pt x="699" y="561"/>
                    </a:cubicBezTo>
                    <a:cubicBezTo>
                      <a:pt x="702" y="557"/>
                      <a:pt x="702" y="557"/>
                      <a:pt x="702" y="557"/>
                    </a:cubicBezTo>
                    <a:cubicBezTo>
                      <a:pt x="706" y="556"/>
                      <a:pt x="706" y="556"/>
                      <a:pt x="706" y="556"/>
                    </a:cubicBezTo>
                    <a:cubicBezTo>
                      <a:pt x="710" y="554"/>
                      <a:pt x="710" y="554"/>
                      <a:pt x="710" y="554"/>
                    </a:cubicBezTo>
                    <a:cubicBezTo>
                      <a:pt x="713" y="555"/>
                      <a:pt x="713" y="555"/>
                      <a:pt x="713" y="555"/>
                    </a:cubicBezTo>
                    <a:cubicBezTo>
                      <a:pt x="719" y="561"/>
                      <a:pt x="719" y="561"/>
                      <a:pt x="719" y="561"/>
                    </a:cubicBezTo>
                    <a:cubicBezTo>
                      <a:pt x="722" y="561"/>
                      <a:pt x="722" y="561"/>
                      <a:pt x="722" y="561"/>
                    </a:cubicBezTo>
                    <a:cubicBezTo>
                      <a:pt x="727" y="564"/>
                      <a:pt x="727" y="564"/>
                      <a:pt x="727" y="564"/>
                    </a:cubicBezTo>
                    <a:cubicBezTo>
                      <a:pt x="735" y="563"/>
                      <a:pt x="735" y="563"/>
                      <a:pt x="735" y="563"/>
                    </a:cubicBezTo>
                    <a:cubicBezTo>
                      <a:pt x="738" y="559"/>
                      <a:pt x="738" y="559"/>
                      <a:pt x="738" y="559"/>
                    </a:cubicBezTo>
                    <a:cubicBezTo>
                      <a:pt x="735" y="561"/>
                      <a:pt x="735" y="561"/>
                      <a:pt x="735" y="561"/>
                    </a:cubicBezTo>
                    <a:cubicBezTo>
                      <a:pt x="727" y="561"/>
                      <a:pt x="727" y="561"/>
                      <a:pt x="727" y="561"/>
                    </a:cubicBezTo>
                    <a:cubicBezTo>
                      <a:pt x="726" y="557"/>
                      <a:pt x="726" y="557"/>
                      <a:pt x="726" y="557"/>
                    </a:cubicBezTo>
                    <a:cubicBezTo>
                      <a:pt x="723" y="556"/>
                      <a:pt x="723" y="556"/>
                      <a:pt x="723" y="556"/>
                    </a:cubicBezTo>
                    <a:cubicBezTo>
                      <a:pt x="721" y="551"/>
                      <a:pt x="721" y="551"/>
                      <a:pt x="721" y="551"/>
                    </a:cubicBezTo>
                    <a:cubicBezTo>
                      <a:pt x="715" y="551"/>
                      <a:pt x="715" y="551"/>
                      <a:pt x="715" y="551"/>
                    </a:cubicBezTo>
                    <a:cubicBezTo>
                      <a:pt x="714" y="548"/>
                      <a:pt x="714" y="548"/>
                      <a:pt x="714" y="548"/>
                    </a:cubicBezTo>
                    <a:cubicBezTo>
                      <a:pt x="712" y="548"/>
                      <a:pt x="712" y="548"/>
                      <a:pt x="712" y="548"/>
                    </a:cubicBezTo>
                    <a:cubicBezTo>
                      <a:pt x="710" y="550"/>
                      <a:pt x="710" y="550"/>
                      <a:pt x="710" y="550"/>
                    </a:cubicBezTo>
                    <a:cubicBezTo>
                      <a:pt x="700" y="549"/>
                      <a:pt x="700" y="549"/>
                      <a:pt x="700" y="549"/>
                    </a:cubicBezTo>
                    <a:cubicBezTo>
                      <a:pt x="697" y="547"/>
                      <a:pt x="697" y="547"/>
                      <a:pt x="697" y="547"/>
                    </a:cubicBezTo>
                    <a:cubicBezTo>
                      <a:pt x="690" y="546"/>
                      <a:pt x="690" y="546"/>
                      <a:pt x="690" y="546"/>
                    </a:cubicBezTo>
                    <a:cubicBezTo>
                      <a:pt x="684" y="541"/>
                      <a:pt x="684" y="541"/>
                      <a:pt x="684" y="541"/>
                    </a:cubicBezTo>
                    <a:cubicBezTo>
                      <a:pt x="682" y="536"/>
                      <a:pt x="682" y="536"/>
                      <a:pt x="682" y="536"/>
                    </a:cubicBezTo>
                    <a:cubicBezTo>
                      <a:pt x="680" y="536"/>
                      <a:pt x="680" y="536"/>
                      <a:pt x="680" y="536"/>
                    </a:cubicBezTo>
                    <a:cubicBezTo>
                      <a:pt x="674" y="527"/>
                      <a:pt x="674" y="527"/>
                      <a:pt x="674" y="527"/>
                    </a:cubicBezTo>
                    <a:cubicBezTo>
                      <a:pt x="677" y="526"/>
                      <a:pt x="677" y="526"/>
                      <a:pt x="677" y="526"/>
                    </a:cubicBezTo>
                    <a:cubicBezTo>
                      <a:pt x="679" y="524"/>
                      <a:pt x="679" y="524"/>
                      <a:pt x="679" y="524"/>
                    </a:cubicBezTo>
                    <a:cubicBezTo>
                      <a:pt x="684" y="520"/>
                      <a:pt x="684" y="520"/>
                      <a:pt x="684" y="520"/>
                    </a:cubicBezTo>
                    <a:cubicBezTo>
                      <a:pt x="687" y="520"/>
                      <a:pt x="687" y="520"/>
                      <a:pt x="687" y="520"/>
                    </a:cubicBezTo>
                    <a:cubicBezTo>
                      <a:pt x="692" y="526"/>
                      <a:pt x="692" y="526"/>
                      <a:pt x="692" y="526"/>
                    </a:cubicBezTo>
                    <a:cubicBezTo>
                      <a:pt x="701" y="530"/>
                      <a:pt x="701" y="530"/>
                      <a:pt x="701" y="530"/>
                    </a:cubicBezTo>
                    <a:cubicBezTo>
                      <a:pt x="706" y="529"/>
                      <a:pt x="706" y="529"/>
                      <a:pt x="706" y="529"/>
                    </a:cubicBezTo>
                    <a:cubicBezTo>
                      <a:pt x="710" y="521"/>
                      <a:pt x="710" y="521"/>
                      <a:pt x="710" y="521"/>
                    </a:cubicBezTo>
                    <a:cubicBezTo>
                      <a:pt x="707" y="514"/>
                      <a:pt x="707" y="514"/>
                      <a:pt x="707" y="514"/>
                    </a:cubicBezTo>
                    <a:cubicBezTo>
                      <a:pt x="700" y="513"/>
                      <a:pt x="700" y="513"/>
                      <a:pt x="700" y="513"/>
                    </a:cubicBezTo>
                    <a:cubicBezTo>
                      <a:pt x="693" y="517"/>
                      <a:pt x="693" y="517"/>
                      <a:pt x="693" y="517"/>
                    </a:cubicBezTo>
                    <a:cubicBezTo>
                      <a:pt x="691" y="514"/>
                      <a:pt x="691" y="514"/>
                      <a:pt x="691" y="514"/>
                    </a:cubicBezTo>
                    <a:cubicBezTo>
                      <a:pt x="692" y="512"/>
                      <a:pt x="692" y="512"/>
                      <a:pt x="692" y="512"/>
                    </a:cubicBezTo>
                    <a:cubicBezTo>
                      <a:pt x="694" y="513"/>
                      <a:pt x="694" y="513"/>
                      <a:pt x="694" y="513"/>
                    </a:cubicBezTo>
                    <a:cubicBezTo>
                      <a:pt x="696" y="512"/>
                      <a:pt x="696" y="512"/>
                      <a:pt x="696" y="512"/>
                    </a:cubicBezTo>
                    <a:cubicBezTo>
                      <a:pt x="697" y="507"/>
                      <a:pt x="697" y="507"/>
                      <a:pt x="697" y="507"/>
                    </a:cubicBezTo>
                    <a:cubicBezTo>
                      <a:pt x="701" y="500"/>
                      <a:pt x="701" y="500"/>
                      <a:pt x="701" y="500"/>
                    </a:cubicBezTo>
                    <a:cubicBezTo>
                      <a:pt x="706" y="498"/>
                      <a:pt x="706" y="498"/>
                      <a:pt x="706" y="498"/>
                    </a:cubicBezTo>
                    <a:cubicBezTo>
                      <a:pt x="709" y="500"/>
                      <a:pt x="709" y="500"/>
                      <a:pt x="709" y="500"/>
                    </a:cubicBezTo>
                    <a:cubicBezTo>
                      <a:pt x="723" y="499"/>
                      <a:pt x="723" y="499"/>
                      <a:pt x="723" y="499"/>
                    </a:cubicBezTo>
                    <a:cubicBezTo>
                      <a:pt x="727" y="504"/>
                      <a:pt x="727" y="504"/>
                      <a:pt x="727" y="504"/>
                    </a:cubicBezTo>
                    <a:cubicBezTo>
                      <a:pt x="732" y="507"/>
                      <a:pt x="732" y="507"/>
                      <a:pt x="732" y="507"/>
                    </a:cubicBezTo>
                    <a:cubicBezTo>
                      <a:pt x="743" y="508"/>
                      <a:pt x="743" y="508"/>
                      <a:pt x="743" y="508"/>
                    </a:cubicBezTo>
                    <a:cubicBezTo>
                      <a:pt x="744" y="512"/>
                      <a:pt x="744" y="512"/>
                      <a:pt x="744" y="512"/>
                    </a:cubicBezTo>
                    <a:cubicBezTo>
                      <a:pt x="749" y="514"/>
                      <a:pt x="749" y="514"/>
                      <a:pt x="749" y="514"/>
                    </a:cubicBezTo>
                    <a:cubicBezTo>
                      <a:pt x="757" y="522"/>
                      <a:pt x="757" y="522"/>
                      <a:pt x="757" y="522"/>
                    </a:cubicBezTo>
                    <a:cubicBezTo>
                      <a:pt x="762" y="522"/>
                      <a:pt x="762" y="522"/>
                      <a:pt x="762" y="522"/>
                    </a:cubicBezTo>
                    <a:cubicBezTo>
                      <a:pt x="772" y="521"/>
                      <a:pt x="772" y="521"/>
                      <a:pt x="772" y="521"/>
                    </a:cubicBezTo>
                    <a:cubicBezTo>
                      <a:pt x="780" y="516"/>
                      <a:pt x="780" y="516"/>
                      <a:pt x="780" y="516"/>
                    </a:cubicBezTo>
                    <a:cubicBezTo>
                      <a:pt x="783" y="519"/>
                      <a:pt x="783" y="519"/>
                      <a:pt x="783" y="519"/>
                    </a:cubicBezTo>
                    <a:cubicBezTo>
                      <a:pt x="785" y="519"/>
                      <a:pt x="785" y="519"/>
                      <a:pt x="785" y="519"/>
                    </a:cubicBezTo>
                    <a:cubicBezTo>
                      <a:pt x="789" y="519"/>
                      <a:pt x="789" y="519"/>
                      <a:pt x="789" y="519"/>
                    </a:cubicBezTo>
                    <a:cubicBezTo>
                      <a:pt x="788" y="526"/>
                      <a:pt x="788" y="526"/>
                      <a:pt x="788" y="526"/>
                    </a:cubicBezTo>
                    <a:cubicBezTo>
                      <a:pt x="789" y="529"/>
                      <a:pt x="789" y="529"/>
                      <a:pt x="789" y="529"/>
                    </a:cubicBezTo>
                    <a:cubicBezTo>
                      <a:pt x="789" y="532"/>
                      <a:pt x="789" y="532"/>
                      <a:pt x="789" y="532"/>
                    </a:cubicBezTo>
                    <a:cubicBezTo>
                      <a:pt x="783" y="535"/>
                      <a:pt x="783" y="535"/>
                      <a:pt x="783" y="535"/>
                    </a:cubicBezTo>
                    <a:cubicBezTo>
                      <a:pt x="783" y="540"/>
                      <a:pt x="783" y="540"/>
                      <a:pt x="783" y="540"/>
                    </a:cubicBezTo>
                    <a:cubicBezTo>
                      <a:pt x="786" y="544"/>
                      <a:pt x="786" y="544"/>
                      <a:pt x="786" y="544"/>
                    </a:cubicBezTo>
                    <a:cubicBezTo>
                      <a:pt x="786" y="551"/>
                      <a:pt x="786" y="551"/>
                      <a:pt x="786" y="551"/>
                    </a:cubicBezTo>
                    <a:cubicBezTo>
                      <a:pt x="792" y="555"/>
                      <a:pt x="792" y="555"/>
                      <a:pt x="792" y="555"/>
                    </a:cubicBezTo>
                    <a:cubicBezTo>
                      <a:pt x="792" y="560"/>
                      <a:pt x="792" y="560"/>
                      <a:pt x="792" y="560"/>
                    </a:cubicBezTo>
                    <a:cubicBezTo>
                      <a:pt x="790" y="563"/>
                      <a:pt x="790" y="563"/>
                      <a:pt x="790" y="563"/>
                    </a:cubicBezTo>
                    <a:cubicBezTo>
                      <a:pt x="792" y="574"/>
                      <a:pt x="792" y="574"/>
                      <a:pt x="792" y="574"/>
                    </a:cubicBezTo>
                    <a:cubicBezTo>
                      <a:pt x="794" y="574"/>
                      <a:pt x="794" y="574"/>
                      <a:pt x="794" y="574"/>
                    </a:cubicBezTo>
                    <a:cubicBezTo>
                      <a:pt x="795" y="570"/>
                      <a:pt x="795" y="570"/>
                      <a:pt x="795" y="570"/>
                    </a:cubicBezTo>
                    <a:cubicBezTo>
                      <a:pt x="794" y="568"/>
                      <a:pt x="794" y="568"/>
                      <a:pt x="794" y="568"/>
                    </a:cubicBezTo>
                    <a:cubicBezTo>
                      <a:pt x="796" y="565"/>
                      <a:pt x="796" y="565"/>
                      <a:pt x="796" y="565"/>
                    </a:cubicBezTo>
                    <a:cubicBezTo>
                      <a:pt x="796" y="560"/>
                      <a:pt x="796" y="560"/>
                      <a:pt x="796" y="560"/>
                    </a:cubicBezTo>
                    <a:cubicBezTo>
                      <a:pt x="799" y="559"/>
                      <a:pt x="799" y="559"/>
                      <a:pt x="799" y="559"/>
                    </a:cubicBezTo>
                    <a:cubicBezTo>
                      <a:pt x="801" y="553"/>
                      <a:pt x="801" y="553"/>
                      <a:pt x="801" y="553"/>
                    </a:cubicBezTo>
                    <a:cubicBezTo>
                      <a:pt x="804" y="556"/>
                      <a:pt x="804" y="556"/>
                      <a:pt x="804" y="556"/>
                    </a:cubicBezTo>
                    <a:cubicBezTo>
                      <a:pt x="806" y="562"/>
                      <a:pt x="806" y="562"/>
                      <a:pt x="806" y="562"/>
                    </a:cubicBezTo>
                    <a:cubicBezTo>
                      <a:pt x="807" y="571"/>
                      <a:pt x="807" y="571"/>
                      <a:pt x="807" y="571"/>
                    </a:cubicBezTo>
                    <a:cubicBezTo>
                      <a:pt x="808" y="574"/>
                      <a:pt x="808" y="574"/>
                      <a:pt x="808" y="574"/>
                    </a:cubicBezTo>
                    <a:cubicBezTo>
                      <a:pt x="805" y="575"/>
                      <a:pt x="805" y="575"/>
                      <a:pt x="805" y="575"/>
                    </a:cubicBezTo>
                    <a:cubicBezTo>
                      <a:pt x="805" y="580"/>
                      <a:pt x="805" y="580"/>
                      <a:pt x="805" y="580"/>
                    </a:cubicBezTo>
                    <a:cubicBezTo>
                      <a:pt x="804" y="581"/>
                      <a:pt x="804" y="581"/>
                      <a:pt x="804" y="581"/>
                    </a:cubicBezTo>
                    <a:cubicBezTo>
                      <a:pt x="810" y="585"/>
                      <a:pt x="810" y="585"/>
                      <a:pt x="810" y="585"/>
                    </a:cubicBezTo>
                    <a:cubicBezTo>
                      <a:pt x="817" y="585"/>
                      <a:pt x="817" y="585"/>
                      <a:pt x="817" y="585"/>
                    </a:cubicBezTo>
                    <a:cubicBezTo>
                      <a:pt x="823" y="587"/>
                      <a:pt x="823" y="587"/>
                      <a:pt x="823" y="587"/>
                    </a:cubicBezTo>
                    <a:cubicBezTo>
                      <a:pt x="826" y="591"/>
                      <a:pt x="826" y="591"/>
                      <a:pt x="826" y="591"/>
                    </a:cubicBezTo>
                    <a:cubicBezTo>
                      <a:pt x="826" y="595"/>
                      <a:pt x="826" y="595"/>
                      <a:pt x="826" y="595"/>
                    </a:cubicBezTo>
                    <a:cubicBezTo>
                      <a:pt x="830" y="598"/>
                      <a:pt x="830" y="598"/>
                      <a:pt x="830" y="598"/>
                    </a:cubicBezTo>
                    <a:cubicBezTo>
                      <a:pt x="838" y="598"/>
                      <a:pt x="838" y="598"/>
                      <a:pt x="838" y="598"/>
                    </a:cubicBezTo>
                    <a:cubicBezTo>
                      <a:pt x="846" y="606"/>
                      <a:pt x="846" y="606"/>
                      <a:pt x="846" y="606"/>
                    </a:cubicBezTo>
                    <a:cubicBezTo>
                      <a:pt x="845" y="603"/>
                      <a:pt x="845" y="603"/>
                      <a:pt x="845" y="603"/>
                    </a:cubicBezTo>
                    <a:cubicBezTo>
                      <a:pt x="845" y="598"/>
                      <a:pt x="845" y="598"/>
                      <a:pt x="845" y="598"/>
                    </a:cubicBezTo>
                    <a:cubicBezTo>
                      <a:pt x="851" y="592"/>
                      <a:pt x="851" y="592"/>
                      <a:pt x="851" y="592"/>
                    </a:cubicBezTo>
                    <a:cubicBezTo>
                      <a:pt x="855" y="592"/>
                      <a:pt x="855" y="592"/>
                      <a:pt x="855" y="592"/>
                    </a:cubicBezTo>
                    <a:cubicBezTo>
                      <a:pt x="863" y="599"/>
                      <a:pt x="863" y="599"/>
                      <a:pt x="863" y="599"/>
                    </a:cubicBezTo>
                    <a:cubicBezTo>
                      <a:pt x="869" y="599"/>
                      <a:pt x="869" y="599"/>
                      <a:pt x="869" y="599"/>
                    </a:cubicBezTo>
                    <a:cubicBezTo>
                      <a:pt x="872" y="602"/>
                      <a:pt x="872" y="602"/>
                      <a:pt x="872" y="602"/>
                    </a:cubicBezTo>
                    <a:cubicBezTo>
                      <a:pt x="874" y="609"/>
                      <a:pt x="874" y="609"/>
                      <a:pt x="874" y="609"/>
                    </a:cubicBezTo>
                    <a:cubicBezTo>
                      <a:pt x="873" y="602"/>
                      <a:pt x="873" y="602"/>
                      <a:pt x="873" y="602"/>
                    </a:cubicBezTo>
                    <a:cubicBezTo>
                      <a:pt x="871" y="597"/>
                      <a:pt x="871" y="597"/>
                      <a:pt x="871" y="597"/>
                    </a:cubicBezTo>
                    <a:cubicBezTo>
                      <a:pt x="868" y="597"/>
                      <a:pt x="868" y="597"/>
                      <a:pt x="868" y="597"/>
                    </a:cubicBezTo>
                    <a:cubicBezTo>
                      <a:pt x="862" y="595"/>
                      <a:pt x="862" y="595"/>
                      <a:pt x="862" y="595"/>
                    </a:cubicBezTo>
                    <a:cubicBezTo>
                      <a:pt x="855" y="590"/>
                      <a:pt x="855" y="590"/>
                      <a:pt x="855" y="590"/>
                    </a:cubicBezTo>
                    <a:cubicBezTo>
                      <a:pt x="849" y="591"/>
                      <a:pt x="849" y="591"/>
                      <a:pt x="849" y="591"/>
                    </a:cubicBezTo>
                    <a:cubicBezTo>
                      <a:pt x="843" y="596"/>
                      <a:pt x="843" y="596"/>
                      <a:pt x="843" y="596"/>
                    </a:cubicBezTo>
                    <a:cubicBezTo>
                      <a:pt x="840" y="595"/>
                      <a:pt x="840" y="595"/>
                      <a:pt x="840" y="595"/>
                    </a:cubicBezTo>
                    <a:cubicBezTo>
                      <a:pt x="839" y="596"/>
                      <a:pt x="839" y="596"/>
                      <a:pt x="839" y="596"/>
                    </a:cubicBezTo>
                    <a:cubicBezTo>
                      <a:pt x="832" y="593"/>
                      <a:pt x="832" y="593"/>
                      <a:pt x="832" y="593"/>
                    </a:cubicBezTo>
                    <a:cubicBezTo>
                      <a:pt x="825" y="586"/>
                      <a:pt x="825" y="586"/>
                      <a:pt x="825" y="586"/>
                    </a:cubicBezTo>
                    <a:cubicBezTo>
                      <a:pt x="821" y="583"/>
                      <a:pt x="821" y="583"/>
                      <a:pt x="821" y="583"/>
                    </a:cubicBezTo>
                    <a:cubicBezTo>
                      <a:pt x="815" y="583"/>
                      <a:pt x="815" y="583"/>
                      <a:pt x="815" y="583"/>
                    </a:cubicBezTo>
                    <a:cubicBezTo>
                      <a:pt x="811" y="577"/>
                      <a:pt x="811" y="577"/>
                      <a:pt x="811" y="577"/>
                    </a:cubicBezTo>
                    <a:cubicBezTo>
                      <a:pt x="814" y="578"/>
                      <a:pt x="814" y="578"/>
                      <a:pt x="814" y="578"/>
                    </a:cubicBezTo>
                    <a:cubicBezTo>
                      <a:pt x="816" y="578"/>
                      <a:pt x="816" y="578"/>
                      <a:pt x="816" y="578"/>
                    </a:cubicBezTo>
                    <a:cubicBezTo>
                      <a:pt x="821" y="570"/>
                      <a:pt x="821" y="570"/>
                      <a:pt x="821" y="570"/>
                    </a:cubicBezTo>
                    <a:cubicBezTo>
                      <a:pt x="819" y="566"/>
                      <a:pt x="819" y="566"/>
                      <a:pt x="819" y="566"/>
                    </a:cubicBezTo>
                    <a:cubicBezTo>
                      <a:pt x="814" y="561"/>
                      <a:pt x="814" y="561"/>
                      <a:pt x="814" y="561"/>
                    </a:cubicBezTo>
                    <a:cubicBezTo>
                      <a:pt x="812" y="553"/>
                      <a:pt x="812" y="553"/>
                      <a:pt x="812" y="553"/>
                    </a:cubicBezTo>
                    <a:cubicBezTo>
                      <a:pt x="806" y="545"/>
                      <a:pt x="806" y="545"/>
                      <a:pt x="806" y="545"/>
                    </a:cubicBezTo>
                    <a:cubicBezTo>
                      <a:pt x="802" y="542"/>
                      <a:pt x="802" y="542"/>
                      <a:pt x="802" y="542"/>
                    </a:cubicBezTo>
                    <a:cubicBezTo>
                      <a:pt x="798" y="537"/>
                      <a:pt x="798" y="537"/>
                      <a:pt x="798" y="537"/>
                    </a:cubicBezTo>
                    <a:cubicBezTo>
                      <a:pt x="799" y="533"/>
                      <a:pt x="799" y="533"/>
                      <a:pt x="799" y="533"/>
                    </a:cubicBezTo>
                    <a:cubicBezTo>
                      <a:pt x="797" y="529"/>
                      <a:pt x="797" y="529"/>
                      <a:pt x="797" y="529"/>
                    </a:cubicBezTo>
                    <a:cubicBezTo>
                      <a:pt x="796" y="519"/>
                      <a:pt x="796" y="519"/>
                      <a:pt x="796" y="519"/>
                    </a:cubicBezTo>
                    <a:cubicBezTo>
                      <a:pt x="792" y="515"/>
                      <a:pt x="792" y="515"/>
                      <a:pt x="792" y="515"/>
                    </a:cubicBezTo>
                    <a:cubicBezTo>
                      <a:pt x="790" y="515"/>
                      <a:pt x="790" y="515"/>
                      <a:pt x="790" y="515"/>
                    </a:cubicBezTo>
                    <a:cubicBezTo>
                      <a:pt x="783" y="511"/>
                      <a:pt x="783" y="511"/>
                      <a:pt x="783" y="511"/>
                    </a:cubicBezTo>
                    <a:cubicBezTo>
                      <a:pt x="773" y="510"/>
                      <a:pt x="773" y="510"/>
                      <a:pt x="773" y="510"/>
                    </a:cubicBezTo>
                    <a:cubicBezTo>
                      <a:pt x="770" y="505"/>
                      <a:pt x="770" y="505"/>
                      <a:pt x="770" y="505"/>
                    </a:cubicBezTo>
                    <a:cubicBezTo>
                      <a:pt x="764" y="502"/>
                      <a:pt x="764" y="502"/>
                      <a:pt x="764" y="502"/>
                    </a:cubicBezTo>
                    <a:cubicBezTo>
                      <a:pt x="764" y="497"/>
                      <a:pt x="764" y="497"/>
                      <a:pt x="764" y="497"/>
                    </a:cubicBezTo>
                    <a:cubicBezTo>
                      <a:pt x="763" y="494"/>
                      <a:pt x="763" y="494"/>
                      <a:pt x="763" y="494"/>
                    </a:cubicBezTo>
                    <a:cubicBezTo>
                      <a:pt x="763" y="491"/>
                      <a:pt x="763" y="491"/>
                      <a:pt x="763" y="491"/>
                    </a:cubicBezTo>
                    <a:cubicBezTo>
                      <a:pt x="758" y="494"/>
                      <a:pt x="758" y="494"/>
                      <a:pt x="758" y="494"/>
                    </a:cubicBezTo>
                    <a:cubicBezTo>
                      <a:pt x="745" y="494"/>
                      <a:pt x="745" y="494"/>
                      <a:pt x="745" y="494"/>
                    </a:cubicBezTo>
                    <a:cubicBezTo>
                      <a:pt x="740" y="494"/>
                      <a:pt x="740" y="494"/>
                      <a:pt x="740" y="494"/>
                    </a:cubicBezTo>
                    <a:cubicBezTo>
                      <a:pt x="735" y="491"/>
                      <a:pt x="735" y="491"/>
                      <a:pt x="735" y="491"/>
                    </a:cubicBezTo>
                    <a:cubicBezTo>
                      <a:pt x="734" y="486"/>
                      <a:pt x="734" y="486"/>
                      <a:pt x="734" y="486"/>
                    </a:cubicBezTo>
                    <a:cubicBezTo>
                      <a:pt x="732" y="486"/>
                      <a:pt x="732" y="486"/>
                      <a:pt x="732" y="486"/>
                    </a:cubicBezTo>
                    <a:cubicBezTo>
                      <a:pt x="731" y="482"/>
                      <a:pt x="731" y="482"/>
                      <a:pt x="731" y="482"/>
                    </a:cubicBezTo>
                    <a:cubicBezTo>
                      <a:pt x="731" y="476"/>
                      <a:pt x="731" y="476"/>
                      <a:pt x="731" y="476"/>
                    </a:cubicBezTo>
                    <a:cubicBezTo>
                      <a:pt x="726" y="467"/>
                      <a:pt x="726" y="467"/>
                      <a:pt x="726" y="467"/>
                    </a:cubicBezTo>
                    <a:cubicBezTo>
                      <a:pt x="719" y="464"/>
                      <a:pt x="719" y="464"/>
                      <a:pt x="719" y="464"/>
                    </a:cubicBezTo>
                    <a:cubicBezTo>
                      <a:pt x="721" y="461"/>
                      <a:pt x="721" y="461"/>
                      <a:pt x="721" y="461"/>
                    </a:cubicBezTo>
                    <a:cubicBezTo>
                      <a:pt x="720" y="458"/>
                      <a:pt x="720" y="458"/>
                      <a:pt x="720" y="458"/>
                    </a:cubicBezTo>
                    <a:cubicBezTo>
                      <a:pt x="717" y="458"/>
                      <a:pt x="717" y="458"/>
                      <a:pt x="717" y="458"/>
                    </a:cubicBezTo>
                    <a:cubicBezTo>
                      <a:pt x="715" y="456"/>
                      <a:pt x="715" y="456"/>
                      <a:pt x="715" y="456"/>
                    </a:cubicBezTo>
                    <a:cubicBezTo>
                      <a:pt x="716" y="452"/>
                      <a:pt x="716" y="452"/>
                      <a:pt x="716" y="452"/>
                    </a:cubicBezTo>
                    <a:cubicBezTo>
                      <a:pt x="716" y="448"/>
                      <a:pt x="716" y="448"/>
                      <a:pt x="716" y="448"/>
                    </a:cubicBezTo>
                    <a:cubicBezTo>
                      <a:pt x="711" y="445"/>
                      <a:pt x="711" y="445"/>
                      <a:pt x="711" y="445"/>
                    </a:cubicBezTo>
                    <a:cubicBezTo>
                      <a:pt x="714" y="443"/>
                      <a:pt x="714" y="443"/>
                      <a:pt x="714" y="443"/>
                    </a:cubicBezTo>
                    <a:cubicBezTo>
                      <a:pt x="720" y="442"/>
                      <a:pt x="720" y="442"/>
                      <a:pt x="720" y="442"/>
                    </a:cubicBezTo>
                    <a:cubicBezTo>
                      <a:pt x="724" y="438"/>
                      <a:pt x="724" y="438"/>
                      <a:pt x="724" y="438"/>
                    </a:cubicBezTo>
                    <a:cubicBezTo>
                      <a:pt x="729" y="438"/>
                      <a:pt x="729" y="438"/>
                      <a:pt x="729" y="438"/>
                    </a:cubicBezTo>
                    <a:cubicBezTo>
                      <a:pt x="740" y="435"/>
                      <a:pt x="740" y="435"/>
                      <a:pt x="740" y="435"/>
                    </a:cubicBezTo>
                    <a:cubicBezTo>
                      <a:pt x="754" y="430"/>
                      <a:pt x="754" y="430"/>
                      <a:pt x="754" y="430"/>
                    </a:cubicBezTo>
                    <a:cubicBezTo>
                      <a:pt x="760" y="426"/>
                      <a:pt x="760" y="426"/>
                      <a:pt x="760" y="426"/>
                    </a:cubicBezTo>
                    <a:cubicBezTo>
                      <a:pt x="764" y="425"/>
                      <a:pt x="764" y="425"/>
                      <a:pt x="764" y="425"/>
                    </a:cubicBezTo>
                    <a:cubicBezTo>
                      <a:pt x="768" y="426"/>
                      <a:pt x="768" y="426"/>
                      <a:pt x="768" y="426"/>
                    </a:cubicBezTo>
                    <a:cubicBezTo>
                      <a:pt x="773" y="424"/>
                      <a:pt x="773" y="424"/>
                      <a:pt x="773" y="424"/>
                    </a:cubicBezTo>
                    <a:cubicBezTo>
                      <a:pt x="775" y="420"/>
                      <a:pt x="775" y="420"/>
                      <a:pt x="775" y="420"/>
                    </a:cubicBezTo>
                    <a:cubicBezTo>
                      <a:pt x="782" y="417"/>
                      <a:pt x="782" y="417"/>
                      <a:pt x="782" y="417"/>
                    </a:cubicBezTo>
                    <a:cubicBezTo>
                      <a:pt x="795" y="412"/>
                      <a:pt x="795" y="412"/>
                      <a:pt x="795" y="412"/>
                    </a:cubicBezTo>
                    <a:cubicBezTo>
                      <a:pt x="797" y="413"/>
                      <a:pt x="797" y="413"/>
                      <a:pt x="797" y="413"/>
                    </a:cubicBezTo>
                    <a:cubicBezTo>
                      <a:pt x="794" y="417"/>
                      <a:pt x="794" y="417"/>
                      <a:pt x="794" y="417"/>
                    </a:cubicBezTo>
                    <a:cubicBezTo>
                      <a:pt x="795" y="420"/>
                      <a:pt x="795" y="420"/>
                      <a:pt x="795" y="420"/>
                    </a:cubicBezTo>
                    <a:cubicBezTo>
                      <a:pt x="792" y="422"/>
                      <a:pt x="792" y="422"/>
                      <a:pt x="792" y="422"/>
                    </a:cubicBezTo>
                    <a:cubicBezTo>
                      <a:pt x="788" y="430"/>
                      <a:pt x="788" y="430"/>
                      <a:pt x="788" y="430"/>
                    </a:cubicBezTo>
                    <a:cubicBezTo>
                      <a:pt x="788" y="434"/>
                      <a:pt x="788" y="434"/>
                      <a:pt x="788" y="434"/>
                    </a:cubicBezTo>
                    <a:cubicBezTo>
                      <a:pt x="796" y="440"/>
                      <a:pt x="796" y="440"/>
                      <a:pt x="796" y="440"/>
                    </a:cubicBezTo>
                    <a:cubicBezTo>
                      <a:pt x="804" y="440"/>
                      <a:pt x="804" y="440"/>
                      <a:pt x="804" y="440"/>
                    </a:cubicBezTo>
                    <a:cubicBezTo>
                      <a:pt x="799" y="438"/>
                      <a:pt x="799" y="438"/>
                      <a:pt x="799" y="438"/>
                    </a:cubicBezTo>
                    <a:cubicBezTo>
                      <a:pt x="793" y="431"/>
                      <a:pt x="793" y="431"/>
                      <a:pt x="793" y="431"/>
                    </a:cubicBezTo>
                    <a:cubicBezTo>
                      <a:pt x="792" y="429"/>
                      <a:pt x="792" y="429"/>
                      <a:pt x="792" y="429"/>
                    </a:cubicBezTo>
                    <a:cubicBezTo>
                      <a:pt x="796" y="425"/>
                      <a:pt x="796" y="425"/>
                      <a:pt x="796" y="425"/>
                    </a:cubicBezTo>
                    <a:cubicBezTo>
                      <a:pt x="803" y="420"/>
                      <a:pt x="803" y="420"/>
                      <a:pt x="803" y="420"/>
                    </a:cubicBezTo>
                    <a:cubicBezTo>
                      <a:pt x="806" y="414"/>
                      <a:pt x="806" y="414"/>
                      <a:pt x="806" y="414"/>
                    </a:cubicBezTo>
                    <a:cubicBezTo>
                      <a:pt x="803" y="408"/>
                      <a:pt x="803" y="408"/>
                      <a:pt x="803" y="408"/>
                    </a:cubicBezTo>
                    <a:cubicBezTo>
                      <a:pt x="799" y="408"/>
                      <a:pt x="799" y="408"/>
                      <a:pt x="799" y="408"/>
                    </a:cubicBezTo>
                    <a:cubicBezTo>
                      <a:pt x="793" y="405"/>
                      <a:pt x="793" y="405"/>
                      <a:pt x="793" y="405"/>
                    </a:cubicBezTo>
                    <a:cubicBezTo>
                      <a:pt x="794" y="401"/>
                      <a:pt x="794" y="401"/>
                      <a:pt x="794" y="401"/>
                    </a:cubicBezTo>
                    <a:cubicBezTo>
                      <a:pt x="788" y="401"/>
                      <a:pt x="788" y="401"/>
                      <a:pt x="788" y="401"/>
                    </a:cubicBezTo>
                    <a:cubicBezTo>
                      <a:pt x="786" y="403"/>
                      <a:pt x="786" y="403"/>
                      <a:pt x="786" y="403"/>
                    </a:cubicBezTo>
                    <a:cubicBezTo>
                      <a:pt x="784" y="402"/>
                      <a:pt x="784" y="402"/>
                      <a:pt x="784" y="402"/>
                    </a:cubicBezTo>
                    <a:cubicBezTo>
                      <a:pt x="782" y="397"/>
                      <a:pt x="782" y="397"/>
                      <a:pt x="782" y="397"/>
                    </a:cubicBezTo>
                    <a:cubicBezTo>
                      <a:pt x="776" y="397"/>
                      <a:pt x="776" y="397"/>
                      <a:pt x="776" y="397"/>
                    </a:cubicBezTo>
                    <a:cubicBezTo>
                      <a:pt x="773" y="398"/>
                      <a:pt x="773" y="398"/>
                      <a:pt x="773" y="398"/>
                    </a:cubicBezTo>
                    <a:cubicBezTo>
                      <a:pt x="768" y="393"/>
                      <a:pt x="768" y="393"/>
                      <a:pt x="768" y="393"/>
                    </a:cubicBezTo>
                    <a:cubicBezTo>
                      <a:pt x="770" y="392"/>
                      <a:pt x="770" y="392"/>
                      <a:pt x="770" y="392"/>
                    </a:cubicBezTo>
                    <a:cubicBezTo>
                      <a:pt x="771" y="389"/>
                      <a:pt x="771" y="389"/>
                      <a:pt x="771" y="389"/>
                    </a:cubicBezTo>
                    <a:cubicBezTo>
                      <a:pt x="773" y="388"/>
                      <a:pt x="773" y="388"/>
                      <a:pt x="773" y="388"/>
                    </a:cubicBezTo>
                    <a:cubicBezTo>
                      <a:pt x="776" y="391"/>
                      <a:pt x="776" y="391"/>
                      <a:pt x="776" y="391"/>
                    </a:cubicBezTo>
                    <a:cubicBezTo>
                      <a:pt x="781" y="391"/>
                      <a:pt x="781" y="391"/>
                      <a:pt x="781" y="391"/>
                    </a:cubicBezTo>
                    <a:cubicBezTo>
                      <a:pt x="785" y="389"/>
                      <a:pt x="785" y="389"/>
                      <a:pt x="785" y="389"/>
                    </a:cubicBezTo>
                    <a:cubicBezTo>
                      <a:pt x="784" y="386"/>
                      <a:pt x="784" y="386"/>
                      <a:pt x="784" y="386"/>
                    </a:cubicBezTo>
                    <a:cubicBezTo>
                      <a:pt x="782" y="387"/>
                      <a:pt x="782" y="387"/>
                      <a:pt x="782" y="387"/>
                    </a:cubicBezTo>
                    <a:cubicBezTo>
                      <a:pt x="778" y="388"/>
                      <a:pt x="778" y="388"/>
                      <a:pt x="778" y="388"/>
                    </a:cubicBezTo>
                    <a:cubicBezTo>
                      <a:pt x="774" y="386"/>
                      <a:pt x="774" y="386"/>
                      <a:pt x="774" y="386"/>
                    </a:cubicBezTo>
                    <a:cubicBezTo>
                      <a:pt x="773" y="382"/>
                      <a:pt x="773" y="382"/>
                      <a:pt x="773" y="382"/>
                    </a:cubicBezTo>
                    <a:cubicBezTo>
                      <a:pt x="769" y="382"/>
                      <a:pt x="769" y="382"/>
                      <a:pt x="769" y="382"/>
                    </a:cubicBezTo>
                    <a:cubicBezTo>
                      <a:pt x="763" y="380"/>
                      <a:pt x="763" y="380"/>
                      <a:pt x="763" y="380"/>
                    </a:cubicBezTo>
                    <a:cubicBezTo>
                      <a:pt x="759" y="381"/>
                      <a:pt x="759" y="381"/>
                      <a:pt x="759" y="381"/>
                    </a:cubicBezTo>
                    <a:cubicBezTo>
                      <a:pt x="757" y="378"/>
                      <a:pt x="757" y="378"/>
                      <a:pt x="757" y="378"/>
                    </a:cubicBezTo>
                    <a:cubicBezTo>
                      <a:pt x="759" y="375"/>
                      <a:pt x="759" y="375"/>
                      <a:pt x="759" y="375"/>
                    </a:cubicBezTo>
                    <a:cubicBezTo>
                      <a:pt x="759" y="372"/>
                      <a:pt x="759" y="372"/>
                      <a:pt x="759" y="372"/>
                    </a:cubicBezTo>
                    <a:cubicBezTo>
                      <a:pt x="756" y="370"/>
                      <a:pt x="756" y="370"/>
                      <a:pt x="756" y="370"/>
                    </a:cubicBezTo>
                    <a:cubicBezTo>
                      <a:pt x="757" y="368"/>
                      <a:pt x="757" y="368"/>
                      <a:pt x="757" y="368"/>
                    </a:cubicBezTo>
                    <a:cubicBezTo>
                      <a:pt x="760" y="369"/>
                      <a:pt x="760" y="369"/>
                      <a:pt x="760" y="369"/>
                    </a:cubicBezTo>
                    <a:cubicBezTo>
                      <a:pt x="764" y="374"/>
                      <a:pt x="764" y="374"/>
                      <a:pt x="764" y="374"/>
                    </a:cubicBezTo>
                    <a:cubicBezTo>
                      <a:pt x="767" y="373"/>
                      <a:pt x="767" y="373"/>
                      <a:pt x="767" y="373"/>
                    </a:cubicBezTo>
                    <a:cubicBezTo>
                      <a:pt x="772" y="379"/>
                      <a:pt x="772" y="379"/>
                      <a:pt x="772" y="379"/>
                    </a:cubicBezTo>
                    <a:cubicBezTo>
                      <a:pt x="772" y="375"/>
                      <a:pt x="772" y="375"/>
                      <a:pt x="772" y="375"/>
                    </a:cubicBezTo>
                    <a:cubicBezTo>
                      <a:pt x="771" y="373"/>
                      <a:pt x="771" y="373"/>
                      <a:pt x="771" y="373"/>
                    </a:cubicBezTo>
                    <a:cubicBezTo>
                      <a:pt x="775" y="370"/>
                      <a:pt x="775" y="370"/>
                      <a:pt x="775" y="370"/>
                    </a:cubicBezTo>
                    <a:cubicBezTo>
                      <a:pt x="776" y="363"/>
                      <a:pt x="776" y="363"/>
                      <a:pt x="776" y="363"/>
                    </a:cubicBezTo>
                    <a:cubicBezTo>
                      <a:pt x="773" y="361"/>
                      <a:pt x="773" y="361"/>
                      <a:pt x="773" y="361"/>
                    </a:cubicBezTo>
                    <a:cubicBezTo>
                      <a:pt x="774" y="359"/>
                      <a:pt x="774" y="359"/>
                      <a:pt x="774" y="359"/>
                    </a:cubicBezTo>
                    <a:cubicBezTo>
                      <a:pt x="778" y="360"/>
                      <a:pt x="778" y="360"/>
                      <a:pt x="778" y="360"/>
                    </a:cubicBezTo>
                    <a:cubicBezTo>
                      <a:pt x="780" y="357"/>
                      <a:pt x="780" y="357"/>
                      <a:pt x="780" y="357"/>
                    </a:cubicBezTo>
                    <a:cubicBezTo>
                      <a:pt x="771" y="355"/>
                      <a:pt x="771" y="355"/>
                      <a:pt x="771" y="355"/>
                    </a:cubicBezTo>
                    <a:cubicBezTo>
                      <a:pt x="769" y="358"/>
                      <a:pt x="769" y="358"/>
                      <a:pt x="769" y="358"/>
                    </a:cubicBezTo>
                    <a:cubicBezTo>
                      <a:pt x="766" y="358"/>
                      <a:pt x="766" y="358"/>
                      <a:pt x="766" y="358"/>
                    </a:cubicBezTo>
                    <a:cubicBezTo>
                      <a:pt x="766" y="354"/>
                      <a:pt x="766" y="354"/>
                      <a:pt x="766" y="354"/>
                    </a:cubicBezTo>
                    <a:cubicBezTo>
                      <a:pt x="770" y="351"/>
                      <a:pt x="770" y="351"/>
                      <a:pt x="770" y="351"/>
                    </a:cubicBezTo>
                    <a:cubicBezTo>
                      <a:pt x="776" y="351"/>
                      <a:pt x="776" y="351"/>
                      <a:pt x="776" y="351"/>
                    </a:cubicBezTo>
                    <a:cubicBezTo>
                      <a:pt x="781" y="349"/>
                      <a:pt x="781" y="349"/>
                      <a:pt x="781" y="349"/>
                    </a:cubicBezTo>
                    <a:cubicBezTo>
                      <a:pt x="780" y="346"/>
                      <a:pt x="780" y="346"/>
                      <a:pt x="780" y="346"/>
                    </a:cubicBezTo>
                    <a:cubicBezTo>
                      <a:pt x="784" y="342"/>
                      <a:pt x="784" y="342"/>
                      <a:pt x="784" y="342"/>
                    </a:cubicBezTo>
                    <a:cubicBezTo>
                      <a:pt x="784" y="338"/>
                      <a:pt x="784" y="338"/>
                      <a:pt x="784" y="338"/>
                    </a:cubicBezTo>
                    <a:cubicBezTo>
                      <a:pt x="785" y="337"/>
                      <a:pt x="785" y="337"/>
                      <a:pt x="785" y="337"/>
                    </a:cubicBezTo>
                    <a:cubicBezTo>
                      <a:pt x="785" y="335"/>
                      <a:pt x="785" y="335"/>
                      <a:pt x="785" y="335"/>
                    </a:cubicBezTo>
                    <a:cubicBezTo>
                      <a:pt x="788" y="330"/>
                      <a:pt x="788" y="330"/>
                      <a:pt x="788" y="330"/>
                    </a:cubicBezTo>
                    <a:cubicBezTo>
                      <a:pt x="790" y="330"/>
                      <a:pt x="790" y="330"/>
                      <a:pt x="790" y="330"/>
                    </a:cubicBezTo>
                    <a:cubicBezTo>
                      <a:pt x="792" y="332"/>
                      <a:pt x="792" y="332"/>
                      <a:pt x="792" y="332"/>
                    </a:cubicBezTo>
                    <a:cubicBezTo>
                      <a:pt x="794" y="331"/>
                      <a:pt x="794" y="331"/>
                      <a:pt x="794" y="331"/>
                    </a:cubicBezTo>
                    <a:cubicBezTo>
                      <a:pt x="795" y="328"/>
                      <a:pt x="795" y="328"/>
                      <a:pt x="795" y="328"/>
                    </a:cubicBezTo>
                    <a:cubicBezTo>
                      <a:pt x="796" y="328"/>
                      <a:pt x="796" y="328"/>
                      <a:pt x="796" y="328"/>
                    </a:cubicBezTo>
                    <a:cubicBezTo>
                      <a:pt x="794" y="325"/>
                      <a:pt x="794" y="325"/>
                      <a:pt x="794" y="325"/>
                    </a:cubicBezTo>
                    <a:cubicBezTo>
                      <a:pt x="796" y="323"/>
                      <a:pt x="796" y="323"/>
                      <a:pt x="796" y="323"/>
                    </a:cubicBezTo>
                    <a:cubicBezTo>
                      <a:pt x="800" y="321"/>
                      <a:pt x="800" y="321"/>
                      <a:pt x="800" y="321"/>
                    </a:cubicBezTo>
                    <a:cubicBezTo>
                      <a:pt x="803" y="320"/>
                      <a:pt x="803" y="320"/>
                      <a:pt x="803" y="320"/>
                    </a:cubicBezTo>
                    <a:cubicBezTo>
                      <a:pt x="804" y="317"/>
                      <a:pt x="804" y="317"/>
                      <a:pt x="804" y="317"/>
                    </a:cubicBezTo>
                    <a:cubicBezTo>
                      <a:pt x="806" y="316"/>
                      <a:pt x="806" y="316"/>
                      <a:pt x="806" y="316"/>
                    </a:cubicBezTo>
                    <a:cubicBezTo>
                      <a:pt x="809" y="318"/>
                      <a:pt x="809" y="318"/>
                      <a:pt x="809" y="318"/>
                    </a:cubicBezTo>
                    <a:cubicBezTo>
                      <a:pt x="816" y="316"/>
                      <a:pt x="816" y="316"/>
                      <a:pt x="816" y="316"/>
                    </a:cubicBezTo>
                    <a:cubicBezTo>
                      <a:pt x="814" y="314"/>
                      <a:pt x="814" y="314"/>
                      <a:pt x="814" y="314"/>
                    </a:cubicBezTo>
                    <a:cubicBezTo>
                      <a:pt x="815" y="311"/>
                      <a:pt x="815" y="311"/>
                      <a:pt x="815" y="311"/>
                    </a:cubicBezTo>
                    <a:cubicBezTo>
                      <a:pt x="823" y="310"/>
                      <a:pt x="823" y="310"/>
                      <a:pt x="823" y="310"/>
                    </a:cubicBezTo>
                    <a:cubicBezTo>
                      <a:pt x="828" y="307"/>
                      <a:pt x="828" y="307"/>
                      <a:pt x="828" y="307"/>
                    </a:cubicBezTo>
                    <a:cubicBezTo>
                      <a:pt x="830" y="303"/>
                      <a:pt x="830" y="303"/>
                      <a:pt x="830" y="303"/>
                    </a:cubicBezTo>
                    <a:cubicBezTo>
                      <a:pt x="841" y="299"/>
                      <a:pt x="841" y="299"/>
                      <a:pt x="841" y="299"/>
                    </a:cubicBezTo>
                    <a:cubicBezTo>
                      <a:pt x="841" y="295"/>
                      <a:pt x="841" y="295"/>
                      <a:pt x="841" y="295"/>
                    </a:cubicBezTo>
                    <a:cubicBezTo>
                      <a:pt x="839" y="295"/>
                      <a:pt x="839" y="295"/>
                      <a:pt x="839" y="295"/>
                    </a:cubicBezTo>
                    <a:cubicBezTo>
                      <a:pt x="833" y="299"/>
                      <a:pt x="833" y="299"/>
                      <a:pt x="833" y="299"/>
                    </a:cubicBezTo>
                    <a:cubicBezTo>
                      <a:pt x="830" y="297"/>
                      <a:pt x="830" y="297"/>
                      <a:pt x="830" y="297"/>
                    </a:cubicBezTo>
                    <a:cubicBezTo>
                      <a:pt x="826" y="301"/>
                      <a:pt x="826" y="301"/>
                      <a:pt x="826" y="301"/>
                    </a:cubicBezTo>
                    <a:cubicBezTo>
                      <a:pt x="824" y="299"/>
                      <a:pt x="824" y="299"/>
                      <a:pt x="824" y="299"/>
                    </a:cubicBezTo>
                    <a:cubicBezTo>
                      <a:pt x="824" y="290"/>
                      <a:pt x="824" y="290"/>
                      <a:pt x="824" y="290"/>
                    </a:cubicBezTo>
                    <a:cubicBezTo>
                      <a:pt x="826" y="289"/>
                      <a:pt x="826" y="289"/>
                      <a:pt x="826" y="289"/>
                    </a:cubicBezTo>
                    <a:cubicBezTo>
                      <a:pt x="828" y="286"/>
                      <a:pt x="828" y="286"/>
                      <a:pt x="828" y="286"/>
                    </a:cubicBezTo>
                    <a:cubicBezTo>
                      <a:pt x="829" y="286"/>
                      <a:pt x="829" y="286"/>
                      <a:pt x="829" y="286"/>
                    </a:cubicBezTo>
                    <a:cubicBezTo>
                      <a:pt x="830" y="288"/>
                      <a:pt x="830" y="288"/>
                      <a:pt x="830" y="288"/>
                    </a:cubicBezTo>
                    <a:cubicBezTo>
                      <a:pt x="831" y="289"/>
                      <a:pt x="831" y="289"/>
                      <a:pt x="831" y="289"/>
                    </a:cubicBezTo>
                    <a:cubicBezTo>
                      <a:pt x="834" y="286"/>
                      <a:pt x="834" y="286"/>
                      <a:pt x="834" y="286"/>
                    </a:cubicBezTo>
                    <a:cubicBezTo>
                      <a:pt x="830" y="282"/>
                      <a:pt x="830" y="282"/>
                      <a:pt x="830" y="282"/>
                    </a:cubicBezTo>
                    <a:cubicBezTo>
                      <a:pt x="835" y="281"/>
                      <a:pt x="835" y="281"/>
                      <a:pt x="835" y="281"/>
                    </a:cubicBezTo>
                    <a:cubicBezTo>
                      <a:pt x="838" y="283"/>
                      <a:pt x="838" y="283"/>
                      <a:pt x="838" y="283"/>
                    </a:cubicBezTo>
                    <a:cubicBezTo>
                      <a:pt x="841" y="284"/>
                      <a:pt x="841" y="284"/>
                      <a:pt x="841" y="284"/>
                    </a:cubicBezTo>
                    <a:cubicBezTo>
                      <a:pt x="847" y="280"/>
                      <a:pt x="847" y="280"/>
                      <a:pt x="847" y="280"/>
                    </a:cubicBezTo>
                    <a:cubicBezTo>
                      <a:pt x="851" y="281"/>
                      <a:pt x="851" y="281"/>
                      <a:pt x="851" y="281"/>
                    </a:cubicBezTo>
                    <a:cubicBezTo>
                      <a:pt x="861" y="278"/>
                      <a:pt x="861" y="278"/>
                      <a:pt x="861" y="278"/>
                    </a:cubicBezTo>
                    <a:cubicBezTo>
                      <a:pt x="865" y="279"/>
                      <a:pt x="865" y="279"/>
                      <a:pt x="865" y="279"/>
                    </a:cubicBezTo>
                    <a:cubicBezTo>
                      <a:pt x="867" y="282"/>
                      <a:pt x="867" y="282"/>
                      <a:pt x="867" y="282"/>
                    </a:cubicBezTo>
                    <a:cubicBezTo>
                      <a:pt x="863" y="290"/>
                      <a:pt x="863" y="290"/>
                      <a:pt x="863" y="290"/>
                    </a:cubicBezTo>
                    <a:cubicBezTo>
                      <a:pt x="863" y="292"/>
                      <a:pt x="863" y="292"/>
                      <a:pt x="863" y="292"/>
                    </a:cubicBezTo>
                    <a:cubicBezTo>
                      <a:pt x="867" y="295"/>
                      <a:pt x="867" y="295"/>
                      <a:pt x="867" y="295"/>
                    </a:cubicBezTo>
                    <a:cubicBezTo>
                      <a:pt x="868" y="290"/>
                      <a:pt x="868" y="290"/>
                      <a:pt x="868" y="290"/>
                    </a:cubicBezTo>
                    <a:cubicBezTo>
                      <a:pt x="872" y="284"/>
                      <a:pt x="872" y="284"/>
                      <a:pt x="872" y="284"/>
                    </a:cubicBezTo>
                    <a:cubicBezTo>
                      <a:pt x="871" y="281"/>
                      <a:pt x="871" y="281"/>
                      <a:pt x="871" y="281"/>
                    </a:cubicBezTo>
                    <a:cubicBezTo>
                      <a:pt x="872" y="279"/>
                      <a:pt x="872" y="279"/>
                      <a:pt x="872" y="279"/>
                    </a:cubicBezTo>
                    <a:cubicBezTo>
                      <a:pt x="875" y="283"/>
                      <a:pt x="875" y="283"/>
                      <a:pt x="875" y="283"/>
                    </a:cubicBezTo>
                    <a:cubicBezTo>
                      <a:pt x="875" y="289"/>
                      <a:pt x="875" y="289"/>
                      <a:pt x="875" y="289"/>
                    </a:cubicBezTo>
                    <a:cubicBezTo>
                      <a:pt x="879" y="289"/>
                      <a:pt x="879" y="289"/>
                      <a:pt x="879" y="289"/>
                    </a:cubicBezTo>
                    <a:cubicBezTo>
                      <a:pt x="880" y="284"/>
                      <a:pt x="880" y="284"/>
                      <a:pt x="880" y="284"/>
                    </a:cubicBezTo>
                    <a:cubicBezTo>
                      <a:pt x="879" y="281"/>
                      <a:pt x="879" y="281"/>
                      <a:pt x="879" y="281"/>
                    </a:cubicBezTo>
                    <a:cubicBezTo>
                      <a:pt x="881" y="278"/>
                      <a:pt x="881" y="278"/>
                      <a:pt x="881" y="278"/>
                    </a:cubicBezTo>
                    <a:cubicBezTo>
                      <a:pt x="883" y="279"/>
                      <a:pt x="883" y="279"/>
                      <a:pt x="883" y="279"/>
                    </a:cubicBezTo>
                    <a:cubicBezTo>
                      <a:pt x="884" y="283"/>
                      <a:pt x="884" y="283"/>
                      <a:pt x="884" y="283"/>
                    </a:cubicBezTo>
                    <a:cubicBezTo>
                      <a:pt x="889" y="279"/>
                      <a:pt x="889" y="279"/>
                      <a:pt x="889" y="279"/>
                    </a:cubicBezTo>
                    <a:cubicBezTo>
                      <a:pt x="890" y="276"/>
                      <a:pt x="890" y="276"/>
                      <a:pt x="890" y="276"/>
                    </a:cubicBezTo>
                    <a:cubicBezTo>
                      <a:pt x="887" y="273"/>
                      <a:pt x="887" y="273"/>
                      <a:pt x="887" y="273"/>
                    </a:cubicBezTo>
                    <a:cubicBezTo>
                      <a:pt x="892" y="274"/>
                      <a:pt x="892" y="274"/>
                      <a:pt x="892" y="274"/>
                    </a:cubicBezTo>
                    <a:cubicBezTo>
                      <a:pt x="894" y="271"/>
                      <a:pt x="894" y="271"/>
                      <a:pt x="894" y="271"/>
                    </a:cubicBezTo>
                    <a:cubicBezTo>
                      <a:pt x="890" y="270"/>
                      <a:pt x="890" y="270"/>
                      <a:pt x="890" y="270"/>
                    </a:cubicBezTo>
                    <a:cubicBezTo>
                      <a:pt x="894" y="266"/>
                      <a:pt x="894" y="266"/>
                      <a:pt x="894" y="266"/>
                    </a:cubicBezTo>
                    <a:cubicBezTo>
                      <a:pt x="899" y="266"/>
                      <a:pt x="899" y="266"/>
                      <a:pt x="899" y="266"/>
                    </a:cubicBezTo>
                    <a:cubicBezTo>
                      <a:pt x="903" y="263"/>
                      <a:pt x="903" y="263"/>
                      <a:pt x="903" y="263"/>
                    </a:cubicBezTo>
                    <a:cubicBezTo>
                      <a:pt x="905" y="264"/>
                      <a:pt x="905" y="264"/>
                      <a:pt x="905" y="264"/>
                    </a:cubicBezTo>
                    <a:cubicBezTo>
                      <a:pt x="905" y="267"/>
                      <a:pt x="905" y="267"/>
                      <a:pt x="905" y="267"/>
                    </a:cubicBezTo>
                    <a:cubicBezTo>
                      <a:pt x="906" y="268"/>
                      <a:pt x="906" y="268"/>
                      <a:pt x="906" y="268"/>
                    </a:cubicBezTo>
                    <a:cubicBezTo>
                      <a:pt x="912" y="268"/>
                      <a:pt x="912" y="268"/>
                      <a:pt x="912" y="268"/>
                    </a:cubicBezTo>
                    <a:cubicBezTo>
                      <a:pt x="912" y="273"/>
                      <a:pt x="912" y="273"/>
                      <a:pt x="912" y="273"/>
                    </a:cubicBezTo>
                    <a:cubicBezTo>
                      <a:pt x="915" y="276"/>
                      <a:pt x="915" y="276"/>
                      <a:pt x="915" y="276"/>
                    </a:cubicBezTo>
                    <a:cubicBezTo>
                      <a:pt x="911" y="284"/>
                      <a:pt x="911" y="284"/>
                      <a:pt x="911" y="284"/>
                    </a:cubicBezTo>
                    <a:cubicBezTo>
                      <a:pt x="917" y="282"/>
                      <a:pt x="917" y="282"/>
                      <a:pt x="917" y="282"/>
                    </a:cubicBezTo>
                    <a:cubicBezTo>
                      <a:pt x="921" y="274"/>
                      <a:pt x="921" y="274"/>
                      <a:pt x="921" y="274"/>
                    </a:cubicBezTo>
                    <a:cubicBezTo>
                      <a:pt x="916" y="266"/>
                      <a:pt x="916" y="266"/>
                      <a:pt x="916" y="266"/>
                    </a:cubicBezTo>
                    <a:cubicBezTo>
                      <a:pt x="911" y="263"/>
                      <a:pt x="911" y="263"/>
                      <a:pt x="911" y="263"/>
                    </a:cubicBezTo>
                    <a:cubicBezTo>
                      <a:pt x="908" y="259"/>
                      <a:pt x="908" y="259"/>
                      <a:pt x="908" y="259"/>
                    </a:cubicBezTo>
                    <a:cubicBezTo>
                      <a:pt x="904" y="261"/>
                      <a:pt x="904" y="261"/>
                      <a:pt x="904" y="261"/>
                    </a:cubicBezTo>
                    <a:cubicBezTo>
                      <a:pt x="901" y="259"/>
                      <a:pt x="901" y="259"/>
                      <a:pt x="901" y="259"/>
                    </a:cubicBezTo>
                    <a:cubicBezTo>
                      <a:pt x="897" y="260"/>
                      <a:pt x="897" y="260"/>
                      <a:pt x="897" y="260"/>
                    </a:cubicBezTo>
                    <a:cubicBezTo>
                      <a:pt x="896" y="257"/>
                      <a:pt x="896" y="257"/>
                      <a:pt x="896" y="257"/>
                    </a:cubicBezTo>
                    <a:cubicBezTo>
                      <a:pt x="892" y="256"/>
                      <a:pt x="892" y="256"/>
                      <a:pt x="892" y="256"/>
                    </a:cubicBezTo>
                    <a:cubicBezTo>
                      <a:pt x="891" y="254"/>
                      <a:pt x="891" y="254"/>
                      <a:pt x="891" y="254"/>
                    </a:cubicBezTo>
                    <a:cubicBezTo>
                      <a:pt x="894" y="252"/>
                      <a:pt x="894" y="252"/>
                      <a:pt x="894" y="252"/>
                    </a:cubicBezTo>
                    <a:cubicBezTo>
                      <a:pt x="902" y="252"/>
                      <a:pt x="902" y="252"/>
                      <a:pt x="902" y="252"/>
                    </a:cubicBezTo>
                    <a:cubicBezTo>
                      <a:pt x="904" y="249"/>
                      <a:pt x="904" y="249"/>
                      <a:pt x="904" y="249"/>
                    </a:cubicBezTo>
                    <a:cubicBezTo>
                      <a:pt x="908" y="249"/>
                      <a:pt x="908" y="249"/>
                      <a:pt x="908" y="249"/>
                    </a:cubicBezTo>
                    <a:cubicBezTo>
                      <a:pt x="912" y="250"/>
                      <a:pt x="912" y="250"/>
                      <a:pt x="912" y="250"/>
                    </a:cubicBezTo>
                    <a:cubicBezTo>
                      <a:pt x="916" y="248"/>
                      <a:pt x="916" y="248"/>
                      <a:pt x="916" y="248"/>
                    </a:cubicBezTo>
                    <a:cubicBezTo>
                      <a:pt x="918" y="250"/>
                      <a:pt x="918" y="250"/>
                      <a:pt x="918" y="250"/>
                    </a:cubicBezTo>
                    <a:cubicBezTo>
                      <a:pt x="927" y="246"/>
                      <a:pt x="927" y="246"/>
                      <a:pt x="927" y="246"/>
                    </a:cubicBezTo>
                    <a:cubicBezTo>
                      <a:pt x="932" y="249"/>
                      <a:pt x="932" y="249"/>
                      <a:pt x="932" y="249"/>
                    </a:cubicBezTo>
                    <a:cubicBezTo>
                      <a:pt x="934" y="248"/>
                      <a:pt x="934" y="248"/>
                      <a:pt x="934" y="248"/>
                    </a:cubicBezTo>
                    <a:cubicBezTo>
                      <a:pt x="938" y="249"/>
                      <a:pt x="938" y="249"/>
                      <a:pt x="938" y="249"/>
                    </a:cubicBezTo>
                    <a:cubicBezTo>
                      <a:pt x="941" y="247"/>
                      <a:pt x="941" y="247"/>
                      <a:pt x="941" y="247"/>
                    </a:cubicBezTo>
                    <a:cubicBezTo>
                      <a:pt x="940" y="244"/>
                      <a:pt x="940" y="244"/>
                      <a:pt x="940" y="244"/>
                    </a:cubicBezTo>
                    <a:cubicBezTo>
                      <a:pt x="933" y="244"/>
                      <a:pt x="933" y="244"/>
                      <a:pt x="933" y="244"/>
                    </a:cubicBezTo>
                    <a:cubicBezTo>
                      <a:pt x="927" y="242"/>
                      <a:pt x="927" y="242"/>
                      <a:pt x="927" y="242"/>
                    </a:cubicBezTo>
                    <a:cubicBezTo>
                      <a:pt x="923" y="243"/>
                      <a:pt x="923" y="243"/>
                      <a:pt x="923" y="243"/>
                    </a:cubicBezTo>
                    <a:cubicBezTo>
                      <a:pt x="916" y="243"/>
                      <a:pt x="916" y="243"/>
                      <a:pt x="916" y="243"/>
                    </a:cubicBezTo>
                    <a:cubicBezTo>
                      <a:pt x="916" y="240"/>
                      <a:pt x="916" y="240"/>
                      <a:pt x="916" y="240"/>
                    </a:cubicBezTo>
                    <a:cubicBezTo>
                      <a:pt x="914" y="236"/>
                      <a:pt x="914" y="236"/>
                      <a:pt x="914" y="236"/>
                    </a:cubicBezTo>
                    <a:cubicBezTo>
                      <a:pt x="919" y="232"/>
                      <a:pt x="919" y="232"/>
                      <a:pt x="919" y="232"/>
                    </a:cubicBezTo>
                    <a:cubicBezTo>
                      <a:pt x="914" y="231"/>
                      <a:pt x="914" y="231"/>
                      <a:pt x="914" y="231"/>
                    </a:cubicBezTo>
                    <a:cubicBezTo>
                      <a:pt x="910" y="225"/>
                      <a:pt x="910" y="225"/>
                      <a:pt x="910" y="225"/>
                    </a:cubicBezTo>
                    <a:cubicBezTo>
                      <a:pt x="906" y="226"/>
                      <a:pt x="906" y="226"/>
                      <a:pt x="906" y="226"/>
                    </a:cubicBezTo>
                    <a:cubicBezTo>
                      <a:pt x="902" y="221"/>
                      <a:pt x="902" y="221"/>
                      <a:pt x="902" y="221"/>
                    </a:cubicBezTo>
                    <a:cubicBezTo>
                      <a:pt x="902" y="217"/>
                      <a:pt x="902" y="217"/>
                      <a:pt x="902" y="217"/>
                    </a:cubicBezTo>
                    <a:cubicBezTo>
                      <a:pt x="905" y="217"/>
                      <a:pt x="905" y="217"/>
                      <a:pt x="905" y="217"/>
                    </a:cubicBezTo>
                    <a:cubicBezTo>
                      <a:pt x="905" y="212"/>
                      <a:pt x="905" y="212"/>
                      <a:pt x="905" y="212"/>
                    </a:cubicBezTo>
                    <a:cubicBezTo>
                      <a:pt x="901" y="208"/>
                      <a:pt x="901" y="208"/>
                      <a:pt x="901" y="208"/>
                    </a:cubicBezTo>
                    <a:cubicBezTo>
                      <a:pt x="901" y="191"/>
                      <a:pt x="901" y="191"/>
                      <a:pt x="901" y="191"/>
                    </a:cubicBezTo>
                    <a:cubicBezTo>
                      <a:pt x="905" y="187"/>
                      <a:pt x="905" y="187"/>
                      <a:pt x="905" y="187"/>
                    </a:cubicBezTo>
                    <a:cubicBezTo>
                      <a:pt x="904" y="182"/>
                      <a:pt x="904" y="182"/>
                      <a:pt x="904" y="182"/>
                    </a:cubicBezTo>
                    <a:cubicBezTo>
                      <a:pt x="905" y="176"/>
                      <a:pt x="905" y="176"/>
                      <a:pt x="905" y="176"/>
                    </a:cubicBezTo>
                    <a:cubicBezTo>
                      <a:pt x="908" y="172"/>
                      <a:pt x="908" y="172"/>
                      <a:pt x="908" y="172"/>
                    </a:cubicBezTo>
                    <a:cubicBezTo>
                      <a:pt x="906" y="169"/>
                      <a:pt x="906" y="169"/>
                      <a:pt x="906" y="169"/>
                    </a:cubicBezTo>
                    <a:cubicBezTo>
                      <a:pt x="909" y="168"/>
                      <a:pt x="909" y="168"/>
                      <a:pt x="909" y="168"/>
                    </a:cubicBezTo>
                    <a:cubicBezTo>
                      <a:pt x="910" y="165"/>
                      <a:pt x="910" y="165"/>
                      <a:pt x="910" y="165"/>
                    </a:cubicBezTo>
                    <a:cubicBezTo>
                      <a:pt x="916" y="160"/>
                      <a:pt x="916" y="160"/>
                      <a:pt x="916" y="160"/>
                    </a:cubicBezTo>
                    <a:cubicBezTo>
                      <a:pt x="918" y="160"/>
                      <a:pt x="918" y="160"/>
                      <a:pt x="918" y="160"/>
                    </a:cubicBezTo>
                    <a:cubicBezTo>
                      <a:pt x="923" y="165"/>
                      <a:pt x="923" y="165"/>
                      <a:pt x="923" y="165"/>
                    </a:cubicBezTo>
                    <a:cubicBezTo>
                      <a:pt x="927" y="162"/>
                      <a:pt x="927" y="162"/>
                      <a:pt x="927" y="162"/>
                    </a:cubicBezTo>
                    <a:cubicBezTo>
                      <a:pt x="930" y="162"/>
                      <a:pt x="930" y="162"/>
                      <a:pt x="930" y="162"/>
                    </a:cubicBezTo>
                    <a:cubicBezTo>
                      <a:pt x="932" y="167"/>
                      <a:pt x="932" y="167"/>
                      <a:pt x="932" y="167"/>
                    </a:cubicBezTo>
                    <a:cubicBezTo>
                      <a:pt x="937" y="168"/>
                      <a:pt x="937" y="168"/>
                      <a:pt x="937" y="168"/>
                    </a:cubicBezTo>
                    <a:cubicBezTo>
                      <a:pt x="942" y="164"/>
                      <a:pt x="942" y="164"/>
                      <a:pt x="942" y="164"/>
                    </a:cubicBezTo>
                    <a:cubicBezTo>
                      <a:pt x="944" y="164"/>
                      <a:pt x="944" y="164"/>
                      <a:pt x="944" y="164"/>
                    </a:cubicBezTo>
                    <a:cubicBezTo>
                      <a:pt x="944" y="170"/>
                      <a:pt x="944" y="170"/>
                      <a:pt x="944" y="170"/>
                    </a:cubicBezTo>
                    <a:cubicBezTo>
                      <a:pt x="946" y="171"/>
                      <a:pt x="946" y="171"/>
                      <a:pt x="946" y="171"/>
                    </a:cubicBezTo>
                    <a:cubicBezTo>
                      <a:pt x="952" y="173"/>
                      <a:pt x="952" y="173"/>
                      <a:pt x="952" y="173"/>
                    </a:cubicBezTo>
                    <a:cubicBezTo>
                      <a:pt x="952" y="174"/>
                      <a:pt x="952" y="174"/>
                      <a:pt x="952" y="174"/>
                    </a:cubicBezTo>
                    <a:cubicBezTo>
                      <a:pt x="948" y="177"/>
                      <a:pt x="948" y="177"/>
                      <a:pt x="948" y="177"/>
                    </a:cubicBezTo>
                    <a:cubicBezTo>
                      <a:pt x="948" y="178"/>
                      <a:pt x="948" y="178"/>
                      <a:pt x="948" y="178"/>
                    </a:cubicBezTo>
                    <a:cubicBezTo>
                      <a:pt x="946" y="181"/>
                      <a:pt x="946" y="181"/>
                      <a:pt x="946" y="181"/>
                    </a:cubicBezTo>
                    <a:cubicBezTo>
                      <a:pt x="948" y="185"/>
                      <a:pt x="948" y="185"/>
                      <a:pt x="948" y="185"/>
                    </a:cubicBezTo>
                    <a:cubicBezTo>
                      <a:pt x="943" y="191"/>
                      <a:pt x="943" y="191"/>
                      <a:pt x="943" y="191"/>
                    </a:cubicBezTo>
                    <a:cubicBezTo>
                      <a:pt x="939" y="192"/>
                      <a:pt x="939" y="192"/>
                      <a:pt x="939" y="192"/>
                    </a:cubicBezTo>
                    <a:cubicBezTo>
                      <a:pt x="936" y="197"/>
                      <a:pt x="936" y="197"/>
                      <a:pt x="936" y="197"/>
                    </a:cubicBezTo>
                    <a:cubicBezTo>
                      <a:pt x="939" y="198"/>
                      <a:pt x="939" y="198"/>
                      <a:pt x="939" y="198"/>
                    </a:cubicBezTo>
                    <a:cubicBezTo>
                      <a:pt x="948" y="195"/>
                      <a:pt x="948" y="195"/>
                      <a:pt x="948" y="195"/>
                    </a:cubicBezTo>
                    <a:cubicBezTo>
                      <a:pt x="954" y="186"/>
                      <a:pt x="954" y="186"/>
                      <a:pt x="954" y="186"/>
                    </a:cubicBezTo>
                    <a:cubicBezTo>
                      <a:pt x="957" y="186"/>
                      <a:pt x="957" y="186"/>
                      <a:pt x="957" y="186"/>
                    </a:cubicBezTo>
                    <a:cubicBezTo>
                      <a:pt x="957" y="189"/>
                      <a:pt x="957" y="189"/>
                      <a:pt x="957" y="189"/>
                    </a:cubicBezTo>
                    <a:cubicBezTo>
                      <a:pt x="954" y="193"/>
                      <a:pt x="954" y="193"/>
                      <a:pt x="954" y="193"/>
                    </a:cubicBezTo>
                    <a:cubicBezTo>
                      <a:pt x="955" y="195"/>
                      <a:pt x="955" y="195"/>
                      <a:pt x="955" y="195"/>
                    </a:cubicBezTo>
                    <a:cubicBezTo>
                      <a:pt x="958" y="195"/>
                      <a:pt x="958" y="195"/>
                      <a:pt x="958" y="195"/>
                    </a:cubicBezTo>
                    <a:cubicBezTo>
                      <a:pt x="962" y="190"/>
                      <a:pt x="962" y="190"/>
                      <a:pt x="962" y="190"/>
                    </a:cubicBezTo>
                    <a:cubicBezTo>
                      <a:pt x="966" y="188"/>
                      <a:pt x="966" y="188"/>
                      <a:pt x="966" y="188"/>
                    </a:cubicBezTo>
                    <a:cubicBezTo>
                      <a:pt x="967" y="190"/>
                      <a:pt x="967" y="190"/>
                      <a:pt x="967" y="190"/>
                    </a:cubicBezTo>
                    <a:cubicBezTo>
                      <a:pt x="972" y="190"/>
                      <a:pt x="972" y="190"/>
                      <a:pt x="972" y="190"/>
                    </a:cubicBezTo>
                    <a:cubicBezTo>
                      <a:pt x="973" y="185"/>
                      <a:pt x="973" y="185"/>
                      <a:pt x="973" y="185"/>
                    </a:cubicBezTo>
                    <a:cubicBezTo>
                      <a:pt x="975" y="185"/>
                      <a:pt x="975" y="185"/>
                      <a:pt x="975" y="185"/>
                    </a:cubicBezTo>
                    <a:cubicBezTo>
                      <a:pt x="978" y="187"/>
                      <a:pt x="978" y="187"/>
                      <a:pt x="978" y="187"/>
                    </a:cubicBezTo>
                    <a:cubicBezTo>
                      <a:pt x="981" y="185"/>
                      <a:pt x="981" y="185"/>
                      <a:pt x="981" y="185"/>
                    </a:cubicBezTo>
                    <a:cubicBezTo>
                      <a:pt x="986" y="190"/>
                      <a:pt x="986" y="190"/>
                      <a:pt x="986" y="190"/>
                    </a:cubicBezTo>
                    <a:cubicBezTo>
                      <a:pt x="986" y="194"/>
                      <a:pt x="986" y="194"/>
                      <a:pt x="986" y="194"/>
                    </a:cubicBezTo>
                    <a:cubicBezTo>
                      <a:pt x="988" y="199"/>
                      <a:pt x="988" y="199"/>
                      <a:pt x="988" y="199"/>
                    </a:cubicBezTo>
                    <a:cubicBezTo>
                      <a:pt x="987" y="202"/>
                      <a:pt x="987" y="202"/>
                      <a:pt x="987" y="202"/>
                    </a:cubicBezTo>
                    <a:cubicBezTo>
                      <a:pt x="987" y="205"/>
                      <a:pt x="987" y="205"/>
                      <a:pt x="987" y="205"/>
                    </a:cubicBezTo>
                    <a:cubicBezTo>
                      <a:pt x="984" y="210"/>
                      <a:pt x="984" y="210"/>
                      <a:pt x="984" y="210"/>
                    </a:cubicBezTo>
                    <a:cubicBezTo>
                      <a:pt x="989" y="218"/>
                      <a:pt x="989" y="218"/>
                      <a:pt x="989" y="218"/>
                    </a:cubicBezTo>
                    <a:cubicBezTo>
                      <a:pt x="988" y="222"/>
                      <a:pt x="988" y="222"/>
                      <a:pt x="988" y="222"/>
                    </a:cubicBezTo>
                    <a:cubicBezTo>
                      <a:pt x="985" y="223"/>
                      <a:pt x="985" y="223"/>
                      <a:pt x="985" y="223"/>
                    </a:cubicBezTo>
                    <a:cubicBezTo>
                      <a:pt x="982" y="226"/>
                      <a:pt x="982" y="226"/>
                      <a:pt x="982" y="226"/>
                    </a:cubicBezTo>
                    <a:cubicBezTo>
                      <a:pt x="985" y="226"/>
                      <a:pt x="985" y="226"/>
                      <a:pt x="985" y="226"/>
                    </a:cubicBezTo>
                    <a:cubicBezTo>
                      <a:pt x="992" y="225"/>
                      <a:pt x="992" y="225"/>
                      <a:pt x="992" y="225"/>
                    </a:cubicBezTo>
                    <a:cubicBezTo>
                      <a:pt x="997" y="220"/>
                      <a:pt x="997" y="220"/>
                      <a:pt x="997" y="220"/>
                    </a:cubicBezTo>
                    <a:cubicBezTo>
                      <a:pt x="1002" y="220"/>
                      <a:pt x="1002" y="220"/>
                      <a:pt x="1002" y="220"/>
                    </a:cubicBezTo>
                    <a:cubicBezTo>
                      <a:pt x="1005" y="215"/>
                      <a:pt x="1005" y="215"/>
                      <a:pt x="1005" y="215"/>
                    </a:cubicBezTo>
                    <a:cubicBezTo>
                      <a:pt x="1005" y="208"/>
                      <a:pt x="1005" y="208"/>
                      <a:pt x="1005" y="208"/>
                    </a:cubicBezTo>
                    <a:cubicBezTo>
                      <a:pt x="1003" y="203"/>
                      <a:pt x="1003" y="203"/>
                      <a:pt x="1003" y="203"/>
                    </a:cubicBezTo>
                    <a:cubicBezTo>
                      <a:pt x="1000" y="203"/>
                      <a:pt x="1000" y="203"/>
                      <a:pt x="1000" y="203"/>
                    </a:cubicBezTo>
                    <a:cubicBezTo>
                      <a:pt x="998" y="202"/>
                      <a:pt x="998" y="202"/>
                      <a:pt x="998" y="202"/>
                    </a:cubicBezTo>
                    <a:cubicBezTo>
                      <a:pt x="997" y="199"/>
                      <a:pt x="997" y="199"/>
                      <a:pt x="997" y="199"/>
                    </a:cubicBezTo>
                    <a:cubicBezTo>
                      <a:pt x="999" y="197"/>
                      <a:pt x="999" y="197"/>
                      <a:pt x="999" y="197"/>
                    </a:cubicBezTo>
                    <a:cubicBezTo>
                      <a:pt x="1002" y="197"/>
                      <a:pt x="1002" y="197"/>
                      <a:pt x="1002" y="197"/>
                    </a:cubicBezTo>
                    <a:cubicBezTo>
                      <a:pt x="1004" y="199"/>
                      <a:pt x="1004" y="199"/>
                      <a:pt x="1004" y="199"/>
                    </a:cubicBezTo>
                    <a:cubicBezTo>
                      <a:pt x="1006" y="198"/>
                      <a:pt x="1006" y="198"/>
                      <a:pt x="1006" y="198"/>
                    </a:cubicBezTo>
                    <a:cubicBezTo>
                      <a:pt x="1013" y="196"/>
                      <a:pt x="1013" y="196"/>
                      <a:pt x="1013" y="196"/>
                    </a:cubicBezTo>
                    <a:cubicBezTo>
                      <a:pt x="1018" y="191"/>
                      <a:pt x="1018" y="191"/>
                      <a:pt x="1018" y="191"/>
                    </a:cubicBezTo>
                    <a:cubicBezTo>
                      <a:pt x="1020" y="192"/>
                      <a:pt x="1020" y="192"/>
                      <a:pt x="1020" y="192"/>
                    </a:cubicBezTo>
                    <a:cubicBezTo>
                      <a:pt x="1025" y="192"/>
                      <a:pt x="1025" y="192"/>
                      <a:pt x="1025" y="192"/>
                    </a:cubicBezTo>
                    <a:cubicBezTo>
                      <a:pt x="1027" y="188"/>
                      <a:pt x="1027" y="188"/>
                      <a:pt x="1027" y="188"/>
                    </a:cubicBezTo>
                    <a:cubicBezTo>
                      <a:pt x="1030" y="185"/>
                      <a:pt x="1030" y="185"/>
                      <a:pt x="1030" y="185"/>
                    </a:cubicBezTo>
                    <a:cubicBezTo>
                      <a:pt x="1032" y="186"/>
                      <a:pt x="1032" y="186"/>
                      <a:pt x="1032" y="186"/>
                    </a:cubicBezTo>
                    <a:cubicBezTo>
                      <a:pt x="1035" y="183"/>
                      <a:pt x="1035" y="183"/>
                      <a:pt x="1035" y="183"/>
                    </a:cubicBezTo>
                    <a:cubicBezTo>
                      <a:pt x="1039" y="182"/>
                      <a:pt x="1039" y="182"/>
                      <a:pt x="1039" y="182"/>
                    </a:cubicBezTo>
                    <a:cubicBezTo>
                      <a:pt x="1040" y="184"/>
                      <a:pt x="1040" y="184"/>
                      <a:pt x="1040" y="184"/>
                    </a:cubicBezTo>
                    <a:cubicBezTo>
                      <a:pt x="1044" y="183"/>
                      <a:pt x="1044" y="183"/>
                      <a:pt x="1044" y="183"/>
                    </a:cubicBezTo>
                    <a:cubicBezTo>
                      <a:pt x="1045" y="185"/>
                      <a:pt x="1045" y="185"/>
                      <a:pt x="1045" y="185"/>
                    </a:cubicBezTo>
                    <a:cubicBezTo>
                      <a:pt x="1044" y="187"/>
                      <a:pt x="1044" y="187"/>
                      <a:pt x="1044" y="187"/>
                    </a:cubicBezTo>
                    <a:cubicBezTo>
                      <a:pt x="1044" y="190"/>
                      <a:pt x="1044" y="190"/>
                      <a:pt x="1044" y="190"/>
                    </a:cubicBezTo>
                    <a:cubicBezTo>
                      <a:pt x="1053" y="189"/>
                      <a:pt x="1053" y="189"/>
                      <a:pt x="1053" y="189"/>
                    </a:cubicBezTo>
                    <a:cubicBezTo>
                      <a:pt x="1054" y="191"/>
                      <a:pt x="1054" y="191"/>
                      <a:pt x="1054" y="191"/>
                    </a:cubicBezTo>
                    <a:cubicBezTo>
                      <a:pt x="1058" y="192"/>
                      <a:pt x="1058" y="192"/>
                      <a:pt x="1058" y="192"/>
                    </a:cubicBezTo>
                    <a:cubicBezTo>
                      <a:pt x="1072" y="200"/>
                      <a:pt x="1072" y="200"/>
                      <a:pt x="1072" y="200"/>
                    </a:cubicBezTo>
                    <a:cubicBezTo>
                      <a:pt x="1075" y="201"/>
                      <a:pt x="1075" y="201"/>
                      <a:pt x="1075" y="201"/>
                    </a:cubicBezTo>
                    <a:cubicBezTo>
                      <a:pt x="1077" y="205"/>
                      <a:pt x="1077" y="205"/>
                      <a:pt x="1077" y="205"/>
                    </a:cubicBezTo>
                    <a:cubicBezTo>
                      <a:pt x="1077" y="207"/>
                      <a:pt x="1077" y="207"/>
                      <a:pt x="1077" y="207"/>
                    </a:cubicBezTo>
                    <a:cubicBezTo>
                      <a:pt x="1084" y="215"/>
                      <a:pt x="1084" y="215"/>
                      <a:pt x="1084" y="215"/>
                    </a:cubicBezTo>
                    <a:cubicBezTo>
                      <a:pt x="1086" y="214"/>
                      <a:pt x="1086" y="214"/>
                      <a:pt x="1086" y="214"/>
                    </a:cubicBezTo>
                    <a:cubicBezTo>
                      <a:pt x="1086" y="211"/>
                      <a:pt x="1086" y="211"/>
                      <a:pt x="1086" y="211"/>
                    </a:cubicBezTo>
                    <a:cubicBezTo>
                      <a:pt x="1088" y="210"/>
                      <a:pt x="1088" y="210"/>
                      <a:pt x="1088" y="210"/>
                    </a:cubicBezTo>
                    <a:cubicBezTo>
                      <a:pt x="1089" y="208"/>
                      <a:pt x="1089" y="208"/>
                      <a:pt x="1089" y="208"/>
                    </a:cubicBezTo>
                    <a:cubicBezTo>
                      <a:pt x="1086" y="206"/>
                      <a:pt x="1086" y="206"/>
                      <a:pt x="1086" y="206"/>
                    </a:cubicBezTo>
                    <a:cubicBezTo>
                      <a:pt x="1083" y="206"/>
                      <a:pt x="1083" y="206"/>
                      <a:pt x="1083" y="206"/>
                    </a:cubicBezTo>
                    <a:cubicBezTo>
                      <a:pt x="1082" y="202"/>
                      <a:pt x="1082" y="202"/>
                      <a:pt x="1082" y="202"/>
                    </a:cubicBezTo>
                    <a:cubicBezTo>
                      <a:pt x="1086" y="200"/>
                      <a:pt x="1086" y="200"/>
                      <a:pt x="1086" y="200"/>
                    </a:cubicBezTo>
                    <a:cubicBezTo>
                      <a:pt x="1088" y="200"/>
                      <a:pt x="1088" y="200"/>
                      <a:pt x="1088" y="200"/>
                    </a:cubicBezTo>
                    <a:cubicBezTo>
                      <a:pt x="1090" y="203"/>
                      <a:pt x="1090" y="203"/>
                      <a:pt x="1090" y="203"/>
                    </a:cubicBezTo>
                    <a:cubicBezTo>
                      <a:pt x="1093" y="206"/>
                      <a:pt x="1093" y="206"/>
                      <a:pt x="1093" y="206"/>
                    </a:cubicBezTo>
                    <a:cubicBezTo>
                      <a:pt x="1093" y="209"/>
                      <a:pt x="1093" y="209"/>
                      <a:pt x="1093" y="209"/>
                    </a:cubicBezTo>
                    <a:cubicBezTo>
                      <a:pt x="1099" y="214"/>
                      <a:pt x="1099" y="214"/>
                      <a:pt x="1099" y="214"/>
                    </a:cubicBezTo>
                    <a:cubicBezTo>
                      <a:pt x="1099" y="218"/>
                      <a:pt x="1099" y="218"/>
                      <a:pt x="1099" y="218"/>
                    </a:cubicBezTo>
                    <a:cubicBezTo>
                      <a:pt x="1102" y="219"/>
                      <a:pt x="1102" y="219"/>
                      <a:pt x="1102" y="219"/>
                    </a:cubicBezTo>
                    <a:cubicBezTo>
                      <a:pt x="1104" y="218"/>
                      <a:pt x="1104" y="218"/>
                      <a:pt x="1104" y="218"/>
                    </a:cubicBezTo>
                    <a:cubicBezTo>
                      <a:pt x="1106" y="217"/>
                      <a:pt x="1106" y="217"/>
                      <a:pt x="1106" y="217"/>
                    </a:cubicBezTo>
                    <a:cubicBezTo>
                      <a:pt x="1108" y="219"/>
                      <a:pt x="1108" y="219"/>
                      <a:pt x="1108" y="219"/>
                    </a:cubicBezTo>
                    <a:cubicBezTo>
                      <a:pt x="1111" y="222"/>
                      <a:pt x="1111" y="222"/>
                      <a:pt x="1111" y="222"/>
                    </a:cubicBezTo>
                    <a:cubicBezTo>
                      <a:pt x="1111" y="226"/>
                      <a:pt x="1111" y="226"/>
                      <a:pt x="1111" y="226"/>
                    </a:cubicBezTo>
                    <a:cubicBezTo>
                      <a:pt x="1114" y="230"/>
                      <a:pt x="1114" y="230"/>
                      <a:pt x="1114" y="230"/>
                    </a:cubicBezTo>
                    <a:cubicBezTo>
                      <a:pt x="1114" y="233"/>
                      <a:pt x="1114" y="233"/>
                      <a:pt x="1114" y="233"/>
                    </a:cubicBezTo>
                    <a:cubicBezTo>
                      <a:pt x="1112" y="232"/>
                      <a:pt x="1112" y="232"/>
                      <a:pt x="1112" y="232"/>
                    </a:cubicBezTo>
                    <a:cubicBezTo>
                      <a:pt x="1112" y="230"/>
                      <a:pt x="1112" y="230"/>
                      <a:pt x="1112" y="230"/>
                    </a:cubicBezTo>
                    <a:cubicBezTo>
                      <a:pt x="1110" y="228"/>
                      <a:pt x="1110" y="228"/>
                      <a:pt x="1110" y="228"/>
                    </a:cubicBezTo>
                    <a:cubicBezTo>
                      <a:pt x="1109" y="228"/>
                      <a:pt x="1109" y="228"/>
                      <a:pt x="1109" y="228"/>
                    </a:cubicBezTo>
                    <a:cubicBezTo>
                      <a:pt x="1107" y="230"/>
                      <a:pt x="1107" y="230"/>
                      <a:pt x="1107" y="230"/>
                    </a:cubicBezTo>
                    <a:cubicBezTo>
                      <a:pt x="1104" y="228"/>
                      <a:pt x="1104" y="228"/>
                      <a:pt x="1104" y="228"/>
                    </a:cubicBezTo>
                    <a:cubicBezTo>
                      <a:pt x="1097" y="225"/>
                      <a:pt x="1097" y="225"/>
                      <a:pt x="1097" y="225"/>
                    </a:cubicBezTo>
                    <a:cubicBezTo>
                      <a:pt x="1092" y="225"/>
                      <a:pt x="1092" y="225"/>
                      <a:pt x="1092" y="225"/>
                    </a:cubicBezTo>
                    <a:cubicBezTo>
                      <a:pt x="1091" y="226"/>
                      <a:pt x="1091" y="226"/>
                      <a:pt x="1091" y="226"/>
                    </a:cubicBezTo>
                    <a:cubicBezTo>
                      <a:pt x="1094" y="230"/>
                      <a:pt x="1094" y="230"/>
                      <a:pt x="1094" y="230"/>
                    </a:cubicBezTo>
                    <a:cubicBezTo>
                      <a:pt x="1099" y="230"/>
                      <a:pt x="1099" y="230"/>
                      <a:pt x="1099" y="230"/>
                    </a:cubicBezTo>
                    <a:cubicBezTo>
                      <a:pt x="1101" y="232"/>
                      <a:pt x="1101" y="232"/>
                      <a:pt x="1101" y="232"/>
                    </a:cubicBezTo>
                    <a:cubicBezTo>
                      <a:pt x="1100" y="233"/>
                      <a:pt x="1100" y="233"/>
                      <a:pt x="1100" y="233"/>
                    </a:cubicBezTo>
                    <a:cubicBezTo>
                      <a:pt x="1102" y="237"/>
                      <a:pt x="1102" y="237"/>
                      <a:pt x="1102" y="237"/>
                    </a:cubicBezTo>
                    <a:cubicBezTo>
                      <a:pt x="1104" y="239"/>
                      <a:pt x="1104" y="239"/>
                      <a:pt x="1104" y="239"/>
                    </a:cubicBezTo>
                    <a:cubicBezTo>
                      <a:pt x="1106" y="237"/>
                      <a:pt x="1106" y="237"/>
                      <a:pt x="1106" y="237"/>
                    </a:cubicBezTo>
                    <a:cubicBezTo>
                      <a:pt x="1108" y="233"/>
                      <a:pt x="1108" y="233"/>
                      <a:pt x="1108" y="233"/>
                    </a:cubicBezTo>
                    <a:cubicBezTo>
                      <a:pt x="1109" y="233"/>
                      <a:pt x="1109" y="233"/>
                      <a:pt x="1109" y="233"/>
                    </a:cubicBezTo>
                    <a:cubicBezTo>
                      <a:pt x="1111" y="236"/>
                      <a:pt x="1111" y="236"/>
                      <a:pt x="1111" y="236"/>
                    </a:cubicBezTo>
                    <a:cubicBezTo>
                      <a:pt x="1114" y="237"/>
                      <a:pt x="1114" y="237"/>
                      <a:pt x="1114" y="237"/>
                    </a:cubicBezTo>
                    <a:cubicBezTo>
                      <a:pt x="1116" y="236"/>
                      <a:pt x="1116" y="236"/>
                      <a:pt x="1116" y="236"/>
                    </a:cubicBezTo>
                    <a:cubicBezTo>
                      <a:pt x="1118" y="237"/>
                      <a:pt x="1118" y="237"/>
                      <a:pt x="1118" y="237"/>
                    </a:cubicBezTo>
                    <a:cubicBezTo>
                      <a:pt x="1119" y="240"/>
                      <a:pt x="1119" y="240"/>
                      <a:pt x="1119" y="240"/>
                    </a:cubicBezTo>
                    <a:cubicBezTo>
                      <a:pt x="1118" y="242"/>
                      <a:pt x="1118" y="242"/>
                      <a:pt x="1118" y="242"/>
                    </a:cubicBezTo>
                    <a:cubicBezTo>
                      <a:pt x="1121" y="247"/>
                      <a:pt x="1121" y="247"/>
                      <a:pt x="1121" y="247"/>
                    </a:cubicBezTo>
                    <a:cubicBezTo>
                      <a:pt x="1122" y="254"/>
                      <a:pt x="1122" y="254"/>
                      <a:pt x="1122" y="254"/>
                    </a:cubicBezTo>
                    <a:cubicBezTo>
                      <a:pt x="1122" y="261"/>
                      <a:pt x="1122" y="261"/>
                      <a:pt x="1122" y="261"/>
                    </a:cubicBezTo>
                    <a:cubicBezTo>
                      <a:pt x="1120" y="267"/>
                      <a:pt x="1120" y="267"/>
                      <a:pt x="1120" y="267"/>
                    </a:cubicBezTo>
                    <a:cubicBezTo>
                      <a:pt x="1118" y="267"/>
                      <a:pt x="1118" y="267"/>
                      <a:pt x="1118" y="267"/>
                    </a:cubicBezTo>
                    <a:cubicBezTo>
                      <a:pt x="1116" y="270"/>
                      <a:pt x="1116" y="270"/>
                      <a:pt x="1116" y="270"/>
                    </a:cubicBezTo>
                    <a:cubicBezTo>
                      <a:pt x="1117" y="274"/>
                      <a:pt x="1117" y="274"/>
                      <a:pt x="1117" y="274"/>
                    </a:cubicBezTo>
                    <a:cubicBezTo>
                      <a:pt x="1115" y="278"/>
                      <a:pt x="1115" y="278"/>
                      <a:pt x="1115" y="278"/>
                    </a:cubicBezTo>
                    <a:cubicBezTo>
                      <a:pt x="1115" y="280"/>
                      <a:pt x="1115" y="280"/>
                      <a:pt x="1115" y="280"/>
                    </a:cubicBezTo>
                    <a:cubicBezTo>
                      <a:pt x="1117" y="283"/>
                      <a:pt x="1117" y="283"/>
                      <a:pt x="1117" y="283"/>
                    </a:cubicBezTo>
                    <a:cubicBezTo>
                      <a:pt x="1118" y="286"/>
                      <a:pt x="1118" y="286"/>
                      <a:pt x="1118" y="286"/>
                    </a:cubicBezTo>
                    <a:cubicBezTo>
                      <a:pt x="1113" y="288"/>
                      <a:pt x="1113" y="288"/>
                      <a:pt x="1113" y="288"/>
                    </a:cubicBezTo>
                    <a:cubicBezTo>
                      <a:pt x="1111" y="292"/>
                      <a:pt x="1111" y="292"/>
                      <a:pt x="1111" y="292"/>
                    </a:cubicBezTo>
                    <a:cubicBezTo>
                      <a:pt x="1112" y="294"/>
                      <a:pt x="1112" y="294"/>
                      <a:pt x="1112" y="294"/>
                    </a:cubicBezTo>
                    <a:cubicBezTo>
                      <a:pt x="1109" y="300"/>
                      <a:pt x="1109" y="300"/>
                      <a:pt x="1109" y="300"/>
                    </a:cubicBezTo>
                    <a:cubicBezTo>
                      <a:pt x="1107" y="302"/>
                      <a:pt x="1107" y="302"/>
                      <a:pt x="1107" y="302"/>
                    </a:cubicBezTo>
                    <a:cubicBezTo>
                      <a:pt x="1108" y="304"/>
                      <a:pt x="1108" y="304"/>
                      <a:pt x="1108" y="304"/>
                    </a:cubicBezTo>
                    <a:cubicBezTo>
                      <a:pt x="1106" y="308"/>
                      <a:pt x="1106" y="308"/>
                      <a:pt x="1106" y="308"/>
                    </a:cubicBezTo>
                    <a:cubicBezTo>
                      <a:pt x="1102" y="309"/>
                      <a:pt x="1102" y="309"/>
                      <a:pt x="1102" y="309"/>
                    </a:cubicBezTo>
                    <a:cubicBezTo>
                      <a:pt x="1098" y="313"/>
                      <a:pt x="1098" y="313"/>
                      <a:pt x="1098" y="313"/>
                    </a:cubicBezTo>
                    <a:cubicBezTo>
                      <a:pt x="1094" y="313"/>
                      <a:pt x="1094" y="313"/>
                      <a:pt x="1094" y="313"/>
                    </a:cubicBezTo>
                    <a:cubicBezTo>
                      <a:pt x="1098" y="314"/>
                      <a:pt x="1098" y="314"/>
                      <a:pt x="1098" y="314"/>
                    </a:cubicBezTo>
                    <a:cubicBezTo>
                      <a:pt x="1101" y="314"/>
                      <a:pt x="1101" y="314"/>
                      <a:pt x="1101" y="314"/>
                    </a:cubicBezTo>
                    <a:cubicBezTo>
                      <a:pt x="1104" y="312"/>
                      <a:pt x="1104" y="312"/>
                      <a:pt x="1104" y="312"/>
                    </a:cubicBezTo>
                    <a:cubicBezTo>
                      <a:pt x="1105" y="312"/>
                      <a:pt x="1105" y="312"/>
                      <a:pt x="1105" y="312"/>
                    </a:cubicBezTo>
                    <a:cubicBezTo>
                      <a:pt x="1107" y="317"/>
                      <a:pt x="1107" y="317"/>
                      <a:pt x="1107" y="317"/>
                    </a:cubicBezTo>
                    <a:cubicBezTo>
                      <a:pt x="1104" y="323"/>
                      <a:pt x="1104" y="323"/>
                      <a:pt x="1104" y="323"/>
                    </a:cubicBezTo>
                    <a:cubicBezTo>
                      <a:pt x="1101" y="327"/>
                      <a:pt x="1101" y="327"/>
                      <a:pt x="1101" y="327"/>
                    </a:cubicBezTo>
                    <a:cubicBezTo>
                      <a:pt x="1099" y="336"/>
                      <a:pt x="1099" y="336"/>
                      <a:pt x="1099" y="336"/>
                    </a:cubicBezTo>
                    <a:cubicBezTo>
                      <a:pt x="1101" y="340"/>
                      <a:pt x="1101" y="340"/>
                      <a:pt x="1101" y="340"/>
                    </a:cubicBezTo>
                    <a:cubicBezTo>
                      <a:pt x="1101" y="343"/>
                      <a:pt x="1101" y="343"/>
                      <a:pt x="1101" y="343"/>
                    </a:cubicBezTo>
                    <a:cubicBezTo>
                      <a:pt x="1098" y="351"/>
                      <a:pt x="1098" y="351"/>
                      <a:pt x="1098" y="351"/>
                    </a:cubicBezTo>
                    <a:cubicBezTo>
                      <a:pt x="1093" y="353"/>
                      <a:pt x="1093" y="353"/>
                      <a:pt x="1093" y="353"/>
                    </a:cubicBezTo>
                    <a:cubicBezTo>
                      <a:pt x="1091" y="353"/>
                      <a:pt x="1091" y="353"/>
                      <a:pt x="1091" y="353"/>
                    </a:cubicBezTo>
                    <a:cubicBezTo>
                      <a:pt x="1089" y="353"/>
                      <a:pt x="1089" y="353"/>
                      <a:pt x="1089" y="353"/>
                    </a:cubicBezTo>
                    <a:cubicBezTo>
                      <a:pt x="1087" y="355"/>
                      <a:pt x="1087" y="355"/>
                      <a:pt x="1087" y="355"/>
                    </a:cubicBezTo>
                    <a:cubicBezTo>
                      <a:pt x="1088" y="357"/>
                      <a:pt x="1088" y="357"/>
                      <a:pt x="1088" y="357"/>
                    </a:cubicBezTo>
                    <a:cubicBezTo>
                      <a:pt x="1091" y="365"/>
                      <a:pt x="1091" y="365"/>
                      <a:pt x="1091" y="365"/>
                    </a:cubicBezTo>
                    <a:cubicBezTo>
                      <a:pt x="1089" y="368"/>
                      <a:pt x="1089" y="368"/>
                      <a:pt x="1089" y="368"/>
                    </a:cubicBezTo>
                    <a:cubicBezTo>
                      <a:pt x="1085" y="370"/>
                      <a:pt x="1085" y="370"/>
                      <a:pt x="1085" y="370"/>
                    </a:cubicBezTo>
                    <a:cubicBezTo>
                      <a:pt x="1084" y="375"/>
                      <a:pt x="1084" y="375"/>
                      <a:pt x="1084" y="375"/>
                    </a:cubicBezTo>
                    <a:cubicBezTo>
                      <a:pt x="1085" y="380"/>
                      <a:pt x="1085" y="380"/>
                      <a:pt x="1085" y="380"/>
                    </a:cubicBezTo>
                    <a:cubicBezTo>
                      <a:pt x="1086" y="385"/>
                      <a:pt x="1086" y="385"/>
                      <a:pt x="1086" y="385"/>
                    </a:cubicBezTo>
                    <a:cubicBezTo>
                      <a:pt x="1084" y="387"/>
                      <a:pt x="1084" y="387"/>
                      <a:pt x="1084" y="387"/>
                    </a:cubicBezTo>
                    <a:cubicBezTo>
                      <a:pt x="1085" y="390"/>
                      <a:pt x="1085" y="390"/>
                      <a:pt x="1085" y="390"/>
                    </a:cubicBezTo>
                    <a:cubicBezTo>
                      <a:pt x="1087" y="391"/>
                      <a:pt x="1087" y="391"/>
                      <a:pt x="1087" y="391"/>
                    </a:cubicBezTo>
                    <a:cubicBezTo>
                      <a:pt x="1085" y="401"/>
                      <a:pt x="1085" y="401"/>
                      <a:pt x="1085" y="401"/>
                    </a:cubicBezTo>
                    <a:cubicBezTo>
                      <a:pt x="1081" y="404"/>
                      <a:pt x="1081" y="404"/>
                      <a:pt x="1081" y="404"/>
                    </a:cubicBezTo>
                    <a:cubicBezTo>
                      <a:pt x="1081" y="407"/>
                      <a:pt x="1081" y="407"/>
                      <a:pt x="1081" y="407"/>
                    </a:cubicBezTo>
                    <a:cubicBezTo>
                      <a:pt x="1082" y="405"/>
                      <a:pt x="1082" y="405"/>
                      <a:pt x="1082" y="405"/>
                    </a:cubicBezTo>
                    <a:cubicBezTo>
                      <a:pt x="1085" y="404"/>
                      <a:pt x="1085" y="404"/>
                      <a:pt x="1085" y="404"/>
                    </a:cubicBezTo>
                    <a:cubicBezTo>
                      <a:pt x="1089" y="401"/>
                      <a:pt x="1089" y="401"/>
                      <a:pt x="1089" y="401"/>
                    </a:cubicBezTo>
                    <a:cubicBezTo>
                      <a:pt x="1091" y="397"/>
                      <a:pt x="1091" y="397"/>
                      <a:pt x="1091" y="397"/>
                    </a:cubicBezTo>
                    <a:cubicBezTo>
                      <a:pt x="1090" y="396"/>
                      <a:pt x="1090" y="396"/>
                      <a:pt x="1090" y="396"/>
                    </a:cubicBezTo>
                    <a:cubicBezTo>
                      <a:pt x="1091" y="393"/>
                      <a:pt x="1091" y="393"/>
                      <a:pt x="1091" y="393"/>
                    </a:cubicBezTo>
                    <a:cubicBezTo>
                      <a:pt x="1096" y="393"/>
                      <a:pt x="1096" y="393"/>
                      <a:pt x="1096" y="393"/>
                    </a:cubicBezTo>
                    <a:cubicBezTo>
                      <a:pt x="1099" y="392"/>
                      <a:pt x="1099" y="392"/>
                      <a:pt x="1099" y="392"/>
                    </a:cubicBezTo>
                    <a:cubicBezTo>
                      <a:pt x="1096" y="392"/>
                      <a:pt x="1096" y="392"/>
                      <a:pt x="1096" y="392"/>
                    </a:cubicBezTo>
                    <a:cubicBezTo>
                      <a:pt x="1090" y="385"/>
                      <a:pt x="1090" y="385"/>
                      <a:pt x="1090" y="385"/>
                    </a:cubicBezTo>
                    <a:cubicBezTo>
                      <a:pt x="1088" y="380"/>
                      <a:pt x="1088" y="380"/>
                      <a:pt x="1088" y="380"/>
                    </a:cubicBezTo>
                    <a:cubicBezTo>
                      <a:pt x="1090" y="376"/>
                      <a:pt x="1090" y="376"/>
                      <a:pt x="1090" y="376"/>
                    </a:cubicBezTo>
                    <a:cubicBezTo>
                      <a:pt x="1097" y="376"/>
                      <a:pt x="1097" y="376"/>
                      <a:pt x="1097" y="376"/>
                    </a:cubicBezTo>
                    <a:cubicBezTo>
                      <a:pt x="1103" y="375"/>
                      <a:pt x="1103" y="375"/>
                      <a:pt x="1103" y="375"/>
                    </a:cubicBezTo>
                    <a:cubicBezTo>
                      <a:pt x="1109" y="370"/>
                      <a:pt x="1109" y="370"/>
                      <a:pt x="1109" y="370"/>
                    </a:cubicBezTo>
                    <a:cubicBezTo>
                      <a:pt x="1112" y="370"/>
                      <a:pt x="1112" y="370"/>
                      <a:pt x="1112" y="370"/>
                    </a:cubicBezTo>
                    <a:cubicBezTo>
                      <a:pt x="1114" y="368"/>
                      <a:pt x="1114" y="368"/>
                      <a:pt x="1114" y="368"/>
                    </a:cubicBezTo>
                    <a:cubicBezTo>
                      <a:pt x="1112" y="365"/>
                      <a:pt x="1112" y="365"/>
                      <a:pt x="1112" y="365"/>
                    </a:cubicBezTo>
                    <a:cubicBezTo>
                      <a:pt x="1118" y="361"/>
                      <a:pt x="1118" y="361"/>
                      <a:pt x="1118" y="361"/>
                    </a:cubicBezTo>
                    <a:cubicBezTo>
                      <a:pt x="1120" y="356"/>
                      <a:pt x="1120" y="356"/>
                      <a:pt x="1120" y="356"/>
                    </a:cubicBezTo>
                    <a:cubicBezTo>
                      <a:pt x="1118" y="352"/>
                      <a:pt x="1118" y="352"/>
                      <a:pt x="1118" y="352"/>
                    </a:cubicBezTo>
                    <a:cubicBezTo>
                      <a:pt x="1118" y="351"/>
                      <a:pt x="1118" y="351"/>
                      <a:pt x="1118" y="351"/>
                    </a:cubicBezTo>
                    <a:cubicBezTo>
                      <a:pt x="1122" y="353"/>
                      <a:pt x="1122" y="353"/>
                      <a:pt x="1122" y="353"/>
                    </a:cubicBezTo>
                    <a:cubicBezTo>
                      <a:pt x="1127" y="352"/>
                      <a:pt x="1127" y="352"/>
                      <a:pt x="1127" y="352"/>
                    </a:cubicBezTo>
                    <a:cubicBezTo>
                      <a:pt x="1130" y="348"/>
                      <a:pt x="1130" y="348"/>
                      <a:pt x="1130" y="348"/>
                    </a:cubicBezTo>
                    <a:cubicBezTo>
                      <a:pt x="1128" y="345"/>
                      <a:pt x="1128" y="345"/>
                      <a:pt x="1128" y="345"/>
                    </a:cubicBezTo>
                    <a:cubicBezTo>
                      <a:pt x="1135" y="340"/>
                      <a:pt x="1135" y="340"/>
                      <a:pt x="1135" y="340"/>
                    </a:cubicBezTo>
                    <a:cubicBezTo>
                      <a:pt x="1135" y="336"/>
                      <a:pt x="1135" y="336"/>
                      <a:pt x="1135" y="336"/>
                    </a:cubicBezTo>
                    <a:cubicBezTo>
                      <a:pt x="1133" y="333"/>
                      <a:pt x="1133" y="333"/>
                      <a:pt x="1133" y="333"/>
                    </a:cubicBezTo>
                    <a:cubicBezTo>
                      <a:pt x="1126" y="337"/>
                      <a:pt x="1126" y="337"/>
                      <a:pt x="1126" y="337"/>
                    </a:cubicBezTo>
                    <a:cubicBezTo>
                      <a:pt x="1126" y="339"/>
                      <a:pt x="1126" y="339"/>
                      <a:pt x="1126" y="339"/>
                    </a:cubicBezTo>
                    <a:cubicBezTo>
                      <a:pt x="1120" y="343"/>
                      <a:pt x="1120" y="343"/>
                      <a:pt x="1120" y="343"/>
                    </a:cubicBezTo>
                    <a:cubicBezTo>
                      <a:pt x="1116" y="341"/>
                      <a:pt x="1116" y="341"/>
                      <a:pt x="1116" y="341"/>
                    </a:cubicBezTo>
                    <a:cubicBezTo>
                      <a:pt x="1113" y="337"/>
                      <a:pt x="1113" y="337"/>
                      <a:pt x="1113" y="337"/>
                    </a:cubicBezTo>
                    <a:cubicBezTo>
                      <a:pt x="1116" y="332"/>
                      <a:pt x="1116" y="332"/>
                      <a:pt x="1116" y="332"/>
                    </a:cubicBezTo>
                    <a:cubicBezTo>
                      <a:pt x="1115" y="326"/>
                      <a:pt x="1115" y="326"/>
                      <a:pt x="1115" y="326"/>
                    </a:cubicBezTo>
                    <a:cubicBezTo>
                      <a:pt x="1119" y="323"/>
                      <a:pt x="1119" y="323"/>
                      <a:pt x="1119" y="323"/>
                    </a:cubicBezTo>
                    <a:cubicBezTo>
                      <a:pt x="1125" y="323"/>
                      <a:pt x="1125" y="323"/>
                      <a:pt x="1125" y="323"/>
                    </a:cubicBezTo>
                    <a:cubicBezTo>
                      <a:pt x="1131" y="327"/>
                      <a:pt x="1131" y="327"/>
                      <a:pt x="1131" y="327"/>
                    </a:cubicBezTo>
                    <a:cubicBezTo>
                      <a:pt x="1134" y="324"/>
                      <a:pt x="1134" y="324"/>
                      <a:pt x="1134" y="324"/>
                    </a:cubicBezTo>
                    <a:cubicBezTo>
                      <a:pt x="1133" y="320"/>
                      <a:pt x="1133" y="320"/>
                      <a:pt x="1133" y="320"/>
                    </a:cubicBezTo>
                    <a:cubicBezTo>
                      <a:pt x="1139" y="318"/>
                      <a:pt x="1139" y="318"/>
                      <a:pt x="1139" y="318"/>
                    </a:cubicBezTo>
                    <a:cubicBezTo>
                      <a:pt x="1139" y="321"/>
                      <a:pt x="1139" y="321"/>
                      <a:pt x="1139" y="321"/>
                    </a:cubicBezTo>
                    <a:cubicBezTo>
                      <a:pt x="1137" y="323"/>
                      <a:pt x="1137" y="323"/>
                      <a:pt x="1137" y="323"/>
                    </a:cubicBezTo>
                    <a:cubicBezTo>
                      <a:pt x="1137" y="327"/>
                      <a:pt x="1137" y="327"/>
                      <a:pt x="1137" y="327"/>
                    </a:cubicBezTo>
                    <a:cubicBezTo>
                      <a:pt x="1148" y="335"/>
                      <a:pt x="1148" y="335"/>
                      <a:pt x="1148" y="335"/>
                    </a:cubicBezTo>
                    <a:cubicBezTo>
                      <a:pt x="1153" y="335"/>
                      <a:pt x="1153" y="335"/>
                      <a:pt x="1153" y="335"/>
                    </a:cubicBezTo>
                    <a:cubicBezTo>
                      <a:pt x="1156" y="334"/>
                      <a:pt x="1156" y="334"/>
                      <a:pt x="1156" y="334"/>
                    </a:cubicBezTo>
                    <a:cubicBezTo>
                      <a:pt x="1163" y="333"/>
                      <a:pt x="1163" y="333"/>
                      <a:pt x="1163" y="333"/>
                    </a:cubicBezTo>
                    <a:cubicBezTo>
                      <a:pt x="1166" y="329"/>
                      <a:pt x="1166" y="329"/>
                      <a:pt x="1166" y="329"/>
                    </a:cubicBezTo>
                    <a:cubicBezTo>
                      <a:pt x="1165" y="325"/>
                      <a:pt x="1165" y="325"/>
                      <a:pt x="1165" y="325"/>
                    </a:cubicBezTo>
                    <a:cubicBezTo>
                      <a:pt x="1160" y="319"/>
                      <a:pt x="1160" y="319"/>
                      <a:pt x="1160" y="319"/>
                    </a:cubicBezTo>
                    <a:cubicBezTo>
                      <a:pt x="1159" y="316"/>
                      <a:pt x="1159" y="316"/>
                      <a:pt x="1159" y="316"/>
                    </a:cubicBezTo>
                    <a:cubicBezTo>
                      <a:pt x="1161" y="317"/>
                      <a:pt x="1161" y="317"/>
                      <a:pt x="1161" y="317"/>
                    </a:cubicBezTo>
                    <a:cubicBezTo>
                      <a:pt x="1169" y="324"/>
                      <a:pt x="1169" y="324"/>
                      <a:pt x="1169" y="324"/>
                    </a:cubicBezTo>
                    <a:cubicBezTo>
                      <a:pt x="1171" y="324"/>
                      <a:pt x="1171" y="324"/>
                      <a:pt x="1171" y="324"/>
                    </a:cubicBezTo>
                    <a:cubicBezTo>
                      <a:pt x="1176" y="328"/>
                      <a:pt x="1176" y="328"/>
                      <a:pt x="1176" y="328"/>
                    </a:cubicBezTo>
                    <a:cubicBezTo>
                      <a:pt x="1175" y="331"/>
                      <a:pt x="1175" y="331"/>
                      <a:pt x="1175" y="331"/>
                    </a:cubicBezTo>
                    <a:cubicBezTo>
                      <a:pt x="1176" y="333"/>
                      <a:pt x="1176" y="333"/>
                      <a:pt x="1176" y="333"/>
                    </a:cubicBezTo>
                    <a:cubicBezTo>
                      <a:pt x="1181" y="337"/>
                      <a:pt x="1181" y="337"/>
                      <a:pt x="1181" y="337"/>
                    </a:cubicBezTo>
                    <a:cubicBezTo>
                      <a:pt x="1181" y="344"/>
                      <a:pt x="1181" y="344"/>
                      <a:pt x="1181" y="344"/>
                    </a:cubicBezTo>
                    <a:cubicBezTo>
                      <a:pt x="1183" y="345"/>
                      <a:pt x="1183" y="345"/>
                      <a:pt x="1183" y="345"/>
                    </a:cubicBezTo>
                    <a:cubicBezTo>
                      <a:pt x="1183" y="344"/>
                      <a:pt x="1183" y="344"/>
                      <a:pt x="1183" y="344"/>
                    </a:cubicBezTo>
                    <a:cubicBezTo>
                      <a:pt x="1186" y="340"/>
                      <a:pt x="1186" y="340"/>
                      <a:pt x="1186" y="340"/>
                    </a:cubicBezTo>
                    <a:cubicBezTo>
                      <a:pt x="1188" y="339"/>
                      <a:pt x="1188" y="339"/>
                      <a:pt x="1188" y="339"/>
                    </a:cubicBezTo>
                    <a:cubicBezTo>
                      <a:pt x="1190" y="337"/>
                      <a:pt x="1190" y="337"/>
                      <a:pt x="1190" y="337"/>
                    </a:cubicBezTo>
                    <a:cubicBezTo>
                      <a:pt x="1188" y="336"/>
                      <a:pt x="1188" y="336"/>
                      <a:pt x="1188" y="336"/>
                    </a:cubicBezTo>
                    <a:cubicBezTo>
                      <a:pt x="1185" y="337"/>
                      <a:pt x="1185" y="337"/>
                      <a:pt x="1185" y="337"/>
                    </a:cubicBezTo>
                    <a:cubicBezTo>
                      <a:pt x="1183" y="336"/>
                      <a:pt x="1183" y="336"/>
                      <a:pt x="1183" y="336"/>
                    </a:cubicBezTo>
                    <a:cubicBezTo>
                      <a:pt x="1180" y="331"/>
                      <a:pt x="1180" y="331"/>
                      <a:pt x="1180" y="331"/>
                    </a:cubicBezTo>
                    <a:cubicBezTo>
                      <a:pt x="1185" y="327"/>
                      <a:pt x="1185" y="327"/>
                      <a:pt x="1185" y="327"/>
                    </a:cubicBezTo>
                    <a:cubicBezTo>
                      <a:pt x="1189" y="325"/>
                      <a:pt x="1189" y="325"/>
                      <a:pt x="1189" y="325"/>
                    </a:cubicBezTo>
                    <a:cubicBezTo>
                      <a:pt x="1191" y="322"/>
                      <a:pt x="1191" y="322"/>
                      <a:pt x="1191" y="322"/>
                    </a:cubicBezTo>
                    <a:cubicBezTo>
                      <a:pt x="1193" y="322"/>
                      <a:pt x="1193" y="322"/>
                      <a:pt x="1193" y="322"/>
                    </a:cubicBezTo>
                    <a:cubicBezTo>
                      <a:pt x="1195" y="320"/>
                      <a:pt x="1195" y="320"/>
                      <a:pt x="1195" y="320"/>
                    </a:cubicBezTo>
                    <a:cubicBezTo>
                      <a:pt x="1203" y="318"/>
                      <a:pt x="1203" y="318"/>
                      <a:pt x="1203" y="318"/>
                    </a:cubicBezTo>
                    <a:cubicBezTo>
                      <a:pt x="1216" y="315"/>
                      <a:pt x="1216" y="315"/>
                      <a:pt x="1216" y="315"/>
                    </a:cubicBezTo>
                    <a:cubicBezTo>
                      <a:pt x="1231" y="314"/>
                      <a:pt x="1231" y="314"/>
                      <a:pt x="1231" y="314"/>
                    </a:cubicBezTo>
                    <a:cubicBezTo>
                      <a:pt x="1243" y="309"/>
                      <a:pt x="1243" y="309"/>
                      <a:pt x="1243" y="309"/>
                    </a:cubicBezTo>
                    <a:cubicBezTo>
                      <a:pt x="1249" y="309"/>
                      <a:pt x="1249" y="309"/>
                      <a:pt x="1249" y="309"/>
                    </a:cubicBezTo>
                    <a:cubicBezTo>
                      <a:pt x="1254" y="311"/>
                      <a:pt x="1254" y="311"/>
                      <a:pt x="1254" y="311"/>
                    </a:cubicBezTo>
                    <a:cubicBezTo>
                      <a:pt x="1254" y="314"/>
                      <a:pt x="1254" y="314"/>
                      <a:pt x="1254" y="314"/>
                    </a:cubicBezTo>
                    <a:cubicBezTo>
                      <a:pt x="1252" y="315"/>
                      <a:pt x="1252" y="315"/>
                      <a:pt x="1252" y="315"/>
                    </a:cubicBezTo>
                    <a:cubicBezTo>
                      <a:pt x="1250" y="319"/>
                      <a:pt x="1250" y="319"/>
                      <a:pt x="1250" y="319"/>
                    </a:cubicBezTo>
                    <a:cubicBezTo>
                      <a:pt x="1252" y="326"/>
                      <a:pt x="1252" y="326"/>
                      <a:pt x="1252" y="326"/>
                    </a:cubicBezTo>
                    <a:cubicBezTo>
                      <a:pt x="1257" y="330"/>
                      <a:pt x="1257" y="330"/>
                      <a:pt x="1257" y="330"/>
                    </a:cubicBezTo>
                    <a:cubicBezTo>
                      <a:pt x="1274" y="331"/>
                      <a:pt x="1274" y="331"/>
                      <a:pt x="1274" y="331"/>
                    </a:cubicBezTo>
                    <a:cubicBezTo>
                      <a:pt x="1277" y="332"/>
                      <a:pt x="1277" y="332"/>
                      <a:pt x="1277" y="332"/>
                    </a:cubicBezTo>
                    <a:cubicBezTo>
                      <a:pt x="1279" y="331"/>
                      <a:pt x="1279" y="331"/>
                      <a:pt x="1279" y="331"/>
                    </a:cubicBezTo>
                    <a:cubicBezTo>
                      <a:pt x="1285" y="331"/>
                      <a:pt x="1285" y="331"/>
                      <a:pt x="1285" y="331"/>
                    </a:cubicBezTo>
                    <a:cubicBezTo>
                      <a:pt x="1289" y="333"/>
                      <a:pt x="1289" y="333"/>
                      <a:pt x="1289" y="333"/>
                    </a:cubicBezTo>
                    <a:cubicBezTo>
                      <a:pt x="1301" y="331"/>
                      <a:pt x="1301" y="331"/>
                      <a:pt x="1301" y="331"/>
                    </a:cubicBezTo>
                    <a:cubicBezTo>
                      <a:pt x="1310" y="326"/>
                      <a:pt x="1310" y="326"/>
                      <a:pt x="1310" y="326"/>
                    </a:cubicBezTo>
                    <a:cubicBezTo>
                      <a:pt x="1313" y="327"/>
                      <a:pt x="1313" y="327"/>
                      <a:pt x="1313" y="327"/>
                    </a:cubicBezTo>
                    <a:cubicBezTo>
                      <a:pt x="1317" y="327"/>
                      <a:pt x="1317" y="327"/>
                      <a:pt x="1317" y="327"/>
                    </a:cubicBezTo>
                    <a:cubicBezTo>
                      <a:pt x="1319" y="323"/>
                      <a:pt x="1319" y="323"/>
                      <a:pt x="1319" y="323"/>
                    </a:cubicBezTo>
                    <a:cubicBezTo>
                      <a:pt x="1317" y="321"/>
                      <a:pt x="1317" y="321"/>
                      <a:pt x="1317" y="321"/>
                    </a:cubicBezTo>
                    <a:cubicBezTo>
                      <a:pt x="1321" y="320"/>
                      <a:pt x="1321" y="320"/>
                      <a:pt x="1321" y="320"/>
                    </a:cubicBezTo>
                    <a:cubicBezTo>
                      <a:pt x="1324" y="321"/>
                      <a:pt x="1324" y="321"/>
                      <a:pt x="1324" y="321"/>
                    </a:cubicBezTo>
                    <a:cubicBezTo>
                      <a:pt x="1330" y="319"/>
                      <a:pt x="1330" y="319"/>
                      <a:pt x="1330" y="319"/>
                    </a:cubicBezTo>
                    <a:cubicBezTo>
                      <a:pt x="1331" y="322"/>
                      <a:pt x="1331" y="322"/>
                      <a:pt x="1331" y="322"/>
                    </a:cubicBezTo>
                    <a:cubicBezTo>
                      <a:pt x="1333" y="323"/>
                      <a:pt x="1333" y="323"/>
                      <a:pt x="1333" y="323"/>
                    </a:cubicBezTo>
                    <a:cubicBezTo>
                      <a:pt x="1335" y="319"/>
                      <a:pt x="1335" y="319"/>
                      <a:pt x="1335" y="319"/>
                    </a:cubicBezTo>
                    <a:cubicBezTo>
                      <a:pt x="1334" y="316"/>
                      <a:pt x="1334" y="316"/>
                      <a:pt x="1334" y="316"/>
                    </a:cubicBezTo>
                    <a:cubicBezTo>
                      <a:pt x="1331" y="314"/>
                      <a:pt x="1331" y="314"/>
                      <a:pt x="1331" y="314"/>
                    </a:cubicBezTo>
                    <a:cubicBezTo>
                      <a:pt x="1331" y="310"/>
                      <a:pt x="1331" y="310"/>
                      <a:pt x="1331" y="310"/>
                    </a:cubicBezTo>
                    <a:cubicBezTo>
                      <a:pt x="1329" y="307"/>
                      <a:pt x="1329" y="307"/>
                      <a:pt x="1329" y="307"/>
                    </a:cubicBezTo>
                    <a:cubicBezTo>
                      <a:pt x="1325" y="306"/>
                      <a:pt x="1325" y="306"/>
                      <a:pt x="1325" y="306"/>
                    </a:cubicBezTo>
                    <a:cubicBezTo>
                      <a:pt x="1324" y="301"/>
                      <a:pt x="1324" y="301"/>
                      <a:pt x="1324" y="301"/>
                    </a:cubicBezTo>
                    <a:cubicBezTo>
                      <a:pt x="1322" y="301"/>
                      <a:pt x="1322" y="301"/>
                      <a:pt x="1322" y="301"/>
                    </a:cubicBezTo>
                    <a:cubicBezTo>
                      <a:pt x="1321" y="297"/>
                      <a:pt x="1321" y="297"/>
                      <a:pt x="1321" y="297"/>
                    </a:cubicBezTo>
                    <a:cubicBezTo>
                      <a:pt x="1319" y="294"/>
                      <a:pt x="1319" y="294"/>
                      <a:pt x="1319" y="294"/>
                    </a:cubicBezTo>
                    <a:cubicBezTo>
                      <a:pt x="1318" y="289"/>
                      <a:pt x="1318" y="289"/>
                      <a:pt x="1318" y="289"/>
                    </a:cubicBezTo>
                    <a:cubicBezTo>
                      <a:pt x="1320" y="286"/>
                      <a:pt x="1320" y="286"/>
                      <a:pt x="1320" y="286"/>
                    </a:cubicBezTo>
                    <a:cubicBezTo>
                      <a:pt x="1321" y="288"/>
                      <a:pt x="1321" y="288"/>
                      <a:pt x="1321" y="288"/>
                    </a:cubicBezTo>
                    <a:cubicBezTo>
                      <a:pt x="1323" y="289"/>
                      <a:pt x="1323" y="289"/>
                      <a:pt x="1323" y="289"/>
                    </a:cubicBezTo>
                    <a:cubicBezTo>
                      <a:pt x="1327" y="286"/>
                      <a:pt x="1327" y="286"/>
                      <a:pt x="1327" y="286"/>
                    </a:cubicBezTo>
                    <a:cubicBezTo>
                      <a:pt x="1326" y="284"/>
                      <a:pt x="1326" y="284"/>
                      <a:pt x="1326" y="284"/>
                    </a:cubicBezTo>
                    <a:cubicBezTo>
                      <a:pt x="1325" y="281"/>
                      <a:pt x="1325" y="281"/>
                      <a:pt x="1325" y="281"/>
                    </a:cubicBezTo>
                    <a:cubicBezTo>
                      <a:pt x="1328" y="281"/>
                      <a:pt x="1328" y="281"/>
                      <a:pt x="1328" y="281"/>
                    </a:cubicBezTo>
                    <a:cubicBezTo>
                      <a:pt x="1333" y="284"/>
                      <a:pt x="1333" y="284"/>
                      <a:pt x="1333" y="284"/>
                    </a:cubicBezTo>
                    <a:cubicBezTo>
                      <a:pt x="1335" y="283"/>
                      <a:pt x="1335" y="283"/>
                      <a:pt x="1335" y="283"/>
                    </a:cubicBezTo>
                    <a:cubicBezTo>
                      <a:pt x="1336" y="279"/>
                      <a:pt x="1336" y="279"/>
                      <a:pt x="1336" y="279"/>
                    </a:cubicBezTo>
                    <a:cubicBezTo>
                      <a:pt x="1337" y="282"/>
                      <a:pt x="1337" y="282"/>
                      <a:pt x="1337" y="282"/>
                    </a:cubicBezTo>
                    <a:cubicBezTo>
                      <a:pt x="1342" y="281"/>
                      <a:pt x="1342" y="281"/>
                      <a:pt x="1342" y="281"/>
                    </a:cubicBezTo>
                    <a:cubicBezTo>
                      <a:pt x="1345" y="281"/>
                      <a:pt x="1345" y="281"/>
                      <a:pt x="1345" y="281"/>
                    </a:cubicBezTo>
                    <a:cubicBezTo>
                      <a:pt x="1347" y="279"/>
                      <a:pt x="1347" y="279"/>
                      <a:pt x="1347" y="279"/>
                    </a:cubicBezTo>
                    <a:cubicBezTo>
                      <a:pt x="1350" y="282"/>
                      <a:pt x="1350" y="282"/>
                      <a:pt x="1350" y="282"/>
                    </a:cubicBezTo>
                    <a:cubicBezTo>
                      <a:pt x="1353" y="283"/>
                      <a:pt x="1353" y="283"/>
                      <a:pt x="1353" y="283"/>
                    </a:cubicBezTo>
                    <a:cubicBezTo>
                      <a:pt x="1356" y="286"/>
                      <a:pt x="1356" y="286"/>
                      <a:pt x="1356" y="286"/>
                    </a:cubicBezTo>
                    <a:cubicBezTo>
                      <a:pt x="1358" y="284"/>
                      <a:pt x="1358" y="284"/>
                      <a:pt x="1358" y="284"/>
                    </a:cubicBezTo>
                    <a:cubicBezTo>
                      <a:pt x="1358" y="281"/>
                      <a:pt x="1358" y="281"/>
                      <a:pt x="1358" y="281"/>
                    </a:cubicBezTo>
                    <a:cubicBezTo>
                      <a:pt x="1361" y="282"/>
                      <a:pt x="1361" y="282"/>
                      <a:pt x="1361" y="282"/>
                    </a:cubicBezTo>
                    <a:cubicBezTo>
                      <a:pt x="1363" y="285"/>
                      <a:pt x="1363" y="285"/>
                      <a:pt x="1363" y="285"/>
                    </a:cubicBezTo>
                    <a:cubicBezTo>
                      <a:pt x="1361" y="287"/>
                      <a:pt x="1361" y="287"/>
                      <a:pt x="1361" y="287"/>
                    </a:cubicBezTo>
                    <a:cubicBezTo>
                      <a:pt x="1359" y="290"/>
                      <a:pt x="1359" y="290"/>
                      <a:pt x="1359" y="290"/>
                    </a:cubicBezTo>
                    <a:cubicBezTo>
                      <a:pt x="1361" y="291"/>
                      <a:pt x="1361" y="291"/>
                      <a:pt x="1361" y="291"/>
                    </a:cubicBezTo>
                    <a:cubicBezTo>
                      <a:pt x="1365" y="291"/>
                      <a:pt x="1365" y="291"/>
                      <a:pt x="1365" y="291"/>
                    </a:cubicBezTo>
                    <a:cubicBezTo>
                      <a:pt x="1366" y="291"/>
                      <a:pt x="1366" y="291"/>
                      <a:pt x="1366" y="291"/>
                    </a:cubicBezTo>
                    <a:cubicBezTo>
                      <a:pt x="1366" y="288"/>
                      <a:pt x="1366" y="288"/>
                      <a:pt x="1366" y="288"/>
                    </a:cubicBezTo>
                    <a:cubicBezTo>
                      <a:pt x="1368" y="287"/>
                      <a:pt x="1368" y="287"/>
                      <a:pt x="1368" y="287"/>
                    </a:cubicBezTo>
                    <a:cubicBezTo>
                      <a:pt x="1370" y="288"/>
                      <a:pt x="1370" y="288"/>
                      <a:pt x="1370" y="288"/>
                    </a:cubicBezTo>
                    <a:cubicBezTo>
                      <a:pt x="1369" y="284"/>
                      <a:pt x="1369" y="284"/>
                      <a:pt x="1369" y="284"/>
                    </a:cubicBezTo>
                    <a:cubicBezTo>
                      <a:pt x="1367" y="283"/>
                      <a:pt x="1367" y="283"/>
                      <a:pt x="1367" y="283"/>
                    </a:cubicBezTo>
                    <a:cubicBezTo>
                      <a:pt x="1368" y="281"/>
                      <a:pt x="1368" y="281"/>
                      <a:pt x="1368" y="281"/>
                    </a:cubicBezTo>
                    <a:cubicBezTo>
                      <a:pt x="1371" y="281"/>
                      <a:pt x="1371" y="281"/>
                      <a:pt x="1371" y="281"/>
                    </a:cubicBezTo>
                    <a:cubicBezTo>
                      <a:pt x="1377" y="279"/>
                      <a:pt x="1377" y="279"/>
                      <a:pt x="1377" y="279"/>
                    </a:cubicBezTo>
                    <a:cubicBezTo>
                      <a:pt x="1379" y="281"/>
                      <a:pt x="1379" y="281"/>
                      <a:pt x="1379" y="281"/>
                    </a:cubicBezTo>
                    <a:cubicBezTo>
                      <a:pt x="1381" y="280"/>
                      <a:pt x="1381" y="280"/>
                      <a:pt x="1381" y="280"/>
                    </a:cubicBezTo>
                    <a:cubicBezTo>
                      <a:pt x="1386" y="280"/>
                      <a:pt x="1386" y="280"/>
                      <a:pt x="1386" y="280"/>
                    </a:cubicBezTo>
                    <a:cubicBezTo>
                      <a:pt x="1387" y="282"/>
                      <a:pt x="1387" y="282"/>
                      <a:pt x="1387" y="282"/>
                    </a:cubicBezTo>
                    <a:cubicBezTo>
                      <a:pt x="1388" y="287"/>
                      <a:pt x="1388" y="287"/>
                      <a:pt x="1388" y="287"/>
                    </a:cubicBezTo>
                    <a:cubicBezTo>
                      <a:pt x="1389" y="285"/>
                      <a:pt x="1389" y="285"/>
                      <a:pt x="1389" y="285"/>
                    </a:cubicBezTo>
                    <a:cubicBezTo>
                      <a:pt x="1390" y="285"/>
                      <a:pt x="1390" y="285"/>
                      <a:pt x="1390" y="285"/>
                    </a:cubicBezTo>
                    <a:cubicBezTo>
                      <a:pt x="1394" y="282"/>
                      <a:pt x="1394" y="282"/>
                      <a:pt x="1394" y="282"/>
                    </a:cubicBezTo>
                    <a:cubicBezTo>
                      <a:pt x="1395" y="287"/>
                      <a:pt x="1395" y="287"/>
                      <a:pt x="1395" y="287"/>
                    </a:cubicBezTo>
                    <a:cubicBezTo>
                      <a:pt x="1397" y="287"/>
                      <a:pt x="1397" y="287"/>
                      <a:pt x="1397" y="287"/>
                    </a:cubicBezTo>
                    <a:cubicBezTo>
                      <a:pt x="1401" y="284"/>
                      <a:pt x="1401" y="284"/>
                      <a:pt x="1401" y="284"/>
                    </a:cubicBezTo>
                    <a:cubicBezTo>
                      <a:pt x="1405" y="287"/>
                      <a:pt x="1405" y="287"/>
                      <a:pt x="1405" y="287"/>
                    </a:cubicBezTo>
                    <a:cubicBezTo>
                      <a:pt x="1406" y="295"/>
                      <a:pt x="1406" y="295"/>
                      <a:pt x="1406" y="295"/>
                    </a:cubicBezTo>
                    <a:cubicBezTo>
                      <a:pt x="1408" y="290"/>
                      <a:pt x="1408" y="290"/>
                      <a:pt x="1408" y="290"/>
                    </a:cubicBezTo>
                    <a:cubicBezTo>
                      <a:pt x="1411" y="288"/>
                      <a:pt x="1411" y="288"/>
                      <a:pt x="1411" y="288"/>
                    </a:cubicBezTo>
                    <a:cubicBezTo>
                      <a:pt x="1412" y="290"/>
                      <a:pt x="1412" y="290"/>
                      <a:pt x="1412" y="290"/>
                    </a:cubicBezTo>
                    <a:cubicBezTo>
                      <a:pt x="1410" y="295"/>
                      <a:pt x="1410" y="295"/>
                      <a:pt x="1410" y="295"/>
                    </a:cubicBezTo>
                    <a:cubicBezTo>
                      <a:pt x="1413" y="297"/>
                      <a:pt x="1413" y="297"/>
                      <a:pt x="1413" y="297"/>
                    </a:cubicBezTo>
                    <a:cubicBezTo>
                      <a:pt x="1414" y="298"/>
                      <a:pt x="1414" y="298"/>
                      <a:pt x="1414" y="298"/>
                    </a:cubicBezTo>
                    <a:cubicBezTo>
                      <a:pt x="1418" y="299"/>
                      <a:pt x="1418" y="299"/>
                      <a:pt x="1418" y="299"/>
                    </a:cubicBezTo>
                    <a:cubicBezTo>
                      <a:pt x="1419" y="302"/>
                      <a:pt x="1419" y="302"/>
                      <a:pt x="1419" y="302"/>
                    </a:cubicBezTo>
                    <a:cubicBezTo>
                      <a:pt x="1421" y="301"/>
                      <a:pt x="1421" y="301"/>
                      <a:pt x="1421" y="301"/>
                    </a:cubicBezTo>
                    <a:cubicBezTo>
                      <a:pt x="1422" y="300"/>
                      <a:pt x="1422" y="300"/>
                      <a:pt x="1422" y="300"/>
                    </a:cubicBezTo>
                    <a:cubicBezTo>
                      <a:pt x="1424" y="304"/>
                      <a:pt x="1424" y="304"/>
                      <a:pt x="1424" y="304"/>
                    </a:cubicBezTo>
                    <a:cubicBezTo>
                      <a:pt x="1421" y="307"/>
                      <a:pt x="1421" y="307"/>
                      <a:pt x="1421" y="307"/>
                    </a:cubicBezTo>
                    <a:cubicBezTo>
                      <a:pt x="1421" y="312"/>
                      <a:pt x="1421" y="312"/>
                      <a:pt x="1421" y="312"/>
                    </a:cubicBezTo>
                    <a:cubicBezTo>
                      <a:pt x="1426" y="307"/>
                      <a:pt x="1426" y="307"/>
                      <a:pt x="1426" y="307"/>
                    </a:cubicBezTo>
                    <a:cubicBezTo>
                      <a:pt x="1430" y="307"/>
                      <a:pt x="1430" y="307"/>
                      <a:pt x="1430" y="307"/>
                    </a:cubicBezTo>
                    <a:cubicBezTo>
                      <a:pt x="1430" y="310"/>
                      <a:pt x="1430" y="310"/>
                      <a:pt x="1430" y="310"/>
                    </a:cubicBezTo>
                    <a:cubicBezTo>
                      <a:pt x="1423" y="316"/>
                      <a:pt x="1423" y="316"/>
                      <a:pt x="1423" y="316"/>
                    </a:cubicBezTo>
                    <a:cubicBezTo>
                      <a:pt x="1423" y="321"/>
                      <a:pt x="1423" y="321"/>
                      <a:pt x="1423" y="321"/>
                    </a:cubicBezTo>
                    <a:cubicBezTo>
                      <a:pt x="1430" y="322"/>
                      <a:pt x="1430" y="322"/>
                      <a:pt x="1430" y="322"/>
                    </a:cubicBezTo>
                    <a:cubicBezTo>
                      <a:pt x="1431" y="320"/>
                      <a:pt x="1431" y="320"/>
                      <a:pt x="1431" y="320"/>
                    </a:cubicBezTo>
                    <a:cubicBezTo>
                      <a:pt x="1434" y="318"/>
                      <a:pt x="1434" y="318"/>
                      <a:pt x="1434" y="318"/>
                    </a:cubicBezTo>
                    <a:cubicBezTo>
                      <a:pt x="1436" y="319"/>
                      <a:pt x="1436" y="319"/>
                      <a:pt x="1436" y="319"/>
                    </a:cubicBezTo>
                    <a:cubicBezTo>
                      <a:pt x="1437" y="322"/>
                      <a:pt x="1437" y="322"/>
                      <a:pt x="1437" y="322"/>
                    </a:cubicBezTo>
                    <a:cubicBezTo>
                      <a:pt x="1440" y="321"/>
                      <a:pt x="1440" y="321"/>
                      <a:pt x="1440" y="321"/>
                    </a:cubicBezTo>
                    <a:cubicBezTo>
                      <a:pt x="1444" y="325"/>
                      <a:pt x="1444" y="325"/>
                      <a:pt x="1444" y="325"/>
                    </a:cubicBezTo>
                    <a:cubicBezTo>
                      <a:pt x="1443" y="331"/>
                      <a:pt x="1443" y="331"/>
                      <a:pt x="1443" y="331"/>
                    </a:cubicBezTo>
                    <a:cubicBezTo>
                      <a:pt x="1446" y="330"/>
                      <a:pt x="1446" y="330"/>
                      <a:pt x="1446" y="330"/>
                    </a:cubicBezTo>
                    <a:cubicBezTo>
                      <a:pt x="1447" y="333"/>
                      <a:pt x="1447" y="333"/>
                      <a:pt x="1447" y="333"/>
                    </a:cubicBezTo>
                    <a:cubicBezTo>
                      <a:pt x="1450" y="332"/>
                      <a:pt x="1450" y="332"/>
                      <a:pt x="1450" y="332"/>
                    </a:cubicBezTo>
                    <a:cubicBezTo>
                      <a:pt x="1451" y="335"/>
                      <a:pt x="1451" y="335"/>
                      <a:pt x="1451" y="335"/>
                    </a:cubicBezTo>
                    <a:cubicBezTo>
                      <a:pt x="1447" y="340"/>
                      <a:pt x="1447" y="340"/>
                      <a:pt x="1447" y="340"/>
                    </a:cubicBezTo>
                    <a:cubicBezTo>
                      <a:pt x="1443" y="342"/>
                      <a:pt x="1443" y="342"/>
                      <a:pt x="1443" y="342"/>
                    </a:cubicBezTo>
                    <a:cubicBezTo>
                      <a:pt x="1439" y="340"/>
                      <a:pt x="1439" y="340"/>
                      <a:pt x="1439" y="340"/>
                    </a:cubicBezTo>
                    <a:cubicBezTo>
                      <a:pt x="1432" y="338"/>
                      <a:pt x="1432" y="338"/>
                      <a:pt x="1432" y="338"/>
                    </a:cubicBezTo>
                    <a:cubicBezTo>
                      <a:pt x="1424" y="338"/>
                      <a:pt x="1424" y="338"/>
                      <a:pt x="1424" y="338"/>
                    </a:cubicBezTo>
                    <a:cubicBezTo>
                      <a:pt x="1427" y="340"/>
                      <a:pt x="1427" y="340"/>
                      <a:pt x="1427" y="340"/>
                    </a:cubicBezTo>
                    <a:cubicBezTo>
                      <a:pt x="1428" y="344"/>
                      <a:pt x="1428" y="344"/>
                      <a:pt x="1428" y="344"/>
                    </a:cubicBezTo>
                    <a:cubicBezTo>
                      <a:pt x="1436" y="345"/>
                      <a:pt x="1436" y="345"/>
                      <a:pt x="1436" y="345"/>
                    </a:cubicBezTo>
                    <a:cubicBezTo>
                      <a:pt x="1437" y="347"/>
                      <a:pt x="1437" y="347"/>
                      <a:pt x="1437" y="347"/>
                    </a:cubicBezTo>
                    <a:cubicBezTo>
                      <a:pt x="1444" y="353"/>
                      <a:pt x="1444" y="353"/>
                      <a:pt x="1444" y="353"/>
                    </a:cubicBezTo>
                    <a:cubicBezTo>
                      <a:pt x="1452" y="354"/>
                      <a:pt x="1452" y="354"/>
                      <a:pt x="1452" y="354"/>
                    </a:cubicBezTo>
                    <a:cubicBezTo>
                      <a:pt x="1456" y="352"/>
                      <a:pt x="1456" y="352"/>
                      <a:pt x="1456" y="352"/>
                    </a:cubicBezTo>
                    <a:cubicBezTo>
                      <a:pt x="1456" y="348"/>
                      <a:pt x="1456" y="348"/>
                      <a:pt x="1456" y="348"/>
                    </a:cubicBezTo>
                    <a:cubicBezTo>
                      <a:pt x="1453" y="344"/>
                      <a:pt x="1453" y="344"/>
                      <a:pt x="1453" y="344"/>
                    </a:cubicBezTo>
                    <a:cubicBezTo>
                      <a:pt x="1452" y="342"/>
                      <a:pt x="1452" y="342"/>
                      <a:pt x="1452" y="342"/>
                    </a:cubicBezTo>
                    <a:cubicBezTo>
                      <a:pt x="1453" y="342"/>
                      <a:pt x="1453" y="342"/>
                      <a:pt x="1453" y="342"/>
                    </a:cubicBezTo>
                    <a:cubicBezTo>
                      <a:pt x="1457" y="346"/>
                      <a:pt x="1457" y="346"/>
                      <a:pt x="1457" y="346"/>
                    </a:cubicBezTo>
                    <a:cubicBezTo>
                      <a:pt x="1462" y="348"/>
                      <a:pt x="1462" y="348"/>
                      <a:pt x="1462" y="348"/>
                    </a:cubicBezTo>
                    <a:cubicBezTo>
                      <a:pt x="1464" y="350"/>
                      <a:pt x="1464" y="350"/>
                      <a:pt x="1464" y="350"/>
                    </a:cubicBezTo>
                    <a:cubicBezTo>
                      <a:pt x="1461" y="350"/>
                      <a:pt x="1461" y="350"/>
                      <a:pt x="1461" y="350"/>
                    </a:cubicBezTo>
                    <a:cubicBezTo>
                      <a:pt x="1453" y="357"/>
                      <a:pt x="1453" y="357"/>
                      <a:pt x="1453" y="357"/>
                    </a:cubicBezTo>
                    <a:cubicBezTo>
                      <a:pt x="1455" y="359"/>
                      <a:pt x="1455" y="359"/>
                      <a:pt x="1455" y="359"/>
                    </a:cubicBezTo>
                    <a:cubicBezTo>
                      <a:pt x="1458" y="359"/>
                      <a:pt x="1458" y="359"/>
                      <a:pt x="1458" y="359"/>
                    </a:cubicBezTo>
                    <a:cubicBezTo>
                      <a:pt x="1461" y="357"/>
                      <a:pt x="1461" y="357"/>
                      <a:pt x="1461" y="357"/>
                    </a:cubicBezTo>
                    <a:cubicBezTo>
                      <a:pt x="1463" y="357"/>
                      <a:pt x="1463" y="357"/>
                      <a:pt x="1463" y="357"/>
                    </a:cubicBezTo>
                    <a:cubicBezTo>
                      <a:pt x="1476" y="368"/>
                      <a:pt x="1476" y="368"/>
                      <a:pt x="1476" y="368"/>
                    </a:cubicBezTo>
                    <a:cubicBezTo>
                      <a:pt x="1479" y="370"/>
                      <a:pt x="1479" y="370"/>
                      <a:pt x="1479" y="370"/>
                    </a:cubicBezTo>
                    <a:cubicBezTo>
                      <a:pt x="1483" y="375"/>
                      <a:pt x="1483" y="375"/>
                      <a:pt x="1483" y="375"/>
                    </a:cubicBezTo>
                    <a:cubicBezTo>
                      <a:pt x="1492" y="375"/>
                      <a:pt x="1492" y="375"/>
                      <a:pt x="1492" y="375"/>
                    </a:cubicBezTo>
                    <a:cubicBezTo>
                      <a:pt x="1498" y="382"/>
                      <a:pt x="1498" y="382"/>
                      <a:pt x="1498" y="382"/>
                    </a:cubicBezTo>
                    <a:cubicBezTo>
                      <a:pt x="1503" y="383"/>
                      <a:pt x="1503" y="383"/>
                      <a:pt x="1503" y="383"/>
                    </a:cubicBezTo>
                    <a:cubicBezTo>
                      <a:pt x="1505" y="381"/>
                      <a:pt x="1505" y="381"/>
                      <a:pt x="1505" y="381"/>
                    </a:cubicBezTo>
                    <a:cubicBezTo>
                      <a:pt x="1503" y="378"/>
                      <a:pt x="1503" y="378"/>
                      <a:pt x="1503" y="378"/>
                    </a:cubicBezTo>
                    <a:cubicBezTo>
                      <a:pt x="1505" y="377"/>
                      <a:pt x="1505" y="377"/>
                      <a:pt x="1505" y="377"/>
                    </a:cubicBezTo>
                    <a:cubicBezTo>
                      <a:pt x="1509" y="380"/>
                      <a:pt x="1509" y="380"/>
                      <a:pt x="1509" y="380"/>
                    </a:cubicBezTo>
                    <a:cubicBezTo>
                      <a:pt x="1509" y="383"/>
                      <a:pt x="1509" y="383"/>
                      <a:pt x="1509" y="383"/>
                    </a:cubicBezTo>
                    <a:cubicBezTo>
                      <a:pt x="1512" y="386"/>
                      <a:pt x="1512" y="386"/>
                      <a:pt x="1512" y="386"/>
                    </a:cubicBezTo>
                    <a:cubicBezTo>
                      <a:pt x="1514" y="386"/>
                      <a:pt x="1514" y="386"/>
                      <a:pt x="1514" y="386"/>
                    </a:cubicBezTo>
                    <a:cubicBezTo>
                      <a:pt x="1515" y="382"/>
                      <a:pt x="1515" y="382"/>
                      <a:pt x="1515" y="382"/>
                    </a:cubicBezTo>
                    <a:cubicBezTo>
                      <a:pt x="1511" y="362"/>
                      <a:pt x="1511" y="362"/>
                      <a:pt x="1511" y="362"/>
                    </a:cubicBezTo>
                    <a:cubicBezTo>
                      <a:pt x="1507" y="353"/>
                      <a:pt x="1507" y="353"/>
                      <a:pt x="1507" y="353"/>
                    </a:cubicBezTo>
                    <a:cubicBezTo>
                      <a:pt x="1502" y="342"/>
                      <a:pt x="1502" y="342"/>
                      <a:pt x="1502" y="342"/>
                    </a:cubicBezTo>
                    <a:cubicBezTo>
                      <a:pt x="1501" y="333"/>
                      <a:pt x="1501" y="333"/>
                      <a:pt x="1501" y="333"/>
                    </a:cubicBezTo>
                    <a:cubicBezTo>
                      <a:pt x="1498" y="327"/>
                      <a:pt x="1498" y="327"/>
                      <a:pt x="1498" y="327"/>
                    </a:cubicBezTo>
                    <a:cubicBezTo>
                      <a:pt x="1497" y="324"/>
                      <a:pt x="1497" y="324"/>
                      <a:pt x="1497" y="324"/>
                    </a:cubicBezTo>
                    <a:cubicBezTo>
                      <a:pt x="1501" y="325"/>
                      <a:pt x="1501" y="325"/>
                      <a:pt x="1501" y="325"/>
                    </a:cubicBezTo>
                    <a:cubicBezTo>
                      <a:pt x="1503" y="330"/>
                      <a:pt x="1503" y="330"/>
                      <a:pt x="1503" y="330"/>
                    </a:cubicBezTo>
                    <a:cubicBezTo>
                      <a:pt x="1507" y="334"/>
                      <a:pt x="1507" y="334"/>
                      <a:pt x="1507" y="334"/>
                    </a:cubicBezTo>
                    <a:cubicBezTo>
                      <a:pt x="1512" y="335"/>
                      <a:pt x="1512" y="335"/>
                      <a:pt x="1512" y="335"/>
                    </a:cubicBezTo>
                    <a:cubicBezTo>
                      <a:pt x="1516" y="340"/>
                      <a:pt x="1516" y="340"/>
                      <a:pt x="1516" y="340"/>
                    </a:cubicBezTo>
                    <a:cubicBezTo>
                      <a:pt x="1523" y="341"/>
                      <a:pt x="1523" y="341"/>
                      <a:pt x="1523" y="341"/>
                    </a:cubicBezTo>
                    <a:cubicBezTo>
                      <a:pt x="1538" y="339"/>
                      <a:pt x="1538" y="339"/>
                      <a:pt x="1538" y="339"/>
                    </a:cubicBezTo>
                    <a:cubicBezTo>
                      <a:pt x="1542" y="340"/>
                      <a:pt x="1542" y="340"/>
                      <a:pt x="1542" y="340"/>
                    </a:cubicBezTo>
                    <a:cubicBezTo>
                      <a:pt x="1544" y="339"/>
                      <a:pt x="1544" y="339"/>
                      <a:pt x="1544" y="339"/>
                    </a:cubicBezTo>
                    <a:cubicBezTo>
                      <a:pt x="1548" y="342"/>
                      <a:pt x="1548" y="342"/>
                      <a:pt x="1548" y="342"/>
                    </a:cubicBezTo>
                    <a:cubicBezTo>
                      <a:pt x="1549" y="341"/>
                      <a:pt x="1549" y="341"/>
                      <a:pt x="1549" y="341"/>
                    </a:cubicBezTo>
                    <a:cubicBezTo>
                      <a:pt x="1546" y="337"/>
                      <a:pt x="1546" y="337"/>
                      <a:pt x="1546" y="337"/>
                    </a:cubicBezTo>
                    <a:cubicBezTo>
                      <a:pt x="1547" y="334"/>
                      <a:pt x="1547" y="334"/>
                      <a:pt x="1547" y="334"/>
                    </a:cubicBezTo>
                    <a:cubicBezTo>
                      <a:pt x="1544" y="332"/>
                      <a:pt x="1544" y="332"/>
                      <a:pt x="1544" y="332"/>
                    </a:cubicBezTo>
                    <a:cubicBezTo>
                      <a:pt x="1546" y="330"/>
                      <a:pt x="1546" y="330"/>
                      <a:pt x="1546" y="330"/>
                    </a:cubicBezTo>
                    <a:cubicBezTo>
                      <a:pt x="1546" y="326"/>
                      <a:pt x="1546" y="326"/>
                      <a:pt x="1546" y="326"/>
                    </a:cubicBezTo>
                    <a:cubicBezTo>
                      <a:pt x="1559" y="321"/>
                      <a:pt x="1559" y="321"/>
                      <a:pt x="1559" y="321"/>
                    </a:cubicBezTo>
                    <a:cubicBezTo>
                      <a:pt x="1561" y="322"/>
                      <a:pt x="1561" y="322"/>
                      <a:pt x="1561" y="322"/>
                    </a:cubicBezTo>
                    <a:cubicBezTo>
                      <a:pt x="1564" y="321"/>
                      <a:pt x="1564" y="321"/>
                      <a:pt x="1564" y="321"/>
                    </a:cubicBezTo>
                    <a:cubicBezTo>
                      <a:pt x="1568" y="324"/>
                      <a:pt x="1568" y="324"/>
                      <a:pt x="1568" y="324"/>
                    </a:cubicBezTo>
                    <a:cubicBezTo>
                      <a:pt x="1574" y="324"/>
                      <a:pt x="1574" y="324"/>
                      <a:pt x="1574" y="324"/>
                    </a:cubicBezTo>
                    <a:cubicBezTo>
                      <a:pt x="1579" y="328"/>
                      <a:pt x="1579" y="328"/>
                      <a:pt x="1579" y="328"/>
                    </a:cubicBezTo>
                    <a:cubicBezTo>
                      <a:pt x="1583" y="329"/>
                      <a:pt x="1583" y="329"/>
                      <a:pt x="1583" y="329"/>
                    </a:cubicBezTo>
                    <a:cubicBezTo>
                      <a:pt x="1586" y="333"/>
                      <a:pt x="1586" y="333"/>
                      <a:pt x="1586" y="333"/>
                    </a:cubicBezTo>
                    <a:cubicBezTo>
                      <a:pt x="1592" y="333"/>
                      <a:pt x="1592" y="333"/>
                      <a:pt x="1592" y="333"/>
                    </a:cubicBezTo>
                    <a:cubicBezTo>
                      <a:pt x="1594" y="337"/>
                      <a:pt x="1594" y="337"/>
                      <a:pt x="1594" y="337"/>
                    </a:cubicBezTo>
                    <a:cubicBezTo>
                      <a:pt x="1603" y="337"/>
                      <a:pt x="1603" y="337"/>
                      <a:pt x="1603" y="337"/>
                    </a:cubicBezTo>
                    <a:cubicBezTo>
                      <a:pt x="1598" y="334"/>
                      <a:pt x="1598" y="334"/>
                      <a:pt x="1598" y="334"/>
                    </a:cubicBezTo>
                    <a:cubicBezTo>
                      <a:pt x="1597" y="332"/>
                      <a:pt x="1597" y="332"/>
                      <a:pt x="1597" y="332"/>
                    </a:cubicBezTo>
                    <a:cubicBezTo>
                      <a:pt x="1602" y="334"/>
                      <a:pt x="1602" y="334"/>
                      <a:pt x="1602" y="334"/>
                    </a:cubicBezTo>
                    <a:cubicBezTo>
                      <a:pt x="1606" y="331"/>
                      <a:pt x="1606" y="331"/>
                      <a:pt x="1606" y="331"/>
                    </a:cubicBezTo>
                    <a:cubicBezTo>
                      <a:pt x="1602" y="329"/>
                      <a:pt x="1602" y="329"/>
                      <a:pt x="1602" y="329"/>
                    </a:cubicBezTo>
                    <a:cubicBezTo>
                      <a:pt x="1605" y="326"/>
                      <a:pt x="1605" y="326"/>
                      <a:pt x="1605" y="326"/>
                    </a:cubicBezTo>
                    <a:cubicBezTo>
                      <a:pt x="1601" y="323"/>
                      <a:pt x="1601" y="323"/>
                      <a:pt x="1601" y="323"/>
                    </a:cubicBezTo>
                    <a:cubicBezTo>
                      <a:pt x="1597" y="326"/>
                      <a:pt x="1597" y="326"/>
                      <a:pt x="1597" y="326"/>
                    </a:cubicBezTo>
                    <a:cubicBezTo>
                      <a:pt x="1592" y="324"/>
                      <a:pt x="1592" y="324"/>
                      <a:pt x="1592" y="324"/>
                    </a:cubicBezTo>
                    <a:cubicBezTo>
                      <a:pt x="1592" y="319"/>
                      <a:pt x="1592" y="319"/>
                      <a:pt x="1592" y="319"/>
                    </a:cubicBezTo>
                    <a:cubicBezTo>
                      <a:pt x="1590" y="314"/>
                      <a:pt x="1590" y="314"/>
                      <a:pt x="1590" y="314"/>
                    </a:cubicBezTo>
                    <a:cubicBezTo>
                      <a:pt x="1592" y="313"/>
                      <a:pt x="1592" y="313"/>
                      <a:pt x="1592" y="313"/>
                    </a:cubicBezTo>
                    <a:cubicBezTo>
                      <a:pt x="1594" y="314"/>
                      <a:pt x="1594" y="314"/>
                      <a:pt x="1594" y="314"/>
                    </a:cubicBezTo>
                    <a:cubicBezTo>
                      <a:pt x="1598" y="312"/>
                      <a:pt x="1598" y="312"/>
                      <a:pt x="1598" y="312"/>
                    </a:cubicBezTo>
                    <a:cubicBezTo>
                      <a:pt x="1596" y="309"/>
                      <a:pt x="1596" y="309"/>
                      <a:pt x="1596" y="309"/>
                    </a:cubicBezTo>
                    <a:cubicBezTo>
                      <a:pt x="1599" y="308"/>
                      <a:pt x="1599" y="308"/>
                      <a:pt x="1599" y="308"/>
                    </a:cubicBezTo>
                    <a:cubicBezTo>
                      <a:pt x="1605" y="313"/>
                      <a:pt x="1605" y="313"/>
                      <a:pt x="1605" y="313"/>
                    </a:cubicBezTo>
                    <a:cubicBezTo>
                      <a:pt x="1606" y="317"/>
                      <a:pt x="1606" y="317"/>
                      <a:pt x="1606" y="317"/>
                    </a:cubicBezTo>
                    <a:cubicBezTo>
                      <a:pt x="1609" y="316"/>
                      <a:pt x="1609" y="316"/>
                      <a:pt x="1609" y="316"/>
                    </a:cubicBezTo>
                    <a:cubicBezTo>
                      <a:pt x="1611" y="318"/>
                      <a:pt x="1611" y="318"/>
                      <a:pt x="1611" y="318"/>
                    </a:cubicBezTo>
                    <a:cubicBezTo>
                      <a:pt x="1613" y="317"/>
                      <a:pt x="1613" y="317"/>
                      <a:pt x="1613" y="317"/>
                    </a:cubicBezTo>
                    <a:cubicBezTo>
                      <a:pt x="1612" y="312"/>
                      <a:pt x="1612" y="312"/>
                      <a:pt x="1612" y="312"/>
                    </a:cubicBezTo>
                    <a:cubicBezTo>
                      <a:pt x="1616" y="311"/>
                      <a:pt x="1616" y="311"/>
                      <a:pt x="1616" y="311"/>
                    </a:cubicBezTo>
                    <a:cubicBezTo>
                      <a:pt x="1619" y="313"/>
                      <a:pt x="1619" y="313"/>
                      <a:pt x="1619" y="313"/>
                    </a:cubicBezTo>
                    <a:cubicBezTo>
                      <a:pt x="1620" y="309"/>
                      <a:pt x="1620" y="309"/>
                      <a:pt x="1620" y="309"/>
                    </a:cubicBezTo>
                    <a:cubicBezTo>
                      <a:pt x="1614" y="303"/>
                      <a:pt x="1614" y="303"/>
                      <a:pt x="1614" y="303"/>
                    </a:cubicBezTo>
                    <a:cubicBezTo>
                      <a:pt x="1609" y="302"/>
                      <a:pt x="1609" y="302"/>
                      <a:pt x="1609" y="302"/>
                    </a:cubicBezTo>
                    <a:cubicBezTo>
                      <a:pt x="1605" y="298"/>
                      <a:pt x="1605" y="298"/>
                      <a:pt x="1605" y="298"/>
                    </a:cubicBezTo>
                    <a:cubicBezTo>
                      <a:pt x="1606" y="293"/>
                      <a:pt x="1606" y="293"/>
                      <a:pt x="1606" y="293"/>
                    </a:cubicBezTo>
                    <a:cubicBezTo>
                      <a:pt x="1603" y="290"/>
                      <a:pt x="1603" y="290"/>
                      <a:pt x="1603" y="290"/>
                    </a:cubicBezTo>
                    <a:cubicBezTo>
                      <a:pt x="1599" y="292"/>
                      <a:pt x="1599" y="292"/>
                      <a:pt x="1599" y="292"/>
                    </a:cubicBezTo>
                    <a:cubicBezTo>
                      <a:pt x="1595" y="291"/>
                      <a:pt x="1595" y="291"/>
                      <a:pt x="1595" y="291"/>
                    </a:cubicBezTo>
                    <a:cubicBezTo>
                      <a:pt x="1600" y="288"/>
                      <a:pt x="1600" y="288"/>
                      <a:pt x="1600" y="288"/>
                    </a:cubicBezTo>
                    <a:cubicBezTo>
                      <a:pt x="1599" y="285"/>
                      <a:pt x="1599" y="285"/>
                      <a:pt x="1599" y="285"/>
                    </a:cubicBezTo>
                    <a:cubicBezTo>
                      <a:pt x="1599" y="284"/>
                      <a:pt x="1599" y="284"/>
                      <a:pt x="1599" y="284"/>
                    </a:cubicBezTo>
                    <a:cubicBezTo>
                      <a:pt x="1596" y="280"/>
                      <a:pt x="1596" y="280"/>
                      <a:pt x="1596" y="280"/>
                    </a:cubicBezTo>
                    <a:cubicBezTo>
                      <a:pt x="1603" y="280"/>
                      <a:pt x="1603" y="280"/>
                      <a:pt x="1603" y="280"/>
                    </a:cubicBezTo>
                    <a:cubicBezTo>
                      <a:pt x="1604" y="273"/>
                      <a:pt x="1604" y="273"/>
                      <a:pt x="1604" y="273"/>
                    </a:cubicBezTo>
                    <a:cubicBezTo>
                      <a:pt x="1597" y="275"/>
                      <a:pt x="1597" y="275"/>
                      <a:pt x="1597" y="275"/>
                    </a:cubicBezTo>
                    <a:cubicBezTo>
                      <a:pt x="1593" y="279"/>
                      <a:pt x="1593" y="279"/>
                      <a:pt x="1593" y="279"/>
                    </a:cubicBezTo>
                    <a:cubicBezTo>
                      <a:pt x="1592" y="283"/>
                      <a:pt x="1592" y="283"/>
                      <a:pt x="1592" y="283"/>
                    </a:cubicBezTo>
                    <a:cubicBezTo>
                      <a:pt x="1585" y="281"/>
                      <a:pt x="1585" y="281"/>
                      <a:pt x="1585" y="281"/>
                    </a:cubicBezTo>
                    <a:cubicBezTo>
                      <a:pt x="1581" y="274"/>
                      <a:pt x="1581" y="274"/>
                      <a:pt x="1581" y="274"/>
                    </a:cubicBezTo>
                    <a:cubicBezTo>
                      <a:pt x="1584" y="270"/>
                      <a:pt x="1584" y="270"/>
                      <a:pt x="1584" y="270"/>
                    </a:cubicBezTo>
                    <a:cubicBezTo>
                      <a:pt x="1584" y="265"/>
                      <a:pt x="1584" y="265"/>
                      <a:pt x="1584" y="265"/>
                    </a:cubicBezTo>
                    <a:cubicBezTo>
                      <a:pt x="1591" y="263"/>
                      <a:pt x="1591" y="263"/>
                      <a:pt x="1591" y="263"/>
                    </a:cubicBezTo>
                    <a:cubicBezTo>
                      <a:pt x="1595" y="263"/>
                      <a:pt x="1595" y="263"/>
                      <a:pt x="1595" y="263"/>
                    </a:cubicBezTo>
                    <a:cubicBezTo>
                      <a:pt x="1602" y="257"/>
                      <a:pt x="1602" y="257"/>
                      <a:pt x="1602" y="257"/>
                    </a:cubicBezTo>
                    <a:cubicBezTo>
                      <a:pt x="1602" y="255"/>
                      <a:pt x="1602" y="255"/>
                      <a:pt x="1602" y="255"/>
                    </a:cubicBezTo>
                    <a:cubicBezTo>
                      <a:pt x="1598" y="250"/>
                      <a:pt x="1598" y="250"/>
                      <a:pt x="1598" y="250"/>
                    </a:cubicBezTo>
                    <a:cubicBezTo>
                      <a:pt x="1594" y="251"/>
                      <a:pt x="1594" y="251"/>
                      <a:pt x="1594" y="251"/>
                    </a:cubicBezTo>
                    <a:cubicBezTo>
                      <a:pt x="1591" y="249"/>
                      <a:pt x="1591" y="249"/>
                      <a:pt x="1591" y="249"/>
                    </a:cubicBezTo>
                    <a:cubicBezTo>
                      <a:pt x="1584" y="249"/>
                      <a:pt x="1584" y="249"/>
                      <a:pt x="1584" y="249"/>
                    </a:cubicBezTo>
                    <a:cubicBezTo>
                      <a:pt x="1580" y="245"/>
                      <a:pt x="1580" y="245"/>
                      <a:pt x="1580" y="245"/>
                    </a:cubicBezTo>
                    <a:cubicBezTo>
                      <a:pt x="1586" y="242"/>
                      <a:pt x="1586" y="242"/>
                      <a:pt x="1586" y="242"/>
                    </a:cubicBezTo>
                    <a:cubicBezTo>
                      <a:pt x="1593" y="241"/>
                      <a:pt x="1593" y="241"/>
                      <a:pt x="1593" y="241"/>
                    </a:cubicBezTo>
                    <a:cubicBezTo>
                      <a:pt x="1602" y="245"/>
                      <a:pt x="1602" y="245"/>
                      <a:pt x="1602" y="245"/>
                    </a:cubicBezTo>
                    <a:cubicBezTo>
                      <a:pt x="1610" y="243"/>
                      <a:pt x="1610" y="243"/>
                      <a:pt x="1610" y="243"/>
                    </a:cubicBezTo>
                    <a:cubicBezTo>
                      <a:pt x="1623" y="243"/>
                      <a:pt x="1623" y="243"/>
                      <a:pt x="1623" y="243"/>
                    </a:cubicBezTo>
                    <a:cubicBezTo>
                      <a:pt x="1645" y="242"/>
                      <a:pt x="1645" y="242"/>
                      <a:pt x="1645" y="242"/>
                    </a:cubicBezTo>
                    <a:cubicBezTo>
                      <a:pt x="1649" y="239"/>
                      <a:pt x="1649" y="239"/>
                      <a:pt x="1649" y="239"/>
                    </a:cubicBezTo>
                    <a:cubicBezTo>
                      <a:pt x="1665" y="239"/>
                      <a:pt x="1665" y="239"/>
                      <a:pt x="1665" y="239"/>
                    </a:cubicBezTo>
                    <a:cubicBezTo>
                      <a:pt x="1672" y="240"/>
                      <a:pt x="1672" y="240"/>
                      <a:pt x="1672" y="240"/>
                    </a:cubicBezTo>
                    <a:cubicBezTo>
                      <a:pt x="1678" y="239"/>
                      <a:pt x="1678" y="239"/>
                      <a:pt x="1678" y="239"/>
                    </a:cubicBezTo>
                    <a:cubicBezTo>
                      <a:pt x="1687" y="239"/>
                      <a:pt x="1687" y="239"/>
                      <a:pt x="1687" y="239"/>
                    </a:cubicBezTo>
                    <a:cubicBezTo>
                      <a:pt x="1682" y="241"/>
                      <a:pt x="1682" y="241"/>
                      <a:pt x="1682" y="241"/>
                    </a:cubicBezTo>
                    <a:cubicBezTo>
                      <a:pt x="1670" y="246"/>
                      <a:pt x="1670" y="246"/>
                      <a:pt x="1670" y="246"/>
                    </a:cubicBezTo>
                    <a:cubicBezTo>
                      <a:pt x="1665" y="244"/>
                      <a:pt x="1665" y="244"/>
                      <a:pt x="1665" y="244"/>
                    </a:cubicBezTo>
                    <a:cubicBezTo>
                      <a:pt x="1663" y="245"/>
                      <a:pt x="1663" y="245"/>
                      <a:pt x="1663" y="245"/>
                    </a:cubicBezTo>
                    <a:cubicBezTo>
                      <a:pt x="1659" y="243"/>
                      <a:pt x="1659" y="243"/>
                      <a:pt x="1659" y="243"/>
                    </a:cubicBezTo>
                    <a:cubicBezTo>
                      <a:pt x="1657" y="251"/>
                      <a:pt x="1657" y="251"/>
                      <a:pt x="1657" y="251"/>
                    </a:cubicBezTo>
                    <a:cubicBezTo>
                      <a:pt x="1661" y="255"/>
                      <a:pt x="1661" y="255"/>
                      <a:pt x="1661" y="255"/>
                    </a:cubicBezTo>
                    <a:cubicBezTo>
                      <a:pt x="1657" y="257"/>
                      <a:pt x="1657" y="257"/>
                      <a:pt x="1657" y="257"/>
                    </a:cubicBezTo>
                    <a:cubicBezTo>
                      <a:pt x="1657" y="260"/>
                      <a:pt x="1657" y="260"/>
                      <a:pt x="1657" y="260"/>
                    </a:cubicBezTo>
                    <a:cubicBezTo>
                      <a:pt x="1660" y="262"/>
                      <a:pt x="1660" y="262"/>
                      <a:pt x="1660" y="262"/>
                    </a:cubicBezTo>
                    <a:cubicBezTo>
                      <a:pt x="1666" y="258"/>
                      <a:pt x="1666" y="258"/>
                      <a:pt x="1666" y="258"/>
                    </a:cubicBezTo>
                    <a:cubicBezTo>
                      <a:pt x="1666" y="254"/>
                      <a:pt x="1666" y="254"/>
                      <a:pt x="1666" y="254"/>
                    </a:cubicBezTo>
                    <a:cubicBezTo>
                      <a:pt x="1676" y="247"/>
                      <a:pt x="1676" y="247"/>
                      <a:pt x="1676" y="247"/>
                    </a:cubicBezTo>
                    <a:cubicBezTo>
                      <a:pt x="1689" y="242"/>
                      <a:pt x="1689" y="242"/>
                      <a:pt x="1689" y="242"/>
                    </a:cubicBezTo>
                    <a:cubicBezTo>
                      <a:pt x="1691" y="249"/>
                      <a:pt x="1691" y="249"/>
                      <a:pt x="1691" y="249"/>
                    </a:cubicBezTo>
                    <a:cubicBezTo>
                      <a:pt x="1692" y="259"/>
                      <a:pt x="1692" y="259"/>
                      <a:pt x="1692" y="259"/>
                    </a:cubicBezTo>
                    <a:cubicBezTo>
                      <a:pt x="1691" y="261"/>
                      <a:pt x="1691" y="261"/>
                      <a:pt x="1691" y="261"/>
                    </a:cubicBezTo>
                    <a:cubicBezTo>
                      <a:pt x="1688" y="255"/>
                      <a:pt x="1688" y="255"/>
                      <a:pt x="1688" y="255"/>
                    </a:cubicBezTo>
                    <a:cubicBezTo>
                      <a:pt x="1684" y="251"/>
                      <a:pt x="1684" y="251"/>
                      <a:pt x="1684" y="251"/>
                    </a:cubicBezTo>
                    <a:cubicBezTo>
                      <a:pt x="1684" y="247"/>
                      <a:pt x="1684" y="247"/>
                      <a:pt x="1684" y="247"/>
                    </a:cubicBezTo>
                    <a:cubicBezTo>
                      <a:pt x="1680" y="251"/>
                      <a:pt x="1680" y="251"/>
                      <a:pt x="1680" y="251"/>
                    </a:cubicBezTo>
                    <a:cubicBezTo>
                      <a:pt x="1678" y="250"/>
                      <a:pt x="1678" y="250"/>
                      <a:pt x="1678" y="250"/>
                    </a:cubicBezTo>
                    <a:cubicBezTo>
                      <a:pt x="1680" y="256"/>
                      <a:pt x="1680" y="256"/>
                      <a:pt x="1680" y="256"/>
                    </a:cubicBezTo>
                    <a:cubicBezTo>
                      <a:pt x="1684" y="258"/>
                      <a:pt x="1684" y="258"/>
                      <a:pt x="1684" y="258"/>
                    </a:cubicBezTo>
                    <a:cubicBezTo>
                      <a:pt x="1686" y="265"/>
                      <a:pt x="1686" y="265"/>
                      <a:pt x="1686" y="265"/>
                    </a:cubicBezTo>
                    <a:cubicBezTo>
                      <a:pt x="1683" y="271"/>
                      <a:pt x="1683" y="271"/>
                      <a:pt x="1683" y="271"/>
                    </a:cubicBezTo>
                    <a:cubicBezTo>
                      <a:pt x="1680" y="270"/>
                      <a:pt x="1680" y="270"/>
                      <a:pt x="1680" y="270"/>
                    </a:cubicBezTo>
                    <a:cubicBezTo>
                      <a:pt x="1678" y="272"/>
                      <a:pt x="1678" y="272"/>
                      <a:pt x="1678" y="272"/>
                    </a:cubicBezTo>
                    <a:cubicBezTo>
                      <a:pt x="1682" y="275"/>
                      <a:pt x="1682" y="275"/>
                      <a:pt x="1682" y="275"/>
                    </a:cubicBezTo>
                    <a:cubicBezTo>
                      <a:pt x="1682" y="278"/>
                      <a:pt x="1682" y="278"/>
                      <a:pt x="1682" y="278"/>
                    </a:cubicBezTo>
                    <a:cubicBezTo>
                      <a:pt x="1683" y="280"/>
                      <a:pt x="1683" y="280"/>
                      <a:pt x="1683" y="280"/>
                    </a:cubicBezTo>
                    <a:cubicBezTo>
                      <a:pt x="1687" y="280"/>
                      <a:pt x="1687" y="280"/>
                      <a:pt x="1687" y="280"/>
                    </a:cubicBezTo>
                    <a:cubicBezTo>
                      <a:pt x="1692" y="276"/>
                      <a:pt x="1692" y="276"/>
                      <a:pt x="1692" y="276"/>
                    </a:cubicBezTo>
                    <a:cubicBezTo>
                      <a:pt x="1692" y="271"/>
                      <a:pt x="1692" y="271"/>
                      <a:pt x="1692" y="271"/>
                    </a:cubicBezTo>
                    <a:cubicBezTo>
                      <a:pt x="1695" y="265"/>
                      <a:pt x="1695" y="265"/>
                      <a:pt x="1695" y="265"/>
                    </a:cubicBezTo>
                    <a:cubicBezTo>
                      <a:pt x="1694" y="262"/>
                      <a:pt x="1694" y="262"/>
                      <a:pt x="1694" y="262"/>
                    </a:cubicBezTo>
                    <a:cubicBezTo>
                      <a:pt x="1694" y="257"/>
                      <a:pt x="1694" y="257"/>
                      <a:pt x="1694" y="257"/>
                    </a:cubicBezTo>
                    <a:cubicBezTo>
                      <a:pt x="1693" y="238"/>
                      <a:pt x="1693" y="238"/>
                      <a:pt x="1693" y="238"/>
                    </a:cubicBezTo>
                    <a:cubicBezTo>
                      <a:pt x="1700" y="233"/>
                      <a:pt x="1700" y="233"/>
                      <a:pt x="1700" y="233"/>
                    </a:cubicBezTo>
                    <a:cubicBezTo>
                      <a:pt x="1710" y="231"/>
                      <a:pt x="1710" y="231"/>
                      <a:pt x="1710" y="231"/>
                    </a:cubicBezTo>
                    <a:cubicBezTo>
                      <a:pt x="1721" y="228"/>
                      <a:pt x="1721" y="228"/>
                      <a:pt x="1721" y="228"/>
                    </a:cubicBezTo>
                    <a:cubicBezTo>
                      <a:pt x="1731" y="229"/>
                      <a:pt x="1731" y="229"/>
                      <a:pt x="1731" y="229"/>
                    </a:cubicBezTo>
                    <a:cubicBezTo>
                      <a:pt x="1744" y="234"/>
                      <a:pt x="1744" y="234"/>
                      <a:pt x="1744" y="234"/>
                    </a:cubicBezTo>
                    <a:cubicBezTo>
                      <a:pt x="1751" y="242"/>
                      <a:pt x="1751" y="242"/>
                      <a:pt x="1751" y="242"/>
                    </a:cubicBezTo>
                    <a:cubicBezTo>
                      <a:pt x="1750" y="246"/>
                      <a:pt x="1750" y="246"/>
                      <a:pt x="1750" y="246"/>
                    </a:cubicBezTo>
                    <a:cubicBezTo>
                      <a:pt x="1747" y="248"/>
                      <a:pt x="1747" y="248"/>
                      <a:pt x="1747" y="248"/>
                    </a:cubicBezTo>
                    <a:cubicBezTo>
                      <a:pt x="1740" y="243"/>
                      <a:pt x="1740" y="243"/>
                      <a:pt x="1740" y="243"/>
                    </a:cubicBezTo>
                    <a:cubicBezTo>
                      <a:pt x="1739" y="244"/>
                      <a:pt x="1739" y="244"/>
                      <a:pt x="1739" y="244"/>
                    </a:cubicBezTo>
                    <a:cubicBezTo>
                      <a:pt x="1740" y="248"/>
                      <a:pt x="1740" y="248"/>
                      <a:pt x="1740" y="248"/>
                    </a:cubicBezTo>
                    <a:cubicBezTo>
                      <a:pt x="1740" y="252"/>
                      <a:pt x="1740" y="252"/>
                      <a:pt x="1740" y="252"/>
                    </a:cubicBezTo>
                    <a:cubicBezTo>
                      <a:pt x="1741" y="255"/>
                      <a:pt x="1741" y="255"/>
                      <a:pt x="1741" y="255"/>
                    </a:cubicBezTo>
                    <a:cubicBezTo>
                      <a:pt x="1738" y="258"/>
                      <a:pt x="1738" y="258"/>
                      <a:pt x="1738" y="258"/>
                    </a:cubicBezTo>
                    <a:cubicBezTo>
                      <a:pt x="1740" y="259"/>
                      <a:pt x="1740" y="259"/>
                      <a:pt x="1740" y="259"/>
                    </a:cubicBezTo>
                    <a:cubicBezTo>
                      <a:pt x="1745" y="256"/>
                      <a:pt x="1745" y="256"/>
                      <a:pt x="1745" y="256"/>
                    </a:cubicBezTo>
                    <a:cubicBezTo>
                      <a:pt x="1751" y="256"/>
                      <a:pt x="1751" y="256"/>
                      <a:pt x="1751" y="256"/>
                    </a:cubicBezTo>
                    <a:cubicBezTo>
                      <a:pt x="1755" y="252"/>
                      <a:pt x="1755" y="252"/>
                      <a:pt x="1755" y="252"/>
                    </a:cubicBezTo>
                    <a:cubicBezTo>
                      <a:pt x="1757" y="258"/>
                      <a:pt x="1757" y="258"/>
                      <a:pt x="1757" y="258"/>
                    </a:cubicBezTo>
                    <a:cubicBezTo>
                      <a:pt x="1759" y="262"/>
                      <a:pt x="1759" y="262"/>
                      <a:pt x="1759" y="262"/>
                    </a:cubicBezTo>
                    <a:cubicBezTo>
                      <a:pt x="1760" y="266"/>
                      <a:pt x="1760" y="266"/>
                      <a:pt x="1760" y="266"/>
                    </a:cubicBezTo>
                    <a:cubicBezTo>
                      <a:pt x="1762" y="269"/>
                      <a:pt x="1762" y="269"/>
                      <a:pt x="1762" y="269"/>
                    </a:cubicBezTo>
                    <a:cubicBezTo>
                      <a:pt x="1764" y="264"/>
                      <a:pt x="1764" y="264"/>
                      <a:pt x="1764" y="264"/>
                    </a:cubicBezTo>
                    <a:cubicBezTo>
                      <a:pt x="1764" y="262"/>
                      <a:pt x="1764" y="262"/>
                      <a:pt x="1764" y="262"/>
                    </a:cubicBezTo>
                    <a:cubicBezTo>
                      <a:pt x="1768" y="258"/>
                      <a:pt x="1768" y="258"/>
                      <a:pt x="1768" y="258"/>
                    </a:cubicBezTo>
                    <a:cubicBezTo>
                      <a:pt x="1773" y="260"/>
                      <a:pt x="1773" y="260"/>
                      <a:pt x="1773" y="260"/>
                    </a:cubicBezTo>
                    <a:cubicBezTo>
                      <a:pt x="1775" y="265"/>
                      <a:pt x="1775" y="265"/>
                      <a:pt x="1775" y="265"/>
                    </a:cubicBezTo>
                    <a:cubicBezTo>
                      <a:pt x="1773" y="267"/>
                      <a:pt x="1773" y="267"/>
                      <a:pt x="1773" y="267"/>
                    </a:cubicBezTo>
                    <a:cubicBezTo>
                      <a:pt x="1771" y="272"/>
                      <a:pt x="1771" y="272"/>
                      <a:pt x="1771" y="272"/>
                    </a:cubicBezTo>
                    <a:cubicBezTo>
                      <a:pt x="1773" y="274"/>
                      <a:pt x="1773" y="274"/>
                      <a:pt x="1773" y="274"/>
                    </a:cubicBezTo>
                    <a:cubicBezTo>
                      <a:pt x="1775" y="273"/>
                      <a:pt x="1775" y="273"/>
                      <a:pt x="1775" y="273"/>
                    </a:cubicBezTo>
                    <a:cubicBezTo>
                      <a:pt x="1777" y="268"/>
                      <a:pt x="1777" y="268"/>
                      <a:pt x="1777" y="268"/>
                    </a:cubicBezTo>
                    <a:cubicBezTo>
                      <a:pt x="1779" y="267"/>
                      <a:pt x="1779" y="267"/>
                      <a:pt x="1779" y="267"/>
                    </a:cubicBezTo>
                    <a:cubicBezTo>
                      <a:pt x="1781" y="270"/>
                      <a:pt x="1781" y="270"/>
                      <a:pt x="1781" y="270"/>
                    </a:cubicBezTo>
                    <a:cubicBezTo>
                      <a:pt x="1781" y="266"/>
                      <a:pt x="1781" y="266"/>
                      <a:pt x="1781" y="266"/>
                    </a:cubicBezTo>
                    <a:cubicBezTo>
                      <a:pt x="1785" y="259"/>
                      <a:pt x="1785" y="259"/>
                      <a:pt x="1785" y="259"/>
                    </a:cubicBezTo>
                    <a:cubicBezTo>
                      <a:pt x="1786" y="257"/>
                      <a:pt x="1786" y="257"/>
                      <a:pt x="1786" y="257"/>
                    </a:cubicBezTo>
                    <a:cubicBezTo>
                      <a:pt x="1789" y="258"/>
                      <a:pt x="1789" y="258"/>
                      <a:pt x="1789" y="258"/>
                    </a:cubicBezTo>
                    <a:cubicBezTo>
                      <a:pt x="1798" y="264"/>
                      <a:pt x="1798" y="264"/>
                      <a:pt x="1798" y="264"/>
                    </a:cubicBezTo>
                    <a:cubicBezTo>
                      <a:pt x="1808" y="267"/>
                      <a:pt x="1808" y="267"/>
                      <a:pt x="1808" y="267"/>
                    </a:cubicBezTo>
                    <a:cubicBezTo>
                      <a:pt x="1813" y="273"/>
                      <a:pt x="1813" y="273"/>
                      <a:pt x="1813" y="273"/>
                    </a:cubicBezTo>
                    <a:cubicBezTo>
                      <a:pt x="1812" y="276"/>
                      <a:pt x="1812" y="276"/>
                      <a:pt x="1812" y="276"/>
                    </a:cubicBezTo>
                    <a:cubicBezTo>
                      <a:pt x="1806" y="280"/>
                      <a:pt x="1806" y="280"/>
                      <a:pt x="1806" y="280"/>
                    </a:cubicBezTo>
                    <a:cubicBezTo>
                      <a:pt x="1802" y="284"/>
                      <a:pt x="1802" y="284"/>
                      <a:pt x="1802" y="284"/>
                    </a:cubicBezTo>
                    <a:cubicBezTo>
                      <a:pt x="1808" y="281"/>
                      <a:pt x="1808" y="281"/>
                      <a:pt x="1808" y="281"/>
                    </a:cubicBezTo>
                    <a:cubicBezTo>
                      <a:pt x="1816" y="279"/>
                      <a:pt x="1816" y="279"/>
                      <a:pt x="1816" y="279"/>
                    </a:cubicBezTo>
                    <a:cubicBezTo>
                      <a:pt x="1821" y="281"/>
                      <a:pt x="1821" y="281"/>
                      <a:pt x="1821" y="281"/>
                    </a:cubicBezTo>
                    <a:cubicBezTo>
                      <a:pt x="1827" y="280"/>
                      <a:pt x="1827" y="280"/>
                      <a:pt x="1827" y="280"/>
                    </a:cubicBezTo>
                    <a:cubicBezTo>
                      <a:pt x="1832" y="276"/>
                      <a:pt x="1832" y="276"/>
                      <a:pt x="1832" y="276"/>
                    </a:cubicBezTo>
                    <a:cubicBezTo>
                      <a:pt x="1836" y="274"/>
                      <a:pt x="1836" y="274"/>
                      <a:pt x="1836" y="274"/>
                    </a:cubicBezTo>
                    <a:cubicBezTo>
                      <a:pt x="1844" y="268"/>
                      <a:pt x="1844" y="268"/>
                      <a:pt x="1844" y="268"/>
                    </a:cubicBezTo>
                    <a:cubicBezTo>
                      <a:pt x="1848" y="266"/>
                      <a:pt x="1848" y="266"/>
                      <a:pt x="1848" y="266"/>
                    </a:cubicBezTo>
                    <a:cubicBezTo>
                      <a:pt x="1854" y="260"/>
                      <a:pt x="1854" y="260"/>
                      <a:pt x="1854" y="260"/>
                    </a:cubicBezTo>
                    <a:cubicBezTo>
                      <a:pt x="1860" y="259"/>
                      <a:pt x="1860" y="259"/>
                      <a:pt x="1860" y="259"/>
                    </a:cubicBezTo>
                    <a:cubicBezTo>
                      <a:pt x="1874" y="252"/>
                      <a:pt x="1874" y="252"/>
                      <a:pt x="1874" y="252"/>
                    </a:cubicBezTo>
                    <a:cubicBezTo>
                      <a:pt x="1881" y="249"/>
                      <a:pt x="1881" y="249"/>
                      <a:pt x="1881" y="249"/>
                    </a:cubicBezTo>
                    <a:cubicBezTo>
                      <a:pt x="1885" y="250"/>
                      <a:pt x="1885" y="250"/>
                      <a:pt x="1885" y="250"/>
                    </a:cubicBezTo>
                    <a:cubicBezTo>
                      <a:pt x="1886" y="249"/>
                      <a:pt x="1886" y="249"/>
                      <a:pt x="1886" y="249"/>
                    </a:cubicBezTo>
                    <a:cubicBezTo>
                      <a:pt x="1894" y="244"/>
                      <a:pt x="1894" y="244"/>
                      <a:pt x="1894" y="244"/>
                    </a:cubicBezTo>
                    <a:cubicBezTo>
                      <a:pt x="1898" y="243"/>
                      <a:pt x="1898" y="243"/>
                      <a:pt x="1898" y="243"/>
                    </a:cubicBezTo>
                    <a:cubicBezTo>
                      <a:pt x="1908" y="243"/>
                      <a:pt x="1908" y="243"/>
                      <a:pt x="1908" y="243"/>
                    </a:cubicBezTo>
                    <a:cubicBezTo>
                      <a:pt x="1927" y="249"/>
                      <a:pt x="1927" y="249"/>
                      <a:pt x="1927" y="249"/>
                    </a:cubicBezTo>
                    <a:cubicBezTo>
                      <a:pt x="1935" y="257"/>
                      <a:pt x="1935" y="257"/>
                      <a:pt x="1935" y="257"/>
                    </a:cubicBezTo>
                    <a:cubicBezTo>
                      <a:pt x="1943" y="261"/>
                      <a:pt x="1943" y="261"/>
                      <a:pt x="1943" y="261"/>
                    </a:cubicBezTo>
                    <a:cubicBezTo>
                      <a:pt x="1950" y="269"/>
                      <a:pt x="1950" y="269"/>
                      <a:pt x="1950" y="269"/>
                    </a:cubicBezTo>
                    <a:cubicBezTo>
                      <a:pt x="1954" y="275"/>
                      <a:pt x="1954" y="275"/>
                      <a:pt x="1954" y="275"/>
                    </a:cubicBezTo>
                    <a:cubicBezTo>
                      <a:pt x="1954" y="279"/>
                      <a:pt x="1954" y="279"/>
                      <a:pt x="1954" y="279"/>
                    </a:cubicBezTo>
                    <a:cubicBezTo>
                      <a:pt x="1956" y="281"/>
                      <a:pt x="1956" y="281"/>
                      <a:pt x="1956" y="281"/>
                    </a:cubicBezTo>
                    <a:cubicBezTo>
                      <a:pt x="1956" y="286"/>
                      <a:pt x="1956" y="286"/>
                      <a:pt x="1956" y="286"/>
                    </a:cubicBezTo>
                    <a:cubicBezTo>
                      <a:pt x="1959" y="293"/>
                      <a:pt x="1959" y="293"/>
                      <a:pt x="1959" y="293"/>
                    </a:cubicBezTo>
                    <a:cubicBezTo>
                      <a:pt x="1960" y="297"/>
                      <a:pt x="1960" y="297"/>
                      <a:pt x="1960" y="297"/>
                    </a:cubicBezTo>
                    <a:cubicBezTo>
                      <a:pt x="1957" y="301"/>
                      <a:pt x="1957" y="301"/>
                      <a:pt x="1957" y="301"/>
                    </a:cubicBezTo>
                    <a:cubicBezTo>
                      <a:pt x="1962" y="300"/>
                      <a:pt x="1962" y="300"/>
                      <a:pt x="1962" y="300"/>
                    </a:cubicBezTo>
                    <a:cubicBezTo>
                      <a:pt x="1966" y="295"/>
                      <a:pt x="1966" y="295"/>
                      <a:pt x="1966" y="295"/>
                    </a:cubicBezTo>
                    <a:cubicBezTo>
                      <a:pt x="1971" y="295"/>
                      <a:pt x="1971" y="295"/>
                      <a:pt x="1971" y="295"/>
                    </a:cubicBezTo>
                    <a:cubicBezTo>
                      <a:pt x="1974" y="297"/>
                      <a:pt x="1974" y="297"/>
                      <a:pt x="1974" y="297"/>
                    </a:cubicBezTo>
                    <a:cubicBezTo>
                      <a:pt x="1974" y="294"/>
                      <a:pt x="1974" y="294"/>
                      <a:pt x="1974" y="294"/>
                    </a:cubicBezTo>
                    <a:cubicBezTo>
                      <a:pt x="1979" y="294"/>
                      <a:pt x="1979" y="294"/>
                      <a:pt x="1979" y="294"/>
                    </a:cubicBezTo>
                    <a:cubicBezTo>
                      <a:pt x="1983" y="296"/>
                      <a:pt x="1983" y="296"/>
                      <a:pt x="1983" y="296"/>
                    </a:cubicBezTo>
                    <a:cubicBezTo>
                      <a:pt x="1985" y="301"/>
                      <a:pt x="1985" y="301"/>
                      <a:pt x="1985" y="301"/>
                    </a:cubicBezTo>
                    <a:cubicBezTo>
                      <a:pt x="1986" y="297"/>
                      <a:pt x="1986" y="297"/>
                      <a:pt x="1986" y="297"/>
                    </a:cubicBezTo>
                    <a:cubicBezTo>
                      <a:pt x="1984" y="291"/>
                      <a:pt x="1984" y="291"/>
                      <a:pt x="1984" y="291"/>
                    </a:cubicBezTo>
                    <a:cubicBezTo>
                      <a:pt x="1988" y="291"/>
                      <a:pt x="1988" y="291"/>
                      <a:pt x="1988" y="291"/>
                    </a:cubicBezTo>
                    <a:cubicBezTo>
                      <a:pt x="1991" y="296"/>
                      <a:pt x="1991" y="296"/>
                      <a:pt x="1991" y="296"/>
                    </a:cubicBezTo>
                    <a:cubicBezTo>
                      <a:pt x="1997" y="302"/>
                      <a:pt x="1997" y="302"/>
                      <a:pt x="1997" y="302"/>
                    </a:cubicBezTo>
                    <a:cubicBezTo>
                      <a:pt x="1998" y="308"/>
                      <a:pt x="1998" y="308"/>
                      <a:pt x="1998" y="308"/>
                    </a:cubicBezTo>
                    <a:cubicBezTo>
                      <a:pt x="2002" y="308"/>
                      <a:pt x="2002" y="308"/>
                      <a:pt x="2002" y="308"/>
                    </a:cubicBezTo>
                    <a:cubicBezTo>
                      <a:pt x="2007" y="315"/>
                      <a:pt x="2007" y="315"/>
                      <a:pt x="2007" y="315"/>
                    </a:cubicBezTo>
                    <a:cubicBezTo>
                      <a:pt x="2007" y="313"/>
                      <a:pt x="2007" y="313"/>
                      <a:pt x="2007" y="313"/>
                    </a:cubicBezTo>
                    <a:cubicBezTo>
                      <a:pt x="2005" y="307"/>
                      <a:pt x="2005" y="307"/>
                      <a:pt x="2005" y="307"/>
                    </a:cubicBezTo>
                    <a:cubicBezTo>
                      <a:pt x="2002" y="306"/>
                      <a:pt x="2002" y="306"/>
                      <a:pt x="2002" y="306"/>
                    </a:cubicBezTo>
                    <a:cubicBezTo>
                      <a:pt x="2001" y="302"/>
                      <a:pt x="2001" y="302"/>
                      <a:pt x="2001" y="302"/>
                    </a:cubicBezTo>
                    <a:cubicBezTo>
                      <a:pt x="2005" y="305"/>
                      <a:pt x="2005" y="305"/>
                      <a:pt x="2005" y="305"/>
                    </a:cubicBezTo>
                    <a:cubicBezTo>
                      <a:pt x="2008" y="304"/>
                      <a:pt x="2008" y="304"/>
                      <a:pt x="2008" y="304"/>
                    </a:cubicBezTo>
                    <a:cubicBezTo>
                      <a:pt x="2012" y="308"/>
                      <a:pt x="2012" y="308"/>
                      <a:pt x="2012" y="308"/>
                    </a:cubicBezTo>
                    <a:cubicBezTo>
                      <a:pt x="2017" y="315"/>
                      <a:pt x="2017" y="315"/>
                      <a:pt x="2017" y="315"/>
                    </a:cubicBezTo>
                    <a:cubicBezTo>
                      <a:pt x="2016" y="309"/>
                      <a:pt x="2016" y="309"/>
                      <a:pt x="2016" y="309"/>
                    </a:cubicBezTo>
                    <a:cubicBezTo>
                      <a:pt x="2009" y="300"/>
                      <a:pt x="2009" y="300"/>
                      <a:pt x="2009" y="300"/>
                    </a:cubicBezTo>
                    <a:cubicBezTo>
                      <a:pt x="2010" y="291"/>
                      <a:pt x="2010" y="291"/>
                      <a:pt x="2010" y="291"/>
                    </a:cubicBezTo>
                    <a:cubicBezTo>
                      <a:pt x="2009" y="284"/>
                      <a:pt x="2009" y="284"/>
                      <a:pt x="2009" y="284"/>
                    </a:cubicBezTo>
                    <a:cubicBezTo>
                      <a:pt x="2014" y="279"/>
                      <a:pt x="2014" y="279"/>
                      <a:pt x="2014" y="279"/>
                    </a:cubicBezTo>
                    <a:cubicBezTo>
                      <a:pt x="2022" y="278"/>
                      <a:pt x="2022" y="278"/>
                      <a:pt x="2022" y="278"/>
                    </a:cubicBezTo>
                    <a:cubicBezTo>
                      <a:pt x="2025" y="275"/>
                      <a:pt x="2025" y="275"/>
                      <a:pt x="2025" y="275"/>
                    </a:cubicBezTo>
                    <a:cubicBezTo>
                      <a:pt x="2032" y="273"/>
                      <a:pt x="2032" y="273"/>
                      <a:pt x="2032" y="273"/>
                    </a:cubicBezTo>
                    <a:cubicBezTo>
                      <a:pt x="2031" y="270"/>
                      <a:pt x="2031" y="270"/>
                      <a:pt x="2031" y="270"/>
                    </a:cubicBezTo>
                    <a:cubicBezTo>
                      <a:pt x="2033" y="268"/>
                      <a:pt x="2033" y="268"/>
                      <a:pt x="2033" y="268"/>
                    </a:cubicBezTo>
                    <a:cubicBezTo>
                      <a:pt x="2035" y="268"/>
                      <a:pt x="2035" y="268"/>
                      <a:pt x="2035" y="268"/>
                    </a:cubicBezTo>
                    <a:cubicBezTo>
                      <a:pt x="2039" y="272"/>
                      <a:pt x="2039" y="272"/>
                      <a:pt x="2039" y="272"/>
                    </a:cubicBezTo>
                    <a:cubicBezTo>
                      <a:pt x="2042" y="273"/>
                      <a:pt x="2042" y="273"/>
                      <a:pt x="2042" y="273"/>
                    </a:cubicBezTo>
                    <a:cubicBezTo>
                      <a:pt x="2048" y="272"/>
                      <a:pt x="2048" y="272"/>
                      <a:pt x="2048" y="272"/>
                    </a:cubicBezTo>
                    <a:cubicBezTo>
                      <a:pt x="2053" y="268"/>
                      <a:pt x="2053" y="268"/>
                      <a:pt x="2053" y="268"/>
                    </a:cubicBezTo>
                    <a:cubicBezTo>
                      <a:pt x="2056" y="269"/>
                      <a:pt x="2056" y="269"/>
                      <a:pt x="2056" y="269"/>
                    </a:cubicBezTo>
                    <a:cubicBezTo>
                      <a:pt x="2063" y="266"/>
                      <a:pt x="2063" y="266"/>
                      <a:pt x="2063" y="266"/>
                    </a:cubicBezTo>
                    <a:cubicBezTo>
                      <a:pt x="2071" y="267"/>
                      <a:pt x="2071" y="267"/>
                      <a:pt x="2071" y="267"/>
                    </a:cubicBezTo>
                    <a:cubicBezTo>
                      <a:pt x="2075" y="265"/>
                      <a:pt x="2075" y="265"/>
                      <a:pt x="2075" y="265"/>
                    </a:cubicBezTo>
                    <a:cubicBezTo>
                      <a:pt x="2076" y="265"/>
                      <a:pt x="2076" y="265"/>
                      <a:pt x="2076" y="265"/>
                    </a:cubicBezTo>
                    <a:cubicBezTo>
                      <a:pt x="2077" y="267"/>
                      <a:pt x="2077" y="267"/>
                      <a:pt x="2077" y="267"/>
                    </a:cubicBezTo>
                    <a:cubicBezTo>
                      <a:pt x="2079" y="269"/>
                      <a:pt x="2079" y="269"/>
                      <a:pt x="2079" y="269"/>
                    </a:cubicBezTo>
                    <a:cubicBezTo>
                      <a:pt x="2081" y="265"/>
                      <a:pt x="2081" y="265"/>
                      <a:pt x="2081" y="265"/>
                    </a:cubicBezTo>
                    <a:cubicBezTo>
                      <a:pt x="2085" y="259"/>
                      <a:pt x="2085" y="259"/>
                      <a:pt x="2085" y="259"/>
                    </a:cubicBezTo>
                    <a:cubicBezTo>
                      <a:pt x="2085" y="257"/>
                      <a:pt x="2085" y="257"/>
                      <a:pt x="2085" y="257"/>
                    </a:cubicBezTo>
                    <a:cubicBezTo>
                      <a:pt x="2085" y="252"/>
                      <a:pt x="2085" y="252"/>
                      <a:pt x="2085" y="252"/>
                    </a:cubicBezTo>
                    <a:cubicBezTo>
                      <a:pt x="2085" y="248"/>
                      <a:pt x="2085" y="248"/>
                      <a:pt x="2085" y="248"/>
                    </a:cubicBezTo>
                    <a:cubicBezTo>
                      <a:pt x="2087" y="246"/>
                      <a:pt x="2087" y="246"/>
                      <a:pt x="2087" y="246"/>
                    </a:cubicBezTo>
                    <a:cubicBezTo>
                      <a:pt x="2093" y="247"/>
                      <a:pt x="2093" y="247"/>
                      <a:pt x="2093" y="247"/>
                    </a:cubicBezTo>
                    <a:cubicBezTo>
                      <a:pt x="2095" y="252"/>
                      <a:pt x="2095" y="252"/>
                      <a:pt x="2095" y="252"/>
                    </a:cubicBezTo>
                    <a:cubicBezTo>
                      <a:pt x="2096" y="254"/>
                      <a:pt x="2096" y="254"/>
                      <a:pt x="2096" y="254"/>
                    </a:cubicBezTo>
                    <a:cubicBezTo>
                      <a:pt x="2101" y="254"/>
                      <a:pt x="2101" y="254"/>
                      <a:pt x="2101" y="254"/>
                    </a:cubicBezTo>
                    <a:cubicBezTo>
                      <a:pt x="2105" y="257"/>
                      <a:pt x="2105" y="257"/>
                      <a:pt x="2105" y="257"/>
                    </a:cubicBezTo>
                    <a:cubicBezTo>
                      <a:pt x="2104" y="261"/>
                      <a:pt x="2104" y="261"/>
                      <a:pt x="2104" y="261"/>
                    </a:cubicBezTo>
                    <a:cubicBezTo>
                      <a:pt x="2110" y="267"/>
                      <a:pt x="2110" y="267"/>
                      <a:pt x="2110" y="267"/>
                    </a:cubicBezTo>
                    <a:cubicBezTo>
                      <a:pt x="2113" y="269"/>
                      <a:pt x="2113" y="269"/>
                      <a:pt x="2113" y="269"/>
                    </a:cubicBezTo>
                    <a:cubicBezTo>
                      <a:pt x="2119" y="268"/>
                      <a:pt x="2119" y="268"/>
                      <a:pt x="2119" y="268"/>
                    </a:cubicBezTo>
                    <a:cubicBezTo>
                      <a:pt x="2128" y="270"/>
                      <a:pt x="2128" y="270"/>
                      <a:pt x="2128" y="270"/>
                    </a:cubicBezTo>
                    <a:cubicBezTo>
                      <a:pt x="2129" y="269"/>
                      <a:pt x="2129" y="269"/>
                      <a:pt x="2129" y="269"/>
                    </a:cubicBezTo>
                    <a:cubicBezTo>
                      <a:pt x="2132" y="270"/>
                      <a:pt x="2132" y="270"/>
                      <a:pt x="2132" y="270"/>
                    </a:cubicBezTo>
                    <a:cubicBezTo>
                      <a:pt x="2138" y="278"/>
                      <a:pt x="2138" y="278"/>
                      <a:pt x="2138" y="278"/>
                    </a:cubicBezTo>
                    <a:cubicBezTo>
                      <a:pt x="2138" y="282"/>
                      <a:pt x="2138" y="282"/>
                      <a:pt x="2138" y="282"/>
                    </a:cubicBezTo>
                    <a:cubicBezTo>
                      <a:pt x="2141" y="284"/>
                      <a:pt x="2141" y="284"/>
                      <a:pt x="2141" y="284"/>
                    </a:cubicBezTo>
                    <a:cubicBezTo>
                      <a:pt x="2147" y="285"/>
                      <a:pt x="2147" y="285"/>
                      <a:pt x="2147" y="285"/>
                    </a:cubicBezTo>
                    <a:cubicBezTo>
                      <a:pt x="2150" y="283"/>
                      <a:pt x="2150" y="283"/>
                      <a:pt x="2150" y="283"/>
                    </a:cubicBezTo>
                    <a:cubicBezTo>
                      <a:pt x="2155" y="283"/>
                      <a:pt x="2155" y="283"/>
                      <a:pt x="2155" y="283"/>
                    </a:cubicBezTo>
                    <a:cubicBezTo>
                      <a:pt x="2154" y="280"/>
                      <a:pt x="2154" y="280"/>
                      <a:pt x="2154" y="280"/>
                    </a:cubicBezTo>
                    <a:cubicBezTo>
                      <a:pt x="2159" y="277"/>
                      <a:pt x="2159" y="277"/>
                      <a:pt x="2159" y="277"/>
                    </a:cubicBezTo>
                    <a:cubicBezTo>
                      <a:pt x="2161" y="278"/>
                      <a:pt x="2161" y="278"/>
                      <a:pt x="2161" y="278"/>
                    </a:cubicBezTo>
                    <a:cubicBezTo>
                      <a:pt x="2163" y="276"/>
                      <a:pt x="2163" y="276"/>
                      <a:pt x="2163" y="276"/>
                    </a:cubicBezTo>
                    <a:cubicBezTo>
                      <a:pt x="2160" y="273"/>
                      <a:pt x="2160" y="273"/>
                      <a:pt x="2160" y="273"/>
                    </a:cubicBezTo>
                    <a:cubicBezTo>
                      <a:pt x="2162" y="271"/>
                      <a:pt x="2162" y="271"/>
                      <a:pt x="2162" y="271"/>
                    </a:cubicBezTo>
                    <a:cubicBezTo>
                      <a:pt x="2161" y="269"/>
                      <a:pt x="2161" y="269"/>
                      <a:pt x="2161" y="269"/>
                    </a:cubicBezTo>
                    <a:cubicBezTo>
                      <a:pt x="2161" y="266"/>
                      <a:pt x="2161" y="266"/>
                      <a:pt x="2161" y="266"/>
                    </a:cubicBezTo>
                    <a:cubicBezTo>
                      <a:pt x="2158" y="262"/>
                      <a:pt x="2158" y="262"/>
                      <a:pt x="2158" y="262"/>
                    </a:cubicBezTo>
                    <a:cubicBezTo>
                      <a:pt x="2152" y="260"/>
                      <a:pt x="2152" y="260"/>
                      <a:pt x="2152" y="260"/>
                    </a:cubicBezTo>
                    <a:cubicBezTo>
                      <a:pt x="2151" y="254"/>
                      <a:pt x="2151" y="254"/>
                      <a:pt x="2151" y="254"/>
                    </a:cubicBezTo>
                    <a:cubicBezTo>
                      <a:pt x="2144" y="247"/>
                      <a:pt x="2144" y="247"/>
                      <a:pt x="2144" y="247"/>
                    </a:cubicBezTo>
                    <a:cubicBezTo>
                      <a:pt x="2141" y="247"/>
                      <a:pt x="2141" y="247"/>
                      <a:pt x="2141" y="247"/>
                    </a:cubicBezTo>
                    <a:cubicBezTo>
                      <a:pt x="2139" y="244"/>
                      <a:pt x="2139" y="244"/>
                      <a:pt x="2139" y="244"/>
                    </a:cubicBezTo>
                    <a:cubicBezTo>
                      <a:pt x="2133" y="241"/>
                      <a:pt x="2133" y="241"/>
                      <a:pt x="2133" y="241"/>
                    </a:cubicBezTo>
                    <a:cubicBezTo>
                      <a:pt x="2129" y="244"/>
                      <a:pt x="2129" y="244"/>
                      <a:pt x="2129" y="244"/>
                    </a:cubicBezTo>
                    <a:cubicBezTo>
                      <a:pt x="2127" y="244"/>
                      <a:pt x="2127" y="244"/>
                      <a:pt x="2127" y="244"/>
                    </a:cubicBezTo>
                    <a:cubicBezTo>
                      <a:pt x="2127" y="239"/>
                      <a:pt x="2127" y="239"/>
                      <a:pt x="2127" y="239"/>
                    </a:cubicBezTo>
                    <a:cubicBezTo>
                      <a:pt x="2128" y="237"/>
                      <a:pt x="2128" y="237"/>
                      <a:pt x="2128" y="237"/>
                    </a:cubicBezTo>
                    <a:cubicBezTo>
                      <a:pt x="2125" y="231"/>
                      <a:pt x="2125" y="231"/>
                      <a:pt x="2125" y="231"/>
                    </a:cubicBezTo>
                    <a:cubicBezTo>
                      <a:pt x="2124" y="227"/>
                      <a:pt x="2124" y="227"/>
                      <a:pt x="2124" y="227"/>
                    </a:cubicBezTo>
                    <a:cubicBezTo>
                      <a:pt x="2122" y="225"/>
                      <a:pt x="2122" y="225"/>
                      <a:pt x="2122" y="225"/>
                    </a:cubicBezTo>
                    <a:cubicBezTo>
                      <a:pt x="2119" y="219"/>
                      <a:pt x="2119" y="219"/>
                      <a:pt x="2119" y="219"/>
                    </a:cubicBezTo>
                    <a:cubicBezTo>
                      <a:pt x="2114" y="216"/>
                      <a:pt x="2114" y="216"/>
                      <a:pt x="2114" y="216"/>
                    </a:cubicBezTo>
                    <a:cubicBezTo>
                      <a:pt x="2115" y="215"/>
                      <a:pt x="2115" y="215"/>
                      <a:pt x="2115" y="215"/>
                    </a:cubicBezTo>
                    <a:cubicBezTo>
                      <a:pt x="2124" y="213"/>
                      <a:pt x="2124" y="213"/>
                      <a:pt x="2124" y="213"/>
                    </a:cubicBezTo>
                    <a:cubicBezTo>
                      <a:pt x="2126" y="215"/>
                      <a:pt x="2126" y="215"/>
                      <a:pt x="2126" y="215"/>
                    </a:cubicBezTo>
                    <a:cubicBezTo>
                      <a:pt x="2137" y="214"/>
                      <a:pt x="2137" y="214"/>
                      <a:pt x="2137" y="214"/>
                    </a:cubicBezTo>
                    <a:cubicBezTo>
                      <a:pt x="2145" y="214"/>
                      <a:pt x="2145" y="214"/>
                      <a:pt x="2145" y="214"/>
                    </a:cubicBezTo>
                    <a:cubicBezTo>
                      <a:pt x="2146" y="211"/>
                      <a:pt x="2146" y="211"/>
                      <a:pt x="2146" y="211"/>
                    </a:cubicBezTo>
                    <a:cubicBezTo>
                      <a:pt x="2150" y="210"/>
                      <a:pt x="2150" y="210"/>
                      <a:pt x="2150" y="210"/>
                    </a:cubicBezTo>
                    <a:cubicBezTo>
                      <a:pt x="2155" y="213"/>
                      <a:pt x="2155" y="213"/>
                      <a:pt x="2155" y="213"/>
                    </a:cubicBezTo>
                    <a:cubicBezTo>
                      <a:pt x="2159" y="212"/>
                      <a:pt x="2159" y="212"/>
                      <a:pt x="2159" y="212"/>
                    </a:cubicBezTo>
                    <a:cubicBezTo>
                      <a:pt x="2161" y="212"/>
                      <a:pt x="2161" y="212"/>
                      <a:pt x="2161" y="212"/>
                    </a:cubicBezTo>
                    <a:cubicBezTo>
                      <a:pt x="2161" y="208"/>
                      <a:pt x="2161" y="208"/>
                      <a:pt x="2161" y="208"/>
                    </a:cubicBezTo>
                    <a:cubicBezTo>
                      <a:pt x="2166" y="208"/>
                      <a:pt x="2166" y="208"/>
                      <a:pt x="2166" y="208"/>
                    </a:cubicBezTo>
                    <a:cubicBezTo>
                      <a:pt x="2168" y="210"/>
                      <a:pt x="2168" y="210"/>
                      <a:pt x="2168" y="210"/>
                    </a:cubicBezTo>
                    <a:cubicBezTo>
                      <a:pt x="2169" y="210"/>
                      <a:pt x="2169" y="210"/>
                      <a:pt x="2169" y="210"/>
                    </a:cubicBezTo>
                    <a:cubicBezTo>
                      <a:pt x="2171" y="206"/>
                      <a:pt x="2171" y="206"/>
                      <a:pt x="2171" y="206"/>
                    </a:cubicBezTo>
                    <a:cubicBezTo>
                      <a:pt x="2175" y="207"/>
                      <a:pt x="2175" y="207"/>
                      <a:pt x="2175" y="207"/>
                    </a:cubicBezTo>
                    <a:cubicBezTo>
                      <a:pt x="2175" y="204"/>
                      <a:pt x="2175" y="204"/>
                      <a:pt x="2175" y="204"/>
                    </a:cubicBezTo>
                    <a:cubicBezTo>
                      <a:pt x="2191" y="200"/>
                      <a:pt x="2191" y="200"/>
                      <a:pt x="2191" y="200"/>
                    </a:cubicBezTo>
                    <a:cubicBezTo>
                      <a:pt x="2193" y="203"/>
                      <a:pt x="2193" y="203"/>
                      <a:pt x="2193" y="203"/>
                    </a:cubicBezTo>
                    <a:cubicBezTo>
                      <a:pt x="2193" y="200"/>
                      <a:pt x="2193" y="200"/>
                      <a:pt x="2193" y="200"/>
                    </a:cubicBezTo>
                    <a:cubicBezTo>
                      <a:pt x="2196" y="197"/>
                      <a:pt x="2196" y="197"/>
                      <a:pt x="2196" y="197"/>
                    </a:cubicBezTo>
                    <a:cubicBezTo>
                      <a:pt x="2197" y="198"/>
                      <a:pt x="2197" y="198"/>
                      <a:pt x="2197" y="198"/>
                    </a:cubicBezTo>
                    <a:cubicBezTo>
                      <a:pt x="2203" y="197"/>
                      <a:pt x="2203" y="197"/>
                      <a:pt x="2203" y="197"/>
                    </a:cubicBezTo>
                    <a:cubicBezTo>
                      <a:pt x="2205" y="197"/>
                      <a:pt x="2205" y="197"/>
                      <a:pt x="2205" y="197"/>
                    </a:cubicBezTo>
                    <a:cubicBezTo>
                      <a:pt x="2209" y="200"/>
                      <a:pt x="2209" y="200"/>
                      <a:pt x="2209" y="200"/>
                    </a:cubicBezTo>
                    <a:cubicBezTo>
                      <a:pt x="2216" y="200"/>
                      <a:pt x="2216" y="200"/>
                      <a:pt x="2216" y="200"/>
                    </a:cubicBezTo>
                    <a:cubicBezTo>
                      <a:pt x="2220" y="198"/>
                      <a:pt x="2220" y="198"/>
                      <a:pt x="2220" y="198"/>
                    </a:cubicBezTo>
                    <a:cubicBezTo>
                      <a:pt x="2221" y="201"/>
                      <a:pt x="2221" y="201"/>
                      <a:pt x="2221" y="201"/>
                    </a:cubicBezTo>
                    <a:cubicBezTo>
                      <a:pt x="2224" y="202"/>
                      <a:pt x="2224" y="202"/>
                      <a:pt x="2224" y="202"/>
                    </a:cubicBezTo>
                    <a:cubicBezTo>
                      <a:pt x="2226" y="199"/>
                      <a:pt x="2226" y="199"/>
                      <a:pt x="2226" y="199"/>
                    </a:cubicBezTo>
                    <a:cubicBezTo>
                      <a:pt x="2233" y="199"/>
                      <a:pt x="2233" y="199"/>
                      <a:pt x="2233" y="199"/>
                    </a:cubicBezTo>
                    <a:cubicBezTo>
                      <a:pt x="2245" y="202"/>
                      <a:pt x="2245" y="202"/>
                      <a:pt x="2245" y="202"/>
                    </a:cubicBezTo>
                    <a:cubicBezTo>
                      <a:pt x="2249" y="204"/>
                      <a:pt x="2249" y="204"/>
                      <a:pt x="2249" y="204"/>
                    </a:cubicBezTo>
                    <a:cubicBezTo>
                      <a:pt x="2252" y="203"/>
                      <a:pt x="2252" y="203"/>
                      <a:pt x="2252" y="203"/>
                    </a:cubicBezTo>
                    <a:cubicBezTo>
                      <a:pt x="2250" y="202"/>
                      <a:pt x="2250" y="202"/>
                      <a:pt x="2250" y="202"/>
                    </a:cubicBezTo>
                    <a:cubicBezTo>
                      <a:pt x="2254" y="201"/>
                      <a:pt x="2254" y="201"/>
                      <a:pt x="2254" y="201"/>
                    </a:cubicBezTo>
                    <a:cubicBezTo>
                      <a:pt x="2257" y="203"/>
                      <a:pt x="2257" y="203"/>
                      <a:pt x="2257" y="203"/>
                    </a:cubicBezTo>
                    <a:cubicBezTo>
                      <a:pt x="2255" y="205"/>
                      <a:pt x="2255" y="205"/>
                      <a:pt x="2255" y="205"/>
                    </a:cubicBezTo>
                    <a:cubicBezTo>
                      <a:pt x="2257" y="207"/>
                      <a:pt x="2257" y="207"/>
                      <a:pt x="2257" y="207"/>
                    </a:cubicBezTo>
                    <a:cubicBezTo>
                      <a:pt x="2263" y="205"/>
                      <a:pt x="2263" y="205"/>
                      <a:pt x="2263" y="205"/>
                    </a:cubicBezTo>
                    <a:cubicBezTo>
                      <a:pt x="2276" y="207"/>
                      <a:pt x="2276" y="207"/>
                      <a:pt x="2276" y="207"/>
                    </a:cubicBezTo>
                    <a:cubicBezTo>
                      <a:pt x="2287" y="214"/>
                      <a:pt x="2287" y="214"/>
                      <a:pt x="2287" y="214"/>
                    </a:cubicBezTo>
                    <a:cubicBezTo>
                      <a:pt x="2287" y="215"/>
                      <a:pt x="2287" y="215"/>
                      <a:pt x="2287" y="215"/>
                    </a:cubicBezTo>
                    <a:cubicBezTo>
                      <a:pt x="2283" y="214"/>
                      <a:pt x="2283" y="214"/>
                      <a:pt x="2283" y="214"/>
                    </a:cubicBezTo>
                    <a:cubicBezTo>
                      <a:pt x="2277" y="211"/>
                      <a:pt x="2277" y="211"/>
                      <a:pt x="2277" y="211"/>
                    </a:cubicBezTo>
                    <a:cubicBezTo>
                      <a:pt x="2276" y="213"/>
                      <a:pt x="2276" y="213"/>
                      <a:pt x="2276" y="213"/>
                    </a:cubicBezTo>
                    <a:cubicBezTo>
                      <a:pt x="2288" y="217"/>
                      <a:pt x="2288" y="217"/>
                      <a:pt x="2288" y="217"/>
                    </a:cubicBezTo>
                    <a:cubicBezTo>
                      <a:pt x="2293" y="217"/>
                      <a:pt x="2293" y="217"/>
                      <a:pt x="2293" y="217"/>
                    </a:cubicBezTo>
                    <a:cubicBezTo>
                      <a:pt x="2295" y="214"/>
                      <a:pt x="2295" y="214"/>
                      <a:pt x="2295" y="214"/>
                    </a:cubicBezTo>
                    <a:cubicBezTo>
                      <a:pt x="2300" y="214"/>
                      <a:pt x="2300" y="214"/>
                      <a:pt x="2300" y="214"/>
                    </a:cubicBezTo>
                    <a:cubicBezTo>
                      <a:pt x="2305" y="214"/>
                      <a:pt x="2305" y="214"/>
                      <a:pt x="2305" y="214"/>
                    </a:cubicBezTo>
                    <a:cubicBezTo>
                      <a:pt x="2304" y="211"/>
                      <a:pt x="2304" y="211"/>
                      <a:pt x="2304" y="211"/>
                    </a:cubicBezTo>
                    <a:cubicBezTo>
                      <a:pt x="2306" y="210"/>
                      <a:pt x="2306" y="210"/>
                      <a:pt x="2306" y="210"/>
                    </a:cubicBezTo>
                    <a:cubicBezTo>
                      <a:pt x="2310" y="212"/>
                      <a:pt x="2310" y="212"/>
                      <a:pt x="2310" y="212"/>
                    </a:cubicBezTo>
                    <a:cubicBezTo>
                      <a:pt x="2314" y="214"/>
                      <a:pt x="2314" y="214"/>
                      <a:pt x="2314" y="214"/>
                    </a:cubicBezTo>
                    <a:cubicBezTo>
                      <a:pt x="2316" y="215"/>
                      <a:pt x="2316" y="215"/>
                      <a:pt x="2316" y="215"/>
                    </a:cubicBezTo>
                    <a:cubicBezTo>
                      <a:pt x="2316" y="213"/>
                      <a:pt x="2316" y="213"/>
                      <a:pt x="2316" y="213"/>
                    </a:cubicBezTo>
                    <a:cubicBezTo>
                      <a:pt x="2316" y="212"/>
                      <a:pt x="2316" y="212"/>
                      <a:pt x="2316" y="212"/>
                    </a:cubicBezTo>
                    <a:cubicBezTo>
                      <a:pt x="2322" y="213"/>
                      <a:pt x="2322" y="213"/>
                      <a:pt x="2322" y="213"/>
                    </a:cubicBezTo>
                    <a:cubicBezTo>
                      <a:pt x="2322" y="216"/>
                      <a:pt x="2322" y="216"/>
                      <a:pt x="2322" y="216"/>
                    </a:cubicBezTo>
                    <a:cubicBezTo>
                      <a:pt x="2328" y="218"/>
                      <a:pt x="2328" y="218"/>
                      <a:pt x="2328" y="218"/>
                    </a:cubicBezTo>
                    <a:cubicBezTo>
                      <a:pt x="2333" y="216"/>
                      <a:pt x="2333" y="216"/>
                      <a:pt x="2333" y="216"/>
                    </a:cubicBezTo>
                    <a:cubicBezTo>
                      <a:pt x="2349" y="219"/>
                      <a:pt x="2349" y="219"/>
                      <a:pt x="2349" y="219"/>
                    </a:cubicBezTo>
                    <a:cubicBezTo>
                      <a:pt x="2348" y="216"/>
                      <a:pt x="2348" y="216"/>
                      <a:pt x="2348" y="216"/>
                    </a:cubicBezTo>
                    <a:cubicBezTo>
                      <a:pt x="2353" y="216"/>
                      <a:pt x="2353" y="216"/>
                      <a:pt x="2353" y="216"/>
                    </a:cubicBezTo>
                    <a:cubicBezTo>
                      <a:pt x="2355" y="219"/>
                      <a:pt x="2355" y="219"/>
                      <a:pt x="2355" y="219"/>
                    </a:cubicBezTo>
                    <a:cubicBezTo>
                      <a:pt x="2358" y="220"/>
                      <a:pt x="2358" y="220"/>
                      <a:pt x="2358" y="220"/>
                    </a:cubicBezTo>
                    <a:cubicBezTo>
                      <a:pt x="2357" y="217"/>
                      <a:pt x="2357" y="217"/>
                      <a:pt x="2357" y="217"/>
                    </a:cubicBezTo>
                    <a:cubicBezTo>
                      <a:pt x="2359" y="216"/>
                      <a:pt x="2359" y="216"/>
                      <a:pt x="2359" y="216"/>
                    </a:cubicBezTo>
                    <a:cubicBezTo>
                      <a:pt x="2365" y="217"/>
                      <a:pt x="2365" y="217"/>
                      <a:pt x="2365" y="217"/>
                    </a:cubicBezTo>
                    <a:cubicBezTo>
                      <a:pt x="2364" y="219"/>
                      <a:pt x="2364" y="219"/>
                      <a:pt x="2364" y="219"/>
                    </a:cubicBezTo>
                    <a:cubicBezTo>
                      <a:pt x="2367" y="223"/>
                      <a:pt x="2367" y="223"/>
                      <a:pt x="2367" y="223"/>
                    </a:cubicBezTo>
                    <a:cubicBezTo>
                      <a:pt x="2372" y="221"/>
                      <a:pt x="2372" y="221"/>
                      <a:pt x="2372" y="221"/>
                    </a:cubicBezTo>
                    <a:cubicBezTo>
                      <a:pt x="2372" y="219"/>
                      <a:pt x="2372" y="219"/>
                      <a:pt x="2372" y="219"/>
                    </a:cubicBezTo>
                    <a:cubicBezTo>
                      <a:pt x="2370" y="218"/>
                      <a:pt x="2370" y="218"/>
                      <a:pt x="2370" y="218"/>
                    </a:cubicBezTo>
                    <a:cubicBezTo>
                      <a:pt x="2376" y="218"/>
                      <a:pt x="2376" y="218"/>
                      <a:pt x="2376" y="218"/>
                    </a:cubicBezTo>
                    <a:cubicBezTo>
                      <a:pt x="2378" y="220"/>
                      <a:pt x="2378" y="220"/>
                      <a:pt x="2378" y="220"/>
                    </a:cubicBezTo>
                    <a:cubicBezTo>
                      <a:pt x="2377" y="222"/>
                      <a:pt x="2377" y="222"/>
                      <a:pt x="2377" y="222"/>
                    </a:cubicBezTo>
                    <a:cubicBezTo>
                      <a:pt x="2381" y="226"/>
                      <a:pt x="2381" y="226"/>
                      <a:pt x="2381" y="226"/>
                    </a:cubicBezTo>
                    <a:cubicBezTo>
                      <a:pt x="2387" y="228"/>
                      <a:pt x="2387" y="228"/>
                      <a:pt x="2387" y="228"/>
                    </a:cubicBezTo>
                    <a:cubicBezTo>
                      <a:pt x="2393" y="226"/>
                      <a:pt x="2393" y="226"/>
                      <a:pt x="2393" y="226"/>
                    </a:cubicBezTo>
                    <a:cubicBezTo>
                      <a:pt x="2385" y="224"/>
                      <a:pt x="2385" y="224"/>
                      <a:pt x="2385" y="224"/>
                    </a:cubicBezTo>
                    <a:cubicBezTo>
                      <a:pt x="2382" y="222"/>
                      <a:pt x="2382" y="222"/>
                      <a:pt x="2382" y="222"/>
                    </a:cubicBezTo>
                    <a:cubicBezTo>
                      <a:pt x="2381" y="220"/>
                      <a:pt x="2381" y="220"/>
                      <a:pt x="2381" y="220"/>
                    </a:cubicBezTo>
                    <a:cubicBezTo>
                      <a:pt x="2385" y="219"/>
                      <a:pt x="2385" y="219"/>
                      <a:pt x="2385" y="219"/>
                    </a:cubicBezTo>
                    <a:cubicBezTo>
                      <a:pt x="2390" y="219"/>
                      <a:pt x="2390" y="219"/>
                      <a:pt x="2390" y="219"/>
                    </a:cubicBezTo>
                    <a:cubicBezTo>
                      <a:pt x="2397" y="223"/>
                      <a:pt x="2397" y="223"/>
                      <a:pt x="2397" y="223"/>
                    </a:cubicBezTo>
                    <a:cubicBezTo>
                      <a:pt x="2399" y="227"/>
                      <a:pt x="2399" y="227"/>
                      <a:pt x="2399" y="227"/>
                    </a:cubicBezTo>
                    <a:cubicBezTo>
                      <a:pt x="2401" y="229"/>
                      <a:pt x="2401" y="229"/>
                      <a:pt x="2401" y="229"/>
                    </a:cubicBezTo>
                    <a:cubicBezTo>
                      <a:pt x="2402" y="225"/>
                      <a:pt x="2402" y="225"/>
                      <a:pt x="2402" y="225"/>
                    </a:cubicBezTo>
                    <a:cubicBezTo>
                      <a:pt x="2401" y="224"/>
                      <a:pt x="2401" y="224"/>
                      <a:pt x="2401" y="224"/>
                    </a:cubicBezTo>
                    <a:cubicBezTo>
                      <a:pt x="2404" y="225"/>
                      <a:pt x="2404" y="225"/>
                      <a:pt x="2404" y="225"/>
                    </a:cubicBezTo>
                    <a:cubicBezTo>
                      <a:pt x="2406" y="227"/>
                      <a:pt x="2406" y="227"/>
                      <a:pt x="2406" y="227"/>
                    </a:cubicBezTo>
                    <a:cubicBezTo>
                      <a:pt x="2406" y="228"/>
                      <a:pt x="2406" y="228"/>
                      <a:pt x="2406" y="228"/>
                    </a:cubicBezTo>
                    <a:cubicBezTo>
                      <a:pt x="2410" y="233"/>
                      <a:pt x="2410" y="233"/>
                      <a:pt x="2410" y="233"/>
                    </a:cubicBezTo>
                    <a:cubicBezTo>
                      <a:pt x="2416" y="243"/>
                      <a:pt x="2416" y="243"/>
                      <a:pt x="2416" y="243"/>
                    </a:cubicBezTo>
                    <a:cubicBezTo>
                      <a:pt x="2422" y="245"/>
                      <a:pt x="2422" y="245"/>
                      <a:pt x="2422" y="245"/>
                    </a:cubicBezTo>
                    <a:cubicBezTo>
                      <a:pt x="2424" y="249"/>
                      <a:pt x="2424" y="249"/>
                      <a:pt x="2424" y="249"/>
                    </a:cubicBezTo>
                    <a:cubicBezTo>
                      <a:pt x="2427" y="252"/>
                      <a:pt x="2427" y="252"/>
                      <a:pt x="2427" y="252"/>
                    </a:cubicBezTo>
                    <a:cubicBezTo>
                      <a:pt x="2429" y="256"/>
                      <a:pt x="2429" y="256"/>
                      <a:pt x="2429" y="256"/>
                    </a:cubicBezTo>
                    <a:cubicBezTo>
                      <a:pt x="2428" y="258"/>
                      <a:pt x="2428" y="258"/>
                      <a:pt x="2428" y="258"/>
                    </a:cubicBezTo>
                    <a:cubicBezTo>
                      <a:pt x="2429" y="262"/>
                      <a:pt x="2429" y="262"/>
                      <a:pt x="2429" y="262"/>
                    </a:cubicBezTo>
                    <a:cubicBezTo>
                      <a:pt x="2432" y="263"/>
                      <a:pt x="2432" y="263"/>
                      <a:pt x="2432" y="263"/>
                    </a:cubicBezTo>
                    <a:cubicBezTo>
                      <a:pt x="2436" y="260"/>
                      <a:pt x="2436" y="260"/>
                      <a:pt x="2436" y="260"/>
                    </a:cubicBezTo>
                    <a:cubicBezTo>
                      <a:pt x="2441" y="261"/>
                      <a:pt x="2441" y="261"/>
                      <a:pt x="2441" y="261"/>
                    </a:cubicBezTo>
                    <a:cubicBezTo>
                      <a:pt x="2444" y="266"/>
                      <a:pt x="2444" y="266"/>
                      <a:pt x="2444" y="266"/>
                    </a:cubicBezTo>
                    <a:cubicBezTo>
                      <a:pt x="2447" y="267"/>
                      <a:pt x="2447" y="267"/>
                      <a:pt x="2447" y="267"/>
                    </a:cubicBezTo>
                    <a:cubicBezTo>
                      <a:pt x="2448" y="266"/>
                      <a:pt x="2448" y="266"/>
                      <a:pt x="2448" y="266"/>
                    </a:cubicBezTo>
                    <a:cubicBezTo>
                      <a:pt x="2446" y="264"/>
                      <a:pt x="2446" y="264"/>
                      <a:pt x="2446" y="264"/>
                    </a:cubicBezTo>
                    <a:cubicBezTo>
                      <a:pt x="2445" y="261"/>
                      <a:pt x="2445" y="261"/>
                      <a:pt x="2445" y="261"/>
                    </a:cubicBezTo>
                    <a:cubicBezTo>
                      <a:pt x="2447" y="258"/>
                      <a:pt x="2447" y="258"/>
                      <a:pt x="2447" y="258"/>
                    </a:cubicBezTo>
                    <a:cubicBezTo>
                      <a:pt x="2450" y="259"/>
                      <a:pt x="2450" y="259"/>
                      <a:pt x="2450" y="259"/>
                    </a:cubicBezTo>
                    <a:cubicBezTo>
                      <a:pt x="2452" y="263"/>
                      <a:pt x="2452" y="263"/>
                      <a:pt x="2452" y="263"/>
                    </a:cubicBezTo>
                    <a:cubicBezTo>
                      <a:pt x="2455" y="267"/>
                      <a:pt x="2455" y="267"/>
                      <a:pt x="2455" y="267"/>
                    </a:cubicBezTo>
                    <a:cubicBezTo>
                      <a:pt x="2455" y="265"/>
                      <a:pt x="2455" y="265"/>
                      <a:pt x="2455" y="265"/>
                    </a:cubicBezTo>
                    <a:cubicBezTo>
                      <a:pt x="2452" y="259"/>
                      <a:pt x="2452" y="259"/>
                      <a:pt x="2452" y="259"/>
                    </a:cubicBezTo>
                    <a:cubicBezTo>
                      <a:pt x="2452" y="256"/>
                      <a:pt x="2452" y="256"/>
                      <a:pt x="2452" y="256"/>
                    </a:cubicBezTo>
                    <a:cubicBezTo>
                      <a:pt x="2449" y="253"/>
                      <a:pt x="2449" y="253"/>
                      <a:pt x="2449" y="253"/>
                    </a:cubicBezTo>
                    <a:cubicBezTo>
                      <a:pt x="2445" y="255"/>
                      <a:pt x="2445" y="255"/>
                      <a:pt x="2445" y="255"/>
                    </a:cubicBezTo>
                    <a:cubicBezTo>
                      <a:pt x="2439" y="256"/>
                      <a:pt x="2439" y="256"/>
                      <a:pt x="2439" y="256"/>
                    </a:cubicBezTo>
                    <a:cubicBezTo>
                      <a:pt x="2439" y="253"/>
                      <a:pt x="2439" y="253"/>
                      <a:pt x="2439" y="253"/>
                    </a:cubicBezTo>
                    <a:cubicBezTo>
                      <a:pt x="2441" y="251"/>
                      <a:pt x="2441" y="251"/>
                      <a:pt x="2441" y="251"/>
                    </a:cubicBezTo>
                    <a:cubicBezTo>
                      <a:pt x="2440" y="246"/>
                      <a:pt x="2440" y="246"/>
                      <a:pt x="2440" y="246"/>
                    </a:cubicBezTo>
                    <a:cubicBezTo>
                      <a:pt x="2433" y="242"/>
                      <a:pt x="2433" y="242"/>
                      <a:pt x="2433" y="242"/>
                    </a:cubicBezTo>
                    <a:cubicBezTo>
                      <a:pt x="2430" y="238"/>
                      <a:pt x="2430" y="238"/>
                      <a:pt x="2430" y="238"/>
                    </a:cubicBezTo>
                    <a:cubicBezTo>
                      <a:pt x="2428" y="235"/>
                      <a:pt x="2428" y="235"/>
                      <a:pt x="2428" y="235"/>
                    </a:cubicBezTo>
                    <a:cubicBezTo>
                      <a:pt x="2425" y="235"/>
                      <a:pt x="2425" y="235"/>
                      <a:pt x="2425" y="235"/>
                    </a:cubicBezTo>
                    <a:cubicBezTo>
                      <a:pt x="2420" y="238"/>
                      <a:pt x="2420" y="238"/>
                      <a:pt x="2420" y="238"/>
                    </a:cubicBezTo>
                    <a:cubicBezTo>
                      <a:pt x="2420" y="236"/>
                      <a:pt x="2420" y="236"/>
                      <a:pt x="2420" y="236"/>
                    </a:cubicBezTo>
                    <a:cubicBezTo>
                      <a:pt x="2424" y="233"/>
                      <a:pt x="2424" y="233"/>
                      <a:pt x="2424" y="233"/>
                    </a:cubicBezTo>
                    <a:cubicBezTo>
                      <a:pt x="2426" y="228"/>
                      <a:pt x="2426" y="228"/>
                      <a:pt x="2426" y="228"/>
                    </a:cubicBezTo>
                    <a:cubicBezTo>
                      <a:pt x="2431" y="221"/>
                      <a:pt x="2431" y="221"/>
                      <a:pt x="2431" y="221"/>
                    </a:cubicBezTo>
                    <a:cubicBezTo>
                      <a:pt x="2434" y="220"/>
                      <a:pt x="2434" y="220"/>
                      <a:pt x="2434" y="220"/>
                    </a:cubicBezTo>
                    <a:cubicBezTo>
                      <a:pt x="2433" y="223"/>
                      <a:pt x="2433" y="223"/>
                      <a:pt x="2433" y="223"/>
                    </a:cubicBezTo>
                    <a:cubicBezTo>
                      <a:pt x="2436" y="229"/>
                      <a:pt x="2436" y="229"/>
                      <a:pt x="2436" y="229"/>
                    </a:cubicBezTo>
                    <a:cubicBezTo>
                      <a:pt x="2440" y="230"/>
                      <a:pt x="2440" y="230"/>
                      <a:pt x="2440" y="230"/>
                    </a:cubicBezTo>
                    <a:cubicBezTo>
                      <a:pt x="2441" y="229"/>
                      <a:pt x="2441" y="229"/>
                      <a:pt x="2441" y="229"/>
                    </a:cubicBezTo>
                    <a:cubicBezTo>
                      <a:pt x="2438" y="226"/>
                      <a:pt x="2438" y="226"/>
                      <a:pt x="2438" y="226"/>
                    </a:cubicBezTo>
                    <a:cubicBezTo>
                      <a:pt x="2437" y="223"/>
                      <a:pt x="2437" y="223"/>
                      <a:pt x="2437" y="223"/>
                    </a:cubicBezTo>
                    <a:cubicBezTo>
                      <a:pt x="2439" y="223"/>
                      <a:pt x="2439" y="223"/>
                      <a:pt x="2439" y="223"/>
                    </a:cubicBezTo>
                    <a:cubicBezTo>
                      <a:pt x="2443" y="220"/>
                      <a:pt x="2443" y="220"/>
                      <a:pt x="2443" y="220"/>
                    </a:cubicBezTo>
                    <a:cubicBezTo>
                      <a:pt x="2444" y="217"/>
                      <a:pt x="2444" y="217"/>
                      <a:pt x="2444" y="217"/>
                    </a:cubicBezTo>
                    <a:cubicBezTo>
                      <a:pt x="2440" y="217"/>
                      <a:pt x="2440" y="217"/>
                      <a:pt x="2440" y="217"/>
                    </a:cubicBezTo>
                    <a:cubicBezTo>
                      <a:pt x="2442" y="216"/>
                      <a:pt x="2442" y="216"/>
                      <a:pt x="2442" y="216"/>
                    </a:cubicBezTo>
                    <a:cubicBezTo>
                      <a:pt x="2443" y="215"/>
                      <a:pt x="2443" y="215"/>
                      <a:pt x="2443" y="215"/>
                    </a:cubicBezTo>
                    <a:cubicBezTo>
                      <a:pt x="2447" y="214"/>
                      <a:pt x="2447" y="214"/>
                      <a:pt x="2447" y="214"/>
                    </a:cubicBezTo>
                    <a:cubicBezTo>
                      <a:pt x="2450" y="209"/>
                      <a:pt x="2450" y="209"/>
                      <a:pt x="2450" y="209"/>
                    </a:cubicBezTo>
                    <a:cubicBezTo>
                      <a:pt x="2454" y="209"/>
                      <a:pt x="2454" y="209"/>
                      <a:pt x="2454" y="209"/>
                    </a:cubicBezTo>
                    <a:cubicBezTo>
                      <a:pt x="2455" y="211"/>
                      <a:pt x="2455" y="211"/>
                      <a:pt x="2455" y="211"/>
                    </a:cubicBezTo>
                    <a:cubicBezTo>
                      <a:pt x="2457" y="210"/>
                      <a:pt x="2457" y="210"/>
                      <a:pt x="2457" y="210"/>
                    </a:cubicBezTo>
                    <a:cubicBezTo>
                      <a:pt x="2461" y="211"/>
                      <a:pt x="2461" y="211"/>
                      <a:pt x="2461" y="211"/>
                    </a:cubicBezTo>
                    <a:cubicBezTo>
                      <a:pt x="2461" y="213"/>
                      <a:pt x="2461" y="213"/>
                      <a:pt x="2461" y="213"/>
                    </a:cubicBezTo>
                    <a:cubicBezTo>
                      <a:pt x="2465" y="216"/>
                      <a:pt x="2465" y="216"/>
                      <a:pt x="2465" y="216"/>
                    </a:cubicBezTo>
                    <a:cubicBezTo>
                      <a:pt x="2470" y="217"/>
                      <a:pt x="2470" y="217"/>
                      <a:pt x="2470" y="217"/>
                    </a:cubicBezTo>
                    <a:cubicBezTo>
                      <a:pt x="2473" y="216"/>
                      <a:pt x="2473" y="216"/>
                      <a:pt x="2473" y="216"/>
                    </a:cubicBezTo>
                    <a:cubicBezTo>
                      <a:pt x="2485" y="218"/>
                      <a:pt x="2485" y="218"/>
                      <a:pt x="2485" y="218"/>
                    </a:cubicBezTo>
                    <a:cubicBezTo>
                      <a:pt x="2484" y="222"/>
                      <a:pt x="2484" y="222"/>
                      <a:pt x="2484" y="222"/>
                    </a:cubicBezTo>
                    <a:cubicBezTo>
                      <a:pt x="2485" y="223"/>
                      <a:pt x="2485" y="223"/>
                      <a:pt x="2485" y="223"/>
                    </a:cubicBezTo>
                    <a:cubicBezTo>
                      <a:pt x="2487" y="223"/>
                      <a:pt x="2487" y="223"/>
                      <a:pt x="2487" y="223"/>
                    </a:cubicBezTo>
                    <a:cubicBezTo>
                      <a:pt x="2487" y="220"/>
                      <a:pt x="2487" y="220"/>
                      <a:pt x="2487" y="220"/>
                    </a:cubicBezTo>
                    <a:cubicBezTo>
                      <a:pt x="2491" y="220"/>
                      <a:pt x="2491" y="220"/>
                      <a:pt x="2491" y="220"/>
                    </a:cubicBezTo>
                    <a:cubicBezTo>
                      <a:pt x="2491" y="225"/>
                      <a:pt x="2491" y="225"/>
                      <a:pt x="2491" y="225"/>
                    </a:cubicBezTo>
                    <a:cubicBezTo>
                      <a:pt x="2494" y="223"/>
                      <a:pt x="2494" y="223"/>
                      <a:pt x="2494" y="223"/>
                    </a:cubicBezTo>
                    <a:cubicBezTo>
                      <a:pt x="2498" y="218"/>
                      <a:pt x="2498" y="218"/>
                      <a:pt x="2498" y="218"/>
                    </a:cubicBezTo>
                    <a:cubicBezTo>
                      <a:pt x="2501" y="220"/>
                      <a:pt x="2501" y="220"/>
                      <a:pt x="2501" y="220"/>
                    </a:cubicBezTo>
                    <a:cubicBezTo>
                      <a:pt x="2501" y="222"/>
                      <a:pt x="2501" y="222"/>
                      <a:pt x="2501" y="222"/>
                    </a:cubicBezTo>
                    <a:cubicBezTo>
                      <a:pt x="2499" y="225"/>
                      <a:pt x="2499" y="225"/>
                      <a:pt x="2499" y="225"/>
                    </a:cubicBezTo>
                    <a:cubicBezTo>
                      <a:pt x="2498" y="228"/>
                      <a:pt x="2498" y="228"/>
                      <a:pt x="2498" y="228"/>
                    </a:cubicBezTo>
                    <a:cubicBezTo>
                      <a:pt x="2502" y="237"/>
                      <a:pt x="2502" y="237"/>
                      <a:pt x="2502" y="237"/>
                    </a:cubicBezTo>
                    <a:cubicBezTo>
                      <a:pt x="2500" y="242"/>
                      <a:pt x="2500" y="242"/>
                      <a:pt x="2500" y="242"/>
                    </a:cubicBezTo>
                    <a:cubicBezTo>
                      <a:pt x="2501" y="244"/>
                      <a:pt x="2501" y="244"/>
                      <a:pt x="2501" y="244"/>
                    </a:cubicBezTo>
                    <a:cubicBezTo>
                      <a:pt x="2504" y="244"/>
                      <a:pt x="2504" y="244"/>
                      <a:pt x="2504" y="244"/>
                    </a:cubicBezTo>
                    <a:cubicBezTo>
                      <a:pt x="2507" y="248"/>
                      <a:pt x="2507" y="248"/>
                      <a:pt x="2507" y="248"/>
                    </a:cubicBezTo>
                    <a:cubicBezTo>
                      <a:pt x="2511" y="249"/>
                      <a:pt x="2511" y="249"/>
                      <a:pt x="2511" y="249"/>
                    </a:cubicBezTo>
                    <a:cubicBezTo>
                      <a:pt x="2512" y="253"/>
                      <a:pt x="2512" y="253"/>
                      <a:pt x="2512" y="253"/>
                    </a:cubicBezTo>
                    <a:cubicBezTo>
                      <a:pt x="2510" y="256"/>
                      <a:pt x="2510" y="256"/>
                      <a:pt x="2510" y="256"/>
                    </a:cubicBezTo>
                    <a:cubicBezTo>
                      <a:pt x="2504" y="255"/>
                      <a:pt x="2504" y="255"/>
                      <a:pt x="2504" y="255"/>
                    </a:cubicBezTo>
                    <a:cubicBezTo>
                      <a:pt x="2498" y="256"/>
                      <a:pt x="2498" y="256"/>
                      <a:pt x="2498" y="256"/>
                    </a:cubicBezTo>
                    <a:cubicBezTo>
                      <a:pt x="2506" y="258"/>
                      <a:pt x="2506" y="258"/>
                      <a:pt x="2506" y="258"/>
                    </a:cubicBezTo>
                    <a:cubicBezTo>
                      <a:pt x="2509" y="262"/>
                      <a:pt x="2509" y="262"/>
                      <a:pt x="2509" y="262"/>
                    </a:cubicBezTo>
                    <a:cubicBezTo>
                      <a:pt x="2508" y="265"/>
                      <a:pt x="2508" y="265"/>
                      <a:pt x="2508" y="265"/>
                    </a:cubicBezTo>
                    <a:cubicBezTo>
                      <a:pt x="2503" y="266"/>
                      <a:pt x="2503" y="266"/>
                      <a:pt x="2503" y="266"/>
                    </a:cubicBezTo>
                    <a:cubicBezTo>
                      <a:pt x="2500" y="272"/>
                      <a:pt x="2500" y="272"/>
                      <a:pt x="2500" y="272"/>
                    </a:cubicBezTo>
                    <a:cubicBezTo>
                      <a:pt x="2498" y="270"/>
                      <a:pt x="2498" y="270"/>
                      <a:pt x="2498" y="270"/>
                    </a:cubicBezTo>
                    <a:cubicBezTo>
                      <a:pt x="2494" y="274"/>
                      <a:pt x="2494" y="274"/>
                      <a:pt x="2494" y="274"/>
                    </a:cubicBezTo>
                    <a:cubicBezTo>
                      <a:pt x="2489" y="273"/>
                      <a:pt x="2489" y="273"/>
                      <a:pt x="2489" y="273"/>
                    </a:cubicBezTo>
                    <a:cubicBezTo>
                      <a:pt x="2485" y="277"/>
                      <a:pt x="2485" y="277"/>
                      <a:pt x="2485" y="277"/>
                    </a:cubicBezTo>
                    <a:cubicBezTo>
                      <a:pt x="2490" y="276"/>
                      <a:pt x="2490" y="276"/>
                      <a:pt x="2490" y="276"/>
                    </a:cubicBezTo>
                    <a:cubicBezTo>
                      <a:pt x="2493" y="277"/>
                      <a:pt x="2493" y="277"/>
                      <a:pt x="2493" y="277"/>
                    </a:cubicBezTo>
                    <a:cubicBezTo>
                      <a:pt x="2495" y="280"/>
                      <a:pt x="2495" y="280"/>
                      <a:pt x="2495" y="280"/>
                    </a:cubicBezTo>
                    <a:cubicBezTo>
                      <a:pt x="2498" y="277"/>
                      <a:pt x="2498" y="277"/>
                      <a:pt x="2498" y="277"/>
                    </a:cubicBezTo>
                    <a:cubicBezTo>
                      <a:pt x="2500" y="277"/>
                      <a:pt x="2500" y="277"/>
                      <a:pt x="2500" y="277"/>
                    </a:cubicBezTo>
                    <a:cubicBezTo>
                      <a:pt x="2500" y="281"/>
                      <a:pt x="2500" y="281"/>
                      <a:pt x="2500" y="281"/>
                    </a:cubicBezTo>
                    <a:cubicBezTo>
                      <a:pt x="2504" y="285"/>
                      <a:pt x="2504" y="285"/>
                      <a:pt x="2504" y="285"/>
                    </a:cubicBezTo>
                    <a:cubicBezTo>
                      <a:pt x="2501" y="287"/>
                      <a:pt x="2501" y="287"/>
                      <a:pt x="2501" y="287"/>
                    </a:cubicBezTo>
                    <a:cubicBezTo>
                      <a:pt x="2500" y="293"/>
                      <a:pt x="2500" y="293"/>
                      <a:pt x="2500" y="293"/>
                    </a:cubicBezTo>
                    <a:cubicBezTo>
                      <a:pt x="2504" y="289"/>
                      <a:pt x="2504" y="289"/>
                      <a:pt x="2504" y="289"/>
                    </a:cubicBezTo>
                    <a:cubicBezTo>
                      <a:pt x="2509" y="288"/>
                      <a:pt x="2509" y="288"/>
                      <a:pt x="2509" y="288"/>
                    </a:cubicBezTo>
                    <a:cubicBezTo>
                      <a:pt x="2514" y="292"/>
                      <a:pt x="2514" y="292"/>
                      <a:pt x="2514" y="292"/>
                    </a:cubicBezTo>
                    <a:cubicBezTo>
                      <a:pt x="2514" y="295"/>
                      <a:pt x="2514" y="295"/>
                      <a:pt x="2514" y="295"/>
                    </a:cubicBezTo>
                    <a:cubicBezTo>
                      <a:pt x="2516" y="300"/>
                      <a:pt x="2516" y="300"/>
                      <a:pt x="2516" y="300"/>
                    </a:cubicBezTo>
                    <a:cubicBezTo>
                      <a:pt x="2512" y="303"/>
                      <a:pt x="2512" y="303"/>
                      <a:pt x="2512" y="303"/>
                    </a:cubicBezTo>
                    <a:cubicBezTo>
                      <a:pt x="2514" y="304"/>
                      <a:pt x="2514" y="304"/>
                      <a:pt x="2514" y="304"/>
                    </a:cubicBezTo>
                    <a:cubicBezTo>
                      <a:pt x="2515" y="310"/>
                      <a:pt x="2515" y="310"/>
                      <a:pt x="2515" y="310"/>
                    </a:cubicBezTo>
                    <a:cubicBezTo>
                      <a:pt x="2511" y="311"/>
                      <a:pt x="2511" y="311"/>
                      <a:pt x="2511" y="311"/>
                    </a:cubicBezTo>
                    <a:cubicBezTo>
                      <a:pt x="2511" y="314"/>
                      <a:pt x="2511" y="314"/>
                      <a:pt x="2511" y="314"/>
                    </a:cubicBezTo>
                    <a:cubicBezTo>
                      <a:pt x="2512" y="316"/>
                      <a:pt x="2512" y="316"/>
                      <a:pt x="2512" y="316"/>
                    </a:cubicBezTo>
                    <a:cubicBezTo>
                      <a:pt x="2513" y="314"/>
                      <a:pt x="2513" y="314"/>
                      <a:pt x="2513" y="314"/>
                    </a:cubicBezTo>
                    <a:cubicBezTo>
                      <a:pt x="2516" y="313"/>
                      <a:pt x="2516" y="313"/>
                      <a:pt x="2516" y="313"/>
                    </a:cubicBezTo>
                    <a:cubicBezTo>
                      <a:pt x="2518" y="315"/>
                      <a:pt x="2518" y="315"/>
                      <a:pt x="2518" y="315"/>
                    </a:cubicBezTo>
                    <a:cubicBezTo>
                      <a:pt x="2518" y="320"/>
                      <a:pt x="2518" y="320"/>
                      <a:pt x="2518" y="320"/>
                    </a:cubicBezTo>
                    <a:cubicBezTo>
                      <a:pt x="2522" y="319"/>
                      <a:pt x="2522" y="319"/>
                      <a:pt x="2522" y="319"/>
                    </a:cubicBezTo>
                    <a:cubicBezTo>
                      <a:pt x="2523" y="322"/>
                      <a:pt x="2523" y="322"/>
                      <a:pt x="2523" y="322"/>
                    </a:cubicBezTo>
                    <a:cubicBezTo>
                      <a:pt x="2524" y="319"/>
                      <a:pt x="2524" y="319"/>
                      <a:pt x="2524" y="319"/>
                    </a:cubicBezTo>
                    <a:cubicBezTo>
                      <a:pt x="2526" y="317"/>
                      <a:pt x="2526" y="317"/>
                      <a:pt x="2526" y="317"/>
                    </a:cubicBezTo>
                    <a:cubicBezTo>
                      <a:pt x="2529" y="318"/>
                      <a:pt x="2529" y="318"/>
                      <a:pt x="2529" y="318"/>
                    </a:cubicBezTo>
                    <a:cubicBezTo>
                      <a:pt x="2533" y="319"/>
                      <a:pt x="2533" y="319"/>
                      <a:pt x="2533" y="319"/>
                    </a:cubicBezTo>
                    <a:cubicBezTo>
                      <a:pt x="2533" y="323"/>
                      <a:pt x="2533" y="323"/>
                      <a:pt x="2533" y="323"/>
                    </a:cubicBezTo>
                    <a:cubicBezTo>
                      <a:pt x="2530" y="324"/>
                      <a:pt x="2530" y="324"/>
                      <a:pt x="2530" y="324"/>
                    </a:cubicBezTo>
                    <a:cubicBezTo>
                      <a:pt x="2526" y="322"/>
                      <a:pt x="2526" y="322"/>
                      <a:pt x="2526" y="322"/>
                    </a:cubicBezTo>
                    <a:cubicBezTo>
                      <a:pt x="2524" y="326"/>
                      <a:pt x="2524" y="326"/>
                      <a:pt x="2524" y="326"/>
                    </a:cubicBezTo>
                    <a:cubicBezTo>
                      <a:pt x="2528" y="328"/>
                      <a:pt x="2528" y="328"/>
                      <a:pt x="2528" y="328"/>
                    </a:cubicBezTo>
                    <a:cubicBezTo>
                      <a:pt x="2531" y="328"/>
                      <a:pt x="2531" y="328"/>
                      <a:pt x="2531" y="328"/>
                    </a:cubicBezTo>
                    <a:cubicBezTo>
                      <a:pt x="2534" y="333"/>
                      <a:pt x="2534" y="333"/>
                      <a:pt x="2534" y="333"/>
                    </a:cubicBezTo>
                    <a:cubicBezTo>
                      <a:pt x="2534" y="335"/>
                      <a:pt x="2534" y="335"/>
                      <a:pt x="2534" y="335"/>
                    </a:cubicBezTo>
                    <a:cubicBezTo>
                      <a:pt x="2529" y="337"/>
                      <a:pt x="2529" y="337"/>
                      <a:pt x="2529" y="337"/>
                    </a:cubicBezTo>
                    <a:cubicBezTo>
                      <a:pt x="2524" y="331"/>
                      <a:pt x="2524" y="331"/>
                      <a:pt x="2524" y="331"/>
                    </a:cubicBezTo>
                    <a:cubicBezTo>
                      <a:pt x="2523" y="331"/>
                      <a:pt x="2523" y="331"/>
                      <a:pt x="2523" y="331"/>
                    </a:cubicBezTo>
                    <a:cubicBezTo>
                      <a:pt x="2525" y="337"/>
                      <a:pt x="2525" y="337"/>
                      <a:pt x="2525" y="337"/>
                    </a:cubicBezTo>
                    <a:cubicBezTo>
                      <a:pt x="2522" y="340"/>
                      <a:pt x="2522" y="340"/>
                      <a:pt x="2522" y="340"/>
                    </a:cubicBezTo>
                    <a:cubicBezTo>
                      <a:pt x="2520" y="340"/>
                      <a:pt x="2520" y="340"/>
                      <a:pt x="2520" y="340"/>
                    </a:cubicBezTo>
                    <a:cubicBezTo>
                      <a:pt x="2519" y="338"/>
                      <a:pt x="2519" y="338"/>
                      <a:pt x="2519" y="338"/>
                    </a:cubicBezTo>
                    <a:cubicBezTo>
                      <a:pt x="2516" y="339"/>
                      <a:pt x="2516" y="339"/>
                      <a:pt x="2516" y="339"/>
                    </a:cubicBezTo>
                    <a:cubicBezTo>
                      <a:pt x="2514" y="337"/>
                      <a:pt x="2514" y="337"/>
                      <a:pt x="2514" y="337"/>
                    </a:cubicBezTo>
                    <a:cubicBezTo>
                      <a:pt x="2505" y="336"/>
                      <a:pt x="2505" y="336"/>
                      <a:pt x="2505" y="336"/>
                    </a:cubicBezTo>
                    <a:cubicBezTo>
                      <a:pt x="2502" y="338"/>
                      <a:pt x="2502" y="338"/>
                      <a:pt x="2502" y="338"/>
                    </a:cubicBezTo>
                    <a:cubicBezTo>
                      <a:pt x="2498" y="338"/>
                      <a:pt x="2498" y="338"/>
                      <a:pt x="2498" y="338"/>
                    </a:cubicBezTo>
                    <a:cubicBezTo>
                      <a:pt x="2499" y="336"/>
                      <a:pt x="2499" y="336"/>
                      <a:pt x="2499" y="336"/>
                    </a:cubicBezTo>
                    <a:cubicBezTo>
                      <a:pt x="2497" y="333"/>
                      <a:pt x="2497" y="333"/>
                      <a:pt x="2497" y="333"/>
                    </a:cubicBezTo>
                    <a:cubicBezTo>
                      <a:pt x="2494" y="333"/>
                      <a:pt x="2494" y="333"/>
                      <a:pt x="2494" y="333"/>
                    </a:cubicBezTo>
                    <a:cubicBezTo>
                      <a:pt x="2495" y="337"/>
                      <a:pt x="2495" y="337"/>
                      <a:pt x="2495" y="337"/>
                    </a:cubicBezTo>
                    <a:cubicBezTo>
                      <a:pt x="2493" y="337"/>
                      <a:pt x="2493" y="337"/>
                      <a:pt x="2493" y="337"/>
                    </a:cubicBezTo>
                    <a:cubicBezTo>
                      <a:pt x="2492" y="338"/>
                      <a:pt x="2492" y="338"/>
                      <a:pt x="2492" y="338"/>
                    </a:cubicBezTo>
                    <a:cubicBezTo>
                      <a:pt x="2494" y="341"/>
                      <a:pt x="2494" y="341"/>
                      <a:pt x="2494" y="341"/>
                    </a:cubicBezTo>
                    <a:cubicBezTo>
                      <a:pt x="2491" y="345"/>
                      <a:pt x="2491" y="345"/>
                      <a:pt x="2491" y="345"/>
                    </a:cubicBezTo>
                    <a:cubicBezTo>
                      <a:pt x="2490" y="345"/>
                      <a:pt x="2490" y="345"/>
                      <a:pt x="2490" y="345"/>
                    </a:cubicBezTo>
                    <a:cubicBezTo>
                      <a:pt x="2490" y="343"/>
                      <a:pt x="2490" y="343"/>
                      <a:pt x="2490" y="343"/>
                    </a:cubicBezTo>
                    <a:cubicBezTo>
                      <a:pt x="2488" y="342"/>
                      <a:pt x="2488" y="342"/>
                      <a:pt x="2488" y="342"/>
                    </a:cubicBezTo>
                    <a:cubicBezTo>
                      <a:pt x="2480" y="344"/>
                      <a:pt x="2480" y="344"/>
                      <a:pt x="2480" y="344"/>
                    </a:cubicBezTo>
                    <a:cubicBezTo>
                      <a:pt x="2478" y="343"/>
                      <a:pt x="2478" y="343"/>
                      <a:pt x="2478" y="343"/>
                    </a:cubicBezTo>
                    <a:cubicBezTo>
                      <a:pt x="2478" y="341"/>
                      <a:pt x="2478" y="341"/>
                      <a:pt x="2478" y="341"/>
                    </a:cubicBezTo>
                    <a:cubicBezTo>
                      <a:pt x="2477" y="336"/>
                      <a:pt x="2477" y="336"/>
                      <a:pt x="2477" y="336"/>
                    </a:cubicBezTo>
                    <a:cubicBezTo>
                      <a:pt x="2475" y="335"/>
                      <a:pt x="2475" y="335"/>
                      <a:pt x="2475" y="335"/>
                    </a:cubicBezTo>
                    <a:cubicBezTo>
                      <a:pt x="2466" y="329"/>
                      <a:pt x="2466" y="329"/>
                      <a:pt x="2466" y="329"/>
                    </a:cubicBezTo>
                    <a:cubicBezTo>
                      <a:pt x="2465" y="327"/>
                      <a:pt x="2465" y="327"/>
                      <a:pt x="2465" y="327"/>
                    </a:cubicBezTo>
                    <a:cubicBezTo>
                      <a:pt x="2466" y="326"/>
                      <a:pt x="2466" y="326"/>
                      <a:pt x="2466" y="326"/>
                    </a:cubicBezTo>
                    <a:cubicBezTo>
                      <a:pt x="2459" y="324"/>
                      <a:pt x="2459" y="324"/>
                      <a:pt x="2459" y="324"/>
                    </a:cubicBezTo>
                    <a:cubicBezTo>
                      <a:pt x="2459" y="328"/>
                      <a:pt x="2459" y="328"/>
                      <a:pt x="2459" y="328"/>
                    </a:cubicBezTo>
                    <a:cubicBezTo>
                      <a:pt x="2452" y="329"/>
                      <a:pt x="2452" y="329"/>
                      <a:pt x="2452" y="329"/>
                    </a:cubicBezTo>
                    <a:cubicBezTo>
                      <a:pt x="2449" y="333"/>
                      <a:pt x="2449" y="333"/>
                      <a:pt x="2449" y="333"/>
                    </a:cubicBezTo>
                    <a:cubicBezTo>
                      <a:pt x="2447" y="333"/>
                      <a:pt x="2447" y="333"/>
                      <a:pt x="2447" y="333"/>
                    </a:cubicBezTo>
                    <a:cubicBezTo>
                      <a:pt x="2446" y="328"/>
                      <a:pt x="2446" y="328"/>
                      <a:pt x="2446" y="328"/>
                    </a:cubicBezTo>
                    <a:cubicBezTo>
                      <a:pt x="2444" y="325"/>
                      <a:pt x="2444" y="325"/>
                      <a:pt x="2444" y="325"/>
                    </a:cubicBezTo>
                    <a:cubicBezTo>
                      <a:pt x="2445" y="328"/>
                      <a:pt x="2445" y="328"/>
                      <a:pt x="2445" y="328"/>
                    </a:cubicBezTo>
                    <a:cubicBezTo>
                      <a:pt x="2444" y="336"/>
                      <a:pt x="2444" y="336"/>
                      <a:pt x="2444" y="336"/>
                    </a:cubicBezTo>
                    <a:cubicBezTo>
                      <a:pt x="2446" y="340"/>
                      <a:pt x="2446" y="340"/>
                      <a:pt x="2446" y="340"/>
                    </a:cubicBezTo>
                    <a:cubicBezTo>
                      <a:pt x="2445" y="344"/>
                      <a:pt x="2445" y="344"/>
                      <a:pt x="2445" y="344"/>
                    </a:cubicBezTo>
                    <a:cubicBezTo>
                      <a:pt x="2438" y="354"/>
                      <a:pt x="2438" y="354"/>
                      <a:pt x="2438" y="354"/>
                    </a:cubicBezTo>
                    <a:cubicBezTo>
                      <a:pt x="2434" y="354"/>
                      <a:pt x="2434" y="354"/>
                      <a:pt x="2434" y="354"/>
                    </a:cubicBezTo>
                    <a:cubicBezTo>
                      <a:pt x="2434" y="347"/>
                      <a:pt x="2434" y="347"/>
                      <a:pt x="2434" y="347"/>
                    </a:cubicBezTo>
                    <a:cubicBezTo>
                      <a:pt x="2430" y="345"/>
                      <a:pt x="2430" y="345"/>
                      <a:pt x="2430" y="345"/>
                    </a:cubicBezTo>
                    <a:cubicBezTo>
                      <a:pt x="2426" y="347"/>
                      <a:pt x="2426" y="347"/>
                      <a:pt x="2426" y="347"/>
                    </a:cubicBezTo>
                    <a:cubicBezTo>
                      <a:pt x="2417" y="341"/>
                      <a:pt x="2417" y="341"/>
                      <a:pt x="2417" y="341"/>
                    </a:cubicBezTo>
                    <a:cubicBezTo>
                      <a:pt x="2417" y="338"/>
                      <a:pt x="2417" y="338"/>
                      <a:pt x="2417" y="338"/>
                    </a:cubicBezTo>
                    <a:cubicBezTo>
                      <a:pt x="2416" y="329"/>
                      <a:pt x="2416" y="329"/>
                      <a:pt x="2416" y="329"/>
                    </a:cubicBezTo>
                    <a:cubicBezTo>
                      <a:pt x="2412" y="327"/>
                      <a:pt x="2412" y="327"/>
                      <a:pt x="2412" y="327"/>
                    </a:cubicBezTo>
                    <a:cubicBezTo>
                      <a:pt x="2411" y="325"/>
                      <a:pt x="2411" y="325"/>
                      <a:pt x="2411" y="325"/>
                    </a:cubicBezTo>
                    <a:cubicBezTo>
                      <a:pt x="2409" y="323"/>
                      <a:pt x="2409" y="323"/>
                      <a:pt x="2409" y="323"/>
                    </a:cubicBezTo>
                    <a:cubicBezTo>
                      <a:pt x="2407" y="324"/>
                      <a:pt x="2407" y="324"/>
                      <a:pt x="2407" y="324"/>
                    </a:cubicBezTo>
                    <a:cubicBezTo>
                      <a:pt x="2408" y="327"/>
                      <a:pt x="2408" y="327"/>
                      <a:pt x="2408" y="327"/>
                    </a:cubicBezTo>
                    <a:cubicBezTo>
                      <a:pt x="2408" y="330"/>
                      <a:pt x="2408" y="330"/>
                      <a:pt x="2408" y="330"/>
                    </a:cubicBezTo>
                    <a:cubicBezTo>
                      <a:pt x="2410" y="333"/>
                      <a:pt x="2410" y="333"/>
                      <a:pt x="2410" y="333"/>
                    </a:cubicBezTo>
                    <a:cubicBezTo>
                      <a:pt x="2409" y="335"/>
                      <a:pt x="2409" y="335"/>
                      <a:pt x="2409" y="335"/>
                    </a:cubicBezTo>
                    <a:cubicBezTo>
                      <a:pt x="2403" y="332"/>
                      <a:pt x="2403" y="332"/>
                      <a:pt x="2403" y="332"/>
                    </a:cubicBezTo>
                    <a:cubicBezTo>
                      <a:pt x="2399" y="327"/>
                      <a:pt x="2399" y="327"/>
                      <a:pt x="2399" y="327"/>
                    </a:cubicBezTo>
                    <a:cubicBezTo>
                      <a:pt x="2398" y="328"/>
                      <a:pt x="2398" y="328"/>
                      <a:pt x="2398" y="328"/>
                    </a:cubicBezTo>
                    <a:cubicBezTo>
                      <a:pt x="2401" y="332"/>
                      <a:pt x="2401" y="332"/>
                      <a:pt x="2401" y="332"/>
                    </a:cubicBezTo>
                    <a:cubicBezTo>
                      <a:pt x="2398" y="334"/>
                      <a:pt x="2398" y="334"/>
                      <a:pt x="2398" y="334"/>
                    </a:cubicBezTo>
                    <a:cubicBezTo>
                      <a:pt x="2400" y="336"/>
                      <a:pt x="2400" y="336"/>
                      <a:pt x="2400" y="336"/>
                    </a:cubicBezTo>
                    <a:cubicBezTo>
                      <a:pt x="2404" y="336"/>
                      <a:pt x="2404" y="336"/>
                      <a:pt x="2404" y="336"/>
                    </a:cubicBezTo>
                    <a:cubicBezTo>
                      <a:pt x="2407" y="339"/>
                      <a:pt x="2407" y="339"/>
                      <a:pt x="2407" y="339"/>
                    </a:cubicBezTo>
                    <a:cubicBezTo>
                      <a:pt x="2405" y="343"/>
                      <a:pt x="2405" y="343"/>
                      <a:pt x="2405" y="343"/>
                    </a:cubicBezTo>
                    <a:cubicBezTo>
                      <a:pt x="2400" y="343"/>
                      <a:pt x="2400" y="343"/>
                      <a:pt x="2400" y="343"/>
                    </a:cubicBezTo>
                    <a:cubicBezTo>
                      <a:pt x="2399" y="345"/>
                      <a:pt x="2399" y="345"/>
                      <a:pt x="2399" y="345"/>
                    </a:cubicBezTo>
                    <a:cubicBezTo>
                      <a:pt x="2402" y="347"/>
                      <a:pt x="2402" y="347"/>
                      <a:pt x="2402" y="347"/>
                    </a:cubicBezTo>
                    <a:cubicBezTo>
                      <a:pt x="2412" y="359"/>
                      <a:pt x="2412" y="359"/>
                      <a:pt x="2412" y="359"/>
                    </a:cubicBezTo>
                    <a:cubicBezTo>
                      <a:pt x="2420" y="361"/>
                      <a:pt x="2420" y="361"/>
                      <a:pt x="2420" y="361"/>
                    </a:cubicBezTo>
                    <a:cubicBezTo>
                      <a:pt x="2425" y="359"/>
                      <a:pt x="2425" y="359"/>
                      <a:pt x="2425" y="359"/>
                    </a:cubicBezTo>
                    <a:cubicBezTo>
                      <a:pt x="2429" y="362"/>
                      <a:pt x="2429" y="362"/>
                      <a:pt x="2429" y="362"/>
                    </a:cubicBezTo>
                    <a:cubicBezTo>
                      <a:pt x="2431" y="367"/>
                      <a:pt x="2431" y="367"/>
                      <a:pt x="2431" y="367"/>
                    </a:cubicBezTo>
                    <a:cubicBezTo>
                      <a:pt x="2430" y="367"/>
                      <a:pt x="2430" y="367"/>
                      <a:pt x="2430" y="367"/>
                    </a:cubicBezTo>
                    <a:cubicBezTo>
                      <a:pt x="2426" y="362"/>
                      <a:pt x="2426" y="362"/>
                      <a:pt x="2426" y="362"/>
                    </a:cubicBezTo>
                    <a:cubicBezTo>
                      <a:pt x="2425" y="362"/>
                      <a:pt x="2425" y="362"/>
                      <a:pt x="2425" y="362"/>
                    </a:cubicBezTo>
                    <a:cubicBezTo>
                      <a:pt x="2427" y="368"/>
                      <a:pt x="2427" y="368"/>
                      <a:pt x="2427" y="368"/>
                    </a:cubicBezTo>
                    <a:cubicBezTo>
                      <a:pt x="2433" y="372"/>
                      <a:pt x="2433" y="372"/>
                      <a:pt x="2433" y="372"/>
                    </a:cubicBezTo>
                    <a:cubicBezTo>
                      <a:pt x="2434" y="376"/>
                      <a:pt x="2434" y="376"/>
                      <a:pt x="2434" y="376"/>
                    </a:cubicBezTo>
                    <a:cubicBezTo>
                      <a:pt x="2438" y="381"/>
                      <a:pt x="2438" y="381"/>
                      <a:pt x="2438" y="381"/>
                    </a:cubicBezTo>
                    <a:cubicBezTo>
                      <a:pt x="2438" y="388"/>
                      <a:pt x="2438" y="388"/>
                      <a:pt x="2438" y="388"/>
                    </a:cubicBezTo>
                    <a:cubicBezTo>
                      <a:pt x="2435" y="401"/>
                      <a:pt x="2435" y="401"/>
                      <a:pt x="2435" y="401"/>
                    </a:cubicBezTo>
                    <a:cubicBezTo>
                      <a:pt x="2436" y="408"/>
                      <a:pt x="2436" y="408"/>
                      <a:pt x="2436" y="408"/>
                    </a:cubicBezTo>
                    <a:cubicBezTo>
                      <a:pt x="2436" y="413"/>
                      <a:pt x="2436" y="413"/>
                      <a:pt x="2436" y="413"/>
                    </a:cubicBezTo>
                    <a:cubicBezTo>
                      <a:pt x="2437" y="415"/>
                      <a:pt x="2437" y="415"/>
                      <a:pt x="2437" y="415"/>
                    </a:cubicBezTo>
                    <a:cubicBezTo>
                      <a:pt x="2433" y="422"/>
                      <a:pt x="2433" y="422"/>
                      <a:pt x="2433" y="422"/>
                    </a:cubicBezTo>
                    <a:cubicBezTo>
                      <a:pt x="2433" y="427"/>
                      <a:pt x="2433" y="427"/>
                      <a:pt x="2433" y="427"/>
                    </a:cubicBezTo>
                    <a:cubicBezTo>
                      <a:pt x="2429" y="429"/>
                      <a:pt x="2429" y="429"/>
                      <a:pt x="2429" y="429"/>
                    </a:cubicBezTo>
                    <a:cubicBezTo>
                      <a:pt x="2430" y="426"/>
                      <a:pt x="2430" y="426"/>
                      <a:pt x="2430" y="426"/>
                    </a:cubicBezTo>
                    <a:cubicBezTo>
                      <a:pt x="2429" y="424"/>
                      <a:pt x="2429" y="424"/>
                      <a:pt x="2429" y="424"/>
                    </a:cubicBezTo>
                    <a:cubicBezTo>
                      <a:pt x="2421" y="431"/>
                      <a:pt x="2421" y="431"/>
                      <a:pt x="2421" y="431"/>
                    </a:cubicBezTo>
                    <a:cubicBezTo>
                      <a:pt x="2418" y="428"/>
                      <a:pt x="2418" y="428"/>
                      <a:pt x="2418" y="428"/>
                    </a:cubicBezTo>
                    <a:cubicBezTo>
                      <a:pt x="2414" y="431"/>
                      <a:pt x="2414" y="431"/>
                      <a:pt x="2414" y="431"/>
                    </a:cubicBezTo>
                    <a:cubicBezTo>
                      <a:pt x="2411" y="430"/>
                      <a:pt x="2411" y="430"/>
                      <a:pt x="2411" y="430"/>
                    </a:cubicBezTo>
                    <a:cubicBezTo>
                      <a:pt x="2409" y="427"/>
                      <a:pt x="2409" y="427"/>
                      <a:pt x="2409" y="427"/>
                    </a:cubicBezTo>
                    <a:cubicBezTo>
                      <a:pt x="2405" y="426"/>
                      <a:pt x="2405" y="426"/>
                      <a:pt x="2405" y="426"/>
                    </a:cubicBezTo>
                    <a:cubicBezTo>
                      <a:pt x="2400" y="421"/>
                      <a:pt x="2400" y="421"/>
                      <a:pt x="2400" y="421"/>
                    </a:cubicBezTo>
                    <a:cubicBezTo>
                      <a:pt x="2395" y="418"/>
                      <a:pt x="2395" y="418"/>
                      <a:pt x="2395" y="418"/>
                    </a:cubicBezTo>
                    <a:cubicBezTo>
                      <a:pt x="2390" y="417"/>
                      <a:pt x="2390" y="417"/>
                      <a:pt x="2390" y="417"/>
                    </a:cubicBezTo>
                    <a:cubicBezTo>
                      <a:pt x="2387" y="415"/>
                      <a:pt x="2387" y="415"/>
                      <a:pt x="2387" y="415"/>
                    </a:cubicBezTo>
                    <a:cubicBezTo>
                      <a:pt x="2384" y="416"/>
                      <a:pt x="2384" y="416"/>
                      <a:pt x="2384" y="416"/>
                    </a:cubicBezTo>
                    <a:cubicBezTo>
                      <a:pt x="2380" y="420"/>
                      <a:pt x="2380" y="420"/>
                      <a:pt x="2380" y="420"/>
                    </a:cubicBezTo>
                    <a:cubicBezTo>
                      <a:pt x="2376" y="420"/>
                      <a:pt x="2376" y="420"/>
                      <a:pt x="2376" y="420"/>
                    </a:cubicBezTo>
                    <a:cubicBezTo>
                      <a:pt x="2380" y="422"/>
                      <a:pt x="2380" y="422"/>
                      <a:pt x="2380" y="422"/>
                    </a:cubicBezTo>
                    <a:cubicBezTo>
                      <a:pt x="2386" y="422"/>
                      <a:pt x="2386" y="422"/>
                      <a:pt x="2386" y="422"/>
                    </a:cubicBezTo>
                    <a:cubicBezTo>
                      <a:pt x="2388" y="419"/>
                      <a:pt x="2388" y="419"/>
                      <a:pt x="2388" y="419"/>
                    </a:cubicBezTo>
                    <a:cubicBezTo>
                      <a:pt x="2398" y="423"/>
                      <a:pt x="2398" y="423"/>
                      <a:pt x="2398" y="423"/>
                    </a:cubicBezTo>
                    <a:cubicBezTo>
                      <a:pt x="2400" y="426"/>
                      <a:pt x="2400" y="426"/>
                      <a:pt x="2400" y="426"/>
                    </a:cubicBezTo>
                    <a:cubicBezTo>
                      <a:pt x="2395" y="429"/>
                      <a:pt x="2395" y="429"/>
                      <a:pt x="2395" y="429"/>
                    </a:cubicBezTo>
                    <a:cubicBezTo>
                      <a:pt x="2392" y="427"/>
                      <a:pt x="2392" y="427"/>
                      <a:pt x="2392" y="427"/>
                    </a:cubicBezTo>
                    <a:cubicBezTo>
                      <a:pt x="2388" y="427"/>
                      <a:pt x="2388" y="427"/>
                      <a:pt x="2388" y="427"/>
                    </a:cubicBezTo>
                    <a:cubicBezTo>
                      <a:pt x="2387" y="431"/>
                      <a:pt x="2387" y="431"/>
                      <a:pt x="2387" y="431"/>
                    </a:cubicBezTo>
                    <a:cubicBezTo>
                      <a:pt x="2384" y="427"/>
                      <a:pt x="2384" y="427"/>
                      <a:pt x="2384" y="427"/>
                    </a:cubicBezTo>
                    <a:cubicBezTo>
                      <a:pt x="2380" y="428"/>
                      <a:pt x="2380" y="428"/>
                      <a:pt x="2380" y="428"/>
                    </a:cubicBezTo>
                    <a:cubicBezTo>
                      <a:pt x="2382" y="428"/>
                      <a:pt x="2382" y="428"/>
                      <a:pt x="2382" y="428"/>
                    </a:cubicBezTo>
                    <a:cubicBezTo>
                      <a:pt x="2384" y="433"/>
                      <a:pt x="2384" y="433"/>
                      <a:pt x="2384" y="433"/>
                    </a:cubicBezTo>
                    <a:cubicBezTo>
                      <a:pt x="2390" y="436"/>
                      <a:pt x="2390" y="436"/>
                      <a:pt x="2390" y="436"/>
                    </a:cubicBezTo>
                    <a:cubicBezTo>
                      <a:pt x="2388" y="441"/>
                      <a:pt x="2388" y="441"/>
                      <a:pt x="2388" y="441"/>
                    </a:cubicBezTo>
                    <a:cubicBezTo>
                      <a:pt x="2391" y="448"/>
                      <a:pt x="2391" y="448"/>
                      <a:pt x="2391" y="448"/>
                    </a:cubicBezTo>
                    <a:cubicBezTo>
                      <a:pt x="2394" y="449"/>
                      <a:pt x="2394" y="449"/>
                      <a:pt x="2394" y="449"/>
                    </a:cubicBezTo>
                    <a:cubicBezTo>
                      <a:pt x="2392" y="447"/>
                      <a:pt x="2392" y="447"/>
                      <a:pt x="2392" y="447"/>
                    </a:cubicBezTo>
                    <a:cubicBezTo>
                      <a:pt x="2393" y="440"/>
                      <a:pt x="2393" y="440"/>
                      <a:pt x="2393" y="440"/>
                    </a:cubicBezTo>
                    <a:cubicBezTo>
                      <a:pt x="2395" y="438"/>
                      <a:pt x="2395" y="438"/>
                      <a:pt x="2395" y="438"/>
                    </a:cubicBezTo>
                    <a:cubicBezTo>
                      <a:pt x="2398" y="439"/>
                      <a:pt x="2398" y="439"/>
                      <a:pt x="2398" y="439"/>
                    </a:cubicBezTo>
                    <a:cubicBezTo>
                      <a:pt x="2398" y="437"/>
                      <a:pt x="2398" y="437"/>
                      <a:pt x="2398" y="437"/>
                    </a:cubicBezTo>
                    <a:cubicBezTo>
                      <a:pt x="2404" y="432"/>
                      <a:pt x="2404" y="432"/>
                      <a:pt x="2404" y="432"/>
                    </a:cubicBezTo>
                    <a:cubicBezTo>
                      <a:pt x="2408" y="431"/>
                      <a:pt x="2408" y="431"/>
                      <a:pt x="2408" y="431"/>
                    </a:cubicBezTo>
                    <a:cubicBezTo>
                      <a:pt x="2410" y="433"/>
                      <a:pt x="2410" y="433"/>
                      <a:pt x="2410" y="433"/>
                    </a:cubicBezTo>
                    <a:cubicBezTo>
                      <a:pt x="2410" y="435"/>
                      <a:pt x="2410" y="435"/>
                      <a:pt x="2410" y="435"/>
                    </a:cubicBezTo>
                    <a:cubicBezTo>
                      <a:pt x="2415" y="442"/>
                      <a:pt x="2415" y="442"/>
                      <a:pt x="2415" y="442"/>
                    </a:cubicBezTo>
                    <a:cubicBezTo>
                      <a:pt x="2420" y="443"/>
                      <a:pt x="2420" y="443"/>
                      <a:pt x="2420" y="443"/>
                    </a:cubicBezTo>
                    <a:cubicBezTo>
                      <a:pt x="2424" y="448"/>
                      <a:pt x="2424" y="448"/>
                      <a:pt x="2424" y="448"/>
                    </a:cubicBezTo>
                    <a:cubicBezTo>
                      <a:pt x="2430" y="447"/>
                      <a:pt x="2430" y="447"/>
                      <a:pt x="2430" y="447"/>
                    </a:cubicBezTo>
                    <a:cubicBezTo>
                      <a:pt x="2431" y="444"/>
                      <a:pt x="2431" y="444"/>
                      <a:pt x="2431" y="444"/>
                    </a:cubicBezTo>
                    <a:cubicBezTo>
                      <a:pt x="2430" y="441"/>
                      <a:pt x="2430" y="441"/>
                      <a:pt x="2430" y="441"/>
                    </a:cubicBezTo>
                    <a:cubicBezTo>
                      <a:pt x="2432" y="442"/>
                      <a:pt x="2432" y="442"/>
                      <a:pt x="2432" y="442"/>
                    </a:cubicBezTo>
                    <a:cubicBezTo>
                      <a:pt x="2442" y="450"/>
                      <a:pt x="2442" y="450"/>
                      <a:pt x="2442" y="450"/>
                    </a:cubicBezTo>
                    <a:cubicBezTo>
                      <a:pt x="2444" y="453"/>
                      <a:pt x="2444" y="453"/>
                      <a:pt x="2444" y="453"/>
                    </a:cubicBezTo>
                    <a:cubicBezTo>
                      <a:pt x="2440" y="452"/>
                      <a:pt x="2440" y="452"/>
                      <a:pt x="2440" y="452"/>
                    </a:cubicBezTo>
                    <a:cubicBezTo>
                      <a:pt x="2440" y="456"/>
                      <a:pt x="2440" y="456"/>
                      <a:pt x="2440" y="456"/>
                    </a:cubicBezTo>
                    <a:cubicBezTo>
                      <a:pt x="2447" y="462"/>
                      <a:pt x="2447" y="462"/>
                      <a:pt x="2447" y="462"/>
                    </a:cubicBezTo>
                    <a:cubicBezTo>
                      <a:pt x="2449" y="462"/>
                      <a:pt x="2449" y="462"/>
                      <a:pt x="2449" y="462"/>
                    </a:cubicBezTo>
                    <a:cubicBezTo>
                      <a:pt x="2449" y="460"/>
                      <a:pt x="2449" y="460"/>
                      <a:pt x="2449" y="460"/>
                    </a:cubicBezTo>
                    <a:cubicBezTo>
                      <a:pt x="2449" y="455"/>
                      <a:pt x="2449" y="455"/>
                      <a:pt x="2449" y="455"/>
                    </a:cubicBezTo>
                    <a:cubicBezTo>
                      <a:pt x="2455" y="459"/>
                      <a:pt x="2455" y="459"/>
                      <a:pt x="2455" y="459"/>
                    </a:cubicBezTo>
                    <a:cubicBezTo>
                      <a:pt x="2463" y="471"/>
                      <a:pt x="2463" y="471"/>
                      <a:pt x="2463" y="471"/>
                    </a:cubicBezTo>
                    <a:cubicBezTo>
                      <a:pt x="2460" y="468"/>
                      <a:pt x="2460" y="468"/>
                      <a:pt x="2460" y="468"/>
                    </a:cubicBezTo>
                    <a:cubicBezTo>
                      <a:pt x="2457" y="468"/>
                      <a:pt x="2457" y="468"/>
                      <a:pt x="2457" y="468"/>
                    </a:cubicBezTo>
                    <a:cubicBezTo>
                      <a:pt x="2456" y="469"/>
                      <a:pt x="2456" y="469"/>
                      <a:pt x="2456" y="469"/>
                    </a:cubicBezTo>
                    <a:cubicBezTo>
                      <a:pt x="2459" y="473"/>
                      <a:pt x="2459" y="473"/>
                      <a:pt x="2459" y="473"/>
                    </a:cubicBezTo>
                    <a:cubicBezTo>
                      <a:pt x="2455" y="476"/>
                      <a:pt x="2455" y="476"/>
                      <a:pt x="2455" y="476"/>
                    </a:cubicBezTo>
                    <a:cubicBezTo>
                      <a:pt x="2455" y="480"/>
                      <a:pt x="2455" y="480"/>
                      <a:pt x="2455" y="480"/>
                    </a:cubicBezTo>
                    <a:cubicBezTo>
                      <a:pt x="2456" y="482"/>
                      <a:pt x="2456" y="482"/>
                      <a:pt x="2456" y="482"/>
                    </a:cubicBezTo>
                    <a:cubicBezTo>
                      <a:pt x="2460" y="481"/>
                      <a:pt x="2460" y="481"/>
                      <a:pt x="2460" y="481"/>
                    </a:cubicBezTo>
                    <a:cubicBezTo>
                      <a:pt x="2461" y="477"/>
                      <a:pt x="2461" y="477"/>
                      <a:pt x="2461" y="477"/>
                    </a:cubicBezTo>
                    <a:cubicBezTo>
                      <a:pt x="2462" y="476"/>
                      <a:pt x="2462" y="476"/>
                      <a:pt x="2462" y="476"/>
                    </a:cubicBezTo>
                    <a:cubicBezTo>
                      <a:pt x="2465" y="477"/>
                      <a:pt x="2465" y="477"/>
                      <a:pt x="2465" y="477"/>
                    </a:cubicBezTo>
                    <a:cubicBezTo>
                      <a:pt x="2466" y="473"/>
                      <a:pt x="2466" y="473"/>
                      <a:pt x="2466" y="473"/>
                    </a:cubicBezTo>
                    <a:cubicBezTo>
                      <a:pt x="2469" y="479"/>
                      <a:pt x="2469" y="479"/>
                      <a:pt x="2469" y="479"/>
                    </a:cubicBezTo>
                    <a:cubicBezTo>
                      <a:pt x="2478" y="484"/>
                      <a:pt x="2478" y="484"/>
                      <a:pt x="2478" y="484"/>
                    </a:cubicBezTo>
                    <a:cubicBezTo>
                      <a:pt x="2487" y="486"/>
                      <a:pt x="2487" y="486"/>
                      <a:pt x="2487" y="486"/>
                    </a:cubicBezTo>
                    <a:cubicBezTo>
                      <a:pt x="2492" y="491"/>
                      <a:pt x="2492" y="491"/>
                      <a:pt x="2492" y="491"/>
                    </a:cubicBezTo>
                    <a:cubicBezTo>
                      <a:pt x="2489" y="493"/>
                      <a:pt x="2489" y="493"/>
                      <a:pt x="2489" y="493"/>
                    </a:cubicBezTo>
                    <a:cubicBezTo>
                      <a:pt x="2494" y="500"/>
                      <a:pt x="2494" y="500"/>
                      <a:pt x="2494" y="500"/>
                    </a:cubicBezTo>
                    <a:cubicBezTo>
                      <a:pt x="2498" y="501"/>
                      <a:pt x="2498" y="501"/>
                      <a:pt x="2498" y="501"/>
                    </a:cubicBezTo>
                    <a:cubicBezTo>
                      <a:pt x="2503" y="509"/>
                      <a:pt x="2503" y="509"/>
                      <a:pt x="2503" y="509"/>
                    </a:cubicBezTo>
                    <a:cubicBezTo>
                      <a:pt x="2504" y="520"/>
                      <a:pt x="2504" y="520"/>
                      <a:pt x="2504" y="520"/>
                    </a:cubicBezTo>
                    <a:cubicBezTo>
                      <a:pt x="2501" y="521"/>
                      <a:pt x="2501" y="521"/>
                      <a:pt x="2501" y="521"/>
                    </a:cubicBezTo>
                    <a:cubicBezTo>
                      <a:pt x="2501" y="522"/>
                      <a:pt x="2501" y="522"/>
                      <a:pt x="2501" y="522"/>
                    </a:cubicBezTo>
                    <a:cubicBezTo>
                      <a:pt x="2505" y="525"/>
                      <a:pt x="2505" y="525"/>
                      <a:pt x="2505" y="525"/>
                    </a:cubicBezTo>
                    <a:cubicBezTo>
                      <a:pt x="2507" y="529"/>
                      <a:pt x="2507" y="529"/>
                      <a:pt x="2507" y="529"/>
                    </a:cubicBezTo>
                    <a:cubicBezTo>
                      <a:pt x="2505" y="530"/>
                      <a:pt x="2505" y="530"/>
                      <a:pt x="2505" y="530"/>
                    </a:cubicBezTo>
                    <a:cubicBezTo>
                      <a:pt x="2503" y="528"/>
                      <a:pt x="2503" y="528"/>
                      <a:pt x="2503" y="528"/>
                    </a:cubicBezTo>
                    <a:cubicBezTo>
                      <a:pt x="2489" y="528"/>
                      <a:pt x="2489" y="528"/>
                      <a:pt x="2489" y="528"/>
                    </a:cubicBezTo>
                    <a:cubicBezTo>
                      <a:pt x="2484" y="525"/>
                      <a:pt x="2484" y="525"/>
                      <a:pt x="2484" y="525"/>
                    </a:cubicBezTo>
                    <a:cubicBezTo>
                      <a:pt x="2482" y="527"/>
                      <a:pt x="2482" y="527"/>
                      <a:pt x="2482" y="527"/>
                    </a:cubicBezTo>
                    <a:cubicBezTo>
                      <a:pt x="2478" y="526"/>
                      <a:pt x="2478" y="526"/>
                      <a:pt x="2478" y="526"/>
                    </a:cubicBezTo>
                    <a:cubicBezTo>
                      <a:pt x="2477" y="523"/>
                      <a:pt x="2477" y="523"/>
                      <a:pt x="2477" y="523"/>
                    </a:cubicBezTo>
                    <a:cubicBezTo>
                      <a:pt x="2475" y="522"/>
                      <a:pt x="2475" y="522"/>
                      <a:pt x="2475" y="522"/>
                    </a:cubicBezTo>
                    <a:cubicBezTo>
                      <a:pt x="2474" y="523"/>
                      <a:pt x="2474" y="523"/>
                      <a:pt x="2474" y="523"/>
                    </a:cubicBezTo>
                    <a:cubicBezTo>
                      <a:pt x="2476" y="526"/>
                      <a:pt x="2476" y="526"/>
                      <a:pt x="2476" y="526"/>
                    </a:cubicBezTo>
                    <a:cubicBezTo>
                      <a:pt x="2470" y="530"/>
                      <a:pt x="2470" y="530"/>
                      <a:pt x="2470" y="530"/>
                    </a:cubicBezTo>
                    <a:cubicBezTo>
                      <a:pt x="2465" y="529"/>
                      <a:pt x="2465" y="529"/>
                      <a:pt x="2465" y="529"/>
                    </a:cubicBezTo>
                    <a:cubicBezTo>
                      <a:pt x="2463" y="531"/>
                      <a:pt x="2463" y="531"/>
                      <a:pt x="2463" y="531"/>
                    </a:cubicBezTo>
                    <a:cubicBezTo>
                      <a:pt x="2466" y="533"/>
                      <a:pt x="2466" y="533"/>
                      <a:pt x="2466" y="533"/>
                    </a:cubicBezTo>
                    <a:cubicBezTo>
                      <a:pt x="2460" y="538"/>
                      <a:pt x="2460" y="538"/>
                      <a:pt x="2460" y="538"/>
                    </a:cubicBezTo>
                    <a:cubicBezTo>
                      <a:pt x="2456" y="539"/>
                      <a:pt x="2456" y="539"/>
                      <a:pt x="2456" y="539"/>
                    </a:cubicBezTo>
                    <a:cubicBezTo>
                      <a:pt x="2456" y="542"/>
                      <a:pt x="2456" y="542"/>
                      <a:pt x="2456" y="542"/>
                    </a:cubicBezTo>
                    <a:cubicBezTo>
                      <a:pt x="2459" y="543"/>
                      <a:pt x="2459" y="543"/>
                      <a:pt x="2459" y="543"/>
                    </a:cubicBezTo>
                    <a:cubicBezTo>
                      <a:pt x="2453" y="550"/>
                      <a:pt x="2453" y="550"/>
                      <a:pt x="2453" y="550"/>
                    </a:cubicBezTo>
                    <a:cubicBezTo>
                      <a:pt x="2451" y="552"/>
                      <a:pt x="2451" y="552"/>
                      <a:pt x="2451" y="552"/>
                    </a:cubicBezTo>
                    <a:cubicBezTo>
                      <a:pt x="2450" y="551"/>
                      <a:pt x="2450" y="551"/>
                      <a:pt x="2450" y="551"/>
                    </a:cubicBezTo>
                    <a:cubicBezTo>
                      <a:pt x="2447" y="551"/>
                      <a:pt x="2447" y="551"/>
                      <a:pt x="2447" y="551"/>
                    </a:cubicBezTo>
                    <a:cubicBezTo>
                      <a:pt x="2447" y="556"/>
                      <a:pt x="2447" y="556"/>
                      <a:pt x="2447" y="556"/>
                    </a:cubicBezTo>
                    <a:cubicBezTo>
                      <a:pt x="2449" y="562"/>
                      <a:pt x="2449" y="562"/>
                      <a:pt x="2449" y="562"/>
                    </a:cubicBezTo>
                    <a:cubicBezTo>
                      <a:pt x="2445" y="565"/>
                      <a:pt x="2445" y="565"/>
                      <a:pt x="2445" y="565"/>
                    </a:cubicBezTo>
                    <a:cubicBezTo>
                      <a:pt x="2443" y="563"/>
                      <a:pt x="2443" y="563"/>
                      <a:pt x="2443" y="563"/>
                    </a:cubicBezTo>
                    <a:cubicBezTo>
                      <a:pt x="2442" y="567"/>
                      <a:pt x="2442" y="567"/>
                      <a:pt x="2442" y="567"/>
                    </a:cubicBezTo>
                    <a:cubicBezTo>
                      <a:pt x="2444" y="569"/>
                      <a:pt x="2444" y="569"/>
                      <a:pt x="2444" y="569"/>
                    </a:cubicBezTo>
                    <a:cubicBezTo>
                      <a:pt x="2440" y="574"/>
                      <a:pt x="2440" y="574"/>
                      <a:pt x="2440" y="574"/>
                    </a:cubicBezTo>
                    <a:cubicBezTo>
                      <a:pt x="2437" y="575"/>
                      <a:pt x="2437" y="575"/>
                      <a:pt x="2437" y="575"/>
                    </a:cubicBezTo>
                    <a:cubicBezTo>
                      <a:pt x="2439" y="576"/>
                      <a:pt x="2439" y="576"/>
                      <a:pt x="2439" y="576"/>
                    </a:cubicBezTo>
                    <a:cubicBezTo>
                      <a:pt x="2438" y="578"/>
                      <a:pt x="2438" y="578"/>
                      <a:pt x="2438" y="578"/>
                    </a:cubicBezTo>
                    <a:cubicBezTo>
                      <a:pt x="2436" y="582"/>
                      <a:pt x="2436" y="582"/>
                      <a:pt x="2436" y="582"/>
                    </a:cubicBezTo>
                    <a:cubicBezTo>
                      <a:pt x="2434" y="580"/>
                      <a:pt x="2434" y="580"/>
                      <a:pt x="2434" y="580"/>
                    </a:cubicBezTo>
                    <a:cubicBezTo>
                      <a:pt x="2431" y="582"/>
                      <a:pt x="2431" y="582"/>
                      <a:pt x="2431" y="582"/>
                    </a:cubicBezTo>
                    <a:cubicBezTo>
                      <a:pt x="2433" y="585"/>
                      <a:pt x="2433" y="585"/>
                      <a:pt x="2433" y="585"/>
                    </a:cubicBezTo>
                    <a:cubicBezTo>
                      <a:pt x="2434" y="587"/>
                      <a:pt x="2434" y="587"/>
                      <a:pt x="2434" y="587"/>
                    </a:cubicBezTo>
                    <a:cubicBezTo>
                      <a:pt x="2430" y="590"/>
                      <a:pt x="2430" y="590"/>
                      <a:pt x="2430" y="590"/>
                    </a:cubicBezTo>
                    <a:cubicBezTo>
                      <a:pt x="2431" y="593"/>
                      <a:pt x="2431" y="593"/>
                      <a:pt x="2431" y="593"/>
                    </a:cubicBezTo>
                    <a:cubicBezTo>
                      <a:pt x="2431" y="596"/>
                      <a:pt x="2431" y="596"/>
                      <a:pt x="2431" y="596"/>
                    </a:cubicBezTo>
                    <a:cubicBezTo>
                      <a:pt x="2428" y="597"/>
                      <a:pt x="2428" y="597"/>
                      <a:pt x="2428" y="597"/>
                    </a:cubicBezTo>
                    <a:cubicBezTo>
                      <a:pt x="2426" y="595"/>
                      <a:pt x="2426" y="595"/>
                      <a:pt x="2426" y="595"/>
                    </a:cubicBezTo>
                    <a:cubicBezTo>
                      <a:pt x="2424" y="595"/>
                      <a:pt x="2424" y="595"/>
                      <a:pt x="2424" y="595"/>
                    </a:cubicBezTo>
                    <a:cubicBezTo>
                      <a:pt x="2426" y="598"/>
                      <a:pt x="2426" y="598"/>
                      <a:pt x="2426" y="598"/>
                    </a:cubicBezTo>
                    <a:cubicBezTo>
                      <a:pt x="2431" y="601"/>
                      <a:pt x="2431" y="601"/>
                      <a:pt x="2431" y="601"/>
                    </a:cubicBezTo>
                    <a:cubicBezTo>
                      <a:pt x="2429" y="605"/>
                      <a:pt x="2429" y="605"/>
                      <a:pt x="2429" y="605"/>
                    </a:cubicBezTo>
                    <a:cubicBezTo>
                      <a:pt x="2424" y="605"/>
                      <a:pt x="2424" y="605"/>
                      <a:pt x="2424" y="605"/>
                    </a:cubicBezTo>
                    <a:cubicBezTo>
                      <a:pt x="2424" y="607"/>
                      <a:pt x="2424" y="607"/>
                      <a:pt x="2424" y="607"/>
                    </a:cubicBezTo>
                    <a:cubicBezTo>
                      <a:pt x="2427" y="609"/>
                      <a:pt x="2427" y="609"/>
                      <a:pt x="2427" y="609"/>
                    </a:cubicBezTo>
                    <a:cubicBezTo>
                      <a:pt x="2429" y="615"/>
                      <a:pt x="2429" y="615"/>
                      <a:pt x="2429" y="615"/>
                    </a:cubicBezTo>
                    <a:cubicBezTo>
                      <a:pt x="2427" y="617"/>
                      <a:pt x="2427" y="617"/>
                      <a:pt x="2427" y="617"/>
                    </a:cubicBezTo>
                    <a:cubicBezTo>
                      <a:pt x="2428" y="619"/>
                      <a:pt x="2428" y="619"/>
                      <a:pt x="2428" y="619"/>
                    </a:cubicBezTo>
                    <a:cubicBezTo>
                      <a:pt x="2424" y="625"/>
                      <a:pt x="2424" y="625"/>
                      <a:pt x="2424" y="625"/>
                    </a:cubicBezTo>
                    <a:cubicBezTo>
                      <a:pt x="2425" y="628"/>
                      <a:pt x="2425" y="628"/>
                      <a:pt x="2425" y="628"/>
                    </a:cubicBezTo>
                    <a:cubicBezTo>
                      <a:pt x="2423" y="634"/>
                      <a:pt x="2423" y="634"/>
                      <a:pt x="2423" y="634"/>
                    </a:cubicBezTo>
                    <a:cubicBezTo>
                      <a:pt x="2421" y="643"/>
                      <a:pt x="2421" y="643"/>
                      <a:pt x="2421" y="643"/>
                    </a:cubicBezTo>
                    <a:cubicBezTo>
                      <a:pt x="2419" y="646"/>
                      <a:pt x="2419" y="646"/>
                      <a:pt x="2419" y="646"/>
                    </a:cubicBezTo>
                    <a:cubicBezTo>
                      <a:pt x="2419" y="649"/>
                      <a:pt x="2419" y="649"/>
                      <a:pt x="2419" y="649"/>
                    </a:cubicBezTo>
                    <a:cubicBezTo>
                      <a:pt x="2421" y="650"/>
                      <a:pt x="2421" y="650"/>
                      <a:pt x="2421" y="650"/>
                    </a:cubicBezTo>
                    <a:cubicBezTo>
                      <a:pt x="2422" y="653"/>
                      <a:pt x="2422" y="653"/>
                      <a:pt x="2422" y="653"/>
                    </a:cubicBezTo>
                    <a:cubicBezTo>
                      <a:pt x="2421" y="655"/>
                      <a:pt x="2421" y="655"/>
                      <a:pt x="2421" y="655"/>
                    </a:cubicBezTo>
                    <a:cubicBezTo>
                      <a:pt x="2427" y="662"/>
                      <a:pt x="2427" y="662"/>
                      <a:pt x="2427" y="662"/>
                    </a:cubicBezTo>
                    <a:cubicBezTo>
                      <a:pt x="2427" y="665"/>
                      <a:pt x="2427" y="665"/>
                      <a:pt x="2427" y="665"/>
                    </a:cubicBezTo>
                    <a:cubicBezTo>
                      <a:pt x="2424" y="664"/>
                      <a:pt x="2424" y="664"/>
                      <a:pt x="2424" y="664"/>
                    </a:cubicBezTo>
                    <a:cubicBezTo>
                      <a:pt x="2419" y="665"/>
                      <a:pt x="2419" y="665"/>
                      <a:pt x="2419" y="665"/>
                    </a:cubicBezTo>
                    <a:cubicBezTo>
                      <a:pt x="2416" y="661"/>
                      <a:pt x="2416" y="661"/>
                      <a:pt x="2416" y="661"/>
                    </a:cubicBezTo>
                    <a:cubicBezTo>
                      <a:pt x="2414" y="663"/>
                      <a:pt x="2414" y="663"/>
                      <a:pt x="2414" y="663"/>
                    </a:cubicBezTo>
                    <a:cubicBezTo>
                      <a:pt x="2408" y="657"/>
                      <a:pt x="2408" y="657"/>
                      <a:pt x="2408" y="657"/>
                    </a:cubicBezTo>
                    <a:cubicBezTo>
                      <a:pt x="2410" y="656"/>
                      <a:pt x="2410" y="656"/>
                      <a:pt x="2410" y="656"/>
                    </a:cubicBezTo>
                    <a:cubicBezTo>
                      <a:pt x="2408" y="655"/>
                      <a:pt x="2408" y="655"/>
                      <a:pt x="2408" y="655"/>
                    </a:cubicBezTo>
                    <a:cubicBezTo>
                      <a:pt x="2405" y="656"/>
                      <a:pt x="2405" y="656"/>
                      <a:pt x="2405" y="656"/>
                    </a:cubicBezTo>
                    <a:cubicBezTo>
                      <a:pt x="2402" y="655"/>
                      <a:pt x="2402" y="655"/>
                      <a:pt x="2402" y="655"/>
                    </a:cubicBezTo>
                    <a:cubicBezTo>
                      <a:pt x="2401" y="652"/>
                      <a:pt x="2401" y="652"/>
                      <a:pt x="2401" y="652"/>
                    </a:cubicBezTo>
                    <a:cubicBezTo>
                      <a:pt x="2391" y="646"/>
                      <a:pt x="2391" y="646"/>
                      <a:pt x="2391" y="646"/>
                    </a:cubicBezTo>
                    <a:cubicBezTo>
                      <a:pt x="2386" y="645"/>
                      <a:pt x="2386" y="645"/>
                      <a:pt x="2386" y="645"/>
                    </a:cubicBezTo>
                    <a:cubicBezTo>
                      <a:pt x="2379" y="649"/>
                      <a:pt x="2379" y="649"/>
                      <a:pt x="2379" y="649"/>
                    </a:cubicBezTo>
                    <a:cubicBezTo>
                      <a:pt x="2377" y="648"/>
                      <a:pt x="2377" y="648"/>
                      <a:pt x="2377" y="648"/>
                    </a:cubicBezTo>
                    <a:cubicBezTo>
                      <a:pt x="2373" y="649"/>
                      <a:pt x="2373" y="649"/>
                      <a:pt x="2373" y="649"/>
                    </a:cubicBezTo>
                    <a:cubicBezTo>
                      <a:pt x="2369" y="654"/>
                      <a:pt x="2369" y="654"/>
                      <a:pt x="2369" y="654"/>
                    </a:cubicBezTo>
                    <a:cubicBezTo>
                      <a:pt x="2365" y="654"/>
                      <a:pt x="2365" y="654"/>
                      <a:pt x="2365" y="654"/>
                    </a:cubicBezTo>
                    <a:cubicBezTo>
                      <a:pt x="2363" y="661"/>
                      <a:pt x="2363" y="661"/>
                      <a:pt x="2363" y="661"/>
                    </a:cubicBezTo>
                    <a:cubicBezTo>
                      <a:pt x="2361" y="663"/>
                      <a:pt x="2361" y="663"/>
                      <a:pt x="2361" y="663"/>
                    </a:cubicBezTo>
                    <a:cubicBezTo>
                      <a:pt x="2357" y="661"/>
                      <a:pt x="2357" y="661"/>
                      <a:pt x="2357" y="661"/>
                    </a:cubicBezTo>
                    <a:cubicBezTo>
                      <a:pt x="2360" y="666"/>
                      <a:pt x="2360" y="666"/>
                      <a:pt x="2360" y="666"/>
                    </a:cubicBezTo>
                    <a:cubicBezTo>
                      <a:pt x="2358" y="669"/>
                      <a:pt x="2358" y="669"/>
                      <a:pt x="2358" y="669"/>
                    </a:cubicBezTo>
                    <a:cubicBezTo>
                      <a:pt x="2358" y="674"/>
                      <a:pt x="2358" y="674"/>
                      <a:pt x="2358" y="674"/>
                    </a:cubicBezTo>
                    <a:cubicBezTo>
                      <a:pt x="2357" y="677"/>
                      <a:pt x="2357" y="677"/>
                      <a:pt x="2357" y="677"/>
                    </a:cubicBezTo>
                    <a:cubicBezTo>
                      <a:pt x="2356" y="687"/>
                      <a:pt x="2356" y="687"/>
                      <a:pt x="2356" y="687"/>
                    </a:cubicBezTo>
                    <a:cubicBezTo>
                      <a:pt x="2354" y="688"/>
                      <a:pt x="2354" y="688"/>
                      <a:pt x="2354" y="688"/>
                    </a:cubicBezTo>
                    <a:cubicBezTo>
                      <a:pt x="2352" y="685"/>
                      <a:pt x="2352" y="685"/>
                      <a:pt x="2352" y="685"/>
                    </a:cubicBezTo>
                    <a:cubicBezTo>
                      <a:pt x="2347" y="673"/>
                      <a:pt x="2347" y="673"/>
                      <a:pt x="2347" y="673"/>
                    </a:cubicBezTo>
                    <a:cubicBezTo>
                      <a:pt x="2347" y="669"/>
                      <a:pt x="2347" y="669"/>
                      <a:pt x="2347" y="669"/>
                    </a:cubicBezTo>
                    <a:cubicBezTo>
                      <a:pt x="2343" y="668"/>
                      <a:pt x="2343" y="668"/>
                      <a:pt x="2343" y="668"/>
                    </a:cubicBezTo>
                    <a:cubicBezTo>
                      <a:pt x="2340" y="664"/>
                      <a:pt x="2340" y="664"/>
                      <a:pt x="2340" y="664"/>
                    </a:cubicBezTo>
                    <a:cubicBezTo>
                      <a:pt x="2340" y="668"/>
                      <a:pt x="2340" y="668"/>
                      <a:pt x="2340" y="668"/>
                    </a:cubicBezTo>
                    <a:cubicBezTo>
                      <a:pt x="2335" y="676"/>
                      <a:pt x="2335" y="676"/>
                      <a:pt x="2335" y="676"/>
                    </a:cubicBezTo>
                    <a:cubicBezTo>
                      <a:pt x="2332" y="678"/>
                      <a:pt x="2332" y="678"/>
                      <a:pt x="2332" y="678"/>
                    </a:cubicBezTo>
                    <a:cubicBezTo>
                      <a:pt x="2331" y="681"/>
                      <a:pt x="2331" y="681"/>
                      <a:pt x="2331" y="681"/>
                    </a:cubicBezTo>
                    <a:cubicBezTo>
                      <a:pt x="2336" y="683"/>
                      <a:pt x="2336" y="683"/>
                      <a:pt x="2336" y="683"/>
                    </a:cubicBezTo>
                    <a:cubicBezTo>
                      <a:pt x="2331" y="691"/>
                      <a:pt x="2331" y="691"/>
                      <a:pt x="2331" y="691"/>
                    </a:cubicBezTo>
                    <a:cubicBezTo>
                      <a:pt x="2329" y="687"/>
                      <a:pt x="2329" y="687"/>
                      <a:pt x="2329" y="687"/>
                    </a:cubicBezTo>
                    <a:cubicBezTo>
                      <a:pt x="2327" y="687"/>
                      <a:pt x="2327" y="687"/>
                      <a:pt x="2327" y="687"/>
                    </a:cubicBezTo>
                    <a:cubicBezTo>
                      <a:pt x="2325" y="684"/>
                      <a:pt x="2325" y="684"/>
                      <a:pt x="2325" y="684"/>
                    </a:cubicBezTo>
                    <a:cubicBezTo>
                      <a:pt x="2322" y="685"/>
                      <a:pt x="2322" y="685"/>
                      <a:pt x="2322" y="685"/>
                    </a:cubicBezTo>
                    <a:cubicBezTo>
                      <a:pt x="2320" y="690"/>
                      <a:pt x="2320" y="690"/>
                      <a:pt x="2320" y="690"/>
                    </a:cubicBezTo>
                    <a:cubicBezTo>
                      <a:pt x="2318" y="691"/>
                      <a:pt x="2318" y="691"/>
                      <a:pt x="2318" y="691"/>
                    </a:cubicBezTo>
                    <a:cubicBezTo>
                      <a:pt x="2314" y="689"/>
                      <a:pt x="2314" y="689"/>
                      <a:pt x="2314" y="689"/>
                    </a:cubicBezTo>
                    <a:cubicBezTo>
                      <a:pt x="2311" y="689"/>
                      <a:pt x="2311" y="689"/>
                      <a:pt x="2311" y="689"/>
                    </a:cubicBezTo>
                    <a:cubicBezTo>
                      <a:pt x="2311" y="691"/>
                      <a:pt x="2311" y="691"/>
                      <a:pt x="2311" y="691"/>
                    </a:cubicBezTo>
                    <a:cubicBezTo>
                      <a:pt x="2313" y="695"/>
                      <a:pt x="2313" y="695"/>
                      <a:pt x="2313" y="695"/>
                    </a:cubicBezTo>
                    <a:cubicBezTo>
                      <a:pt x="2311" y="696"/>
                      <a:pt x="2311" y="696"/>
                      <a:pt x="2311" y="696"/>
                    </a:cubicBezTo>
                    <a:cubicBezTo>
                      <a:pt x="2310" y="699"/>
                      <a:pt x="2310" y="699"/>
                      <a:pt x="2310" y="699"/>
                    </a:cubicBezTo>
                    <a:cubicBezTo>
                      <a:pt x="2310" y="702"/>
                      <a:pt x="2310" y="702"/>
                      <a:pt x="2310" y="702"/>
                    </a:cubicBezTo>
                    <a:cubicBezTo>
                      <a:pt x="2313" y="706"/>
                      <a:pt x="2313" y="706"/>
                      <a:pt x="2313" y="706"/>
                    </a:cubicBezTo>
                    <a:cubicBezTo>
                      <a:pt x="2314" y="711"/>
                      <a:pt x="2314" y="711"/>
                      <a:pt x="2314" y="711"/>
                    </a:cubicBezTo>
                    <a:cubicBezTo>
                      <a:pt x="2312" y="711"/>
                      <a:pt x="2312" y="711"/>
                      <a:pt x="2312" y="711"/>
                    </a:cubicBezTo>
                    <a:cubicBezTo>
                      <a:pt x="2313" y="714"/>
                      <a:pt x="2313" y="714"/>
                      <a:pt x="2313" y="714"/>
                    </a:cubicBezTo>
                    <a:cubicBezTo>
                      <a:pt x="2317" y="715"/>
                      <a:pt x="2317" y="715"/>
                      <a:pt x="2317" y="715"/>
                    </a:cubicBezTo>
                    <a:cubicBezTo>
                      <a:pt x="2320" y="718"/>
                      <a:pt x="2320" y="718"/>
                      <a:pt x="2320" y="718"/>
                    </a:cubicBezTo>
                    <a:cubicBezTo>
                      <a:pt x="2321" y="720"/>
                      <a:pt x="2321" y="720"/>
                      <a:pt x="2321" y="720"/>
                    </a:cubicBezTo>
                    <a:cubicBezTo>
                      <a:pt x="2319" y="720"/>
                      <a:pt x="2319" y="720"/>
                      <a:pt x="2319" y="720"/>
                    </a:cubicBezTo>
                    <a:cubicBezTo>
                      <a:pt x="2318" y="723"/>
                      <a:pt x="2318" y="723"/>
                      <a:pt x="2318" y="723"/>
                    </a:cubicBezTo>
                    <a:cubicBezTo>
                      <a:pt x="2321" y="726"/>
                      <a:pt x="2321" y="726"/>
                      <a:pt x="2321" y="726"/>
                    </a:cubicBezTo>
                    <a:cubicBezTo>
                      <a:pt x="2324" y="728"/>
                      <a:pt x="2324" y="728"/>
                      <a:pt x="2324" y="728"/>
                    </a:cubicBezTo>
                    <a:cubicBezTo>
                      <a:pt x="2324" y="729"/>
                      <a:pt x="2324" y="729"/>
                      <a:pt x="2324" y="729"/>
                    </a:cubicBezTo>
                    <a:cubicBezTo>
                      <a:pt x="2320" y="727"/>
                      <a:pt x="2320" y="727"/>
                      <a:pt x="2320" y="727"/>
                    </a:cubicBezTo>
                    <a:cubicBezTo>
                      <a:pt x="2317" y="728"/>
                      <a:pt x="2317" y="728"/>
                      <a:pt x="2317" y="728"/>
                    </a:cubicBezTo>
                    <a:cubicBezTo>
                      <a:pt x="2317" y="730"/>
                      <a:pt x="2317" y="730"/>
                      <a:pt x="2317" y="730"/>
                    </a:cubicBezTo>
                    <a:cubicBezTo>
                      <a:pt x="2321" y="734"/>
                      <a:pt x="2321" y="734"/>
                      <a:pt x="2321" y="734"/>
                    </a:cubicBezTo>
                    <a:cubicBezTo>
                      <a:pt x="2323" y="732"/>
                      <a:pt x="2323" y="732"/>
                      <a:pt x="2323" y="732"/>
                    </a:cubicBezTo>
                    <a:cubicBezTo>
                      <a:pt x="2323" y="736"/>
                      <a:pt x="2323" y="736"/>
                      <a:pt x="2323" y="736"/>
                    </a:cubicBezTo>
                    <a:cubicBezTo>
                      <a:pt x="2322" y="740"/>
                      <a:pt x="2322" y="740"/>
                      <a:pt x="2322" y="740"/>
                    </a:cubicBezTo>
                    <a:cubicBezTo>
                      <a:pt x="2322" y="744"/>
                      <a:pt x="2322" y="744"/>
                      <a:pt x="2322" y="744"/>
                    </a:cubicBezTo>
                    <a:cubicBezTo>
                      <a:pt x="2320" y="747"/>
                      <a:pt x="2320" y="747"/>
                      <a:pt x="2320" y="747"/>
                    </a:cubicBezTo>
                    <a:cubicBezTo>
                      <a:pt x="2322" y="752"/>
                      <a:pt x="2322" y="752"/>
                      <a:pt x="2322" y="752"/>
                    </a:cubicBezTo>
                    <a:cubicBezTo>
                      <a:pt x="2320" y="755"/>
                      <a:pt x="2320" y="755"/>
                      <a:pt x="2320" y="755"/>
                    </a:cubicBezTo>
                    <a:cubicBezTo>
                      <a:pt x="2322" y="759"/>
                      <a:pt x="2322" y="759"/>
                      <a:pt x="2322" y="759"/>
                    </a:cubicBezTo>
                    <a:cubicBezTo>
                      <a:pt x="2322" y="761"/>
                      <a:pt x="2322" y="761"/>
                      <a:pt x="2322" y="761"/>
                    </a:cubicBezTo>
                    <a:cubicBezTo>
                      <a:pt x="2322" y="765"/>
                      <a:pt x="2322" y="765"/>
                      <a:pt x="2322" y="765"/>
                    </a:cubicBezTo>
                    <a:cubicBezTo>
                      <a:pt x="2325" y="771"/>
                      <a:pt x="2325" y="771"/>
                      <a:pt x="2325" y="771"/>
                    </a:cubicBezTo>
                    <a:cubicBezTo>
                      <a:pt x="2324" y="773"/>
                      <a:pt x="2324" y="773"/>
                      <a:pt x="2324" y="773"/>
                    </a:cubicBezTo>
                    <a:cubicBezTo>
                      <a:pt x="2327" y="775"/>
                      <a:pt x="2327" y="775"/>
                      <a:pt x="2327" y="775"/>
                    </a:cubicBezTo>
                    <a:cubicBezTo>
                      <a:pt x="2330" y="779"/>
                      <a:pt x="2330" y="779"/>
                      <a:pt x="2330" y="779"/>
                    </a:cubicBezTo>
                    <a:cubicBezTo>
                      <a:pt x="2335" y="785"/>
                      <a:pt x="2335" y="785"/>
                      <a:pt x="2335" y="785"/>
                    </a:cubicBezTo>
                    <a:cubicBezTo>
                      <a:pt x="2340" y="787"/>
                      <a:pt x="2340" y="787"/>
                      <a:pt x="2340" y="787"/>
                    </a:cubicBezTo>
                    <a:cubicBezTo>
                      <a:pt x="2342" y="786"/>
                      <a:pt x="2342" y="786"/>
                      <a:pt x="2342" y="786"/>
                    </a:cubicBezTo>
                    <a:cubicBezTo>
                      <a:pt x="2342" y="783"/>
                      <a:pt x="2342" y="783"/>
                      <a:pt x="2342" y="783"/>
                    </a:cubicBezTo>
                    <a:cubicBezTo>
                      <a:pt x="2337" y="777"/>
                      <a:pt x="2337" y="777"/>
                      <a:pt x="2337" y="777"/>
                    </a:cubicBezTo>
                    <a:cubicBezTo>
                      <a:pt x="2337" y="775"/>
                      <a:pt x="2337" y="775"/>
                      <a:pt x="2337" y="775"/>
                    </a:cubicBezTo>
                    <a:cubicBezTo>
                      <a:pt x="2340" y="773"/>
                      <a:pt x="2340" y="773"/>
                      <a:pt x="2340" y="773"/>
                    </a:cubicBezTo>
                    <a:cubicBezTo>
                      <a:pt x="2344" y="773"/>
                      <a:pt x="2344" y="773"/>
                      <a:pt x="2344" y="773"/>
                    </a:cubicBezTo>
                    <a:cubicBezTo>
                      <a:pt x="2350" y="778"/>
                      <a:pt x="2350" y="778"/>
                      <a:pt x="2350" y="778"/>
                    </a:cubicBezTo>
                    <a:cubicBezTo>
                      <a:pt x="2354" y="777"/>
                      <a:pt x="2354" y="777"/>
                      <a:pt x="2354" y="777"/>
                    </a:cubicBezTo>
                    <a:cubicBezTo>
                      <a:pt x="2356" y="778"/>
                      <a:pt x="2356" y="778"/>
                      <a:pt x="2356" y="778"/>
                    </a:cubicBezTo>
                    <a:cubicBezTo>
                      <a:pt x="2357" y="782"/>
                      <a:pt x="2357" y="782"/>
                      <a:pt x="2357" y="782"/>
                    </a:cubicBezTo>
                    <a:cubicBezTo>
                      <a:pt x="2356" y="784"/>
                      <a:pt x="2356" y="784"/>
                      <a:pt x="2356" y="784"/>
                    </a:cubicBezTo>
                    <a:cubicBezTo>
                      <a:pt x="2358" y="787"/>
                      <a:pt x="2358" y="787"/>
                      <a:pt x="2358" y="787"/>
                    </a:cubicBezTo>
                    <a:cubicBezTo>
                      <a:pt x="2356" y="790"/>
                      <a:pt x="2356" y="790"/>
                      <a:pt x="2356" y="790"/>
                    </a:cubicBezTo>
                    <a:cubicBezTo>
                      <a:pt x="2357" y="793"/>
                      <a:pt x="2357" y="793"/>
                      <a:pt x="2357" y="793"/>
                    </a:cubicBezTo>
                    <a:cubicBezTo>
                      <a:pt x="2355" y="794"/>
                      <a:pt x="2355" y="794"/>
                      <a:pt x="2355" y="794"/>
                    </a:cubicBezTo>
                    <a:cubicBezTo>
                      <a:pt x="2353" y="798"/>
                      <a:pt x="2353" y="798"/>
                      <a:pt x="2353" y="798"/>
                    </a:cubicBezTo>
                    <a:cubicBezTo>
                      <a:pt x="2356" y="804"/>
                      <a:pt x="2356" y="804"/>
                      <a:pt x="2356" y="804"/>
                    </a:cubicBezTo>
                    <a:cubicBezTo>
                      <a:pt x="2359" y="808"/>
                      <a:pt x="2359" y="808"/>
                      <a:pt x="2359" y="808"/>
                    </a:cubicBezTo>
                    <a:cubicBezTo>
                      <a:pt x="2359" y="815"/>
                      <a:pt x="2359" y="815"/>
                      <a:pt x="2359" y="815"/>
                    </a:cubicBezTo>
                    <a:cubicBezTo>
                      <a:pt x="2363" y="818"/>
                      <a:pt x="2363" y="818"/>
                      <a:pt x="2363" y="818"/>
                    </a:cubicBezTo>
                    <a:cubicBezTo>
                      <a:pt x="2365" y="816"/>
                      <a:pt x="2365" y="816"/>
                      <a:pt x="2365" y="816"/>
                    </a:cubicBezTo>
                    <a:cubicBezTo>
                      <a:pt x="2365" y="814"/>
                      <a:pt x="2365" y="814"/>
                      <a:pt x="2365" y="814"/>
                    </a:cubicBezTo>
                    <a:cubicBezTo>
                      <a:pt x="2368" y="812"/>
                      <a:pt x="2368" y="812"/>
                      <a:pt x="2368" y="812"/>
                    </a:cubicBezTo>
                    <a:cubicBezTo>
                      <a:pt x="2369" y="811"/>
                      <a:pt x="2369" y="811"/>
                      <a:pt x="2369" y="811"/>
                    </a:cubicBezTo>
                    <a:cubicBezTo>
                      <a:pt x="2370" y="812"/>
                      <a:pt x="2370" y="812"/>
                      <a:pt x="2370" y="812"/>
                    </a:cubicBezTo>
                    <a:cubicBezTo>
                      <a:pt x="2374" y="814"/>
                      <a:pt x="2374" y="814"/>
                      <a:pt x="2374" y="814"/>
                    </a:cubicBezTo>
                    <a:cubicBezTo>
                      <a:pt x="2374" y="822"/>
                      <a:pt x="2374" y="822"/>
                      <a:pt x="2374" y="822"/>
                    </a:cubicBezTo>
                    <a:cubicBezTo>
                      <a:pt x="2382" y="829"/>
                      <a:pt x="2382" y="829"/>
                      <a:pt x="2382" y="829"/>
                    </a:cubicBezTo>
                    <a:cubicBezTo>
                      <a:pt x="2385" y="835"/>
                      <a:pt x="2385" y="835"/>
                      <a:pt x="2385" y="835"/>
                    </a:cubicBezTo>
                    <a:cubicBezTo>
                      <a:pt x="2384" y="838"/>
                      <a:pt x="2384" y="838"/>
                      <a:pt x="2384" y="838"/>
                    </a:cubicBezTo>
                    <a:cubicBezTo>
                      <a:pt x="2383" y="843"/>
                      <a:pt x="2383" y="843"/>
                      <a:pt x="2383" y="843"/>
                    </a:cubicBezTo>
                    <a:cubicBezTo>
                      <a:pt x="2381" y="844"/>
                      <a:pt x="2381" y="844"/>
                      <a:pt x="2381" y="844"/>
                    </a:cubicBezTo>
                    <a:cubicBezTo>
                      <a:pt x="2376" y="840"/>
                      <a:pt x="2376" y="840"/>
                      <a:pt x="2376" y="840"/>
                    </a:cubicBezTo>
                    <a:cubicBezTo>
                      <a:pt x="2370" y="838"/>
                      <a:pt x="2370" y="838"/>
                      <a:pt x="2370" y="838"/>
                    </a:cubicBezTo>
                    <a:cubicBezTo>
                      <a:pt x="2370" y="833"/>
                      <a:pt x="2370" y="833"/>
                      <a:pt x="2370" y="833"/>
                    </a:cubicBezTo>
                    <a:cubicBezTo>
                      <a:pt x="2371" y="829"/>
                      <a:pt x="2371" y="829"/>
                      <a:pt x="2371" y="829"/>
                    </a:cubicBezTo>
                    <a:cubicBezTo>
                      <a:pt x="2372" y="824"/>
                      <a:pt x="2372" y="824"/>
                      <a:pt x="2372" y="824"/>
                    </a:cubicBezTo>
                    <a:cubicBezTo>
                      <a:pt x="2371" y="821"/>
                      <a:pt x="2371" y="821"/>
                      <a:pt x="2371" y="821"/>
                    </a:cubicBezTo>
                    <a:cubicBezTo>
                      <a:pt x="2368" y="823"/>
                      <a:pt x="2368" y="823"/>
                      <a:pt x="2368" y="823"/>
                    </a:cubicBezTo>
                    <a:cubicBezTo>
                      <a:pt x="2370" y="825"/>
                      <a:pt x="2370" y="825"/>
                      <a:pt x="2370" y="825"/>
                    </a:cubicBezTo>
                    <a:cubicBezTo>
                      <a:pt x="2370" y="827"/>
                      <a:pt x="2370" y="827"/>
                      <a:pt x="2370" y="827"/>
                    </a:cubicBezTo>
                    <a:cubicBezTo>
                      <a:pt x="2366" y="828"/>
                      <a:pt x="2366" y="828"/>
                      <a:pt x="2366" y="828"/>
                    </a:cubicBezTo>
                    <a:cubicBezTo>
                      <a:pt x="2362" y="833"/>
                      <a:pt x="2362" y="833"/>
                      <a:pt x="2362" y="833"/>
                    </a:cubicBezTo>
                    <a:cubicBezTo>
                      <a:pt x="2363" y="836"/>
                      <a:pt x="2363" y="836"/>
                      <a:pt x="2363" y="836"/>
                    </a:cubicBezTo>
                    <a:cubicBezTo>
                      <a:pt x="2368" y="835"/>
                      <a:pt x="2368" y="835"/>
                      <a:pt x="2368" y="835"/>
                    </a:cubicBezTo>
                    <a:cubicBezTo>
                      <a:pt x="2368" y="838"/>
                      <a:pt x="2368" y="838"/>
                      <a:pt x="2368" y="838"/>
                    </a:cubicBezTo>
                    <a:cubicBezTo>
                      <a:pt x="2365" y="843"/>
                      <a:pt x="2365" y="843"/>
                      <a:pt x="2365" y="843"/>
                    </a:cubicBezTo>
                    <a:cubicBezTo>
                      <a:pt x="2367" y="848"/>
                      <a:pt x="2367" y="848"/>
                      <a:pt x="2367" y="848"/>
                    </a:cubicBezTo>
                    <a:cubicBezTo>
                      <a:pt x="2366" y="850"/>
                      <a:pt x="2366" y="850"/>
                      <a:pt x="2366" y="850"/>
                    </a:cubicBezTo>
                    <a:cubicBezTo>
                      <a:pt x="2366" y="863"/>
                      <a:pt x="2366" y="863"/>
                      <a:pt x="2366" y="863"/>
                    </a:cubicBezTo>
                    <a:cubicBezTo>
                      <a:pt x="2369" y="866"/>
                      <a:pt x="2369" y="866"/>
                      <a:pt x="2369" y="866"/>
                    </a:cubicBezTo>
                    <a:cubicBezTo>
                      <a:pt x="2369" y="869"/>
                      <a:pt x="2369" y="869"/>
                      <a:pt x="2369" y="869"/>
                    </a:cubicBezTo>
                    <a:cubicBezTo>
                      <a:pt x="2378" y="883"/>
                      <a:pt x="2378" y="883"/>
                      <a:pt x="2378" y="883"/>
                    </a:cubicBezTo>
                    <a:cubicBezTo>
                      <a:pt x="2381" y="883"/>
                      <a:pt x="2381" y="883"/>
                      <a:pt x="2381" y="883"/>
                    </a:cubicBezTo>
                    <a:cubicBezTo>
                      <a:pt x="2388" y="892"/>
                      <a:pt x="2388" y="892"/>
                      <a:pt x="2388" y="892"/>
                    </a:cubicBezTo>
                    <a:cubicBezTo>
                      <a:pt x="2392" y="894"/>
                      <a:pt x="2392" y="894"/>
                      <a:pt x="2392" y="894"/>
                    </a:cubicBezTo>
                    <a:cubicBezTo>
                      <a:pt x="2390" y="897"/>
                      <a:pt x="2390" y="897"/>
                      <a:pt x="2390" y="897"/>
                    </a:cubicBezTo>
                    <a:cubicBezTo>
                      <a:pt x="2390" y="902"/>
                      <a:pt x="2390" y="902"/>
                      <a:pt x="2390" y="902"/>
                    </a:cubicBezTo>
                    <a:cubicBezTo>
                      <a:pt x="2379" y="906"/>
                      <a:pt x="2379" y="906"/>
                      <a:pt x="2379" y="906"/>
                    </a:cubicBezTo>
                    <a:cubicBezTo>
                      <a:pt x="2378" y="904"/>
                      <a:pt x="2378" y="904"/>
                      <a:pt x="2378" y="904"/>
                    </a:cubicBezTo>
                    <a:cubicBezTo>
                      <a:pt x="2372" y="908"/>
                      <a:pt x="2372" y="908"/>
                      <a:pt x="2372" y="908"/>
                    </a:cubicBezTo>
                    <a:cubicBezTo>
                      <a:pt x="2369" y="907"/>
                      <a:pt x="2369" y="907"/>
                      <a:pt x="2369" y="907"/>
                    </a:cubicBezTo>
                    <a:cubicBezTo>
                      <a:pt x="2370" y="909"/>
                      <a:pt x="2370" y="909"/>
                      <a:pt x="2370" y="909"/>
                    </a:cubicBezTo>
                    <a:cubicBezTo>
                      <a:pt x="2367" y="916"/>
                      <a:pt x="2367" y="916"/>
                      <a:pt x="2367" y="916"/>
                    </a:cubicBezTo>
                    <a:cubicBezTo>
                      <a:pt x="2366" y="921"/>
                      <a:pt x="2366" y="921"/>
                      <a:pt x="2366" y="921"/>
                    </a:cubicBezTo>
                    <a:cubicBezTo>
                      <a:pt x="2364" y="923"/>
                      <a:pt x="2364" y="923"/>
                      <a:pt x="2364" y="923"/>
                    </a:cubicBezTo>
                    <a:cubicBezTo>
                      <a:pt x="2367" y="927"/>
                      <a:pt x="2367" y="927"/>
                      <a:pt x="2367" y="927"/>
                    </a:cubicBezTo>
                    <a:cubicBezTo>
                      <a:pt x="2364" y="936"/>
                      <a:pt x="2364" y="936"/>
                      <a:pt x="2364" y="936"/>
                    </a:cubicBezTo>
                    <a:cubicBezTo>
                      <a:pt x="2368" y="947"/>
                      <a:pt x="2368" y="947"/>
                      <a:pt x="2368" y="947"/>
                    </a:cubicBezTo>
                    <a:cubicBezTo>
                      <a:pt x="2373" y="950"/>
                      <a:pt x="2373" y="950"/>
                      <a:pt x="2373" y="950"/>
                    </a:cubicBezTo>
                    <a:cubicBezTo>
                      <a:pt x="2373" y="954"/>
                      <a:pt x="2373" y="954"/>
                      <a:pt x="2373" y="954"/>
                    </a:cubicBezTo>
                    <a:cubicBezTo>
                      <a:pt x="2379" y="957"/>
                      <a:pt x="2379" y="957"/>
                      <a:pt x="2379" y="957"/>
                    </a:cubicBezTo>
                    <a:cubicBezTo>
                      <a:pt x="2381" y="960"/>
                      <a:pt x="2381" y="960"/>
                      <a:pt x="2381" y="960"/>
                    </a:cubicBezTo>
                    <a:cubicBezTo>
                      <a:pt x="2377" y="960"/>
                      <a:pt x="2377" y="960"/>
                      <a:pt x="2377" y="960"/>
                    </a:cubicBezTo>
                    <a:cubicBezTo>
                      <a:pt x="2376" y="959"/>
                      <a:pt x="2376" y="959"/>
                      <a:pt x="2376" y="959"/>
                    </a:cubicBezTo>
                    <a:cubicBezTo>
                      <a:pt x="2372" y="961"/>
                      <a:pt x="2372" y="961"/>
                      <a:pt x="2372" y="961"/>
                    </a:cubicBezTo>
                    <a:cubicBezTo>
                      <a:pt x="2369" y="964"/>
                      <a:pt x="2369" y="964"/>
                      <a:pt x="2369" y="964"/>
                    </a:cubicBezTo>
                    <a:cubicBezTo>
                      <a:pt x="2366" y="963"/>
                      <a:pt x="2366" y="963"/>
                      <a:pt x="2366" y="963"/>
                    </a:cubicBezTo>
                    <a:cubicBezTo>
                      <a:pt x="2360" y="968"/>
                      <a:pt x="2360" y="968"/>
                      <a:pt x="2360" y="968"/>
                    </a:cubicBezTo>
                    <a:cubicBezTo>
                      <a:pt x="2356" y="965"/>
                      <a:pt x="2356" y="965"/>
                      <a:pt x="2356" y="965"/>
                    </a:cubicBezTo>
                    <a:cubicBezTo>
                      <a:pt x="2354" y="969"/>
                      <a:pt x="2354" y="969"/>
                      <a:pt x="2354" y="969"/>
                    </a:cubicBezTo>
                    <a:cubicBezTo>
                      <a:pt x="2357" y="971"/>
                      <a:pt x="2357" y="971"/>
                      <a:pt x="2357" y="971"/>
                    </a:cubicBezTo>
                    <a:cubicBezTo>
                      <a:pt x="2361" y="971"/>
                      <a:pt x="2361" y="971"/>
                      <a:pt x="2361" y="971"/>
                    </a:cubicBezTo>
                    <a:cubicBezTo>
                      <a:pt x="2360" y="975"/>
                      <a:pt x="2360" y="975"/>
                      <a:pt x="2360" y="975"/>
                    </a:cubicBezTo>
                    <a:cubicBezTo>
                      <a:pt x="2359" y="977"/>
                      <a:pt x="2359" y="977"/>
                      <a:pt x="2359" y="977"/>
                    </a:cubicBezTo>
                    <a:cubicBezTo>
                      <a:pt x="2363" y="981"/>
                      <a:pt x="2363" y="981"/>
                      <a:pt x="2363" y="981"/>
                    </a:cubicBezTo>
                    <a:cubicBezTo>
                      <a:pt x="2361" y="983"/>
                      <a:pt x="2361" y="983"/>
                      <a:pt x="2361" y="983"/>
                    </a:cubicBezTo>
                    <a:cubicBezTo>
                      <a:pt x="2359" y="982"/>
                      <a:pt x="2359" y="982"/>
                      <a:pt x="2359" y="982"/>
                    </a:cubicBezTo>
                    <a:cubicBezTo>
                      <a:pt x="2362" y="987"/>
                      <a:pt x="2362" y="987"/>
                      <a:pt x="2362" y="987"/>
                    </a:cubicBezTo>
                    <a:cubicBezTo>
                      <a:pt x="2360" y="990"/>
                      <a:pt x="2360" y="990"/>
                      <a:pt x="2360" y="990"/>
                    </a:cubicBezTo>
                    <a:cubicBezTo>
                      <a:pt x="2363" y="991"/>
                      <a:pt x="2363" y="991"/>
                      <a:pt x="2363" y="991"/>
                    </a:cubicBezTo>
                    <a:cubicBezTo>
                      <a:pt x="2365" y="990"/>
                      <a:pt x="2365" y="990"/>
                      <a:pt x="2365" y="990"/>
                    </a:cubicBezTo>
                    <a:cubicBezTo>
                      <a:pt x="2369" y="993"/>
                      <a:pt x="2369" y="993"/>
                      <a:pt x="2369" y="993"/>
                    </a:cubicBezTo>
                    <a:cubicBezTo>
                      <a:pt x="2365" y="996"/>
                      <a:pt x="2365" y="996"/>
                      <a:pt x="2365" y="996"/>
                    </a:cubicBezTo>
                    <a:cubicBezTo>
                      <a:pt x="2365" y="1001"/>
                      <a:pt x="2365" y="1001"/>
                      <a:pt x="2365" y="1001"/>
                    </a:cubicBezTo>
                    <a:cubicBezTo>
                      <a:pt x="2367" y="1005"/>
                      <a:pt x="2367" y="1005"/>
                      <a:pt x="2367" y="1005"/>
                    </a:cubicBezTo>
                    <a:cubicBezTo>
                      <a:pt x="2366" y="1013"/>
                      <a:pt x="2366" y="1013"/>
                      <a:pt x="2366" y="1013"/>
                    </a:cubicBezTo>
                    <a:cubicBezTo>
                      <a:pt x="2364" y="1016"/>
                      <a:pt x="2364" y="1016"/>
                      <a:pt x="2364" y="1016"/>
                    </a:cubicBezTo>
                    <a:cubicBezTo>
                      <a:pt x="2365" y="1018"/>
                      <a:pt x="2365" y="1018"/>
                      <a:pt x="2365" y="1018"/>
                    </a:cubicBezTo>
                    <a:cubicBezTo>
                      <a:pt x="2364" y="1021"/>
                      <a:pt x="2364" y="1021"/>
                      <a:pt x="2364" y="1021"/>
                    </a:cubicBezTo>
                    <a:cubicBezTo>
                      <a:pt x="2360" y="1025"/>
                      <a:pt x="2360" y="1025"/>
                      <a:pt x="2360" y="1025"/>
                    </a:cubicBezTo>
                    <a:cubicBezTo>
                      <a:pt x="2359" y="1029"/>
                      <a:pt x="2359" y="1029"/>
                      <a:pt x="2359" y="1029"/>
                    </a:cubicBezTo>
                    <a:cubicBezTo>
                      <a:pt x="2358" y="1029"/>
                      <a:pt x="2358" y="1029"/>
                      <a:pt x="2358" y="1029"/>
                    </a:cubicBezTo>
                    <a:cubicBezTo>
                      <a:pt x="2356" y="1037"/>
                      <a:pt x="2356" y="1037"/>
                      <a:pt x="2356" y="1037"/>
                    </a:cubicBezTo>
                    <a:cubicBezTo>
                      <a:pt x="2352" y="1046"/>
                      <a:pt x="2352" y="1046"/>
                      <a:pt x="2352" y="1046"/>
                    </a:cubicBezTo>
                    <a:cubicBezTo>
                      <a:pt x="2353" y="1042"/>
                      <a:pt x="2353" y="1042"/>
                      <a:pt x="2353" y="1042"/>
                    </a:cubicBezTo>
                    <a:cubicBezTo>
                      <a:pt x="2352" y="1039"/>
                      <a:pt x="2352" y="1039"/>
                      <a:pt x="2352" y="1039"/>
                    </a:cubicBezTo>
                    <a:cubicBezTo>
                      <a:pt x="2352" y="1035"/>
                      <a:pt x="2352" y="1035"/>
                      <a:pt x="2352" y="1035"/>
                    </a:cubicBezTo>
                    <a:cubicBezTo>
                      <a:pt x="2351" y="1033"/>
                      <a:pt x="2351" y="1033"/>
                      <a:pt x="2351" y="1033"/>
                    </a:cubicBezTo>
                    <a:cubicBezTo>
                      <a:pt x="2343" y="1032"/>
                      <a:pt x="2343" y="1032"/>
                      <a:pt x="2343" y="1032"/>
                    </a:cubicBezTo>
                    <a:cubicBezTo>
                      <a:pt x="2339" y="1026"/>
                      <a:pt x="2339" y="1026"/>
                      <a:pt x="2339" y="1026"/>
                    </a:cubicBezTo>
                    <a:cubicBezTo>
                      <a:pt x="2338" y="1020"/>
                      <a:pt x="2338" y="1020"/>
                      <a:pt x="2338" y="1020"/>
                    </a:cubicBezTo>
                    <a:cubicBezTo>
                      <a:pt x="2331" y="1004"/>
                      <a:pt x="2331" y="1004"/>
                      <a:pt x="2331" y="1004"/>
                    </a:cubicBezTo>
                    <a:cubicBezTo>
                      <a:pt x="2326" y="996"/>
                      <a:pt x="2326" y="996"/>
                      <a:pt x="2326" y="996"/>
                    </a:cubicBezTo>
                    <a:cubicBezTo>
                      <a:pt x="2328" y="997"/>
                      <a:pt x="2328" y="997"/>
                      <a:pt x="2328" y="997"/>
                    </a:cubicBezTo>
                    <a:cubicBezTo>
                      <a:pt x="2332" y="995"/>
                      <a:pt x="2332" y="995"/>
                      <a:pt x="2332" y="995"/>
                    </a:cubicBezTo>
                    <a:cubicBezTo>
                      <a:pt x="2333" y="992"/>
                      <a:pt x="2333" y="992"/>
                      <a:pt x="2333" y="992"/>
                    </a:cubicBezTo>
                    <a:cubicBezTo>
                      <a:pt x="2330" y="993"/>
                      <a:pt x="2330" y="993"/>
                      <a:pt x="2330" y="993"/>
                    </a:cubicBezTo>
                    <a:cubicBezTo>
                      <a:pt x="2325" y="993"/>
                      <a:pt x="2325" y="993"/>
                      <a:pt x="2325" y="993"/>
                    </a:cubicBezTo>
                    <a:cubicBezTo>
                      <a:pt x="2318" y="990"/>
                      <a:pt x="2318" y="990"/>
                      <a:pt x="2318" y="990"/>
                    </a:cubicBezTo>
                    <a:cubicBezTo>
                      <a:pt x="2303" y="964"/>
                      <a:pt x="2303" y="964"/>
                      <a:pt x="2303" y="964"/>
                    </a:cubicBezTo>
                    <a:cubicBezTo>
                      <a:pt x="2290" y="949"/>
                      <a:pt x="2290" y="949"/>
                      <a:pt x="2290" y="949"/>
                    </a:cubicBezTo>
                    <a:cubicBezTo>
                      <a:pt x="2289" y="943"/>
                      <a:pt x="2289" y="943"/>
                      <a:pt x="2289" y="943"/>
                    </a:cubicBezTo>
                    <a:cubicBezTo>
                      <a:pt x="2284" y="938"/>
                      <a:pt x="2284" y="938"/>
                      <a:pt x="2284" y="938"/>
                    </a:cubicBezTo>
                    <a:cubicBezTo>
                      <a:pt x="2274" y="921"/>
                      <a:pt x="2274" y="921"/>
                      <a:pt x="2274" y="921"/>
                    </a:cubicBezTo>
                    <a:cubicBezTo>
                      <a:pt x="2264" y="902"/>
                      <a:pt x="2264" y="902"/>
                      <a:pt x="2264" y="902"/>
                    </a:cubicBezTo>
                    <a:cubicBezTo>
                      <a:pt x="2255" y="883"/>
                      <a:pt x="2255" y="883"/>
                      <a:pt x="2255" y="883"/>
                    </a:cubicBezTo>
                    <a:cubicBezTo>
                      <a:pt x="2255" y="877"/>
                      <a:pt x="2255" y="877"/>
                      <a:pt x="2255" y="877"/>
                    </a:cubicBezTo>
                    <a:cubicBezTo>
                      <a:pt x="2250" y="869"/>
                      <a:pt x="2250" y="869"/>
                      <a:pt x="2250" y="869"/>
                    </a:cubicBezTo>
                    <a:cubicBezTo>
                      <a:pt x="2248" y="856"/>
                      <a:pt x="2248" y="856"/>
                      <a:pt x="2248" y="856"/>
                    </a:cubicBezTo>
                    <a:cubicBezTo>
                      <a:pt x="2245" y="849"/>
                      <a:pt x="2245" y="849"/>
                      <a:pt x="2245" y="849"/>
                    </a:cubicBezTo>
                    <a:cubicBezTo>
                      <a:pt x="2246" y="842"/>
                      <a:pt x="2246" y="842"/>
                      <a:pt x="2246" y="842"/>
                    </a:cubicBezTo>
                    <a:cubicBezTo>
                      <a:pt x="2250" y="837"/>
                      <a:pt x="2250" y="837"/>
                      <a:pt x="2250" y="837"/>
                    </a:cubicBezTo>
                    <a:cubicBezTo>
                      <a:pt x="2251" y="830"/>
                      <a:pt x="2251" y="830"/>
                      <a:pt x="2251" y="830"/>
                    </a:cubicBezTo>
                    <a:cubicBezTo>
                      <a:pt x="2254" y="829"/>
                      <a:pt x="2254" y="829"/>
                      <a:pt x="2254" y="829"/>
                    </a:cubicBezTo>
                    <a:cubicBezTo>
                      <a:pt x="2252" y="827"/>
                      <a:pt x="2252" y="827"/>
                      <a:pt x="2252" y="827"/>
                    </a:cubicBezTo>
                    <a:cubicBezTo>
                      <a:pt x="2254" y="824"/>
                      <a:pt x="2254" y="824"/>
                      <a:pt x="2254" y="824"/>
                    </a:cubicBezTo>
                    <a:cubicBezTo>
                      <a:pt x="2254" y="815"/>
                      <a:pt x="2254" y="815"/>
                      <a:pt x="2254" y="815"/>
                    </a:cubicBezTo>
                    <a:cubicBezTo>
                      <a:pt x="2247" y="806"/>
                      <a:pt x="2247" y="806"/>
                      <a:pt x="2247" y="806"/>
                    </a:cubicBezTo>
                    <a:cubicBezTo>
                      <a:pt x="2242" y="806"/>
                      <a:pt x="2242" y="806"/>
                      <a:pt x="2242" y="806"/>
                    </a:cubicBezTo>
                    <a:cubicBezTo>
                      <a:pt x="2242" y="803"/>
                      <a:pt x="2242" y="803"/>
                      <a:pt x="2242" y="803"/>
                    </a:cubicBezTo>
                    <a:cubicBezTo>
                      <a:pt x="2245" y="800"/>
                      <a:pt x="2245" y="800"/>
                      <a:pt x="2245" y="800"/>
                    </a:cubicBezTo>
                    <a:cubicBezTo>
                      <a:pt x="2253" y="803"/>
                      <a:pt x="2253" y="803"/>
                      <a:pt x="2253" y="803"/>
                    </a:cubicBezTo>
                    <a:cubicBezTo>
                      <a:pt x="2257" y="799"/>
                      <a:pt x="2257" y="799"/>
                      <a:pt x="2257" y="799"/>
                    </a:cubicBezTo>
                    <a:cubicBezTo>
                      <a:pt x="2256" y="796"/>
                      <a:pt x="2256" y="796"/>
                      <a:pt x="2256" y="796"/>
                    </a:cubicBezTo>
                    <a:cubicBezTo>
                      <a:pt x="2256" y="789"/>
                      <a:pt x="2256" y="789"/>
                      <a:pt x="2256" y="789"/>
                    </a:cubicBezTo>
                    <a:cubicBezTo>
                      <a:pt x="2263" y="788"/>
                      <a:pt x="2263" y="788"/>
                      <a:pt x="2263" y="788"/>
                    </a:cubicBezTo>
                    <a:cubicBezTo>
                      <a:pt x="2266" y="789"/>
                      <a:pt x="2266" y="789"/>
                      <a:pt x="2266" y="789"/>
                    </a:cubicBezTo>
                    <a:cubicBezTo>
                      <a:pt x="2263" y="784"/>
                      <a:pt x="2263" y="784"/>
                      <a:pt x="2263" y="784"/>
                    </a:cubicBezTo>
                    <a:cubicBezTo>
                      <a:pt x="2269" y="773"/>
                      <a:pt x="2269" y="773"/>
                      <a:pt x="2269" y="773"/>
                    </a:cubicBezTo>
                    <a:cubicBezTo>
                      <a:pt x="2267" y="766"/>
                      <a:pt x="2267" y="766"/>
                      <a:pt x="2267" y="766"/>
                    </a:cubicBezTo>
                    <a:cubicBezTo>
                      <a:pt x="2267" y="759"/>
                      <a:pt x="2267" y="759"/>
                      <a:pt x="2267" y="759"/>
                    </a:cubicBezTo>
                    <a:cubicBezTo>
                      <a:pt x="2264" y="755"/>
                      <a:pt x="2264" y="755"/>
                      <a:pt x="2264" y="755"/>
                    </a:cubicBezTo>
                    <a:cubicBezTo>
                      <a:pt x="2268" y="752"/>
                      <a:pt x="2268" y="752"/>
                      <a:pt x="2268" y="752"/>
                    </a:cubicBezTo>
                    <a:cubicBezTo>
                      <a:pt x="2268" y="747"/>
                      <a:pt x="2268" y="747"/>
                      <a:pt x="2268" y="747"/>
                    </a:cubicBezTo>
                    <a:cubicBezTo>
                      <a:pt x="2266" y="745"/>
                      <a:pt x="2266" y="745"/>
                      <a:pt x="2266" y="745"/>
                    </a:cubicBezTo>
                    <a:cubicBezTo>
                      <a:pt x="2268" y="739"/>
                      <a:pt x="2268" y="739"/>
                      <a:pt x="2268" y="739"/>
                    </a:cubicBezTo>
                    <a:cubicBezTo>
                      <a:pt x="2270" y="739"/>
                      <a:pt x="2270" y="739"/>
                      <a:pt x="2270" y="739"/>
                    </a:cubicBezTo>
                    <a:cubicBezTo>
                      <a:pt x="2267" y="735"/>
                      <a:pt x="2267" y="735"/>
                      <a:pt x="2267" y="735"/>
                    </a:cubicBezTo>
                    <a:cubicBezTo>
                      <a:pt x="2266" y="733"/>
                      <a:pt x="2266" y="733"/>
                      <a:pt x="2266" y="733"/>
                    </a:cubicBezTo>
                    <a:cubicBezTo>
                      <a:pt x="2267" y="731"/>
                      <a:pt x="2267" y="731"/>
                      <a:pt x="2267" y="731"/>
                    </a:cubicBezTo>
                    <a:cubicBezTo>
                      <a:pt x="2268" y="724"/>
                      <a:pt x="2268" y="724"/>
                      <a:pt x="2268" y="724"/>
                    </a:cubicBezTo>
                    <a:cubicBezTo>
                      <a:pt x="2267" y="722"/>
                      <a:pt x="2267" y="722"/>
                      <a:pt x="2267" y="722"/>
                    </a:cubicBezTo>
                    <a:cubicBezTo>
                      <a:pt x="2267" y="719"/>
                      <a:pt x="2267" y="719"/>
                      <a:pt x="2267" y="719"/>
                    </a:cubicBezTo>
                    <a:cubicBezTo>
                      <a:pt x="2272" y="717"/>
                      <a:pt x="2272" y="717"/>
                      <a:pt x="2272" y="717"/>
                    </a:cubicBezTo>
                    <a:cubicBezTo>
                      <a:pt x="2273" y="714"/>
                      <a:pt x="2273" y="714"/>
                      <a:pt x="2273" y="714"/>
                    </a:cubicBezTo>
                    <a:cubicBezTo>
                      <a:pt x="2272" y="708"/>
                      <a:pt x="2272" y="708"/>
                      <a:pt x="2272" y="708"/>
                    </a:cubicBezTo>
                    <a:cubicBezTo>
                      <a:pt x="2274" y="701"/>
                      <a:pt x="2274" y="701"/>
                      <a:pt x="2274" y="701"/>
                    </a:cubicBezTo>
                    <a:cubicBezTo>
                      <a:pt x="2271" y="699"/>
                      <a:pt x="2271" y="699"/>
                      <a:pt x="2271" y="699"/>
                    </a:cubicBezTo>
                    <a:cubicBezTo>
                      <a:pt x="2271" y="697"/>
                      <a:pt x="2271" y="697"/>
                      <a:pt x="2271" y="697"/>
                    </a:cubicBezTo>
                    <a:cubicBezTo>
                      <a:pt x="2274" y="691"/>
                      <a:pt x="2274" y="691"/>
                      <a:pt x="2274" y="691"/>
                    </a:cubicBezTo>
                    <a:cubicBezTo>
                      <a:pt x="2274" y="686"/>
                      <a:pt x="2274" y="686"/>
                      <a:pt x="2274" y="686"/>
                    </a:cubicBezTo>
                    <a:cubicBezTo>
                      <a:pt x="2272" y="687"/>
                      <a:pt x="2272" y="687"/>
                      <a:pt x="2272" y="687"/>
                    </a:cubicBezTo>
                    <a:cubicBezTo>
                      <a:pt x="2270" y="682"/>
                      <a:pt x="2270" y="682"/>
                      <a:pt x="2270" y="682"/>
                    </a:cubicBezTo>
                    <a:cubicBezTo>
                      <a:pt x="2272" y="679"/>
                      <a:pt x="2272" y="679"/>
                      <a:pt x="2272" y="679"/>
                    </a:cubicBezTo>
                    <a:cubicBezTo>
                      <a:pt x="2273" y="676"/>
                      <a:pt x="2273" y="676"/>
                      <a:pt x="2273" y="676"/>
                    </a:cubicBezTo>
                    <a:cubicBezTo>
                      <a:pt x="2276" y="675"/>
                      <a:pt x="2276" y="675"/>
                      <a:pt x="2276" y="675"/>
                    </a:cubicBezTo>
                    <a:cubicBezTo>
                      <a:pt x="2276" y="673"/>
                      <a:pt x="2276" y="673"/>
                      <a:pt x="2276" y="673"/>
                    </a:cubicBezTo>
                    <a:cubicBezTo>
                      <a:pt x="2281" y="670"/>
                      <a:pt x="2281" y="670"/>
                      <a:pt x="2281" y="670"/>
                    </a:cubicBezTo>
                    <a:cubicBezTo>
                      <a:pt x="2281" y="667"/>
                      <a:pt x="2281" y="667"/>
                      <a:pt x="2281" y="667"/>
                    </a:cubicBezTo>
                    <a:cubicBezTo>
                      <a:pt x="2286" y="662"/>
                      <a:pt x="2286" y="662"/>
                      <a:pt x="2286" y="662"/>
                    </a:cubicBezTo>
                    <a:cubicBezTo>
                      <a:pt x="2287" y="663"/>
                      <a:pt x="2287" y="663"/>
                      <a:pt x="2287" y="663"/>
                    </a:cubicBezTo>
                    <a:cubicBezTo>
                      <a:pt x="2291" y="660"/>
                      <a:pt x="2291" y="660"/>
                      <a:pt x="2291" y="660"/>
                    </a:cubicBezTo>
                    <a:cubicBezTo>
                      <a:pt x="2293" y="660"/>
                      <a:pt x="2293" y="660"/>
                      <a:pt x="2293" y="660"/>
                    </a:cubicBezTo>
                    <a:cubicBezTo>
                      <a:pt x="2294" y="658"/>
                      <a:pt x="2294" y="658"/>
                      <a:pt x="2294" y="658"/>
                    </a:cubicBezTo>
                    <a:cubicBezTo>
                      <a:pt x="2293" y="656"/>
                      <a:pt x="2293" y="656"/>
                      <a:pt x="2293" y="656"/>
                    </a:cubicBezTo>
                    <a:cubicBezTo>
                      <a:pt x="2289" y="656"/>
                      <a:pt x="2289" y="656"/>
                      <a:pt x="2289" y="656"/>
                    </a:cubicBezTo>
                    <a:cubicBezTo>
                      <a:pt x="2287" y="657"/>
                      <a:pt x="2287" y="657"/>
                      <a:pt x="2287" y="657"/>
                    </a:cubicBezTo>
                    <a:cubicBezTo>
                      <a:pt x="2284" y="655"/>
                      <a:pt x="2284" y="655"/>
                      <a:pt x="2284" y="655"/>
                    </a:cubicBezTo>
                    <a:cubicBezTo>
                      <a:pt x="2284" y="648"/>
                      <a:pt x="2284" y="648"/>
                      <a:pt x="2284" y="648"/>
                    </a:cubicBezTo>
                    <a:cubicBezTo>
                      <a:pt x="2286" y="642"/>
                      <a:pt x="2286" y="642"/>
                      <a:pt x="2286" y="642"/>
                    </a:cubicBezTo>
                    <a:cubicBezTo>
                      <a:pt x="2285" y="640"/>
                      <a:pt x="2285" y="640"/>
                      <a:pt x="2285" y="640"/>
                    </a:cubicBezTo>
                    <a:cubicBezTo>
                      <a:pt x="2283" y="636"/>
                      <a:pt x="2283" y="636"/>
                      <a:pt x="2283" y="636"/>
                    </a:cubicBezTo>
                    <a:cubicBezTo>
                      <a:pt x="2281" y="636"/>
                      <a:pt x="2281" y="636"/>
                      <a:pt x="2281" y="636"/>
                    </a:cubicBezTo>
                    <a:cubicBezTo>
                      <a:pt x="2280" y="638"/>
                      <a:pt x="2280" y="638"/>
                      <a:pt x="2280" y="638"/>
                    </a:cubicBezTo>
                    <a:cubicBezTo>
                      <a:pt x="2279" y="638"/>
                      <a:pt x="2279" y="638"/>
                      <a:pt x="2279" y="638"/>
                    </a:cubicBezTo>
                    <a:cubicBezTo>
                      <a:pt x="2278" y="629"/>
                      <a:pt x="2278" y="629"/>
                      <a:pt x="2278" y="629"/>
                    </a:cubicBezTo>
                    <a:cubicBezTo>
                      <a:pt x="2279" y="627"/>
                      <a:pt x="2279" y="627"/>
                      <a:pt x="2279" y="627"/>
                    </a:cubicBezTo>
                    <a:cubicBezTo>
                      <a:pt x="2279" y="625"/>
                      <a:pt x="2279" y="625"/>
                      <a:pt x="2279" y="625"/>
                    </a:cubicBezTo>
                    <a:cubicBezTo>
                      <a:pt x="2278" y="621"/>
                      <a:pt x="2278" y="621"/>
                      <a:pt x="2278" y="621"/>
                    </a:cubicBezTo>
                    <a:cubicBezTo>
                      <a:pt x="2274" y="619"/>
                      <a:pt x="2274" y="619"/>
                      <a:pt x="2274" y="619"/>
                    </a:cubicBezTo>
                    <a:cubicBezTo>
                      <a:pt x="2275" y="618"/>
                      <a:pt x="2275" y="618"/>
                      <a:pt x="2275" y="618"/>
                    </a:cubicBezTo>
                    <a:cubicBezTo>
                      <a:pt x="2275" y="617"/>
                      <a:pt x="2275" y="617"/>
                      <a:pt x="2275" y="617"/>
                    </a:cubicBezTo>
                    <a:cubicBezTo>
                      <a:pt x="2275" y="615"/>
                      <a:pt x="2275" y="615"/>
                      <a:pt x="2275" y="615"/>
                    </a:cubicBezTo>
                    <a:cubicBezTo>
                      <a:pt x="2270" y="610"/>
                      <a:pt x="2270" y="610"/>
                      <a:pt x="2270" y="610"/>
                    </a:cubicBezTo>
                    <a:cubicBezTo>
                      <a:pt x="2270" y="608"/>
                      <a:pt x="2270" y="608"/>
                      <a:pt x="2270" y="608"/>
                    </a:cubicBezTo>
                    <a:cubicBezTo>
                      <a:pt x="2267" y="606"/>
                      <a:pt x="2267" y="606"/>
                      <a:pt x="2267" y="606"/>
                    </a:cubicBezTo>
                    <a:cubicBezTo>
                      <a:pt x="2267" y="602"/>
                      <a:pt x="2267" y="602"/>
                      <a:pt x="2267" y="602"/>
                    </a:cubicBezTo>
                    <a:cubicBezTo>
                      <a:pt x="2265" y="597"/>
                      <a:pt x="2265" y="597"/>
                      <a:pt x="2265" y="597"/>
                    </a:cubicBezTo>
                    <a:cubicBezTo>
                      <a:pt x="2265" y="594"/>
                      <a:pt x="2265" y="594"/>
                      <a:pt x="2265" y="594"/>
                    </a:cubicBezTo>
                    <a:cubicBezTo>
                      <a:pt x="2270" y="589"/>
                      <a:pt x="2270" y="589"/>
                      <a:pt x="2270" y="589"/>
                    </a:cubicBezTo>
                    <a:cubicBezTo>
                      <a:pt x="2275" y="590"/>
                      <a:pt x="2275" y="590"/>
                      <a:pt x="2275" y="590"/>
                    </a:cubicBezTo>
                    <a:cubicBezTo>
                      <a:pt x="2279" y="589"/>
                      <a:pt x="2279" y="589"/>
                      <a:pt x="2279" y="589"/>
                    </a:cubicBezTo>
                    <a:cubicBezTo>
                      <a:pt x="2276" y="587"/>
                      <a:pt x="2276" y="587"/>
                      <a:pt x="2276" y="587"/>
                    </a:cubicBezTo>
                    <a:cubicBezTo>
                      <a:pt x="2281" y="584"/>
                      <a:pt x="2281" y="584"/>
                      <a:pt x="2281" y="584"/>
                    </a:cubicBezTo>
                    <a:cubicBezTo>
                      <a:pt x="2279" y="585"/>
                      <a:pt x="2279" y="585"/>
                      <a:pt x="2279" y="585"/>
                    </a:cubicBezTo>
                    <a:cubicBezTo>
                      <a:pt x="2275" y="584"/>
                      <a:pt x="2275" y="584"/>
                      <a:pt x="2275" y="584"/>
                    </a:cubicBezTo>
                    <a:cubicBezTo>
                      <a:pt x="2273" y="583"/>
                      <a:pt x="2273" y="583"/>
                      <a:pt x="2273" y="583"/>
                    </a:cubicBezTo>
                    <a:cubicBezTo>
                      <a:pt x="2268" y="584"/>
                      <a:pt x="2268" y="584"/>
                      <a:pt x="2268" y="584"/>
                    </a:cubicBezTo>
                    <a:cubicBezTo>
                      <a:pt x="2262" y="579"/>
                      <a:pt x="2262" y="579"/>
                      <a:pt x="2262" y="579"/>
                    </a:cubicBezTo>
                    <a:cubicBezTo>
                      <a:pt x="2261" y="581"/>
                      <a:pt x="2261" y="581"/>
                      <a:pt x="2261" y="581"/>
                    </a:cubicBezTo>
                    <a:cubicBezTo>
                      <a:pt x="2256" y="580"/>
                      <a:pt x="2256" y="580"/>
                      <a:pt x="2256" y="580"/>
                    </a:cubicBezTo>
                    <a:cubicBezTo>
                      <a:pt x="2252" y="584"/>
                      <a:pt x="2252" y="584"/>
                      <a:pt x="2252" y="584"/>
                    </a:cubicBezTo>
                    <a:cubicBezTo>
                      <a:pt x="2248" y="585"/>
                      <a:pt x="2248" y="585"/>
                      <a:pt x="2248" y="585"/>
                    </a:cubicBezTo>
                    <a:cubicBezTo>
                      <a:pt x="2243" y="589"/>
                      <a:pt x="2243" y="589"/>
                      <a:pt x="2243" y="589"/>
                    </a:cubicBezTo>
                    <a:cubicBezTo>
                      <a:pt x="2245" y="591"/>
                      <a:pt x="2245" y="591"/>
                      <a:pt x="2245" y="591"/>
                    </a:cubicBezTo>
                    <a:cubicBezTo>
                      <a:pt x="2244" y="594"/>
                      <a:pt x="2244" y="594"/>
                      <a:pt x="2244" y="594"/>
                    </a:cubicBezTo>
                    <a:cubicBezTo>
                      <a:pt x="2249" y="597"/>
                      <a:pt x="2249" y="597"/>
                      <a:pt x="2249" y="597"/>
                    </a:cubicBezTo>
                    <a:cubicBezTo>
                      <a:pt x="2249" y="601"/>
                      <a:pt x="2249" y="601"/>
                      <a:pt x="2249" y="601"/>
                    </a:cubicBezTo>
                    <a:cubicBezTo>
                      <a:pt x="2248" y="603"/>
                      <a:pt x="2248" y="603"/>
                      <a:pt x="2248" y="603"/>
                    </a:cubicBezTo>
                    <a:cubicBezTo>
                      <a:pt x="2249" y="608"/>
                      <a:pt x="2249" y="608"/>
                      <a:pt x="2249" y="608"/>
                    </a:cubicBezTo>
                    <a:cubicBezTo>
                      <a:pt x="2253" y="611"/>
                      <a:pt x="2253" y="611"/>
                      <a:pt x="2253" y="611"/>
                    </a:cubicBezTo>
                    <a:cubicBezTo>
                      <a:pt x="2253" y="613"/>
                      <a:pt x="2253" y="613"/>
                      <a:pt x="2253" y="613"/>
                    </a:cubicBezTo>
                    <a:cubicBezTo>
                      <a:pt x="2256" y="614"/>
                      <a:pt x="2256" y="614"/>
                      <a:pt x="2256" y="614"/>
                    </a:cubicBezTo>
                    <a:cubicBezTo>
                      <a:pt x="2258" y="622"/>
                      <a:pt x="2258" y="622"/>
                      <a:pt x="2258" y="622"/>
                    </a:cubicBezTo>
                    <a:cubicBezTo>
                      <a:pt x="2263" y="625"/>
                      <a:pt x="2263" y="625"/>
                      <a:pt x="2263" y="625"/>
                    </a:cubicBezTo>
                    <a:cubicBezTo>
                      <a:pt x="2262" y="628"/>
                      <a:pt x="2262" y="628"/>
                      <a:pt x="2262" y="628"/>
                    </a:cubicBezTo>
                    <a:cubicBezTo>
                      <a:pt x="2265" y="631"/>
                      <a:pt x="2265" y="631"/>
                      <a:pt x="2265" y="631"/>
                    </a:cubicBezTo>
                    <a:cubicBezTo>
                      <a:pt x="2264" y="633"/>
                      <a:pt x="2264" y="633"/>
                      <a:pt x="2264" y="633"/>
                    </a:cubicBezTo>
                    <a:cubicBezTo>
                      <a:pt x="2261" y="631"/>
                      <a:pt x="2261" y="631"/>
                      <a:pt x="2261" y="631"/>
                    </a:cubicBezTo>
                    <a:cubicBezTo>
                      <a:pt x="2259" y="628"/>
                      <a:pt x="2259" y="628"/>
                      <a:pt x="2259" y="628"/>
                    </a:cubicBezTo>
                    <a:cubicBezTo>
                      <a:pt x="2254" y="629"/>
                      <a:pt x="2254" y="629"/>
                      <a:pt x="2254" y="629"/>
                    </a:cubicBezTo>
                    <a:cubicBezTo>
                      <a:pt x="2251" y="631"/>
                      <a:pt x="2251" y="631"/>
                      <a:pt x="2251" y="631"/>
                    </a:cubicBezTo>
                    <a:cubicBezTo>
                      <a:pt x="2249" y="637"/>
                      <a:pt x="2249" y="637"/>
                      <a:pt x="2249" y="637"/>
                    </a:cubicBezTo>
                    <a:cubicBezTo>
                      <a:pt x="2251" y="639"/>
                      <a:pt x="2251" y="639"/>
                      <a:pt x="2251" y="639"/>
                    </a:cubicBezTo>
                    <a:cubicBezTo>
                      <a:pt x="2250" y="645"/>
                      <a:pt x="2250" y="645"/>
                      <a:pt x="2250" y="645"/>
                    </a:cubicBezTo>
                    <a:cubicBezTo>
                      <a:pt x="2249" y="646"/>
                      <a:pt x="2249" y="646"/>
                      <a:pt x="2249" y="646"/>
                    </a:cubicBezTo>
                    <a:cubicBezTo>
                      <a:pt x="2249" y="647"/>
                      <a:pt x="2249" y="647"/>
                      <a:pt x="2249" y="647"/>
                    </a:cubicBezTo>
                    <a:cubicBezTo>
                      <a:pt x="2250" y="648"/>
                      <a:pt x="2250" y="648"/>
                      <a:pt x="2250" y="648"/>
                    </a:cubicBezTo>
                    <a:cubicBezTo>
                      <a:pt x="2250" y="651"/>
                      <a:pt x="2250" y="651"/>
                      <a:pt x="2250" y="651"/>
                    </a:cubicBezTo>
                    <a:cubicBezTo>
                      <a:pt x="2247" y="654"/>
                      <a:pt x="2247" y="654"/>
                      <a:pt x="2247" y="654"/>
                    </a:cubicBezTo>
                    <a:cubicBezTo>
                      <a:pt x="2249" y="656"/>
                      <a:pt x="2249" y="656"/>
                      <a:pt x="2249" y="656"/>
                    </a:cubicBezTo>
                    <a:cubicBezTo>
                      <a:pt x="2247" y="659"/>
                      <a:pt x="2247" y="659"/>
                      <a:pt x="2247" y="659"/>
                    </a:cubicBezTo>
                    <a:cubicBezTo>
                      <a:pt x="2247" y="668"/>
                      <a:pt x="2247" y="668"/>
                      <a:pt x="2247" y="668"/>
                    </a:cubicBezTo>
                    <a:cubicBezTo>
                      <a:pt x="2245" y="670"/>
                      <a:pt x="2245" y="670"/>
                      <a:pt x="2245" y="670"/>
                    </a:cubicBezTo>
                    <a:cubicBezTo>
                      <a:pt x="2245" y="673"/>
                      <a:pt x="2245" y="673"/>
                      <a:pt x="2245" y="673"/>
                    </a:cubicBezTo>
                    <a:cubicBezTo>
                      <a:pt x="2242" y="674"/>
                      <a:pt x="2242" y="674"/>
                      <a:pt x="2242" y="674"/>
                    </a:cubicBezTo>
                    <a:cubicBezTo>
                      <a:pt x="2240" y="680"/>
                      <a:pt x="2240" y="680"/>
                      <a:pt x="2240" y="680"/>
                    </a:cubicBezTo>
                    <a:cubicBezTo>
                      <a:pt x="2239" y="676"/>
                      <a:pt x="2239" y="676"/>
                      <a:pt x="2239" y="676"/>
                    </a:cubicBezTo>
                    <a:cubicBezTo>
                      <a:pt x="2235" y="673"/>
                      <a:pt x="2235" y="673"/>
                      <a:pt x="2235" y="673"/>
                    </a:cubicBezTo>
                    <a:cubicBezTo>
                      <a:pt x="2239" y="667"/>
                      <a:pt x="2239" y="667"/>
                      <a:pt x="2239" y="667"/>
                    </a:cubicBezTo>
                    <a:cubicBezTo>
                      <a:pt x="2237" y="665"/>
                      <a:pt x="2237" y="665"/>
                      <a:pt x="2237" y="665"/>
                    </a:cubicBezTo>
                    <a:cubicBezTo>
                      <a:pt x="2234" y="665"/>
                      <a:pt x="2234" y="665"/>
                      <a:pt x="2234" y="665"/>
                    </a:cubicBezTo>
                    <a:cubicBezTo>
                      <a:pt x="2231" y="668"/>
                      <a:pt x="2231" y="668"/>
                      <a:pt x="2231" y="668"/>
                    </a:cubicBezTo>
                    <a:cubicBezTo>
                      <a:pt x="2231" y="671"/>
                      <a:pt x="2231" y="671"/>
                      <a:pt x="2231" y="671"/>
                    </a:cubicBezTo>
                    <a:cubicBezTo>
                      <a:pt x="2229" y="672"/>
                      <a:pt x="2229" y="672"/>
                      <a:pt x="2229" y="672"/>
                    </a:cubicBezTo>
                    <a:cubicBezTo>
                      <a:pt x="2228" y="666"/>
                      <a:pt x="2228" y="666"/>
                      <a:pt x="2228" y="666"/>
                    </a:cubicBezTo>
                    <a:cubicBezTo>
                      <a:pt x="2224" y="665"/>
                      <a:pt x="2224" y="665"/>
                      <a:pt x="2224" y="665"/>
                    </a:cubicBezTo>
                    <a:cubicBezTo>
                      <a:pt x="2223" y="662"/>
                      <a:pt x="2223" y="662"/>
                      <a:pt x="2223" y="662"/>
                    </a:cubicBezTo>
                    <a:cubicBezTo>
                      <a:pt x="2220" y="665"/>
                      <a:pt x="2220" y="665"/>
                      <a:pt x="2220" y="665"/>
                    </a:cubicBezTo>
                    <a:cubicBezTo>
                      <a:pt x="2218" y="663"/>
                      <a:pt x="2218" y="663"/>
                      <a:pt x="2218" y="663"/>
                    </a:cubicBezTo>
                    <a:cubicBezTo>
                      <a:pt x="2220" y="662"/>
                      <a:pt x="2220" y="662"/>
                      <a:pt x="2220" y="662"/>
                    </a:cubicBezTo>
                    <a:cubicBezTo>
                      <a:pt x="2221" y="660"/>
                      <a:pt x="2221" y="660"/>
                      <a:pt x="2221" y="660"/>
                    </a:cubicBezTo>
                    <a:cubicBezTo>
                      <a:pt x="2220" y="658"/>
                      <a:pt x="2220" y="658"/>
                      <a:pt x="2220" y="658"/>
                    </a:cubicBezTo>
                    <a:cubicBezTo>
                      <a:pt x="2220" y="655"/>
                      <a:pt x="2220" y="655"/>
                      <a:pt x="2220" y="655"/>
                    </a:cubicBezTo>
                    <a:cubicBezTo>
                      <a:pt x="2221" y="655"/>
                      <a:pt x="2221" y="655"/>
                      <a:pt x="2221" y="655"/>
                    </a:cubicBezTo>
                    <a:cubicBezTo>
                      <a:pt x="2220" y="651"/>
                      <a:pt x="2220" y="651"/>
                      <a:pt x="2220" y="651"/>
                    </a:cubicBezTo>
                    <a:cubicBezTo>
                      <a:pt x="2218" y="650"/>
                      <a:pt x="2218" y="650"/>
                      <a:pt x="2218" y="650"/>
                    </a:cubicBezTo>
                    <a:cubicBezTo>
                      <a:pt x="2221" y="647"/>
                      <a:pt x="2221" y="647"/>
                      <a:pt x="2221" y="647"/>
                    </a:cubicBezTo>
                    <a:cubicBezTo>
                      <a:pt x="2220" y="644"/>
                      <a:pt x="2220" y="644"/>
                      <a:pt x="2220" y="644"/>
                    </a:cubicBezTo>
                    <a:cubicBezTo>
                      <a:pt x="2218" y="642"/>
                      <a:pt x="2218" y="642"/>
                      <a:pt x="2218" y="642"/>
                    </a:cubicBezTo>
                    <a:cubicBezTo>
                      <a:pt x="2219" y="640"/>
                      <a:pt x="2219" y="640"/>
                      <a:pt x="2219" y="640"/>
                    </a:cubicBezTo>
                    <a:cubicBezTo>
                      <a:pt x="2219" y="636"/>
                      <a:pt x="2219" y="636"/>
                      <a:pt x="2219" y="636"/>
                    </a:cubicBezTo>
                    <a:cubicBezTo>
                      <a:pt x="2215" y="633"/>
                      <a:pt x="2215" y="633"/>
                      <a:pt x="2215" y="633"/>
                    </a:cubicBezTo>
                    <a:cubicBezTo>
                      <a:pt x="2214" y="630"/>
                      <a:pt x="2214" y="630"/>
                      <a:pt x="2214" y="630"/>
                    </a:cubicBezTo>
                    <a:cubicBezTo>
                      <a:pt x="2212" y="630"/>
                      <a:pt x="2212" y="630"/>
                      <a:pt x="2212" y="630"/>
                    </a:cubicBezTo>
                    <a:cubicBezTo>
                      <a:pt x="2211" y="635"/>
                      <a:pt x="2211" y="635"/>
                      <a:pt x="2211" y="635"/>
                    </a:cubicBezTo>
                    <a:cubicBezTo>
                      <a:pt x="2209" y="636"/>
                      <a:pt x="2209" y="636"/>
                      <a:pt x="2209" y="636"/>
                    </a:cubicBezTo>
                    <a:cubicBezTo>
                      <a:pt x="2209" y="640"/>
                      <a:pt x="2209" y="640"/>
                      <a:pt x="2209" y="640"/>
                    </a:cubicBezTo>
                    <a:cubicBezTo>
                      <a:pt x="2206" y="644"/>
                      <a:pt x="2206" y="644"/>
                      <a:pt x="2206" y="644"/>
                    </a:cubicBezTo>
                    <a:cubicBezTo>
                      <a:pt x="2204" y="644"/>
                      <a:pt x="2204" y="644"/>
                      <a:pt x="2204" y="644"/>
                    </a:cubicBezTo>
                    <a:cubicBezTo>
                      <a:pt x="2202" y="640"/>
                      <a:pt x="2202" y="640"/>
                      <a:pt x="2202" y="640"/>
                    </a:cubicBezTo>
                    <a:cubicBezTo>
                      <a:pt x="2201" y="639"/>
                      <a:pt x="2201" y="639"/>
                      <a:pt x="2201" y="639"/>
                    </a:cubicBezTo>
                    <a:cubicBezTo>
                      <a:pt x="2199" y="640"/>
                      <a:pt x="2199" y="640"/>
                      <a:pt x="2199" y="640"/>
                    </a:cubicBezTo>
                    <a:cubicBezTo>
                      <a:pt x="2198" y="637"/>
                      <a:pt x="2198" y="637"/>
                      <a:pt x="2198" y="637"/>
                    </a:cubicBezTo>
                    <a:cubicBezTo>
                      <a:pt x="2194" y="637"/>
                      <a:pt x="2194" y="637"/>
                      <a:pt x="2194" y="637"/>
                    </a:cubicBezTo>
                    <a:cubicBezTo>
                      <a:pt x="2192" y="638"/>
                      <a:pt x="2192" y="638"/>
                      <a:pt x="2192" y="638"/>
                    </a:cubicBezTo>
                    <a:cubicBezTo>
                      <a:pt x="2191" y="638"/>
                      <a:pt x="2191" y="638"/>
                      <a:pt x="2191" y="638"/>
                    </a:cubicBezTo>
                    <a:cubicBezTo>
                      <a:pt x="2190" y="642"/>
                      <a:pt x="2190" y="642"/>
                      <a:pt x="2190" y="642"/>
                    </a:cubicBezTo>
                    <a:cubicBezTo>
                      <a:pt x="2187" y="642"/>
                      <a:pt x="2187" y="642"/>
                      <a:pt x="2187" y="642"/>
                    </a:cubicBezTo>
                    <a:cubicBezTo>
                      <a:pt x="2187" y="644"/>
                      <a:pt x="2187" y="644"/>
                      <a:pt x="2187" y="644"/>
                    </a:cubicBezTo>
                    <a:cubicBezTo>
                      <a:pt x="2179" y="645"/>
                      <a:pt x="2179" y="645"/>
                      <a:pt x="2179" y="645"/>
                    </a:cubicBezTo>
                    <a:cubicBezTo>
                      <a:pt x="2177" y="647"/>
                      <a:pt x="2177" y="647"/>
                      <a:pt x="2177" y="647"/>
                    </a:cubicBezTo>
                    <a:cubicBezTo>
                      <a:pt x="2175" y="646"/>
                      <a:pt x="2175" y="646"/>
                      <a:pt x="2175" y="646"/>
                    </a:cubicBezTo>
                    <a:cubicBezTo>
                      <a:pt x="2173" y="648"/>
                      <a:pt x="2173" y="648"/>
                      <a:pt x="2173" y="648"/>
                    </a:cubicBezTo>
                    <a:cubicBezTo>
                      <a:pt x="2168" y="647"/>
                      <a:pt x="2168" y="647"/>
                      <a:pt x="2168" y="647"/>
                    </a:cubicBezTo>
                    <a:cubicBezTo>
                      <a:pt x="2164" y="654"/>
                      <a:pt x="2164" y="654"/>
                      <a:pt x="2164" y="654"/>
                    </a:cubicBezTo>
                    <a:cubicBezTo>
                      <a:pt x="2161" y="655"/>
                      <a:pt x="2161" y="655"/>
                      <a:pt x="2161" y="655"/>
                    </a:cubicBezTo>
                    <a:cubicBezTo>
                      <a:pt x="2162" y="660"/>
                      <a:pt x="2162" y="660"/>
                      <a:pt x="2162" y="660"/>
                    </a:cubicBezTo>
                    <a:cubicBezTo>
                      <a:pt x="2158" y="663"/>
                      <a:pt x="2158" y="663"/>
                      <a:pt x="2158" y="663"/>
                    </a:cubicBezTo>
                    <a:cubicBezTo>
                      <a:pt x="2158" y="665"/>
                      <a:pt x="2158" y="665"/>
                      <a:pt x="2158" y="665"/>
                    </a:cubicBezTo>
                    <a:cubicBezTo>
                      <a:pt x="2161" y="667"/>
                      <a:pt x="2161" y="667"/>
                      <a:pt x="2161" y="667"/>
                    </a:cubicBezTo>
                    <a:cubicBezTo>
                      <a:pt x="2161" y="671"/>
                      <a:pt x="2161" y="671"/>
                      <a:pt x="2161" y="671"/>
                    </a:cubicBezTo>
                    <a:cubicBezTo>
                      <a:pt x="2165" y="677"/>
                      <a:pt x="2165" y="677"/>
                      <a:pt x="2165" y="677"/>
                    </a:cubicBezTo>
                    <a:cubicBezTo>
                      <a:pt x="2162" y="679"/>
                      <a:pt x="2162" y="679"/>
                      <a:pt x="2162" y="679"/>
                    </a:cubicBezTo>
                    <a:cubicBezTo>
                      <a:pt x="2160" y="692"/>
                      <a:pt x="2160" y="692"/>
                      <a:pt x="2160" y="692"/>
                    </a:cubicBezTo>
                    <a:cubicBezTo>
                      <a:pt x="2165" y="697"/>
                      <a:pt x="2165" y="697"/>
                      <a:pt x="2165" y="697"/>
                    </a:cubicBezTo>
                    <a:cubicBezTo>
                      <a:pt x="2161" y="699"/>
                      <a:pt x="2161" y="699"/>
                      <a:pt x="2161" y="699"/>
                    </a:cubicBezTo>
                    <a:cubicBezTo>
                      <a:pt x="2162" y="699"/>
                      <a:pt x="2162" y="699"/>
                      <a:pt x="2162" y="699"/>
                    </a:cubicBezTo>
                    <a:cubicBezTo>
                      <a:pt x="2162" y="704"/>
                      <a:pt x="2162" y="704"/>
                      <a:pt x="2162" y="704"/>
                    </a:cubicBezTo>
                    <a:cubicBezTo>
                      <a:pt x="2159" y="707"/>
                      <a:pt x="2159" y="707"/>
                      <a:pt x="2159" y="707"/>
                    </a:cubicBezTo>
                    <a:cubicBezTo>
                      <a:pt x="2158" y="713"/>
                      <a:pt x="2158" y="713"/>
                      <a:pt x="2158" y="713"/>
                    </a:cubicBezTo>
                    <a:cubicBezTo>
                      <a:pt x="2155" y="716"/>
                      <a:pt x="2155" y="716"/>
                      <a:pt x="2155" y="716"/>
                    </a:cubicBezTo>
                    <a:cubicBezTo>
                      <a:pt x="2155" y="721"/>
                      <a:pt x="2155" y="721"/>
                      <a:pt x="2155" y="721"/>
                    </a:cubicBezTo>
                    <a:cubicBezTo>
                      <a:pt x="2154" y="727"/>
                      <a:pt x="2154" y="727"/>
                      <a:pt x="2154" y="727"/>
                    </a:cubicBezTo>
                    <a:cubicBezTo>
                      <a:pt x="2157" y="732"/>
                      <a:pt x="2157" y="732"/>
                      <a:pt x="2157" y="732"/>
                    </a:cubicBezTo>
                    <a:cubicBezTo>
                      <a:pt x="2154" y="734"/>
                      <a:pt x="2154" y="734"/>
                      <a:pt x="2154" y="734"/>
                    </a:cubicBezTo>
                    <a:cubicBezTo>
                      <a:pt x="2159" y="741"/>
                      <a:pt x="2159" y="741"/>
                      <a:pt x="2159" y="741"/>
                    </a:cubicBezTo>
                    <a:cubicBezTo>
                      <a:pt x="2157" y="742"/>
                      <a:pt x="2157" y="742"/>
                      <a:pt x="2157" y="742"/>
                    </a:cubicBezTo>
                    <a:cubicBezTo>
                      <a:pt x="2156" y="745"/>
                      <a:pt x="2156" y="745"/>
                      <a:pt x="2156" y="745"/>
                    </a:cubicBezTo>
                    <a:cubicBezTo>
                      <a:pt x="2159" y="747"/>
                      <a:pt x="2159" y="747"/>
                      <a:pt x="2159" y="747"/>
                    </a:cubicBezTo>
                    <a:cubicBezTo>
                      <a:pt x="2161" y="745"/>
                      <a:pt x="2161" y="745"/>
                      <a:pt x="2161" y="745"/>
                    </a:cubicBezTo>
                    <a:cubicBezTo>
                      <a:pt x="2165" y="745"/>
                      <a:pt x="2165" y="745"/>
                      <a:pt x="2165" y="745"/>
                    </a:cubicBezTo>
                    <a:cubicBezTo>
                      <a:pt x="2164" y="743"/>
                      <a:pt x="2164" y="743"/>
                      <a:pt x="2164" y="743"/>
                    </a:cubicBezTo>
                    <a:cubicBezTo>
                      <a:pt x="2165" y="743"/>
                      <a:pt x="2165" y="743"/>
                      <a:pt x="2165" y="743"/>
                    </a:cubicBezTo>
                    <a:cubicBezTo>
                      <a:pt x="2169" y="745"/>
                      <a:pt x="2169" y="745"/>
                      <a:pt x="2169" y="745"/>
                    </a:cubicBezTo>
                    <a:cubicBezTo>
                      <a:pt x="2171" y="745"/>
                      <a:pt x="2171" y="745"/>
                      <a:pt x="2171" y="745"/>
                    </a:cubicBezTo>
                    <a:cubicBezTo>
                      <a:pt x="2170" y="743"/>
                      <a:pt x="2170" y="743"/>
                      <a:pt x="2170" y="743"/>
                    </a:cubicBezTo>
                    <a:cubicBezTo>
                      <a:pt x="2171" y="742"/>
                      <a:pt x="2171" y="742"/>
                      <a:pt x="2171" y="742"/>
                    </a:cubicBezTo>
                    <a:cubicBezTo>
                      <a:pt x="2173" y="744"/>
                      <a:pt x="2173" y="744"/>
                      <a:pt x="2173" y="744"/>
                    </a:cubicBezTo>
                    <a:cubicBezTo>
                      <a:pt x="2177" y="745"/>
                      <a:pt x="2177" y="745"/>
                      <a:pt x="2177" y="745"/>
                    </a:cubicBezTo>
                    <a:cubicBezTo>
                      <a:pt x="2177" y="747"/>
                      <a:pt x="2177" y="747"/>
                      <a:pt x="2177" y="747"/>
                    </a:cubicBezTo>
                    <a:cubicBezTo>
                      <a:pt x="2177" y="749"/>
                      <a:pt x="2177" y="749"/>
                      <a:pt x="2177" y="749"/>
                    </a:cubicBezTo>
                    <a:cubicBezTo>
                      <a:pt x="2180" y="752"/>
                      <a:pt x="2180" y="752"/>
                      <a:pt x="2180" y="752"/>
                    </a:cubicBezTo>
                    <a:cubicBezTo>
                      <a:pt x="2179" y="754"/>
                      <a:pt x="2179" y="754"/>
                      <a:pt x="2179" y="754"/>
                    </a:cubicBezTo>
                    <a:cubicBezTo>
                      <a:pt x="2177" y="753"/>
                      <a:pt x="2177" y="753"/>
                      <a:pt x="2177" y="753"/>
                    </a:cubicBezTo>
                    <a:cubicBezTo>
                      <a:pt x="2174" y="755"/>
                      <a:pt x="2174" y="755"/>
                      <a:pt x="2174" y="755"/>
                    </a:cubicBezTo>
                    <a:cubicBezTo>
                      <a:pt x="2172" y="754"/>
                      <a:pt x="2172" y="754"/>
                      <a:pt x="2172" y="754"/>
                    </a:cubicBezTo>
                    <a:cubicBezTo>
                      <a:pt x="2169" y="756"/>
                      <a:pt x="2169" y="756"/>
                      <a:pt x="2169" y="756"/>
                    </a:cubicBezTo>
                    <a:cubicBezTo>
                      <a:pt x="2168" y="757"/>
                      <a:pt x="2168" y="757"/>
                      <a:pt x="2168" y="757"/>
                    </a:cubicBezTo>
                    <a:cubicBezTo>
                      <a:pt x="2171" y="759"/>
                      <a:pt x="2171" y="759"/>
                      <a:pt x="2171" y="759"/>
                    </a:cubicBezTo>
                    <a:cubicBezTo>
                      <a:pt x="2165" y="764"/>
                      <a:pt x="2165" y="764"/>
                      <a:pt x="2165" y="764"/>
                    </a:cubicBezTo>
                    <a:cubicBezTo>
                      <a:pt x="2163" y="762"/>
                      <a:pt x="2163" y="762"/>
                      <a:pt x="2163" y="762"/>
                    </a:cubicBezTo>
                    <a:cubicBezTo>
                      <a:pt x="2162" y="760"/>
                      <a:pt x="2162" y="760"/>
                      <a:pt x="2162" y="760"/>
                    </a:cubicBezTo>
                    <a:cubicBezTo>
                      <a:pt x="2160" y="758"/>
                      <a:pt x="2160" y="758"/>
                      <a:pt x="2160" y="758"/>
                    </a:cubicBezTo>
                    <a:cubicBezTo>
                      <a:pt x="2158" y="759"/>
                      <a:pt x="2158" y="759"/>
                      <a:pt x="2158" y="759"/>
                    </a:cubicBezTo>
                    <a:cubicBezTo>
                      <a:pt x="2155" y="758"/>
                      <a:pt x="2155" y="758"/>
                      <a:pt x="2155" y="758"/>
                    </a:cubicBezTo>
                    <a:cubicBezTo>
                      <a:pt x="2153" y="759"/>
                      <a:pt x="2153" y="759"/>
                      <a:pt x="2153" y="759"/>
                    </a:cubicBezTo>
                    <a:cubicBezTo>
                      <a:pt x="2153" y="761"/>
                      <a:pt x="2153" y="761"/>
                      <a:pt x="2153" y="761"/>
                    </a:cubicBezTo>
                    <a:cubicBezTo>
                      <a:pt x="2153" y="764"/>
                      <a:pt x="2153" y="764"/>
                      <a:pt x="2153" y="764"/>
                    </a:cubicBezTo>
                    <a:cubicBezTo>
                      <a:pt x="2152" y="764"/>
                      <a:pt x="2152" y="764"/>
                      <a:pt x="2152" y="764"/>
                    </a:cubicBezTo>
                    <a:cubicBezTo>
                      <a:pt x="2150" y="767"/>
                      <a:pt x="2150" y="767"/>
                      <a:pt x="2150" y="767"/>
                    </a:cubicBezTo>
                    <a:cubicBezTo>
                      <a:pt x="2148" y="769"/>
                      <a:pt x="2148" y="769"/>
                      <a:pt x="2148" y="769"/>
                    </a:cubicBezTo>
                    <a:cubicBezTo>
                      <a:pt x="2149" y="770"/>
                      <a:pt x="2149" y="770"/>
                      <a:pt x="2149" y="770"/>
                    </a:cubicBezTo>
                    <a:cubicBezTo>
                      <a:pt x="2148" y="773"/>
                      <a:pt x="2148" y="773"/>
                      <a:pt x="2148" y="773"/>
                    </a:cubicBezTo>
                    <a:cubicBezTo>
                      <a:pt x="2145" y="772"/>
                      <a:pt x="2145" y="772"/>
                      <a:pt x="2145" y="772"/>
                    </a:cubicBezTo>
                    <a:cubicBezTo>
                      <a:pt x="2140" y="767"/>
                      <a:pt x="2140" y="767"/>
                      <a:pt x="2140" y="767"/>
                    </a:cubicBezTo>
                    <a:cubicBezTo>
                      <a:pt x="2138" y="767"/>
                      <a:pt x="2138" y="767"/>
                      <a:pt x="2138" y="767"/>
                    </a:cubicBezTo>
                    <a:cubicBezTo>
                      <a:pt x="2141" y="771"/>
                      <a:pt x="2141" y="771"/>
                      <a:pt x="2141" y="771"/>
                    </a:cubicBezTo>
                    <a:cubicBezTo>
                      <a:pt x="2137" y="773"/>
                      <a:pt x="2137" y="773"/>
                      <a:pt x="2137" y="773"/>
                    </a:cubicBezTo>
                    <a:cubicBezTo>
                      <a:pt x="2138" y="775"/>
                      <a:pt x="2138" y="775"/>
                      <a:pt x="2138" y="775"/>
                    </a:cubicBezTo>
                    <a:cubicBezTo>
                      <a:pt x="2135" y="778"/>
                      <a:pt x="2135" y="778"/>
                      <a:pt x="2135" y="778"/>
                    </a:cubicBezTo>
                    <a:cubicBezTo>
                      <a:pt x="2129" y="779"/>
                      <a:pt x="2129" y="779"/>
                      <a:pt x="2129" y="779"/>
                    </a:cubicBezTo>
                    <a:cubicBezTo>
                      <a:pt x="2128" y="781"/>
                      <a:pt x="2128" y="781"/>
                      <a:pt x="2128" y="781"/>
                    </a:cubicBezTo>
                    <a:cubicBezTo>
                      <a:pt x="2123" y="775"/>
                      <a:pt x="2123" y="775"/>
                      <a:pt x="2123" y="775"/>
                    </a:cubicBezTo>
                    <a:cubicBezTo>
                      <a:pt x="2120" y="775"/>
                      <a:pt x="2120" y="775"/>
                      <a:pt x="2120" y="775"/>
                    </a:cubicBezTo>
                    <a:cubicBezTo>
                      <a:pt x="2118" y="774"/>
                      <a:pt x="2118" y="774"/>
                      <a:pt x="2118" y="774"/>
                    </a:cubicBezTo>
                    <a:cubicBezTo>
                      <a:pt x="2119" y="772"/>
                      <a:pt x="2119" y="772"/>
                      <a:pt x="2119" y="772"/>
                    </a:cubicBezTo>
                    <a:cubicBezTo>
                      <a:pt x="2122" y="772"/>
                      <a:pt x="2122" y="772"/>
                      <a:pt x="2122" y="772"/>
                    </a:cubicBezTo>
                    <a:cubicBezTo>
                      <a:pt x="2122" y="768"/>
                      <a:pt x="2122" y="768"/>
                      <a:pt x="2122" y="768"/>
                    </a:cubicBezTo>
                    <a:cubicBezTo>
                      <a:pt x="2123" y="766"/>
                      <a:pt x="2123" y="766"/>
                      <a:pt x="2123" y="766"/>
                    </a:cubicBezTo>
                    <a:cubicBezTo>
                      <a:pt x="2129" y="766"/>
                      <a:pt x="2129" y="766"/>
                      <a:pt x="2129" y="766"/>
                    </a:cubicBezTo>
                    <a:cubicBezTo>
                      <a:pt x="2136" y="761"/>
                      <a:pt x="2136" y="761"/>
                      <a:pt x="2136" y="761"/>
                    </a:cubicBezTo>
                    <a:cubicBezTo>
                      <a:pt x="2135" y="759"/>
                      <a:pt x="2135" y="759"/>
                      <a:pt x="2135" y="759"/>
                    </a:cubicBezTo>
                    <a:cubicBezTo>
                      <a:pt x="2132" y="758"/>
                      <a:pt x="2132" y="758"/>
                      <a:pt x="2132" y="758"/>
                    </a:cubicBezTo>
                    <a:cubicBezTo>
                      <a:pt x="2129" y="761"/>
                      <a:pt x="2129" y="761"/>
                      <a:pt x="2129" y="761"/>
                    </a:cubicBezTo>
                    <a:cubicBezTo>
                      <a:pt x="2124" y="761"/>
                      <a:pt x="2124" y="761"/>
                      <a:pt x="2124" y="761"/>
                    </a:cubicBezTo>
                    <a:cubicBezTo>
                      <a:pt x="2123" y="759"/>
                      <a:pt x="2123" y="759"/>
                      <a:pt x="2123" y="759"/>
                    </a:cubicBezTo>
                    <a:cubicBezTo>
                      <a:pt x="2120" y="756"/>
                      <a:pt x="2120" y="756"/>
                      <a:pt x="2120" y="756"/>
                    </a:cubicBezTo>
                    <a:cubicBezTo>
                      <a:pt x="2116" y="756"/>
                      <a:pt x="2116" y="756"/>
                      <a:pt x="2116" y="756"/>
                    </a:cubicBezTo>
                    <a:cubicBezTo>
                      <a:pt x="2111" y="755"/>
                      <a:pt x="2111" y="755"/>
                      <a:pt x="2111" y="755"/>
                    </a:cubicBezTo>
                    <a:cubicBezTo>
                      <a:pt x="2105" y="755"/>
                      <a:pt x="2105" y="755"/>
                      <a:pt x="2105" y="755"/>
                    </a:cubicBezTo>
                    <a:cubicBezTo>
                      <a:pt x="2107" y="758"/>
                      <a:pt x="2107" y="758"/>
                      <a:pt x="2107" y="758"/>
                    </a:cubicBezTo>
                    <a:cubicBezTo>
                      <a:pt x="2104" y="759"/>
                      <a:pt x="2104" y="759"/>
                      <a:pt x="2104" y="759"/>
                    </a:cubicBezTo>
                    <a:cubicBezTo>
                      <a:pt x="2102" y="757"/>
                      <a:pt x="2102" y="757"/>
                      <a:pt x="2102" y="757"/>
                    </a:cubicBezTo>
                    <a:cubicBezTo>
                      <a:pt x="2102" y="755"/>
                      <a:pt x="2102" y="755"/>
                      <a:pt x="2102" y="755"/>
                    </a:cubicBezTo>
                    <a:cubicBezTo>
                      <a:pt x="2097" y="755"/>
                      <a:pt x="2097" y="755"/>
                      <a:pt x="2097" y="755"/>
                    </a:cubicBezTo>
                    <a:cubicBezTo>
                      <a:pt x="2090" y="754"/>
                      <a:pt x="2090" y="754"/>
                      <a:pt x="2090" y="754"/>
                    </a:cubicBezTo>
                    <a:cubicBezTo>
                      <a:pt x="2087" y="755"/>
                      <a:pt x="2087" y="755"/>
                      <a:pt x="2087" y="755"/>
                    </a:cubicBezTo>
                    <a:cubicBezTo>
                      <a:pt x="2084" y="753"/>
                      <a:pt x="2084" y="753"/>
                      <a:pt x="2084" y="753"/>
                    </a:cubicBezTo>
                    <a:cubicBezTo>
                      <a:pt x="2079" y="753"/>
                      <a:pt x="2079" y="753"/>
                      <a:pt x="2079" y="753"/>
                    </a:cubicBezTo>
                    <a:cubicBezTo>
                      <a:pt x="2074" y="759"/>
                      <a:pt x="2074" y="759"/>
                      <a:pt x="2074" y="759"/>
                    </a:cubicBezTo>
                    <a:cubicBezTo>
                      <a:pt x="2071" y="759"/>
                      <a:pt x="2071" y="759"/>
                      <a:pt x="2071" y="759"/>
                    </a:cubicBezTo>
                    <a:cubicBezTo>
                      <a:pt x="2071" y="761"/>
                      <a:pt x="2071" y="761"/>
                      <a:pt x="2071" y="761"/>
                    </a:cubicBezTo>
                    <a:cubicBezTo>
                      <a:pt x="2076" y="764"/>
                      <a:pt x="2076" y="764"/>
                      <a:pt x="2076" y="764"/>
                    </a:cubicBezTo>
                    <a:cubicBezTo>
                      <a:pt x="2071" y="767"/>
                      <a:pt x="2071" y="767"/>
                      <a:pt x="2071" y="767"/>
                    </a:cubicBezTo>
                    <a:cubicBezTo>
                      <a:pt x="2070" y="764"/>
                      <a:pt x="2070" y="764"/>
                      <a:pt x="2070" y="764"/>
                    </a:cubicBezTo>
                    <a:cubicBezTo>
                      <a:pt x="2067" y="768"/>
                      <a:pt x="2067" y="768"/>
                      <a:pt x="2067" y="768"/>
                    </a:cubicBezTo>
                    <a:cubicBezTo>
                      <a:pt x="2071" y="771"/>
                      <a:pt x="2071" y="771"/>
                      <a:pt x="2071" y="771"/>
                    </a:cubicBezTo>
                    <a:cubicBezTo>
                      <a:pt x="2073" y="769"/>
                      <a:pt x="2073" y="769"/>
                      <a:pt x="2073" y="769"/>
                    </a:cubicBezTo>
                    <a:cubicBezTo>
                      <a:pt x="2075" y="771"/>
                      <a:pt x="2075" y="771"/>
                      <a:pt x="2075" y="771"/>
                    </a:cubicBezTo>
                    <a:cubicBezTo>
                      <a:pt x="2075" y="773"/>
                      <a:pt x="2075" y="773"/>
                      <a:pt x="2075" y="773"/>
                    </a:cubicBezTo>
                    <a:cubicBezTo>
                      <a:pt x="2068" y="776"/>
                      <a:pt x="2068" y="776"/>
                      <a:pt x="2068" y="776"/>
                    </a:cubicBezTo>
                    <a:cubicBezTo>
                      <a:pt x="2065" y="773"/>
                      <a:pt x="2065" y="773"/>
                      <a:pt x="2065" y="773"/>
                    </a:cubicBezTo>
                    <a:cubicBezTo>
                      <a:pt x="2059" y="773"/>
                      <a:pt x="2059" y="773"/>
                      <a:pt x="2059" y="773"/>
                    </a:cubicBezTo>
                    <a:cubicBezTo>
                      <a:pt x="2057" y="775"/>
                      <a:pt x="2057" y="775"/>
                      <a:pt x="2057" y="775"/>
                    </a:cubicBezTo>
                    <a:cubicBezTo>
                      <a:pt x="2058" y="778"/>
                      <a:pt x="2058" y="778"/>
                      <a:pt x="2058" y="778"/>
                    </a:cubicBezTo>
                    <a:cubicBezTo>
                      <a:pt x="2055" y="777"/>
                      <a:pt x="2055" y="777"/>
                      <a:pt x="2055" y="777"/>
                    </a:cubicBezTo>
                    <a:cubicBezTo>
                      <a:pt x="2053" y="779"/>
                      <a:pt x="2053" y="779"/>
                      <a:pt x="2053" y="779"/>
                    </a:cubicBezTo>
                    <a:cubicBezTo>
                      <a:pt x="2051" y="779"/>
                      <a:pt x="2051" y="779"/>
                      <a:pt x="2051" y="779"/>
                    </a:cubicBezTo>
                    <a:cubicBezTo>
                      <a:pt x="2049" y="777"/>
                      <a:pt x="2049" y="777"/>
                      <a:pt x="2049" y="777"/>
                    </a:cubicBezTo>
                    <a:cubicBezTo>
                      <a:pt x="2042" y="776"/>
                      <a:pt x="2042" y="776"/>
                      <a:pt x="2042" y="776"/>
                    </a:cubicBezTo>
                    <a:cubicBezTo>
                      <a:pt x="2038" y="778"/>
                      <a:pt x="2038" y="778"/>
                      <a:pt x="2038" y="778"/>
                    </a:cubicBezTo>
                    <a:cubicBezTo>
                      <a:pt x="2031" y="777"/>
                      <a:pt x="2031" y="777"/>
                      <a:pt x="2031" y="777"/>
                    </a:cubicBezTo>
                    <a:cubicBezTo>
                      <a:pt x="2027" y="779"/>
                      <a:pt x="2027" y="779"/>
                      <a:pt x="2027" y="779"/>
                    </a:cubicBezTo>
                    <a:cubicBezTo>
                      <a:pt x="2027" y="781"/>
                      <a:pt x="2027" y="781"/>
                      <a:pt x="2027" y="781"/>
                    </a:cubicBezTo>
                    <a:cubicBezTo>
                      <a:pt x="2032" y="785"/>
                      <a:pt x="2032" y="785"/>
                      <a:pt x="2032" y="785"/>
                    </a:cubicBezTo>
                    <a:cubicBezTo>
                      <a:pt x="2029" y="788"/>
                      <a:pt x="2029" y="788"/>
                      <a:pt x="2029" y="788"/>
                    </a:cubicBezTo>
                    <a:cubicBezTo>
                      <a:pt x="2027" y="791"/>
                      <a:pt x="2027" y="791"/>
                      <a:pt x="2027" y="791"/>
                    </a:cubicBezTo>
                    <a:cubicBezTo>
                      <a:pt x="2024" y="788"/>
                      <a:pt x="2024" y="788"/>
                      <a:pt x="2024" y="788"/>
                    </a:cubicBezTo>
                    <a:cubicBezTo>
                      <a:pt x="2021" y="787"/>
                      <a:pt x="2021" y="787"/>
                      <a:pt x="2021" y="787"/>
                    </a:cubicBezTo>
                    <a:cubicBezTo>
                      <a:pt x="2023" y="783"/>
                      <a:pt x="2023" y="783"/>
                      <a:pt x="2023" y="783"/>
                    </a:cubicBezTo>
                    <a:cubicBezTo>
                      <a:pt x="2019" y="781"/>
                      <a:pt x="2019" y="781"/>
                      <a:pt x="2019" y="781"/>
                    </a:cubicBezTo>
                    <a:cubicBezTo>
                      <a:pt x="2017" y="784"/>
                      <a:pt x="2017" y="784"/>
                      <a:pt x="2017" y="784"/>
                    </a:cubicBezTo>
                    <a:cubicBezTo>
                      <a:pt x="2014" y="784"/>
                      <a:pt x="2014" y="784"/>
                      <a:pt x="2014" y="784"/>
                    </a:cubicBezTo>
                    <a:cubicBezTo>
                      <a:pt x="2011" y="784"/>
                      <a:pt x="2011" y="784"/>
                      <a:pt x="2011" y="784"/>
                    </a:cubicBezTo>
                    <a:cubicBezTo>
                      <a:pt x="2007" y="787"/>
                      <a:pt x="2007" y="787"/>
                      <a:pt x="2007" y="787"/>
                    </a:cubicBezTo>
                    <a:cubicBezTo>
                      <a:pt x="2003" y="787"/>
                      <a:pt x="2003" y="787"/>
                      <a:pt x="2003" y="787"/>
                    </a:cubicBezTo>
                    <a:cubicBezTo>
                      <a:pt x="1997" y="790"/>
                      <a:pt x="1997" y="790"/>
                      <a:pt x="1997" y="790"/>
                    </a:cubicBezTo>
                    <a:cubicBezTo>
                      <a:pt x="1992" y="790"/>
                      <a:pt x="1992" y="790"/>
                      <a:pt x="1992" y="790"/>
                    </a:cubicBezTo>
                    <a:cubicBezTo>
                      <a:pt x="1985" y="795"/>
                      <a:pt x="1985" y="795"/>
                      <a:pt x="1985" y="795"/>
                    </a:cubicBezTo>
                    <a:cubicBezTo>
                      <a:pt x="1981" y="796"/>
                      <a:pt x="1981" y="796"/>
                      <a:pt x="1981" y="796"/>
                    </a:cubicBezTo>
                    <a:cubicBezTo>
                      <a:pt x="1978" y="793"/>
                      <a:pt x="1978" y="793"/>
                      <a:pt x="1978" y="793"/>
                    </a:cubicBezTo>
                    <a:cubicBezTo>
                      <a:pt x="1976" y="794"/>
                      <a:pt x="1976" y="794"/>
                      <a:pt x="1976" y="794"/>
                    </a:cubicBezTo>
                    <a:cubicBezTo>
                      <a:pt x="1975" y="797"/>
                      <a:pt x="1975" y="797"/>
                      <a:pt x="1975" y="797"/>
                    </a:cubicBezTo>
                    <a:cubicBezTo>
                      <a:pt x="1968" y="802"/>
                      <a:pt x="1968" y="802"/>
                      <a:pt x="1968" y="802"/>
                    </a:cubicBezTo>
                    <a:cubicBezTo>
                      <a:pt x="1967" y="806"/>
                      <a:pt x="1967" y="806"/>
                      <a:pt x="1967" y="806"/>
                    </a:cubicBezTo>
                    <a:cubicBezTo>
                      <a:pt x="1963" y="810"/>
                      <a:pt x="1963" y="810"/>
                      <a:pt x="1963" y="810"/>
                    </a:cubicBezTo>
                    <a:cubicBezTo>
                      <a:pt x="1962" y="814"/>
                      <a:pt x="1962" y="814"/>
                      <a:pt x="1962" y="814"/>
                    </a:cubicBezTo>
                    <a:cubicBezTo>
                      <a:pt x="1967" y="821"/>
                      <a:pt x="1967" y="821"/>
                      <a:pt x="1967" y="821"/>
                    </a:cubicBezTo>
                    <a:cubicBezTo>
                      <a:pt x="1966" y="828"/>
                      <a:pt x="1966" y="828"/>
                      <a:pt x="1966" y="828"/>
                    </a:cubicBezTo>
                    <a:cubicBezTo>
                      <a:pt x="1960" y="835"/>
                      <a:pt x="1960" y="835"/>
                      <a:pt x="1960" y="835"/>
                    </a:cubicBezTo>
                    <a:cubicBezTo>
                      <a:pt x="1958" y="840"/>
                      <a:pt x="1958" y="840"/>
                      <a:pt x="1958" y="840"/>
                    </a:cubicBezTo>
                    <a:cubicBezTo>
                      <a:pt x="1959" y="845"/>
                      <a:pt x="1959" y="845"/>
                      <a:pt x="1959" y="845"/>
                    </a:cubicBezTo>
                    <a:cubicBezTo>
                      <a:pt x="1958" y="852"/>
                      <a:pt x="1958" y="852"/>
                      <a:pt x="1958" y="852"/>
                    </a:cubicBezTo>
                    <a:cubicBezTo>
                      <a:pt x="1960" y="855"/>
                      <a:pt x="1960" y="855"/>
                      <a:pt x="1960" y="855"/>
                    </a:cubicBezTo>
                    <a:cubicBezTo>
                      <a:pt x="1960" y="859"/>
                      <a:pt x="1960" y="859"/>
                      <a:pt x="1960" y="859"/>
                    </a:cubicBezTo>
                    <a:cubicBezTo>
                      <a:pt x="1959" y="859"/>
                      <a:pt x="1959" y="859"/>
                      <a:pt x="1959" y="859"/>
                    </a:cubicBezTo>
                    <a:cubicBezTo>
                      <a:pt x="1956" y="860"/>
                      <a:pt x="1956" y="860"/>
                      <a:pt x="1956" y="860"/>
                    </a:cubicBezTo>
                    <a:cubicBezTo>
                      <a:pt x="1956" y="865"/>
                      <a:pt x="1956" y="865"/>
                      <a:pt x="1956" y="865"/>
                    </a:cubicBezTo>
                    <a:cubicBezTo>
                      <a:pt x="1954" y="866"/>
                      <a:pt x="1954" y="866"/>
                      <a:pt x="1954" y="866"/>
                    </a:cubicBezTo>
                    <a:cubicBezTo>
                      <a:pt x="1956" y="873"/>
                      <a:pt x="1956" y="873"/>
                      <a:pt x="1956" y="873"/>
                    </a:cubicBezTo>
                    <a:cubicBezTo>
                      <a:pt x="1952" y="875"/>
                      <a:pt x="1952" y="875"/>
                      <a:pt x="1952" y="875"/>
                    </a:cubicBezTo>
                    <a:cubicBezTo>
                      <a:pt x="1952" y="880"/>
                      <a:pt x="1952" y="880"/>
                      <a:pt x="1952" y="880"/>
                    </a:cubicBezTo>
                    <a:cubicBezTo>
                      <a:pt x="1947" y="886"/>
                      <a:pt x="1947" y="886"/>
                      <a:pt x="1947" y="886"/>
                    </a:cubicBezTo>
                    <a:cubicBezTo>
                      <a:pt x="1948" y="890"/>
                      <a:pt x="1948" y="890"/>
                      <a:pt x="1948" y="890"/>
                    </a:cubicBezTo>
                    <a:cubicBezTo>
                      <a:pt x="1944" y="892"/>
                      <a:pt x="1944" y="892"/>
                      <a:pt x="1944" y="892"/>
                    </a:cubicBezTo>
                    <a:cubicBezTo>
                      <a:pt x="1943" y="899"/>
                      <a:pt x="1943" y="899"/>
                      <a:pt x="1943" y="899"/>
                    </a:cubicBezTo>
                    <a:cubicBezTo>
                      <a:pt x="1942" y="899"/>
                      <a:pt x="1942" y="899"/>
                      <a:pt x="1942" y="899"/>
                    </a:cubicBezTo>
                    <a:cubicBezTo>
                      <a:pt x="1940" y="908"/>
                      <a:pt x="1940" y="908"/>
                      <a:pt x="1940" y="908"/>
                    </a:cubicBezTo>
                    <a:cubicBezTo>
                      <a:pt x="1940" y="914"/>
                      <a:pt x="1940" y="914"/>
                      <a:pt x="1940" y="914"/>
                    </a:cubicBezTo>
                    <a:cubicBezTo>
                      <a:pt x="1939" y="917"/>
                      <a:pt x="1939" y="917"/>
                      <a:pt x="1939" y="917"/>
                    </a:cubicBezTo>
                    <a:cubicBezTo>
                      <a:pt x="1940" y="921"/>
                      <a:pt x="1940" y="921"/>
                      <a:pt x="1940" y="921"/>
                    </a:cubicBezTo>
                    <a:cubicBezTo>
                      <a:pt x="1938" y="925"/>
                      <a:pt x="1938" y="925"/>
                      <a:pt x="1938" y="925"/>
                    </a:cubicBezTo>
                    <a:cubicBezTo>
                      <a:pt x="1937" y="929"/>
                      <a:pt x="1937" y="929"/>
                      <a:pt x="1937" y="929"/>
                    </a:cubicBezTo>
                    <a:cubicBezTo>
                      <a:pt x="1933" y="935"/>
                      <a:pt x="1933" y="935"/>
                      <a:pt x="1933" y="935"/>
                    </a:cubicBezTo>
                    <a:cubicBezTo>
                      <a:pt x="1934" y="936"/>
                      <a:pt x="1934" y="936"/>
                      <a:pt x="1934" y="936"/>
                    </a:cubicBezTo>
                    <a:cubicBezTo>
                      <a:pt x="1932" y="937"/>
                      <a:pt x="1932" y="937"/>
                      <a:pt x="1932" y="937"/>
                    </a:cubicBezTo>
                    <a:cubicBezTo>
                      <a:pt x="1932" y="942"/>
                      <a:pt x="1932" y="942"/>
                      <a:pt x="1932" y="942"/>
                    </a:cubicBezTo>
                    <a:cubicBezTo>
                      <a:pt x="1926" y="947"/>
                      <a:pt x="1926" y="947"/>
                      <a:pt x="1926" y="947"/>
                    </a:cubicBezTo>
                    <a:cubicBezTo>
                      <a:pt x="1925" y="953"/>
                      <a:pt x="1925" y="953"/>
                      <a:pt x="1925" y="953"/>
                    </a:cubicBezTo>
                    <a:cubicBezTo>
                      <a:pt x="1920" y="958"/>
                      <a:pt x="1920" y="958"/>
                      <a:pt x="1920" y="958"/>
                    </a:cubicBezTo>
                    <a:cubicBezTo>
                      <a:pt x="1920" y="960"/>
                      <a:pt x="1920" y="960"/>
                      <a:pt x="1920" y="960"/>
                    </a:cubicBezTo>
                    <a:cubicBezTo>
                      <a:pt x="1916" y="966"/>
                      <a:pt x="1916" y="966"/>
                      <a:pt x="1916" y="966"/>
                    </a:cubicBezTo>
                    <a:cubicBezTo>
                      <a:pt x="1915" y="970"/>
                      <a:pt x="1915" y="970"/>
                      <a:pt x="1915" y="970"/>
                    </a:cubicBezTo>
                    <a:cubicBezTo>
                      <a:pt x="1913" y="973"/>
                      <a:pt x="1913" y="973"/>
                      <a:pt x="1913" y="973"/>
                    </a:cubicBezTo>
                    <a:cubicBezTo>
                      <a:pt x="1915" y="977"/>
                      <a:pt x="1915" y="977"/>
                      <a:pt x="1915" y="977"/>
                    </a:cubicBezTo>
                    <a:cubicBezTo>
                      <a:pt x="1919" y="979"/>
                      <a:pt x="1919" y="979"/>
                      <a:pt x="1919" y="979"/>
                    </a:cubicBezTo>
                    <a:cubicBezTo>
                      <a:pt x="1923" y="978"/>
                      <a:pt x="1923" y="978"/>
                      <a:pt x="1923" y="978"/>
                    </a:cubicBezTo>
                    <a:cubicBezTo>
                      <a:pt x="1926" y="980"/>
                      <a:pt x="1926" y="980"/>
                      <a:pt x="1926" y="980"/>
                    </a:cubicBezTo>
                    <a:cubicBezTo>
                      <a:pt x="1930" y="981"/>
                      <a:pt x="1930" y="981"/>
                      <a:pt x="1930" y="981"/>
                    </a:cubicBezTo>
                    <a:cubicBezTo>
                      <a:pt x="1934" y="977"/>
                      <a:pt x="1934" y="977"/>
                      <a:pt x="1934" y="977"/>
                    </a:cubicBezTo>
                    <a:cubicBezTo>
                      <a:pt x="1937" y="976"/>
                      <a:pt x="1937" y="976"/>
                      <a:pt x="1937" y="976"/>
                    </a:cubicBezTo>
                    <a:cubicBezTo>
                      <a:pt x="1941" y="974"/>
                      <a:pt x="1941" y="974"/>
                      <a:pt x="1941" y="974"/>
                    </a:cubicBezTo>
                    <a:cubicBezTo>
                      <a:pt x="1942" y="975"/>
                      <a:pt x="1942" y="975"/>
                      <a:pt x="1942" y="975"/>
                    </a:cubicBezTo>
                    <a:cubicBezTo>
                      <a:pt x="1947" y="973"/>
                      <a:pt x="1947" y="973"/>
                      <a:pt x="1947" y="973"/>
                    </a:cubicBezTo>
                    <a:cubicBezTo>
                      <a:pt x="1947" y="983"/>
                      <a:pt x="1947" y="983"/>
                      <a:pt x="1947" y="983"/>
                    </a:cubicBezTo>
                    <a:cubicBezTo>
                      <a:pt x="1951" y="989"/>
                      <a:pt x="1951" y="989"/>
                      <a:pt x="1951" y="989"/>
                    </a:cubicBezTo>
                    <a:cubicBezTo>
                      <a:pt x="1952" y="994"/>
                      <a:pt x="1952" y="994"/>
                      <a:pt x="1952" y="994"/>
                    </a:cubicBezTo>
                    <a:cubicBezTo>
                      <a:pt x="1952" y="999"/>
                      <a:pt x="1952" y="999"/>
                      <a:pt x="1952" y="999"/>
                    </a:cubicBezTo>
                    <a:cubicBezTo>
                      <a:pt x="1957" y="1003"/>
                      <a:pt x="1957" y="1003"/>
                      <a:pt x="1957" y="1003"/>
                    </a:cubicBezTo>
                    <a:cubicBezTo>
                      <a:pt x="1959" y="1000"/>
                      <a:pt x="1959" y="1000"/>
                      <a:pt x="1959" y="1000"/>
                    </a:cubicBezTo>
                    <a:cubicBezTo>
                      <a:pt x="1960" y="1000"/>
                      <a:pt x="1960" y="1000"/>
                      <a:pt x="1960" y="1000"/>
                    </a:cubicBezTo>
                    <a:cubicBezTo>
                      <a:pt x="1963" y="999"/>
                      <a:pt x="1963" y="999"/>
                      <a:pt x="1963" y="999"/>
                    </a:cubicBezTo>
                    <a:cubicBezTo>
                      <a:pt x="1964" y="995"/>
                      <a:pt x="1964" y="995"/>
                      <a:pt x="1964" y="995"/>
                    </a:cubicBezTo>
                    <a:cubicBezTo>
                      <a:pt x="1967" y="994"/>
                      <a:pt x="1967" y="994"/>
                      <a:pt x="1967" y="994"/>
                    </a:cubicBezTo>
                    <a:cubicBezTo>
                      <a:pt x="1968" y="996"/>
                      <a:pt x="1968" y="996"/>
                      <a:pt x="1968" y="996"/>
                    </a:cubicBezTo>
                    <a:cubicBezTo>
                      <a:pt x="1971" y="994"/>
                      <a:pt x="1971" y="994"/>
                      <a:pt x="1971" y="994"/>
                    </a:cubicBezTo>
                    <a:cubicBezTo>
                      <a:pt x="1975" y="995"/>
                      <a:pt x="1975" y="995"/>
                      <a:pt x="1975" y="995"/>
                    </a:cubicBezTo>
                    <a:cubicBezTo>
                      <a:pt x="1973" y="996"/>
                      <a:pt x="1973" y="996"/>
                      <a:pt x="1973" y="996"/>
                    </a:cubicBezTo>
                    <a:cubicBezTo>
                      <a:pt x="1972" y="999"/>
                      <a:pt x="1972" y="999"/>
                      <a:pt x="1972" y="999"/>
                    </a:cubicBezTo>
                    <a:cubicBezTo>
                      <a:pt x="1972" y="1004"/>
                      <a:pt x="1972" y="1004"/>
                      <a:pt x="1972" y="1004"/>
                    </a:cubicBezTo>
                    <a:cubicBezTo>
                      <a:pt x="1970" y="1004"/>
                      <a:pt x="1970" y="1004"/>
                      <a:pt x="1970" y="1004"/>
                    </a:cubicBezTo>
                    <a:cubicBezTo>
                      <a:pt x="1967" y="1007"/>
                      <a:pt x="1967" y="1007"/>
                      <a:pt x="1967" y="1007"/>
                    </a:cubicBezTo>
                    <a:cubicBezTo>
                      <a:pt x="1968" y="1009"/>
                      <a:pt x="1968" y="1009"/>
                      <a:pt x="1968" y="1009"/>
                    </a:cubicBezTo>
                    <a:cubicBezTo>
                      <a:pt x="1976" y="1008"/>
                      <a:pt x="1976" y="1008"/>
                      <a:pt x="1976" y="1008"/>
                    </a:cubicBezTo>
                    <a:cubicBezTo>
                      <a:pt x="1981" y="1005"/>
                      <a:pt x="1981" y="1005"/>
                      <a:pt x="1981" y="1005"/>
                    </a:cubicBezTo>
                    <a:cubicBezTo>
                      <a:pt x="1983" y="999"/>
                      <a:pt x="1983" y="999"/>
                      <a:pt x="1983" y="999"/>
                    </a:cubicBezTo>
                    <a:cubicBezTo>
                      <a:pt x="1982" y="996"/>
                      <a:pt x="1982" y="996"/>
                      <a:pt x="1982" y="996"/>
                    </a:cubicBezTo>
                    <a:cubicBezTo>
                      <a:pt x="1983" y="993"/>
                      <a:pt x="1983" y="993"/>
                      <a:pt x="1983" y="993"/>
                    </a:cubicBezTo>
                    <a:cubicBezTo>
                      <a:pt x="1986" y="998"/>
                      <a:pt x="1986" y="998"/>
                      <a:pt x="1986" y="998"/>
                    </a:cubicBezTo>
                    <a:cubicBezTo>
                      <a:pt x="1985" y="1003"/>
                      <a:pt x="1985" y="1003"/>
                      <a:pt x="1985" y="1003"/>
                    </a:cubicBezTo>
                    <a:cubicBezTo>
                      <a:pt x="1985" y="1007"/>
                      <a:pt x="1985" y="1007"/>
                      <a:pt x="1985" y="1007"/>
                    </a:cubicBezTo>
                    <a:cubicBezTo>
                      <a:pt x="1988" y="1006"/>
                      <a:pt x="1988" y="1006"/>
                      <a:pt x="1988" y="1006"/>
                    </a:cubicBezTo>
                    <a:cubicBezTo>
                      <a:pt x="1989" y="1001"/>
                      <a:pt x="1989" y="1001"/>
                      <a:pt x="1989" y="1001"/>
                    </a:cubicBezTo>
                    <a:cubicBezTo>
                      <a:pt x="1987" y="995"/>
                      <a:pt x="1987" y="995"/>
                      <a:pt x="1987" y="995"/>
                    </a:cubicBezTo>
                    <a:cubicBezTo>
                      <a:pt x="1989" y="991"/>
                      <a:pt x="1989" y="991"/>
                      <a:pt x="1989" y="991"/>
                    </a:cubicBezTo>
                    <a:cubicBezTo>
                      <a:pt x="1985" y="988"/>
                      <a:pt x="1985" y="988"/>
                      <a:pt x="1985" y="988"/>
                    </a:cubicBezTo>
                    <a:cubicBezTo>
                      <a:pt x="1983" y="982"/>
                      <a:pt x="1983" y="982"/>
                      <a:pt x="1983" y="982"/>
                    </a:cubicBezTo>
                    <a:cubicBezTo>
                      <a:pt x="1987" y="982"/>
                      <a:pt x="1987" y="982"/>
                      <a:pt x="1987" y="982"/>
                    </a:cubicBezTo>
                    <a:cubicBezTo>
                      <a:pt x="1991" y="984"/>
                      <a:pt x="1991" y="984"/>
                      <a:pt x="1991" y="984"/>
                    </a:cubicBezTo>
                    <a:cubicBezTo>
                      <a:pt x="1991" y="985"/>
                      <a:pt x="1991" y="985"/>
                      <a:pt x="1991" y="985"/>
                    </a:cubicBezTo>
                    <a:cubicBezTo>
                      <a:pt x="1992" y="987"/>
                      <a:pt x="1992" y="987"/>
                      <a:pt x="1992" y="987"/>
                    </a:cubicBezTo>
                    <a:cubicBezTo>
                      <a:pt x="1994" y="987"/>
                      <a:pt x="1994" y="987"/>
                      <a:pt x="1994" y="987"/>
                    </a:cubicBezTo>
                    <a:cubicBezTo>
                      <a:pt x="1996" y="985"/>
                      <a:pt x="1996" y="985"/>
                      <a:pt x="1996" y="985"/>
                    </a:cubicBezTo>
                    <a:cubicBezTo>
                      <a:pt x="2000" y="984"/>
                      <a:pt x="2000" y="984"/>
                      <a:pt x="2000" y="984"/>
                    </a:cubicBezTo>
                    <a:cubicBezTo>
                      <a:pt x="2004" y="981"/>
                      <a:pt x="2004" y="981"/>
                      <a:pt x="2004" y="981"/>
                    </a:cubicBezTo>
                    <a:cubicBezTo>
                      <a:pt x="2008" y="984"/>
                      <a:pt x="2008" y="984"/>
                      <a:pt x="2008" y="984"/>
                    </a:cubicBezTo>
                    <a:cubicBezTo>
                      <a:pt x="2013" y="985"/>
                      <a:pt x="2013" y="985"/>
                      <a:pt x="2013" y="985"/>
                    </a:cubicBezTo>
                    <a:cubicBezTo>
                      <a:pt x="2016" y="987"/>
                      <a:pt x="2016" y="987"/>
                      <a:pt x="2016" y="987"/>
                    </a:cubicBezTo>
                    <a:cubicBezTo>
                      <a:pt x="2018" y="992"/>
                      <a:pt x="2018" y="992"/>
                      <a:pt x="2018" y="992"/>
                    </a:cubicBezTo>
                    <a:cubicBezTo>
                      <a:pt x="2020" y="993"/>
                      <a:pt x="2020" y="993"/>
                      <a:pt x="2020" y="993"/>
                    </a:cubicBezTo>
                    <a:cubicBezTo>
                      <a:pt x="2025" y="994"/>
                      <a:pt x="2025" y="994"/>
                      <a:pt x="2025" y="994"/>
                    </a:cubicBezTo>
                    <a:cubicBezTo>
                      <a:pt x="2027" y="996"/>
                      <a:pt x="2027" y="996"/>
                      <a:pt x="2027" y="996"/>
                    </a:cubicBezTo>
                    <a:cubicBezTo>
                      <a:pt x="2036" y="999"/>
                      <a:pt x="2036" y="999"/>
                      <a:pt x="2036" y="999"/>
                    </a:cubicBezTo>
                    <a:cubicBezTo>
                      <a:pt x="2037" y="1002"/>
                      <a:pt x="2037" y="1002"/>
                      <a:pt x="2037" y="1002"/>
                    </a:cubicBezTo>
                    <a:cubicBezTo>
                      <a:pt x="2040" y="1002"/>
                      <a:pt x="2040" y="1002"/>
                      <a:pt x="2040" y="1002"/>
                    </a:cubicBezTo>
                    <a:cubicBezTo>
                      <a:pt x="2042" y="1005"/>
                      <a:pt x="2042" y="1005"/>
                      <a:pt x="2042" y="1005"/>
                    </a:cubicBezTo>
                    <a:cubicBezTo>
                      <a:pt x="2045" y="1005"/>
                      <a:pt x="2045" y="1005"/>
                      <a:pt x="2045" y="1005"/>
                    </a:cubicBezTo>
                    <a:cubicBezTo>
                      <a:pt x="2048" y="1011"/>
                      <a:pt x="2048" y="1011"/>
                      <a:pt x="2048" y="1011"/>
                    </a:cubicBezTo>
                    <a:cubicBezTo>
                      <a:pt x="2046" y="1014"/>
                      <a:pt x="2046" y="1014"/>
                      <a:pt x="2046" y="1014"/>
                    </a:cubicBezTo>
                    <a:cubicBezTo>
                      <a:pt x="2045" y="1017"/>
                      <a:pt x="2045" y="1017"/>
                      <a:pt x="2045" y="1017"/>
                    </a:cubicBezTo>
                    <a:cubicBezTo>
                      <a:pt x="2043" y="1019"/>
                      <a:pt x="2043" y="1019"/>
                      <a:pt x="2043" y="1019"/>
                    </a:cubicBezTo>
                    <a:cubicBezTo>
                      <a:pt x="2047" y="1023"/>
                      <a:pt x="2047" y="1023"/>
                      <a:pt x="2047" y="1023"/>
                    </a:cubicBezTo>
                    <a:cubicBezTo>
                      <a:pt x="2049" y="1023"/>
                      <a:pt x="2049" y="1023"/>
                      <a:pt x="2049" y="1023"/>
                    </a:cubicBezTo>
                    <a:cubicBezTo>
                      <a:pt x="2054" y="1029"/>
                      <a:pt x="2054" y="1029"/>
                      <a:pt x="2054" y="1029"/>
                    </a:cubicBezTo>
                    <a:cubicBezTo>
                      <a:pt x="2055" y="1032"/>
                      <a:pt x="2055" y="1032"/>
                      <a:pt x="2055" y="1032"/>
                    </a:cubicBezTo>
                    <a:cubicBezTo>
                      <a:pt x="2053" y="1035"/>
                      <a:pt x="2053" y="1035"/>
                      <a:pt x="2053" y="1035"/>
                    </a:cubicBezTo>
                    <a:cubicBezTo>
                      <a:pt x="2052" y="1039"/>
                      <a:pt x="2052" y="1039"/>
                      <a:pt x="2052" y="1039"/>
                    </a:cubicBezTo>
                    <a:cubicBezTo>
                      <a:pt x="2056" y="1042"/>
                      <a:pt x="2056" y="1042"/>
                      <a:pt x="2056" y="1042"/>
                    </a:cubicBezTo>
                    <a:cubicBezTo>
                      <a:pt x="2060" y="1043"/>
                      <a:pt x="2060" y="1043"/>
                      <a:pt x="2060" y="1043"/>
                    </a:cubicBezTo>
                    <a:cubicBezTo>
                      <a:pt x="2062" y="1041"/>
                      <a:pt x="2062" y="1041"/>
                      <a:pt x="2062" y="1041"/>
                    </a:cubicBezTo>
                    <a:cubicBezTo>
                      <a:pt x="2063" y="1044"/>
                      <a:pt x="2063" y="1044"/>
                      <a:pt x="2063" y="1044"/>
                    </a:cubicBezTo>
                    <a:cubicBezTo>
                      <a:pt x="2061" y="1046"/>
                      <a:pt x="2061" y="1046"/>
                      <a:pt x="2061" y="1046"/>
                    </a:cubicBezTo>
                    <a:cubicBezTo>
                      <a:pt x="2062" y="1051"/>
                      <a:pt x="2062" y="1051"/>
                      <a:pt x="2062" y="1051"/>
                    </a:cubicBezTo>
                    <a:cubicBezTo>
                      <a:pt x="2065" y="1053"/>
                      <a:pt x="2065" y="1053"/>
                      <a:pt x="2065" y="1053"/>
                    </a:cubicBezTo>
                    <a:cubicBezTo>
                      <a:pt x="2062" y="1055"/>
                      <a:pt x="2062" y="1055"/>
                      <a:pt x="2062" y="1055"/>
                    </a:cubicBezTo>
                    <a:cubicBezTo>
                      <a:pt x="2062" y="1058"/>
                      <a:pt x="2062" y="1058"/>
                      <a:pt x="2062" y="1058"/>
                    </a:cubicBezTo>
                    <a:cubicBezTo>
                      <a:pt x="2064" y="1061"/>
                      <a:pt x="2064" y="1061"/>
                      <a:pt x="2064" y="1061"/>
                    </a:cubicBezTo>
                    <a:cubicBezTo>
                      <a:pt x="2062" y="1065"/>
                      <a:pt x="2062" y="1065"/>
                      <a:pt x="2062" y="1065"/>
                    </a:cubicBezTo>
                    <a:cubicBezTo>
                      <a:pt x="2063" y="1066"/>
                      <a:pt x="2063" y="1066"/>
                      <a:pt x="2063" y="1066"/>
                    </a:cubicBezTo>
                    <a:cubicBezTo>
                      <a:pt x="2063" y="1069"/>
                      <a:pt x="2063" y="1069"/>
                      <a:pt x="2063" y="1069"/>
                    </a:cubicBezTo>
                    <a:cubicBezTo>
                      <a:pt x="2062" y="1071"/>
                      <a:pt x="2062" y="1071"/>
                      <a:pt x="2062" y="1071"/>
                    </a:cubicBezTo>
                    <a:cubicBezTo>
                      <a:pt x="2064" y="1072"/>
                      <a:pt x="2064" y="1072"/>
                      <a:pt x="2064" y="1072"/>
                    </a:cubicBezTo>
                    <a:cubicBezTo>
                      <a:pt x="2062" y="1074"/>
                      <a:pt x="2062" y="1074"/>
                      <a:pt x="2062" y="1074"/>
                    </a:cubicBezTo>
                    <a:cubicBezTo>
                      <a:pt x="2065" y="1083"/>
                      <a:pt x="2065" y="1083"/>
                      <a:pt x="2065" y="1083"/>
                    </a:cubicBezTo>
                    <a:cubicBezTo>
                      <a:pt x="2063" y="1086"/>
                      <a:pt x="2063" y="1086"/>
                      <a:pt x="2063" y="1086"/>
                    </a:cubicBezTo>
                    <a:cubicBezTo>
                      <a:pt x="2064" y="1093"/>
                      <a:pt x="2064" y="1093"/>
                      <a:pt x="2064" y="1093"/>
                    </a:cubicBezTo>
                    <a:cubicBezTo>
                      <a:pt x="2065" y="1095"/>
                      <a:pt x="2065" y="1095"/>
                      <a:pt x="2065" y="1095"/>
                    </a:cubicBezTo>
                    <a:cubicBezTo>
                      <a:pt x="2065" y="1098"/>
                      <a:pt x="2065" y="1098"/>
                      <a:pt x="2065" y="1098"/>
                    </a:cubicBezTo>
                    <a:cubicBezTo>
                      <a:pt x="2069" y="1111"/>
                      <a:pt x="2069" y="1111"/>
                      <a:pt x="2069" y="1111"/>
                    </a:cubicBezTo>
                    <a:cubicBezTo>
                      <a:pt x="2072" y="1111"/>
                      <a:pt x="2072" y="1111"/>
                      <a:pt x="2072" y="1111"/>
                    </a:cubicBezTo>
                    <a:cubicBezTo>
                      <a:pt x="2075" y="1109"/>
                      <a:pt x="2075" y="1109"/>
                      <a:pt x="2075" y="1109"/>
                    </a:cubicBezTo>
                    <a:cubicBezTo>
                      <a:pt x="2076" y="1110"/>
                      <a:pt x="2076" y="1110"/>
                      <a:pt x="2076" y="1110"/>
                    </a:cubicBezTo>
                    <a:cubicBezTo>
                      <a:pt x="2073" y="1115"/>
                      <a:pt x="2073" y="1115"/>
                      <a:pt x="2073" y="1115"/>
                    </a:cubicBezTo>
                    <a:cubicBezTo>
                      <a:pt x="2071" y="1117"/>
                      <a:pt x="2071" y="1117"/>
                      <a:pt x="2071" y="1117"/>
                    </a:cubicBezTo>
                    <a:cubicBezTo>
                      <a:pt x="2073" y="1120"/>
                      <a:pt x="2073" y="1120"/>
                      <a:pt x="2073" y="1120"/>
                    </a:cubicBezTo>
                    <a:cubicBezTo>
                      <a:pt x="2075" y="1120"/>
                      <a:pt x="2075" y="1120"/>
                      <a:pt x="2075" y="1120"/>
                    </a:cubicBezTo>
                    <a:cubicBezTo>
                      <a:pt x="2080" y="1126"/>
                      <a:pt x="2080" y="1126"/>
                      <a:pt x="2080" y="1126"/>
                    </a:cubicBezTo>
                    <a:cubicBezTo>
                      <a:pt x="2080" y="1133"/>
                      <a:pt x="2080" y="1133"/>
                      <a:pt x="2080" y="1133"/>
                    </a:cubicBezTo>
                    <a:cubicBezTo>
                      <a:pt x="2081" y="1135"/>
                      <a:pt x="2081" y="1135"/>
                      <a:pt x="2081" y="1135"/>
                    </a:cubicBezTo>
                    <a:cubicBezTo>
                      <a:pt x="2080" y="1138"/>
                      <a:pt x="2080" y="1138"/>
                      <a:pt x="2080" y="1138"/>
                    </a:cubicBezTo>
                    <a:cubicBezTo>
                      <a:pt x="2082" y="1147"/>
                      <a:pt x="2082" y="1147"/>
                      <a:pt x="2082" y="1147"/>
                    </a:cubicBezTo>
                    <a:cubicBezTo>
                      <a:pt x="2085" y="1147"/>
                      <a:pt x="2085" y="1147"/>
                      <a:pt x="2085" y="1147"/>
                    </a:cubicBezTo>
                    <a:cubicBezTo>
                      <a:pt x="2085" y="1151"/>
                      <a:pt x="2085" y="1151"/>
                      <a:pt x="2085" y="1151"/>
                    </a:cubicBezTo>
                    <a:cubicBezTo>
                      <a:pt x="2083" y="1152"/>
                      <a:pt x="2083" y="1152"/>
                      <a:pt x="2083" y="1152"/>
                    </a:cubicBezTo>
                    <a:cubicBezTo>
                      <a:pt x="2084" y="1158"/>
                      <a:pt x="2084" y="1158"/>
                      <a:pt x="2084" y="1158"/>
                    </a:cubicBezTo>
                    <a:cubicBezTo>
                      <a:pt x="2085" y="1161"/>
                      <a:pt x="2085" y="1161"/>
                      <a:pt x="2085" y="1161"/>
                    </a:cubicBezTo>
                    <a:cubicBezTo>
                      <a:pt x="2086" y="1166"/>
                      <a:pt x="2086" y="1166"/>
                      <a:pt x="2086" y="1166"/>
                    </a:cubicBezTo>
                    <a:cubicBezTo>
                      <a:pt x="2080" y="1172"/>
                      <a:pt x="2080" y="1172"/>
                      <a:pt x="2080" y="1172"/>
                    </a:cubicBezTo>
                    <a:cubicBezTo>
                      <a:pt x="2080" y="1177"/>
                      <a:pt x="2080" y="1177"/>
                      <a:pt x="2080" y="1177"/>
                    </a:cubicBezTo>
                    <a:cubicBezTo>
                      <a:pt x="2077" y="1183"/>
                      <a:pt x="2077" y="1183"/>
                      <a:pt x="2077" y="1183"/>
                    </a:cubicBezTo>
                    <a:cubicBezTo>
                      <a:pt x="2078" y="1189"/>
                      <a:pt x="2078" y="1189"/>
                      <a:pt x="2078" y="1189"/>
                    </a:cubicBezTo>
                    <a:cubicBezTo>
                      <a:pt x="2079" y="1190"/>
                      <a:pt x="2079" y="1190"/>
                      <a:pt x="2079" y="1190"/>
                    </a:cubicBezTo>
                    <a:cubicBezTo>
                      <a:pt x="2079" y="1195"/>
                      <a:pt x="2079" y="1195"/>
                      <a:pt x="2079" y="1195"/>
                    </a:cubicBezTo>
                    <a:cubicBezTo>
                      <a:pt x="2075" y="1199"/>
                      <a:pt x="2075" y="1199"/>
                      <a:pt x="2075" y="1199"/>
                    </a:cubicBezTo>
                    <a:cubicBezTo>
                      <a:pt x="2075" y="1203"/>
                      <a:pt x="2075" y="1203"/>
                      <a:pt x="2075" y="1203"/>
                    </a:cubicBezTo>
                    <a:cubicBezTo>
                      <a:pt x="2072" y="1209"/>
                      <a:pt x="2072" y="1209"/>
                      <a:pt x="2072" y="1209"/>
                    </a:cubicBezTo>
                    <a:cubicBezTo>
                      <a:pt x="2074" y="1210"/>
                      <a:pt x="2074" y="1210"/>
                      <a:pt x="2074" y="1210"/>
                    </a:cubicBezTo>
                    <a:cubicBezTo>
                      <a:pt x="2074" y="1213"/>
                      <a:pt x="2074" y="1213"/>
                      <a:pt x="2074" y="1213"/>
                    </a:cubicBezTo>
                    <a:cubicBezTo>
                      <a:pt x="2071" y="1216"/>
                      <a:pt x="2071" y="1216"/>
                      <a:pt x="2071" y="1216"/>
                    </a:cubicBezTo>
                    <a:cubicBezTo>
                      <a:pt x="2073" y="1225"/>
                      <a:pt x="2073" y="1225"/>
                      <a:pt x="2073" y="1225"/>
                    </a:cubicBezTo>
                    <a:cubicBezTo>
                      <a:pt x="2069" y="1229"/>
                      <a:pt x="2069" y="1229"/>
                      <a:pt x="2069" y="1229"/>
                    </a:cubicBezTo>
                    <a:cubicBezTo>
                      <a:pt x="2070" y="1234"/>
                      <a:pt x="2070" y="1234"/>
                      <a:pt x="2070" y="1234"/>
                    </a:cubicBezTo>
                    <a:cubicBezTo>
                      <a:pt x="2072" y="1234"/>
                      <a:pt x="2072" y="1234"/>
                      <a:pt x="2072" y="1234"/>
                    </a:cubicBezTo>
                    <a:cubicBezTo>
                      <a:pt x="2072" y="1238"/>
                      <a:pt x="2072" y="1238"/>
                      <a:pt x="2072" y="1238"/>
                    </a:cubicBezTo>
                    <a:cubicBezTo>
                      <a:pt x="2067" y="1243"/>
                      <a:pt x="2067" y="1243"/>
                      <a:pt x="2067" y="1243"/>
                    </a:cubicBezTo>
                    <a:cubicBezTo>
                      <a:pt x="2066" y="1248"/>
                      <a:pt x="2066" y="1248"/>
                      <a:pt x="2066" y="1248"/>
                    </a:cubicBezTo>
                    <a:cubicBezTo>
                      <a:pt x="2062" y="1251"/>
                      <a:pt x="2062" y="1251"/>
                      <a:pt x="2062" y="1251"/>
                    </a:cubicBezTo>
                    <a:cubicBezTo>
                      <a:pt x="2062" y="1254"/>
                      <a:pt x="2062" y="1254"/>
                      <a:pt x="2062" y="1254"/>
                    </a:cubicBezTo>
                    <a:cubicBezTo>
                      <a:pt x="2058" y="1259"/>
                      <a:pt x="2058" y="1259"/>
                      <a:pt x="2058" y="1259"/>
                    </a:cubicBezTo>
                    <a:cubicBezTo>
                      <a:pt x="2054" y="1275"/>
                      <a:pt x="2054" y="1275"/>
                      <a:pt x="2054" y="1275"/>
                    </a:cubicBezTo>
                    <a:cubicBezTo>
                      <a:pt x="2052" y="1277"/>
                      <a:pt x="2052" y="1277"/>
                      <a:pt x="2052" y="1277"/>
                    </a:cubicBezTo>
                    <a:cubicBezTo>
                      <a:pt x="2052" y="1281"/>
                      <a:pt x="2052" y="1281"/>
                      <a:pt x="2052" y="1281"/>
                    </a:cubicBezTo>
                    <a:cubicBezTo>
                      <a:pt x="2053" y="1282"/>
                      <a:pt x="2053" y="1282"/>
                      <a:pt x="2053" y="1282"/>
                    </a:cubicBezTo>
                    <a:cubicBezTo>
                      <a:pt x="2052" y="1284"/>
                      <a:pt x="2052" y="1284"/>
                      <a:pt x="2052" y="1284"/>
                    </a:cubicBezTo>
                    <a:cubicBezTo>
                      <a:pt x="2047" y="1287"/>
                      <a:pt x="2047" y="1287"/>
                      <a:pt x="2047" y="1287"/>
                    </a:cubicBezTo>
                    <a:cubicBezTo>
                      <a:pt x="2047" y="1291"/>
                      <a:pt x="2047" y="1291"/>
                      <a:pt x="2047" y="1291"/>
                    </a:cubicBezTo>
                    <a:cubicBezTo>
                      <a:pt x="2044" y="1293"/>
                      <a:pt x="2044" y="1293"/>
                      <a:pt x="2044" y="1293"/>
                    </a:cubicBezTo>
                    <a:cubicBezTo>
                      <a:pt x="2044" y="1299"/>
                      <a:pt x="2044" y="1299"/>
                      <a:pt x="2044" y="1299"/>
                    </a:cubicBezTo>
                    <a:cubicBezTo>
                      <a:pt x="2042" y="1299"/>
                      <a:pt x="2042" y="1299"/>
                      <a:pt x="2042" y="1299"/>
                    </a:cubicBezTo>
                    <a:cubicBezTo>
                      <a:pt x="2044" y="1303"/>
                      <a:pt x="2044" y="1303"/>
                      <a:pt x="2044" y="1303"/>
                    </a:cubicBezTo>
                    <a:cubicBezTo>
                      <a:pt x="2039" y="1309"/>
                      <a:pt x="2039" y="1309"/>
                      <a:pt x="2039" y="1309"/>
                    </a:cubicBezTo>
                    <a:cubicBezTo>
                      <a:pt x="2039" y="1308"/>
                      <a:pt x="2039" y="1308"/>
                      <a:pt x="2039" y="1308"/>
                    </a:cubicBezTo>
                    <a:cubicBezTo>
                      <a:pt x="2036" y="1307"/>
                      <a:pt x="2036" y="1307"/>
                      <a:pt x="2036" y="1307"/>
                    </a:cubicBezTo>
                    <a:cubicBezTo>
                      <a:pt x="2038" y="1311"/>
                      <a:pt x="2038" y="1311"/>
                      <a:pt x="2038" y="1311"/>
                    </a:cubicBezTo>
                    <a:cubicBezTo>
                      <a:pt x="2038" y="1315"/>
                      <a:pt x="2038" y="1315"/>
                      <a:pt x="2038" y="1315"/>
                    </a:cubicBezTo>
                    <a:cubicBezTo>
                      <a:pt x="2033" y="1317"/>
                      <a:pt x="2033" y="1317"/>
                      <a:pt x="2033" y="1317"/>
                    </a:cubicBezTo>
                    <a:cubicBezTo>
                      <a:pt x="2034" y="1319"/>
                      <a:pt x="2034" y="1319"/>
                      <a:pt x="2034" y="1319"/>
                    </a:cubicBezTo>
                    <a:cubicBezTo>
                      <a:pt x="2028" y="1327"/>
                      <a:pt x="2028" y="1327"/>
                      <a:pt x="2028" y="1327"/>
                    </a:cubicBezTo>
                    <a:cubicBezTo>
                      <a:pt x="2025" y="1332"/>
                      <a:pt x="2025" y="1332"/>
                      <a:pt x="2025" y="1332"/>
                    </a:cubicBezTo>
                    <a:cubicBezTo>
                      <a:pt x="2022" y="1332"/>
                      <a:pt x="2022" y="1332"/>
                      <a:pt x="2022" y="1332"/>
                    </a:cubicBezTo>
                    <a:cubicBezTo>
                      <a:pt x="2021" y="1334"/>
                      <a:pt x="2021" y="1334"/>
                      <a:pt x="2021" y="1334"/>
                    </a:cubicBezTo>
                    <a:cubicBezTo>
                      <a:pt x="2016" y="1335"/>
                      <a:pt x="2016" y="1335"/>
                      <a:pt x="2016" y="1335"/>
                    </a:cubicBezTo>
                    <a:cubicBezTo>
                      <a:pt x="2012" y="1340"/>
                      <a:pt x="2012" y="1340"/>
                      <a:pt x="2012" y="1340"/>
                    </a:cubicBezTo>
                    <a:cubicBezTo>
                      <a:pt x="2009" y="1337"/>
                      <a:pt x="2009" y="1337"/>
                      <a:pt x="2009" y="1337"/>
                    </a:cubicBezTo>
                    <a:cubicBezTo>
                      <a:pt x="2007" y="1339"/>
                      <a:pt x="2007" y="1339"/>
                      <a:pt x="2007" y="1339"/>
                    </a:cubicBezTo>
                    <a:cubicBezTo>
                      <a:pt x="2001" y="1336"/>
                      <a:pt x="2001" y="1336"/>
                      <a:pt x="2001" y="1336"/>
                    </a:cubicBezTo>
                    <a:cubicBezTo>
                      <a:pt x="1995" y="1334"/>
                      <a:pt x="1995" y="1334"/>
                      <a:pt x="1995" y="1334"/>
                    </a:cubicBezTo>
                    <a:cubicBezTo>
                      <a:pt x="1995" y="1328"/>
                      <a:pt x="1995" y="1328"/>
                      <a:pt x="1995" y="1328"/>
                    </a:cubicBezTo>
                    <a:cubicBezTo>
                      <a:pt x="1993" y="1326"/>
                      <a:pt x="1993" y="1326"/>
                      <a:pt x="1993" y="1326"/>
                    </a:cubicBezTo>
                    <a:cubicBezTo>
                      <a:pt x="1988" y="1328"/>
                      <a:pt x="1988" y="1328"/>
                      <a:pt x="1988" y="1328"/>
                    </a:cubicBezTo>
                    <a:cubicBezTo>
                      <a:pt x="1984" y="1325"/>
                      <a:pt x="1984" y="1325"/>
                      <a:pt x="1984" y="1325"/>
                    </a:cubicBezTo>
                    <a:cubicBezTo>
                      <a:pt x="1983" y="1327"/>
                      <a:pt x="1983" y="1327"/>
                      <a:pt x="1983" y="1327"/>
                    </a:cubicBezTo>
                    <a:cubicBezTo>
                      <a:pt x="1983" y="1330"/>
                      <a:pt x="1983" y="1330"/>
                      <a:pt x="1983" y="1330"/>
                    </a:cubicBezTo>
                    <a:cubicBezTo>
                      <a:pt x="1979" y="1333"/>
                      <a:pt x="1979" y="1333"/>
                      <a:pt x="1979" y="1333"/>
                    </a:cubicBezTo>
                    <a:cubicBezTo>
                      <a:pt x="1979" y="1340"/>
                      <a:pt x="1979" y="1340"/>
                      <a:pt x="1979" y="1340"/>
                    </a:cubicBezTo>
                    <a:cubicBezTo>
                      <a:pt x="1976" y="1342"/>
                      <a:pt x="1976" y="1342"/>
                      <a:pt x="1976" y="1342"/>
                    </a:cubicBezTo>
                    <a:cubicBezTo>
                      <a:pt x="1975" y="1348"/>
                      <a:pt x="1975" y="1348"/>
                      <a:pt x="1975" y="1348"/>
                    </a:cubicBezTo>
                    <a:cubicBezTo>
                      <a:pt x="1973" y="1346"/>
                      <a:pt x="1973" y="1346"/>
                      <a:pt x="1973" y="1346"/>
                    </a:cubicBezTo>
                    <a:cubicBezTo>
                      <a:pt x="1968" y="1347"/>
                      <a:pt x="1968" y="1347"/>
                      <a:pt x="1968" y="1347"/>
                    </a:cubicBezTo>
                    <a:cubicBezTo>
                      <a:pt x="1967" y="1352"/>
                      <a:pt x="1967" y="1352"/>
                      <a:pt x="1967" y="1352"/>
                    </a:cubicBezTo>
                    <a:cubicBezTo>
                      <a:pt x="1966" y="1352"/>
                      <a:pt x="1966" y="1352"/>
                      <a:pt x="1966" y="1352"/>
                    </a:cubicBezTo>
                    <a:close/>
                    <a:moveTo>
                      <a:pt x="638" y="1365"/>
                    </a:moveTo>
                    <a:cubicBezTo>
                      <a:pt x="634" y="1362"/>
                      <a:pt x="634" y="1362"/>
                      <a:pt x="634" y="1362"/>
                    </a:cubicBezTo>
                    <a:cubicBezTo>
                      <a:pt x="611" y="1366"/>
                      <a:pt x="611" y="1366"/>
                      <a:pt x="611" y="1366"/>
                    </a:cubicBezTo>
                    <a:cubicBezTo>
                      <a:pt x="638" y="1365"/>
                      <a:pt x="638" y="1365"/>
                      <a:pt x="638" y="1365"/>
                    </a:cubicBezTo>
                    <a:close/>
                    <a:moveTo>
                      <a:pt x="2249" y="1287"/>
                    </a:moveTo>
                    <a:cubicBezTo>
                      <a:pt x="2251" y="1287"/>
                      <a:pt x="2251" y="1287"/>
                      <a:pt x="2251" y="1287"/>
                    </a:cubicBezTo>
                    <a:cubicBezTo>
                      <a:pt x="2254" y="1285"/>
                      <a:pt x="2254" y="1285"/>
                      <a:pt x="2254" y="1285"/>
                    </a:cubicBezTo>
                    <a:cubicBezTo>
                      <a:pt x="2255" y="1282"/>
                      <a:pt x="2255" y="1282"/>
                      <a:pt x="2255" y="1282"/>
                    </a:cubicBezTo>
                    <a:cubicBezTo>
                      <a:pt x="2252" y="1283"/>
                      <a:pt x="2252" y="1283"/>
                      <a:pt x="2252" y="1283"/>
                    </a:cubicBezTo>
                    <a:cubicBezTo>
                      <a:pt x="2249" y="1287"/>
                      <a:pt x="2249" y="1287"/>
                      <a:pt x="2249" y="1287"/>
                    </a:cubicBezTo>
                    <a:close/>
                    <a:moveTo>
                      <a:pt x="127" y="188"/>
                    </a:moveTo>
                    <a:cubicBezTo>
                      <a:pt x="124" y="184"/>
                      <a:pt x="124" y="184"/>
                      <a:pt x="124" y="184"/>
                    </a:cubicBezTo>
                    <a:cubicBezTo>
                      <a:pt x="124" y="179"/>
                      <a:pt x="124" y="179"/>
                      <a:pt x="124" y="179"/>
                    </a:cubicBezTo>
                    <a:cubicBezTo>
                      <a:pt x="122" y="177"/>
                      <a:pt x="122" y="177"/>
                      <a:pt x="122" y="177"/>
                    </a:cubicBezTo>
                    <a:cubicBezTo>
                      <a:pt x="119" y="176"/>
                      <a:pt x="119" y="176"/>
                      <a:pt x="119" y="176"/>
                    </a:cubicBezTo>
                    <a:cubicBezTo>
                      <a:pt x="118" y="172"/>
                      <a:pt x="118" y="172"/>
                      <a:pt x="118" y="172"/>
                    </a:cubicBezTo>
                    <a:cubicBezTo>
                      <a:pt x="122" y="169"/>
                      <a:pt x="122" y="169"/>
                      <a:pt x="122" y="169"/>
                    </a:cubicBezTo>
                    <a:cubicBezTo>
                      <a:pt x="125" y="165"/>
                      <a:pt x="125" y="165"/>
                      <a:pt x="125" y="165"/>
                    </a:cubicBezTo>
                    <a:cubicBezTo>
                      <a:pt x="130" y="165"/>
                      <a:pt x="130" y="165"/>
                      <a:pt x="130" y="165"/>
                    </a:cubicBezTo>
                    <a:cubicBezTo>
                      <a:pt x="133" y="162"/>
                      <a:pt x="133" y="162"/>
                      <a:pt x="133" y="162"/>
                    </a:cubicBezTo>
                    <a:cubicBezTo>
                      <a:pt x="135" y="164"/>
                      <a:pt x="135" y="164"/>
                      <a:pt x="135" y="164"/>
                    </a:cubicBezTo>
                    <a:cubicBezTo>
                      <a:pt x="137" y="167"/>
                      <a:pt x="137" y="167"/>
                      <a:pt x="137" y="167"/>
                    </a:cubicBezTo>
                    <a:cubicBezTo>
                      <a:pt x="141" y="169"/>
                      <a:pt x="141" y="169"/>
                      <a:pt x="141" y="169"/>
                    </a:cubicBezTo>
                    <a:cubicBezTo>
                      <a:pt x="146" y="169"/>
                      <a:pt x="146" y="169"/>
                      <a:pt x="146" y="169"/>
                    </a:cubicBezTo>
                    <a:cubicBezTo>
                      <a:pt x="146" y="167"/>
                      <a:pt x="146" y="167"/>
                      <a:pt x="146" y="167"/>
                    </a:cubicBezTo>
                    <a:cubicBezTo>
                      <a:pt x="148" y="166"/>
                      <a:pt x="148" y="166"/>
                      <a:pt x="148" y="166"/>
                    </a:cubicBezTo>
                    <a:cubicBezTo>
                      <a:pt x="146" y="164"/>
                      <a:pt x="146" y="164"/>
                      <a:pt x="146" y="164"/>
                    </a:cubicBezTo>
                    <a:cubicBezTo>
                      <a:pt x="142" y="163"/>
                      <a:pt x="142" y="163"/>
                      <a:pt x="142" y="163"/>
                    </a:cubicBezTo>
                    <a:cubicBezTo>
                      <a:pt x="132" y="157"/>
                      <a:pt x="132" y="157"/>
                      <a:pt x="132" y="157"/>
                    </a:cubicBezTo>
                    <a:cubicBezTo>
                      <a:pt x="123" y="156"/>
                      <a:pt x="123" y="156"/>
                      <a:pt x="123" y="156"/>
                    </a:cubicBezTo>
                    <a:cubicBezTo>
                      <a:pt x="118" y="156"/>
                      <a:pt x="118" y="156"/>
                      <a:pt x="118" y="156"/>
                    </a:cubicBezTo>
                    <a:cubicBezTo>
                      <a:pt x="111" y="162"/>
                      <a:pt x="111" y="162"/>
                      <a:pt x="111" y="162"/>
                    </a:cubicBezTo>
                    <a:cubicBezTo>
                      <a:pt x="108" y="168"/>
                      <a:pt x="108" y="168"/>
                      <a:pt x="108" y="168"/>
                    </a:cubicBezTo>
                    <a:cubicBezTo>
                      <a:pt x="104" y="169"/>
                      <a:pt x="104" y="169"/>
                      <a:pt x="104" y="169"/>
                    </a:cubicBezTo>
                    <a:cubicBezTo>
                      <a:pt x="99" y="173"/>
                      <a:pt x="99" y="173"/>
                      <a:pt x="99" y="173"/>
                    </a:cubicBezTo>
                    <a:cubicBezTo>
                      <a:pt x="99" y="182"/>
                      <a:pt x="99" y="182"/>
                      <a:pt x="99" y="182"/>
                    </a:cubicBezTo>
                    <a:cubicBezTo>
                      <a:pt x="102" y="184"/>
                      <a:pt x="102" y="184"/>
                      <a:pt x="102" y="184"/>
                    </a:cubicBezTo>
                    <a:cubicBezTo>
                      <a:pt x="107" y="182"/>
                      <a:pt x="107" y="182"/>
                      <a:pt x="107" y="182"/>
                    </a:cubicBezTo>
                    <a:cubicBezTo>
                      <a:pt x="110" y="184"/>
                      <a:pt x="110" y="184"/>
                      <a:pt x="110" y="184"/>
                    </a:cubicBezTo>
                    <a:cubicBezTo>
                      <a:pt x="112" y="187"/>
                      <a:pt x="112" y="187"/>
                      <a:pt x="112" y="187"/>
                    </a:cubicBezTo>
                    <a:cubicBezTo>
                      <a:pt x="115" y="188"/>
                      <a:pt x="115" y="188"/>
                      <a:pt x="115" y="188"/>
                    </a:cubicBezTo>
                    <a:cubicBezTo>
                      <a:pt x="116" y="185"/>
                      <a:pt x="116" y="185"/>
                      <a:pt x="116" y="185"/>
                    </a:cubicBezTo>
                    <a:cubicBezTo>
                      <a:pt x="116" y="183"/>
                      <a:pt x="116" y="183"/>
                      <a:pt x="116" y="183"/>
                    </a:cubicBezTo>
                    <a:cubicBezTo>
                      <a:pt x="118" y="181"/>
                      <a:pt x="118" y="181"/>
                      <a:pt x="118" y="181"/>
                    </a:cubicBezTo>
                    <a:cubicBezTo>
                      <a:pt x="121" y="184"/>
                      <a:pt x="121" y="184"/>
                      <a:pt x="121" y="184"/>
                    </a:cubicBezTo>
                    <a:cubicBezTo>
                      <a:pt x="123" y="189"/>
                      <a:pt x="123" y="189"/>
                      <a:pt x="123" y="189"/>
                    </a:cubicBezTo>
                    <a:cubicBezTo>
                      <a:pt x="126" y="191"/>
                      <a:pt x="126" y="191"/>
                      <a:pt x="126" y="191"/>
                    </a:cubicBezTo>
                    <a:cubicBezTo>
                      <a:pt x="127" y="188"/>
                      <a:pt x="127" y="188"/>
                      <a:pt x="127" y="188"/>
                    </a:cubicBezTo>
                    <a:close/>
                    <a:moveTo>
                      <a:pt x="157" y="134"/>
                    </a:moveTo>
                    <a:cubicBezTo>
                      <a:pt x="158" y="130"/>
                      <a:pt x="158" y="130"/>
                      <a:pt x="158" y="130"/>
                    </a:cubicBezTo>
                    <a:cubicBezTo>
                      <a:pt x="160" y="127"/>
                      <a:pt x="160" y="127"/>
                      <a:pt x="160" y="127"/>
                    </a:cubicBezTo>
                    <a:cubicBezTo>
                      <a:pt x="162" y="127"/>
                      <a:pt x="162" y="127"/>
                      <a:pt x="162" y="127"/>
                    </a:cubicBezTo>
                    <a:cubicBezTo>
                      <a:pt x="162" y="130"/>
                      <a:pt x="162" y="130"/>
                      <a:pt x="162" y="130"/>
                    </a:cubicBezTo>
                    <a:cubicBezTo>
                      <a:pt x="164" y="132"/>
                      <a:pt x="164" y="132"/>
                      <a:pt x="164" y="132"/>
                    </a:cubicBezTo>
                    <a:cubicBezTo>
                      <a:pt x="163" y="135"/>
                      <a:pt x="163" y="135"/>
                      <a:pt x="163" y="135"/>
                    </a:cubicBezTo>
                    <a:cubicBezTo>
                      <a:pt x="158" y="135"/>
                      <a:pt x="158" y="135"/>
                      <a:pt x="158" y="135"/>
                    </a:cubicBezTo>
                    <a:cubicBezTo>
                      <a:pt x="157" y="134"/>
                      <a:pt x="157" y="134"/>
                      <a:pt x="157" y="134"/>
                    </a:cubicBezTo>
                    <a:close/>
                    <a:moveTo>
                      <a:pt x="149" y="208"/>
                    </a:moveTo>
                    <a:cubicBezTo>
                      <a:pt x="151" y="208"/>
                      <a:pt x="151" y="208"/>
                      <a:pt x="151" y="208"/>
                    </a:cubicBezTo>
                    <a:cubicBezTo>
                      <a:pt x="153" y="207"/>
                      <a:pt x="153" y="207"/>
                      <a:pt x="153" y="207"/>
                    </a:cubicBezTo>
                    <a:cubicBezTo>
                      <a:pt x="155" y="204"/>
                      <a:pt x="155" y="204"/>
                      <a:pt x="155" y="204"/>
                    </a:cubicBezTo>
                    <a:cubicBezTo>
                      <a:pt x="154" y="201"/>
                      <a:pt x="154" y="201"/>
                      <a:pt x="154" y="201"/>
                    </a:cubicBezTo>
                    <a:cubicBezTo>
                      <a:pt x="155" y="199"/>
                      <a:pt x="155" y="199"/>
                      <a:pt x="155" y="199"/>
                    </a:cubicBezTo>
                    <a:cubicBezTo>
                      <a:pt x="157" y="201"/>
                      <a:pt x="157" y="201"/>
                      <a:pt x="157" y="201"/>
                    </a:cubicBezTo>
                    <a:cubicBezTo>
                      <a:pt x="159" y="199"/>
                      <a:pt x="159" y="199"/>
                      <a:pt x="159" y="199"/>
                    </a:cubicBezTo>
                    <a:cubicBezTo>
                      <a:pt x="160" y="194"/>
                      <a:pt x="160" y="194"/>
                      <a:pt x="160" y="194"/>
                    </a:cubicBezTo>
                    <a:cubicBezTo>
                      <a:pt x="160" y="189"/>
                      <a:pt x="160" y="189"/>
                      <a:pt x="160" y="189"/>
                    </a:cubicBezTo>
                    <a:cubicBezTo>
                      <a:pt x="157" y="186"/>
                      <a:pt x="157" y="186"/>
                      <a:pt x="157" y="186"/>
                    </a:cubicBezTo>
                    <a:cubicBezTo>
                      <a:pt x="156" y="185"/>
                      <a:pt x="156" y="185"/>
                      <a:pt x="156" y="185"/>
                    </a:cubicBezTo>
                    <a:cubicBezTo>
                      <a:pt x="160" y="183"/>
                      <a:pt x="160" y="183"/>
                      <a:pt x="160" y="183"/>
                    </a:cubicBezTo>
                    <a:cubicBezTo>
                      <a:pt x="163" y="183"/>
                      <a:pt x="163" y="183"/>
                      <a:pt x="163" y="183"/>
                    </a:cubicBezTo>
                    <a:cubicBezTo>
                      <a:pt x="169" y="182"/>
                      <a:pt x="169" y="182"/>
                      <a:pt x="169" y="182"/>
                    </a:cubicBezTo>
                    <a:cubicBezTo>
                      <a:pt x="170" y="181"/>
                      <a:pt x="170" y="181"/>
                      <a:pt x="170" y="181"/>
                    </a:cubicBezTo>
                    <a:cubicBezTo>
                      <a:pt x="170" y="180"/>
                      <a:pt x="170" y="180"/>
                      <a:pt x="170" y="180"/>
                    </a:cubicBezTo>
                    <a:cubicBezTo>
                      <a:pt x="169" y="178"/>
                      <a:pt x="169" y="178"/>
                      <a:pt x="169" y="178"/>
                    </a:cubicBezTo>
                    <a:cubicBezTo>
                      <a:pt x="168" y="176"/>
                      <a:pt x="168" y="176"/>
                      <a:pt x="168" y="176"/>
                    </a:cubicBezTo>
                    <a:cubicBezTo>
                      <a:pt x="166" y="176"/>
                      <a:pt x="166" y="176"/>
                      <a:pt x="166" y="176"/>
                    </a:cubicBezTo>
                    <a:cubicBezTo>
                      <a:pt x="165" y="175"/>
                      <a:pt x="165" y="175"/>
                      <a:pt x="165" y="175"/>
                    </a:cubicBezTo>
                    <a:cubicBezTo>
                      <a:pt x="165" y="171"/>
                      <a:pt x="165" y="171"/>
                      <a:pt x="165" y="171"/>
                    </a:cubicBezTo>
                    <a:cubicBezTo>
                      <a:pt x="167" y="170"/>
                      <a:pt x="167" y="170"/>
                      <a:pt x="167" y="170"/>
                    </a:cubicBezTo>
                    <a:cubicBezTo>
                      <a:pt x="169" y="170"/>
                      <a:pt x="169" y="170"/>
                      <a:pt x="169" y="170"/>
                    </a:cubicBezTo>
                    <a:cubicBezTo>
                      <a:pt x="169" y="171"/>
                      <a:pt x="169" y="171"/>
                      <a:pt x="169" y="171"/>
                    </a:cubicBezTo>
                    <a:cubicBezTo>
                      <a:pt x="171" y="172"/>
                      <a:pt x="171" y="172"/>
                      <a:pt x="171" y="172"/>
                    </a:cubicBezTo>
                    <a:cubicBezTo>
                      <a:pt x="174" y="171"/>
                      <a:pt x="174" y="171"/>
                      <a:pt x="174" y="171"/>
                    </a:cubicBezTo>
                    <a:cubicBezTo>
                      <a:pt x="177" y="167"/>
                      <a:pt x="177" y="167"/>
                      <a:pt x="177" y="167"/>
                    </a:cubicBezTo>
                    <a:cubicBezTo>
                      <a:pt x="180" y="166"/>
                      <a:pt x="180" y="166"/>
                      <a:pt x="180" y="166"/>
                    </a:cubicBezTo>
                    <a:cubicBezTo>
                      <a:pt x="180" y="164"/>
                      <a:pt x="180" y="164"/>
                      <a:pt x="180" y="164"/>
                    </a:cubicBezTo>
                    <a:cubicBezTo>
                      <a:pt x="178" y="161"/>
                      <a:pt x="178" y="161"/>
                      <a:pt x="178" y="161"/>
                    </a:cubicBezTo>
                    <a:cubicBezTo>
                      <a:pt x="178" y="159"/>
                      <a:pt x="178" y="159"/>
                      <a:pt x="178" y="159"/>
                    </a:cubicBezTo>
                    <a:cubicBezTo>
                      <a:pt x="174" y="156"/>
                      <a:pt x="174" y="156"/>
                      <a:pt x="174" y="156"/>
                    </a:cubicBezTo>
                    <a:cubicBezTo>
                      <a:pt x="173" y="153"/>
                      <a:pt x="173" y="153"/>
                      <a:pt x="173" y="153"/>
                    </a:cubicBezTo>
                    <a:cubicBezTo>
                      <a:pt x="172" y="153"/>
                      <a:pt x="172" y="153"/>
                      <a:pt x="172" y="153"/>
                    </a:cubicBezTo>
                    <a:cubicBezTo>
                      <a:pt x="167" y="155"/>
                      <a:pt x="167" y="155"/>
                      <a:pt x="167" y="155"/>
                    </a:cubicBezTo>
                    <a:cubicBezTo>
                      <a:pt x="165" y="159"/>
                      <a:pt x="165" y="159"/>
                      <a:pt x="165" y="159"/>
                    </a:cubicBezTo>
                    <a:cubicBezTo>
                      <a:pt x="163" y="160"/>
                      <a:pt x="163" y="160"/>
                      <a:pt x="163" y="160"/>
                    </a:cubicBezTo>
                    <a:cubicBezTo>
                      <a:pt x="163" y="158"/>
                      <a:pt x="163" y="158"/>
                      <a:pt x="163" y="158"/>
                    </a:cubicBezTo>
                    <a:cubicBezTo>
                      <a:pt x="164" y="155"/>
                      <a:pt x="164" y="155"/>
                      <a:pt x="164" y="155"/>
                    </a:cubicBezTo>
                    <a:cubicBezTo>
                      <a:pt x="166" y="152"/>
                      <a:pt x="166" y="152"/>
                      <a:pt x="166" y="152"/>
                    </a:cubicBezTo>
                    <a:cubicBezTo>
                      <a:pt x="168" y="148"/>
                      <a:pt x="168" y="148"/>
                      <a:pt x="168" y="148"/>
                    </a:cubicBezTo>
                    <a:cubicBezTo>
                      <a:pt x="168" y="143"/>
                      <a:pt x="168" y="143"/>
                      <a:pt x="168" y="143"/>
                    </a:cubicBezTo>
                    <a:cubicBezTo>
                      <a:pt x="168" y="142"/>
                      <a:pt x="168" y="142"/>
                      <a:pt x="168" y="142"/>
                    </a:cubicBezTo>
                    <a:cubicBezTo>
                      <a:pt x="164" y="146"/>
                      <a:pt x="164" y="146"/>
                      <a:pt x="164" y="146"/>
                    </a:cubicBezTo>
                    <a:cubicBezTo>
                      <a:pt x="161" y="151"/>
                      <a:pt x="161" y="151"/>
                      <a:pt x="161" y="151"/>
                    </a:cubicBezTo>
                    <a:cubicBezTo>
                      <a:pt x="160" y="152"/>
                      <a:pt x="160" y="152"/>
                      <a:pt x="160" y="152"/>
                    </a:cubicBezTo>
                    <a:cubicBezTo>
                      <a:pt x="160" y="150"/>
                      <a:pt x="160" y="150"/>
                      <a:pt x="160" y="150"/>
                    </a:cubicBezTo>
                    <a:cubicBezTo>
                      <a:pt x="160" y="147"/>
                      <a:pt x="160" y="147"/>
                      <a:pt x="160" y="147"/>
                    </a:cubicBezTo>
                    <a:cubicBezTo>
                      <a:pt x="159" y="145"/>
                      <a:pt x="159" y="145"/>
                      <a:pt x="159" y="145"/>
                    </a:cubicBezTo>
                    <a:cubicBezTo>
                      <a:pt x="158" y="146"/>
                      <a:pt x="158" y="146"/>
                      <a:pt x="158" y="146"/>
                    </a:cubicBezTo>
                    <a:cubicBezTo>
                      <a:pt x="156" y="151"/>
                      <a:pt x="156" y="151"/>
                      <a:pt x="156" y="151"/>
                    </a:cubicBezTo>
                    <a:cubicBezTo>
                      <a:pt x="153" y="152"/>
                      <a:pt x="153" y="152"/>
                      <a:pt x="153" y="152"/>
                    </a:cubicBezTo>
                    <a:cubicBezTo>
                      <a:pt x="153" y="155"/>
                      <a:pt x="153" y="155"/>
                      <a:pt x="153" y="155"/>
                    </a:cubicBezTo>
                    <a:cubicBezTo>
                      <a:pt x="155" y="156"/>
                      <a:pt x="155" y="156"/>
                      <a:pt x="155" y="156"/>
                    </a:cubicBezTo>
                    <a:cubicBezTo>
                      <a:pt x="158" y="156"/>
                      <a:pt x="158" y="156"/>
                      <a:pt x="158" y="156"/>
                    </a:cubicBezTo>
                    <a:cubicBezTo>
                      <a:pt x="159" y="156"/>
                      <a:pt x="159" y="156"/>
                      <a:pt x="159" y="156"/>
                    </a:cubicBezTo>
                    <a:cubicBezTo>
                      <a:pt x="159" y="159"/>
                      <a:pt x="159" y="159"/>
                      <a:pt x="159" y="159"/>
                    </a:cubicBezTo>
                    <a:cubicBezTo>
                      <a:pt x="156" y="160"/>
                      <a:pt x="156" y="160"/>
                      <a:pt x="156" y="160"/>
                    </a:cubicBezTo>
                    <a:cubicBezTo>
                      <a:pt x="154" y="162"/>
                      <a:pt x="154" y="162"/>
                      <a:pt x="154" y="162"/>
                    </a:cubicBezTo>
                    <a:cubicBezTo>
                      <a:pt x="154" y="166"/>
                      <a:pt x="154" y="166"/>
                      <a:pt x="154" y="166"/>
                    </a:cubicBezTo>
                    <a:cubicBezTo>
                      <a:pt x="153" y="169"/>
                      <a:pt x="153" y="169"/>
                      <a:pt x="153" y="169"/>
                    </a:cubicBezTo>
                    <a:cubicBezTo>
                      <a:pt x="150" y="169"/>
                      <a:pt x="150" y="169"/>
                      <a:pt x="150" y="169"/>
                    </a:cubicBezTo>
                    <a:cubicBezTo>
                      <a:pt x="147" y="173"/>
                      <a:pt x="147" y="173"/>
                      <a:pt x="147" y="173"/>
                    </a:cubicBezTo>
                    <a:cubicBezTo>
                      <a:pt x="144" y="175"/>
                      <a:pt x="144" y="175"/>
                      <a:pt x="144" y="175"/>
                    </a:cubicBezTo>
                    <a:cubicBezTo>
                      <a:pt x="140" y="173"/>
                      <a:pt x="140" y="173"/>
                      <a:pt x="140" y="173"/>
                    </a:cubicBezTo>
                    <a:cubicBezTo>
                      <a:pt x="137" y="174"/>
                      <a:pt x="137" y="174"/>
                      <a:pt x="137" y="174"/>
                    </a:cubicBezTo>
                    <a:cubicBezTo>
                      <a:pt x="133" y="172"/>
                      <a:pt x="133" y="172"/>
                      <a:pt x="133" y="172"/>
                    </a:cubicBezTo>
                    <a:cubicBezTo>
                      <a:pt x="131" y="170"/>
                      <a:pt x="131" y="170"/>
                      <a:pt x="131" y="170"/>
                    </a:cubicBezTo>
                    <a:cubicBezTo>
                      <a:pt x="129" y="172"/>
                      <a:pt x="129" y="172"/>
                      <a:pt x="129" y="172"/>
                    </a:cubicBezTo>
                    <a:cubicBezTo>
                      <a:pt x="129" y="174"/>
                      <a:pt x="129" y="174"/>
                      <a:pt x="129" y="174"/>
                    </a:cubicBezTo>
                    <a:cubicBezTo>
                      <a:pt x="129" y="176"/>
                      <a:pt x="129" y="176"/>
                      <a:pt x="129" y="176"/>
                    </a:cubicBezTo>
                    <a:cubicBezTo>
                      <a:pt x="128" y="179"/>
                      <a:pt x="128" y="179"/>
                      <a:pt x="128" y="179"/>
                    </a:cubicBezTo>
                    <a:cubicBezTo>
                      <a:pt x="132" y="180"/>
                      <a:pt x="132" y="180"/>
                      <a:pt x="132" y="180"/>
                    </a:cubicBezTo>
                    <a:cubicBezTo>
                      <a:pt x="134" y="177"/>
                      <a:pt x="134" y="177"/>
                      <a:pt x="134" y="177"/>
                    </a:cubicBezTo>
                    <a:cubicBezTo>
                      <a:pt x="137" y="179"/>
                      <a:pt x="137" y="179"/>
                      <a:pt x="137" y="179"/>
                    </a:cubicBezTo>
                    <a:cubicBezTo>
                      <a:pt x="138" y="184"/>
                      <a:pt x="138" y="184"/>
                      <a:pt x="138" y="184"/>
                    </a:cubicBezTo>
                    <a:cubicBezTo>
                      <a:pt x="141" y="184"/>
                      <a:pt x="141" y="184"/>
                      <a:pt x="141" y="184"/>
                    </a:cubicBezTo>
                    <a:cubicBezTo>
                      <a:pt x="143" y="186"/>
                      <a:pt x="143" y="186"/>
                      <a:pt x="143" y="186"/>
                    </a:cubicBezTo>
                    <a:cubicBezTo>
                      <a:pt x="140" y="187"/>
                      <a:pt x="140" y="187"/>
                      <a:pt x="140" y="187"/>
                    </a:cubicBezTo>
                    <a:cubicBezTo>
                      <a:pt x="136" y="187"/>
                      <a:pt x="136" y="187"/>
                      <a:pt x="136" y="187"/>
                    </a:cubicBezTo>
                    <a:cubicBezTo>
                      <a:pt x="133" y="189"/>
                      <a:pt x="133" y="189"/>
                      <a:pt x="133" y="189"/>
                    </a:cubicBezTo>
                    <a:cubicBezTo>
                      <a:pt x="134" y="198"/>
                      <a:pt x="134" y="198"/>
                      <a:pt x="134" y="198"/>
                    </a:cubicBezTo>
                    <a:cubicBezTo>
                      <a:pt x="136" y="201"/>
                      <a:pt x="136" y="201"/>
                      <a:pt x="136" y="201"/>
                    </a:cubicBezTo>
                    <a:cubicBezTo>
                      <a:pt x="135" y="203"/>
                      <a:pt x="135" y="203"/>
                      <a:pt x="135" y="203"/>
                    </a:cubicBezTo>
                    <a:cubicBezTo>
                      <a:pt x="136" y="206"/>
                      <a:pt x="136" y="206"/>
                      <a:pt x="136" y="206"/>
                    </a:cubicBezTo>
                    <a:cubicBezTo>
                      <a:pt x="138" y="204"/>
                      <a:pt x="138" y="204"/>
                      <a:pt x="138" y="204"/>
                    </a:cubicBezTo>
                    <a:cubicBezTo>
                      <a:pt x="142" y="205"/>
                      <a:pt x="142" y="205"/>
                      <a:pt x="142" y="205"/>
                    </a:cubicBezTo>
                    <a:cubicBezTo>
                      <a:pt x="143" y="202"/>
                      <a:pt x="143" y="202"/>
                      <a:pt x="143" y="202"/>
                    </a:cubicBezTo>
                    <a:cubicBezTo>
                      <a:pt x="144" y="198"/>
                      <a:pt x="144" y="198"/>
                      <a:pt x="144" y="198"/>
                    </a:cubicBezTo>
                    <a:cubicBezTo>
                      <a:pt x="146" y="198"/>
                      <a:pt x="146" y="198"/>
                      <a:pt x="146" y="198"/>
                    </a:cubicBezTo>
                    <a:cubicBezTo>
                      <a:pt x="149" y="201"/>
                      <a:pt x="149" y="201"/>
                      <a:pt x="149" y="201"/>
                    </a:cubicBezTo>
                    <a:cubicBezTo>
                      <a:pt x="149" y="208"/>
                      <a:pt x="149" y="208"/>
                      <a:pt x="149" y="208"/>
                    </a:cubicBezTo>
                    <a:close/>
                    <a:moveTo>
                      <a:pt x="174" y="201"/>
                    </a:moveTo>
                    <a:cubicBezTo>
                      <a:pt x="175" y="198"/>
                      <a:pt x="175" y="198"/>
                      <a:pt x="175" y="198"/>
                    </a:cubicBezTo>
                    <a:cubicBezTo>
                      <a:pt x="177" y="195"/>
                      <a:pt x="177" y="195"/>
                      <a:pt x="177" y="195"/>
                    </a:cubicBezTo>
                    <a:cubicBezTo>
                      <a:pt x="176" y="192"/>
                      <a:pt x="176" y="192"/>
                      <a:pt x="176" y="192"/>
                    </a:cubicBezTo>
                    <a:cubicBezTo>
                      <a:pt x="172" y="190"/>
                      <a:pt x="172" y="190"/>
                      <a:pt x="172" y="190"/>
                    </a:cubicBezTo>
                    <a:cubicBezTo>
                      <a:pt x="169" y="188"/>
                      <a:pt x="169" y="188"/>
                      <a:pt x="169" y="188"/>
                    </a:cubicBezTo>
                    <a:cubicBezTo>
                      <a:pt x="168" y="193"/>
                      <a:pt x="168" y="193"/>
                      <a:pt x="168" y="193"/>
                    </a:cubicBezTo>
                    <a:cubicBezTo>
                      <a:pt x="167" y="195"/>
                      <a:pt x="167" y="195"/>
                      <a:pt x="167" y="195"/>
                    </a:cubicBezTo>
                    <a:cubicBezTo>
                      <a:pt x="168" y="198"/>
                      <a:pt x="168" y="198"/>
                      <a:pt x="168" y="198"/>
                    </a:cubicBezTo>
                    <a:cubicBezTo>
                      <a:pt x="174" y="201"/>
                      <a:pt x="174" y="201"/>
                      <a:pt x="174" y="201"/>
                    </a:cubicBezTo>
                    <a:close/>
                    <a:moveTo>
                      <a:pt x="180" y="211"/>
                    </a:moveTo>
                    <a:cubicBezTo>
                      <a:pt x="183" y="211"/>
                      <a:pt x="183" y="211"/>
                      <a:pt x="183" y="211"/>
                    </a:cubicBezTo>
                    <a:cubicBezTo>
                      <a:pt x="186" y="209"/>
                      <a:pt x="186" y="209"/>
                      <a:pt x="186" y="209"/>
                    </a:cubicBezTo>
                    <a:cubicBezTo>
                      <a:pt x="192" y="209"/>
                      <a:pt x="192" y="209"/>
                      <a:pt x="192" y="209"/>
                    </a:cubicBezTo>
                    <a:cubicBezTo>
                      <a:pt x="193" y="207"/>
                      <a:pt x="193" y="207"/>
                      <a:pt x="193" y="207"/>
                    </a:cubicBezTo>
                    <a:cubicBezTo>
                      <a:pt x="192" y="204"/>
                      <a:pt x="192" y="204"/>
                      <a:pt x="192" y="204"/>
                    </a:cubicBezTo>
                    <a:cubicBezTo>
                      <a:pt x="188" y="204"/>
                      <a:pt x="188" y="204"/>
                      <a:pt x="188" y="204"/>
                    </a:cubicBezTo>
                    <a:cubicBezTo>
                      <a:pt x="187" y="200"/>
                      <a:pt x="187" y="200"/>
                      <a:pt x="187" y="200"/>
                    </a:cubicBezTo>
                    <a:cubicBezTo>
                      <a:pt x="183" y="194"/>
                      <a:pt x="183" y="194"/>
                      <a:pt x="183" y="194"/>
                    </a:cubicBezTo>
                    <a:cubicBezTo>
                      <a:pt x="182" y="196"/>
                      <a:pt x="182" y="196"/>
                      <a:pt x="182" y="196"/>
                    </a:cubicBezTo>
                    <a:cubicBezTo>
                      <a:pt x="182" y="202"/>
                      <a:pt x="182" y="202"/>
                      <a:pt x="182" y="202"/>
                    </a:cubicBezTo>
                    <a:cubicBezTo>
                      <a:pt x="181" y="204"/>
                      <a:pt x="181" y="204"/>
                      <a:pt x="181" y="204"/>
                    </a:cubicBezTo>
                    <a:cubicBezTo>
                      <a:pt x="176" y="204"/>
                      <a:pt x="176" y="204"/>
                      <a:pt x="176" y="204"/>
                    </a:cubicBezTo>
                    <a:cubicBezTo>
                      <a:pt x="175" y="205"/>
                      <a:pt x="175" y="205"/>
                      <a:pt x="175" y="205"/>
                    </a:cubicBezTo>
                    <a:cubicBezTo>
                      <a:pt x="179" y="208"/>
                      <a:pt x="179" y="208"/>
                      <a:pt x="179" y="208"/>
                    </a:cubicBezTo>
                    <a:cubicBezTo>
                      <a:pt x="180" y="211"/>
                      <a:pt x="180" y="211"/>
                      <a:pt x="180" y="211"/>
                    </a:cubicBezTo>
                    <a:close/>
                    <a:moveTo>
                      <a:pt x="229" y="80"/>
                    </a:moveTo>
                    <a:cubicBezTo>
                      <a:pt x="233" y="77"/>
                      <a:pt x="233" y="77"/>
                      <a:pt x="233" y="77"/>
                    </a:cubicBezTo>
                    <a:cubicBezTo>
                      <a:pt x="237" y="77"/>
                      <a:pt x="237" y="77"/>
                      <a:pt x="237" y="77"/>
                    </a:cubicBezTo>
                    <a:cubicBezTo>
                      <a:pt x="238" y="75"/>
                      <a:pt x="238" y="75"/>
                      <a:pt x="238" y="75"/>
                    </a:cubicBezTo>
                    <a:cubicBezTo>
                      <a:pt x="239" y="74"/>
                      <a:pt x="239" y="74"/>
                      <a:pt x="239" y="74"/>
                    </a:cubicBezTo>
                    <a:cubicBezTo>
                      <a:pt x="238" y="72"/>
                      <a:pt x="238" y="72"/>
                      <a:pt x="238" y="72"/>
                    </a:cubicBezTo>
                    <a:cubicBezTo>
                      <a:pt x="237" y="68"/>
                      <a:pt x="237" y="68"/>
                      <a:pt x="237" y="68"/>
                    </a:cubicBezTo>
                    <a:cubicBezTo>
                      <a:pt x="235" y="67"/>
                      <a:pt x="235" y="67"/>
                      <a:pt x="235" y="67"/>
                    </a:cubicBezTo>
                    <a:cubicBezTo>
                      <a:pt x="232" y="68"/>
                      <a:pt x="232" y="68"/>
                      <a:pt x="232" y="68"/>
                    </a:cubicBezTo>
                    <a:cubicBezTo>
                      <a:pt x="227" y="70"/>
                      <a:pt x="227" y="70"/>
                      <a:pt x="227" y="70"/>
                    </a:cubicBezTo>
                    <a:cubicBezTo>
                      <a:pt x="224" y="71"/>
                      <a:pt x="224" y="71"/>
                      <a:pt x="224" y="71"/>
                    </a:cubicBezTo>
                    <a:cubicBezTo>
                      <a:pt x="224" y="73"/>
                      <a:pt x="224" y="73"/>
                      <a:pt x="224" y="73"/>
                    </a:cubicBezTo>
                    <a:cubicBezTo>
                      <a:pt x="226" y="74"/>
                      <a:pt x="226" y="74"/>
                      <a:pt x="226" y="74"/>
                    </a:cubicBezTo>
                    <a:cubicBezTo>
                      <a:pt x="227" y="77"/>
                      <a:pt x="227" y="77"/>
                      <a:pt x="227" y="77"/>
                    </a:cubicBezTo>
                    <a:cubicBezTo>
                      <a:pt x="229" y="80"/>
                      <a:pt x="229" y="80"/>
                      <a:pt x="229" y="80"/>
                    </a:cubicBezTo>
                    <a:close/>
                    <a:moveTo>
                      <a:pt x="233" y="86"/>
                    </a:moveTo>
                    <a:cubicBezTo>
                      <a:pt x="233" y="84"/>
                      <a:pt x="233" y="84"/>
                      <a:pt x="233" y="84"/>
                    </a:cubicBezTo>
                    <a:cubicBezTo>
                      <a:pt x="234" y="82"/>
                      <a:pt x="234" y="82"/>
                      <a:pt x="234" y="82"/>
                    </a:cubicBezTo>
                    <a:cubicBezTo>
                      <a:pt x="235" y="85"/>
                      <a:pt x="235" y="85"/>
                      <a:pt x="235" y="85"/>
                    </a:cubicBezTo>
                    <a:cubicBezTo>
                      <a:pt x="233" y="86"/>
                      <a:pt x="233" y="86"/>
                      <a:pt x="233" y="86"/>
                    </a:cubicBezTo>
                    <a:close/>
                    <a:moveTo>
                      <a:pt x="234" y="98"/>
                    </a:moveTo>
                    <a:cubicBezTo>
                      <a:pt x="236" y="95"/>
                      <a:pt x="236" y="95"/>
                      <a:pt x="236" y="95"/>
                    </a:cubicBezTo>
                    <a:cubicBezTo>
                      <a:pt x="238" y="94"/>
                      <a:pt x="238" y="94"/>
                      <a:pt x="238" y="94"/>
                    </a:cubicBezTo>
                    <a:cubicBezTo>
                      <a:pt x="239" y="92"/>
                      <a:pt x="239" y="92"/>
                      <a:pt x="239" y="92"/>
                    </a:cubicBezTo>
                    <a:cubicBezTo>
                      <a:pt x="237" y="90"/>
                      <a:pt x="237" y="90"/>
                      <a:pt x="237" y="90"/>
                    </a:cubicBezTo>
                    <a:cubicBezTo>
                      <a:pt x="236" y="91"/>
                      <a:pt x="236" y="91"/>
                      <a:pt x="236" y="91"/>
                    </a:cubicBezTo>
                    <a:cubicBezTo>
                      <a:pt x="232" y="91"/>
                      <a:pt x="232" y="91"/>
                      <a:pt x="232" y="91"/>
                    </a:cubicBezTo>
                    <a:cubicBezTo>
                      <a:pt x="230" y="89"/>
                      <a:pt x="230" y="89"/>
                      <a:pt x="230" y="89"/>
                    </a:cubicBezTo>
                    <a:cubicBezTo>
                      <a:pt x="227" y="89"/>
                      <a:pt x="227" y="89"/>
                      <a:pt x="227" y="89"/>
                    </a:cubicBezTo>
                    <a:cubicBezTo>
                      <a:pt x="224" y="91"/>
                      <a:pt x="224" y="91"/>
                      <a:pt x="224" y="91"/>
                    </a:cubicBezTo>
                    <a:cubicBezTo>
                      <a:pt x="220" y="94"/>
                      <a:pt x="220" y="94"/>
                      <a:pt x="220" y="94"/>
                    </a:cubicBezTo>
                    <a:cubicBezTo>
                      <a:pt x="220" y="96"/>
                      <a:pt x="220" y="96"/>
                      <a:pt x="220" y="96"/>
                    </a:cubicBezTo>
                    <a:cubicBezTo>
                      <a:pt x="221" y="98"/>
                      <a:pt x="221" y="98"/>
                      <a:pt x="221" y="98"/>
                    </a:cubicBezTo>
                    <a:cubicBezTo>
                      <a:pt x="224" y="99"/>
                      <a:pt x="224" y="99"/>
                      <a:pt x="224" y="99"/>
                    </a:cubicBezTo>
                    <a:cubicBezTo>
                      <a:pt x="228" y="97"/>
                      <a:pt x="228" y="97"/>
                      <a:pt x="228" y="97"/>
                    </a:cubicBezTo>
                    <a:cubicBezTo>
                      <a:pt x="230" y="100"/>
                      <a:pt x="230" y="100"/>
                      <a:pt x="230" y="100"/>
                    </a:cubicBezTo>
                    <a:cubicBezTo>
                      <a:pt x="232" y="100"/>
                      <a:pt x="232" y="100"/>
                      <a:pt x="232" y="100"/>
                    </a:cubicBezTo>
                    <a:cubicBezTo>
                      <a:pt x="234" y="98"/>
                      <a:pt x="234" y="98"/>
                      <a:pt x="234" y="98"/>
                    </a:cubicBezTo>
                    <a:close/>
                    <a:moveTo>
                      <a:pt x="243" y="99"/>
                    </a:moveTo>
                    <a:cubicBezTo>
                      <a:pt x="242" y="94"/>
                      <a:pt x="242" y="94"/>
                      <a:pt x="242" y="94"/>
                    </a:cubicBezTo>
                    <a:cubicBezTo>
                      <a:pt x="244" y="92"/>
                      <a:pt x="244" y="92"/>
                      <a:pt x="244" y="92"/>
                    </a:cubicBezTo>
                    <a:cubicBezTo>
                      <a:pt x="246" y="92"/>
                      <a:pt x="246" y="92"/>
                      <a:pt x="246" y="92"/>
                    </a:cubicBezTo>
                    <a:cubicBezTo>
                      <a:pt x="248" y="93"/>
                      <a:pt x="248" y="93"/>
                      <a:pt x="248" y="93"/>
                    </a:cubicBezTo>
                    <a:cubicBezTo>
                      <a:pt x="249" y="96"/>
                      <a:pt x="249" y="96"/>
                      <a:pt x="249" y="96"/>
                    </a:cubicBezTo>
                    <a:cubicBezTo>
                      <a:pt x="249" y="98"/>
                      <a:pt x="249" y="98"/>
                      <a:pt x="249" y="98"/>
                    </a:cubicBezTo>
                    <a:cubicBezTo>
                      <a:pt x="246" y="100"/>
                      <a:pt x="246" y="100"/>
                      <a:pt x="246" y="100"/>
                    </a:cubicBezTo>
                    <a:cubicBezTo>
                      <a:pt x="243" y="99"/>
                      <a:pt x="243" y="99"/>
                      <a:pt x="243" y="99"/>
                    </a:cubicBezTo>
                    <a:close/>
                    <a:moveTo>
                      <a:pt x="228" y="118"/>
                    </a:moveTo>
                    <a:cubicBezTo>
                      <a:pt x="231" y="112"/>
                      <a:pt x="231" y="112"/>
                      <a:pt x="231" y="112"/>
                    </a:cubicBezTo>
                    <a:cubicBezTo>
                      <a:pt x="234" y="108"/>
                      <a:pt x="234" y="108"/>
                      <a:pt x="234" y="108"/>
                    </a:cubicBezTo>
                    <a:cubicBezTo>
                      <a:pt x="237" y="105"/>
                      <a:pt x="237" y="105"/>
                      <a:pt x="237" y="105"/>
                    </a:cubicBezTo>
                    <a:cubicBezTo>
                      <a:pt x="237" y="103"/>
                      <a:pt x="237" y="103"/>
                      <a:pt x="237" y="103"/>
                    </a:cubicBezTo>
                    <a:cubicBezTo>
                      <a:pt x="234" y="102"/>
                      <a:pt x="234" y="102"/>
                      <a:pt x="234" y="102"/>
                    </a:cubicBezTo>
                    <a:cubicBezTo>
                      <a:pt x="230" y="105"/>
                      <a:pt x="230" y="105"/>
                      <a:pt x="230" y="105"/>
                    </a:cubicBezTo>
                    <a:cubicBezTo>
                      <a:pt x="226" y="103"/>
                      <a:pt x="226" y="103"/>
                      <a:pt x="226" y="103"/>
                    </a:cubicBezTo>
                    <a:cubicBezTo>
                      <a:pt x="221" y="102"/>
                      <a:pt x="221" y="102"/>
                      <a:pt x="221" y="102"/>
                    </a:cubicBezTo>
                    <a:cubicBezTo>
                      <a:pt x="220" y="106"/>
                      <a:pt x="220" y="106"/>
                      <a:pt x="220" y="106"/>
                    </a:cubicBezTo>
                    <a:cubicBezTo>
                      <a:pt x="219" y="108"/>
                      <a:pt x="219" y="108"/>
                      <a:pt x="219" y="108"/>
                    </a:cubicBezTo>
                    <a:cubicBezTo>
                      <a:pt x="220" y="109"/>
                      <a:pt x="220" y="109"/>
                      <a:pt x="220" y="109"/>
                    </a:cubicBezTo>
                    <a:cubicBezTo>
                      <a:pt x="223" y="109"/>
                      <a:pt x="223" y="109"/>
                      <a:pt x="223" y="109"/>
                    </a:cubicBezTo>
                    <a:cubicBezTo>
                      <a:pt x="224" y="113"/>
                      <a:pt x="224" y="113"/>
                      <a:pt x="224" y="113"/>
                    </a:cubicBezTo>
                    <a:cubicBezTo>
                      <a:pt x="225" y="115"/>
                      <a:pt x="225" y="115"/>
                      <a:pt x="225" y="115"/>
                    </a:cubicBezTo>
                    <a:cubicBezTo>
                      <a:pt x="220" y="115"/>
                      <a:pt x="220" y="115"/>
                      <a:pt x="220" y="115"/>
                    </a:cubicBezTo>
                    <a:cubicBezTo>
                      <a:pt x="214" y="118"/>
                      <a:pt x="214" y="118"/>
                      <a:pt x="214" y="118"/>
                    </a:cubicBezTo>
                    <a:cubicBezTo>
                      <a:pt x="213" y="120"/>
                      <a:pt x="213" y="120"/>
                      <a:pt x="213" y="120"/>
                    </a:cubicBezTo>
                    <a:cubicBezTo>
                      <a:pt x="214" y="122"/>
                      <a:pt x="214" y="122"/>
                      <a:pt x="214" y="122"/>
                    </a:cubicBezTo>
                    <a:cubicBezTo>
                      <a:pt x="219" y="122"/>
                      <a:pt x="219" y="122"/>
                      <a:pt x="219" y="122"/>
                    </a:cubicBezTo>
                    <a:cubicBezTo>
                      <a:pt x="222" y="119"/>
                      <a:pt x="222" y="119"/>
                      <a:pt x="222" y="119"/>
                    </a:cubicBezTo>
                    <a:cubicBezTo>
                      <a:pt x="222" y="119"/>
                      <a:pt x="227" y="118"/>
                      <a:pt x="228" y="118"/>
                    </a:cubicBezTo>
                    <a:close/>
                    <a:moveTo>
                      <a:pt x="239" y="118"/>
                    </a:moveTo>
                    <a:cubicBezTo>
                      <a:pt x="235" y="118"/>
                      <a:pt x="235" y="118"/>
                      <a:pt x="235" y="118"/>
                    </a:cubicBezTo>
                    <a:cubicBezTo>
                      <a:pt x="233" y="120"/>
                      <a:pt x="233" y="120"/>
                      <a:pt x="233" y="120"/>
                    </a:cubicBezTo>
                    <a:cubicBezTo>
                      <a:pt x="230" y="118"/>
                      <a:pt x="230" y="118"/>
                      <a:pt x="230" y="118"/>
                    </a:cubicBezTo>
                    <a:cubicBezTo>
                      <a:pt x="232" y="115"/>
                      <a:pt x="232" y="115"/>
                      <a:pt x="232" y="115"/>
                    </a:cubicBezTo>
                    <a:cubicBezTo>
                      <a:pt x="236" y="113"/>
                      <a:pt x="236" y="113"/>
                      <a:pt x="236" y="113"/>
                    </a:cubicBezTo>
                    <a:cubicBezTo>
                      <a:pt x="237" y="110"/>
                      <a:pt x="237" y="110"/>
                      <a:pt x="237" y="110"/>
                    </a:cubicBezTo>
                    <a:cubicBezTo>
                      <a:pt x="240" y="113"/>
                      <a:pt x="240" y="113"/>
                      <a:pt x="240" y="113"/>
                    </a:cubicBezTo>
                    <a:cubicBezTo>
                      <a:pt x="239" y="115"/>
                      <a:pt x="239" y="115"/>
                      <a:pt x="239" y="115"/>
                    </a:cubicBezTo>
                    <a:cubicBezTo>
                      <a:pt x="239" y="118"/>
                      <a:pt x="239" y="118"/>
                      <a:pt x="239" y="118"/>
                    </a:cubicBezTo>
                    <a:close/>
                    <a:moveTo>
                      <a:pt x="250" y="126"/>
                    </a:moveTo>
                    <a:cubicBezTo>
                      <a:pt x="244" y="122"/>
                      <a:pt x="244" y="122"/>
                      <a:pt x="244" y="122"/>
                    </a:cubicBezTo>
                    <a:cubicBezTo>
                      <a:pt x="243" y="119"/>
                      <a:pt x="243" y="119"/>
                      <a:pt x="243" y="119"/>
                    </a:cubicBezTo>
                    <a:cubicBezTo>
                      <a:pt x="244" y="116"/>
                      <a:pt x="244" y="116"/>
                      <a:pt x="244" y="116"/>
                    </a:cubicBezTo>
                    <a:cubicBezTo>
                      <a:pt x="246" y="116"/>
                      <a:pt x="246" y="116"/>
                      <a:pt x="246" y="116"/>
                    </a:cubicBezTo>
                    <a:cubicBezTo>
                      <a:pt x="247" y="119"/>
                      <a:pt x="247" y="119"/>
                      <a:pt x="247" y="119"/>
                    </a:cubicBezTo>
                    <a:cubicBezTo>
                      <a:pt x="251" y="119"/>
                      <a:pt x="251" y="119"/>
                      <a:pt x="251" y="119"/>
                    </a:cubicBezTo>
                    <a:cubicBezTo>
                      <a:pt x="254" y="121"/>
                      <a:pt x="254" y="121"/>
                      <a:pt x="254" y="121"/>
                    </a:cubicBezTo>
                    <a:cubicBezTo>
                      <a:pt x="254" y="125"/>
                      <a:pt x="254" y="125"/>
                      <a:pt x="254" y="125"/>
                    </a:cubicBezTo>
                    <a:cubicBezTo>
                      <a:pt x="250" y="126"/>
                      <a:pt x="250" y="126"/>
                      <a:pt x="250" y="126"/>
                    </a:cubicBezTo>
                    <a:close/>
                    <a:moveTo>
                      <a:pt x="244" y="137"/>
                    </a:moveTo>
                    <a:cubicBezTo>
                      <a:pt x="242" y="133"/>
                      <a:pt x="242" y="133"/>
                      <a:pt x="242" y="133"/>
                    </a:cubicBezTo>
                    <a:cubicBezTo>
                      <a:pt x="234" y="127"/>
                      <a:pt x="234" y="127"/>
                      <a:pt x="234" y="127"/>
                    </a:cubicBezTo>
                    <a:cubicBezTo>
                      <a:pt x="228" y="125"/>
                      <a:pt x="228" y="125"/>
                      <a:pt x="228" y="125"/>
                    </a:cubicBezTo>
                    <a:cubicBezTo>
                      <a:pt x="224" y="125"/>
                      <a:pt x="224" y="125"/>
                      <a:pt x="224" y="125"/>
                    </a:cubicBezTo>
                    <a:cubicBezTo>
                      <a:pt x="222" y="124"/>
                      <a:pt x="222" y="124"/>
                      <a:pt x="222" y="124"/>
                    </a:cubicBezTo>
                    <a:cubicBezTo>
                      <a:pt x="223" y="122"/>
                      <a:pt x="223" y="122"/>
                      <a:pt x="223" y="122"/>
                    </a:cubicBezTo>
                    <a:cubicBezTo>
                      <a:pt x="227" y="121"/>
                      <a:pt x="227" y="121"/>
                      <a:pt x="227" y="121"/>
                    </a:cubicBezTo>
                    <a:cubicBezTo>
                      <a:pt x="232" y="121"/>
                      <a:pt x="232" y="121"/>
                      <a:pt x="232" y="121"/>
                    </a:cubicBezTo>
                    <a:cubicBezTo>
                      <a:pt x="238" y="124"/>
                      <a:pt x="238" y="124"/>
                      <a:pt x="238" y="124"/>
                    </a:cubicBezTo>
                    <a:cubicBezTo>
                      <a:pt x="244" y="129"/>
                      <a:pt x="244" y="129"/>
                      <a:pt x="244" y="129"/>
                    </a:cubicBezTo>
                    <a:cubicBezTo>
                      <a:pt x="246" y="129"/>
                      <a:pt x="246" y="129"/>
                      <a:pt x="246" y="129"/>
                    </a:cubicBezTo>
                    <a:cubicBezTo>
                      <a:pt x="248" y="127"/>
                      <a:pt x="248" y="127"/>
                      <a:pt x="248" y="127"/>
                    </a:cubicBezTo>
                    <a:cubicBezTo>
                      <a:pt x="249" y="128"/>
                      <a:pt x="249" y="128"/>
                      <a:pt x="249" y="128"/>
                    </a:cubicBezTo>
                    <a:cubicBezTo>
                      <a:pt x="248" y="131"/>
                      <a:pt x="248" y="131"/>
                      <a:pt x="248" y="131"/>
                    </a:cubicBezTo>
                    <a:cubicBezTo>
                      <a:pt x="247" y="135"/>
                      <a:pt x="247" y="135"/>
                      <a:pt x="247" y="135"/>
                    </a:cubicBezTo>
                    <a:cubicBezTo>
                      <a:pt x="244" y="137"/>
                      <a:pt x="244" y="137"/>
                      <a:pt x="244" y="137"/>
                    </a:cubicBezTo>
                    <a:close/>
                    <a:moveTo>
                      <a:pt x="247" y="146"/>
                    </a:moveTo>
                    <a:cubicBezTo>
                      <a:pt x="248" y="141"/>
                      <a:pt x="248" y="141"/>
                      <a:pt x="248" y="141"/>
                    </a:cubicBezTo>
                    <a:cubicBezTo>
                      <a:pt x="245" y="137"/>
                      <a:pt x="245" y="137"/>
                      <a:pt x="245" y="137"/>
                    </a:cubicBezTo>
                    <a:cubicBezTo>
                      <a:pt x="242" y="137"/>
                      <a:pt x="242" y="137"/>
                      <a:pt x="242" y="137"/>
                    </a:cubicBezTo>
                    <a:cubicBezTo>
                      <a:pt x="236" y="136"/>
                      <a:pt x="236" y="136"/>
                      <a:pt x="236" y="136"/>
                    </a:cubicBezTo>
                    <a:cubicBezTo>
                      <a:pt x="230" y="131"/>
                      <a:pt x="230" y="131"/>
                      <a:pt x="230" y="131"/>
                    </a:cubicBezTo>
                    <a:cubicBezTo>
                      <a:pt x="228" y="131"/>
                      <a:pt x="228" y="131"/>
                      <a:pt x="228" y="131"/>
                    </a:cubicBezTo>
                    <a:cubicBezTo>
                      <a:pt x="226" y="129"/>
                      <a:pt x="226" y="129"/>
                      <a:pt x="226" y="129"/>
                    </a:cubicBezTo>
                    <a:cubicBezTo>
                      <a:pt x="221" y="130"/>
                      <a:pt x="221" y="130"/>
                      <a:pt x="221" y="130"/>
                    </a:cubicBezTo>
                    <a:cubicBezTo>
                      <a:pt x="218" y="128"/>
                      <a:pt x="218" y="128"/>
                      <a:pt x="218" y="128"/>
                    </a:cubicBezTo>
                    <a:cubicBezTo>
                      <a:pt x="209" y="128"/>
                      <a:pt x="209" y="128"/>
                      <a:pt x="209" y="128"/>
                    </a:cubicBezTo>
                    <a:cubicBezTo>
                      <a:pt x="205" y="129"/>
                      <a:pt x="205" y="129"/>
                      <a:pt x="205" y="129"/>
                    </a:cubicBezTo>
                    <a:cubicBezTo>
                      <a:pt x="206" y="132"/>
                      <a:pt x="206" y="132"/>
                      <a:pt x="206" y="132"/>
                    </a:cubicBezTo>
                    <a:cubicBezTo>
                      <a:pt x="205" y="134"/>
                      <a:pt x="205" y="134"/>
                      <a:pt x="205" y="134"/>
                    </a:cubicBezTo>
                    <a:cubicBezTo>
                      <a:pt x="208" y="135"/>
                      <a:pt x="208" y="135"/>
                      <a:pt x="208" y="135"/>
                    </a:cubicBezTo>
                    <a:cubicBezTo>
                      <a:pt x="213" y="137"/>
                      <a:pt x="213" y="137"/>
                      <a:pt x="213" y="137"/>
                    </a:cubicBezTo>
                    <a:cubicBezTo>
                      <a:pt x="215" y="135"/>
                      <a:pt x="215" y="135"/>
                      <a:pt x="215" y="135"/>
                    </a:cubicBezTo>
                    <a:cubicBezTo>
                      <a:pt x="217" y="134"/>
                      <a:pt x="217" y="134"/>
                      <a:pt x="217" y="134"/>
                    </a:cubicBezTo>
                    <a:cubicBezTo>
                      <a:pt x="220" y="137"/>
                      <a:pt x="220" y="137"/>
                      <a:pt x="220" y="137"/>
                    </a:cubicBezTo>
                    <a:cubicBezTo>
                      <a:pt x="221" y="140"/>
                      <a:pt x="221" y="140"/>
                      <a:pt x="221" y="140"/>
                    </a:cubicBezTo>
                    <a:cubicBezTo>
                      <a:pt x="224" y="140"/>
                      <a:pt x="224" y="140"/>
                      <a:pt x="224" y="140"/>
                    </a:cubicBezTo>
                    <a:cubicBezTo>
                      <a:pt x="226" y="140"/>
                      <a:pt x="226" y="140"/>
                      <a:pt x="226" y="140"/>
                    </a:cubicBezTo>
                    <a:cubicBezTo>
                      <a:pt x="228" y="144"/>
                      <a:pt x="228" y="144"/>
                      <a:pt x="228" y="144"/>
                    </a:cubicBezTo>
                    <a:cubicBezTo>
                      <a:pt x="232" y="145"/>
                      <a:pt x="232" y="145"/>
                      <a:pt x="232" y="145"/>
                    </a:cubicBezTo>
                    <a:cubicBezTo>
                      <a:pt x="237" y="144"/>
                      <a:pt x="237" y="144"/>
                      <a:pt x="237" y="144"/>
                    </a:cubicBezTo>
                    <a:cubicBezTo>
                      <a:pt x="242" y="146"/>
                      <a:pt x="242" y="146"/>
                      <a:pt x="242" y="146"/>
                    </a:cubicBezTo>
                    <a:cubicBezTo>
                      <a:pt x="245" y="147"/>
                      <a:pt x="245" y="147"/>
                      <a:pt x="245" y="147"/>
                    </a:cubicBezTo>
                    <a:cubicBezTo>
                      <a:pt x="247" y="146"/>
                      <a:pt x="247" y="146"/>
                      <a:pt x="247" y="146"/>
                    </a:cubicBezTo>
                    <a:close/>
                    <a:moveTo>
                      <a:pt x="219" y="153"/>
                    </a:moveTo>
                    <a:cubicBezTo>
                      <a:pt x="217" y="151"/>
                      <a:pt x="217" y="151"/>
                      <a:pt x="217" y="151"/>
                    </a:cubicBezTo>
                    <a:cubicBezTo>
                      <a:pt x="214" y="150"/>
                      <a:pt x="214" y="150"/>
                      <a:pt x="214" y="150"/>
                    </a:cubicBezTo>
                    <a:cubicBezTo>
                      <a:pt x="210" y="150"/>
                      <a:pt x="210" y="150"/>
                      <a:pt x="210" y="150"/>
                    </a:cubicBezTo>
                    <a:cubicBezTo>
                      <a:pt x="208" y="147"/>
                      <a:pt x="208" y="147"/>
                      <a:pt x="208" y="147"/>
                    </a:cubicBezTo>
                    <a:cubicBezTo>
                      <a:pt x="208" y="146"/>
                      <a:pt x="208" y="146"/>
                      <a:pt x="208" y="146"/>
                    </a:cubicBezTo>
                    <a:cubicBezTo>
                      <a:pt x="210" y="144"/>
                      <a:pt x="210" y="144"/>
                      <a:pt x="210" y="144"/>
                    </a:cubicBezTo>
                    <a:cubicBezTo>
                      <a:pt x="214" y="143"/>
                      <a:pt x="214" y="143"/>
                      <a:pt x="214" y="143"/>
                    </a:cubicBezTo>
                    <a:cubicBezTo>
                      <a:pt x="218" y="144"/>
                      <a:pt x="218" y="144"/>
                      <a:pt x="218" y="144"/>
                    </a:cubicBezTo>
                    <a:cubicBezTo>
                      <a:pt x="220" y="143"/>
                      <a:pt x="220" y="143"/>
                      <a:pt x="220" y="143"/>
                    </a:cubicBezTo>
                    <a:cubicBezTo>
                      <a:pt x="222" y="146"/>
                      <a:pt x="222" y="146"/>
                      <a:pt x="222" y="146"/>
                    </a:cubicBezTo>
                    <a:cubicBezTo>
                      <a:pt x="224" y="146"/>
                      <a:pt x="224" y="146"/>
                      <a:pt x="224" y="146"/>
                    </a:cubicBezTo>
                    <a:cubicBezTo>
                      <a:pt x="225" y="145"/>
                      <a:pt x="225" y="145"/>
                      <a:pt x="225" y="145"/>
                    </a:cubicBezTo>
                    <a:cubicBezTo>
                      <a:pt x="227" y="146"/>
                      <a:pt x="227" y="146"/>
                      <a:pt x="227" y="146"/>
                    </a:cubicBezTo>
                    <a:cubicBezTo>
                      <a:pt x="228" y="148"/>
                      <a:pt x="228" y="148"/>
                      <a:pt x="228" y="148"/>
                    </a:cubicBezTo>
                    <a:cubicBezTo>
                      <a:pt x="227" y="149"/>
                      <a:pt x="227" y="149"/>
                      <a:pt x="227" y="149"/>
                    </a:cubicBezTo>
                    <a:cubicBezTo>
                      <a:pt x="219" y="153"/>
                      <a:pt x="219" y="153"/>
                      <a:pt x="219" y="153"/>
                    </a:cubicBezTo>
                    <a:close/>
                    <a:moveTo>
                      <a:pt x="211" y="172"/>
                    </a:moveTo>
                    <a:cubicBezTo>
                      <a:pt x="209" y="169"/>
                      <a:pt x="209" y="169"/>
                      <a:pt x="209" y="169"/>
                    </a:cubicBezTo>
                    <a:cubicBezTo>
                      <a:pt x="208" y="164"/>
                      <a:pt x="208" y="164"/>
                      <a:pt x="208" y="164"/>
                    </a:cubicBezTo>
                    <a:cubicBezTo>
                      <a:pt x="206" y="163"/>
                      <a:pt x="206" y="163"/>
                      <a:pt x="206" y="163"/>
                    </a:cubicBezTo>
                    <a:cubicBezTo>
                      <a:pt x="205" y="169"/>
                      <a:pt x="205" y="169"/>
                      <a:pt x="205" y="169"/>
                    </a:cubicBezTo>
                    <a:cubicBezTo>
                      <a:pt x="204" y="170"/>
                      <a:pt x="204" y="170"/>
                      <a:pt x="204" y="170"/>
                    </a:cubicBezTo>
                    <a:cubicBezTo>
                      <a:pt x="206" y="172"/>
                      <a:pt x="206" y="172"/>
                      <a:pt x="206" y="172"/>
                    </a:cubicBezTo>
                    <a:cubicBezTo>
                      <a:pt x="209" y="174"/>
                      <a:pt x="209" y="174"/>
                      <a:pt x="209" y="174"/>
                    </a:cubicBezTo>
                    <a:cubicBezTo>
                      <a:pt x="211" y="172"/>
                      <a:pt x="211" y="172"/>
                      <a:pt x="211" y="172"/>
                    </a:cubicBezTo>
                    <a:close/>
                    <a:moveTo>
                      <a:pt x="215" y="171"/>
                    </a:moveTo>
                    <a:cubicBezTo>
                      <a:pt x="216" y="171"/>
                      <a:pt x="216" y="171"/>
                      <a:pt x="216" y="171"/>
                    </a:cubicBezTo>
                    <a:cubicBezTo>
                      <a:pt x="217" y="169"/>
                      <a:pt x="217" y="169"/>
                      <a:pt x="217" y="169"/>
                    </a:cubicBezTo>
                    <a:cubicBezTo>
                      <a:pt x="216" y="166"/>
                      <a:pt x="216" y="166"/>
                      <a:pt x="216" y="166"/>
                    </a:cubicBezTo>
                    <a:cubicBezTo>
                      <a:pt x="213" y="162"/>
                      <a:pt x="213" y="162"/>
                      <a:pt x="213" y="162"/>
                    </a:cubicBezTo>
                    <a:cubicBezTo>
                      <a:pt x="211" y="162"/>
                      <a:pt x="211" y="162"/>
                      <a:pt x="211" y="162"/>
                    </a:cubicBezTo>
                    <a:cubicBezTo>
                      <a:pt x="211" y="166"/>
                      <a:pt x="211" y="166"/>
                      <a:pt x="211" y="166"/>
                    </a:cubicBezTo>
                    <a:cubicBezTo>
                      <a:pt x="215" y="171"/>
                      <a:pt x="215" y="171"/>
                      <a:pt x="215" y="171"/>
                    </a:cubicBezTo>
                    <a:close/>
                    <a:moveTo>
                      <a:pt x="222" y="167"/>
                    </a:moveTo>
                    <a:cubicBezTo>
                      <a:pt x="226" y="168"/>
                      <a:pt x="226" y="168"/>
                      <a:pt x="226" y="168"/>
                    </a:cubicBezTo>
                    <a:cubicBezTo>
                      <a:pt x="226" y="167"/>
                      <a:pt x="226" y="167"/>
                      <a:pt x="226" y="167"/>
                    </a:cubicBezTo>
                    <a:cubicBezTo>
                      <a:pt x="224" y="164"/>
                      <a:pt x="224" y="164"/>
                      <a:pt x="224" y="164"/>
                    </a:cubicBezTo>
                    <a:cubicBezTo>
                      <a:pt x="221" y="163"/>
                      <a:pt x="221" y="163"/>
                      <a:pt x="221" y="163"/>
                    </a:cubicBezTo>
                    <a:cubicBezTo>
                      <a:pt x="219" y="164"/>
                      <a:pt x="219" y="164"/>
                      <a:pt x="219" y="164"/>
                    </a:cubicBezTo>
                    <a:cubicBezTo>
                      <a:pt x="222" y="167"/>
                      <a:pt x="222" y="167"/>
                      <a:pt x="222" y="167"/>
                    </a:cubicBezTo>
                    <a:close/>
                    <a:moveTo>
                      <a:pt x="221" y="177"/>
                    </a:moveTo>
                    <a:cubicBezTo>
                      <a:pt x="223" y="176"/>
                      <a:pt x="223" y="176"/>
                      <a:pt x="223" y="176"/>
                    </a:cubicBezTo>
                    <a:cubicBezTo>
                      <a:pt x="224" y="172"/>
                      <a:pt x="224" y="172"/>
                      <a:pt x="224" y="172"/>
                    </a:cubicBezTo>
                    <a:cubicBezTo>
                      <a:pt x="223" y="170"/>
                      <a:pt x="223" y="170"/>
                      <a:pt x="223" y="170"/>
                    </a:cubicBezTo>
                    <a:cubicBezTo>
                      <a:pt x="220" y="168"/>
                      <a:pt x="220" y="168"/>
                      <a:pt x="220" y="168"/>
                    </a:cubicBezTo>
                    <a:cubicBezTo>
                      <a:pt x="220" y="170"/>
                      <a:pt x="220" y="170"/>
                      <a:pt x="220" y="170"/>
                    </a:cubicBezTo>
                    <a:cubicBezTo>
                      <a:pt x="220" y="172"/>
                      <a:pt x="220" y="172"/>
                      <a:pt x="220" y="172"/>
                    </a:cubicBezTo>
                    <a:cubicBezTo>
                      <a:pt x="219" y="174"/>
                      <a:pt x="219" y="174"/>
                      <a:pt x="219" y="174"/>
                    </a:cubicBezTo>
                    <a:cubicBezTo>
                      <a:pt x="221" y="177"/>
                      <a:pt x="221" y="177"/>
                      <a:pt x="221" y="177"/>
                    </a:cubicBezTo>
                    <a:close/>
                    <a:moveTo>
                      <a:pt x="216" y="186"/>
                    </a:moveTo>
                    <a:cubicBezTo>
                      <a:pt x="215" y="183"/>
                      <a:pt x="215" y="183"/>
                      <a:pt x="215" y="183"/>
                    </a:cubicBezTo>
                    <a:cubicBezTo>
                      <a:pt x="213" y="183"/>
                      <a:pt x="213" y="183"/>
                      <a:pt x="213" y="183"/>
                    </a:cubicBezTo>
                    <a:cubicBezTo>
                      <a:pt x="210" y="180"/>
                      <a:pt x="210" y="180"/>
                      <a:pt x="210" y="180"/>
                    </a:cubicBezTo>
                    <a:cubicBezTo>
                      <a:pt x="207" y="180"/>
                      <a:pt x="207" y="180"/>
                      <a:pt x="207" y="180"/>
                    </a:cubicBezTo>
                    <a:cubicBezTo>
                      <a:pt x="205" y="182"/>
                      <a:pt x="205" y="182"/>
                      <a:pt x="205" y="182"/>
                    </a:cubicBezTo>
                    <a:cubicBezTo>
                      <a:pt x="206" y="184"/>
                      <a:pt x="206" y="184"/>
                      <a:pt x="206" y="184"/>
                    </a:cubicBezTo>
                    <a:cubicBezTo>
                      <a:pt x="206" y="187"/>
                      <a:pt x="206" y="187"/>
                      <a:pt x="206" y="187"/>
                    </a:cubicBezTo>
                    <a:cubicBezTo>
                      <a:pt x="203" y="190"/>
                      <a:pt x="203" y="190"/>
                      <a:pt x="203" y="190"/>
                    </a:cubicBezTo>
                    <a:cubicBezTo>
                      <a:pt x="205" y="192"/>
                      <a:pt x="205" y="192"/>
                      <a:pt x="205" y="192"/>
                    </a:cubicBezTo>
                    <a:cubicBezTo>
                      <a:pt x="211" y="193"/>
                      <a:pt x="211" y="193"/>
                      <a:pt x="211" y="193"/>
                    </a:cubicBezTo>
                    <a:cubicBezTo>
                      <a:pt x="214" y="190"/>
                      <a:pt x="214" y="190"/>
                      <a:pt x="214" y="190"/>
                    </a:cubicBezTo>
                    <a:cubicBezTo>
                      <a:pt x="216" y="186"/>
                      <a:pt x="216" y="186"/>
                      <a:pt x="216" y="186"/>
                    </a:cubicBezTo>
                    <a:close/>
                    <a:moveTo>
                      <a:pt x="219" y="180"/>
                    </a:moveTo>
                    <a:cubicBezTo>
                      <a:pt x="219" y="183"/>
                      <a:pt x="219" y="183"/>
                      <a:pt x="219" y="183"/>
                    </a:cubicBezTo>
                    <a:cubicBezTo>
                      <a:pt x="220" y="186"/>
                      <a:pt x="220" y="186"/>
                      <a:pt x="220" y="186"/>
                    </a:cubicBezTo>
                    <a:cubicBezTo>
                      <a:pt x="223" y="187"/>
                      <a:pt x="223" y="187"/>
                      <a:pt x="223" y="187"/>
                    </a:cubicBezTo>
                    <a:cubicBezTo>
                      <a:pt x="223" y="184"/>
                      <a:pt x="223" y="184"/>
                      <a:pt x="223" y="184"/>
                    </a:cubicBezTo>
                    <a:cubicBezTo>
                      <a:pt x="221" y="181"/>
                      <a:pt x="221" y="181"/>
                      <a:pt x="221" y="181"/>
                    </a:cubicBezTo>
                    <a:cubicBezTo>
                      <a:pt x="219" y="180"/>
                      <a:pt x="219" y="180"/>
                      <a:pt x="219" y="180"/>
                    </a:cubicBezTo>
                    <a:close/>
                    <a:moveTo>
                      <a:pt x="250" y="139"/>
                    </a:moveTo>
                    <a:cubicBezTo>
                      <a:pt x="250" y="136"/>
                      <a:pt x="250" y="136"/>
                      <a:pt x="250" y="136"/>
                    </a:cubicBezTo>
                    <a:cubicBezTo>
                      <a:pt x="251" y="135"/>
                      <a:pt x="251" y="135"/>
                      <a:pt x="251" y="135"/>
                    </a:cubicBezTo>
                    <a:cubicBezTo>
                      <a:pt x="253" y="130"/>
                      <a:pt x="253" y="130"/>
                      <a:pt x="253" y="130"/>
                    </a:cubicBezTo>
                    <a:cubicBezTo>
                      <a:pt x="255" y="129"/>
                      <a:pt x="255" y="129"/>
                      <a:pt x="255" y="129"/>
                    </a:cubicBezTo>
                    <a:cubicBezTo>
                      <a:pt x="256" y="129"/>
                      <a:pt x="256" y="129"/>
                      <a:pt x="256" y="129"/>
                    </a:cubicBezTo>
                    <a:cubicBezTo>
                      <a:pt x="258" y="132"/>
                      <a:pt x="258" y="132"/>
                      <a:pt x="258" y="132"/>
                    </a:cubicBezTo>
                    <a:cubicBezTo>
                      <a:pt x="259" y="135"/>
                      <a:pt x="259" y="135"/>
                      <a:pt x="259" y="135"/>
                    </a:cubicBezTo>
                    <a:cubicBezTo>
                      <a:pt x="257" y="136"/>
                      <a:pt x="257" y="136"/>
                      <a:pt x="257" y="136"/>
                    </a:cubicBezTo>
                    <a:cubicBezTo>
                      <a:pt x="257" y="138"/>
                      <a:pt x="257" y="138"/>
                      <a:pt x="257" y="138"/>
                    </a:cubicBezTo>
                    <a:cubicBezTo>
                      <a:pt x="255" y="140"/>
                      <a:pt x="255" y="140"/>
                      <a:pt x="255" y="140"/>
                    </a:cubicBezTo>
                    <a:cubicBezTo>
                      <a:pt x="251" y="140"/>
                      <a:pt x="251" y="140"/>
                      <a:pt x="251" y="140"/>
                    </a:cubicBezTo>
                    <a:cubicBezTo>
                      <a:pt x="250" y="139"/>
                      <a:pt x="250" y="139"/>
                      <a:pt x="250" y="139"/>
                    </a:cubicBezTo>
                    <a:close/>
                    <a:moveTo>
                      <a:pt x="227" y="179"/>
                    </a:moveTo>
                    <a:cubicBezTo>
                      <a:pt x="228" y="181"/>
                      <a:pt x="228" y="181"/>
                      <a:pt x="228" y="181"/>
                    </a:cubicBezTo>
                    <a:cubicBezTo>
                      <a:pt x="232" y="182"/>
                      <a:pt x="232" y="182"/>
                      <a:pt x="232" y="182"/>
                    </a:cubicBezTo>
                    <a:cubicBezTo>
                      <a:pt x="235" y="182"/>
                      <a:pt x="235" y="182"/>
                      <a:pt x="235" y="182"/>
                    </a:cubicBezTo>
                    <a:cubicBezTo>
                      <a:pt x="236" y="180"/>
                      <a:pt x="236" y="180"/>
                      <a:pt x="236" y="180"/>
                    </a:cubicBezTo>
                    <a:cubicBezTo>
                      <a:pt x="235" y="177"/>
                      <a:pt x="235" y="177"/>
                      <a:pt x="235" y="177"/>
                    </a:cubicBezTo>
                    <a:cubicBezTo>
                      <a:pt x="234" y="175"/>
                      <a:pt x="234" y="175"/>
                      <a:pt x="234" y="175"/>
                    </a:cubicBezTo>
                    <a:cubicBezTo>
                      <a:pt x="232" y="175"/>
                      <a:pt x="232" y="175"/>
                      <a:pt x="232" y="175"/>
                    </a:cubicBezTo>
                    <a:cubicBezTo>
                      <a:pt x="229" y="178"/>
                      <a:pt x="229" y="178"/>
                      <a:pt x="229" y="178"/>
                    </a:cubicBezTo>
                    <a:cubicBezTo>
                      <a:pt x="227" y="179"/>
                      <a:pt x="227" y="179"/>
                      <a:pt x="227" y="179"/>
                    </a:cubicBezTo>
                    <a:close/>
                    <a:moveTo>
                      <a:pt x="229" y="172"/>
                    </a:moveTo>
                    <a:cubicBezTo>
                      <a:pt x="230" y="172"/>
                      <a:pt x="230" y="172"/>
                      <a:pt x="230" y="172"/>
                    </a:cubicBezTo>
                    <a:cubicBezTo>
                      <a:pt x="232" y="170"/>
                      <a:pt x="232" y="170"/>
                      <a:pt x="232" y="170"/>
                    </a:cubicBezTo>
                    <a:cubicBezTo>
                      <a:pt x="232" y="167"/>
                      <a:pt x="232" y="167"/>
                      <a:pt x="232" y="167"/>
                    </a:cubicBezTo>
                    <a:cubicBezTo>
                      <a:pt x="230" y="168"/>
                      <a:pt x="230" y="168"/>
                      <a:pt x="230" y="168"/>
                    </a:cubicBezTo>
                    <a:cubicBezTo>
                      <a:pt x="229" y="172"/>
                      <a:pt x="229" y="172"/>
                      <a:pt x="229" y="172"/>
                    </a:cubicBezTo>
                    <a:close/>
                    <a:moveTo>
                      <a:pt x="234" y="169"/>
                    </a:moveTo>
                    <a:cubicBezTo>
                      <a:pt x="235" y="170"/>
                      <a:pt x="235" y="170"/>
                      <a:pt x="235" y="170"/>
                    </a:cubicBezTo>
                    <a:cubicBezTo>
                      <a:pt x="237" y="171"/>
                      <a:pt x="237" y="171"/>
                      <a:pt x="237" y="171"/>
                    </a:cubicBezTo>
                    <a:cubicBezTo>
                      <a:pt x="240" y="170"/>
                      <a:pt x="240" y="170"/>
                      <a:pt x="240" y="170"/>
                    </a:cubicBezTo>
                    <a:cubicBezTo>
                      <a:pt x="241" y="168"/>
                      <a:pt x="241" y="168"/>
                      <a:pt x="241" y="168"/>
                    </a:cubicBezTo>
                    <a:cubicBezTo>
                      <a:pt x="240" y="167"/>
                      <a:pt x="240" y="167"/>
                      <a:pt x="240" y="167"/>
                    </a:cubicBezTo>
                    <a:cubicBezTo>
                      <a:pt x="237" y="167"/>
                      <a:pt x="237" y="167"/>
                      <a:pt x="237" y="167"/>
                    </a:cubicBezTo>
                    <a:cubicBezTo>
                      <a:pt x="237" y="168"/>
                      <a:pt x="237" y="168"/>
                      <a:pt x="237" y="168"/>
                    </a:cubicBezTo>
                    <a:cubicBezTo>
                      <a:pt x="234" y="169"/>
                      <a:pt x="234" y="169"/>
                      <a:pt x="234" y="169"/>
                    </a:cubicBezTo>
                    <a:close/>
                    <a:moveTo>
                      <a:pt x="235" y="154"/>
                    </a:moveTo>
                    <a:cubicBezTo>
                      <a:pt x="233" y="157"/>
                      <a:pt x="233" y="157"/>
                      <a:pt x="233" y="157"/>
                    </a:cubicBezTo>
                    <a:cubicBezTo>
                      <a:pt x="230" y="157"/>
                      <a:pt x="230" y="157"/>
                      <a:pt x="230" y="157"/>
                    </a:cubicBezTo>
                    <a:cubicBezTo>
                      <a:pt x="228" y="155"/>
                      <a:pt x="228" y="155"/>
                      <a:pt x="228" y="155"/>
                    </a:cubicBezTo>
                    <a:cubicBezTo>
                      <a:pt x="228" y="151"/>
                      <a:pt x="228" y="151"/>
                      <a:pt x="228" y="151"/>
                    </a:cubicBezTo>
                    <a:cubicBezTo>
                      <a:pt x="231" y="148"/>
                      <a:pt x="231" y="148"/>
                      <a:pt x="231" y="148"/>
                    </a:cubicBezTo>
                    <a:cubicBezTo>
                      <a:pt x="235" y="146"/>
                      <a:pt x="235" y="146"/>
                      <a:pt x="235" y="146"/>
                    </a:cubicBezTo>
                    <a:cubicBezTo>
                      <a:pt x="238" y="147"/>
                      <a:pt x="238" y="147"/>
                      <a:pt x="238" y="147"/>
                    </a:cubicBezTo>
                    <a:cubicBezTo>
                      <a:pt x="240" y="149"/>
                      <a:pt x="240" y="149"/>
                      <a:pt x="240" y="149"/>
                    </a:cubicBezTo>
                    <a:cubicBezTo>
                      <a:pt x="244" y="151"/>
                      <a:pt x="244" y="151"/>
                      <a:pt x="244" y="151"/>
                    </a:cubicBezTo>
                    <a:cubicBezTo>
                      <a:pt x="244" y="153"/>
                      <a:pt x="244" y="153"/>
                      <a:pt x="244" y="153"/>
                    </a:cubicBezTo>
                    <a:cubicBezTo>
                      <a:pt x="242" y="155"/>
                      <a:pt x="242" y="155"/>
                      <a:pt x="242" y="155"/>
                    </a:cubicBezTo>
                    <a:cubicBezTo>
                      <a:pt x="238" y="155"/>
                      <a:pt x="238" y="155"/>
                      <a:pt x="238" y="155"/>
                    </a:cubicBezTo>
                    <a:cubicBezTo>
                      <a:pt x="235" y="154"/>
                      <a:pt x="235" y="154"/>
                      <a:pt x="235" y="154"/>
                    </a:cubicBezTo>
                    <a:close/>
                    <a:moveTo>
                      <a:pt x="250" y="153"/>
                    </a:moveTo>
                    <a:cubicBezTo>
                      <a:pt x="252" y="155"/>
                      <a:pt x="252" y="155"/>
                      <a:pt x="252" y="155"/>
                    </a:cubicBezTo>
                    <a:cubicBezTo>
                      <a:pt x="255" y="156"/>
                      <a:pt x="255" y="156"/>
                      <a:pt x="255" y="156"/>
                    </a:cubicBezTo>
                    <a:cubicBezTo>
                      <a:pt x="258" y="154"/>
                      <a:pt x="258" y="154"/>
                      <a:pt x="258" y="154"/>
                    </a:cubicBezTo>
                    <a:cubicBezTo>
                      <a:pt x="259" y="151"/>
                      <a:pt x="259" y="151"/>
                      <a:pt x="259" y="151"/>
                    </a:cubicBezTo>
                    <a:cubicBezTo>
                      <a:pt x="257" y="150"/>
                      <a:pt x="257" y="150"/>
                      <a:pt x="257" y="150"/>
                    </a:cubicBezTo>
                    <a:cubicBezTo>
                      <a:pt x="255" y="150"/>
                      <a:pt x="255" y="150"/>
                      <a:pt x="255" y="150"/>
                    </a:cubicBezTo>
                    <a:cubicBezTo>
                      <a:pt x="253" y="153"/>
                      <a:pt x="253" y="153"/>
                      <a:pt x="253" y="153"/>
                    </a:cubicBezTo>
                    <a:cubicBezTo>
                      <a:pt x="250" y="153"/>
                      <a:pt x="250" y="153"/>
                      <a:pt x="250" y="153"/>
                    </a:cubicBezTo>
                    <a:close/>
                    <a:moveTo>
                      <a:pt x="258" y="188"/>
                    </a:moveTo>
                    <a:cubicBezTo>
                      <a:pt x="259" y="185"/>
                      <a:pt x="259" y="185"/>
                      <a:pt x="259" y="185"/>
                    </a:cubicBezTo>
                    <a:cubicBezTo>
                      <a:pt x="256" y="182"/>
                      <a:pt x="256" y="182"/>
                      <a:pt x="256" y="182"/>
                    </a:cubicBezTo>
                    <a:cubicBezTo>
                      <a:pt x="256" y="178"/>
                      <a:pt x="256" y="178"/>
                      <a:pt x="256" y="178"/>
                    </a:cubicBezTo>
                    <a:cubicBezTo>
                      <a:pt x="256" y="175"/>
                      <a:pt x="256" y="175"/>
                      <a:pt x="256" y="175"/>
                    </a:cubicBezTo>
                    <a:cubicBezTo>
                      <a:pt x="253" y="170"/>
                      <a:pt x="253" y="170"/>
                      <a:pt x="253" y="170"/>
                    </a:cubicBezTo>
                    <a:cubicBezTo>
                      <a:pt x="251" y="168"/>
                      <a:pt x="251" y="168"/>
                      <a:pt x="251" y="168"/>
                    </a:cubicBezTo>
                    <a:cubicBezTo>
                      <a:pt x="249" y="170"/>
                      <a:pt x="249" y="170"/>
                      <a:pt x="249" y="170"/>
                    </a:cubicBezTo>
                    <a:cubicBezTo>
                      <a:pt x="244" y="170"/>
                      <a:pt x="244" y="170"/>
                      <a:pt x="244" y="170"/>
                    </a:cubicBezTo>
                    <a:cubicBezTo>
                      <a:pt x="240" y="173"/>
                      <a:pt x="240" y="173"/>
                      <a:pt x="240" y="173"/>
                    </a:cubicBezTo>
                    <a:cubicBezTo>
                      <a:pt x="239" y="176"/>
                      <a:pt x="239" y="176"/>
                      <a:pt x="239" y="176"/>
                    </a:cubicBezTo>
                    <a:cubicBezTo>
                      <a:pt x="242" y="180"/>
                      <a:pt x="242" y="180"/>
                      <a:pt x="242" y="180"/>
                    </a:cubicBezTo>
                    <a:cubicBezTo>
                      <a:pt x="243" y="186"/>
                      <a:pt x="243" y="186"/>
                      <a:pt x="243" y="186"/>
                    </a:cubicBezTo>
                    <a:cubicBezTo>
                      <a:pt x="246" y="189"/>
                      <a:pt x="246" y="189"/>
                      <a:pt x="246" y="189"/>
                    </a:cubicBezTo>
                    <a:cubicBezTo>
                      <a:pt x="248" y="190"/>
                      <a:pt x="248" y="190"/>
                      <a:pt x="248" y="190"/>
                    </a:cubicBezTo>
                    <a:cubicBezTo>
                      <a:pt x="254" y="187"/>
                      <a:pt x="254" y="187"/>
                      <a:pt x="254" y="187"/>
                    </a:cubicBezTo>
                    <a:cubicBezTo>
                      <a:pt x="258" y="188"/>
                      <a:pt x="258" y="188"/>
                      <a:pt x="258" y="188"/>
                    </a:cubicBezTo>
                    <a:close/>
                    <a:moveTo>
                      <a:pt x="268" y="185"/>
                    </a:moveTo>
                    <a:cubicBezTo>
                      <a:pt x="268" y="183"/>
                      <a:pt x="268" y="183"/>
                      <a:pt x="268" y="183"/>
                    </a:cubicBezTo>
                    <a:cubicBezTo>
                      <a:pt x="266" y="180"/>
                      <a:pt x="266" y="180"/>
                      <a:pt x="266" y="180"/>
                    </a:cubicBezTo>
                    <a:cubicBezTo>
                      <a:pt x="266" y="179"/>
                      <a:pt x="266" y="179"/>
                      <a:pt x="266" y="179"/>
                    </a:cubicBezTo>
                    <a:cubicBezTo>
                      <a:pt x="268" y="177"/>
                      <a:pt x="268" y="177"/>
                      <a:pt x="268" y="177"/>
                    </a:cubicBezTo>
                    <a:cubicBezTo>
                      <a:pt x="270" y="173"/>
                      <a:pt x="270" y="173"/>
                      <a:pt x="270" y="173"/>
                    </a:cubicBezTo>
                    <a:cubicBezTo>
                      <a:pt x="271" y="171"/>
                      <a:pt x="271" y="171"/>
                      <a:pt x="271" y="171"/>
                    </a:cubicBezTo>
                    <a:cubicBezTo>
                      <a:pt x="276" y="168"/>
                      <a:pt x="276" y="168"/>
                      <a:pt x="276" y="168"/>
                    </a:cubicBezTo>
                    <a:cubicBezTo>
                      <a:pt x="278" y="168"/>
                      <a:pt x="278" y="168"/>
                      <a:pt x="278" y="168"/>
                    </a:cubicBezTo>
                    <a:cubicBezTo>
                      <a:pt x="279" y="166"/>
                      <a:pt x="279" y="166"/>
                      <a:pt x="279" y="166"/>
                    </a:cubicBezTo>
                    <a:cubicBezTo>
                      <a:pt x="276" y="165"/>
                      <a:pt x="276" y="165"/>
                      <a:pt x="276" y="165"/>
                    </a:cubicBezTo>
                    <a:cubicBezTo>
                      <a:pt x="273" y="166"/>
                      <a:pt x="273" y="166"/>
                      <a:pt x="273" y="166"/>
                    </a:cubicBezTo>
                    <a:cubicBezTo>
                      <a:pt x="266" y="162"/>
                      <a:pt x="266" y="162"/>
                      <a:pt x="266" y="162"/>
                    </a:cubicBezTo>
                    <a:cubicBezTo>
                      <a:pt x="261" y="159"/>
                      <a:pt x="261" y="159"/>
                      <a:pt x="261" y="159"/>
                    </a:cubicBezTo>
                    <a:cubicBezTo>
                      <a:pt x="259" y="160"/>
                      <a:pt x="259" y="160"/>
                      <a:pt x="259" y="160"/>
                    </a:cubicBezTo>
                    <a:cubicBezTo>
                      <a:pt x="256" y="161"/>
                      <a:pt x="256" y="161"/>
                      <a:pt x="256" y="161"/>
                    </a:cubicBezTo>
                    <a:cubicBezTo>
                      <a:pt x="254" y="161"/>
                      <a:pt x="254" y="161"/>
                      <a:pt x="254" y="161"/>
                    </a:cubicBezTo>
                    <a:cubicBezTo>
                      <a:pt x="254" y="164"/>
                      <a:pt x="254" y="164"/>
                      <a:pt x="254" y="164"/>
                    </a:cubicBezTo>
                    <a:cubicBezTo>
                      <a:pt x="258" y="171"/>
                      <a:pt x="258" y="171"/>
                      <a:pt x="258" y="171"/>
                    </a:cubicBezTo>
                    <a:cubicBezTo>
                      <a:pt x="258" y="177"/>
                      <a:pt x="258" y="177"/>
                      <a:pt x="258" y="177"/>
                    </a:cubicBezTo>
                    <a:cubicBezTo>
                      <a:pt x="261" y="183"/>
                      <a:pt x="261" y="183"/>
                      <a:pt x="261" y="183"/>
                    </a:cubicBezTo>
                    <a:cubicBezTo>
                      <a:pt x="265" y="185"/>
                      <a:pt x="265" y="185"/>
                      <a:pt x="265" y="185"/>
                    </a:cubicBezTo>
                    <a:cubicBezTo>
                      <a:pt x="268" y="185"/>
                      <a:pt x="268" y="185"/>
                      <a:pt x="268" y="185"/>
                    </a:cubicBezTo>
                    <a:close/>
                    <a:moveTo>
                      <a:pt x="280" y="185"/>
                    </a:moveTo>
                    <a:cubicBezTo>
                      <a:pt x="280" y="187"/>
                      <a:pt x="280" y="187"/>
                      <a:pt x="280" y="187"/>
                    </a:cubicBezTo>
                    <a:cubicBezTo>
                      <a:pt x="284" y="189"/>
                      <a:pt x="284" y="189"/>
                      <a:pt x="284" y="189"/>
                    </a:cubicBezTo>
                    <a:cubicBezTo>
                      <a:pt x="288" y="192"/>
                      <a:pt x="288" y="192"/>
                      <a:pt x="288" y="192"/>
                    </a:cubicBezTo>
                    <a:cubicBezTo>
                      <a:pt x="292" y="193"/>
                      <a:pt x="292" y="193"/>
                      <a:pt x="292" y="193"/>
                    </a:cubicBezTo>
                    <a:cubicBezTo>
                      <a:pt x="295" y="187"/>
                      <a:pt x="295" y="187"/>
                      <a:pt x="295" y="187"/>
                    </a:cubicBezTo>
                    <a:cubicBezTo>
                      <a:pt x="294" y="182"/>
                      <a:pt x="294" y="182"/>
                      <a:pt x="294" y="182"/>
                    </a:cubicBezTo>
                    <a:cubicBezTo>
                      <a:pt x="291" y="180"/>
                      <a:pt x="291" y="180"/>
                      <a:pt x="291" y="180"/>
                    </a:cubicBezTo>
                    <a:cubicBezTo>
                      <a:pt x="286" y="181"/>
                      <a:pt x="286" y="181"/>
                      <a:pt x="286" y="181"/>
                    </a:cubicBezTo>
                    <a:cubicBezTo>
                      <a:pt x="280" y="185"/>
                      <a:pt x="280" y="185"/>
                      <a:pt x="280" y="185"/>
                    </a:cubicBezTo>
                    <a:close/>
                    <a:moveTo>
                      <a:pt x="279" y="192"/>
                    </a:moveTo>
                    <a:cubicBezTo>
                      <a:pt x="279" y="195"/>
                      <a:pt x="279" y="195"/>
                      <a:pt x="279" y="195"/>
                    </a:cubicBezTo>
                    <a:cubicBezTo>
                      <a:pt x="283" y="196"/>
                      <a:pt x="283" y="196"/>
                      <a:pt x="283" y="196"/>
                    </a:cubicBezTo>
                    <a:cubicBezTo>
                      <a:pt x="284" y="197"/>
                      <a:pt x="284" y="197"/>
                      <a:pt x="284" y="197"/>
                    </a:cubicBezTo>
                    <a:cubicBezTo>
                      <a:pt x="286" y="196"/>
                      <a:pt x="286" y="196"/>
                      <a:pt x="286" y="196"/>
                    </a:cubicBezTo>
                    <a:cubicBezTo>
                      <a:pt x="283" y="192"/>
                      <a:pt x="283" y="192"/>
                      <a:pt x="283" y="192"/>
                    </a:cubicBezTo>
                    <a:cubicBezTo>
                      <a:pt x="279" y="192"/>
                      <a:pt x="279" y="192"/>
                      <a:pt x="279" y="192"/>
                    </a:cubicBezTo>
                    <a:close/>
                    <a:moveTo>
                      <a:pt x="280" y="74"/>
                    </a:moveTo>
                    <a:cubicBezTo>
                      <a:pt x="282" y="73"/>
                      <a:pt x="282" y="73"/>
                      <a:pt x="282" y="73"/>
                    </a:cubicBezTo>
                    <a:cubicBezTo>
                      <a:pt x="284" y="72"/>
                      <a:pt x="284" y="72"/>
                      <a:pt x="284" y="72"/>
                    </a:cubicBezTo>
                    <a:cubicBezTo>
                      <a:pt x="287" y="70"/>
                      <a:pt x="287" y="70"/>
                      <a:pt x="287" y="70"/>
                    </a:cubicBezTo>
                    <a:cubicBezTo>
                      <a:pt x="290" y="70"/>
                      <a:pt x="290" y="70"/>
                      <a:pt x="290" y="70"/>
                    </a:cubicBezTo>
                    <a:cubicBezTo>
                      <a:pt x="291" y="71"/>
                      <a:pt x="291" y="71"/>
                      <a:pt x="291" y="71"/>
                    </a:cubicBezTo>
                    <a:cubicBezTo>
                      <a:pt x="294" y="71"/>
                      <a:pt x="294" y="71"/>
                      <a:pt x="294" y="71"/>
                    </a:cubicBezTo>
                    <a:cubicBezTo>
                      <a:pt x="295" y="74"/>
                      <a:pt x="295" y="74"/>
                      <a:pt x="295" y="74"/>
                    </a:cubicBezTo>
                    <a:cubicBezTo>
                      <a:pt x="291" y="77"/>
                      <a:pt x="291" y="77"/>
                      <a:pt x="291" y="77"/>
                    </a:cubicBezTo>
                    <a:cubicBezTo>
                      <a:pt x="289" y="77"/>
                      <a:pt x="289" y="77"/>
                      <a:pt x="289" y="77"/>
                    </a:cubicBezTo>
                    <a:cubicBezTo>
                      <a:pt x="287" y="76"/>
                      <a:pt x="287" y="76"/>
                      <a:pt x="287" y="76"/>
                    </a:cubicBezTo>
                    <a:cubicBezTo>
                      <a:pt x="281" y="75"/>
                      <a:pt x="281" y="75"/>
                      <a:pt x="281" y="75"/>
                    </a:cubicBezTo>
                    <a:cubicBezTo>
                      <a:pt x="280" y="74"/>
                      <a:pt x="280" y="74"/>
                      <a:pt x="280" y="74"/>
                    </a:cubicBezTo>
                    <a:close/>
                    <a:moveTo>
                      <a:pt x="287" y="126"/>
                    </a:moveTo>
                    <a:cubicBezTo>
                      <a:pt x="289" y="121"/>
                      <a:pt x="289" y="121"/>
                      <a:pt x="289" y="121"/>
                    </a:cubicBezTo>
                    <a:cubicBezTo>
                      <a:pt x="291" y="120"/>
                      <a:pt x="291" y="120"/>
                      <a:pt x="291" y="120"/>
                    </a:cubicBezTo>
                    <a:cubicBezTo>
                      <a:pt x="291" y="118"/>
                      <a:pt x="291" y="118"/>
                      <a:pt x="291" y="118"/>
                    </a:cubicBezTo>
                    <a:cubicBezTo>
                      <a:pt x="289" y="116"/>
                      <a:pt x="289" y="116"/>
                      <a:pt x="289" y="116"/>
                    </a:cubicBezTo>
                    <a:cubicBezTo>
                      <a:pt x="287" y="113"/>
                      <a:pt x="287" y="113"/>
                      <a:pt x="287" y="113"/>
                    </a:cubicBezTo>
                    <a:cubicBezTo>
                      <a:pt x="283" y="113"/>
                      <a:pt x="283" y="113"/>
                      <a:pt x="283" y="113"/>
                    </a:cubicBezTo>
                    <a:cubicBezTo>
                      <a:pt x="278" y="114"/>
                      <a:pt x="278" y="114"/>
                      <a:pt x="278" y="114"/>
                    </a:cubicBezTo>
                    <a:cubicBezTo>
                      <a:pt x="273" y="117"/>
                      <a:pt x="273" y="117"/>
                      <a:pt x="273" y="117"/>
                    </a:cubicBezTo>
                    <a:cubicBezTo>
                      <a:pt x="272" y="120"/>
                      <a:pt x="272" y="120"/>
                      <a:pt x="272" y="120"/>
                    </a:cubicBezTo>
                    <a:cubicBezTo>
                      <a:pt x="273" y="122"/>
                      <a:pt x="273" y="122"/>
                      <a:pt x="273" y="122"/>
                    </a:cubicBezTo>
                    <a:cubicBezTo>
                      <a:pt x="279" y="126"/>
                      <a:pt x="279" y="126"/>
                      <a:pt x="279" y="126"/>
                    </a:cubicBezTo>
                    <a:cubicBezTo>
                      <a:pt x="283" y="127"/>
                      <a:pt x="283" y="127"/>
                      <a:pt x="283" y="127"/>
                    </a:cubicBezTo>
                    <a:cubicBezTo>
                      <a:pt x="287" y="126"/>
                      <a:pt x="287" y="126"/>
                      <a:pt x="287" y="126"/>
                    </a:cubicBezTo>
                    <a:close/>
                    <a:moveTo>
                      <a:pt x="297" y="119"/>
                    </a:moveTo>
                    <a:cubicBezTo>
                      <a:pt x="295" y="122"/>
                      <a:pt x="295" y="122"/>
                      <a:pt x="295" y="122"/>
                    </a:cubicBezTo>
                    <a:cubicBezTo>
                      <a:pt x="295" y="126"/>
                      <a:pt x="295" y="126"/>
                      <a:pt x="295" y="126"/>
                    </a:cubicBezTo>
                    <a:cubicBezTo>
                      <a:pt x="292" y="129"/>
                      <a:pt x="292" y="129"/>
                      <a:pt x="292" y="129"/>
                    </a:cubicBezTo>
                    <a:cubicBezTo>
                      <a:pt x="291" y="128"/>
                      <a:pt x="291" y="128"/>
                      <a:pt x="291" y="128"/>
                    </a:cubicBezTo>
                    <a:cubicBezTo>
                      <a:pt x="288" y="128"/>
                      <a:pt x="288" y="128"/>
                      <a:pt x="288" y="128"/>
                    </a:cubicBezTo>
                    <a:cubicBezTo>
                      <a:pt x="283" y="132"/>
                      <a:pt x="283" y="132"/>
                      <a:pt x="283" y="132"/>
                    </a:cubicBezTo>
                    <a:cubicBezTo>
                      <a:pt x="279" y="132"/>
                      <a:pt x="279" y="132"/>
                      <a:pt x="279" y="132"/>
                    </a:cubicBezTo>
                    <a:cubicBezTo>
                      <a:pt x="277" y="130"/>
                      <a:pt x="277" y="130"/>
                      <a:pt x="277" y="130"/>
                    </a:cubicBezTo>
                    <a:cubicBezTo>
                      <a:pt x="275" y="131"/>
                      <a:pt x="275" y="131"/>
                      <a:pt x="275" y="131"/>
                    </a:cubicBezTo>
                    <a:cubicBezTo>
                      <a:pt x="275" y="135"/>
                      <a:pt x="275" y="135"/>
                      <a:pt x="275" y="135"/>
                    </a:cubicBezTo>
                    <a:cubicBezTo>
                      <a:pt x="276" y="139"/>
                      <a:pt x="276" y="139"/>
                      <a:pt x="276" y="139"/>
                    </a:cubicBezTo>
                    <a:cubicBezTo>
                      <a:pt x="276" y="149"/>
                      <a:pt x="276" y="149"/>
                      <a:pt x="276" y="149"/>
                    </a:cubicBezTo>
                    <a:cubicBezTo>
                      <a:pt x="278" y="155"/>
                      <a:pt x="278" y="155"/>
                      <a:pt x="278" y="155"/>
                    </a:cubicBezTo>
                    <a:cubicBezTo>
                      <a:pt x="283" y="161"/>
                      <a:pt x="283" y="161"/>
                      <a:pt x="283" y="161"/>
                    </a:cubicBezTo>
                    <a:cubicBezTo>
                      <a:pt x="286" y="161"/>
                      <a:pt x="286" y="161"/>
                      <a:pt x="286" y="161"/>
                    </a:cubicBezTo>
                    <a:cubicBezTo>
                      <a:pt x="292" y="158"/>
                      <a:pt x="292" y="158"/>
                      <a:pt x="292" y="158"/>
                    </a:cubicBezTo>
                    <a:cubicBezTo>
                      <a:pt x="297" y="158"/>
                      <a:pt x="297" y="158"/>
                      <a:pt x="297" y="158"/>
                    </a:cubicBezTo>
                    <a:cubicBezTo>
                      <a:pt x="301" y="156"/>
                      <a:pt x="301" y="156"/>
                      <a:pt x="301" y="156"/>
                    </a:cubicBezTo>
                    <a:cubicBezTo>
                      <a:pt x="306" y="155"/>
                      <a:pt x="306" y="155"/>
                      <a:pt x="306" y="155"/>
                    </a:cubicBezTo>
                    <a:cubicBezTo>
                      <a:pt x="306" y="152"/>
                      <a:pt x="306" y="152"/>
                      <a:pt x="306" y="152"/>
                    </a:cubicBezTo>
                    <a:cubicBezTo>
                      <a:pt x="303" y="149"/>
                      <a:pt x="303" y="149"/>
                      <a:pt x="303" y="149"/>
                    </a:cubicBezTo>
                    <a:cubicBezTo>
                      <a:pt x="301" y="146"/>
                      <a:pt x="301" y="146"/>
                      <a:pt x="301" y="146"/>
                    </a:cubicBezTo>
                    <a:cubicBezTo>
                      <a:pt x="297" y="144"/>
                      <a:pt x="297" y="144"/>
                      <a:pt x="297" y="144"/>
                    </a:cubicBezTo>
                    <a:cubicBezTo>
                      <a:pt x="294" y="139"/>
                      <a:pt x="294" y="139"/>
                      <a:pt x="294" y="139"/>
                    </a:cubicBezTo>
                    <a:cubicBezTo>
                      <a:pt x="295" y="137"/>
                      <a:pt x="295" y="137"/>
                      <a:pt x="295" y="137"/>
                    </a:cubicBezTo>
                    <a:cubicBezTo>
                      <a:pt x="298" y="135"/>
                      <a:pt x="298" y="135"/>
                      <a:pt x="298" y="135"/>
                    </a:cubicBezTo>
                    <a:cubicBezTo>
                      <a:pt x="302" y="135"/>
                      <a:pt x="302" y="135"/>
                      <a:pt x="302" y="135"/>
                    </a:cubicBezTo>
                    <a:cubicBezTo>
                      <a:pt x="306" y="133"/>
                      <a:pt x="306" y="133"/>
                      <a:pt x="306" y="133"/>
                    </a:cubicBezTo>
                    <a:cubicBezTo>
                      <a:pt x="306" y="130"/>
                      <a:pt x="306" y="130"/>
                      <a:pt x="306" y="130"/>
                    </a:cubicBezTo>
                    <a:cubicBezTo>
                      <a:pt x="302" y="126"/>
                      <a:pt x="302" y="126"/>
                      <a:pt x="302" y="126"/>
                    </a:cubicBezTo>
                    <a:cubicBezTo>
                      <a:pt x="299" y="124"/>
                      <a:pt x="299" y="124"/>
                      <a:pt x="299" y="124"/>
                    </a:cubicBezTo>
                    <a:cubicBezTo>
                      <a:pt x="297" y="119"/>
                      <a:pt x="297" y="119"/>
                      <a:pt x="297" y="119"/>
                    </a:cubicBezTo>
                    <a:close/>
                    <a:moveTo>
                      <a:pt x="315" y="127"/>
                    </a:moveTo>
                    <a:cubicBezTo>
                      <a:pt x="312" y="125"/>
                      <a:pt x="312" y="125"/>
                      <a:pt x="312" y="125"/>
                    </a:cubicBezTo>
                    <a:cubicBezTo>
                      <a:pt x="311" y="122"/>
                      <a:pt x="311" y="122"/>
                      <a:pt x="311" y="122"/>
                    </a:cubicBezTo>
                    <a:cubicBezTo>
                      <a:pt x="309" y="119"/>
                      <a:pt x="309" y="119"/>
                      <a:pt x="309" y="119"/>
                    </a:cubicBezTo>
                    <a:cubicBezTo>
                      <a:pt x="305" y="120"/>
                      <a:pt x="305" y="120"/>
                      <a:pt x="305" y="120"/>
                    </a:cubicBezTo>
                    <a:cubicBezTo>
                      <a:pt x="302" y="117"/>
                      <a:pt x="302" y="117"/>
                      <a:pt x="302" y="117"/>
                    </a:cubicBezTo>
                    <a:cubicBezTo>
                      <a:pt x="301" y="114"/>
                      <a:pt x="301" y="114"/>
                      <a:pt x="301" y="114"/>
                    </a:cubicBezTo>
                    <a:cubicBezTo>
                      <a:pt x="303" y="111"/>
                      <a:pt x="303" y="111"/>
                      <a:pt x="303" y="111"/>
                    </a:cubicBezTo>
                    <a:cubicBezTo>
                      <a:pt x="301" y="106"/>
                      <a:pt x="301" y="106"/>
                      <a:pt x="301" y="106"/>
                    </a:cubicBezTo>
                    <a:cubicBezTo>
                      <a:pt x="300" y="102"/>
                      <a:pt x="300" y="102"/>
                      <a:pt x="300" y="102"/>
                    </a:cubicBezTo>
                    <a:cubicBezTo>
                      <a:pt x="301" y="97"/>
                      <a:pt x="301" y="97"/>
                      <a:pt x="301" y="97"/>
                    </a:cubicBezTo>
                    <a:cubicBezTo>
                      <a:pt x="304" y="95"/>
                      <a:pt x="304" y="95"/>
                      <a:pt x="304" y="95"/>
                    </a:cubicBezTo>
                    <a:cubicBezTo>
                      <a:pt x="308" y="91"/>
                      <a:pt x="308" y="91"/>
                      <a:pt x="308" y="91"/>
                    </a:cubicBezTo>
                    <a:cubicBezTo>
                      <a:pt x="308" y="88"/>
                      <a:pt x="308" y="88"/>
                      <a:pt x="308" y="88"/>
                    </a:cubicBezTo>
                    <a:cubicBezTo>
                      <a:pt x="309" y="86"/>
                      <a:pt x="309" y="86"/>
                      <a:pt x="309" y="86"/>
                    </a:cubicBezTo>
                    <a:cubicBezTo>
                      <a:pt x="312" y="85"/>
                      <a:pt x="312" y="85"/>
                      <a:pt x="312" y="85"/>
                    </a:cubicBezTo>
                    <a:cubicBezTo>
                      <a:pt x="314" y="87"/>
                      <a:pt x="314" y="87"/>
                      <a:pt x="314" y="87"/>
                    </a:cubicBezTo>
                    <a:cubicBezTo>
                      <a:pt x="318" y="87"/>
                      <a:pt x="318" y="87"/>
                      <a:pt x="318" y="87"/>
                    </a:cubicBezTo>
                    <a:cubicBezTo>
                      <a:pt x="319" y="91"/>
                      <a:pt x="319" y="91"/>
                      <a:pt x="319" y="91"/>
                    </a:cubicBezTo>
                    <a:cubicBezTo>
                      <a:pt x="319" y="97"/>
                      <a:pt x="319" y="97"/>
                      <a:pt x="319" y="97"/>
                    </a:cubicBezTo>
                    <a:cubicBezTo>
                      <a:pt x="320" y="99"/>
                      <a:pt x="320" y="99"/>
                      <a:pt x="320" y="99"/>
                    </a:cubicBezTo>
                    <a:cubicBezTo>
                      <a:pt x="323" y="100"/>
                      <a:pt x="323" y="100"/>
                      <a:pt x="323" y="100"/>
                    </a:cubicBezTo>
                    <a:cubicBezTo>
                      <a:pt x="328" y="105"/>
                      <a:pt x="328" y="105"/>
                      <a:pt x="328" y="105"/>
                    </a:cubicBezTo>
                    <a:cubicBezTo>
                      <a:pt x="330" y="105"/>
                      <a:pt x="330" y="105"/>
                      <a:pt x="330" y="105"/>
                    </a:cubicBezTo>
                    <a:cubicBezTo>
                      <a:pt x="330" y="107"/>
                      <a:pt x="330" y="107"/>
                      <a:pt x="330" y="107"/>
                    </a:cubicBezTo>
                    <a:cubicBezTo>
                      <a:pt x="324" y="110"/>
                      <a:pt x="324" y="110"/>
                      <a:pt x="324" y="110"/>
                    </a:cubicBezTo>
                    <a:cubicBezTo>
                      <a:pt x="318" y="113"/>
                      <a:pt x="318" y="113"/>
                      <a:pt x="318" y="113"/>
                    </a:cubicBezTo>
                    <a:cubicBezTo>
                      <a:pt x="317" y="115"/>
                      <a:pt x="317" y="115"/>
                      <a:pt x="317" y="115"/>
                    </a:cubicBezTo>
                    <a:cubicBezTo>
                      <a:pt x="318" y="118"/>
                      <a:pt x="318" y="118"/>
                      <a:pt x="318" y="118"/>
                    </a:cubicBezTo>
                    <a:cubicBezTo>
                      <a:pt x="317" y="123"/>
                      <a:pt x="317" y="123"/>
                      <a:pt x="317" y="123"/>
                    </a:cubicBezTo>
                    <a:cubicBezTo>
                      <a:pt x="315" y="127"/>
                      <a:pt x="315" y="127"/>
                      <a:pt x="315" y="127"/>
                    </a:cubicBezTo>
                    <a:close/>
                    <a:moveTo>
                      <a:pt x="1964" y="231"/>
                    </a:moveTo>
                    <a:cubicBezTo>
                      <a:pt x="1966" y="231"/>
                      <a:pt x="1966" y="231"/>
                      <a:pt x="1966" y="231"/>
                    </a:cubicBezTo>
                    <a:cubicBezTo>
                      <a:pt x="1967" y="229"/>
                      <a:pt x="1967" y="229"/>
                      <a:pt x="1967" y="229"/>
                    </a:cubicBezTo>
                    <a:cubicBezTo>
                      <a:pt x="1965" y="227"/>
                      <a:pt x="1965" y="227"/>
                      <a:pt x="1965" y="227"/>
                    </a:cubicBezTo>
                    <a:cubicBezTo>
                      <a:pt x="1963" y="229"/>
                      <a:pt x="1963" y="229"/>
                      <a:pt x="1963" y="229"/>
                    </a:cubicBezTo>
                    <a:cubicBezTo>
                      <a:pt x="1964" y="231"/>
                      <a:pt x="1964" y="231"/>
                      <a:pt x="1964" y="231"/>
                    </a:cubicBezTo>
                    <a:close/>
                    <a:moveTo>
                      <a:pt x="1950" y="228"/>
                    </a:moveTo>
                    <a:cubicBezTo>
                      <a:pt x="1952" y="228"/>
                      <a:pt x="1952" y="228"/>
                      <a:pt x="1952" y="228"/>
                    </a:cubicBezTo>
                    <a:cubicBezTo>
                      <a:pt x="1953" y="226"/>
                      <a:pt x="1953" y="226"/>
                      <a:pt x="1953" y="226"/>
                    </a:cubicBezTo>
                    <a:cubicBezTo>
                      <a:pt x="1949" y="225"/>
                      <a:pt x="1949" y="225"/>
                      <a:pt x="1949" y="225"/>
                    </a:cubicBezTo>
                    <a:cubicBezTo>
                      <a:pt x="1948" y="227"/>
                      <a:pt x="1948" y="227"/>
                      <a:pt x="1948" y="227"/>
                    </a:cubicBezTo>
                    <a:cubicBezTo>
                      <a:pt x="1950" y="228"/>
                      <a:pt x="1950" y="228"/>
                      <a:pt x="1950" y="228"/>
                    </a:cubicBezTo>
                    <a:close/>
                    <a:moveTo>
                      <a:pt x="1935" y="233"/>
                    </a:moveTo>
                    <a:cubicBezTo>
                      <a:pt x="1937" y="233"/>
                      <a:pt x="1937" y="233"/>
                      <a:pt x="1937" y="233"/>
                    </a:cubicBezTo>
                    <a:cubicBezTo>
                      <a:pt x="1938" y="232"/>
                      <a:pt x="1938" y="232"/>
                      <a:pt x="1938" y="232"/>
                    </a:cubicBezTo>
                    <a:cubicBezTo>
                      <a:pt x="1937" y="229"/>
                      <a:pt x="1937" y="229"/>
                      <a:pt x="1937" y="229"/>
                    </a:cubicBezTo>
                    <a:cubicBezTo>
                      <a:pt x="1935" y="228"/>
                      <a:pt x="1935" y="228"/>
                      <a:pt x="1935" y="228"/>
                    </a:cubicBezTo>
                    <a:cubicBezTo>
                      <a:pt x="1933" y="231"/>
                      <a:pt x="1933" y="231"/>
                      <a:pt x="1933" y="231"/>
                    </a:cubicBezTo>
                    <a:cubicBezTo>
                      <a:pt x="1935" y="233"/>
                      <a:pt x="1935" y="233"/>
                      <a:pt x="1935" y="233"/>
                    </a:cubicBezTo>
                    <a:close/>
                    <a:moveTo>
                      <a:pt x="2269" y="627"/>
                    </a:moveTo>
                    <a:cubicBezTo>
                      <a:pt x="2268" y="628"/>
                      <a:pt x="2268" y="628"/>
                      <a:pt x="2268" y="628"/>
                    </a:cubicBezTo>
                    <a:cubicBezTo>
                      <a:pt x="2269" y="631"/>
                      <a:pt x="2269" y="631"/>
                      <a:pt x="2269" y="631"/>
                    </a:cubicBezTo>
                    <a:cubicBezTo>
                      <a:pt x="2271" y="629"/>
                      <a:pt x="2271" y="629"/>
                      <a:pt x="2271" y="629"/>
                    </a:cubicBezTo>
                    <a:cubicBezTo>
                      <a:pt x="2271" y="627"/>
                      <a:pt x="2271" y="627"/>
                      <a:pt x="2271" y="627"/>
                    </a:cubicBezTo>
                    <a:cubicBezTo>
                      <a:pt x="2270" y="626"/>
                      <a:pt x="2270" y="626"/>
                      <a:pt x="2270" y="626"/>
                    </a:cubicBezTo>
                    <a:cubicBezTo>
                      <a:pt x="2269" y="627"/>
                      <a:pt x="2269" y="627"/>
                      <a:pt x="2269" y="627"/>
                    </a:cubicBezTo>
                    <a:close/>
                    <a:moveTo>
                      <a:pt x="2264" y="620"/>
                    </a:moveTo>
                    <a:cubicBezTo>
                      <a:pt x="2268" y="624"/>
                      <a:pt x="2268" y="624"/>
                      <a:pt x="2268" y="624"/>
                    </a:cubicBezTo>
                    <a:cubicBezTo>
                      <a:pt x="2270" y="623"/>
                      <a:pt x="2270" y="623"/>
                      <a:pt x="2270" y="623"/>
                    </a:cubicBezTo>
                    <a:cubicBezTo>
                      <a:pt x="2270" y="621"/>
                      <a:pt x="2270" y="621"/>
                      <a:pt x="2270" y="621"/>
                    </a:cubicBezTo>
                    <a:cubicBezTo>
                      <a:pt x="2267" y="618"/>
                      <a:pt x="2267" y="618"/>
                      <a:pt x="2267" y="618"/>
                    </a:cubicBezTo>
                    <a:cubicBezTo>
                      <a:pt x="2265" y="618"/>
                      <a:pt x="2265" y="618"/>
                      <a:pt x="2265" y="618"/>
                    </a:cubicBezTo>
                    <a:cubicBezTo>
                      <a:pt x="2264" y="620"/>
                      <a:pt x="2264" y="620"/>
                      <a:pt x="2264" y="620"/>
                    </a:cubicBezTo>
                    <a:close/>
                    <a:moveTo>
                      <a:pt x="361" y="395"/>
                    </a:moveTo>
                    <a:cubicBezTo>
                      <a:pt x="362" y="394"/>
                      <a:pt x="362" y="394"/>
                      <a:pt x="362" y="394"/>
                    </a:cubicBezTo>
                    <a:cubicBezTo>
                      <a:pt x="363" y="392"/>
                      <a:pt x="363" y="392"/>
                      <a:pt x="363" y="392"/>
                    </a:cubicBezTo>
                    <a:cubicBezTo>
                      <a:pt x="369" y="389"/>
                      <a:pt x="369" y="389"/>
                      <a:pt x="369" y="389"/>
                    </a:cubicBezTo>
                    <a:cubicBezTo>
                      <a:pt x="369" y="386"/>
                      <a:pt x="369" y="386"/>
                      <a:pt x="369" y="386"/>
                    </a:cubicBezTo>
                    <a:cubicBezTo>
                      <a:pt x="368" y="386"/>
                      <a:pt x="368" y="386"/>
                      <a:pt x="368" y="386"/>
                    </a:cubicBezTo>
                    <a:cubicBezTo>
                      <a:pt x="364" y="389"/>
                      <a:pt x="364" y="389"/>
                      <a:pt x="364" y="389"/>
                    </a:cubicBezTo>
                    <a:cubicBezTo>
                      <a:pt x="361" y="390"/>
                      <a:pt x="361" y="390"/>
                      <a:pt x="361" y="390"/>
                    </a:cubicBezTo>
                    <a:cubicBezTo>
                      <a:pt x="359" y="392"/>
                      <a:pt x="359" y="392"/>
                      <a:pt x="359" y="392"/>
                    </a:cubicBezTo>
                    <a:cubicBezTo>
                      <a:pt x="361" y="395"/>
                      <a:pt x="361" y="395"/>
                      <a:pt x="361" y="395"/>
                    </a:cubicBezTo>
                    <a:close/>
                    <a:moveTo>
                      <a:pt x="337" y="514"/>
                    </a:moveTo>
                    <a:cubicBezTo>
                      <a:pt x="343" y="514"/>
                      <a:pt x="343" y="514"/>
                      <a:pt x="343" y="514"/>
                    </a:cubicBezTo>
                    <a:cubicBezTo>
                      <a:pt x="349" y="511"/>
                      <a:pt x="349" y="511"/>
                      <a:pt x="349" y="511"/>
                    </a:cubicBezTo>
                    <a:cubicBezTo>
                      <a:pt x="353" y="509"/>
                      <a:pt x="353" y="509"/>
                      <a:pt x="353" y="509"/>
                    </a:cubicBezTo>
                    <a:cubicBezTo>
                      <a:pt x="357" y="510"/>
                      <a:pt x="357" y="510"/>
                      <a:pt x="357" y="510"/>
                    </a:cubicBezTo>
                    <a:cubicBezTo>
                      <a:pt x="359" y="512"/>
                      <a:pt x="359" y="512"/>
                      <a:pt x="359" y="512"/>
                    </a:cubicBezTo>
                    <a:cubicBezTo>
                      <a:pt x="363" y="513"/>
                      <a:pt x="363" y="513"/>
                      <a:pt x="363" y="513"/>
                    </a:cubicBezTo>
                    <a:cubicBezTo>
                      <a:pt x="366" y="511"/>
                      <a:pt x="366" y="511"/>
                      <a:pt x="366" y="511"/>
                    </a:cubicBezTo>
                    <a:cubicBezTo>
                      <a:pt x="364" y="509"/>
                      <a:pt x="364" y="509"/>
                      <a:pt x="364" y="509"/>
                    </a:cubicBezTo>
                    <a:cubicBezTo>
                      <a:pt x="364" y="507"/>
                      <a:pt x="364" y="507"/>
                      <a:pt x="364" y="507"/>
                    </a:cubicBezTo>
                    <a:cubicBezTo>
                      <a:pt x="366" y="507"/>
                      <a:pt x="366" y="507"/>
                      <a:pt x="366" y="507"/>
                    </a:cubicBezTo>
                    <a:cubicBezTo>
                      <a:pt x="368" y="511"/>
                      <a:pt x="368" y="511"/>
                      <a:pt x="368" y="511"/>
                    </a:cubicBezTo>
                    <a:cubicBezTo>
                      <a:pt x="371" y="512"/>
                      <a:pt x="371" y="512"/>
                      <a:pt x="371" y="512"/>
                    </a:cubicBezTo>
                    <a:cubicBezTo>
                      <a:pt x="377" y="512"/>
                      <a:pt x="377" y="512"/>
                      <a:pt x="377" y="512"/>
                    </a:cubicBezTo>
                    <a:cubicBezTo>
                      <a:pt x="378" y="510"/>
                      <a:pt x="378" y="510"/>
                      <a:pt x="378" y="510"/>
                    </a:cubicBezTo>
                    <a:cubicBezTo>
                      <a:pt x="381" y="510"/>
                      <a:pt x="381" y="510"/>
                      <a:pt x="381" y="510"/>
                    </a:cubicBezTo>
                    <a:cubicBezTo>
                      <a:pt x="382" y="505"/>
                      <a:pt x="382" y="505"/>
                      <a:pt x="382" y="505"/>
                    </a:cubicBezTo>
                    <a:cubicBezTo>
                      <a:pt x="382" y="501"/>
                      <a:pt x="382" y="501"/>
                      <a:pt x="382" y="501"/>
                    </a:cubicBezTo>
                    <a:cubicBezTo>
                      <a:pt x="385" y="497"/>
                      <a:pt x="385" y="497"/>
                      <a:pt x="385" y="497"/>
                    </a:cubicBezTo>
                    <a:cubicBezTo>
                      <a:pt x="385" y="494"/>
                      <a:pt x="385" y="494"/>
                      <a:pt x="385" y="494"/>
                    </a:cubicBezTo>
                    <a:cubicBezTo>
                      <a:pt x="383" y="492"/>
                      <a:pt x="383" y="492"/>
                      <a:pt x="383" y="492"/>
                    </a:cubicBezTo>
                    <a:cubicBezTo>
                      <a:pt x="381" y="487"/>
                      <a:pt x="381" y="487"/>
                      <a:pt x="381" y="487"/>
                    </a:cubicBezTo>
                    <a:cubicBezTo>
                      <a:pt x="377" y="486"/>
                      <a:pt x="377" y="486"/>
                      <a:pt x="377" y="486"/>
                    </a:cubicBezTo>
                    <a:cubicBezTo>
                      <a:pt x="374" y="486"/>
                      <a:pt x="374" y="486"/>
                      <a:pt x="374" y="486"/>
                    </a:cubicBezTo>
                    <a:cubicBezTo>
                      <a:pt x="373" y="485"/>
                      <a:pt x="373" y="485"/>
                      <a:pt x="373" y="485"/>
                    </a:cubicBezTo>
                    <a:cubicBezTo>
                      <a:pt x="375" y="483"/>
                      <a:pt x="375" y="483"/>
                      <a:pt x="375" y="483"/>
                    </a:cubicBezTo>
                    <a:cubicBezTo>
                      <a:pt x="378" y="484"/>
                      <a:pt x="378" y="484"/>
                      <a:pt x="378" y="484"/>
                    </a:cubicBezTo>
                    <a:cubicBezTo>
                      <a:pt x="381" y="483"/>
                      <a:pt x="381" y="483"/>
                      <a:pt x="381" y="483"/>
                    </a:cubicBezTo>
                    <a:cubicBezTo>
                      <a:pt x="383" y="486"/>
                      <a:pt x="383" y="486"/>
                      <a:pt x="383" y="486"/>
                    </a:cubicBezTo>
                    <a:cubicBezTo>
                      <a:pt x="383" y="489"/>
                      <a:pt x="383" y="489"/>
                      <a:pt x="383" y="489"/>
                    </a:cubicBezTo>
                    <a:cubicBezTo>
                      <a:pt x="385" y="490"/>
                      <a:pt x="385" y="490"/>
                      <a:pt x="385" y="490"/>
                    </a:cubicBezTo>
                    <a:cubicBezTo>
                      <a:pt x="386" y="487"/>
                      <a:pt x="386" y="487"/>
                      <a:pt x="386" y="487"/>
                    </a:cubicBezTo>
                    <a:cubicBezTo>
                      <a:pt x="385" y="482"/>
                      <a:pt x="385" y="482"/>
                      <a:pt x="385" y="482"/>
                    </a:cubicBezTo>
                    <a:cubicBezTo>
                      <a:pt x="381" y="477"/>
                      <a:pt x="381" y="477"/>
                      <a:pt x="381" y="477"/>
                    </a:cubicBezTo>
                    <a:cubicBezTo>
                      <a:pt x="377" y="472"/>
                      <a:pt x="377" y="472"/>
                      <a:pt x="377" y="472"/>
                    </a:cubicBezTo>
                    <a:cubicBezTo>
                      <a:pt x="378" y="470"/>
                      <a:pt x="378" y="470"/>
                      <a:pt x="378" y="470"/>
                    </a:cubicBezTo>
                    <a:cubicBezTo>
                      <a:pt x="381" y="472"/>
                      <a:pt x="381" y="472"/>
                      <a:pt x="381" y="472"/>
                    </a:cubicBezTo>
                    <a:cubicBezTo>
                      <a:pt x="381" y="475"/>
                      <a:pt x="381" y="475"/>
                      <a:pt x="381" y="475"/>
                    </a:cubicBezTo>
                    <a:cubicBezTo>
                      <a:pt x="385" y="477"/>
                      <a:pt x="385" y="477"/>
                      <a:pt x="385" y="477"/>
                    </a:cubicBezTo>
                    <a:cubicBezTo>
                      <a:pt x="388" y="478"/>
                      <a:pt x="388" y="478"/>
                      <a:pt x="388" y="478"/>
                    </a:cubicBezTo>
                    <a:cubicBezTo>
                      <a:pt x="389" y="476"/>
                      <a:pt x="389" y="476"/>
                      <a:pt x="389" y="476"/>
                    </a:cubicBezTo>
                    <a:cubicBezTo>
                      <a:pt x="389" y="473"/>
                      <a:pt x="389" y="473"/>
                      <a:pt x="389" y="473"/>
                    </a:cubicBezTo>
                    <a:cubicBezTo>
                      <a:pt x="387" y="472"/>
                      <a:pt x="387" y="472"/>
                      <a:pt x="387" y="472"/>
                    </a:cubicBezTo>
                    <a:cubicBezTo>
                      <a:pt x="388" y="469"/>
                      <a:pt x="388" y="469"/>
                      <a:pt x="388" y="469"/>
                    </a:cubicBezTo>
                    <a:cubicBezTo>
                      <a:pt x="390" y="466"/>
                      <a:pt x="390" y="466"/>
                      <a:pt x="390" y="466"/>
                    </a:cubicBezTo>
                    <a:cubicBezTo>
                      <a:pt x="389" y="462"/>
                      <a:pt x="389" y="462"/>
                      <a:pt x="389" y="462"/>
                    </a:cubicBezTo>
                    <a:cubicBezTo>
                      <a:pt x="387" y="459"/>
                      <a:pt x="387" y="459"/>
                      <a:pt x="387" y="459"/>
                    </a:cubicBezTo>
                    <a:cubicBezTo>
                      <a:pt x="383" y="454"/>
                      <a:pt x="383" y="454"/>
                      <a:pt x="383" y="454"/>
                    </a:cubicBezTo>
                    <a:cubicBezTo>
                      <a:pt x="385" y="454"/>
                      <a:pt x="385" y="454"/>
                      <a:pt x="385" y="454"/>
                    </a:cubicBezTo>
                    <a:cubicBezTo>
                      <a:pt x="388" y="456"/>
                      <a:pt x="388" y="456"/>
                      <a:pt x="388" y="456"/>
                    </a:cubicBezTo>
                    <a:cubicBezTo>
                      <a:pt x="391" y="456"/>
                      <a:pt x="391" y="456"/>
                      <a:pt x="391" y="456"/>
                    </a:cubicBezTo>
                    <a:cubicBezTo>
                      <a:pt x="393" y="452"/>
                      <a:pt x="393" y="452"/>
                      <a:pt x="393" y="452"/>
                    </a:cubicBezTo>
                    <a:cubicBezTo>
                      <a:pt x="392" y="450"/>
                      <a:pt x="392" y="450"/>
                      <a:pt x="392" y="450"/>
                    </a:cubicBezTo>
                    <a:cubicBezTo>
                      <a:pt x="389" y="450"/>
                      <a:pt x="389" y="450"/>
                      <a:pt x="389" y="450"/>
                    </a:cubicBezTo>
                    <a:cubicBezTo>
                      <a:pt x="389" y="446"/>
                      <a:pt x="389" y="446"/>
                      <a:pt x="389" y="446"/>
                    </a:cubicBezTo>
                    <a:cubicBezTo>
                      <a:pt x="392" y="445"/>
                      <a:pt x="392" y="445"/>
                      <a:pt x="392" y="445"/>
                    </a:cubicBezTo>
                    <a:cubicBezTo>
                      <a:pt x="395" y="447"/>
                      <a:pt x="395" y="447"/>
                      <a:pt x="395" y="447"/>
                    </a:cubicBezTo>
                    <a:cubicBezTo>
                      <a:pt x="400" y="449"/>
                      <a:pt x="400" y="449"/>
                      <a:pt x="400" y="449"/>
                    </a:cubicBezTo>
                    <a:cubicBezTo>
                      <a:pt x="402" y="447"/>
                      <a:pt x="402" y="447"/>
                      <a:pt x="402" y="447"/>
                    </a:cubicBezTo>
                    <a:cubicBezTo>
                      <a:pt x="399" y="445"/>
                      <a:pt x="399" y="445"/>
                      <a:pt x="399" y="445"/>
                    </a:cubicBezTo>
                    <a:cubicBezTo>
                      <a:pt x="398" y="443"/>
                      <a:pt x="398" y="443"/>
                      <a:pt x="398" y="443"/>
                    </a:cubicBezTo>
                    <a:cubicBezTo>
                      <a:pt x="401" y="443"/>
                      <a:pt x="401" y="443"/>
                      <a:pt x="401" y="443"/>
                    </a:cubicBezTo>
                    <a:cubicBezTo>
                      <a:pt x="404" y="444"/>
                      <a:pt x="404" y="444"/>
                      <a:pt x="404" y="444"/>
                    </a:cubicBezTo>
                    <a:cubicBezTo>
                      <a:pt x="406" y="442"/>
                      <a:pt x="406" y="442"/>
                      <a:pt x="406" y="442"/>
                    </a:cubicBezTo>
                    <a:cubicBezTo>
                      <a:pt x="407" y="438"/>
                      <a:pt x="407" y="438"/>
                      <a:pt x="407" y="438"/>
                    </a:cubicBezTo>
                    <a:cubicBezTo>
                      <a:pt x="405" y="437"/>
                      <a:pt x="405" y="437"/>
                      <a:pt x="405" y="437"/>
                    </a:cubicBezTo>
                    <a:cubicBezTo>
                      <a:pt x="406" y="435"/>
                      <a:pt x="406" y="435"/>
                      <a:pt x="406" y="435"/>
                    </a:cubicBezTo>
                    <a:cubicBezTo>
                      <a:pt x="411" y="433"/>
                      <a:pt x="411" y="433"/>
                      <a:pt x="411" y="433"/>
                    </a:cubicBezTo>
                    <a:cubicBezTo>
                      <a:pt x="412" y="431"/>
                      <a:pt x="412" y="431"/>
                      <a:pt x="412" y="431"/>
                    </a:cubicBezTo>
                    <a:cubicBezTo>
                      <a:pt x="409" y="429"/>
                      <a:pt x="409" y="429"/>
                      <a:pt x="409" y="429"/>
                    </a:cubicBezTo>
                    <a:cubicBezTo>
                      <a:pt x="407" y="426"/>
                      <a:pt x="407" y="426"/>
                      <a:pt x="407" y="426"/>
                    </a:cubicBezTo>
                    <a:cubicBezTo>
                      <a:pt x="409" y="423"/>
                      <a:pt x="409" y="423"/>
                      <a:pt x="409" y="423"/>
                    </a:cubicBezTo>
                    <a:cubicBezTo>
                      <a:pt x="411" y="426"/>
                      <a:pt x="411" y="426"/>
                      <a:pt x="411" y="426"/>
                    </a:cubicBezTo>
                    <a:cubicBezTo>
                      <a:pt x="413" y="424"/>
                      <a:pt x="413" y="424"/>
                      <a:pt x="413" y="424"/>
                    </a:cubicBezTo>
                    <a:cubicBezTo>
                      <a:pt x="419" y="417"/>
                      <a:pt x="419" y="417"/>
                      <a:pt x="419" y="417"/>
                    </a:cubicBezTo>
                    <a:cubicBezTo>
                      <a:pt x="420" y="413"/>
                      <a:pt x="420" y="413"/>
                      <a:pt x="420" y="413"/>
                    </a:cubicBezTo>
                    <a:cubicBezTo>
                      <a:pt x="422" y="411"/>
                      <a:pt x="422" y="411"/>
                      <a:pt x="422" y="411"/>
                    </a:cubicBezTo>
                    <a:cubicBezTo>
                      <a:pt x="423" y="407"/>
                      <a:pt x="423" y="407"/>
                      <a:pt x="423" y="407"/>
                    </a:cubicBezTo>
                    <a:cubicBezTo>
                      <a:pt x="429" y="403"/>
                      <a:pt x="429" y="403"/>
                      <a:pt x="429" y="403"/>
                    </a:cubicBezTo>
                    <a:cubicBezTo>
                      <a:pt x="432" y="398"/>
                      <a:pt x="432" y="398"/>
                      <a:pt x="432" y="398"/>
                    </a:cubicBezTo>
                    <a:cubicBezTo>
                      <a:pt x="434" y="391"/>
                      <a:pt x="434" y="391"/>
                      <a:pt x="434" y="391"/>
                    </a:cubicBezTo>
                    <a:cubicBezTo>
                      <a:pt x="437" y="391"/>
                      <a:pt x="437" y="391"/>
                      <a:pt x="437" y="391"/>
                    </a:cubicBezTo>
                    <a:cubicBezTo>
                      <a:pt x="444" y="386"/>
                      <a:pt x="444" y="386"/>
                      <a:pt x="444" y="386"/>
                    </a:cubicBezTo>
                    <a:cubicBezTo>
                      <a:pt x="452" y="378"/>
                      <a:pt x="452" y="378"/>
                      <a:pt x="452" y="378"/>
                    </a:cubicBezTo>
                    <a:cubicBezTo>
                      <a:pt x="458" y="373"/>
                      <a:pt x="458" y="373"/>
                      <a:pt x="458" y="373"/>
                    </a:cubicBezTo>
                    <a:cubicBezTo>
                      <a:pt x="460" y="372"/>
                      <a:pt x="460" y="372"/>
                      <a:pt x="460" y="372"/>
                    </a:cubicBezTo>
                    <a:cubicBezTo>
                      <a:pt x="465" y="368"/>
                      <a:pt x="465" y="368"/>
                      <a:pt x="465" y="368"/>
                    </a:cubicBezTo>
                    <a:cubicBezTo>
                      <a:pt x="471" y="366"/>
                      <a:pt x="471" y="366"/>
                      <a:pt x="471" y="366"/>
                    </a:cubicBezTo>
                    <a:cubicBezTo>
                      <a:pt x="475" y="363"/>
                      <a:pt x="475" y="363"/>
                      <a:pt x="475" y="363"/>
                    </a:cubicBezTo>
                    <a:cubicBezTo>
                      <a:pt x="480" y="357"/>
                      <a:pt x="480" y="357"/>
                      <a:pt x="480" y="357"/>
                    </a:cubicBezTo>
                    <a:cubicBezTo>
                      <a:pt x="483" y="355"/>
                      <a:pt x="483" y="355"/>
                      <a:pt x="483" y="355"/>
                    </a:cubicBezTo>
                    <a:cubicBezTo>
                      <a:pt x="486" y="356"/>
                      <a:pt x="486" y="356"/>
                      <a:pt x="486" y="356"/>
                    </a:cubicBezTo>
                    <a:cubicBezTo>
                      <a:pt x="488" y="354"/>
                      <a:pt x="488" y="354"/>
                      <a:pt x="488" y="354"/>
                    </a:cubicBezTo>
                    <a:cubicBezTo>
                      <a:pt x="489" y="352"/>
                      <a:pt x="489" y="352"/>
                      <a:pt x="489" y="352"/>
                    </a:cubicBezTo>
                    <a:cubicBezTo>
                      <a:pt x="488" y="350"/>
                      <a:pt x="488" y="350"/>
                      <a:pt x="488" y="350"/>
                    </a:cubicBezTo>
                    <a:cubicBezTo>
                      <a:pt x="489" y="347"/>
                      <a:pt x="489" y="347"/>
                      <a:pt x="489" y="347"/>
                    </a:cubicBezTo>
                    <a:cubicBezTo>
                      <a:pt x="489" y="344"/>
                      <a:pt x="489" y="344"/>
                      <a:pt x="489" y="344"/>
                    </a:cubicBezTo>
                    <a:cubicBezTo>
                      <a:pt x="489" y="339"/>
                      <a:pt x="489" y="339"/>
                      <a:pt x="489" y="339"/>
                    </a:cubicBezTo>
                    <a:cubicBezTo>
                      <a:pt x="488" y="338"/>
                      <a:pt x="488" y="338"/>
                      <a:pt x="488" y="338"/>
                    </a:cubicBezTo>
                    <a:cubicBezTo>
                      <a:pt x="485" y="337"/>
                      <a:pt x="485" y="337"/>
                      <a:pt x="485" y="337"/>
                    </a:cubicBezTo>
                    <a:cubicBezTo>
                      <a:pt x="485" y="333"/>
                      <a:pt x="485" y="333"/>
                      <a:pt x="485" y="333"/>
                    </a:cubicBezTo>
                    <a:cubicBezTo>
                      <a:pt x="487" y="328"/>
                      <a:pt x="487" y="328"/>
                      <a:pt x="487" y="328"/>
                    </a:cubicBezTo>
                    <a:cubicBezTo>
                      <a:pt x="486" y="326"/>
                      <a:pt x="486" y="326"/>
                      <a:pt x="486" y="326"/>
                    </a:cubicBezTo>
                    <a:cubicBezTo>
                      <a:pt x="482" y="326"/>
                      <a:pt x="482" y="326"/>
                      <a:pt x="482" y="326"/>
                    </a:cubicBezTo>
                    <a:cubicBezTo>
                      <a:pt x="480" y="324"/>
                      <a:pt x="480" y="324"/>
                      <a:pt x="480" y="324"/>
                    </a:cubicBezTo>
                    <a:cubicBezTo>
                      <a:pt x="476" y="323"/>
                      <a:pt x="476" y="323"/>
                      <a:pt x="476" y="323"/>
                    </a:cubicBezTo>
                    <a:cubicBezTo>
                      <a:pt x="474" y="321"/>
                      <a:pt x="474" y="321"/>
                      <a:pt x="474" y="321"/>
                    </a:cubicBezTo>
                    <a:cubicBezTo>
                      <a:pt x="474" y="318"/>
                      <a:pt x="474" y="318"/>
                      <a:pt x="474" y="318"/>
                    </a:cubicBezTo>
                    <a:cubicBezTo>
                      <a:pt x="472" y="316"/>
                      <a:pt x="472" y="316"/>
                      <a:pt x="472" y="316"/>
                    </a:cubicBezTo>
                    <a:cubicBezTo>
                      <a:pt x="468" y="318"/>
                      <a:pt x="468" y="318"/>
                      <a:pt x="468" y="318"/>
                    </a:cubicBezTo>
                    <a:cubicBezTo>
                      <a:pt x="467" y="320"/>
                      <a:pt x="467" y="320"/>
                      <a:pt x="467" y="320"/>
                    </a:cubicBezTo>
                    <a:cubicBezTo>
                      <a:pt x="465" y="320"/>
                      <a:pt x="465" y="320"/>
                      <a:pt x="465" y="320"/>
                    </a:cubicBezTo>
                    <a:cubicBezTo>
                      <a:pt x="462" y="318"/>
                      <a:pt x="462" y="318"/>
                      <a:pt x="462" y="318"/>
                    </a:cubicBezTo>
                    <a:cubicBezTo>
                      <a:pt x="459" y="319"/>
                      <a:pt x="459" y="319"/>
                      <a:pt x="459" y="319"/>
                    </a:cubicBezTo>
                    <a:cubicBezTo>
                      <a:pt x="454" y="322"/>
                      <a:pt x="454" y="322"/>
                      <a:pt x="454" y="322"/>
                    </a:cubicBezTo>
                    <a:cubicBezTo>
                      <a:pt x="453" y="325"/>
                      <a:pt x="453" y="325"/>
                      <a:pt x="453" y="325"/>
                    </a:cubicBezTo>
                    <a:cubicBezTo>
                      <a:pt x="451" y="327"/>
                      <a:pt x="451" y="327"/>
                      <a:pt x="451" y="327"/>
                    </a:cubicBezTo>
                    <a:cubicBezTo>
                      <a:pt x="448" y="328"/>
                      <a:pt x="448" y="328"/>
                      <a:pt x="448" y="328"/>
                    </a:cubicBezTo>
                    <a:cubicBezTo>
                      <a:pt x="446" y="330"/>
                      <a:pt x="446" y="330"/>
                      <a:pt x="446" y="330"/>
                    </a:cubicBezTo>
                    <a:cubicBezTo>
                      <a:pt x="445" y="332"/>
                      <a:pt x="445" y="332"/>
                      <a:pt x="445" y="332"/>
                    </a:cubicBezTo>
                    <a:cubicBezTo>
                      <a:pt x="442" y="335"/>
                      <a:pt x="442" y="335"/>
                      <a:pt x="442" y="335"/>
                    </a:cubicBezTo>
                    <a:cubicBezTo>
                      <a:pt x="442" y="337"/>
                      <a:pt x="442" y="337"/>
                      <a:pt x="442" y="337"/>
                    </a:cubicBezTo>
                    <a:cubicBezTo>
                      <a:pt x="444" y="341"/>
                      <a:pt x="444" y="341"/>
                      <a:pt x="444" y="341"/>
                    </a:cubicBezTo>
                    <a:cubicBezTo>
                      <a:pt x="445" y="343"/>
                      <a:pt x="445" y="343"/>
                      <a:pt x="445" y="343"/>
                    </a:cubicBezTo>
                    <a:cubicBezTo>
                      <a:pt x="441" y="343"/>
                      <a:pt x="441" y="343"/>
                      <a:pt x="441" y="343"/>
                    </a:cubicBezTo>
                    <a:cubicBezTo>
                      <a:pt x="440" y="345"/>
                      <a:pt x="440" y="345"/>
                      <a:pt x="440" y="345"/>
                    </a:cubicBezTo>
                    <a:cubicBezTo>
                      <a:pt x="440" y="348"/>
                      <a:pt x="440" y="348"/>
                      <a:pt x="440" y="348"/>
                    </a:cubicBezTo>
                    <a:cubicBezTo>
                      <a:pt x="438" y="349"/>
                      <a:pt x="438" y="349"/>
                      <a:pt x="438" y="349"/>
                    </a:cubicBezTo>
                    <a:cubicBezTo>
                      <a:pt x="436" y="352"/>
                      <a:pt x="436" y="352"/>
                      <a:pt x="436" y="352"/>
                    </a:cubicBezTo>
                    <a:cubicBezTo>
                      <a:pt x="429" y="356"/>
                      <a:pt x="429" y="356"/>
                      <a:pt x="429" y="356"/>
                    </a:cubicBezTo>
                    <a:cubicBezTo>
                      <a:pt x="426" y="358"/>
                      <a:pt x="426" y="358"/>
                      <a:pt x="426" y="358"/>
                    </a:cubicBezTo>
                    <a:cubicBezTo>
                      <a:pt x="425" y="357"/>
                      <a:pt x="425" y="357"/>
                      <a:pt x="425" y="357"/>
                    </a:cubicBezTo>
                    <a:cubicBezTo>
                      <a:pt x="422" y="357"/>
                      <a:pt x="422" y="357"/>
                      <a:pt x="422" y="357"/>
                    </a:cubicBezTo>
                    <a:cubicBezTo>
                      <a:pt x="419" y="359"/>
                      <a:pt x="419" y="359"/>
                      <a:pt x="419" y="359"/>
                    </a:cubicBezTo>
                    <a:cubicBezTo>
                      <a:pt x="416" y="364"/>
                      <a:pt x="416" y="364"/>
                      <a:pt x="416" y="364"/>
                    </a:cubicBezTo>
                    <a:cubicBezTo>
                      <a:pt x="413" y="366"/>
                      <a:pt x="413" y="366"/>
                      <a:pt x="413" y="366"/>
                    </a:cubicBezTo>
                    <a:cubicBezTo>
                      <a:pt x="411" y="365"/>
                      <a:pt x="411" y="365"/>
                      <a:pt x="411" y="365"/>
                    </a:cubicBezTo>
                    <a:cubicBezTo>
                      <a:pt x="410" y="362"/>
                      <a:pt x="410" y="362"/>
                      <a:pt x="410" y="362"/>
                    </a:cubicBezTo>
                    <a:cubicBezTo>
                      <a:pt x="409" y="362"/>
                      <a:pt x="409" y="362"/>
                      <a:pt x="409" y="362"/>
                    </a:cubicBezTo>
                    <a:cubicBezTo>
                      <a:pt x="408" y="365"/>
                      <a:pt x="408" y="365"/>
                      <a:pt x="408" y="365"/>
                    </a:cubicBezTo>
                    <a:cubicBezTo>
                      <a:pt x="409" y="369"/>
                      <a:pt x="409" y="369"/>
                      <a:pt x="409" y="369"/>
                    </a:cubicBezTo>
                    <a:cubicBezTo>
                      <a:pt x="407" y="370"/>
                      <a:pt x="407" y="370"/>
                      <a:pt x="407" y="370"/>
                    </a:cubicBezTo>
                    <a:cubicBezTo>
                      <a:pt x="406" y="367"/>
                      <a:pt x="406" y="367"/>
                      <a:pt x="406" y="367"/>
                    </a:cubicBezTo>
                    <a:cubicBezTo>
                      <a:pt x="404" y="364"/>
                      <a:pt x="404" y="364"/>
                      <a:pt x="404" y="364"/>
                    </a:cubicBezTo>
                    <a:cubicBezTo>
                      <a:pt x="399" y="364"/>
                      <a:pt x="399" y="364"/>
                      <a:pt x="399" y="364"/>
                    </a:cubicBezTo>
                    <a:cubicBezTo>
                      <a:pt x="391" y="366"/>
                      <a:pt x="391" y="366"/>
                      <a:pt x="391" y="366"/>
                    </a:cubicBezTo>
                    <a:cubicBezTo>
                      <a:pt x="390" y="368"/>
                      <a:pt x="390" y="368"/>
                      <a:pt x="390" y="368"/>
                    </a:cubicBezTo>
                    <a:cubicBezTo>
                      <a:pt x="387" y="368"/>
                      <a:pt x="387" y="368"/>
                      <a:pt x="387" y="368"/>
                    </a:cubicBezTo>
                    <a:cubicBezTo>
                      <a:pt x="386" y="370"/>
                      <a:pt x="386" y="370"/>
                      <a:pt x="386" y="370"/>
                    </a:cubicBezTo>
                    <a:cubicBezTo>
                      <a:pt x="388" y="375"/>
                      <a:pt x="388" y="375"/>
                      <a:pt x="388" y="375"/>
                    </a:cubicBezTo>
                    <a:cubicBezTo>
                      <a:pt x="390" y="376"/>
                      <a:pt x="390" y="376"/>
                      <a:pt x="390" y="376"/>
                    </a:cubicBezTo>
                    <a:cubicBezTo>
                      <a:pt x="389" y="378"/>
                      <a:pt x="389" y="378"/>
                      <a:pt x="389" y="378"/>
                    </a:cubicBezTo>
                    <a:cubicBezTo>
                      <a:pt x="387" y="378"/>
                      <a:pt x="387" y="378"/>
                      <a:pt x="387" y="378"/>
                    </a:cubicBezTo>
                    <a:cubicBezTo>
                      <a:pt x="385" y="382"/>
                      <a:pt x="385" y="382"/>
                      <a:pt x="385" y="382"/>
                    </a:cubicBezTo>
                    <a:cubicBezTo>
                      <a:pt x="384" y="381"/>
                      <a:pt x="384" y="381"/>
                      <a:pt x="384" y="381"/>
                    </a:cubicBezTo>
                    <a:cubicBezTo>
                      <a:pt x="384" y="379"/>
                      <a:pt x="384" y="379"/>
                      <a:pt x="384" y="379"/>
                    </a:cubicBezTo>
                    <a:cubicBezTo>
                      <a:pt x="385" y="378"/>
                      <a:pt x="385" y="378"/>
                      <a:pt x="385" y="378"/>
                    </a:cubicBezTo>
                    <a:cubicBezTo>
                      <a:pt x="385" y="375"/>
                      <a:pt x="385" y="375"/>
                      <a:pt x="385" y="375"/>
                    </a:cubicBezTo>
                    <a:cubicBezTo>
                      <a:pt x="383" y="375"/>
                      <a:pt x="383" y="375"/>
                      <a:pt x="383" y="375"/>
                    </a:cubicBezTo>
                    <a:cubicBezTo>
                      <a:pt x="380" y="379"/>
                      <a:pt x="380" y="379"/>
                      <a:pt x="380" y="379"/>
                    </a:cubicBezTo>
                    <a:cubicBezTo>
                      <a:pt x="377" y="381"/>
                      <a:pt x="377" y="381"/>
                      <a:pt x="377" y="381"/>
                    </a:cubicBezTo>
                    <a:cubicBezTo>
                      <a:pt x="377" y="384"/>
                      <a:pt x="377" y="384"/>
                      <a:pt x="377" y="384"/>
                    </a:cubicBezTo>
                    <a:cubicBezTo>
                      <a:pt x="379" y="385"/>
                      <a:pt x="379" y="385"/>
                      <a:pt x="379" y="385"/>
                    </a:cubicBezTo>
                    <a:cubicBezTo>
                      <a:pt x="377" y="386"/>
                      <a:pt x="377" y="386"/>
                      <a:pt x="377" y="386"/>
                    </a:cubicBezTo>
                    <a:cubicBezTo>
                      <a:pt x="376" y="389"/>
                      <a:pt x="376" y="389"/>
                      <a:pt x="376" y="389"/>
                    </a:cubicBezTo>
                    <a:cubicBezTo>
                      <a:pt x="372" y="389"/>
                      <a:pt x="372" y="389"/>
                      <a:pt x="372" y="389"/>
                    </a:cubicBezTo>
                    <a:cubicBezTo>
                      <a:pt x="369" y="391"/>
                      <a:pt x="369" y="391"/>
                      <a:pt x="369" y="391"/>
                    </a:cubicBezTo>
                    <a:cubicBezTo>
                      <a:pt x="369" y="393"/>
                      <a:pt x="369" y="393"/>
                      <a:pt x="369" y="393"/>
                    </a:cubicBezTo>
                    <a:cubicBezTo>
                      <a:pt x="365" y="395"/>
                      <a:pt x="365" y="395"/>
                      <a:pt x="365" y="395"/>
                    </a:cubicBezTo>
                    <a:cubicBezTo>
                      <a:pt x="363" y="397"/>
                      <a:pt x="363" y="397"/>
                      <a:pt x="363" y="397"/>
                    </a:cubicBezTo>
                    <a:cubicBezTo>
                      <a:pt x="362" y="402"/>
                      <a:pt x="362" y="402"/>
                      <a:pt x="362" y="402"/>
                    </a:cubicBezTo>
                    <a:cubicBezTo>
                      <a:pt x="363" y="403"/>
                      <a:pt x="363" y="403"/>
                      <a:pt x="363" y="403"/>
                    </a:cubicBezTo>
                    <a:cubicBezTo>
                      <a:pt x="366" y="404"/>
                      <a:pt x="366" y="404"/>
                      <a:pt x="366" y="404"/>
                    </a:cubicBezTo>
                    <a:cubicBezTo>
                      <a:pt x="363" y="406"/>
                      <a:pt x="363" y="406"/>
                      <a:pt x="363" y="406"/>
                    </a:cubicBezTo>
                    <a:cubicBezTo>
                      <a:pt x="357" y="406"/>
                      <a:pt x="357" y="406"/>
                      <a:pt x="357" y="406"/>
                    </a:cubicBezTo>
                    <a:cubicBezTo>
                      <a:pt x="355" y="408"/>
                      <a:pt x="355" y="408"/>
                      <a:pt x="355" y="408"/>
                    </a:cubicBezTo>
                    <a:cubicBezTo>
                      <a:pt x="354" y="413"/>
                      <a:pt x="354" y="413"/>
                      <a:pt x="354" y="413"/>
                    </a:cubicBezTo>
                    <a:cubicBezTo>
                      <a:pt x="355" y="415"/>
                      <a:pt x="355" y="415"/>
                      <a:pt x="355" y="415"/>
                    </a:cubicBezTo>
                    <a:cubicBezTo>
                      <a:pt x="357" y="416"/>
                      <a:pt x="357" y="416"/>
                      <a:pt x="357" y="416"/>
                    </a:cubicBezTo>
                    <a:cubicBezTo>
                      <a:pt x="360" y="415"/>
                      <a:pt x="360" y="415"/>
                      <a:pt x="360" y="415"/>
                    </a:cubicBezTo>
                    <a:cubicBezTo>
                      <a:pt x="361" y="417"/>
                      <a:pt x="361" y="417"/>
                      <a:pt x="361" y="417"/>
                    </a:cubicBezTo>
                    <a:cubicBezTo>
                      <a:pt x="360" y="418"/>
                      <a:pt x="360" y="418"/>
                      <a:pt x="360" y="418"/>
                    </a:cubicBezTo>
                    <a:cubicBezTo>
                      <a:pt x="361" y="422"/>
                      <a:pt x="361" y="422"/>
                      <a:pt x="361" y="422"/>
                    </a:cubicBezTo>
                    <a:cubicBezTo>
                      <a:pt x="358" y="424"/>
                      <a:pt x="358" y="424"/>
                      <a:pt x="358" y="424"/>
                    </a:cubicBezTo>
                    <a:cubicBezTo>
                      <a:pt x="356" y="423"/>
                      <a:pt x="356" y="423"/>
                      <a:pt x="356" y="423"/>
                    </a:cubicBezTo>
                    <a:cubicBezTo>
                      <a:pt x="351" y="422"/>
                      <a:pt x="351" y="422"/>
                      <a:pt x="351" y="422"/>
                    </a:cubicBezTo>
                    <a:cubicBezTo>
                      <a:pt x="347" y="424"/>
                      <a:pt x="347" y="424"/>
                      <a:pt x="347" y="424"/>
                    </a:cubicBezTo>
                    <a:cubicBezTo>
                      <a:pt x="346" y="426"/>
                      <a:pt x="346" y="426"/>
                      <a:pt x="346" y="426"/>
                    </a:cubicBezTo>
                    <a:cubicBezTo>
                      <a:pt x="346" y="429"/>
                      <a:pt x="346" y="429"/>
                      <a:pt x="346" y="429"/>
                    </a:cubicBezTo>
                    <a:cubicBezTo>
                      <a:pt x="344" y="432"/>
                      <a:pt x="344" y="432"/>
                      <a:pt x="344" y="432"/>
                    </a:cubicBezTo>
                    <a:cubicBezTo>
                      <a:pt x="341" y="435"/>
                      <a:pt x="341" y="435"/>
                      <a:pt x="341" y="435"/>
                    </a:cubicBezTo>
                    <a:cubicBezTo>
                      <a:pt x="338" y="434"/>
                      <a:pt x="338" y="434"/>
                      <a:pt x="338" y="434"/>
                    </a:cubicBezTo>
                    <a:cubicBezTo>
                      <a:pt x="336" y="431"/>
                      <a:pt x="336" y="431"/>
                      <a:pt x="336" y="431"/>
                    </a:cubicBezTo>
                    <a:cubicBezTo>
                      <a:pt x="335" y="429"/>
                      <a:pt x="335" y="429"/>
                      <a:pt x="335" y="429"/>
                    </a:cubicBezTo>
                    <a:cubicBezTo>
                      <a:pt x="334" y="429"/>
                      <a:pt x="334" y="429"/>
                      <a:pt x="334" y="429"/>
                    </a:cubicBezTo>
                    <a:cubicBezTo>
                      <a:pt x="333" y="434"/>
                      <a:pt x="333" y="434"/>
                      <a:pt x="333" y="434"/>
                    </a:cubicBezTo>
                    <a:cubicBezTo>
                      <a:pt x="333" y="438"/>
                      <a:pt x="333" y="438"/>
                      <a:pt x="333" y="438"/>
                    </a:cubicBezTo>
                    <a:cubicBezTo>
                      <a:pt x="337" y="441"/>
                      <a:pt x="337" y="441"/>
                      <a:pt x="337" y="441"/>
                    </a:cubicBezTo>
                    <a:cubicBezTo>
                      <a:pt x="339" y="440"/>
                      <a:pt x="339" y="440"/>
                      <a:pt x="339" y="440"/>
                    </a:cubicBezTo>
                    <a:cubicBezTo>
                      <a:pt x="340" y="440"/>
                      <a:pt x="340" y="440"/>
                      <a:pt x="340" y="440"/>
                    </a:cubicBezTo>
                    <a:cubicBezTo>
                      <a:pt x="341" y="443"/>
                      <a:pt x="341" y="443"/>
                      <a:pt x="341" y="443"/>
                    </a:cubicBezTo>
                    <a:cubicBezTo>
                      <a:pt x="339" y="447"/>
                      <a:pt x="339" y="447"/>
                      <a:pt x="339" y="447"/>
                    </a:cubicBezTo>
                    <a:cubicBezTo>
                      <a:pt x="339" y="448"/>
                      <a:pt x="339" y="448"/>
                      <a:pt x="339" y="448"/>
                    </a:cubicBezTo>
                    <a:cubicBezTo>
                      <a:pt x="342" y="450"/>
                      <a:pt x="342" y="450"/>
                      <a:pt x="342" y="450"/>
                    </a:cubicBezTo>
                    <a:cubicBezTo>
                      <a:pt x="344" y="447"/>
                      <a:pt x="344" y="447"/>
                      <a:pt x="344" y="447"/>
                    </a:cubicBezTo>
                    <a:cubicBezTo>
                      <a:pt x="345" y="447"/>
                      <a:pt x="345" y="447"/>
                      <a:pt x="345" y="447"/>
                    </a:cubicBezTo>
                    <a:cubicBezTo>
                      <a:pt x="347" y="448"/>
                      <a:pt x="347" y="448"/>
                      <a:pt x="347" y="448"/>
                    </a:cubicBezTo>
                    <a:cubicBezTo>
                      <a:pt x="351" y="449"/>
                      <a:pt x="351" y="449"/>
                      <a:pt x="351" y="449"/>
                    </a:cubicBezTo>
                    <a:cubicBezTo>
                      <a:pt x="353" y="447"/>
                      <a:pt x="353" y="447"/>
                      <a:pt x="353" y="447"/>
                    </a:cubicBezTo>
                    <a:cubicBezTo>
                      <a:pt x="354" y="448"/>
                      <a:pt x="354" y="448"/>
                      <a:pt x="354" y="448"/>
                    </a:cubicBezTo>
                    <a:cubicBezTo>
                      <a:pt x="353" y="450"/>
                      <a:pt x="353" y="450"/>
                      <a:pt x="353" y="450"/>
                    </a:cubicBezTo>
                    <a:cubicBezTo>
                      <a:pt x="350" y="451"/>
                      <a:pt x="350" y="451"/>
                      <a:pt x="350" y="451"/>
                    </a:cubicBezTo>
                    <a:cubicBezTo>
                      <a:pt x="345" y="451"/>
                      <a:pt x="345" y="451"/>
                      <a:pt x="345" y="451"/>
                    </a:cubicBezTo>
                    <a:cubicBezTo>
                      <a:pt x="344" y="453"/>
                      <a:pt x="344" y="453"/>
                      <a:pt x="344" y="453"/>
                    </a:cubicBezTo>
                    <a:cubicBezTo>
                      <a:pt x="341" y="452"/>
                      <a:pt x="341" y="452"/>
                      <a:pt x="341" y="452"/>
                    </a:cubicBezTo>
                    <a:cubicBezTo>
                      <a:pt x="340" y="455"/>
                      <a:pt x="340" y="455"/>
                      <a:pt x="340" y="455"/>
                    </a:cubicBezTo>
                    <a:cubicBezTo>
                      <a:pt x="341" y="459"/>
                      <a:pt x="341" y="459"/>
                      <a:pt x="341" y="459"/>
                    </a:cubicBezTo>
                    <a:cubicBezTo>
                      <a:pt x="344" y="460"/>
                      <a:pt x="344" y="460"/>
                      <a:pt x="344" y="460"/>
                    </a:cubicBezTo>
                    <a:cubicBezTo>
                      <a:pt x="347" y="461"/>
                      <a:pt x="347" y="461"/>
                      <a:pt x="347" y="461"/>
                    </a:cubicBezTo>
                    <a:cubicBezTo>
                      <a:pt x="349" y="460"/>
                      <a:pt x="349" y="460"/>
                      <a:pt x="349" y="460"/>
                    </a:cubicBezTo>
                    <a:cubicBezTo>
                      <a:pt x="351" y="461"/>
                      <a:pt x="351" y="461"/>
                      <a:pt x="351" y="461"/>
                    </a:cubicBezTo>
                    <a:cubicBezTo>
                      <a:pt x="350" y="462"/>
                      <a:pt x="350" y="462"/>
                      <a:pt x="350" y="462"/>
                    </a:cubicBezTo>
                    <a:cubicBezTo>
                      <a:pt x="345" y="464"/>
                      <a:pt x="345" y="464"/>
                      <a:pt x="345" y="464"/>
                    </a:cubicBezTo>
                    <a:cubicBezTo>
                      <a:pt x="341" y="464"/>
                      <a:pt x="341" y="464"/>
                      <a:pt x="341" y="464"/>
                    </a:cubicBezTo>
                    <a:cubicBezTo>
                      <a:pt x="339" y="465"/>
                      <a:pt x="339" y="465"/>
                      <a:pt x="339" y="465"/>
                    </a:cubicBezTo>
                    <a:cubicBezTo>
                      <a:pt x="338" y="467"/>
                      <a:pt x="338" y="467"/>
                      <a:pt x="338" y="467"/>
                    </a:cubicBezTo>
                    <a:cubicBezTo>
                      <a:pt x="340" y="469"/>
                      <a:pt x="340" y="469"/>
                      <a:pt x="340" y="469"/>
                    </a:cubicBezTo>
                    <a:cubicBezTo>
                      <a:pt x="343" y="468"/>
                      <a:pt x="343" y="468"/>
                      <a:pt x="343" y="468"/>
                    </a:cubicBezTo>
                    <a:cubicBezTo>
                      <a:pt x="347" y="469"/>
                      <a:pt x="347" y="469"/>
                      <a:pt x="347" y="469"/>
                    </a:cubicBezTo>
                    <a:cubicBezTo>
                      <a:pt x="347" y="470"/>
                      <a:pt x="347" y="470"/>
                      <a:pt x="347" y="470"/>
                    </a:cubicBezTo>
                    <a:cubicBezTo>
                      <a:pt x="345" y="471"/>
                      <a:pt x="345" y="471"/>
                      <a:pt x="345" y="471"/>
                    </a:cubicBezTo>
                    <a:cubicBezTo>
                      <a:pt x="341" y="471"/>
                      <a:pt x="341" y="471"/>
                      <a:pt x="341" y="471"/>
                    </a:cubicBezTo>
                    <a:cubicBezTo>
                      <a:pt x="341" y="473"/>
                      <a:pt x="341" y="473"/>
                      <a:pt x="341" y="473"/>
                    </a:cubicBezTo>
                    <a:cubicBezTo>
                      <a:pt x="343" y="474"/>
                      <a:pt x="343" y="474"/>
                      <a:pt x="343" y="474"/>
                    </a:cubicBezTo>
                    <a:cubicBezTo>
                      <a:pt x="347" y="475"/>
                      <a:pt x="347" y="475"/>
                      <a:pt x="347" y="475"/>
                    </a:cubicBezTo>
                    <a:cubicBezTo>
                      <a:pt x="353" y="478"/>
                      <a:pt x="353" y="478"/>
                      <a:pt x="353" y="478"/>
                    </a:cubicBezTo>
                    <a:cubicBezTo>
                      <a:pt x="356" y="479"/>
                      <a:pt x="356" y="479"/>
                      <a:pt x="356" y="479"/>
                    </a:cubicBezTo>
                    <a:cubicBezTo>
                      <a:pt x="356" y="480"/>
                      <a:pt x="356" y="480"/>
                      <a:pt x="356" y="480"/>
                    </a:cubicBezTo>
                    <a:cubicBezTo>
                      <a:pt x="356" y="482"/>
                      <a:pt x="356" y="482"/>
                      <a:pt x="356" y="482"/>
                    </a:cubicBezTo>
                    <a:cubicBezTo>
                      <a:pt x="353" y="480"/>
                      <a:pt x="353" y="480"/>
                      <a:pt x="353" y="480"/>
                    </a:cubicBezTo>
                    <a:cubicBezTo>
                      <a:pt x="350" y="478"/>
                      <a:pt x="350" y="478"/>
                      <a:pt x="350" y="478"/>
                    </a:cubicBezTo>
                    <a:cubicBezTo>
                      <a:pt x="346" y="478"/>
                      <a:pt x="346" y="478"/>
                      <a:pt x="346" y="478"/>
                    </a:cubicBezTo>
                    <a:cubicBezTo>
                      <a:pt x="343" y="476"/>
                      <a:pt x="343" y="476"/>
                      <a:pt x="343" y="476"/>
                    </a:cubicBezTo>
                    <a:cubicBezTo>
                      <a:pt x="340" y="476"/>
                      <a:pt x="340" y="476"/>
                      <a:pt x="340" y="476"/>
                    </a:cubicBezTo>
                    <a:cubicBezTo>
                      <a:pt x="338" y="478"/>
                      <a:pt x="338" y="478"/>
                      <a:pt x="338" y="478"/>
                    </a:cubicBezTo>
                    <a:cubicBezTo>
                      <a:pt x="337" y="480"/>
                      <a:pt x="337" y="480"/>
                      <a:pt x="337" y="480"/>
                    </a:cubicBezTo>
                    <a:cubicBezTo>
                      <a:pt x="335" y="482"/>
                      <a:pt x="335" y="482"/>
                      <a:pt x="335" y="482"/>
                    </a:cubicBezTo>
                    <a:cubicBezTo>
                      <a:pt x="336" y="484"/>
                      <a:pt x="336" y="484"/>
                      <a:pt x="336" y="484"/>
                    </a:cubicBezTo>
                    <a:cubicBezTo>
                      <a:pt x="337" y="485"/>
                      <a:pt x="337" y="485"/>
                      <a:pt x="337" y="485"/>
                    </a:cubicBezTo>
                    <a:cubicBezTo>
                      <a:pt x="336" y="487"/>
                      <a:pt x="336" y="487"/>
                      <a:pt x="336" y="487"/>
                    </a:cubicBezTo>
                    <a:cubicBezTo>
                      <a:pt x="335" y="488"/>
                      <a:pt x="335" y="488"/>
                      <a:pt x="335" y="488"/>
                    </a:cubicBezTo>
                    <a:cubicBezTo>
                      <a:pt x="333" y="487"/>
                      <a:pt x="333" y="487"/>
                      <a:pt x="333" y="487"/>
                    </a:cubicBezTo>
                    <a:cubicBezTo>
                      <a:pt x="331" y="490"/>
                      <a:pt x="331" y="490"/>
                      <a:pt x="331" y="490"/>
                    </a:cubicBezTo>
                    <a:cubicBezTo>
                      <a:pt x="330" y="493"/>
                      <a:pt x="330" y="493"/>
                      <a:pt x="330" y="493"/>
                    </a:cubicBezTo>
                    <a:cubicBezTo>
                      <a:pt x="330" y="494"/>
                      <a:pt x="330" y="494"/>
                      <a:pt x="330" y="494"/>
                    </a:cubicBezTo>
                    <a:cubicBezTo>
                      <a:pt x="329" y="496"/>
                      <a:pt x="329" y="496"/>
                      <a:pt x="329" y="496"/>
                    </a:cubicBezTo>
                    <a:cubicBezTo>
                      <a:pt x="326" y="497"/>
                      <a:pt x="326" y="497"/>
                      <a:pt x="326" y="497"/>
                    </a:cubicBezTo>
                    <a:cubicBezTo>
                      <a:pt x="326" y="498"/>
                      <a:pt x="326" y="498"/>
                      <a:pt x="326" y="498"/>
                    </a:cubicBezTo>
                    <a:cubicBezTo>
                      <a:pt x="330" y="502"/>
                      <a:pt x="330" y="502"/>
                      <a:pt x="330" y="502"/>
                    </a:cubicBezTo>
                    <a:cubicBezTo>
                      <a:pt x="333" y="504"/>
                      <a:pt x="333" y="504"/>
                      <a:pt x="333" y="504"/>
                    </a:cubicBezTo>
                    <a:cubicBezTo>
                      <a:pt x="335" y="503"/>
                      <a:pt x="335" y="503"/>
                      <a:pt x="335" y="503"/>
                    </a:cubicBezTo>
                    <a:cubicBezTo>
                      <a:pt x="336" y="500"/>
                      <a:pt x="336" y="500"/>
                      <a:pt x="336" y="500"/>
                    </a:cubicBezTo>
                    <a:cubicBezTo>
                      <a:pt x="339" y="499"/>
                      <a:pt x="339" y="499"/>
                      <a:pt x="339" y="499"/>
                    </a:cubicBezTo>
                    <a:cubicBezTo>
                      <a:pt x="343" y="495"/>
                      <a:pt x="343" y="495"/>
                      <a:pt x="343" y="495"/>
                    </a:cubicBezTo>
                    <a:cubicBezTo>
                      <a:pt x="347" y="494"/>
                      <a:pt x="347" y="494"/>
                      <a:pt x="347" y="494"/>
                    </a:cubicBezTo>
                    <a:cubicBezTo>
                      <a:pt x="351" y="494"/>
                      <a:pt x="351" y="494"/>
                      <a:pt x="351" y="494"/>
                    </a:cubicBezTo>
                    <a:cubicBezTo>
                      <a:pt x="353" y="496"/>
                      <a:pt x="353" y="496"/>
                      <a:pt x="353" y="496"/>
                    </a:cubicBezTo>
                    <a:cubicBezTo>
                      <a:pt x="353" y="498"/>
                      <a:pt x="353" y="498"/>
                      <a:pt x="353" y="498"/>
                    </a:cubicBezTo>
                    <a:cubicBezTo>
                      <a:pt x="351" y="498"/>
                      <a:pt x="351" y="498"/>
                      <a:pt x="351" y="498"/>
                    </a:cubicBezTo>
                    <a:cubicBezTo>
                      <a:pt x="349" y="496"/>
                      <a:pt x="349" y="496"/>
                      <a:pt x="349" y="496"/>
                    </a:cubicBezTo>
                    <a:cubicBezTo>
                      <a:pt x="347" y="496"/>
                      <a:pt x="347" y="496"/>
                      <a:pt x="347" y="496"/>
                    </a:cubicBezTo>
                    <a:cubicBezTo>
                      <a:pt x="345" y="498"/>
                      <a:pt x="345" y="498"/>
                      <a:pt x="345" y="498"/>
                    </a:cubicBezTo>
                    <a:cubicBezTo>
                      <a:pt x="340" y="501"/>
                      <a:pt x="340" y="501"/>
                      <a:pt x="340" y="501"/>
                    </a:cubicBezTo>
                    <a:cubicBezTo>
                      <a:pt x="338" y="504"/>
                      <a:pt x="338" y="504"/>
                      <a:pt x="338" y="504"/>
                    </a:cubicBezTo>
                    <a:cubicBezTo>
                      <a:pt x="338" y="507"/>
                      <a:pt x="338" y="507"/>
                      <a:pt x="338" y="507"/>
                    </a:cubicBezTo>
                    <a:cubicBezTo>
                      <a:pt x="339" y="510"/>
                      <a:pt x="339" y="510"/>
                      <a:pt x="339" y="510"/>
                    </a:cubicBezTo>
                    <a:cubicBezTo>
                      <a:pt x="338" y="512"/>
                      <a:pt x="338" y="512"/>
                      <a:pt x="338" y="512"/>
                    </a:cubicBezTo>
                    <a:cubicBezTo>
                      <a:pt x="338" y="512"/>
                      <a:pt x="338" y="514"/>
                      <a:pt x="337" y="514"/>
                    </a:cubicBezTo>
                    <a:close/>
                    <a:moveTo>
                      <a:pt x="355" y="614"/>
                    </a:moveTo>
                    <a:cubicBezTo>
                      <a:pt x="356" y="615"/>
                      <a:pt x="356" y="615"/>
                      <a:pt x="356" y="615"/>
                    </a:cubicBezTo>
                    <a:cubicBezTo>
                      <a:pt x="357" y="612"/>
                      <a:pt x="357" y="612"/>
                      <a:pt x="357" y="612"/>
                    </a:cubicBezTo>
                    <a:cubicBezTo>
                      <a:pt x="355" y="610"/>
                      <a:pt x="355" y="610"/>
                      <a:pt x="355" y="610"/>
                    </a:cubicBezTo>
                    <a:cubicBezTo>
                      <a:pt x="357" y="607"/>
                      <a:pt x="357" y="607"/>
                      <a:pt x="357" y="607"/>
                    </a:cubicBezTo>
                    <a:cubicBezTo>
                      <a:pt x="355" y="604"/>
                      <a:pt x="355" y="604"/>
                      <a:pt x="355" y="604"/>
                    </a:cubicBezTo>
                    <a:cubicBezTo>
                      <a:pt x="351" y="603"/>
                      <a:pt x="351" y="603"/>
                      <a:pt x="351" y="603"/>
                    </a:cubicBezTo>
                    <a:cubicBezTo>
                      <a:pt x="350" y="601"/>
                      <a:pt x="350" y="601"/>
                      <a:pt x="350" y="601"/>
                    </a:cubicBezTo>
                    <a:cubicBezTo>
                      <a:pt x="348" y="599"/>
                      <a:pt x="348" y="599"/>
                      <a:pt x="348" y="599"/>
                    </a:cubicBezTo>
                    <a:cubicBezTo>
                      <a:pt x="343" y="600"/>
                      <a:pt x="343" y="600"/>
                      <a:pt x="343" y="600"/>
                    </a:cubicBezTo>
                    <a:cubicBezTo>
                      <a:pt x="341" y="602"/>
                      <a:pt x="341" y="602"/>
                      <a:pt x="341" y="602"/>
                    </a:cubicBezTo>
                    <a:cubicBezTo>
                      <a:pt x="341" y="604"/>
                      <a:pt x="341" y="604"/>
                      <a:pt x="341" y="604"/>
                    </a:cubicBezTo>
                    <a:cubicBezTo>
                      <a:pt x="344" y="606"/>
                      <a:pt x="344" y="606"/>
                      <a:pt x="344" y="606"/>
                    </a:cubicBezTo>
                    <a:cubicBezTo>
                      <a:pt x="346" y="605"/>
                      <a:pt x="346" y="605"/>
                      <a:pt x="346" y="605"/>
                    </a:cubicBezTo>
                    <a:cubicBezTo>
                      <a:pt x="348" y="606"/>
                      <a:pt x="348" y="606"/>
                      <a:pt x="348" y="606"/>
                    </a:cubicBezTo>
                    <a:cubicBezTo>
                      <a:pt x="349" y="609"/>
                      <a:pt x="349" y="609"/>
                      <a:pt x="349" y="609"/>
                    </a:cubicBezTo>
                    <a:cubicBezTo>
                      <a:pt x="352" y="610"/>
                      <a:pt x="352" y="610"/>
                      <a:pt x="352" y="610"/>
                    </a:cubicBezTo>
                    <a:cubicBezTo>
                      <a:pt x="355" y="614"/>
                      <a:pt x="355" y="614"/>
                      <a:pt x="355" y="614"/>
                    </a:cubicBezTo>
                    <a:close/>
                    <a:moveTo>
                      <a:pt x="424" y="614"/>
                    </a:moveTo>
                    <a:cubicBezTo>
                      <a:pt x="420" y="611"/>
                      <a:pt x="420" y="611"/>
                      <a:pt x="420" y="611"/>
                    </a:cubicBezTo>
                    <a:cubicBezTo>
                      <a:pt x="417" y="612"/>
                      <a:pt x="417" y="612"/>
                      <a:pt x="417" y="612"/>
                    </a:cubicBezTo>
                    <a:cubicBezTo>
                      <a:pt x="414" y="611"/>
                      <a:pt x="414" y="611"/>
                      <a:pt x="414" y="611"/>
                    </a:cubicBezTo>
                    <a:cubicBezTo>
                      <a:pt x="412" y="606"/>
                      <a:pt x="412" y="606"/>
                      <a:pt x="412" y="606"/>
                    </a:cubicBezTo>
                    <a:cubicBezTo>
                      <a:pt x="408" y="606"/>
                      <a:pt x="408" y="606"/>
                      <a:pt x="408" y="606"/>
                    </a:cubicBezTo>
                    <a:cubicBezTo>
                      <a:pt x="401" y="601"/>
                      <a:pt x="401" y="601"/>
                      <a:pt x="401" y="601"/>
                    </a:cubicBezTo>
                    <a:cubicBezTo>
                      <a:pt x="399" y="597"/>
                      <a:pt x="399" y="597"/>
                      <a:pt x="399" y="597"/>
                    </a:cubicBezTo>
                    <a:cubicBezTo>
                      <a:pt x="395" y="597"/>
                      <a:pt x="395" y="597"/>
                      <a:pt x="395" y="597"/>
                    </a:cubicBezTo>
                    <a:cubicBezTo>
                      <a:pt x="390" y="589"/>
                      <a:pt x="390" y="589"/>
                      <a:pt x="390" y="589"/>
                    </a:cubicBezTo>
                    <a:cubicBezTo>
                      <a:pt x="383" y="582"/>
                      <a:pt x="383" y="582"/>
                      <a:pt x="383" y="582"/>
                    </a:cubicBezTo>
                    <a:cubicBezTo>
                      <a:pt x="381" y="574"/>
                      <a:pt x="381" y="574"/>
                      <a:pt x="381" y="574"/>
                    </a:cubicBezTo>
                    <a:cubicBezTo>
                      <a:pt x="377" y="568"/>
                      <a:pt x="377" y="568"/>
                      <a:pt x="377" y="568"/>
                    </a:cubicBezTo>
                    <a:cubicBezTo>
                      <a:pt x="377" y="559"/>
                      <a:pt x="377" y="559"/>
                      <a:pt x="377" y="559"/>
                    </a:cubicBezTo>
                    <a:cubicBezTo>
                      <a:pt x="374" y="553"/>
                      <a:pt x="374" y="553"/>
                      <a:pt x="374" y="553"/>
                    </a:cubicBezTo>
                    <a:cubicBezTo>
                      <a:pt x="373" y="543"/>
                      <a:pt x="373" y="543"/>
                      <a:pt x="373" y="543"/>
                    </a:cubicBezTo>
                    <a:cubicBezTo>
                      <a:pt x="372" y="541"/>
                      <a:pt x="372" y="541"/>
                      <a:pt x="372" y="541"/>
                    </a:cubicBezTo>
                    <a:cubicBezTo>
                      <a:pt x="374" y="538"/>
                      <a:pt x="374" y="538"/>
                      <a:pt x="374" y="538"/>
                    </a:cubicBezTo>
                    <a:cubicBezTo>
                      <a:pt x="373" y="535"/>
                      <a:pt x="373" y="535"/>
                      <a:pt x="373" y="535"/>
                    </a:cubicBezTo>
                    <a:cubicBezTo>
                      <a:pt x="370" y="535"/>
                      <a:pt x="370" y="535"/>
                      <a:pt x="370" y="535"/>
                    </a:cubicBezTo>
                    <a:cubicBezTo>
                      <a:pt x="367" y="536"/>
                      <a:pt x="367" y="536"/>
                      <a:pt x="367" y="536"/>
                    </a:cubicBezTo>
                    <a:cubicBezTo>
                      <a:pt x="365" y="534"/>
                      <a:pt x="365" y="534"/>
                      <a:pt x="365" y="534"/>
                    </a:cubicBezTo>
                    <a:cubicBezTo>
                      <a:pt x="365" y="533"/>
                      <a:pt x="365" y="533"/>
                      <a:pt x="365" y="533"/>
                    </a:cubicBezTo>
                    <a:cubicBezTo>
                      <a:pt x="371" y="533"/>
                      <a:pt x="371" y="533"/>
                      <a:pt x="371" y="533"/>
                    </a:cubicBezTo>
                    <a:cubicBezTo>
                      <a:pt x="375" y="531"/>
                      <a:pt x="375" y="531"/>
                      <a:pt x="375" y="531"/>
                    </a:cubicBezTo>
                    <a:cubicBezTo>
                      <a:pt x="376" y="524"/>
                      <a:pt x="376" y="524"/>
                      <a:pt x="376" y="524"/>
                    </a:cubicBezTo>
                    <a:cubicBezTo>
                      <a:pt x="375" y="521"/>
                      <a:pt x="375" y="521"/>
                      <a:pt x="375" y="521"/>
                    </a:cubicBezTo>
                    <a:cubicBezTo>
                      <a:pt x="371" y="521"/>
                      <a:pt x="371" y="521"/>
                      <a:pt x="371" y="521"/>
                    </a:cubicBezTo>
                    <a:cubicBezTo>
                      <a:pt x="368" y="522"/>
                      <a:pt x="368" y="522"/>
                      <a:pt x="368" y="522"/>
                    </a:cubicBezTo>
                    <a:cubicBezTo>
                      <a:pt x="369" y="521"/>
                      <a:pt x="369" y="521"/>
                      <a:pt x="369" y="521"/>
                    </a:cubicBezTo>
                    <a:cubicBezTo>
                      <a:pt x="375" y="519"/>
                      <a:pt x="375" y="519"/>
                      <a:pt x="375" y="519"/>
                    </a:cubicBezTo>
                    <a:cubicBezTo>
                      <a:pt x="376" y="517"/>
                      <a:pt x="376" y="517"/>
                      <a:pt x="376" y="517"/>
                    </a:cubicBezTo>
                    <a:cubicBezTo>
                      <a:pt x="374" y="515"/>
                      <a:pt x="374" y="515"/>
                      <a:pt x="374" y="515"/>
                    </a:cubicBezTo>
                    <a:cubicBezTo>
                      <a:pt x="367" y="515"/>
                      <a:pt x="367" y="515"/>
                      <a:pt x="367" y="515"/>
                    </a:cubicBezTo>
                    <a:cubicBezTo>
                      <a:pt x="358" y="514"/>
                      <a:pt x="358" y="514"/>
                      <a:pt x="358" y="514"/>
                    </a:cubicBezTo>
                    <a:cubicBezTo>
                      <a:pt x="354" y="511"/>
                      <a:pt x="354" y="511"/>
                      <a:pt x="354" y="511"/>
                    </a:cubicBezTo>
                    <a:cubicBezTo>
                      <a:pt x="351" y="511"/>
                      <a:pt x="351" y="511"/>
                      <a:pt x="351" y="511"/>
                    </a:cubicBezTo>
                    <a:cubicBezTo>
                      <a:pt x="344" y="516"/>
                      <a:pt x="344" y="516"/>
                      <a:pt x="344" y="516"/>
                    </a:cubicBezTo>
                    <a:cubicBezTo>
                      <a:pt x="338" y="516"/>
                      <a:pt x="338" y="516"/>
                      <a:pt x="338" y="516"/>
                    </a:cubicBezTo>
                    <a:cubicBezTo>
                      <a:pt x="335" y="518"/>
                      <a:pt x="335" y="518"/>
                      <a:pt x="335" y="518"/>
                    </a:cubicBezTo>
                    <a:cubicBezTo>
                      <a:pt x="330" y="521"/>
                      <a:pt x="330" y="521"/>
                      <a:pt x="330" y="521"/>
                    </a:cubicBezTo>
                    <a:cubicBezTo>
                      <a:pt x="330" y="525"/>
                      <a:pt x="330" y="525"/>
                      <a:pt x="330" y="525"/>
                    </a:cubicBezTo>
                    <a:cubicBezTo>
                      <a:pt x="329" y="528"/>
                      <a:pt x="329" y="528"/>
                      <a:pt x="329" y="528"/>
                    </a:cubicBezTo>
                    <a:cubicBezTo>
                      <a:pt x="330" y="531"/>
                      <a:pt x="330" y="531"/>
                      <a:pt x="330" y="531"/>
                    </a:cubicBezTo>
                    <a:cubicBezTo>
                      <a:pt x="333" y="532"/>
                      <a:pt x="333" y="532"/>
                      <a:pt x="333" y="532"/>
                    </a:cubicBezTo>
                    <a:cubicBezTo>
                      <a:pt x="334" y="533"/>
                      <a:pt x="334" y="533"/>
                      <a:pt x="334" y="533"/>
                    </a:cubicBezTo>
                    <a:cubicBezTo>
                      <a:pt x="334" y="535"/>
                      <a:pt x="334" y="535"/>
                      <a:pt x="334" y="535"/>
                    </a:cubicBezTo>
                    <a:cubicBezTo>
                      <a:pt x="330" y="535"/>
                      <a:pt x="330" y="535"/>
                      <a:pt x="330" y="535"/>
                    </a:cubicBezTo>
                    <a:cubicBezTo>
                      <a:pt x="326" y="536"/>
                      <a:pt x="326" y="536"/>
                      <a:pt x="326" y="536"/>
                    </a:cubicBezTo>
                    <a:cubicBezTo>
                      <a:pt x="323" y="541"/>
                      <a:pt x="323" y="541"/>
                      <a:pt x="323" y="541"/>
                    </a:cubicBezTo>
                    <a:cubicBezTo>
                      <a:pt x="323" y="545"/>
                      <a:pt x="323" y="545"/>
                      <a:pt x="323" y="545"/>
                    </a:cubicBezTo>
                    <a:cubicBezTo>
                      <a:pt x="324" y="547"/>
                      <a:pt x="324" y="547"/>
                      <a:pt x="324" y="547"/>
                    </a:cubicBezTo>
                    <a:cubicBezTo>
                      <a:pt x="327" y="546"/>
                      <a:pt x="327" y="546"/>
                      <a:pt x="327" y="546"/>
                    </a:cubicBezTo>
                    <a:cubicBezTo>
                      <a:pt x="332" y="544"/>
                      <a:pt x="332" y="544"/>
                      <a:pt x="332" y="544"/>
                    </a:cubicBezTo>
                    <a:cubicBezTo>
                      <a:pt x="333" y="546"/>
                      <a:pt x="333" y="546"/>
                      <a:pt x="333" y="546"/>
                    </a:cubicBezTo>
                    <a:cubicBezTo>
                      <a:pt x="330" y="548"/>
                      <a:pt x="330" y="548"/>
                      <a:pt x="330" y="548"/>
                    </a:cubicBezTo>
                    <a:cubicBezTo>
                      <a:pt x="329" y="552"/>
                      <a:pt x="329" y="552"/>
                      <a:pt x="329" y="552"/>
                    </a:cubicBezTo>
                    <a:cubicBezTo>
                      <a:pt x="331" y="552"/>
                      <a:pt x="331" y="552"/>
                      <a:pt x="331" y="552"/>
                    </a:cubicBezTo>
                    <a:cubicBezTo>
                      <a:pt x="334" y="549"/>
                      <a:pt x="334" y="549"/>
                      <a:pt x="334" y="549"/>
                    </a:cubicBezTo>
                    <a:cubicBezTo>
                      <a:pt x="336" y="548"/>
                      <a:pt x="336" y="548"/>
                      <a:pt x="336" y="548"/>
                    </a:cubicBezTo>
                    <a:cubicBezTo>
                      <a:pt x="337" y="550"/>
                      <a:pt x="337" y="550"/>
                      <a:pt x="337" y="550"/>
                    </a:cubicBezTo>
                    <a:cubicBezTo>
                      <a:pt x="334" y="552"/>
                      <a:pt x="334" y="552"/>
                      <a:pt x="334" y="552"/>
                    </a:cubicBezTo>
                    <a:cubicBezTo>
                      <a:pt x="333" y="555"/>
                      <a:pt x="333" y="555"/>
                      <a:pt x="333" y="555"/>
                    </a:cubicBezTo>
                    <a:cubicBezTo>
                      <a:pt x="336" y="558"/>
                      <a:pt x="336" y="558"/>
                      <a:pt x="336" y="558"/>
                    </a:cubicBezTo>
                    <a:cubicBezTo>
                      <a:pt x="340" y="558"/>
                      <a:pt x="340" y="558"/>
                      <a:pt x="340" y="558"/>
                    </a:cubicBezTo>
                    <a:cubicBezTo>
                      <a:pt x="338" y="559"/>
                      <a:pt x="338" y="559"/>
                      <a:pt x="338" y="559"/>
                    </a:cubicBezTo>
                    <a:cubicBezTo>
                      <a:pt x="335" y="559"/>
                      <a:pt x="335" y="559"/>
                      <a:pt x="335" y="559"/>
                    </a:cubicBezTo>
                    <a:cubicBezTo>
                      <a:pt x="332" y="561"/>
                      <a:pt x="332" y="561"/>
                      <a:pt x="332" y="561"/>
                    </a:cubicBezTo>
                    <a:cubicBezTo>
                      <a:pt x="333" y="564"/>
                      <a:pt x="333" y="564"/>
                      <a:pt x="333" y="564"/>
                    </a:cubicBezTo>
                    <a:cubicBezTo>
                      <a:pt x="335" y="568"/>
                      <a:pt x="335" y="568"/>
                      <a:pt x="335" y="568"/>
                    </a:cubicBezTo>
                    <a:cubicBezTo>
                      <a:pt x="333" y="569"/>
                      <a:pt x="333" y="569"/>
                      <a:pt x="333" y="569"/>
                    </a:cubicBezTo>
                    <a:cubicBezTo>
                      <a:pt x="331" y="568"/>
                      <a:pt x="331" y="568"/>
                      <a:pt x="331" y="568"/>
                    </a:cubicBezTo>
                    <a:cubicBezTo>
                      <a:pt x="328" y="569"/>
                      <a:pt x="328" y="569"/>
                      <a:pt x="328" y="569"/>
                    </a:cubicBezTo>
                    <a:cubicBezTo>
                      <a:pt x="325" y="568"/>
                      <a:pt x="325" y="568"/>
                      <a:pt x="325" y="568"/>
                    </a:cubicBezTo>
                    <a:cubicBezTo>
                      <a:pt x="322" y="568"/>
                      <a:pt x="322" y="568"/>
                      <a:pt x="322" y="568"/>
                    </a:cubicBezTo>
                    <a:cubicBezTo>
                      <a:pt x="319" y="572"/>
                      <a:pt x="319" y="572"/>
                      <a:pt x="319" y="572"/>
                    </a:cubicBezTo>
                    <a:cubicBezTo>
                      <a:pt x="319" y="576"/>
                      <a:pt x="319" y="576"/>
                      <a:pt x="319" y="576"/>
                    </a:cubicBezTo>
                    <a:cubicBezTo>
                      <a:pt x="320" y="580"/>
                      <a:pt x="320" y="580"/>
                      <a:pt x="320" y="580"/>
                    </a:cubicBezTo>
                    <a:cubicBezTo>
                      <a:pt x="319" y="584"/>
                      <a:pt x="319" y="584"/>
                      <a:pt x="319" y="584"/>
                    </a:cubicBezTo>
                    <a:cubicBezTo>
                      <a:pt x="320" y="588"/>
                      <a:pt x="320" y="588"/>
                      <a:pt x="320" y="588"/>
                    </a:cubicBezTo>
                    <a:cubicBezTo>
                      <a:pt x="326" y="592"/>
                      <a:pt x="326" y="592"/>
                      <a:pt x="326" y="592"/>
                    </a:cubicBezTo>
                    <a:cubicBezTo>
                      <a:pt x="326" y="594"/>
                      <a:pt x="326" y="594"/>
                      <a:pt x="326" y="594"/>
                    </a:cubicBezTo>
                    <a:cubicBezTo>
                      <a:pt x="331" y="598"/>
                      <a:pt x="331" y="598"/>
                      <a:pt x="331" y="598"/>
                    </a:cubicBezTo>
                    <a:cubicBezTo>
                      <a:pt x="334" y="599"/>
                      <a:pt x="334" y="599"/>
                      <a:pt x="334" y="599"/>
                    </a:cubicBezTo>
                    <a:cubicBezTo>
                      <a:pt x="336" y="598"/>
                      <a:pt x="336" y="598"/>
                      <a:pt x="336" y="598"/>
                    </a:cubicBezTo>
                    <a:cubicBezTo>
                      <a:pt x="339" y="598"/>
                      <a:pt x="339" y="598"/>
                      <a:pt x="339" y="598"/>
                    </a:cubicBezTo>
                    <a:cubicBezTo>
                      <a:pt x="342" y="593"/>
                      <a:pt x="342" y="593"/>
                      <a:pt x="342" y="593"/>
                    </a:cubicBezTo>
                    <a:cubicBezTo>
                      <a:pt x="341" y="588"/>
                      <a:pt x="341" y="588"/>
                      <a:pt x="341" y="588"/>
                    </a:cubicBezTo>
                    <a:cubicBezTo>
                      <a:pt x="342" y="584"/>
                      <a:pt x="342" y="584"/>
                      <a:pt x="342" y="584"/>
                    </a:cubicBezTo>
                    <a:cubicBezTo>
                      <a:pt x="344" y="581"/>
                      <a:pt x="344" y="581"/>
                      <a:pt x="344" y="581"/>
                    </a:cubicBezTo>
                    <a:cubicBezTo>
                      <a:pt x="343" y="585"/>
                      <a:pt x="343" y="585"/>
                      <a:pt x="343" y="585"/>
                    </a:cubicBezTo>
                    <a:cubicBezTo>
                      <a:pt x="342" y="588"/>
                      <a:pt x="342" y="588"/>
                      <a:pt x="342" y="588"/>
                    </a:cubicBezTo>
                    <a:cubicBezTo>
                      <a:pt x="344" y="590"/>
                      <a:pt x="344" y="590"/>
                      <a:pt x="344" y="590"/>
                    </a:cubicBezTo>
                    <a:cubicBezTo>
                      <a:pt x="345" y="595"/>
                      <a:pt x="345" y="595"/>
                      <a:pt x="345" y="595"/>
                    </a:cubicBezTo>
                    <a:cubicBezTo>
                      <a:pt x="348" y="596"/>
                      <a:pt x="348" y="596"/>
                      <a:pt x="348" y="596"/>
                    </a:cubicBezTo>
                    <a:cubicBezTo>
                      <a:pt x="350" y="594"/>
                      <a:pt x="350" y="594"/>
                      <a:pt x="350" y="594"/>
                    </a:cubicBezTo>
                    <a:cubicBezTo>
                      <a:pt x="350" y="592"/>
                      <a:pt x="350" y="592"/>
                      <a:pt x="350" y="592"/>
                    </a:cubicBezTo>
                    <a:cubicBezTo>
                      <a:pt x="352" y="588"/>
                      <a:pt x="352" y="588"/>
                      <a:pt x="352" y="588"/>
                    </a:cubicBezTo>
                    <a:cubicBezTo>
                      <a:pt x="353" y="590"/>
                      <a:pt x="353" y="590"/>
                      <a:pt x="353" y="590"/>
                    </a:cubicBezTo>
                    <a:cubicBezTo>
                      <a:pt x="353" y="591"/>
                      <a:pt x="353" y="591"/>
                      <a:pt x="353" y="591"/>
                    </a:cubicBezTo>
                    <a:cubicBezTo>
                      <a:pt x="353" y="595"/>
                      <a:pt x="353" y="595"/>
                      <a:pt x="353" y="595"/>
                    </a:cubicBezTo>
                    <a:cubicBezTo>
                      <a:pt x="357" y="600"/>
                      <a:pt x="357" y="600"/>
                      <a:pt x="357" y="600"/>
                    </a:cubicBezTo>
                    <a:cubicBezTo>
                      <a:pt x="361" y="603"/>
                      <a:pt x="361" y="603"/>
                      <a:pt x="361" y="603"/>
                    </a:cubicBezTo>
                    <a:cubicBezTo>
                      <a:pt x="364" y="603"/>
                      <a:pt x="364" y="603"/>
                      <a:pt x="364" y="603"/>
                    </a:cubicBezTo>
                    <a:cubicBezTo>
                      <a:pt x="367" y="601"/>
                      <a:pt x="367" y="601"/>
                      <a:pt x="367" y="601"/>
                    </a:cubicBezTo>
                    <a:cubicBezTo>
                      <a:pt x="369" y="602"/>
                      <a:pt x="369" y="602"/>
                      <a:pt x="369" y="602"/>
                    </a:cubicBezTo>
                    <a:cubicBezTo>
                      <a:pt x="368" y="603"/>
                      <a:pt x="368" y="603"/>
                      <a:pt x="368" y="603"/>
                    </a:cubicBezTo>
                    <a:cubicBezTo>
                      <a:pt x="366" y="603"/>
                      <a:pt x="366" y="603"/>
                      <a:pt x="366" y="603"/>
                    </a:cubicBezTo>
                    <a:cubicBezTo>
                      <a:pt x="364" y="606"/>
                      <a:pt x="364" y="606"/>
                      <a:pt x="364" y="606"/>
                    </a:cubicBezTo>
                    <a:cubicBezTo>
                      <a:pt x="362" y="607"/>
                      <a:pt x="362" y="607"/>
                      <a:pt x="362" y="607"/>
                    </a:cubicBezTo>
                    <a:cubicBezTo>
                      <a:pt x="361" y="609"/>
                      <a:pt x="361" y="609"/>
                      <a:pt x="361" y="609"/>
                    </a:cubicBezTo>
                    <a:cubicBezTo>
                      <a:pt x="364" y="612"/>
                      <a:pt x="364" y="612"/>
                      <a:pt x="364" y="612"/>
                    </a:cubicBezTo>
                    <a:cubicBezTo>
                      <a:pt x="365" y="615"/>
                      <a:pt x="365" y="615"/>
                      <a:pt x="365" y="615"/>
                    </a:cubicBezTo>
                    <a:cubicBezTo>
                      <a:pt x="362" y="615"/>
                      <a:pt x="362" y="615"/>
                      <a:pt x="362" y="615"/>
                    </a:cubicBezTo>
                    <a:cubicBezTo>
                      <a:pt x="360" y="614"/>
                      <a:pt x="360" y="614"/>
                      <a:pt x="360" y="614"/>
                    </a:cubicBezTo>
                    <a:cubicBezTo>
                      <a:pt x="360" y="617"/>
                      <a:pt x="360" y="617"/>
                      <a:pt x="360" y="617"/>
                    </a:cubicBezTo>
                    <a:cubicBezTo>
                      <a:pt x="362" y="619"/>
                      <a:pt x="362" y="619"/>
                      <a:pt x="362" y="619"/>
                    </a:cubicBezTo>
                    <a:cubicBezTo>
                      <a:pt x="368" y="619"/>
                      <a:pt x="368" y="619"/>
                      <a:pt x="368" y="619"/>
                    </a:cubicBezTo>
                    <a:cubicBezTo>
                      <a:pt x="372" y="621"/>
                      <a:pt x="372" y="621"/>
                      <a:pt x="372" y="621"/>
                    </a:cubicBezTo>
                    <a:cubicBezTo>
                      <a:pt x="376" y="620"/>
                      <a:pt x="376" y="620"/>
                      <a:pt x="376" y="620"/>
                    </a:cubicBezTo>
                    <a:cubicBezTo>
                      <a:pt x="381" y="622"/>
                      <a:pt x="381" y="622"/>
                      <a:pt x="381" y="622"/>
                    </a:cubicBezTo>
                    <a:cubicBezTo>
                      <a:pt x="381" y="619"/>
                      <a:pt x="381" y="619"/>
                      <a:pt x="381" y="619"/>
                    </a:cubicBezTo>
                    <a:cubicBezTo>
                      <a:pt x="383" y="619"/>
                      <a:pt x="383" y="619"/>
                      <a:pt x="383" y="619"/>
                    </a:cubicBezTo>
                    <a:cubicBezTo>
                      <a:pt x="384" y="622"/>
                      <a:pt x="384" y="622"/>
                      <a:pt x="384" y="622"/>
                    </a:cubicBezTo>
                    <a:cubicBezTo>
                      <a:pt x="385" y="627"/>
                      <a:pt x="385" y="627"/>
                      <a:pt x="385" y="627"/>
                    </a:cubicBezTo>
                    <a:cubicBezTo>
                      <a:pt x="388" y="629"/>
                      <a:pt x="388" y="629"/>
                      <a:pt x="388" y="629"/>
                    </a:cubicBezTo>
                    <a:cubicBezTo>
                      <a:pt x="391" y="629"/>
                      <a:pt x="391" y="629"/>
                      <a:pt x="391" y="629"/>
                    </a:cubicBezTo>
                    <a:cubicBezTo>
                      <a:pt x="394" y="626"/>
                      <a:pt x="394" y="626"/>
                      <a:pt x="394" y="626"/>
                    </a:cubicBezTo>
                    <a:cubicBezTo>
                      <a:pt x="393" y="622"/>
                      <a:pt x="393" y="622"/>
                      <a:pt x="393" y="622"/>
                    </a:cubicBezTo>
                    <a:cubicBezTo>
                      <a:pt x="388" y="620"/>
                      <a:pt x="388" y="620"/>
                      <a:pt x="388" y="620"/>
                    </a:cubicBezTo>
                    <a:cubicBezTo>
                      <a:pt x="386" y="619"/>
                      <a:pt x="386" y="619"/>
                      <a:pt x="386" y="619"/>
                    </a:cubicBezTo>
                    <a:cubicBezTo>
                      <a:pt x="388" y="618"/>
                      <a:pt x="388" y="618"/>
                      <a:pt x="388" y="618"/>
                    </a:cubicBezTo>
                    <a:cubicBezTo>
                      <a:pt x="391" y="618"/>
                      <a:pt x="391" y="618"/>
                      <a:pt x="391" y="618"/>
                    </a:cubicBezTo>
                    <a:cubicBezTo>
                      <a:pt x="394" y="621"/>
                      <a:pt x="394" y="621"/>
                      <a:pt x="394" y="621"/>
                    </a:cubicBezTo>
                    <a:cubicBezTo>
                      <a:pt x="396" y="623"/>
                      <a:pt x="396" y="623"/>
                      <a:pt x="396" y="623"/>
                    </a:cubicBezTo>
                    <a:cubicBezTo>
                      <a:pt x="398" y="627"/>
                      <a:pt x="398" y="627"/>
                      <a:pt x="398" y="627"/>
                    </a:cubicBezTo>
                    <a:cubicBezTo>
                      <a:pt x="399" y="627"/>
                      <a:pt x="399" y="627"/>
                      <a:pt x="399" y="627"/>
                    </a:cubicBezTo>
                    <a:cubicBezTo>
                      <a:pt x="400" y="624"/>
                      <a:pt x="400" y="624"/>
                      <a:pt x="400" y="624"/>
                    </a:cubicBezTo>
                    <a:cubicBezTo>
                      <a:pt x="401" y="623"/>
                      <a:pt x="401" y="623"/>
                      <a:pt x="401" y="623"/>
                    </a:cubicBezTo>
                    <a:cubicBezTo>
                      <a:pt x="404" y="626"/>
                      <a:pt x="404" y="626"/>
                      <a:pt x="404" y="626"/>
                    </a:cubicBezTo>
                    <a:cubicBezTo>
                      <a:pt x="408" y="628"/>
                      <a:pt x="408" y="628"/>
                      <a:pt x="408" y="628"/>
                    </a:cubicBezTo>
                    <a:cubicBezTo>
                      <a:pt x="411" y="628"/>
                      <a:pt x="411" y="628"/>
                      <a:pt x="411" y="628"/>
                    </a:cubicBezTo>
                    <a:cubicBezTo>
                      <a:pt x="411" y="626"/>
                      <a:pt x="411" y="626"/>
                      <a:pt x="411" y="626"/>
                    </a:cubicBezTo>
                    <a:cubicBezTo>
                      <a:pt x="407" y="623"/>
                      <a:pt x="407" y="623"/>
                      <a:pt x="407" y="623"/>
                    </a:cubicBezTo>
                    <a:cubicBezTo>
                      <a:pt x="407" y="621"/>
                      <a:pt x="407" y="621"/>
                      <a:pt x="407" y="621"/>
                    </a:cubicBezTo>
                    <a:cubicBezTo>
                      <a:pt x="409" y="621"/>
                      <a:pt x="409" y="621"/>
                      <a:pt x="409" y="621"/>
                    </a:cubicBezTo>
                    <a:cubicBezTo>
                      <a:pt x="413" y="623"/>
                      <a:pt x="413" y="623"/>
                      <a:pt x="413" y="623"/>
                    </a:cubicBezTo>
                    <a:cubicBezTo>
                      <a:pt x="414" y="625"/>
                      <a:pt x="414" y="625"/>
                      <a:pt x="414" y="625"/>
                    </a:cubicBezTo>
                    <a:cubicBezTo>
                      <a:pt x="416" y="625"/>
                      <a:pt x="416" y="625"/>
                      <a:pt x="416" y="625"/>
                    </a:cubicBezTo>
                    <a:cubicBezTo>
                      <a:pt x="417" y="628"/>
                      <a:pt x="417" y="628"/>
                      <a:pt x="417" y="628"/>
                    </a:cubicBezTo>
                    <a:cubicBezTo>
                      <a:pt x="419" y="630"/>
                      <a:pt x="419" y="630"/>
                      <a:pt x="419" y="630"/>
                    </a:cubicBezTo>
                    <a:cubicBezTo>
                      <a:pt x="421" y="629"/>
                      <a:pt x="421" y="629"/>
                      <a:pt x="421" y="629"/>
                    </a:cubicBezTo>
                    <a:cubicBezTo>
                      <a:pt x="421" y="626"/>
                      <a:pt x="421" y="626"/>
                      <a:pt x="421" y="626"/>
                    </a:cubicBezTo>
                    <a:cubicBezTo>
                      <a:pt x="420" y="623"/>
                      <a:pt x="420" y="623"/>
                      <a:pt x="420" y="623"/>
                    </a:cubicBezTo>
                    <a:cubicBezTo>
                      <a:pt x="418" y="623"/>
                      <a:pt x="418" y="623"/>
                      <a:pt x="418" y="623"/>
                    </a:cubicBezTo>
                    <a:cubicBezTo>
                      <a:pt x="416" y="621"/>
                      <a:pt x="416" y="621"/>
                      <a:pt x="416" y="621"/>
                    </a:cubicBezTo>
                    <a:cubicBezTo>
                      <a:pt x="416" y="620"/>
                      <a:pt x="416" y="620"/>
                      <a:pt x="416" y="620"/>
                    </a:cubicBezTo>
                    <a:cubicBezTo>
                      <a:pt x="418" y="621"/>
                      <a:pt x="418" y="621"/>
                      <a:pt x="418" y="621"/>
                    </a:cubicBezTo>
                    <a:cubicBezTo>
                      <a:pt x="420" y="621"/>
                      <a:pt x="420" y="621"/>
                      <a:pt x="420" y="621"/>
                    </a:cubicBezTo>
                    <a:cubicBezTo>
                      <a:pt x="423" y="618"/>
                      <a:pt x="423" y="618"/>
                      <a:pt x="423" y="618"/>
                    </a:cubicBezTo>
                    <a:cubicBezTo>
                      <a:pt x="424" y="616"/>
                      <a:pt x="424" y="616"/>
                      <a:pt x="424" y="616"/>
                    </a:cubicBezTo>
                    <a:cubicBezTo>
                      <a:pt x="424" y="614"/>
                      <a:pt x="424" y="614"/>
                      <a:pt x="424" y="614"/>
                    </a:cubicBezTo>
                    <a:close/>
                    <a:moveTo>
                      <a:pt x="135" y="845"/>
                    </a:moveTo>
                    <a:cubicBezTo>
                      <a:pt x="133" y="842"/>
                      <a:pt x="133" y="842"/>
                      <a:pt x="133" y="842"/>
                    </a:cubicBezTo>
                    <a:cubicBezTo>
                      <a:pt x="134" y="841"/>
                      <a:pt x="134" y="841"/>
                      <a:pt x="134" y="841"/>
                    </a:cubicBezTo>
                    <a:cubicBezTo>
                      <a:pt x="134" y="839"/>
                      <a:pt x="134" y="839"/>
                      <a:pt x="134" y="839"/>
                    </a:cubicBezTo>
                    <a:cubicBezTo>
                      <a:pt x="131" y="838"/>
                      <a:pt x="131" y="838"/>
                      <a:pt x="131" y="838"/>
                    </a:cubicBezTo>
                    <a:cubicBezTo>
                      <a:pt x="129" y="841"/>
                      <a:pt x="129" y="841"/>
                      <a:pt x="129" y="841"/>
                    </a:cubicBezTo>
                    <a:cubicBezTo>
                      <a:pt x="129" y="843"/>
                      <a:pt x="129" y="843"/>
                      <a:pt x="129" y="843"/>
                    </a:cubicBezTo>
                    <a:cubicBezTo>
                      <a:pt x="132" y="846"/>
                      <a:pt x="132" y="846"/>
                      <a:pt x="132" y="846"/>
                    </a:cubicBezTo>
                    <a:cubicBezTo>
                      <a:pt x="133" y="847"/>
                      <a:pt x="133" y="847"/>
                      <a:pt x="133" y="847"/>
                    </a:cubicBezTo>
                    <a:cubicBezTo>
                      <a:pt x="134" y="847"/>
                      <a:pt x="134" y="847"/>
                      <a:pt x="134" y="847"/>
                    </a:cubicBezTo>
                    <a:cubicBezTo>
                      <a:pt x="135" y="845"/>
                      <a:pt x="135" y="845"/>
                      <a:pt x="135" y="845"/>
                    </a:cubicBezTo>
                    <a:close/>
                    <a:moveTo>
                      <a:pt x="234" y="784"/>
                    </a:moveTo>
                    <a:cubicBezTo>
                      <a:pt x="236" y="784"/>
                      <a:pt x="236" y="784"/>
                      <a:pt x="236" y="784"/>
                    </a:cubicBezTo>
                    <a:cubicBezTo>
                      <a:pt x="236" y="782"/>
                      <a:pt x="236" y="782"/>
                      <a:pt x="236" y="782"/>
                    </a:cubicBezTo>
                    <a:cubicBezTo>
                      <a:pt x="234" y="780"/>
                      <a:pt x="234" y="780"/>
                      <a:pt x="234" y="780"/>
                    </a:cubicBezTo>
                    <a:cubicBezTo>
                      <a:pt x="232" y="780"/>
                      <a:pt x="232" y="780"/>
                      <a:pt x="232" y="780"/>
                    </a:cubicBezTo>
                    <a:cubicBezTo>
                      <a:pt x="232" y="782"/>
                      <a:pt x="232" y="782"/>
                      <a:pt x="232" y="782"/>
                    </a:cubicBezTo>
                    <a:cubicBezTo>
                      <a:pt x="234" y="784"/>
                      <a:pt x="234" y="784"/>
                      <a:pt x="234" y="784"/>
                    </a:cubicBezTo>
                    <a:close/>
                    <a:moveTo>
                      <a:pt x="312" y="704"/>
                    </a:moveTo>
                    <a:cubicBezTo>
                      <a:pt x="316" y="704"/>
                      <a:pt x="316" y="704"/>
                      <a:pt x="316" y="704"/>
                    </a:cubicBezTo>
                    <a:cubicBezTo>
                      <a:pt x="321" y="700"/>
                      <a:pt x="321" y="700"/>
                      <a:pt x="321" y="700"/>
                    </a:cubicBezTo>
                    <a:cubicBezTo>
                      <a:pt x="324" y="695"/>
                      <a:pt x="324" y="695"/>
                      <a:pt x="324" y="695"/>
                    </a:cubicBezTo>
                    <a:cubicBezTo>
                      <a:pt x="324" y="689"/>
                      <a:pt x="324" y="689"/>
                      <a:pt x="324" y="689"/>
                    </a:cubicBezTo>
                    <a:cubicBezTo>
                      <a:pt x="327" y="687"/>
                      <a:pt x="327" y="687"/>
                      <a:pt x="327" y="687"/>
                    </a:cubicBezTo>
                    <a:cubicBezTo>
                      <a:pt x="328" y="690"/>
                      <a:pt x="328" y="690"/>
                      <a:pt x="328" y="690"/>
                    </a:cubicBezTo>
                    <a:cubicBezTo>
                      <a:pt x="327" y="695"/>
                      <a:pt x="327" y="695"/>
                      <a:pt x="327" y="695"/>
                    </a:cubicBezTo>
                    <a:cubicBezTo>
                      <a:pt x="330" y="690"/>
                      <a:pt x="330" y="690"/>
                      <a:pt x="330" y="690"/>
                    </a:cubicBezTo>
                    <a:cubicBezTo>
                      <a:pt x="330" y="686"/>
                      <a:pt x="330" y="686"/>
                      <a:pt x="330" y="686"/>
                    </a:cubicBezTo>
                    <a:cubicBezTo>
                      <a:pt x="326" y="682"/>
                      <a:pt x="326" y="682"/>
                      <a:pt x="326" y="682"/>
                    </a:cubicBezTo>
                    <a:cubicBezTo>
                      <a:pt x="312" y="676"/>
                      <a:pt x="312" y="676"/>
                      <a:pt x="312" y="676"/>
                    </a:cubicBezTo>
                    <a:cubicBezTo>
                      <a:pt x="306" y="675"/>
                      <a:pt x="306" y="675"/>
                      <a:pt x="306" y="675"/>
                    </a:cubicBezTo>
                    <a:cubicBezTo>
                      <a:pt x="302" y="678"/>
                      <a:pt x="302" y="678"/>
                      <a:pt x="302" y="678"/>
                    </a:cubicBezTo>
                    <a:cubicBezTo>
                      <a:pt x="299" y="685"/>
                      <a:pt x="299" y="685"/>
                      <a:pt x="299" y="685"/>
                    </a:cubicBezTo>
                    <a:cubicBezTo>
                      <a:pt x="299" y="694"/>
                      <a:pt x="299" y="694"/>
                      <a:pt x="299" y="694"/>
                    </a:cubicBezTo>
                    <a:cubicBezTo>
                      <a:pt x="302" y="699"/>
                      <a:pt x="302" y="699"/>
                      <a:pt x="302" y="699"/>
                    </a:cubicBezTo>
                    <a:cubicBezTo>
                      <a:pt x="303" y="703"/>
                      <a:pt x="303" y="703"/>
                      <a:pt x="303" y="703"/>
                    </a:cubicBezTo>
                    <a:cubicBezTo>
                      <a:pt x="304" y="702"/>
                      <a:pt x="304" y="702"/>
                      <a:pt x="304" y="702"/>
                    </a:cubicBezTo>
                    <a:cubicBezTo>
                      <a:pt x="307" y="704"/>
                      <a:pt x="307" y="704"/>
                      <a:pt x="307" y="704"/>
                    </a:cubicBezTo>
                    <a:cubicBezTo>
                      <a:pt x="306" y="707"/>
                      <a:pt x="306" y="707"/>
                      <a:pt x="306" y="707"/>
                    </a:cubicBezTo>
                    <a:cubicBezTo>
                      <a:pt x="309" y="707"/>
                      <a:pt x="309" y="707"/>
                      <a:pt x="309" y="707"/>
                    </a:cubicBezTo>
                    <a:cubicBezTo>
                      <a:pt x="312" y="704"/>
                      <a:pt x="312" y="704"/>
                      <a:pt x="312" y="704"/>
                    </a:cubicBezTo>
                    <a:close/>
                    <a:moveTo>
                      <a:pt x="346" y="711"/>
                    </a:moveTo>
                    <a:cubicBezTo>
                      <a:pt x="348" y="711"/>
                      <a:pt x="348" y="711"/>
                      <a:pt x="348" y="711"/>
                    </a:cubicBezTo>
                    <a:cubicBezTo>
                      <a:pt x="348" y="710"/>
                      <a:pt x="348" y="710"/>
                      <a:pt x="348" y="710"/>
                    </a:cubicBezTo>
                    <a:cubicBezTo>
                      <a:pt x="353" y="709"/>
                      <a:pt x="353" y="709"/>
                      <a:pt x="353" y="709"/>
                    </a:cubicBezTo>
                    <a:cubicBezTo>
                      <a:pt x="355" y="708"/>
                      <a:pt x="355" y="708"/>
                      <a:pt x="355" y="708"/>
                    </a:cubicBezTo>
                    <a:cubicBezTo>
                      <a:pt x="350" y="707"/>
                      <a:pt x="350" y="707"/>
                      <a:pt x="350" y="707"/>
                    </a:cubicBezTo>
                    <a:cubicBezTo>
                      <a:pt x="346" y="709"/>
                      <a:pt x="346" y="709"/>
                      <a:pt x="346" y="709"/>
                    </a:cubicBezTo>
                    <a:cubicBezTo>
                      <a:pt x="346" y="711"/>
                      <a:pt x="346" y="711"/>
                      <a:pt x="346" y="711"/>
                    </a:cubicBezTo>
                    <a:close/>
                    <a:moveTo>
                      <a:pt x="402" y="710"/>
                    </a:moveTo>
                    <a:cubicBezTo>
                      <a:pt x="403" y="711"/>
                      <a:pt x="403" y="711"/>
                      <a:pt x="403" y="711"/>
                    </a:cubicBezTo>
                    <a:cubicBezTo>
                      <a:pt x="406" y="708"/>
                      <a:pt x="406" y="708"/>
                      <a:pt x="406" y="708"/>
                    </a:cubicBezTo>
                    <a:cubicBezTo>
                      <a:pt x="405" y="705"/>
                      <a:pt x="405" y="705"/>
                      <a:pt x="405" y="705"/>
                    </a:cubicBezTo>
                    <a:cubicBezTo>
                      <a:pt x="403" y="706"/>
                      <a:pt x="403" y="706"/>
                      <a:pt x="403" y="706"/>
                    </a:cubicBezTo>
                    <a:cubicBezTo>
                      <a:pt x="401" y="708"/>
                      <a:pt x="401" y="708"/>
                      <a:pt x="401" y="708"/>
                    </a:cubicBezTo>
                    <a:cubicBezTo>
                      <a:pt x="402" y="710"/>
                      <a:pt x="402" y="710"/>
                      <a:pt x="402" y="710"/>
                    </a:cubicBezTo>
                    <a:close/>
                    <a:moveTo>
                      <a:pt x="394" y="711"/>
                    </a:moveTo>
                    <a:cubicBezTo>
                      <a:pt x="397" y="711"/>
                      <a:pt x="397" y="711"/>
                      <a:pt x="397" y="711"/>
                    </a:cubicBezTo>
                    <a:cubicBezTo>
                      <a:pt x="399" y="709"/>
                      <a:pt x="399" y="709"/>
                      <a:pt x="399" y="709"/>
                    </a:cubicBezTo>
                    <a:cubicBezTo>
                      <a:pt x="397" y="707"/>
                      <a:pt x="397" y="707"/>
                      <a:pt x="397" y="707"/>
                    </a:cubicBezTo>
                    <a:cubicBezTo>
                      <a:pt x="396" y="708"/>
                      <a:pt x="396" y="708"/>
                      <a:pt x="396" y="708"/>
                    </a:cubicBezTo>
                    <a:cubicBezTo>
                      <a:pt x="394" y="711"/>
                      <a:pt x="394" y="711"/>
                      <a:pt x="394" y="711"/>
                    </a:cubicBezTo>
                    <a:close/>
                    <a:moveTo>
                      <a:pt x="440" y="692"/>
                    </a:moveTo>
                    <a:cubicBezTo>
                      <a:pt x="442" y="692"/>
                      <a:pt x="442" y="692"/>
                      <a:pt x="442" y="692"/>
                    </a:cubicBezTo>
                    <a:cubicBezTo>
                      <a:pt x="444" y="691"/>
                      <a:pt x="444" y="691"/>
                      <a:pt x="444" y="691"/>
                    </a:cubicBezTo>
                    <a:cubicBezTo>
                      <a:pt x="449" y="689"/>
                      <a:pt x="449" y="689"/>
                      <a:pt x="449" y="689"/>
                    </a:cubicBezTo>
                    <a:cubicBezTo>
                      <a:pt x="450" y="687"/>
                      <a:pt x="450" y="687"/>
                      <a:pt x="450" y="687"/>
                    </a:cubicBezTo>
                    <a:cubicBezTo>
                      <a:pt x="447" y="686"/>
                      <a:pt x="447" y="686"/>
                      <a:pt x="447" y="686"/>
                    </a:cubicBezTo>
                    <a:cubicBezTo>
                      <a:pt x="442" y="689"/>
                      <a:pt x="442" y="689"/>
                      <a:pt x="442" y="689"/>
                    </a:cubicBezTo>
                    <a:cubicBezTo>
                      <a:pt x="440" y="692"/>
                      <a:pt x="440" y="692"/>
                      <a:pt x="440" y="692"/>
                    </a:cubicBezTo>
                    <a:close/>
                    <a:moveTo>
                      <a:pt x="422" y="688"/>
                    </a:moveTo>
                    <a:cubicBezTo>
                      <a:pt x="423" y="690"/>
                      <a:pt x="423" y="690"/>
                      <a:pt x="423" y="690"/>
                    </a:cubicBezTo>
                    <a:cubicBezTo>
                      <a:pt x="426" y="690"/>
                      <a:pt x="426" y="690"/>
                      <a:pt x="426" y="690"/>
                    </a:cubicBezTo>
                    <a:cubicBezTo>
                      <a:pt x="426" y="688"/>
                      <a:pt x="426" y="688"/>
                      <a:pt x="426" y="688"/>
                    </a:cubicBezTo>
                    <a:cubicBezTo>
                      <a:pt x="423" y="687"/>
                      <a:pt x="423" y="687"/>
                      <a:pt x="423" y="687"/>
                    </a:cubicBezTo>
                    <a:cubicBezTo>
                      <a:pt x="422" y="688"/>
                      <a:pt x="422" y="688"/>
                      <a:pt x="422" y="688"/>
                    </a:cubicBezTo>
                    <a:close/>
                    <a:moveTo>
                      <a:pt x="410" y="687"/>
                    </a:moveTo>
                    <a:cubicBezTo>
                      <a:pt x="412" y="688"/>
                      <a:pt x="412" y="688"/>
                      <a:pt x="412" y="688"/>
                    </a:cubicBezTo>
                    <a:cubicBezTo>
                      <a:pt x="414" y="690"/>
                      <a:pt x="414" y="690"/>
                      <a:pt x="414" y="690"/>
                    </a:cubicBezTo>
                    <a:cubicBezTo>
                      <a:pt x="418" y="690"/>
                      <a:pt x="418" y="690"/>
                      <a:pt x="418" y="690"/>
                    </a:cubicBezTo>
                    <a:cubicBezTo>
                      <a:pt x="416" y="687"/>
                      <a:pt x="416" y="687"/>
                      <a:pt x="416" y="687"/>
                    </a:cubicBezTo>
                    <a:cubicBezTo>
                      <a:pt x="413" y="685"/>
                      <a:pt x="413" y="685"/>
                      <a:pt x="413" y="685"/>
                    </a:cubicBezTo>
                    <a:cubicBezTo>
                      <a:pt x="410" y="687"/>
                      <a:pt x="410" y="687"/>
                      <a:pt x="410" y="687"/>
                    </a:cubicBezTo>
                    <a:close/>
                    <a:moveTo>
                      <a:pt x="404" y="688"/>
                    </a:moveTo>
                    <a:cubicBezTo>
                      <a:pt x="405" y="689"/>
                      <a:pt x="405" y="689"/>
                      <a:pt x="405" y="689"/>
                    </a:cubicBezTo>
                    <a:cubicBezTo>
                      <a:pt x="407" y="689"/>
                      <a:pt x="407" y="689"/>
                      <a:pt x="407" y="689"/>
                    </a:cubicBezTo>
                    <a:cubicBezTo>
                      <a:pt x="409" y="687"/>
                      <a:pt x="409" y="687"/>
                      <a:pt x="409" y="687"/>
                    </a:cubicBezTo>
                    <a:cubicBezTo>
                      <a:pt x="407" y="686"/>
                      <a:pt x="407" y="686"/>
                      <a:pt x="407" y="686"/>
                    </a:cubicBezTo>
                    <a:cubicBezTo>
                      <a:pt x="404" y="688"/>
                      <a:pt x="404" y="688"/>
                      <a:pt x="404" y="688"/>
                    </a:cubicBezTo>
                    <a:close/>
                    <a:moveTo>
                      <a:pt x="815" y="567"/>
                    </a:moveTo>
                    <a:cubicBezTo>
                      <a:pt x="815" y="571"/>
                      <a:pt x="815" y="571"/>
                      <a:pt x="815" y="571"/>
                    </a:cubicBezTo>
                    <a:cubicBezTo>
                      <a:pt x="817" y="573"/>
                      <a:pt x="817" y="573"/>
                      <a:pt x="817" y="573"/>
                    </a:cubicBezTo>
                    <a:cubicBezTo>
                      <a:pt x="818" y="570"/>
                      <a:pt x="818" y="570"/>
                      <a:pt x="818" y="570"/>
                    </a:cubicBezTo>
                    <a:cubicBezTo>
                      <a:pt x="817" y="567"/>
                      <a:pt x="817" y="567"/>
                      <a:pt x="817" y="567"/>
                    </a:cubicBezTo>
                    <a:cubicBezTo>
                      <a:pt x="815" y="567"/>
                      <a:pt x="815" y="567"/>
                      <a:pt x="815" y="567"/>
                    </a:cubicBezTo>
                    <a:close/>
                    <a:moveTo>
                      <a:pt x="808" y="556"/>
                    </a:moveTo>
                    <a:cubicBezTo>
                      <a:pt x="808" y="562"/>
                      <a:pt x="808" y="562"/>
                      <a:pt x="808" y="562"/>
                    </a:cubicBezTo>
                    <a:cubicBezTo>
                      <a:pt x="810" y="566"/>
                      <a:pt x="810" y="566"/>
                      <a:pt x="810" y="566"/>
                    </a:cubicBezTo>
                    <a:cubicBezTo>
                      <a:pt x="809" y="572"/>
                      <a:pt x="809" y="572"/>
                      <a:pt x="809" y="572"/>
                    </a:cubicBezTo>
                    <a:cubicBezTo>
                      <a:pt x="810" y="574"/>
                      <a:pt x="810" y="574"/>
                      <a:pt x="810" y="574"/>
                    </a:cubicBezTo>
                    <a:cubicBezTo>
                      <a:pt x="812" y="570"/>
                      <a:pt x="812" y="570"/>
                      <a:pt x="812" y="570"/>
                    </a:cubicBezTo>
                    <a:cubicBezTo>
                      <a:pt x="811" y="560"/>
                      <a:pt x="811" y="560"/>
                      <a:pt x="811" y="560"/>
                    </a:cubicBezTo>
                    <a:cubicBezTo>
                      <a:pt x="809" y="556"/>
                      <a:pt x="809" y="556"/>
                      <a:pt x="809" y="556"/>
                    </a:cubicBezTo>
                    <a:cubicBezTo>
                      <a:pt x="808" y="556"/>
                      <a:pt x="808" y="556"/>
                      <a:pt x="808" y="556"/>
                    </a:cubicBezTo>
                    <a:close/>
                    <a:moveTo>
                      <a:pt x="802" y="549"/>
                    </a:moveTo>
                    <a:cubicBezTo>
                      <a:pt x="804" y="553"/>
                      <a:pt x="804" y="553"/>
                      <a:pt x="804" y="553"/>
                    </a:cubicBezTo>
                    <a:cubicBezTo>
                      <a:pt x="806" y="554"/>
                      <a:pt x="806" y="554"/>
                      <a:pt x="806" y="554"/>
                    </a:cubicBezTo>
                    <a:cubicBezTo>
                      <a:pt x="806" y="551"/>
                      <a:pt x="806" y="551"/>
                      <a:pt x="806" y="551"/>
                    </a:cubicBezTo>
                    <a:cubicBezTo>
                      <a:pt x="804" y="548"/>
                      <a:pt x="804" y="548"/>
                      <a:pt x="804" y="548"/>
                    </a:cubicBezTo>
                    <a:cubicBezTo>
                      <a:pt x="802" y="549"/>
                      <a:pt x="802" y="549"/>
                      <a:pt x="802" y="549"/>
                    </a:cubicBezTo>
                    <a:close/>
                    <a:moveTo>
                      <a:pt x="452" y="660"/>
                    </a:moveTo>
                    <a:cubicBezTo>
                      <a:pt x="454" y="660"/>
                      <a:pt x="454" y="660"/>
                      <a:pt x="454" y="660"/>
                    </a:cubicBezTo>
                    <a:cubicBezTo>
                      <a:pt x="454" y="657"/>
                      <a:pt x="454" y="657"/>
                      <a:pt x="454" y="657"/>
                    </a:cubicBezTo>
                    <a:cubicBezTo>
                      <a:pt x="453" y="656"/>
                      <a:pt x="453" y="656"/>
                      <a:pt x="453" y="656"/>
                    </a:cubicBezTo>
                    <a:cubicBezTo>
                      <a:pt x="452" y="660"/>
                      <a:pt x="452" y="660"/>
                      <a:pt x="452" y="660"/>
                    </a:cubicBezTo>
                    <a:close/>
                    <a:moveTo>
                      <a:pt x="471" y="675"/>
                    </a:moveTo>
                    <a:cubicBezTo>
                      <a:pt x="473" y="673"/>
                      <a:pt x="473" y="673"/>
                      <a:pt x="473" y="673"/>
                    </a:cubicBezTo>
                    <a:cubicBezTo>
                      <a:pt x="470" y="673"/>
                      <a:pt x="470" y="673"/>
                      <a:pt x="470" y="673"/>
                    </a:cubicBezTo>
                    <a:cubicBezTo>
                      <a:pt x="471" y="675"/>
                      <a:pt x="471" y="675"/>
                      <a:pt x="471" y="675"/>
                    </a:cubicBezTo>
                    <a:close/>
                    <a:moveTo>
                      <a:pt x="468" y="670"/>
                    </a:moveTo>
                    <a:cubicBezTo>
                      <a:pt x="467" y="666"/>
                      <a:pt x="467" y="666"/>
                      <a:pt x="467" y="666"/>
                    </a:cubicBezTo>
                    <a:cubicBezTo>
                      <a:pt x="461" y="663"/>
                      <a:pt x="461" y="663"/>
                      <a:pt x="461" y="663"/>
                    </a:cubicBezTo>
                    <a:cubicBezTo>
                      <a:pt x="458" y="660"/>
                      <a:pt x="458" y="660"/>
                      <a:pt x="458" y="660"/>
                    </a:cubicBezTo>
                    <a:cubicBezTo>
                      <a:pt x="458" y="662"/>
                      <a:pt x="458" y="662"/>
                      <a:pt x="458" y="662"/>
                    </a:cubicBezTo>
                    <a:cubicBezTo>
                      <a:pt x="462" y="666"/>
                      <a:pt x="462" y="666"/>
                      <a:pt x="462" y="666"/>
                    </a:cubicBezTo>
                    <a:cubicBezTo>
                      <a:pt x="468" y="670"/>
                      <a:pt x="468" y="670"/>
                      <a:pt x="468" y="670"/>
                    </a:cubicBezTo>
                    <a:close/>
                    <a:moveTo>
                      <a:pt x="478" y="652"/>
                    </a:moveTo>
                    <a:cubicBezTo>
                      <a:pt x="480" y="648"/>
                      <a:pt x="480" y="648"/>
                      <a:pt x="480" y="648"/>
                    </a:cubicBezTo>
                    <a:cubicBezTo>
                      <a:pt x="479" y="643"/>
                      <a:pt x="479" y="643"/>
                      <a:pt x="479" y="643"/>
                    </a:cubicBezTo>
                    <a:cubicBezTo>
                      <a:pt x="472" y="638"/>
                      <a:pt x="472" y="638"/>
                      <a:pt x="472" y="638"/>
                    </a:cubicBezTo>
                    <a:cubicBezTo>
                      <a:pt x="467" y="633"/>
                      <a:pt x="467" y="633"/>
                      <a:pt x="467" y="633"/>
                    </a:cubicBezTo>
                    <a:cubicBezTo>
                      <a:pt x="463" y="633"/>
                      <a:pt x="463" y="633"/>
                      <a:pt x="463" y="633"/>
                    </a:cubicBezTo>
                    <a:cubicBezTo>
                      <a:pt x="459" y="629"/>
                      <a:pt x="459" y="629"/>
                      <a:pt x="459" y="629"/>
                    </a:cubicBezTo>
                    <a:cubicBezTo>
                      <a:pt x="455" y="627"/>
                      <a:pt x="455" y="627"/>
                      <a:pt x="455" y="627"/>
                    </a:cubicBezTo>
                    <a:cubicBezTo>
                      <a:pt x="454" y="624"/>
                      <a:pt x="454" y="624"/>
                      <a:pt x="454" y="624"/>
                    </a:cubicBezTo>
                    <a:cubicBezTo>
                      <a:pt x="449" y="621"/>
                      <a:pt x="449" y="621"/>
                      <a:pt x="449" y="621"/>
                    </a:cubicBezTo>
                    <a:cubicBezTo>
                      <a:pt x="446" y="621"/>
                      <a:pt x="446" y="621"/>
                      <a:pt x="446" y="621"/>
                    </a:cubicBezTo>
                    <a:cubicBezTo>
                      <a:pt x="444" y="622"/>
                      <a:pt x="444" y="622"/>
                      <a:pt x="444" y="622"/>
                    </a:cubicBezTo>
                    <a:cubicBezTo>
                      <a:pt x="445" y="624"/>
                      <a:pt x="445" y="624"/>
                      <a:pt x="445" y="624"/>
                    </a:cubicBezTo>
                    <a:cubicBezTo>
                      <a:pt x="442" y="626"/>
                      <a:pt x="442" y="626"/>
                      <a:pt x="442" y="626"/>
                    </a:cubicBezTo>
                    <a:cubicBezTo>
                      <a:pt x="444" y="629"/>
                      <a:pt x="444" y="629"/>
                      <a:pt x="444" y="629"/>
                    </a:cubicBezTo>
                    <a:cubicBezTo>
                      <a:pt x="447" y="630"/>
                      <a:pt x="447" y="630"/>
                      <a:pt x="447" y="630"/>
                    </a:cubicBezTo>
                    <a:cubicBezTo>
                      <a:pt x="447" y="632"/>
                      <a:pt x="447" y="632"/>
                      <a:pt x="447" y="632"/>
                    </a:cubicBezTo>
                    <a:cubicBezTo>
                      <a:pt x="445" y="632"/>
                      <a:pt x="445" y="632"/>
                      <a:pt x="445" y="632"/>
                    </a:cubicBezTo>
                    <a:cubicBezTo>
                      <a:pt x="442" y="630"/>
                      <a:pt x="442" y="630"/>
                      <a:pt x="442" y="630"/>
                    </a:cubicBezTo>
                    <a:cubicBezTo>
                      <a:pt x="440" y="630"/>
                      <a:pt x="440" y="630"/>
                      <a:pt x="440" y="630"/>
                    </a:cubicBezTo>
                    <a:cubicBezTo>
                      <a:pt x="442" y="633"/>
                      <a:pt x="442" y="633"/>
                      <a:pt x="442" y="633"/>
                    </a:cubicBezTo>
                    <a:cubicBezTo>
                      <a:pt x="448" y="641"/>
                      <a:pt x="448" y="641"/>
                      <a:pt x="448" y="641"/>
                    </a:cubicBezTo>
                    <a:cubicBezTo>
                      <a:pt x="452" y="643"/>
                      <a:pt x="452" y="643"/>
                      <a:pt x="452" y="643"/>
                    </a:cubicBezTo>
                    <a:cubicBezTo>
                      <a:pt x="455" y="646"/>
                      <a:pt x="455" y="646"/>
                      <a:pt x="455" y="646"/>
                    </a:cubicBezTo>
                    <a:cubicBezTo>
                      <a:pt x="456" y="646"/>
                      <a:pt x="456" y="646"/>
                      <a:pt x="456" y="646"/>
                    </a:cubicBezTo>
                    <a:cubicBezTo>
                      <a:pt x="457" y="642"/>
                      <a:pt x="457" y="642"/>
                      <a:pt x="457" y="642"/>
                    </a:cubicBezTo>
                    <a:cubicBezTo>
                      <a:pt x="459" y="643"/>
                      <a:pt x="459" y="643"/>
                      <a:pt x="459" y="643"/>
                    </a:cubicBezTo>
                    <a:cubicBezTo>
                      <a:pt x="463" y="643"/>
                      <a:pt x="463" y="643"/>
                      <a:pt x="463" y="643"/>
                    </a:cubicBezTo>
                    <a:cubicBezTo>
                      <a:pt x="464" y="644"/>
                      <a:pt x="464" y="644"/>
                      <a:pt x="464" y="644"/>
                    </a:cubicBezTo>
                    <a:cubicBezTo>
                      <a:pt x="465" y="649"/>
                      <a:pt x="465" y="649"/>
                      <a:pt x="465" y="649"/>
                    </a:cubicBezTo>
                    <a:cubicBezTo>
                      <a:pt x="464" y="651"/>
                      <a:pt x="464" y="651"/>
                      <a:pt x="464" y="651"/>
                    </a:cubicBezTo>
                    <a:cubicBezTo>
                      <a:pt x="467" y="653"/>
                      <a:pt x="467" y="653"/>
                      <a:pt x="467" y="653"/>
                    </a:cubicBezTo>
                    <a:cubicBezTo>
                      <a:pt x="472" y="653"/>
                      <a:pt x="472" y="653"/>
                      <a:pt x="472" y="653"/>
                    </a:cubicBezTo>
                    <a:cubicBezTo>
                      <a:pt x="474" y="651"/>
                      <a:pt x="474" y="651"/>
                      <a:pt x="474" y="651"/>
                    </a:cubicBezTo>
                    <a:cubicBezTo>
                      <a:pt x="478" y="652"/>
                      <a:pt x="478" y="652"/>
                      <a:pt x="478" y="652"/>
                    </a:cubicBezTo>
                    <a:close/>
                    <a:moveTo>
                      <a:pt x="569" y="495"/>
                    </a:moveTo>
                    <a:cubicBezTo>
                      <a:pt x="570" y="495"/>
                      <a:pt x="570" y="495"/>
                      <a:pt x="570" y="495"/>
                    </a:cubicBezTo>
                    <a:cubicBezTo>
                      <a:pt x="570" y="493"/>
                      <a:pt x="570" y="493"/>
                      <a:pt x="570" y="493"/>
                    </a:cubicBezTo>
                    <a:cubicBezTo>
                      <a:pt x="570" y="491"/>
                      <a:pt x="570" y="491"/>
                      <a:pt x="570" y="491"/>
                    </a:cubicBezTo>
                    <a:cubicBezTo>
                      <a:pt x="572" y="490"/>
                      <a:pt x="572" y="490"/>
                      <a:pt x="572" y="490"/>
                    </a:cubicBezTo>
                    <a:cubicBezTo>
                      <a:pt x="574" y="494"/>
                      <a:pt x="574" y="494"/>
                      <a:pt x="574" y="494"/>
                    </a:cubicBezTo>
                    <a:cubicBezTo>
                      <a:pt x="576" y="493"/>
                      <a:pt x="576" y="493"/>
                      <a:pt x="576" y="493"/>
                    </a:cubicBezTo>
                    <a:cubicBezTo>
                      <a:pt x="577" y="494"/>
                      <a:pt x="577" y="494"/>
                      <a:pt x="577" y="494"/>
                    </a:cubicBezTo>
                    <a:cubicBezTo>
                      <a:pt x="580" y="493"/>
                      <a:pt x="580" y="493"/>
                      <a:pt x="580" y="493"/>
                    </a:cubicBezTo>
                    <a:cubicBezTo>
                      <a:pt x="582" y="490"/>
                      <a:pt x="582" y="490"/>
                      <a:pt x="582" y="490"/>
                    </a:cubicBezTo>
                    <a:cubicBezTo>
                      <a:pt x="585" y="487"/>
                      <a:pt x="585" y="487"/>
                      <a:pt x="585" y="487"/>
                    </a:cubicBezTo>
                    <a:cubicBezTo>
                      <a:pt x="589" y="486"/>
                      <a:pt x="589" y="486"/>
                      <a:pt x="589" y="486"/>
                    </a:cubicBezTo>
                    <a:cubicBezTo>
                      <a:pt x="590" y="484"/>
                      <a:pt x="590" y="484"/>
                      <a:pt x="590" y="484"/>
                    </a:cubicBezTo>
                    <a:cubicBezTo>
                      <a:pt x="588" y="480"/>
                      <a:pt x="588" y="480"/>
                      <a:pt x="588" y="480"/>
                    </a:cubicBezTo>
                    <a:cubicBezTo>
                      <a:pt x="582" y="477"/>
                      <a:pt x="582" y="477"/>
                      <a:pt x="582" y="477"/>
                    </a:cubicBezTo>
                    <a:cubicBezTo>
                      <a:pt x="582" y="474"/>
                      <a:pt x="582" y="474"/>
                      <a:pt x="582" y="474"/>
                    </a:cubicBezTo>
                    <a:cubicBezTo>
                      <a:pt x="578" y="470"/>
                      <a:pt x="578" y="470"/>
                      <a:pt x="578" y="470"/>
                    </a:cubicBezTo>
                    <a:cubicBezTo>
                      <a:pt x="576" y="469"/>
                      <a:pt x="576" y="469"/>
                      <a:pt x="576" y="469"/>
                    </a:cubicBezTo>
                    <a:cubicBezTo>
                      <a:pt x="573" y="470"/>
                      <a:pt x="573" y="470"/>
                      <a:pt x="573" y="470"/>
                    </a:cubicBezTo>
                    <a:cubicBezTo>
                      <a:pt x="570" y="473"/>
                      <a:pt x="570" y="473"/>
                      <a:pt x="570" y="473"/>
                    </a:cubicBezTo>
                    <a:cubicBezTo>
                      <a:pt x="567" y="474"/>
                      <a:pt x="567" y="474"/>
                      <a:pt x="567" y="474"/>
                    </a:cubicBezTo>
                    <a:cubicBezTo>
                      <a:pt x="563" y="477"/>
                      <a:pt x="563" y="477"/>
                      <a:pt x="563" y="477"/>
                    </a:cubicBezTo>
                    <a:cubicBezTo>
                      <a:pt x="563" y="480"/>
                      <a:pt x="563" y="480"/>
                      <a:pt x="563" y="480"/>
                    </a:cubicBezTo>
                    <a:cubicBezTo>
                      <a:pt x="566" y="483"/>
                      <a:pt x="566" y="483"/>
                      <a:pt x="566" y="483"/>
                    </a:cubicBezTo>
                    <a:cubicBezTo>
                      <a:pt x="566" y="487"/>
                      <a:pt x="566" y="487"/>
                      <a:pt x="566" y="487"/>
                    </a:cubicBezTo>
                    <a:cubicBezTo>
                      <a:pt x="566" y="492"/>
                      <a:pt x="566" y="492"/>
                      <a:pt x="566" y="492"/>
                    </a:cubicBezTo>
                    <a:cubicBezTo>
                      <a:pt x="569" y="495"/>
                      <a:pt x="569" y="495"/>
                      <a:pt x="569" y="495"/>
                    </a:cubicBezTo>
                    <a:close/>
                    <a:moveTo>
                      <a:pt x="581" y="651"/>
                    </a:moveTo>
                    <a:cubicBezTo>
                      <a:pt x="582" y="652"/>
                      <a:pt x="582" y="652"/>
                      <a:pt x="582" y="652"/>
                    </a:cubicBezTo>
                    <a:cubicBezTo>
                      <a:pt x="584" y="653"/>
                      <a:pt x="584" y="653"/>
                      <a:pt x="584" y="653"/>
                    </a:cubicBezTo>
                    <a:cubicBezTo>
                      <a:pt x="586" y="650"/>
                      <a:pt x="586" y="650"/>
                      <a:pt x="586" y="650"/>
                    </a:cubicBezTo>
                    <a:cubicBezTo>
                      <a:pt x="586" y="648"/>
                      <a:pt x="586" y="648"/>
                      <a:pt x="586" y="648"/>
                    </a:cubicBezTo>
                    <a:cubicBezTo>
                      <a:pt x="584" y="646"/>
                      <a:pt x="584" y="646"/>
                      <a:pt x="584" y="646"/>
                    </a:cubicBezTo>
                    <a:cubicBezTo>
                      <a:pt x="582" y="647"/>
                      <a:pt x="582" y="647"/>
                      <a:pt x="582" y="647"/>
                    </a:cubicBezTo>
                    <a:cubicBezTo>
                      <a:pt x="582" y="649"/>
                      <a:pt x="582" y="649"/>
                      <a:pt x="582" y="649"/>
                    </a:cubicBezTo>
                    <a:cubicBezTo>
                      <a:pt x="581" y="651"/>
                      <a:pt x="581" y="651"/>
                      <a:pt x="581" y="651"/>
                    </a:cubicBezTo>
                    <a:close/>
                    <a:moveTo>
                      <a:pt x="653" y="739"/>
                    </a:moveTo>
                    <a:cubicBezTo>
                      <a:pt x="653" y="740"/>
                      <a:pt x="653" y="740"/>
                      <a:pt x="653" y="740"/>
                    </a:cubicBezTo>
                    <a:cubicBezTo>
                      <a:pt x="656" y="741"/>
                      <a:pt x="656" y="741"/>
                      <a:pt x="656" y="741"/>
                    </a:cubicBezTo>
                    <a:cubicBezTo>
                      <a:pt x="656" y="743"/>
                      <a:pt x="656" y="743"/>
                      <a:pt x="656" y="743"/>
                    </a:cubicBezTo>
                    <a:cubicBezTo>
                      <a:pt x="660" y="746"/>
                      <a:pt x="660" y="746"/>
                      <a:pt x="660" y="746"/>
                    </a:cubicBezTo>
                    <a:cubicBezTo>
                      <a:pt x="664" y="745"/>
                      <a:pt x="664" y="745"/>
                      <a:pt x="664" y="745"/>
                    </a:cubicBezTo>
                    <a:cubicBezTo>
                      <a:pt x="665" y="743"/>
                      <a:pt x="665" y="743"/>
                      <a:pt x="665" y="743"/>
                    </a:cubicBezTo>
                    <a:cubicBezTo>
                      <a:pt x="664" y="740"/>
                      <a:pt x="664" y="740"/>
                      <a:pt x="664" y="740"/>
                    </a:cubicBezTo>
                    <a:cubicBezTo>
                      <a:pt x="661" y="739"/>
                      <a:pt x="661" y="739"/>
                      <a:pt x="661" y="739"/>
                    </a:cubicBezTo>
                    <a:cubicBezTo>
                      <a:pt x="658" y="740"/>
                      <a:pt x="658" y="740"/>
                      <a:pt x="658" y="740"/>
                    </a:cubicBezTo>
                    <a:cubicBezTo>
                      <a:pt x="655" y="739"/>
                      <a:pt x="655" y="739"/>
                      <a:pt x="655" y="739"/>
                    </a:cubicBezTo>
                    <a:cubicBezTo>
                      <a:pt x="653" y="739"/>
                      <a:pt x="653" y="739"/>
                      <a:pt x="653" y="739"/>
                    </a:cubicBezTo>
                    <a:close/>
                    <a:moveTo>
                      <a:pt x="640" y="492"/>
                    </a:moveTo>
                    <a:cubicBezTo>
                      <a:pt x="639" y="489"/>
                      <a:pt x="639" y="489"/>
                      <a:pt x="639" y="489"/>
                    </a:cubicBezTo>
                    <a:cubicBezTo>
                      <a:pt x="637" y="487"/>
                      <a:pt x="637" y="487"/>
                      <a:pt x="637" y="487"/>
                    </a:cubicBezTo>
                    <a:cubicBezTo>
                      <a:pt x="637" y="484"/>
                      <a:pt x="637" y="484"/>
                      <a:pt x="637" y="484"/>
                    </a:cubicBezTo>
                    <a:cubicBezTo>
                      <a:pt x="639" y="483"/>
                      <a:pt x="639" y="483"/>
                      <a:pt x="639" y="483"/>
                    </a:cubicBezTo>
                    <a:cubicBezTo>
                      <a:pt x="638" y="480"/>
                      <a:pt x="638" y="480"/>
                      <a:pt x="638" y="480"/>
                    </a:cubicBezTo>
                    <a:cubicBezTo>
                      <a:pt x="634" y="479"/>
                      <a:pt x="634" y="479"/>
                      <a:pt x="634" y="479"/>
                    </a:cubicBezTo>
                    <a:cubicBezTo>
                      <a:pt x="631" y="481"/>
                      <a:pt x="631" y="481"/>
                      <a:pt x="631" y="481"/>
                    </a:cubicBezTo>
                    <a:cubicBezTo>
                      <a:pt x="630" y="487"/>
                      <a:pt x="630" y="487"/>
                      <a:pt x="630" y="487"/>
                    </a:cubicBezTo>
                    <a:cubicBezTo>
                      <a:pt x="632" y="490"/>
                      <a:pt x="632" y="490"/>
                      <a:pt x="632" y="490"/>
                    </a:cubicBezTo>
                    <a:cubicBezTo>
                      <a:pt x="635" y="490"/>
                      <a:pt x="635" y="490"/>
                      <a:pt x="635" y="490"/>
                    </a:cubicBezTo>
                    <a:cubicBezTo>
                      <a:pt x="637" y="492"/>
                      <a:pt x="637" y="492"/>
                      <a:pt x="637" y="492"/>
                    </a:cubicBezTo>
                    <a:cubicBezTo>
                      <a:pt x="640" y="492"/>
                      <a:pt x="640" y="492"/>
                      <a:pt x="640" y="492"/>
                    </a:cubicBezTo>
                    <a:close/>
                    <a:moveTo>
                      <a:pt x="633" y="465"/>
                    </a:moveTo>
                    <a:cubicBezTo>
                      <a:pt x="637" y="462"/>
                      <a:pt x="637" y="462"/>
                      <a:pt x="637" y="462"/>
                    </a:cubicBezTo>
                    <a:cubicBezTo>
                      <a:pt x="639" y="463"/>
                      <a:pt x="639" y="463"/>
                      <a:pt x="639" y="463"/>
                    </a:cubicBezTo>
                    <a:cubicBezTo>
                      <a:pt x="642" y="461"/>
                      <a:pt x="642" y="461"/>
                      <a:pt x="642" y="461"/>
                    </a:cubicBezTo>
                    <a:cubicBezTo>
                      <a:pt x="642" y="459"/>
                      <a:pt x="642" y="459"/>
                      <a:pt x="642" y="459"/>
                    </a:cubicBezTo>
                    <a:cubicBezTo>
                      <a:pt x="642" y="457"/>
                      <a:pt x="642" y="457"/>
                      <a:pt x="642" y="457"/>
                    </a:cubicBezTo>
                    <a:cubicBezTo>
                      <a:pt x="644" y="455"/>
                      <a:pt x="644" y="455"/>
                      <a:pt x="644" y="455"/>
                    </a:cubicBezTo>
                    <a:cubicBezTo>
                      <a:pt x="643" y="454"/>
                      <a:pt x="643" y="454"/>
                      <a:pt x="643" y="454"/>
                    </a:cubicBezTo>
                    <a:cubicBezTo>
                      <a:pt x="640" y="455"/>
                      <a:pt x="640" y="455"/>
                      <a:pt x="640" y="455"/>
                    </a:cubicBezTo>
                    <a:cubicBezTo>
                      <a:pt x="635" y="458"/>
                      <a:pt x="635" y="458"/>
                      <a:pt x="635" y="458"/>
                    </a:cubicBezTo>
                    <a:cubicBezTo>
                      <a:pt x="633" y="463"/>
                      <a:pt x="633" y="463"/>
                      <a:pt x="633" y="463"/>
                    </a:cubicBezTo>
                    <a:cubicBezTo>
                      <a:pt x="633" y="465"/>
                      <a:pt x="633" y="465"/>
                      <a:pt x="633" y="465"/>
                    </a:cubicBezTo>
                    <a:close/>
                    <a:moveTo>
                      <a:pt x="650" y="470"/>
                    </a:moveTo>
                    <a:cubicBezTo>
                      <a:pt x="654" y="473"/>
                      <a:pt x="654" y="473"/>
                      <a:pt x="654" y="473"/>
                    </a:cubicBezTo>
                    <a:cubicBezTo>
                      <a:pt x="659" y="474"/>
                      <a:pt x="659" y="474"/>
                      <a:pt x="659" y="474"/>
                    </a:cubicBezTo>
                    <a:cubicBezTo>
                      <a:pt x="661" y="473"/>
                      <a:pt x="661" y="473"/>
                      <a:pt x="661" y="473"/>
                    </a:cubicBezTo>
                    <a:cubicBezTo>
                      <a:pt x="661" y="471"/>
                      <a:pt x="661" y="471"/>
                      <a:pt x="661" y="471"/>
                    </a:cubicBezTo>
                    <a:cubicBezTo>
                      <a:pt x="656" y="470"/>
                      <a:pt x="656" y="470"/>
                      <a:pt x="656" y="470"/>
                    </a:cubicBezTo>
                    <a:cubicBezTo>
                      <a:pt x="652" y="469"/>
                      <a:pt x="652" y="469"/>
                      <a:pt x="652" y="469"/>
                    </a:cubicBezTo>
                    <a:cubicBezTo>
                      <a:pt x="650" y="470"/>
                      <a:pt x="650" y="470"/>
                      <a:pt x="650" y="470"/>
                    </a:cubicBezTo>
                    <a:close/>
                    <a:moveTo>
                      <a:pt x="687" y="496"/>
                    </a:moveTo>
                    <a:cubicBezTo>
                      <a:pt x="687" y="500"/>
                      <a:pt x="687" y="500"/>
                      <a:pt x="687" y="500"/>
                    </a:cubicBezTo>
                    <a:cubicBezTo>
                      <a:pt x="685" y="503"/>
                      <a:pt x="685" y="503"/>
                      <a:pt x="685" y="503"/>
                    </a:cubicBezTo>
                    <a:cubicBezTo>
                      <a:pt x="683" y="505"/>
                      <a:pt x="683" y="505"/>
                      <a:pt x="683" y="505"/>
                    </a:cubicBezTo>
                    <a:cubicBezTo>
                      <a:pt x="682" y="508"/>
                      <a:pt x="682" y="508"/>
                      <a:pt x="682" y="508"/>
                    </a:cubicBezTo>
                    <a:cubicBezTo>
                      <a:pt x="684" y="510"/>
                      <a:pt x="684" y="510"/>
                      <a:pt x="684" y="510"/>
                    </a:cubicBezTo>
                    <a:cubicBezTo>
                      <a:pt x="686" y="510"/>
                      <a:pt x="686" y="510"/>
                      <a:pt x="686" y="510"/>
                    </a:cubicBezTo>
                    <a:cubicBezTo>
                      <a:pt x="690" y="507"/>
                      <a:pt x="690" y="507"/>
                      <a:pt x="690" y="507"/>
                    </a:cubicBezTo>
                    <a:cubicBezTo>
                      <a:pt x="692" y="506"/>
                      <a:pt x="692" y="506"/>
                      <a:pt x="692" y="506"/>
                    </a:cubicBezTo>
                    <a:cubicBezTo>
                      <a:pt x="695" y="502"/>
                      <a:pt x="695" y="502"/>
                      <a:pt x="695" y="502"/>
                    </a:cubicBezTo>
                    <a:cubicBezTo>
                      <a:pt x="698" y="500"/>
                      <a:pt x="698" y="500"/>
                      <a:pt x="698" y="500"/>
                    </a:cubicBezTo>
                    <a:cubicBezTo>
                      <a:pt x="701" y="496"/>
                      <a:pt x="701" y="496"/>
                      <a:pt x="701" y="496"/>
                    </a:cubicBezTo>
                    <a:cubicBezTo>
                      <a:pt x="701" y="493"/>
                      <a:pt x="701" y="493"/>
                      <a:pt x="701" y="493"/>
                    </a:cubicBezTo>
                    <a:cubicBezTo>
                      <a:pt x="699" y="492"/>
                      <a:pt x="699" y="492"/>
                      <a:pt x="699" y="492"/>
                    </a:cubicBezTo>
                    <a:cubicBezTo>
                      <a:pt x="695" y="492"/>
                      <a:pt x="695" y="492"/>
                      <a:pt x="695" y="492"/>
                    </a:cubicBezTo>
                    <a:cubicBezTo>
                      <a:pt x="690" y="493"/>
                      <a:pt x="690" y="493"/>
                      <a:pt x="690" y="493"/>
                    </a:cubicBezTo>
                    <a:cubicBezTo>
                      <a:pt x="687" y="496"/>
                      <a:pt x="687" y="496"/>
                      <a:pt x="687" y="496"/>
                    </a:cubicBezTo>
                    <a:close/>
                    <a:moveTo>
                      <a:pt x="701" y="462"/>
                    </a:moveTo>
                    <a:cubicBezTo>
                      <a:pt x="697" y="467"/>
                      <a:pt x="697" y="467"/>
                      <a:pt x="697" y="467"/>
                    </a:cubicBezTo>
                    <a:cubicBezTo>
                      <a:pt x="696" y="473"/>
                      <a:pt x="696" y="473"/>
                      <a:pt x="696" y="473"/>
                    </a:cubicBezTo>
                    <a:cubicBezTo>
                      <a:pt x="694" y="477"/>
                      <a:pt x="694" y="477"/>
                      <a:pt x="694" y="477"/>
                    </a:cubicBezTo>
                    <a:cubicBezTo>
                      <a:pt x="695" y="480"/>
                      <a:pt x="695" y="480"/>
                      <a:pt x="695" y="480"/>
                    </a:cubicBezTo>
                    <a:cubicBezTo>
                      <a:pt x="699" y="480"/>
                      <a:pt x="699" y="480"/>
                      <a:pt x="699" y="480"/>
                    </a:cubicBezTo>
                    <a:cubicBezTo>
                      <a:pt x="701" y="482"/>
                      <a:pt x="701" y="482"/>
                      <a:pt x="701" y="482"/>
                    </a:cubicBezTo>
                    <a:cubicBezTo>
                      <a:pt x="705" y="483"/>
                      <a:pt x="705" y="483"/>
                      <a:pt x="705" y="483"/>
                    </a:cubicBezTo>
                    <a:cubicBezTo>
                      <a:pt x="708" y="484"/>
                      <a:pt x="708" y="484"/>
                      <a:pt x="708" y="484"/>
                    </a:cubicBezTo>
                    <a:cubicBezTo>
                      <a:pt x="711" y="483"/>
                      <a:pt x="711" y="483"/>
                      <a:pt x="711" y="483"/>
                    </a:cubicBezTo>
                    <a:cubicBezTo>
                      <a:pt x="711" y="481"/>
                      <a:pt x="711" y="481"/>
                      <a:pt x="711" y="481"/>
                    </a:cubicBezTo>
                    <a:cubicBezTo>
                      <a:pt x="708" y="475"/>
                      <a:pt x="708" y="475"/>
                      <a:pt x="708" y="475"/>
                    </a:cubicBezTo>
                    <a:cubicBezTo>
                      <a:pt x="707" y="470"/>
                      <a:pt x="707" y="470"/>
                      <a:pt x="707" y="470"/>
                    </a:cubicBezTo>
                    <a:cubicBezTo>
                      <a:pt x="703" y="466"/>
                      <a:pt x="703" y="466"/>
                      <a:pt x="703" y="466"/>
                    </a:cubicBezTo>
                    <a:cubicBezTo>
                      <a:pt x="701" y="462"/>
                      <a:pt x="701" y="462"/>
                      <a:pt x="701" y="462"/>
                    </a:cubicBezTo>
                    <a:close/>
                    <a:moveTo>
                      <a:pt x="674" y="401"/>
                    </a:moveTo>
                    <a:cubicBezTo>
                      <a:pt x="673" y="397"/>
                      <a:pt x="673" y="397"/>
                      <a:pt x="673" y="397"/>
                    </a:cubicBezTo>
                    <a:cubicBezTo>
                      <a:pt x="674" y="395"/>
                      <a:pt x="674" y="395"/>
                      <a:pt x="674" y="395"/>
                    </a:cubicBezTo>
                    <a:cubicBezTo>
                      <a:pt x="671" y="394"/>
                      <a:pt x="671" y="394"/>
                      <a:pt x="671" y="394"/>
                    </a:cubicBezTo>
                    <a:cubicBezTo>
                      <a:pt x="667" y="395"/>
                      <a:pt x="667" y="395"/>
                      <a:pt x="667" y="395"/>
                    </a:cubicBezTo>
                    <a:cubicBezTo>
                      <a:pt x="666" y="397"/>
                      <a:pt x="666" y="397"/>
                      <a:pt x="666" y="397"/>
                    </a:cubicBezTo>
                    <a:cubicBezTo>
                      <a:pt x="668" y="398"/>
                      <a:pt x="668" y="398"/>
                      <a:pt x="668" y="398"/>
                    </a:cubicBezTo>
                    <a:cubicBezTo>
                      <a:pt x="669" y="401"/>
                      <a:pt x="669" y="401"/>
                      <a:pt x="669" y="401"/>
                    </a:cubicBezTo>
                    <a:cubicBezTo>
                      <a:pt x="672" y="402"/>
                      <a:pt x="672" y="402"/>
                      <a:pt x="672" y="402"/>
                    </a:cubicBezTo>
                    <a:cubicBezTo>
                      <a:pt x="674" y="401"/>
                      <a:pt x="674" y="401"/>
                      <a:pt x="674" y="401"/>
                    </a:cubicBezTo>
                    <a:close/>
                    <a:moveTo>
                      <a:pt x="686" y="354"/>
                    </a:moveTo>
                    <a:cubicBezTo>
                      <a:pt x="684" y="353"/>
                      <a:pt x="684" y="353"/>
                      <a:pt x="684" y="353"/>
                    </a:cubicBezTo>
                    <a:cubicBezTo>
                      <a:pt x="683" y="352"/>
                      <a:pt x="683" y="352"/>
                      <a:pt x="683" y="352"/>
                    </a:cubicBezTo>
                    <a:cubicBezTo>
                      <a:pt x="683" y="359"/>
                      <a:pt x="683" y="359"/>
                      <a:pt x="683" y="359"/>
                    </a:cubicBezTo>
                    <a:cubicBezTo>
                      <a:pt x="685" y="359"/>
                      <a:pt x="685" y="359"/>
                      <a:pt x="685" y="359"/>
                    </a:cubicBezTo>
                    <a:cubicBezTo>
                      <a:pt x="688" y="358"/>
                      <a:pt x="688" y="358"/>
                      <a:pt x="688" y="358"/>
                    </a:cubicBezTo>
                    <a:cubicBezTo>
                      <a:pt x="689" y="359"/>
                      <a:pt x="689" y="359"/>
                      <a:pt x="689" y="359"/>
                    </a:cubicBezTo>
                    <a:cubicBezTo>
                      <a:pt x="689" y="363"/>
                      <a:pt x="689" y="363"/>
                      <a:pt x="689" y="363"/>
                    </a:cubicBezTo>
                    <a:cubicBezTo>
                      <a:pt x="691" y="365"/>
                      <a:pt x="691" y="365"/>
                      <a:pt x="691" y="365"/>
                    </a:cubicBezTo>
                    <a:cubicBezTo>
                      <a:pt x="692" y="361"/>
                      <a:pt x="692" y="361"/>
                      <a:pt x="692" y="361"/>
                    </a:cubicBezTo>
                    <a:cubicBezTo>
                      <a:pt x="690" y="357"/>
                      <a:pt x="690" y="357"/>
                      <a:pt x="690" y="357"/>
                    </a:cubicBezTo>
                    <a:cubicBezTo>
                      <a:pt x="693" y="355"/>
                      <a:pt x="693" y="355"/>
                      <a:pt x="693" y="355"/>
                    </a:cubicBezTo>
                    <a:cubicBezTo>
                      <a:pt x="693" y="353"/>
                      <a:pt x="693" y="353"/>
                      <a:pt x="693" y="353"/>
                    </a:cubicBezTo>
                    <a:cubicBezTo>
                      <a:pt x="690" y="351"/>
                      <a:pt x="690" y="351"/>
                      <a:pt x="690" y="351"/>
                    </a:cubicBezTo>
                    <a:cubicBezTo>
                      <a:pt x="690" y="348"/>
                      <a:pt x="690" y="348"/>
                      <a:pt x="690" y="348"/>
                    </a:cubicBezTo>
                    <a:cubicBezTo>
                      <a:pt x="689" y="345"/>
                      <a:pt x="689" y="345"/>
                      <a:pt x="689" y="345"/>
                    </a:cubicBezTo>
                    <a:cubicBezTo>
                      <a:pt x="687" y="347"/>
                      <a:pt x="687" y="347"/>
                      <a:pt x="687" y="347"/>
                    </a:cubicBezTo>
                    <a:cubicBezTo>
                      <a:pt x="685" y="347"/>
                      <a:pt x="685" y="347"/>
                      <a:pt x="685" y="347"/>
                    </a:cubicBezTo>
                    <a:cubicBezTo>
                      <a:pt x="684" y="348"/>
                      <a:pt x="684" y="348"/>
                      <a:pt x="684" y="348"/>
                    </a:cubicBezTo>
                    <a:cubicBezTo>
                      <a:pt x="687" y="351"/>
                      <a:pt x="687" y="351"/>
                      <a:pt x="687" y="351"/>
                    </a:cubicBezTo>
                    <a:cubicBezTo>
                      <a:pt x="686" y="354"/>
                      <a:pt x="686" y="354"/>
                      <a:pt x="686" y="354"/>
                    </a:cubicBezTo>
                    <a:close/>
                    <a:moveTo>
                      <a:pt x="680" y="332"/>
                    </a:moveTo>
                    <a:cubicBezTo>
                      <a:pt x="675" y="331"/>
                      <a:pt x="675" y="331"/>
                      <a:pt x="675" y="331"/>
                    </a:cubicBezTo>
                    <a:cubicBezTo>
                      <a:pt x="674" y="329"/>
                      <a:pt x="674" y="329"/>
                      <a:pt x="674" y="329"/>
                    </a:cubicBezTo>
                    <a:cubicBezTo>
                      <a:pt x="671" y="328"/>
                      <a:pt x="671" y="328"/>
                      <a:pt x="671" y="328"/>
                    </a:cubicBezTo>
                    <a:cubicBezTo>
                      <a:pt x="670" y="330"/>
                      <a:pt x="670" y="330"/>
                      <a:pt x="670" y="330"/>
                    </a:cubicBezTo>
                    <a:cubicBezTo>
                      <a:pt x="670" y="332"/>
                      <a:pt x="670" y="332"/>
                      <a:pt x="670" y="332"/>
                    </a:cubicBezTo>
                    <a:cubicBezTo>
                      <a:pt x="675" y="334"/>
                      <a:pt x="675" y="334"/>
                      <a:pt x="675" y="334"/>
                    </a:cubicBezTo>
                    <a:cubicBezTo>
                      <a:pt x="678" y="334"/>
                      <a:pt x="678" y="334"/>
                      <a:pt x="678" y="334"/>
                    </a:cubicBezTo>
                    <a:cubicBezTo>
                      <a:pt x="680" y="332"/>
                      <a:pt x="680" y="332"/>
                      <a:pt x="680" y="332"/>
                    </a:cubicBezTo>
                    <a:close/>
                    <a:moveTo>
                      <a:pt x="681" y="328"/>
                    </a:moveTo>
                    <a:cubicBezTo>
                      <a:pt x="680" y="328"/>
                      <a:pt x="682" y="329"/>
                      <a:pt x="682" y="329"/>
                    </a:cubicBezTo>
                    <a:cubicBezTo>
                      <a:pt x="687" y="329"/>
                      <a:pt x="687" y="329"/>
                      <a:pt x="687" y="329"/>
                    </a:cubicBezTo>
                    <a:cubicBezTo>
                      <a:pt x="690" y="329"/>
                      <a:pt x="690" y="329"/>
                      <a:pt x="690" y="329"/>
                    </a:cubicBezTo>
                    <a:cubicBezTo>
                      <a:pt x="693" y="327"/>
                      <a:pt x="693" y="327"/>
                      <a:pt x="693" y="327"/>
                    </a:cubicBezTo>
                    <a:cubicBezTo>
                      <a:pt x="693" y="326"/>
                      <a:pt x="693" y="326"/>
                      <a:pt x="693" y="326"/>
                    </a:cubicBezTo>
                    <a:cubicBezTo>
                      <a:pt x="688" y="325"/>
                      <a:pt x="688" y="325"/>
                      <a:pt x="688" y="325"/>
                    </a:cubicBezTo>
                    <a:cubicBezTo>
                      <a:pt x="685" y="324"/>
                      <a:pt x="685" y="324"/>
                      <a:pt x="685" y="324"/>
                    </a:cubicBezTo>
                    <a:cubicBezTo>
                      <a:pt x="683" y="324"/>
                      <a:pt x="683" y="324"/>
                      <a:pt x="683" y="324"/>
                    </a:cubicBezTo>
                    <a:cubicBezTo>
                      <a:pt x="681" y="328"/>
                      <a:pt x="681" y="328"/>
                      <a:pt x="681" y="328"/>
                    </a:cubicBezTo>
                    <a:close/>
                    <a:moveTo>
                      <a:pt x="724" y="418"/>
                    </a:moveTo>
                    <a:cubicBezTo>
                      <a:pt x="727" y="413"/>
                      <a:pt x="727" y="413"/>
                      <a:pt x="727" y="413"/>
                    </a:cubicBezTo>
                    <a:cubicBezTo>
                      <a:pt x="726" y="412"/>
                      <a:pt x="726" y="412"/>
                      <a:pt x="726" y="412"/>
                    </a:cubicBezTo>
                    <a:cubicBezTo>
                      <a:pt x="722" y="412"/>
                      <a:pt x="722" y="412"/>
                      <a:pt x="722" y="412"/>
                    </a:cubicBezTo>
                    <a:cubicBezTo>
                      <a:pt x="720" y="414"/>
                      <a:pt x="720" y="414"/>
                      <a:pt x="720" y="414"/>
                    </a:cubicBezTo>
                    <a:cubicBezTo>
                      <a:pt x="721" y="417"/>
                      <a:pt x="721" y="417"/>
                      <a:pt x="721" y="417"/>
                    </a:cubicBezTo>
                    <a:cubicBezTo>
                      <a:pt x="724" y="418"/>
                      <a:pt x="724" y="418"/>
                      <a:pt x="724" y="418"/>
                    </a:cubicBezTo>
                    <a:close/>
                    <a:moveTo>
                      <a:pt x="736" y="415"/>
                    </a:moveTo>
                    <a:cubicBezTo>
                      <a:pt x="738" y="412"/>
                      <a:pt x="738" y="412"/>
                      <a:pt x="738" y="412"/>
                    </a:cubicBezTo>
                    <a:cubicBezTo>
                      <a:pt x="739" y="410"/>
                      <a:pt x="739" y="410"/>
                      <a:pt x="739" y="410"/>
                    </a:cubicBezTo>
                    <a:cubicBezTo>
                      <a:pt x="735" y="409"/>
                      <a:pt x="735" y="409"/>
                      <a:pt x="735" y="409"/>
                    </a:cubicBezTo>
                    <a:cubicBezTo>
                      <a:pt x="733" y="411"/>
                      <a:pt x="733" y="411"/>
                      <a:pt x="733" y="411"/>
                    </a:cubicBezTo>
                    <a:cubicBezTo>
                      <a:pt x="730" y="412"/>
                      <a:pt x="730" y="412"/>
                      <a:pt x="730" y="412"/>
                    </a:cubicBezTo>
                    <a:cubicBezTo>
                      <a:pt x="731" y="413"/>
                      <a:pt x="731" y="413"/>
                      <a:pt x="731" y="413"/>
                    </a:cubicBezTo>
                    <a:cubicBezTo>
                      <a:pt x="736" y="415"/>
                      <a:pt x="736" y="415"/>
                      <a:pt x="736" y="415"/>
                    </a:cubicBezTo>
                    <a:close/>
                    <a:moveTo>
                      <a:pt x="753" y="417"/>
                    </a:moveTo>
                    <a:cubicBezTo>
                      <a:pt x="754" y="416"/>
                      <a:pt x="754" y="416"/>
                      <a:pt x="754" y="416"/>
                    </a:cubicBezTo>
                    <a:cubicBezTo>
                      <a:pt x="751" y="414"/>
                      <a:pt x="751" y="414"/>
                      <a:pt x="751" y="414"/>
                    </a:cubicBezTo>
                    <a:cubicBezTo>
                      <a:pt x="746" y="416"/>
                      <a:pt x="746" y="416"/>
                      <a:pt x="746" y="416"/>
                    </a:cubicBezTo>
                    <a:cubicBezTo>
                      <a:pt x="747" y="417"/>
                      <a:pt x="747" y="417"/>
                      <a:pt x="747" y="417"/>
                    </a:cubicBezTo>
                    <a:cubicBezTo>
                      <a:pt x="753" y="417"/>
                      <a:pt x="753" y="417"/>
                      <a:pt x="753" y="417"/>
                    </a:cubicBezTo>
                    <a:close/>
                    <a:moveTo>
                      <a:pt x="780" y="409"/>
                    </a:moveTo>
                    <a:cubicBezTo>
                      <a:pt x="782" y="413"/>
                      <a:pt x="782" y="413"/>
                      <a:pt x="782" y="413"/>
                    </a:cubicBezTo>
                    <a:cubicBezTo>
                      <a:pt x="784" y="414"/>
                      <a:pt x="784" y="414"/>
                      <a:pt x="784" y="414"/>
                    </a:cubicBezTo>
                    <a:cubicBezTo>
                      <a:pt x="786" y="412"/>
                      <a:pt x="786" y="412"/>
                      <a:pt x="786" y="412"/>
                    </a:cubicBezTo>
                    <a:cubicBezTo>
                      <a:pt x="783" y="410"/>
                      <a:pt x="783" y="410"/>
                      <a:pt x="783" y="410"/>
                    </a:cubicBezTo>
                    <a:cubicBezTo>
                      <a:pt x="780" y="409"/>
                      <a:pt x="780" y="409"/>
                      <a:pt x="780" y="409"/>
                    </a:cubicBezTo>
                    <a:close/>
                    <a:moveTo>
                      <a:pt x="764" y="406"/>
                    </a:moveTo>
                    <a:cubicBezTo>
                      <a:pt x="768" y="406"/>
                      <a:pt x="768" y="406"/>
                      <a:pt x="768" y="406"/>
                    </a:cubicBezTo>
                    <a:cubicBezTo>
                      <a:pt x="771" y="403"/>
                      <a:pt x="771" y="403"/>
                      <a:pt x="771" y="403"/>
                    </a:cubicBezTo>
                    <a:cubicBezTo>
                      <a:pt x="767" y="402"/>
                      <a:pt x="767" y="402"/>
                      <a:pt x="767" y="402"/>
                    </a:cubicBezTo>
                    <a:cubicBezTo>
                      <a:pt x="765" y="403"/>
                      <a:pt x="765" y="403"/>
                      <a:pt x="765" y="403"/>
                    </a:cubicBezTo>
                    <a:cubicBezTo>
                      <a:pt x="765" y="404"/>
                      <a:pt x="765" y="404"/>
                      <a:pt x="765" y="404"/>
                    </a:cubicBezTo>
                    <a:cubicBezTo>
                      <a:pt x="764" y="406"/>
                      <a:pt x="764" y="406"/>
                      <a:pt x="764" y="406"/>
                    </a:cubicBezTo>
                    <a:close/>
                    <a:moveTo>
                      <a:pt x="752" y="390"/>
                    </a:moveTo>
                    <a:cubicBezTo>
                      <a:pt x="752" y="389"/>
                      <a:pt x="752" y="389"/>
                      <a:pt x="752" y="389"/>
                    </a:cubicBezTo>
                    <a:cubicBezTo>
                      <a:pt x="750" y="388"/>
                      <a:pt x="750" y="388"/>
                      <a:pt x="750" y="388"/>
                    </a:cubicBezTo>
                    <a:cubicBezTo>
                      <a:pt x="745" y="392"/>
                      <a:pt x="745" y="392"/>
                      <a:pt x="745" y="392"/>
                    </a:cubicBezTo>
                    <a:cubicBezTo>
                      <a:pt x="745" y="394"/>
                      <a:pt x="745" y="394"/>
                      <a:pt x="745" y="394"/>
                    </a:cubicBezTo>
                    <a:cubicBezTo>
                      <a:pt x="749" y="395"/>
                      <a:pt x="749" y="395"/>
                      <a:pt x="749" y="395"/>
                    </a:cubicBezTo>
                    <a:cubicBezTo>
                      <a:pt x="749" y="394"/>
                      <a:pt x="749" y="394"/>
                      <a:pt x="749" y="394"/>
                    </a:cubicBezTo>
                    <a:cubicBezTo>
                      <a:pt x="749" y="393"/>
                      <a:pt x="749" y="393"/>
                      <a:pt x="749" y="393"/>
                    </a:cubicBezTo>
                    <a:cubicBezTo>
                      <a:pt x="749" y="392"/>
                      <a:pt x="749" y="392"/>
                      <a:pt x="749" y="392"/>
                    </a:cubicBezTo>
                    <a:cubicBezTo>
                      <a:pt x="752" y="390"/>
                      <a:pt x="752" y="390"/>
                      <a:pt x="752" y="390"/>
                    </a:cubicBezTo>
                    <a:close/>
                    <a:moveTo>
                      <a:pt x="762" y="388"/>
                    </a:moveTo>
                    <a:cubicBezTo>
                      <a:pt x="761" y="385"/>
                      <a:pt x="761" y="385"/>
                      <a:pt x="761" y="385"/>
                    </a:cubicBezTo>
                    <a:cubicBezTo>
                      <a:pt x="757" y="385"/>
                      <a:pt x="757" y="385"/>
                      <a:pt x="757" y="385"/>
                    </a:cubicBezTo>
                    <a:cubicBezTo>
                      <a:pt x="756" y="387"/>
                      <a:pt x="756" y="387"/>
                      <a:pt x="756" y="387"/>
                    </a:cubicBezTo>
                    <a:cubicBezTo>
                      <a:pt x="757" y="390"/>
                      <a:pt x="757" y="390"/>
                      <a:pt x="757" y="390"/>
                    </a:cubicBezTo>
                    <a:cubicBezTo>
                      <a:pt x="759" y="390"/>
                      <a:pt x="759" y="390"/>
                      <a:pt x="759" y="390"/>
                    </a:cubicBezTo>
                    <a:cubicBezTo>
                      <a:pt x="761" y="389"/>
                      <a:pt x="761" y="389"/>
                      <a:pt x="761" y="389"/>
                    </a:cubicBezTo>
                    <a:cubicBezTo>
                      <a:pt x="762" y="388"/>
                      <a:pt x="762" y="388"/>
                      <a:pt x="762" y="388"/>
                    </a:cubicBezTo>
                    <a:close/>
                    <a:moveTo>
                      <a:pt x="763" y="389"/>
                    </a:moveTo>
                    <a:cubicBezTo>
                      <a:pt x="764" y="390"/>
                      <a:pt x="764" y="390"/>
                      <a:pt x="764" y="390"/>
                    </a:cubicBezTo>
                    <a:cubicBezTo>
                      <a:pt x="766" y="390"/>
                      <a:pt x="766" y="390"/>
                      <a:pt x="766" y="390"/>
                    </a:cubicBezTo>
                    <a:cubicBezTo>
                      <a:pt x="769" y="387"/>
                      <a:pt x="769" y="387"/>
                      <a:pt x="769" y="387"/>
                    </a:cubicBezTo>
                    <a:cubicBezTo>
                      <a:pt x="770" y="384"/>
                      <a:pt x="770" y="384"/>
                      <a:pt x="770" y="384"/>
                    </a:cubicBezTo>
                    <a:cubicBezTo>
                      <a:pt x="768" y="382"/>
                      <a:pt x="768" y="382"/>
                      <a:pt x="768" y="382"/>
                    </a:cubicBezTo>
                    <a:cubicBezTo>
                      <a:pt x="764" y="382"/>
                      <a:pt x="764" y="382"/>
                      <a:pt x="764" y="382"/>
                    </a:cubicBezTo>
                    <a:cubicBezTo>
                      <a:pt x="764" y="385"/>
                      <a:pt x="764" y="385"/>
                      <a:pt x="764" y="385"/>
                    </a:cubicBezTo>
                    <a:cubicBezTo>
                      <a:pt x="765" y="387"/>
                      <a:pt x="765" y="387"/>
                      <a:pt x="765" y="387"/>
                    </a:cubicBezTo>
                    <a:cubicBezTo>
                      <a:pt x="763" y="389"/>
                      <a:pt x="763" y="389"/>
                      <a:pt x="763" y="389"/>
                    </a:cubicBezTo>
                    <a:close/>
                    <a:moveTo>
                      <a:pt x="752" y="378"/>
                    </a:moveTo>
                    <a:cubicBezTo>
                      <a:pt x="755" y="375"/>
                      <a:pt x="755" y="375"/>
                      <a:pt x="755" y="375"/>
                    </a:cubicBezTo>
                    <a:cubicBezTo>
                      <a:pt x="754" y="373"/>
                      <a:pt x="754" y="373"/>
                      <a:pt x="754" y="373"/>
                    </a:cubicBezTo>
                    <a:cubicBezTo>
                      <a:pt x="751" y="373"/>
                      <a:pt x="751" y="373"/>
                      <a:pt x="751" y="373"/>
                    </a:cubicBezTo>
                    <a:cubicBezTo>
                      <a:pt x="748" y="374"/>
                      <a:pt x="748" y="374"/>
                      <a:pt x="748" y="374"/>
                    </a:cubicBezTo>
                    <a:cubicBezTo>
                      <a:pt x="745" y="374"/>
                      <a:pt x="745" y="374"/>
                      <a:pt x="745" y="374"/>
                    </a:cubicBezTo>
                    <a:cubicBezTo>
                      <a:pt x="745" y="376"/>
                      <a:pt x="745" y="376"/>
                      <a:pt x="745" y="376"/>
                    </a:cubicBezTo>
                    <a:cubicBezTo>
                      <a:pt x="750" y="377"/>
                      <a:pt x="750" y="377"/>
                      <a:pt x="750" y="377"/>
                    </a:cubicBezTo>
                    <a:cubicBezTo>
                      <a:pt x="752" y="378"/>
                      <a:pt x="752" y="378"/>
                      <a:pt x="752" y="378"/>
                    </a:cubicBezTo>
                    <a:close/>
                    <a:moveTo>
                      <a:pt x="770" y="370"/>
                    </a:moveTo>
                    <a:cubicBezTo>
                      <a:pt x="772" y="369"/>
                      <a:pt x="772" y="369"/>
                      <a:pt x="772" y="369"/>
                    </a:cubicBezTo>
                    <a:cubicBezTo>
                      <a:pt x="771" y="368"/>
                      <a:pt x="771" y="368"/>
                      <a:pt x="771" y="368"/>
                    </a:cubicBezTo>
                    <a:cubicBezTo>
                      <a:pt x="770" y="366"/>
                      <a:pt x="770" y="366"/>
                      <a:pt x="770" y="366"/>
                    </a:cubicBezTo>
                    <a:cubicBezTo>
                      <a:pt x="773" y="365"/>
                      <a:pt x="773" y="365"/>
                      <a:pt x="773" y="365"/>
                    </a:cubicBezTo>
                    <a:cubicBezTo>
                      <a:pt x="773" y="363"/>
                      <a:pt x="773" y="363"/>
                      <a:pt x="773" y="363"/>
                    </a:cubicBezTo>
                    <a:cubicBezTo>
                      <a:pt x="771" y="361"/>
                      <a:pt x="771" y="361"/>
                      <a:pt x="771" y="361"/>
                    </a:cubicBezTo>
                    <a:cubicBezTo>
                      <a:pt x="766" y="360"/>
                      <a:pt x="766" y="360"/>
                      <a:pt x="766" y="360"/>
                    </a:cubicBezTo>
                    <a:cubicBezTo>
                      <a:pt x="764" y="361"/>
                      <a:pt x="764" y="361"/>
                      <a:pt x="764" y="361"/>
                    </a:cubicBezTo>
                    <a:cubicBezTo>
                      <a:pt x="764" y="364"/>
                      <a:pt x="764" y="364"/>
                      <a:pt x="764" y="364"/>
                    </a:cubicBezTo>
                    <a:cubicBezTo>
                      <a:pt x="763" y="364"/>
                      <a:pt x="763" y="364"/>
                      <a:pt x="763" y="364"/>
                    </a:cubicBezTo>
                    <a:cubicBezTo>
                      <a:pt x="760" y="362"/>
                      <a:pt x="760" y="362"/>
                      <a:pt x="760" y="362"/>
                    </a:cubicBezTo>
                    <a:cubicBezTo>
                      <a:pt x="759" y="363"/>
                      <a:pt x="759" y="363"/>
                      <a:pt x="759" y="363"/>
                    </a:cubicBezTo>
                    <a:cubicBezTo>
                      <a:pt x="761" y="366"/>
                      <a:pt x="761" y="366"/>
                      <a:pt x="761" y="366"/>
                    </a:cubicBezTo>
                    <a:cubicBezTo>
                      <a:pt x="763" y="368"/>
                      <a:pt x="763" y="368"/>
                      <a:pt x="763" y="368"/>
                    </a:cubicBezTo>
                    <a:cubicBezTo>
                      <a:pt x="767" y="368"/>
                      <a:pt x="767" y="368"/>
                      <a:pt x="767" y="368"/>
                    </a:cubicBezTo>
                    <a:cubicBezTo>
                      <a:pt x="770" y="370"/>
                      <a:pt x="770" y="370"/>
                      <a:pt x="770" y="370"/>
                    </a:cubicBezTo>
                    <a:close/>
                    <a:moveTo>
                      <a:pt x="756" y="210"/>
                    </a:moveTo>
                    <a:cubicBezTo>
                      <a:pt x="758" y="210"/>
                      <a:pt x="758" y="210"/>
                      <a:pt x="758" y="210"/>
                    </a:cubicBezTo>
                    <a:cubicBezTo>
                      <a:pt x="758" y="207"/>
                      <a:pt x="758" y="207"/>
                      <a:pt x="758" y="207"/>
                    </a:cubicBezTo>
                    <a:cubicBezTo>
                      <a:pt x="755" y="206"/>
                      <a:pt x="755" y="206"/>
                      <a:pt x="755" y="206"/>
                    </a:cubicBezTo>
                    <a:cubicBezTo>
                      <a:pt x="754" y="207"/>
                      <a:pt x="754" y="207"/>
                      <a:pt x="754" y="207"/>
                    </a:cubicBezTo>
                    <a:cubicBezTo>
                      <a:pt x="756" y="210"/>
                      <a:pt x="756" y="210"/>
                      <a:pt x="756" y="210"/>
                    </a:cubicBezTo>
                    <a:close/>
                    <a:moveTo>
                      <a:pt x="735" y="243"/>
                    </a:moveTo>
                    <a:cubicBezTo>
                      <a:pt x="735" y="245"/>
                      <a:pt x="735" y="245"/>
                      <a:pt x="735" y="245"/>
                    </a:cubicBezTo>
                    <a:cubicBezTo>
                      <a:pt x="737" y="245"/>
                      <a:pt x="737" y="245"/>
                      <a:pt x="737" y="245"/>
                    </a:cubicBezTo>
                    <a:cubicBezTo>
                      <a:pt x="741" y="244"/>
                      <a:pt x="741" y="244"/>
                      <a:pt x="741" y="244"/>
                    </a:cubicBezTo>
                    <a:cubicBezTo>
                      <a:pt x="742" y="241"/>
                      <a:pt x="742" y="241"/>
                      <a:pt x="742" y="241"/>
                    </a:cubicBezTo>
                    <a:cubicBezTo>
                      <a:pt x="742" y="236"/>
                      <a:pt x="742" y="236"/>
                      <a:pt x="742" y="236"/>
                    </a:cubicBezTo>
                    <a:cubicBezTo>
                      <a:pt x="739" y="234"/>
                      <a:pt x="739" y="234"/>
                      <a:pt x="739" y="234"/>
                    </a:cubicBezTo>
                    <a:cubicBezTo>
                      <a:pt x="736" y="234"/>
                      <a:pt x="736" y="234"/>
                      <a:pt x="736" y="234"/>
                    </a:cubicBezTo>
                    <a:cubicBezTo>
                      <a:pt x="734" y="236"/>
                      <a:pt x="734" y="236"/>
                      <a:pt x="734" y="236"/>
                    </a:cubicBezTo>
                    <a:cubicBezTo>
                      <a:pt x="735" y="239"/>
                      <a:pt x="735" y="239"/>
                      <a:pt x="735" y="239"/>
                    </a:cubicBezTo>
                    <a:cubicBezTo>
                      <a:pt x="735" y="243"/>
                      <a:pt x="735" y="243"/>
                      <a:pt x="735" y="243"/>
                    </a:cubicBezTo>
                    <a:close/>
                    <a:moveTo>
                      <a:pt x="820" y="236"/>
                    </a:moveTo>
                    <a:cubicBezTo>
                      <a:pt x="822" y="236"/>
                      <a:pt x="822" y="236"/>
                      <a:pt x="822" y="236"/>
                    </a:cubicBezTo>
                    <a:cubicBezTo>
                      <a:pt x="825" y="235"/>
                      <a:pt x="825" y="235"/>
                      <a:pt x="825" y="235"/>
                    </a:cubicBezTo>
                    <a:cubicBezTo>
                      <a:pt x="828" y="232"/>
                      <a:pt x="828" y="232"/>
                      <a:pt x="828" y="232"/>
                    </a:cubicBezTo>
                    <a:cubicBezTo>
                      <a:pt x="830" y="232"/>
                      <a:pt x="830" y="232"/>
                      <a:pt x="830" y="232"/>
                    </a:cubicBezTo>
                    <a:cubicBezTo>
                      <a:pt x="830" y="233"/>
                      <a:pt x="830" y="233"/>
                      <a:pt x="830" y="233"/>
                    </a:cubicBezTo>
                    <a:cubicBezTo>
                      <a:pt x="829" y="235"/>
                      <a:pt x="829" y="235"/>
                      <a:pt x="829" y="235"/>
                    </a:cubicBezTo>
                    <a:cubicBezTo>
                      <a:pt x="833" y="233"/>
                      <a:pt x="833" y="233"/>
                      <a:pt x="833" y="233"/>
                    </a:cubicBezTo>
                    <a:cubicBezTo>
                      <a:pt x="836" y="229"/>
                      <a:pt x="836" y="229"/>
                      <a:pt x="836" y="229"/>
                    </a:cubicBezTo>
                    <a:cubicBezTo>
                      <a:pt x="836" y="226"/>
                      <a:pt x="836" y="226"/>
                      <a:pt x="836" y="226"/>
                    </a:cubicBezTo>
                    <a:cubicBezTo>
                      <a:pt x="838" y="224"/>
                      <a:pt x="838" y="224"/>
                      <a:pt x="838" y="224"/>
                    </a:cubicBezTo>
                    <a:cubicBezTo>
                      <a:pt x="838" y="220"/>
                      <a:pt x="838" y="220"/>
                      <a:pt x="838" y="220"/>
                    </a:cubicBezTo>
                    <a:cubicBezTo>
                      <a:pt x="837" y="219"/>
                      <a:pt x="837" y="219"/>
                      <a:pt x="837" y="219"/>
                    </a:cubicBezTo>
                    <a:cubicBezTo>
                      <a:pt x="835" y="220"/>
                      <a:pt x="835" y="220"/>
                      <a:pt x="835" y="220"/>
                    </a:cubicBezTo>
                    <a:cubicBezTo>
                      <a:pt x="834" y="222"/>
                      <a:pt x="834" y="222"/>
                      <a:pt x="834" y="222"/>
                    </a:cubicBezTo>
                    <a:cubicBezTo>
                      <a:pt x="830" y="224"/>
                      <a:pt x="830" y="224"/>
                      <a:pt x="830" y="224"/>
                    </a:cubicBezTo>
                    <a:cubicBezTo>
                      <a:pt x="825" y="227"/>
                      <a:pt x="825" y="227"/>
                      <a:pt x="825" y="227"/>
                    </a:cubicBezTo>
                    <a:cubicBezTo>
                      <a:pt x="822" y="232"/>
                      <a:pt x="822" y="232"/>
                      <a:pt x="822" y="232"/>
                    </a:cubicBezTo>
                    <a:cubicBezTo>
                      <a:pt x="820" y="236"/>
                      <a:pt x="820" y="236"/>
                      <a:pt x="820" y="236"/>
                    </a:cubicBezTo>
                    <a:close/>
                    <a:moveTo>
                      <a:pt x="858" y="239"/>
                    </a:moveTo>
                    <a:cubicBezTo>
                      <a:pt x="862" y="238"/>
                      <a:pt x="862" y="238"/>
                      <a:pt x="862" y="238"/>
                    </a:cubicBezTo>
                    <a:cubicBezTo>
                      <a:pt x="864" y="235"/>
                      <a:pt x="864" y="235"/>
                      <a:pt x="864" y="235"/>
                    </a:cubicBezTo>
                    <a:cubicBezTo>
                      <a:pt x="861" y="235"/>
                      <a:pt x="861" y="235"/>
                      <a:pt x="861" y="235"/>
                    </a:cubicBezTo>
                    <a:cubicBezTo>
                      <a:pt x="858" y="236"/>
                      <a:pt x="858" y="236"/>
                      <a:pt x="858" y="236"/>
                    </a:cubicBezTo>
                    <a:cubicBezTo>
                      <a:pt x="857" y="238"/>
                      <a:pt x="857" y="238"/>
                      <a:pt x="857" y="238"/>
                    </a:cubicBezTo>
                    <a:cubicBezTo>
                      <a:pt x="858" y="239"/>
                      <a:pt x="858" y="239"/>
                      <a:pt x="858" y="239"/>
                    </a:cubicBezTo>
                    <a:close/>
                    <a:moveTo>
                      <a:pt x="864" y="247"/>
                    </a:moveTo>
                    <a:cubicBezTo>
                      <a:pt x="865" y="247"/>
                      <a:pt x="865" y="247"/>
                      <a:pt x="865" y="247"/>
                    </a:cubicBezTo>
                    <a:cubicBezTo>
                      <a:pt x="867" y="246"/>
                      <a:pt x="867" y="246"/>
                      <a:pt x="867" y="246"/>
                    </a:cubicBezTo>
                    <a:cubicBezTo>
                      <a:pt x="868" y="244"/>
                      <a:pt x="868" y="244"/>
                      <a:pt x="868" y="244"/>
                    </a:cubicBezTo>
                    <a:cubicBezTo>
                      <a:pt x="864" y="243"/>
                      <a:pt x="864" y="243"/>
                      <a:pt x="864" y="243"/>
                    </a:cubicBezTo>
                    <a:cubicBezTo>
                      <a:pt x="863" y="240"/>
                      <a:pt x="863" y="240"/>
                      <a:pt x="863" y="240"/>
                    </a:cubicBezTo>
                    <a:cubicBezTo>
                      <a:pt x="861" y="240"/>
                      <a:pt x="861" y="240"/>
                      <a:pt x="861" y="240"/>
                    </a:cubicBezTo>
                    <a:cubicBezTo>
                      <a:pt x="861" y="242"/>
                      <a:pt x="861" y="242"/>
                      <a:pt x="861" y="242"/>
                    </a:cubicBezTo>
                    <a:cubicBezTo>
                      <a:pt x="863" y="244"/>
                      <a:pt x="863" y="244"/>
                      <a:pt x="863" y="244"/>
                    </a:cubicBezTo>
                    <a:cubicBezTo>
                      <a:pt x="864" y="247"/>
                      <a:pt x="864" y="247"/>
                      <a:pt x="864" y="247"/>
                    </a:cubicBezTo>
                    <a:close/>
                    <a:moveTo>
                      <a:pt x="830" y="256"/>
                    </a:moveTo>
                    <a:cubicBezTo>
                      <a:pt x="834" y="254"/>
                      <a:pt x="834" y="254"/>
                      <a:pt x="834" y="254"/>
                    </a:cubicBezTo>
                    <a:cubicBezTo>
                      <a:pt x="834" y="252"/>
                      <a:pt x="834" y="252"/>
                      <a:pt x="834" y="252"/>
                    </a:cubicBezTo>
                    <a:cubicBezTo>
                      <a:pt x="831" y="251"/>
                      <a:pt x="831" y="251"/>
                      <a:pt x="831" y="251"/>
                    </a:cubicBezTo>
                    <a:cubicBezTo>
                      <a:pt x="830" y="253"/>
                      <a:pt x="830" y="253"/>
                      <a:pt x="830" y="253"/>
                    </a:cubicBezTo>
                    <a:cubicBezTo>
                      <a:pt x="826" y="254"/>
                      <a:pt x="826" y="254"/>
                      <a:pt x="826" y="254"/>
                    </a:cubicBezTo>
                    <a:cubicBezTo>
                      <a:pt x="827" y="256"/>
                      <a:pt x="827" y="256"/>
                      <a:pt x="827" y="256"/>
                    </a:cubicBezTo>
                    <a:cubicBezTo>
                      <a:pt x="830" y="256"/>
                      <a:pt x="830" y="256"/>
                      <a:pt x="830" y="256"/>
                    </a:cubicBezTo>
                    <a:close/>
                    <a:moveTo>
                      <a:pt x="849" y="256"/>
                    </a:moveTo>
                    <a:cubicBezTo>
                      <a:pt x="851" y="254"/>
                      <a:pt x="851" y="254"/>
                      <a:pt x="851" y="254"/>
                    </a:cubicBezTo>
                    <a:cubicBezTo>
                      <a:pt x="851" y="252"/>
                      <a:pt x="851" y="252"/>
                      <a:pt x="851" y="252"/>
                    </a:cubicBezTo>
                    <a:cubicBezTo>
                      <a:pt x="850" y="250"/>
                      <a:pt x="850" y="250"/>
                      <a:pt x="850" y="250"/>
                    </a:cubicBezTo>
                    <a:cubicBezTo>
                      <a:pt x="850" y="246"/>
                      <a:pt x="850" y="246"/>
                      <a:pt x="850" y="246"/>
                    </a:cubicBezTo>
                    <a:cubicBezTo>
                      <a:pt x="848" y="246"/>
                      <a:pt x="848" y="246"/>
                      <a:pt x="848" y="246"/>
                    </a:cubicBezTo>
                    <a:cubicBezTo>
                      <a:pt x="846" y="248"/>
                      <a:pt x="846" y="248"/>
                      <a:pt x="846" y="248"/>
                    </a:cubicBezTo>
                    <a:cubicBezTo>
                      <a:pt x="845" y="251"/>
                      <a:pt x="845" y="251"/>
                      <a:pt x="845" y="251"/>
                    </a:cubicBezTo>
                    <a:cubicBezTo>
                      <a:pt x="842" y="253"/>
                      <a:pt x="842" y="253"/>
                      <a:pt x="842" y="253"/>
                    </a:cubicBezTo>
                    <a:cubicBezTo>
                      <a:pt x="843" y="255"/>
                      <a:pt x="843" y="255"/>
                      <a:pt x="843" y="255"/>
                    </a:cubicBezTo>
                    <a:cubicBezTo>
                      <a:pt x="845" y="254"/>
                      <a:pt x="845" y="254"/>
                      <a:pt x="845" y="254"/>
                    </a:cubicBezTo>
                    <a:cubicBezTo>
                      <a:pt x="847" y="252"/>
                      <a:pt x="847" y="252"/>
                      <a:pt x="847" y="252"/>
                    </a:cubicBezTo>
                    <a:cubicBezTo>
                      <a:pt x="848" y="253"/>
                      <a:pt x="848" y="253"/>
                      <a:pt x="848" y="253"/>
                    </a:cubicBezTo>
                    <a:cubicBezTo>
                      <a:pt x="849" y="256"/>
                      <a:pt x="849" y="256"/>
                      <a:pt x="849" y="256"/>
                    </a:cubicBezTo>
                    <a:close/>
                    <a:moveTo>
                      <a:pt x="851" y="275"/>
                    </a:moveTo>
                    <a:cubicBezTo>
                      <a:pt x="854" y="274"/>
                      <a:pt x="854" y="274"/>
                      <a:pt x="854" y="274"/>
                    </a:cubicBezTo>
                    <a:cubicBezTo>
                      <a:pt x="856" y="276"/>
                      <a:pt x="856" y="276"/>
                      <a:pt x="856" y="276"/>
                    </a:cubicBezTo>
                    <a:cubicBezTo>
                      <a:pt x="859" y="276"/>
                      <a:pt x="859" y="276"/>
                      <a:pt x="859" y="276"/>
                    </a:cubicBezTo>
                    <a:cubicBezTo>
                      <a:pt x="862" y="275"/>
                      <a:pt x="862" y="275"/>
                      <a:pt x="862" y="275"/>
                    </a:cubicBezTo>
                    <a:cubicBezTo>
                      <a:pt x="866" y="276"/>
                      <a:pt x="866" y="276"/>
                      <a:pt x="866" y="276"/>
                    </a:cubicBezTo>
                    <a:cubicBezTo>
                      <a:pt x="869" y="275"/>
                      <a:pt x="869" y="275"/>
                      <a:pt x="869" y="275"/>
                    </a:cubicBezTo>
                    <a:cubicBezTo>
                      <a:pt x="870" y="272"/>
                      <a:pt x="870" y="272"/>
                      <a:pt x="870" y="272"/>
                    </a:cubicBezTo>
                    <a:cubicBezTo>
                      <a:pt x="870" y="271"/>
                      <a:pt x="870" y="271"/>
                      <a:pt x="870" y="271"/>
                    </a:cubicBezTo>
                    <a:cubicBezTo>
                      <a:pt x="869" y="271"/>
                      <a:pt x="869" y="271"/>
                      <a:pt x="869" y="271"/>
                    </a:cubicBezTo>
                    <a:cubicBezTo>
                      <a:pt x="870" y="269"/>
                      <a:pt x="870" y="269"/>
                      <a:pt x="870" y="269"/>
                    </a:cubicBezTo>
                    <a:cubicBezTo>
                      <a:pt x="869" y="266"/>
                      <a:pt x="869" y="266"/>
                      <a:pt x="869" y="266"/>
                    </a:cubicBezTo>
                    <a:cubicBezTo>
                      <a:pt x="865" y="266"/>
                      <a:pt x="865" y="266"/>
                      <a:pt x="865" y="266"/>
                    </a:cubicBezTo>
                    <a:cubicBezTo>
                      <a:pt x="863" y="268"/>
                      <a:pt x="863" y="268"/>
                      <a:pt x="863" y="268"/>
                    </a:cubicBezTo>
                    <a:cubicBezTo>
                      <a:pt x="864" y="270"/>
                      <a:pt x="864" y="270"/>
                      <a:pt x="864" y="270"/>
                    </a:cubicBezTo>
                    <a:cubicBezTo>
                      <a:pt x="863" y="270"/>
                      <a:pt x="863" y="270"/>
                      <a:pt x="863" y="270"/>
                    </a:cubicBezTo>
                    <a:cubicBezTo>
                      <a:pt x="861" y="270"/>
                      <a:pt x="861" y="270"/>
                      <a:pt x="861" y="270"/>
                    </a:cubicBezTo>
                    <a:cubicBezTo>
                      <a:pt x="859" y="268"/>
                      <a:pt x="859" y="268"/>
                      <a:pt x="859" y="268"/>
                    </a:cubicBezTo>
                    <a:cubicBezTo>
                      <a:pt x="858" y="268"/>
                      <a:pt x="858" y="268"/>
                      <a:pt x="858" y="268"/>
                    </a:cubicBezTo>
                    <a:cubicBezTo>
                      <a:pt x="856" y="270"/>
                      <a:pt x="856" y="270"/>
                      <a:pt x="856" y="270"/>
                    </a:cubicBezTo>
                    <a:cubicBezTo>
                      <a:pt x="854" y="271"/>
                      <a:pt x="854" y="271"/>
                      <a:pt x="854" y="271"/>
                    </a:cubicBezTo>
                    <a:cubicBezTo>
                      <a:pt x="852" y="271"/>
                      <a:pt x="852" y="271"/>
                      <a:pt x="852" y="271"/>
                    </a:cubicBezTo>
                    <a:cubicBezTo>
                      <a:pt x="850" y="273"/>
                      <a:pt x="850" y="273"/>
                      <a:pt x="850" y="273"/>
                    </a:cubicBezTo>
                    <a:cubicBezTo>
                      <a:pt x="851" y="275"/>
                      <a:pt x="851" y="275"/>
                      <a:pt x="851" y="275"/>
                    </a:cubicBezTo>
                    <a:close/>
                    <a:moveTo>
                      <a:pt x="506" y="165"/>
                    </a:moveTo>
                    <a:cubicBezTo>
                      <a:pt x="510" y="166"/>
                      <a:pt x="510" y="166"/>
                      <a:pt x="510" y="166"/>
                    </a:cubicBezTo>
                    <a:cubicBezTo>
                      <a:pt x="512" y="168"/>
                      <a:pt x="512" y="168"/>
                      <a:pt x="512" y="168"/>
                    </a:cubicBezTo>
                    <a:cubicBezTo>
                      <a:pt x="514" y="168"/>
                      <a:pt x="514" y="168"/>
                      <a:pt x="514" y="168"/>
                    </a:cubicBezTo>
                    <a:cubicBezTo>
                      <a:pt x="520" y="166"/>
                      <a:pt x="520" y="166"/>
                      <a:pt x="520" y="166"/>
                    </a:cubicBezTo>
                    <a:cubicBezTo>
                      <a:pt x="520" y="164"/>
                      <a:pt x="520" y="164"/>
                      <a:pt x="520" y="164"/>
                    </a:cubicBezTo>
                    <a:cubicBezTo>
                      <a:pt x="518" y="163"/>
                      <a:pt x="518" y="163"/>
                      <a:pt x="518" y="163"/>
                    </a:cubicBezTo>
                    <a:cubicBezTo>
                      <a:pt x="513" y="164"/>
                      <a:pt x="513" y="164"/>
                      <a:pt x="513" y="164"/>
                    </a:cubicBezTo>
                    <a:cubicBezTo>
                      <a:pt x="510" y="163"/>
                      <a:pt x="510" y="163"/>
                      <a:pt x="510" y="163"/>
                    </a:cubicBezTo>
                    <a:cubicBezTo>
                      <a:pt x="508" y="162"/>
                      <a:pt x="508" y="162"/>
                      <a:pt x="508" y="162"/>
                    </a:cubicBezTo>
                    <a:cubicBezTo>
                      <a:pt x="506" y="162"/>
                      <a:pt x="506" y="162"/>
                      <a:pt x="506" y="162"/>
                    </a:cubicBezTo>
                    <a:cubicBezTo>
                      <a:pt x="505" y="164"/>
                      <a:pt x="505" y="164"/>
                      <a:pt x="505" y="164"/>
                    </a:cubicBezTo>
                    <a:cubicBezTo>
                      <a:pt x="506" y="165"/>
                      <a:pt x="506" y="165"/>
                      <a:pt x="506" y="165"/>
                    </a:cubicBezTo>
                    <a:close/>
                    <a:moveTo>
                      <a:pt x="497" y="86"/>
                    </a:moveTo>
                    <a:cubicBezTo>
                      <a:pt x="495" y="85"/>
                      <a:pt x="495" y="85"/>
                      <a:pt x="495" y="85"/>
                    </a:cubicBezTo>
                    <a:cubicBezTo>
                      <a:pt x="495" y="82"/>
                      <a:pt x="495" y="82"/>
                      <a:pt x="495" y="82"/>
                    </a:cubicBezTo>
                    <a:cubicBezTo>
                      <a:pt x="500" y="78"/>
                      <a:pt x="500" y="78"/>
                      <a:pt x="500" y="78"/>
                    </a:cubicBezTo>
                    <a:cubicBezTo>
                      <a:pt x="507" y="78"/>
                      <a:pt x="507" y="78"/>
                      <a:pt x="507" y="78"/>
                    </a:cubicBezTo>
                    <a:cubicBezTo>
                      <a:pt x="512" y="79"/>
                      <a:pt x="512" y="79"/>
                      <a:pt x="512" y="79"/>
                    </a:cubicBezTo>
                    <a:cubicBezTo>
                      <a:pt x="514" y="83"/>
                      <a:pt x="514" y="83"/>
                      <a:pt x="514" y="83"/>
                    </a:cubicBezTo>
                    <a:cubicBezTo>
                      <a:pt x="511" y="86"/>
                      <a:pt x="511" y="86"/>
                      <a:pt x="511" y="86"/>
                    </a:cubicBezTo>
                    <a:cubicBezTo>
                      <a:pt x="507" y="87"/>
                      <a:pt x="507" y="87"/>
                      <a:pt x="507" y="87"/>
                    </a:cubicBezTo>
                    <a:cubicBezTo>
                      <a:pt x="499" y="87"/>
                      <a:pt x="499" y="87"/>
                      <a:pt x="499" y="87"/>
                    </a:cubicBezTo>
                    <a:cubicBezTo>
                      <a:pt x="497" y="86"/>
                      <a:pt x="497" y="86"/>
                      <a:pt x="497" y="86"/>
                    </a:cubicBezTo>
                    <a:close/>
                    <a:moveTo>
                      <a:pt x="616" y="27"/>
                    </a:moveTo>
                    <a:cubicBezTo>
                      <a:pt x="620" y="23"/>
                      <a:pt x="620" y="23"/>
                      <a:pt x="620" y="23"/>
                    </a:cubicBezTo>
                    <a:cubicBezTo>
                      <a:pt x="622" y="20"/>
                      <a:pt x="622" y="20"/>
                      <a:pt x="622" y="20"/>
                    </a:cubicBezTo>
                    <a:cubicBezTo>
                      <a:pt x="628" y="20"/>
                      <a:pt x="628" y="20"/>
                      <a:pt x="628" y="20"/>
                    </a:cubicBezTo>
                    <a:cubicBezTo>
                      <a:pt x="632" y="21"/>
                      <a:pt x="632" y="21"/>
                      <a:pt x="632" y="21"/>
                    </a:cubicBezTo>
                    <a:cubicBezTo>
                      <a:pt x="631" y="23"/>
                      <a:pt x="631" y="23"/>
                      <a:pt x="631" y="23"/>
                    </a:cubicBezTo>
                    <a:cubicBezTo>
                      <a:pt x="630" y="26"/>
                      <a:pt x="630" y="26"/>
                      <a:pt x="630" y="26"/>
                    </a:cubicBezTo>
                    <a:cubicBezTo>
                      <a:pt x="627" y="29"/>
                      <a:pt x="627" y="29"/>
                      <a:pt x="627" y="29"/>
                    </a:cubicBezTo>
                    <a:cubicBezTo>
                      <a:pt x="622" y="30"/>
                      <a:pt x="622" y="30"/>
                      <a:pt x="622" y="30"/>
                    </a:cubicBezTo>
                    <a:cubicBezTo>
                      <a:pt x="618" y="29"/>
                      <a:pt x="618" y="29"/>
                      <a:pt x="618" y="29"/>
                    </a:cubicBezTo>
                    <a:cubicBezTo>
                      <a:pt x="616" y="27"/>
                      <a:pt x="616" y="27"/>
                      <a:pt x="616" y="27"/>
                    </a:cubicBezTo>
                    <a:close/>
                    <a:moveTo>
                      <a:pt x="702" y="79"/>
                    </a:moveTo>
                    <a:cubicBezTo>
                      <a:pt x="709" y="75"/>
                      <a:pt x="709" y="75"/>
                      <a:pt x="709" y="75"/>
                    </a:cubicBezTo>
                    <a:cubicBezTo>
                      <a:pt x="711" y="72"/>
                      <a:pt x="711" y="72"/>
                      <a:pt x="711" y="72"/>
                    </a:cubicBezTo>
                    <a:cubicBezTo>
                      <a:pt x="712" y="68"/>
                      <a:pt x="712" y="68"/>
                      <a:pt x="712" y="68"/>
                    </a:cubicBezTo>
                    <a:cubicBezTo>
                      <a:pt x="716" y="64"/>
                      <a:pt x="716" y="64"/>
                      <a:pt x="716" y="64"/>
                    </a:cubicBezTo>
                    <a:cubicBezTo>
                      <a:pt x="724" y="59"/>
                      <a:pt x="724" y="59"/>
                      <a:pt x="724" y="59"/>
                    </a:cubicBezTo>
                    <a:cubicBezTo>
                      <a:pt x="729" y="56"/>
                      <a:pt x="729" y="56"/>
                      <a:pt x="729" y="56"/>
                    </a:cubicBezTo>
                    <a:cubicBezTo>
                      <a:pt x="731" y="52"/>
                      <a:pt x="731" y="52"/>
                      <a:pt x="731" y="52"/>
                    </a:cubicBezTo>
                    <a:cubicBezTo>
                      <a:pt x="730" y="49"/>
                      <a:pt x="730" y="49"/>
                      <a:pt x="730" y="49"/>
                    </a:cubicBezTo>
                    <a:cubicBezTo>
                      <a:pt x="724" y="45"/>
                      <a:pt x="724" y="45"/>
                      <a:pt x="724" y="45"/>
                    </a:cubicBezTo>
                    <a:cubicBezTo>
                      <a:pt x="718" y="40"/>
                      <a:pt x="718" y="40"/>
                      <a:pt x="718" y="40"/>
                    </a:cubicBezTo>
                    <a:cubicBezTo>
                      <a:pt x="715" y="34"/>
                      <a:pt x="715" y="34"/>
                      <a:pt x="715" y="34"/>
                    </a:cubicBezTo>
                    <a:cubicBezTo>
                      <a:pt x="715" y="30"/>
                      <a:pt x="715" y="30"/>
                      <a:pt x="715" y="30"/>
                    </a:cubicBezTo>
                    <a:cubicBezTo>
                      <a:pt x="717" y="26"/>
                      <a:pt x="717" y="26"/>
                      <a:pt x="717" y="26"/>
                    </a:cubicBezTo>
                    <a:cubicBezTo>
                      <a:pt x="717" y="23"/>
                      <a:pt x="717" y="23"/>
                      <a:pt x="717" y="23"/>
                    </a:cubicBezTo>
                    <a:cubicBezTo>
                      <a:pt x="715" y="22"/>
                      <a:pt x="715" y="22"/>
                      <a:pt x="715" y="22"/>
                    </a:cubicBezTo>
                    <a:cubicBezTo>
                      <a:pt x="706" y="22"/>
                      <a:pt x="706" y="22"/>
                      <a:pt x="706" y="22"/>
                    </a:cubicBezTo>
                    <a:cubicBezTo>
                      <a:pt x="699" y="20"/>
                      <a:pt x="699" y="20"/>
                      <a:pt x="699" y="20"/>
                    </a:cubicBezTo>
                    <a:cubicBezTo>
                      <a:pt x="694" y="16"/>
                      <a:pt x="694" y="16"/>
                      <a:pt x="694" y="16"/>
                    </a:cubicBezTo>
                    <a:cubicBezTo>
                      <a:pt x="686" y="7"/>
                      <a:pt x="686" y="7"/>
                      <a:pt x="686" y="7"/>
                    </a:cubicBezTo>
                    <a:cubicBezTo>
                      <a:pt x="680" y="3"/>
                      <a:pt x="680" y="3"/>
                      <a:pt x="680" y="3"/>
                    </a:cubicBezTo>
                    <a:cubicBezTo>
                      <a:pt x="674" y="0"/>
                      <a:pt x="674" y="0"/>
                      <a:pt x="674" y="0"/>
                    </a:cubicBezTo>
                    <a:cubicBezTo>
                      <a:pt x="671" y="0"/>
                      <a:pt x="671" y="0"/>
                      <a:pt x="671" y="0"/>
                    </a:cubicBezTo>
                    <a:cubicBezTo>
                      <a:pt x="670" y="1"/>
                      <a:pt x="670" y="1"/>
                      <a:pt x="670" y="1"/>
                    </a:cubicBezTo>
                    <a:cubicBezTo>
                      <a:pt x="669" y="4"/>
                      <a:pt x="669" y="4"/>
                      <a:pt x="669" y="4"/>
                    </a:cubicBezTo>
                    <a:cubicBezTo>
                      <a:pt x="670" y="7"/>
                      <a:pt x="670" y="7"/>
                      <a:pt x="670" y="7"/>
                    </a:cubicBezTo>
                    <a:cubicBezTo>
                      <a:pt x="670" y="12"/>
                      <a:pt x="670" y="12"/>
                      <a:pt x="670" y="12"/>
                    </a:cubicBezTo>
                    <a:cubicBezTo>
                      <a:pt x="666" y="17"/>
                      <a:pt x="666" y="17"/>
                      <a:pt x="666" y="17"/>
                    </a:cubicBezTo>
                    <a:cubicBezTo>
                      <a:pt x="663" y="22"/>
                      <a:pt x="663" y="22"/>
                      <a:pt x="663" y="22"/>
                    </a:cubicBezTo>
                    <a:cubicBezTo>
                      <a:pt x="659" y="27"/>
                      <a:pt x="659" y="27"/>
                      <a:pt x="659" y="27"/>
                    </a:cubicBezTo>
                    <a:cubicBezTo>
                      <a:pt x="658" y="31"/>
                      <a:pt x="658" y="31"/>
                      <a:pt x="658" y="31"/>
                    </a:cubicBezTo>
                    <a:cubicBezTo>
                      <a:pt x="659" y="45"/>
                      <a:pt x="659" y="45"/>
                      <a:pt x="659" y="45"/>
                    </a:cubicBezTo>
                    <a:cubicBezTo>
                      <a:pt x="662" y="49"/>
                      <a:pt x="662" y="49"/>
                      <a:pt x="662" y="49"/>
                    </a:cubicBezTo>
                    <a:cubicBezTo>
                      <a:pt x="665" y="51"/>
                      <a:pt x="665" y="51"/>
                      <a:pt x="665" y="51"/>
                    </a:cubicBezTo>
                    <a:cubicBezTo>
                      <a:pt x="666" y="55"/>
                      <a:pt x="666" y="55"/>
                      <a:pt x="666" y="55"/>
                    </a:cubicBezTo>
                    <a:cubicBezTo>
                      <a:pt x="664" y="65"/>
                      <a:pt x="664" y="65"/>
                      <a:pt x="664" y="65"/>
                    </a:cubicBezTo>
                    <a:cubicBezTo>
                      <a:pt x="662" y="69"/>
                      <a:pt x="662" y="69"/>
                      <a:pt x="662" y="69"/>
                    </a:cubicBezTo>
                    <a:cubicBezTo>
                      <a:pt x="661" y="72"/>
                      <a:pt x="661" y="72"/>
                      <a:pt x="661" y="72"/>
                    </a:cubicBezTo>
                    <a:cubicBezTo>
                      <a:pt x="662" y="75"/>
                      <a:pt x="662" y="75"/>
                      <a:pt x="662" y="75"/>
                    </a:cubicBezTo>
                    <a:cubicBezTo>
                      <a:pt x="664" y="74"/>
                      <a:pt x="664" y="74"/>
                      <a:pt x="664" y="74"/>
                    </a:cubicBezTo>
                    <a:cubicBezTo>
                      <a:pt x="667" y="70"/>
                      <a:pt x="667" y="70"/>
                      <a:pt x="667" y="70"/>
                    </a:cubicBezTo>
                    <a:cubicBezTo>
                      <a:pt x="672" y="69"/>
                      <a:pt x="672" y="69"/>
                      <a:pt x="672" y="69"/>
                    </a:cubicBezTo>
                    <a:cubicBezTo>
                      <a:pt x="673" y="70"/>
                      <a:pt x="673" y="70"/>
                      <a:pt x="673" y="70"/>
                    </a:cubicBezTo>
                    <a:cubicBezTo>
                      <a:pt x="674" y="73"/>
                      <a:pt x="674" y="73"/>
                      <a:pt x="674" y="73"/>
                    </a:cubicBezTo>
                    <a:cubicBezTo>
                      <a:pt x="680" y="77"/>
                      <a:pt x="680" y="77"/>
                      <a:pt x="680" y="77"/>
                    </a:cubicBezTo>
                    <a:cubicBezTo>
                      <a:pt x="683" y="77"/>
                      <a:pt x="683" y="77"/>
                      <a:pt x="683" y="77"/>
                    </a:cubicBezTo>
                    <a:cubicBezTo>
                      <a:pt x="685" y="75"/>
                      <a:pt x="685" y="75"/>
                      <a:pt x="685" y="75"/>
                    </a:cubicBezTo>
                    <a:cubicBezTo>
                      <a:pt x="688" y="76"/>
                      <a:pt x="688" y="76"/>
                      <a:pt x="688" y="76"/>
                    </a:cubicBezTo>
                    <a:cubicBezTo>
                      <a:pt x="693" y="79"/>
                      <a:pt x="693" y="79"/>
                      <a:pt x="693" y="79"/>
                    </a:cubicBezTo>
                    <a:cubicBezTo>
                      <a:pt x="698" y="80"/>
                      <a:pt x="698" y="80"/>
                      <a:pt x="698" y="80"/>
                    </a:cubicBezTo>
                    <a:cubicBezTo>
                      <a:pt x="702" y="79"/>
                      <a:pt x="702" y="79"/>
                      <a:pt x="702" y="79"/>
                    </a:cubicBezTo>
                    <a:close/>
                    <a:moveTo>
                      <a:pt x="684" y="105"/>
                    </a:moveTo>
                    <a:cubicBezTo>
                      <a:pt x="685" y="106"/>
                      <a:pt x="685" y="106"/>
                      <a:pt x="685" y="106"/>
                    </a:cubicBezTo>
                    <a:cubicBezTo>
                      <a:pt x="688" y="108"/>
                      <a:pt x="688" y="108"/>
                      <a:pt x="688" y="108"/>
                    </a:cubicBezTo>
                    <a:cubicBezTo>
                      <a:pt x="692" y="109"/>
                      <a:pt x="692" y="109"/>
                      <a:pt x="692" y="109"/>
                    </a:cubicBezTo>
                    <a:cubicBezTo>
                      <a:pt x="696" y="106"/>
                      <a:pt x="696" y="106"/>
                      <a:pt x="696" y="106"/>
                    </a:cubicBezTo>
                    <a:cubicBezTo>
                      <a:pt x="700" y="102"/>
                      <a:pt x="700" y="102"/>
                      <a:pt x="700" y="102"/>
                    </a:cubicBezTo>
                    <a:cubicBezTo>
                      <a:pt x="703" y="101"/>
                      <a:pt x="703" y="101"/>
                      <a:pt x="703" y="101"/>
                    </a:cubicBezTo>
                    <a:cubicBezTo>
                      <a:pt x="705" y="96"/>
                      <a:pt x="705" y="96"/>
                      <a:pt x="705" y="96"/>
                    </a:cubicBezTo>
                    <a:cubicBezTo>
                      <a:pt x="707" y="90"/>
                      <a:pt x="707" y="90"/>
                      <a:pt x="707" y="90"/>
                    </a:cubicBezTo>
                    <a:cubicBezTo>
                      <a:pt x="706" y="88"/>
                      <a:pt x="706" y="88"/>
                      <a:pt x="706" y="88"/>
                    </a:cubicBezTo>
                    <a:cubicBezTo>
                      <a:pt x="698" y="84"/>
                      <a:pt x="698" y="84"/>
                      <a:pt x="698" y="84"/>
                    </a:cubicBezTo>
                    <a:cubicBezTo>
                      <a:pt x="691" y="83"/>
                      <a:pt x="691" y="83"/>
                      <a:pt x="691" y="83"/>
                    </a:cubicBezTo>
                    <a:cubicBezTo>
                      <a:pt x="685" y="84"/>
                      <a:pt x="685" y="84"/>
                      <a:pt x="685" y="84"/>
                    </a:cubicBezTo>
                    <a:cubicBezTo>
                      <a:pt x="682" y="85"/>
                      <a:pt x="682" y="85"/>
                      <a:pt x="682" y="85"/>
                    </a:cubicBezTo>
                    <a:cubicBezTo>
                      <a:pt x="678" y="84"/>
                      <a:pt x="678" y="84"/>
                      <a:pt x="678" y="84"/>
                    </a:cubicBezTo>
                    <a:cubicBezTo>
                      <a:pt x="676" y="84"/>
                      <a:pt x="676" y="84"/>
                      <a:pt x="676" y="84"/>
                    </a:cubicBezTo>
                    <a:cubicBezTo>
                      <a:pt x="673" y="87"/>
                      <a:pt x="673" y="87"/>
                      <a:pt x="673" y="87"/>
                    </a:cubicBezTo>
                    <a:cubicBezTo>
                      <a:pt x="668" y="87"/>
                      <a:pt x="668" y="87"/>
                      <a:pt x="668" y="87"/>
                    </a:cubicBezTo>
                    <a:cubicBezTo>
                      <a:pt x="667" y="88"/>
                      <a:pt x="667" y="88"/>
                      <a:pt x="667" y="88"/>
                    </a:cubicBezTo>
                    <a:cubicBezTo>
                      <a:pt x="668" y="90"/>
                      <a:pt x="668" y="90"/>
                      <a:pt x="668" y="90"/>
                    </a:cubicBezTo>
                    <a:cubicBezTo>
                      <a:pt x="673" y="91"/>
                      <a:pt x="673" y="91"/>
                      <a:pt x="673" y="91"/>
                    </a:cubicBezTo>
                    <a:cubicBezTo>
                      <a:pt x="675" y="94"/>
                      <a:pt x="675" y="94"/>
                      <a:pt x="675" y="94"/>
                    </a:cubicBezTo>
                    <a:cubicBezTo>
                      <a:pt x="679" y="96"/>
                      <a:pt x="679" y="96"/>
                      <a:pt x="679" y="96"/>
                    </a:cubicBezTo>
                    <a:cubicBezTo>
                      <a:pt x="681" y="100"/>
                      <a:pt x="681" y="100"/>
                      <a:pt x="681" y="100"/>
                    </a:cubicBezTo>
                    <a:cubicBezTo>
                      <a:pt x="686" y="101"/>
                      <a:pt x="686" y="101"/>
                      <a:pt x="686" y="101"/>
                    </a:cubicBezTo>
                    <a:cubicBezTo>
                      <a:pt x="693" y="101"/>
                      <a:pt x="693" y="101"/>
                      <a:pt x="693" y="101"/>
                    </a:cubicBezTo>
                    <a:cubicBezTo>
                      <a:pt x="696" y="102"/>
                      <a:pt x="696" y="102"/>
                      <a:pt x="696" y="102"/>
                    </a:cubicBezTo>
                    <a:cubicBezTo>
                      <a:pt x="694" y="103"/>
                      <a:pt x="694" y="103"/>
                      <a:pt x="694" y="103"/>
                    </a:cubicBezTo>
                    <a:cubicBezTo>
                      <a:pt x="689" y="105"/>
                      <a:pt x="689" y="105"/>
                      <a:pt x="689" y="105"/>
                    </a:cubicBezTo>
                    <a:cubicBezTo>
                      <a:pt x="684" y="105"/>
                      <a:pt x="684" y="105"/>
                      <a:pt x="684" y="105"/>
                    </a:cubicBezTo>
                    <a:close/>
                    <a:moveTo>
                      <a:pt x="815" y="116"/>
                    </a:moveTo>
                    <a:cubicBezTo>
                      <a:pt x="815" y="119"/>
                      <a:pt x="815" y="119"/>
                      <a:pt x="815" y="119"/>
                    </a:cubicBezTo>
                    <a:cubicBezTo>
                      <a:pt x="810" y="125"/>
                      <a:pt x="810" y="125"/>
                      <a:pt x="810" y="125"/>
                    </a:cubicBezTo>
                    <a:cubicBezTo>
                      <a:pt x="805" y="126"/>
                      <a:pt x="805" y="126"/>
                      <a:pt x="805" y="126"/>
                    </a:cubicBezTo>
                    <a:cubicBezTo>
                      <a:pt x="800" y="131"/>
                      <a:pt x="800" y="131"/>
                      <a:pt x="800" y="131"/>
                    </a:cubicBezTo>
                    <a:cubicBezTo>
                      <a:pt x="796" y="133"/>
                      <a:pt x="796" y="133"/>
                      <a:pt x="796" y="133"/>
                    </a:cubicBezTo>
                    <a:cubicBezTo>
                      <a:pt x="793" y="134"/>
                      <a:pt x="793" y="134"/>
                      <a:pt x="793" y="134"/>
                    </a:cubicBezTo>
                    <a:cubicBezTo>
                      <a:pt x="789" y="131"/>
                      <a:pt x="789" y="131"/>
                      <a:pt x="789" y="131"/>
                    </a:cubicBezTo>
                    <a:cubicBezTo>
                      <a:pt x="787" y="129"/>
                      <a:pt x="787" y="129"/>
                      <a:pt x="787" y="129"/>
                    </a:cubicBezTo>
                    <a:cubicBezTo>
                      <a:pt x="783" y="129"/>
                      <a:pt x="783" y="129"/>
                      <a:pt x="783" y="129"/>
                    </a:cubicBezTo>
                    <a:cubicBezTo>
                      <a:pt x="780" y="128"/>
                      <a:pt x="780" y="128"/>
                      <a:pt x="780" y="128"/>
                    </a:cubicBezTo>
                    <a:cubicBezTo>
                      <a:pt x="776" y="129"/>
                      <a:pt x="776" y="129"/>
                      <a:pt x="776" y="129"/>
                    </a:cubicBezTo>
                    <a:cubicBezTo>
                      <a:pt x="767" y="128"/>
                      <a:pt x="767" y="128"/>
                      <a:pt x="767" y="128"/>
                    </a:cubicBezTo>
                    <a:cubicBezTo>
                      <a:pt x="762" y="126"/>
                      <a:pt x="762" y="126"/>
                      <a:pt x="762" y="126"/>
                    </a:cubicBezTo>
                    <a:cubicBezTo>
                      <a:pt x="760" y="124"/>
                      <a:pt x="760" y="124"/>
                      <a:pt x="760" y="124"/>
                    </a:cubicBezTo>
                    <a:cubicBezTo>
                      <a:pt x="754" y="126"/>
                      <a:pt x="754" y="126"/>
                      <a:pt x="754" y="126"/>
                    </a:cubicBezTo>
                    <a:cubicBezTo>
                      <a:pt x="750" y="128"/>
                      <a:pt x="750" y="128"/>
                      <a:pt x="750" y="128"/>
                    </a:cubicBezTo>
                    <a:cubicBezTo>
                      <a:pt x="746" y="127"/>
                      <a:pt x="746" y="127"/>
                      <a:pt x="746" y="127"/>
                    </a:cubicBezTo>
                    <a:cubicBezTo>
                      <a:pt x="742" y="124"/>
                      <a:pt x="742" y="124"/>
                      <a:pt x="742" y="124"/>
                    </a:cubicBezTo>
                    <a:cubicBezTo>
                      <a:pt x="738" y="124"/>
                      <a:pt x="738" y="124"/>
                      <a:pt x="738" y="124"/>
                    </a:cubicBezTo>
                    <a:cubicBezTo>
                      <a:pt x="735" y="121"/>
                      <a:pt x="735" y="121"/>
                      <a:pt x="735" y="121"/>
                    </a:cubicBezTo>
                    <a:cubicBezTo>
                      <a:pt x="732" y="114"/>
                      <a:pt x="732" y="114"/>
                      <a:pt x="732" y="114"/>
                    </a:cubicBezTo>
                    <a:cubicBezTo>
                      <a:pt x="730" y="111"/>
                      <a:pt x="730" y="111"/>
                      <a:pt x="730" y="111"/>
                    </a:cubicBezTo>
                    <a:cubicBezTo>
                      <a:pt x="727" y="110"/>
                      <a:pt x="727" y="110"/>
                      <a:pt x="727" y="110"/>
                    </a:cubicBezTo>
                    <a:cubicBezTo>
                      <a:pt x="724" y="112"/>
                      <a:pt x="724" y="112"/>
                      <a:pt x="724" y="112"/>
                    </a:cubicBezTo>
                    <a:cubicBezTo>
                      <a:pt x="720" y="109"/>
                      <a:pt x="720" y="109"/>
                      <a:pt x="720" y="109"/>
                    </a:cubicBezTo>
                    <a:cubicBezTo>
                      <a:pt x="717" y="108"/>
                      <a:pt x="717" y="108"/>
                      <a:pt x="717" y="108"/>
                    </a:cubicBezTo>
                    <a:cubicBezTo>
                      <a:pt x="716" y="110"/>
                      <a:pt x="716" y="110"/>
                      <a:pt x="716" y="110"/>
                    </a:cubicBezTo>
                    <a:cubicBezTo>
                      <a:pt x="717" y="112"/>
                      <a:pt x="717" y="112"/>
                      <a:pt x="717" y="112"/>
                    </a:cubicBezTo>
                    <a:cubicBezTo>
                      <a:pt x="715" y="113"/>
                      <a:pt x="715" y="113"/>
                      <a:pt x="715" y="113"/>
                    </a:cubicBezTo>
                    <a:cubicBezTo>
                      <a:pt x="714" y="112"/>
                      <a:pt x="714" y="112"/>
                      <a:pt x="714" y="112"/>
                    </a:cubicBezTo>
                    <a:cubicBezTo>
                      <a:pt x="710" y="109"/>
                      <a:pt x="710" y="109"/>
                      <a:pt x="710" y="109"/>
                    </a:cubicBezTo>
                    <a:cubicBezTo>
                      <a:pt x="710" y="108"/>
                      <a:pt x="710" y="108"/>
                      <a:pt x="710" y="108"/>
                    </a:cubicBezTo>
                    <a:cubicBezTo>
                      <a:pt x="715" y="105"/>
                      <a:pt x="715" y="105"/>
                      <a:pt x="715" y="105"/>
                    </a:cubicBezTo>
                    <a:cubicBezTo>
                      <a:pt x="715" y="102"/>
                      <a:pt x="715" y="102"/>
                      <a:pt x="715" y="102"/>
                    </a:cubicBezTo>
                    <a:cubicBezTo>
                      <a:pt x="714" y="97"/>
                      <a:pt x="714" y="97"/>
                      <a:pt x="714" y="97"/>
                    </a:cubicBezTo>
                    <a:cubicBezTo>
                      <a:pt x="715" y="93"/>
                      <a:pt x="715" y="93"/>
                      <a:pt x="715" y="93"/>
                    </a:cubicBezTo>
                    <a:cubicBezTo>
                      <a:pt x="719" y="89"/>
                      <a:pt x="719" y="89"/>
                      <a:pt x="719" y="89"/>
                    </a:cubicBezTo>
                    <a:cubicBezTo>
                      <a:pt x="718" y="87"/>
                      <a:pt x="718" y="87"/>
                      <a:pt x="718" y="87"/>
                    </a:cubicBezTo>
                    <a:cubicBezTo>
                      <a:pt x="715" y="87"/>
                      <a:pt x="715" y="87"/>
                      <a:pt x="715" y="87"/>
                    </a:cubicBezTo>
                    <a:cubicBezTo>
                      <a:pt x="712" y="85"/>
                      <a:pt x="712" y="85"/>
                      <a:pt x="712" y="85"/>
                    </a:cubicBezTo>
                    <a:cubicBezTo>
                      <a:pt x="711" y="82"/>
                      <a:pt x="711" y="82"/>
                      <a:pt x="711" y="82"/>
                    </a:cubicBezTo>
                    <a:cubicBezTo>
                      <a:pt x="713" y="76"/>
                      <a:pt x="713" y="76"/>
                      <a:pt x="713" y="76"/>
                    </a:cubicBezTo>
                    <a:cubicBezTo>
                      <a:pt x="717" y="73"/>
                      <a:pt x="717" y="73"/>
                      <a:pt x="717" y="73"/>
                    </a:cubicBezTo>
                    <a:cubicBezTo>
                      <a:pt x="722" y="72"/>
                      <a:pt x="722" y="72"/>
                      <a:pt x="722" y="72"/>
                    </a:cubicBezTo>
                    <a:cubicBezTo>
                      <a:pt x="722" y="69"/>
                      <a:pt x="722" y="69"/>
                      <a:pt x="722" y="69"/>
                    </a:cubicBezTo>
                    <a:cubicBezTo>
                      <a:pt x="724" y="66"/>
                      <a:pt x="724" y="66"/>
                      <a:pt x="724" y="66"/>
                    </a:cubicBezTo>
                    <a:cubicBezTo>
                      <a:pt x="729" y="64"/>
                      <a:pt x="729" y="64"/>
                      <a:pt x="729" y="64"/>
                    </a:cubicBezTo>
                    <a:cubicBezTo>
                      <a:pt x="735" y="60"/>
                      <a:pt x="735" y="60"/>
                      <a:pt x="735" y="60"/>
                    </a:cubicBezTo>
                    <a:cubicBezTo>
                      <a:pt x="736" y="56"/>
                      <a:pt x="736" y="56"/>
                      <a:pt x="736" y="56"/>
                    </a:cubicBezTo>
                    <a:cubicBezTo>
                      <a:pt x="738" y="55"/>
                      <a:pt x="738" y="55"/>
                      <a:pt x="738" y="55"/>
                    </a:cubicBezTo>
                    <a:cubicBezTo>
                      <a:pt x="745" y="56"/>
                      <a:pt x="745" y="56"/>
                      <a:pt x="745" y="56"/>
                    </a:cubicBezTo>
                    <a:cubicBezTo>
                      <a:pt x="750" y="59"/>
                      <a:pt x="750" y="59"/>
                      <a:pt x="750" y="59"/>
                    </a:cubicBezTo>
                    <a:cubicBezTo>
                      <a:pt x="757" y="68"/>
                      <a:pt x="757" y="68"/>
                      <a:pt x="757" y="68"/>
                    </a:cubicBezTo>
                    <a:cubicBezTo>
                      <a:pt x="759" y="71"/>
                      <a:pt x="759" y="71"/>
                      <a:pt x="759" y="71"/>
                    </a:cubicBezTo>
                    <a:cubicBezTo>
                      <a:pt x="756" y="77"/>
                      <a:pt x="756" y="77"/>
                      <a:pt x="756" y="77"/>
                    </a:cubicBezTo>
                    <a:cubicBezTo>
                      <a:pt x="758" y="79"/>
                      <a:pt x="758" y="79"/>
                      <a:pt x="758" y="79"/>
                    </a:cubicBezTo>
                    <a:cubicBezTo>
                      <a:pt x="757" y="82"/>
                      <a:pt x="757" y="82"/>
                      <a:pt x="757" y="82"/>
                    </a:cubicBezTo>
                    <a:cubicBezTo>
                      <a:pt x="755" y="85"/>
                      <a:pt x="755" y="85"/>
                      <a:pt x="755" y="85"/>
                    </a:cubicBezTo>
                    <a:cubicBezTo>
                      <a:pt x="756" y="88"/>
                      <a:pt x="756" y="88"/>
                      <a:pt x="756" y="88"/>
                    </a:cubicBezTo>
                    <a:cubicBezTo>
                      <a:pt x="758" y="86"/>
                      <a:pt x="758" y="86"/>
                      <a:pt x="758" y="86"/>
                    </a:cubicBezTo>
                    <a:cubicBezTo>
                      <a:pt x="760" y="81"/>
                      <a:pt x="760" y="81"/>
                      <a:pt x="760" y="81"/>
                    </a:cubicBezTo>
                    <a:cubicBezTo>
                      <a:pt x="761" y="77"/>
                      <a:pt x="761" y="77"/>
                      <a:pt x="761" y="77"/>
                    </a:cubicBezTo>
                    <a:cubicBezTo>
                      <a:pt x="761" y="74"/>
                      <a:pt x="761" y="74"/>
                      <a:pt x="761" y="74"/>
                    </a:cubicBezTo>
                    <a:cubicBezTo>
                      <a:pt x="763" y="71"/>
                      <a:pt x="763" y="71"/>
                      <a:pt x="763" y="71"/>
                    </a:cubicBezTo>
                    <a:cubicBezTo>
                      <a:pt x="762" y="68"/>
                      <a:pt x="762" y="68"/>
                      <a:pt x="762" y="68"/>
                    </a:cubicBezTo>
                    <a:cubicBezTo>
                      <a:pt x="757" y="63"/>
                      <a:pt x="757" y="63"/>
                      <a:pt x="757" y="63"/>
                    </a:cubicBezTo>
                    <a:cubicBezTo>
                      <a:pt x="757" y="60"/>
                      <a:pt x="757" y="60"/>
                      <a:pt x="757" y="60"/>
                    </a:cubicBezTo>
                    <a:cubicBezTo>
                      <a:pt x="757" y="58"/>
                      <a:pt x="757" y="58"/>
                      <a:pt x="757" y="58"/>
                    </a:cubicBezTo>
                    <a:cubicBezTo>
                      <a:pt x="764" y="57"/>
                      <a:pt x="764" y="57"/>
                      <a:pt x="764" y="57"/>
                    </a:cubicBezTo>
                    <a:cubicBezTo>
                      <a:pt x="771" y="58"/>
                      <a:pt x="771" y="58"/>
                      <a:pt x="771" y="58"/>
                    </a:cubicBezTo>
                    <a:cubicBezTo>
                      <a:pt x="783" y="67"/>
                      <a:pt x="783" y="67"/>
                      <a:pt x="783" y="67"/>
                    </a:cubicBezTo>
                    <a:cubicBezTo>
                      <a:pt x="785" y="68"/>
                      <a:pt x="785" y="68"/>
                      <a:pt x="785" y="68"/>
                    </a:cubicBezTo>
                    <a:cubicBezTo>
                      <a:pt x="787" y="69"/>
                      <a:pt x="787" y="69"/>
                      <a:pt x="787" y="69"/>
                    </a:cubicBezTo>
                    <a:cubicBezTo>
                      <a:pt x="787" y="73"/>
                      <a:pt x="787" y="73"/>
                      <a:pt x="787" y="73"/>
                    </a:cubicBezTo>
                    <a:cubicBezTo>
                      <a:pt x="790" y="75"/>
                      <a:pt x="790" y="75"/>
                      <a:pt x="790" y="75"/>
                    </a:cubicBezTo>
                    <a:cubicBezTo>
                      <a:pt x="791" y="81"/>
                      <a:pt x="791" y="81"/>
                      <a:pt x="791" y="81"/>
                    </a:cubicBezTo>
                    <a:cubicBezTo>
                      <a:pt x="791" y="85"/>
                      <a:pt x="791" y="85"/>
                      <a:pt x="791" y="85"/>
                    </a:cubicBezTo>
                    <a:cubicBezTo>
                      <a:pt x="797" y="91"/>
                      <a:pt x="797" y="91"/>
                      <a:pt x="797" y="91"/>
                    </a:cubicBezTo>
                    <a:cubicBezTo>
                      <a:pt x="801" y="97"/>
                      <a:pt x="801" y="97"/>
                      <a:pt x="801" y="97"/>
                    </a:cubicBezTo>
                    <a:cubicBezTo>
                      <a:pt x="801" y="99"/>
                      <a:pt x="801" y="99"/>
                      <a:pt x="801" y="99"/>
                    </a:cubicBezTo>
                    <a:cubicBezTo>
                      <a:pt x="797" y="99"/>
                      <a:pt x="797" y="99"/>
                      <a:pt x="797" y="99"/>
                    </a:cubicBezTo>
                    <a:cubicBezTo>
                      <a:pt x="795" y="97"/>
                      <a:pt x="795" y="97"/>
                      <a:pt x="795" y="97"/>
                    </a:cubicBezTo>
                    <a:cubicBezTo>
                      <a:pt x="793" y="97"/>
                      <a:pt x="793" y="97"/>
                      <a:pt x="793" y="97"/>
                    </a:cubicBezTo>
                    <a:cubicBezTo>
                      <a:pt x="793" y="102"/>
                      <a:pt x="793" y="102"/>
                      <a:pt x="793" y="102"/>
                    </a:cubicBezTo>
                    <a:cubicBezTo>
                      <a:pt x="797" y="105"/>
                      <a:pt x="797" y="105"/>
                      <a:pt x="797" y="105"/>
                    </a:cubicBezTo>
                    <a:cubicBezTo>
                      <a:pt x="803" y="105"/>
                      <a:pt x="803" y="105"/>
                      <a:pt x="803" y="105"/>
                    </a:cubicBezTo>
                    <a:cubicBezTo>
                      <a:pt x="807" y="110"/>
                      <a:pt x="807" y="110"/>
                      <a:pt x="807" y="110"/>
                    </a:cubicBezTo>
                    <a:cubicBezTo>
                      <a:pt x="810" y="111"/>
                      <a:pt x="810" y="111"/>
                      <a:pt x="810" y="111"/>
                    </a:cubicBezTo>
                    <a:cubicBezTo>
                      <a:pt x="815" y="116"/>
                      <a:pt x="815" y="116"/>
                      <a:pt x="815" y="116"/>
                    </a:cubicBezTo>
                    <a:close/>
                    <a:moveTo>
                      <a:pt x="1518" y="13"/>
                    </a:moveTo>
                    <a:cubicBezTo>
                      <a:pt x="1520" y="5"/>
                      <a:pt x="1520" y="5"/>
                      <a:pt x="1520" y="5"/>
                    </a:cubicBezTo>
                    <a:cubicBezTo>
                      <a:pt x="1525" y="0"/>
                      <a:pt x="1525" y="0"/>
                      <a:pt x="1525" y="0"/>
                    </a:cubicBezTo>
                    <a:cubicBezTo>
                      <a:pt x="1526" y="1"/>
                      <a:pt x="1526" y="1"/>
                      <a:pt x="1526" y="1"/>
                    </a:cubicBezTo>
                    <a:cubicBezTo>
                      <a:pt x="1526" y="5"/>
                      <a:pt x="1526" y="5"/>
                      <a:pt x="1526" y="5"/>
                    </a:cubicBezTo>
                    <a:cubicBezTo>
                      <a:pt x="1528" y="6"/>
                      <a:pt x="1528" y="6"/>
                      <a:pt x="1528" y="6"/>
                    </a:cubicBezTo>
                    <a:cubicBezTo>
                      <a:pt x="1525" y="8"/>
                      <a:pt x="1525" y="8"/>
                      <a:pt x="1525" y="8"/>
                    </a:cubicBezTo>
                    <a:cubicBezTo>
                      <a:pt x="1522" y="11"/>
                      <a:pt x="1522" y="11"/>
                      <a:pt x="1522" y="11"/>
                    </a:cubicBezTo>
                    <a:cubicBezTo>
                      <a:pt x="1518" y="13"/>
                      <a:pt x="1518" y="13"/>
                      <a:pt x="1518" y="13"/>
                    </a:cubicBezTo>
                    <a:close/>
                    <a:moveTo>
                      <a:pt x="1559" y="76"/>
                    </a:moveTo>
                    <a:cubicBezTo>
                      <a:pt x="1561" y="83"/>
                      <a:pt x="1561" y="83"/>
                      <a:pt x="1561" y="83"/>
                    </a:cubicBezTo>
                    <a:cubicBezTo>
                      <a:pt x="1568" y="91"/>
                      <a:pt x="1568" y="91"/>
                      <a:pt x="1568" y="91"/>
                    </a:cubicBezTo>
                    <a:cubicBezTo>
                      <a:pt x="1570" y="95"/>
                      <a:pt x="1570" y="95"/>
                      <a:pt x="1570" y="95"/>
                    </a:cubicBezTo>
                    <a:cubicBezTo>
                      <a:pt x="1583" y="99"/>
                      <a:pt x="1583" y="99"/>
                      <a:pt x="1583" y="99"/>
                    </a:cubicBezTo>
                    <a:cubicBezTo>
                      <a:pt x="1593" y="100"/>
                      <a:pt x="1593" y="100"/>
                      <a:pt x="1593" y="100"/>
                    </a:cubicBezTo>
                    <a:cubicBezTo>
                      <a:pt x="1599" y="103"/>
                      <a:pt x="1599" y="103"/>
                      <a:pt x="1599" y="103"/>
                    </a:cubicBezTo>
                    <a:cubicBezTo>
                      <a:pt x="1606" y="103"/>
                      <a:pt x="1606" y="103"/>
                      <a:pt x="1606" y="103"/>
                    </a:cubicBezTo>
                    <a:cubicBezTo>
                      <a:pt x="1611" y="102"/>
                      <a:pt x="1611" y="102"/>
                      <a:pt x="1611" y="102"/>
                    </a:cubicBezTo>
                    <a:cubicBezTo>
                      <a:pt x="1617" y="104"/>
                      <a:pt x="1617" y="104"/>
                      <a:pt x="1617" y="104"/>
                    </a:cubicBezTo>
                    <a:cubicBezTo>
                      <a:pt x="1620" y="102"/>
                      <a:pt x="1620" y="102"/>
                      <a:pt x="1620" y="102"/>
                    </a:cubicBezTo>
                    <a:cubicBezTo>
                      <a:pt x="1627" y="98"/>
                      <a:pt x="1627" y="98"/>
                      <a:pt x="1627" y="98"/>
                    </a:cubicBezTo>
                    <a:cubicBezTo>
                      <a:pt x="1629" y="93"/>
                      <a:pt x="1629" y="93"/>
                      <a:pt x="1629" y="93"/>
                    </a:cubicBezTo>
                    <a:cubicBezTo>
                      <a:pt x="1632" y="89"/>
                      <a:pt x="1632" y="89"/>
                      <a:pt x="1632" y="89"/>
                    </a:cubicBezTo>
                    <a:cubicBezTo>
                      <a:pt x="1630" y="84"/>
                      <a:pt x="1630" y="84"/>
                      <a:pt x="1630" y="84"/>
                    </a:cubicBezTo>
                    <a:cubicBezTo>
                      <a:pt x="1627" y="82"/>
                      <a:pt x="1627" y="82"/>
                      <a:pt x="1627" y="82"/>
                    </a:cubicBezTo>
                    <a:cubicBezTo>
                      <a:pt x="1624" y="83"/>
                      <a:pt x="1624" y="83"/>
                      <a:pt x="1624" y="83"/>
                    </a:cubicBezTo>
                    <a:cubicBezTo>
                      <a:pt x="1623" y="80"/>
                      <a:pt x="1623" y="80"/>
                      <a:pt x="1623" y="80"/>
                    </a:cubicBezTo>
                    <a:cubicBezTo>
                      <a:pt x="1624" y="78"/>
                      <a:pt x="1624" y="78"/>
                      <a:pt x="1624" y="78"/>
                    </a:cubicBezTo>
                    <a:cubicBezTo>
                      <a:pt x="1622" y="76"/>
                      <a:pt x="1622" y="76"/>
                      <a:pt x="1622" y="76"/>
                    </a:cubicBezTo>
                    <a:cubicBezTo>
                      <a:pt x="1618" y="77"/>
                      <a:pt x="1618" y="77"/>
                      <a:pt x="1618" y="77"/>
                    </a:cubicBezTo>
                    <a:cubicBezTo>
                      <a:pt x="1613" y="76"/>
                      <a:pt x="1613" y="76"/>
                      <a:pt x="1613" y="76"/>
                    </a:cubicBezTo>
                    <a:cubicBezTo>
                      <a:pt x="1603" y="78"/>
                      <a:pt x="1603" y="78"/>
                      <a:pt x="1603" y="78"/>
                    </a:cubicBezTo>
                    <a:cubicBezTo>
                      <a:pt x="1598" y="82"/>
                      <a:pt x="1598" y="82"/>
                      <a:pt x="1598" y="82"/>
                    </a:cubicBezTo>
                    <a:cubicBezTo>
                      <a:pt x="1594" y="83"/>
                      <a:pt x="1594" y="83"/>
                      <a:pt x="1594" y="83"/>
                    </a:cubicBezTo>
                    <a:cubicBezTo>
                      <a:pt x="1592" y="81"/>
                      <a:pt x="1592" y="81"/>
                      <a:pt x="1592" y="81"/>
                    </a:cubicBezTo>
                    <a:cubicBezTo>
                      <a:pt x="1591" y="77"/>
                      <a:pt x="1591" y="77"/>
                      <a:pt x="1591" y="77"/>
                    </a:cubicBezTo>
                    <a:cubicBezTo>
                      <a:pt x="1589" y="78"/>
                      <a:pt x="1589" y="78"/>
                      <a:pt x="1589" y="78"/>
                    </a:cubicBezTo>
                    <a:cubicBezTo>
                      <a:pt x="1584" y="79"/>
                      <a:pt x="1584" y="79"/>
                      <a:pt x="1584" y="79"/>
                    </a:cubicBezTo>
                    <a:cubicBezTo>
                      <a:pt x="1578" y="79"/>
                      <a:pt x="1578" y="79"/>
                      <a:pt x="1578" y="79"/>
                    </a:cubicBezTo>
                    <a:cubicBezTo>
                      <a:pt x="1575" y="77"/>
                      <a:pt x="1575" y="77"/>
                      <a:pt x="1575" y="77"/>
                    </a:cubicBezTo>
                    <a:cubicBezTo>
                      <a:pt x="1575" y="81"/>
                      <a:pt x="1575" y="81"/>
                      <a:pt x="1575" y="81"/>
                    </a:cubicBezTo>
                    <a:cubicBezTo>
                      <a:pt x="1573" y="83"/>
                      <a:pt x="1573" y="83"/>
                      <a:pt x="1573" y="83"/>
                    </a:cubicBezTo>
                    <a:cubicBezTo>
                      <a:pt x="1566" y="82"/>
                      <a:pt x="1566" y="82"/>
                      <a:pt x="1566" y="82"/>
                    </a:cubicBezTo>
                    <a:cubicBezTo>
                      <a:pt x="1563" y="79"/>
                      <a:pt x="1563" y="79"/>
                      <a:pt x="1563" y="79"/>
                    </a:cubicBezTo>
                    <a:cubicBezTo>
                      <a:pt x="1562" y="77"/>
                      <a:pt x="1562" y="77"/>
                      <a:pt x="1562" y="77"/>
                    </a:cubicBezTo>
                    <a:cubicBezTo>
                      <a:pt x="1559" y="76"/>
                      <a:pt x="1559" y="76"/>
                      <a:pt x="1559" y="76"/>
                    </a:cubicBezTo>
                    <a:close/>
                    <a:moveTo>
                      <a:pt x="1411" y="140"/>
                    </a:moveTo>
                    <a:cubicBezTo>
                      <a:pt x="1407" y="131"/>
                      <a:pt x="1407" y="131"/>
                      <a:pt x="1407" y="131"/>
                    </a:cubicBezTo>
                    <a:cubicBezTo>
                      <a:pt x="1406" y="126"/>
                      <a:pt x="1406" y="126"/>
                      <a:pt x="1406" y="126"/>
                    </a:cubicBezTo>
                    <a:cubicBezTo>
                      <a:pt x="1403" y="124"/>
                      <a:pt x="1403" y="124"/>
                      <a:pt x="1403" y="124"/>
                    </a:cubicBezTo>
                    <a:cubicBezTo>
                      <a:pt x="1396" y="123"/>
                      <a:pt x="1396" y="123"/>
                      <a:pt x="1396" y="123"/>
                    </a:cubicBezTo>
                    <a:cubicBezTo>
                      <a:pt x="1393" y="118"/>
                      <a:pt x="1393" y="118"/>
                      <a:pt x="1393" y="118"/>
                    </a:cubicBezTo>
                    <a:cubicBezTo>
                      <a:pt x="1389" y="116"/>
                      <a:pt x="1389" y="116"/>
                      <a:pt x="1389" y="116"/>
                    </a:cubicBezTo>
                    <a:cubicBezTo>
                      <a:pt x="1387" y="115"/>
                      <a:pt x="1387" y="115"/>
                      <a:pt x="1387" y="115"/>
                    </a:cubicBezTo>
                    <a:cubicBezTo>
                      <a:pt x="1388" y="118"/>
                      <a:pt x="1388" y="118"/>
                      <a:pt x="1388" y="118"/>
                    </a:cubicBezTo>
                    <a:cubicBezTo>
                      <a:pt x="1392" y="124"/>
                      <a:pt x="1392" y="124"/>
                      <a:pt x="1392" y="124"/>
                    </a:cubicBezTo>
                    <a:cubicBezTo>
                      <a:pt x="1397" y="129"/>
                      <a:pt x="1397" y="129"/>
                      <a:pt x="1397" y="129"/>
                    </a:cubicBezTo>
                    <a:cubicBezTo>
                      <a:pt x="1402" y="136"/>
                      <a:pt x="1402" y="136"/>
                      <a:pt x="1402" y="136"/>
                    </a:cubicBezTo>
                    <a:cubicBezTo>
                      <a:pt x="1405" y="144"/>
                      <a:pt x="1405" y="144"/>
                      <a:pt x="1405" y="144"/>
                    </a:cubicBezTo>
                    <a:cubicBezTo>
                      <a:pt x="1409" y="145"/>
                      <a:pt x="1409" y="145"/>
                      <a:pt x="1409" y="145"/>
                    </a:cubicBezTo>
                    <a:cubicBezTo>
                      <a:pt x="1411" y="144"/>
                      <a:pt x="1411" y="144"/>
                      <a:pt x="1411" y="144"/>
                    </a:cubicBezTo>
                    <a:cubicBezTo>
                      <a:pt x="1411" y="140"/>
                      <a:pt x="1411" y="140"/>
                      <a:pt x="1411" y="140"/>
                    </a:cubicBezTo>
                    <a:close/>
                    <a:moveTo>
                      <a:pt x="1486" y="148"/>
                    </a:moveTo>
                    <a:cubicBezTo>
                      <a:pt x="1484" y="148"/>
                      <a:pt x="1484" y="148"/>
                      <a:pt x="1484" y="148"/>
                    </a:cubicBezTo>
                    <a:cubicBezTo>
                      <a:pt x="1481" y="146"/>
                      <a:pt x="1481" y="146"/>
                      <a:pt x="1481" y="146"/>
                    </a:cubicBezTo>
                    <a:cubicBezTo>
                      <a:pt x="1481" y="144"/>
                      <a:pt x="1481" y="144"/>
                      <a:pt x="1481" y="144"/>
                    </a:cubicBezTo>
                    <a:cubicBezTo>
                      <a:pt x="1482" y="142"/>
                      <a:pt x="1482" y="142"/>
                      <a:pt x="1482" y="142"/>
                    </a:cubicBezTo>
                    <a:cubicBezTo>
                      <a:pt x="1484" y="143"/>
                      <a:pt x="1484" y="143"/>
                      <a:pt x="1484" y="143"/>
                    </a:cubicBezTo>
                    <a:cubicBezTo>
                      <a:pt x="1486" y="145"/>
                      <a:pt x="1486" y="145"/>
                      <a:pt x="1486" y="145"/>
                    </a:cubicBezTo>
                    <a:cubicBezTo>
                      <a:pt x="1489" y="147"/>
                      <a:pt x="1489" y="147"/>
                      <a:pt x="1489" y="147"/>
                    </a:cubicBezTo>
                    <a:cubicBezTo>
                      <a:pt x="1491" y="149"/>
                      <a:pt x="1491" y="149"/>
                      <a:pt x="1491" y="149"/>
                    </a:cubicBezTo>
                    <a:cubicBezTo>
                      <a:pt x="1491" y="151"/>
                      <a:pt x="1491" y="151"/>
                      <a:pt x="1491" y="151"/>
                    </a:cubicBezTo>
                    <a:cubicBezTo>
                      <a:pt x="1494" y="151"/>
                      <a:pt x="1494" y="151"/>
                      <a:pt x="1494" y="151"/>
                    </a:cubicBezTo>
                    <a:cubicBezTo>
                      <a:pt x="1497" y="146"/>
                      <a:pt x="1497" y="146"/>
                      <a:pt x="1497" y="146"/>
                    </a:cubicBezTo>
                    <a:cubicBezTo>
                      <a:pt x="1501" y="139"/>
                      <a:pt x="1501" y="139"/>
                      <a:pt x="1501" y="139"/>
                    </a:cubicBezTo>
                    <a:cubicBezTo>
                      <a:pt x="1507" y="132"/>
                      <a:pt x="1507" y="132"/>
                      <a:pt x="1507" y="132"/>
                    </a:cubicBezTo>
                    <a:cubicBezTo>
                      <a:pt x="1511" y="132"/>
                      <a:pt x="1511" y="132"/>
                      <a:pt x="1511" y="132"/>
                    </a:cubicBezTo>
                    <a:cubicBezTo>
                      <a:pt x="1515" y="129"/>
                      <a:pt x="1515" y="129"/>
                      <a:pt x="1515" y="129"/>
                    </a:cubicBezTo>
                    <a:cubicBezTo>
                      <a:pt x="1517" y="130"/>
                      <a:pt x="1517" y="130"/>
                      <a:pt x="1517" y="130"/>
                    </a:cubicBezTo>
                    <a:cubicBezTo>
                      <a:pt x="1515" y="133"/>
                      <a:pt x="1515" y="133"/>
                      <a:pt x="1515" y="133"/>
                    </a:cubicBezTo>
                    <a:cubicBezTo>
                      <a:pt x="1519" y="133"/>
                      <a:pt x="1519" y="133"/>
                      <a:pt x="1519" y="133"/>
                    </a:cubicBezTo>
                    <a:cubicBezTo>
                      <a:pt x="1522" y="135"/>
                      <a:pt x="1522" y="135"/>
                      <a:pt x="1522" y="135"/>
                    </a:cubicBezTo>
                    <a:cubicBezTo>
                      <a:pt x="1525" y="133"/>
                      <a:pt x="1525" y="133"/>
                      <a:pt x="1525" y="133"/>
                    </a:cubicBezTo>
                    <a:cubicBezTo>
                      <a:pt x="1525" y="130"/>
                      <a:pt x="1525" y="130"/>
                      <a:pt x="1525" y="130"/>
                    </a:cubicBezTo>
                    <a:cubicBezTo>
                      <a:pt x="1531" y="127"/>
                      <a:pt x="1531" y="127"/>
                      <a:pt x="1531" y="127"/>
                    </a:cubicBezTo>
                    <a:cubicBezTo>
                      <a:pt x="1534" y="124"/>
                      <a:pt x="1534" y="124"/>
                      <a:pt x="1534" y="124"/>
                    </a:cubicBezTo>
                    <a:cubicBezTo>
                      <a:pt x="1532" y="122"/>
                      <a:pt x="1532" y="122"/>
                      <a:pt x="1532" y="122"/>
                    </a:cubicBezTo>
                    <a:cubicBezTo>
                      <a:pt x="1527" y="123"/>
                      <a:pt x="1527" y="123"/>
                      <a:pt x="1527" y="123"/>
                    </a:cubicBezTo>
                    <a:cubicBezTo>
                      <a:pt x="1521" y="125"/>
                      <a:pt x="1521" y="125"/>
                      <a:pt x="1521" y="125"/>
                    </a:cubicBezTo>
                    <a:cubicBezTo>
                      <a:pt x="1516" y="122"/>
                      <a:pt x="1516" y="122"/>
                      <a:pt x="1516" y="122"/>
                    </a:cubicBezTo>
                    <a:cubicBezTo>
                      <a:pt x="1510" y="120"/>
                      <a:pt x="1510" y="120"/>
                      <a:pt x="1510" y="120"/>
                    </a:cubicBezTo>
                    <a:cubicBezTo>
                      <a:pt x="1507" y="118"/>
                      <a:pt x="1507" y="118"/>
                      <a:pt x="1507" y="118"/>
                    </a:cubicBezTo>
                    <a:cubicBezTo>
                      <a:pt x="1503" y="118"/>
                      <a:pt x="1503" y="118"/>
                      <a:pt x="1503" y="118"/>
                    </a:cubicBezTo>
                    <a:cubicBezTo>
                      <a:pt x="1502" y="116"/>
                      <a:pt x="1502" y="116"/>
                      <a:pt x="1502" y="116"/>
                    </a:cubicBezTo>
                    <a:cubicBezTo>
                      <a:pt x="1496" y="110"/>
                      <a:pt x="1496" y="110"/>
                      <a:pt x="1496" y="110"/>
                    </a:cubicBezTo>
                    <a:cubicBezTo>
                      <a:pt x="1493" y="108"/>
                      <a:pt x="1493" y="108"/>
                      <a:pt x="1493" y="108"/>
                    </a:cubicBezTo>
                    <a:cubicBezTo>
                      <a:pt x="1491" y="102"/>
                      <a:pt x="1491" y="102"/>
                      <a:pt x="1491" y="102"/>
                    </a:cubicBezTo>
                    <a:cubicBezTo>
                      <a:pt x="1491" y="99"/>
                      <a:pt x="1491" y="99"/>
                      <a:pt x="1491" y="99"/>
                    </a:cubicBezTo>
                    <a:cubicBezTo>
                      <a:pt x="1488" y="96"/>
                      <a:pt x="1488" y="96"/>
                      <a:pt x="1488" y="96"/>
                    </a:cubicBezTo>
                    <a:cubicBezTo>
                      <a:pt x="1487" y="92"/>
                      <a:pt x="1487" y="92"/>
                      <a:pt x="1487" y="92"/>
                    </a:cubicBezTo>
                    <a:cubicBezTo>
                      <a:pt x="1483" y="90"/>
                      <a:pt x="1483" y="90"/>
                      <a:pt x="1483" y="90"/>
                    </a:cubicBezTo>
                    <a:cubicBezTo>
                      <a:pt x="1483" y="88"/>
                      <a:pt x="1483" y="88"/>
                      <a:pt x="1483" y="88"/>
                    </a:cubicBezTo>
                    <a:cubicBezTo>
                      <a:pt x="1485" y="87"/>
                      <a:pt x="1485" y="87"/>
                      <a:pt x="1485" y="87"/>
                    </a:cubicBezTo>
                    <a:cubicBezTo>
                      <a:pt x="1483" y="85"/>
                      <a:pt x="1483" y="85"/>
                      <a:pt x="1483" y="85"/>
                    </a:cubicBezTo>
                    <a:cubicBezTo>
                      <a:pt x="1485" y="83"/>
                      <a:pt x="1485" y="83"/>
                      <a:pt x="1485" y="83"/>
                    </a:cubicBezTo>
                    <a:cubicBezTo>
                      <a:pt x="1486" y="83"/>
                      <a:pt x="1486" y="83"/>
                      <a:pt x="1486" y="83"/>
                    </a:cubicBezTo>
                    <a:cubicBezTo>
                      <a:pt x="1486" y="80"/>
                      <a:pt x="1486" y="80"/>
                      <a:pt x="1486" y="80"/>
                    </a:cubicBezTo>
                    <a:cubicBezTo>
                      <a:pt x="1484" y="79"/>
                      <a:pt x="1484" y="79"/>
                      <a:pt x="1484" y="79"/>
                    </a:cubicBezTo>
                    <a:cubicBezTo>
                      <a:pt x="1481" y="77"/>
                      <a:pt x="1481" y="77"/>
                      <a:pt x="1481" y="77"/>
                    </a:cubicBezTo>
                    <a:cubicBezTo>
                      <a:pt x="1474" y="77"/>
                      <a:pt x="1474" y="77"/>
                      <a:pt x="1474" y="77"/>
                    </a:cubicBezTo>
                    <a:cubicBezTo>
                      <a:pt x="1470" y="76"/>
                      <a:pt x="1470" y="76"/>
                      <a:pt x="1470" y="76"/>
                    </a:cubicBezTo>
                    <a:cubicBezTo>
                      <a:pt x="1466" y="73"/>
                      <a:pt x="1466" y="73"/>
                      <a:pt x="1466" y="73"/>
                    </a:cubicBezTo>
                    <a:cubicBezTo>
                      <a:pt x="1462" y="73"/>
                      <a:pt x="1462" y="73"/>
                      <a:pt x="1462" y="73"/>
                    </a:cubicBezTo>
                    <a:cubicBezTo>
                      <a:pt x="1458" y="71"/>
                      <a:pt x="1458" y="71"/>
                      <a:pt x="1458" y="71"/>
                    </a:cubicBezTo>
                    <a:cubicBezTo>
                      <a:pt x="1457" y="72"/>
                      <a:pt x="1457" y="72"/>
                      <a:pt x="1457" y="72"/>
                    </a:cubicBezTo>
                    <a:cubicBezTo>
                      <a:pt x="1463" y="77"/>
                      <a:pt x="1463" y="77"/>
                      <a:pt x="1463" y="77"/>
                    </a:cubicBezTo>
                    <a:cubicBezTo>
                      <a:pt x="1466" y="78"/>
                      <a:pt x="1466" y="78"/>
                      <a:pt x="1466" y="78"/>
                    </a:cubicBezTo>
                    <a:cubicBezTo>
                      <a:pt x="1467" y="80"/>
                      <a:pt x="1467" y="80"/>
                      <a:pt x="1467" y="80"/>
                    </a:cubicBezTo>
                    <a:cubicBezTo>
                      <a:pt x="1463" y="80"/>
                      <a:pt x="1463" y="80"/>
                      <a:pt x="1463" y="80"/>
                    </a:cubicBezTo>
                    <a:cubicBezTo>
                      <a:pt x="1461" y="79"/>
                      <a:pt x="1461" y="79"/>
                      <a:pt x="1461" y="79"/>
                    </a:cubicBezTo>
                    <a:cubicBezTo>
                      <a:pt x="1458" y="79"/>
                      <a:pt x="1458" y="79"/>
                      <a:pt x="1458" y="79"/>
                    </a:cubicBezTo>
                    <a:cubicBezTo>
                      <a:pt x="1456" y="82"/>
                      <a:pt x="1456" y="82"/>
                      <a:pt x="1456" y="82"/>
                    </a:cubicBezTo>
                    <a:cubicBezTo>
                      <a:pt x="1457" y="86"/>
                      <a:pt x="1457" y="86"/>
                      <a:pt x="1457" y="86"/>
                    </a:cubicBezTo>
                    <a:cubicBezTo>
                      <a:pt x="1459" y="90"/>
                      <a:pt x="1459" y="90"/>
                      <a:pt x="1459" y="90"/>
                    </a:cubicBezTo>
                    <a:cubicBezTo>
                      <a:pt x="1461" y="95"/>
                      <a:pt x="1461" y="95"/>
                      <a:pt x="1461" y="95"/>
                    </a:cubicBezTo>
                    <a:cubicBezTo>
                      <a:pt x="1467" y="101"/>
                      <a:pt x="1467" y="101"/>
                      <a:pt x="1467" y="101"/>
                    </a:cubicBezTo>
                    <a:cubicBezTo>
                      <a:pt x="1468" y="103"/>
                      <a:pt x="1468" y="103"/>
                      <a:pt x="1468" y="103"/>
                    </a:cubicBezTo>
                    <a:cubicBezTo>
                      <a:pt x="1466" y="105"/>
                      <a:pt x="1466" y="105"/>
                      <a:pt x="1466" y="105"/>
                    </a:cubicBezTo>
                    <a:cubicBezTo>
                      <a:pt x="1462" y="105"/>
                      <a:pt x="1462" y="105"/>
                      <a:pt x="1462" y="105"/>
                    </a:cubicBezTo>
                    <a:cubicBezTo>
                      <a:pt x="1457" y="101"/>
                      <a:pt x="1457" y="101"/>
                      <a:pt x="1457" y="101"/>
                    </a:cubicBezTo>
                    <a:cubicBezTo>
                      <a:pt x="1455" y="96"/>
                      <a:pt x="1455" y="96"/>
                      <a:pt x="1455" y="96"/>
                    </a:cubicBezTo>
                    <a:cubicBezTo>
                      <a:pt x="1452" y="94"/>
                      <a:pt x="1452" y="94"/>
                      <a:pt x="1452" y="94"/>
                    </a:cubicBezTo>
                    <a:cubicBezTo>
                      <a:pt x="1449" y="95"/>
                      <a:pt x="1449" y="95"/>
                      <a:pt x="1449" y="95"/>
                    </a:cubicBezTo>
                    <a:cubicBezTo>
                      <a:pt x="1447" y="96"/>
                      <a:pt x="1447" y="96"/>
                      <a:pt x="1447" y="96"/>
                    </a:cubicBezTo>
                    <a:cubicBezTo>
                      <a:pt x="1445" y="95"/>
                      <a:pt x="1445" y="95"/>
                      <a:pt x="1445" y="95"/>
                    </a:cubicBezTo>
                    <a:cubicBezTo>
                      <a:pt x="1442" y="94"/>
                      <a:pt x="1442" y="94"/>
                      <a:pt x="1442" y="94"/>
                    </a:cubicBezTo>
                    <a:cubicBezTo>
                      <a:pt x="1441" y="90"/>
                      <a:pt x="1441" y="90"/>
                      <a:pt x="1441" y="90"/>
                    </a:cubicBezTo>
                    <a:cubicBezTo>
                      <a:pt x="1440" y="87"/>
                      <a:pt x="1440" y="87"/>
                      <a:pt x="1440" y="87"/>
                    </a:cubicBezTo>
                    <a:cubicBezTo>
                      <a:pt x="1436" y="87"/>
                      <a:pt x="1436" y="87"/>
                      <a:pt x="1436" y="87"/>
                    </a:cubicBezTo>
                    <a:cubicBezTo>
                      <a:pt x="1432" y="83"/>
                      <a:pt x="1432" y="83"/>
                      <a:pt x="1432" y="83"/>
                    </a:cubicBezTo>
                    <a:cubicBezTo>
                      <a:pt x="1427" y="83"/>
                      <a:pt x="1427" y="83"/>
                      <a:pt x="1427" y="83"/>
                    </a:cubicBezTo>
                    <a:cubicBezTo>
                      <a:pt x="1424" y="81"/>
                      <a:pt x="1424" y="81"/>
                      <a:pt x="1424" y="81"/>
                    </a:cubicBezTo>
                    <a:cubicBezTo>
                      <a:pt x="1423" y="78"/>
                      <a:pt x="1423" y="78"/>
                      <a:pt x="1423" y="78"/>
                    </a:cubicBezTo>
                    <a:cubicBezTo>
                      <a:pt x="1418" y="80"/>
                      <a:pt x="1418" y="80"/>
                      <a:pt x="1418" y="80"/>
                    </a:cubicBezTo>
                    <a:cubicBezTo>
                      <a:pt x="1415" y="82"/>
                      <a:pt x="1415" y="82"/>
                      <a:pt x="1415" y="82"/>
                    </a:cubicBezTo>
                    <a:cubicBezTo>
                      <a:pt x="1416" y="88"/>
                      <a:pt x="1416" y="88"/>
                      <a:pt x="1416" y="88"/>
                    </a:cubicBezTo>
                    <a:cubicBezTo>
                      <a:pt x="1414" y="89"/>
                      <a:pt x="1414" y="89"/>
                      <a:pt x="1414" y="89"/>
                    </a:cubicBezTo>
                    <a:cubicBezTo>
                      <a:pt x="1415" y="94"/>
                      <a:pt x="1415" y="94"/>
                      <a:pt x="1415" y="94"/>
                    </a:cubicBezTo>
                    <a:cubicBezTo>
                      <a:pt x="1413" y="98"/>
                      <a:pt x="1413" y="98"/>
                      <a:pt x="1413" y="98"/>
                    </a:cubicBezTo>
                    <a:cubicBezTo>
                      <a:pt x="1409" y="102"/>
                      <a:pt x="1409" y="102"/>
                      <a:pt x="1409" y="102"/>
                    </a:cubicBezTo>
                    <a:cubicBezTo>
                      <a:pt x="1409" y="104"/>
                      <a:pt x="1409" y="104"/>
                      <a:pt x="1409" y="104"/>
                    </a:cubicBezTo>
                    <a:cubicBezTo>
                      <a:pt x="1413" y="110"/>
                      <a:pt x="1413" y="110"/>
                      <a:pt x="1413" y="110"/>
                    </a:cubicBezTo>
                    <a:cubicBezTo>
                      <a:pt x="1416" y="110"/>
                      <a:pt x="1416" y="110"/>
                      <a:pt x="1416" y="110"/>
                    </a:cubicBezTo>
                    <a:cubicBezTo>
                      <a:pt x="1419" y="112"/>
                      <a:pt x="1419" y="112"/>
                      <a:pt x="1419" y="112"/>
                    </a:cubicBezTo>
                    <a:cubicBezTo>
                      <a:pt x="1417" y="114"/>
                      <a:pt x="1417" y="114"/>
                      <a:pt x="1417" y="114"/>
                    </a:cubicBezTo>
                    <a:cubicBezTo>
                      <a:pt x="1415" y="114"/>
                      <a:pt x="1415" y="114"/>
                      <a:pt x="1415" y="114"/>
                    </a:cubicBezTo>
                    <a:cubicBezTo>
                      <a:pt x="1415" y="118"/>
                      <a:pt x="1415" y="118"/>
                      <a:pt x="1415" y="118"/>
                    </a:cubicBezTo>
                    <a:cubicBezTo>
                      <a:pt x="1418" y="119"/>
                      <a:pt x="1418" y="119"/>
                      <a:pt x="1418" y="119"/>
                    </a:cubicBezTo>
                    <a:cubicBezTo>
                      <a:pt x="1420" y="122"/>
                      <a:pt x="1420" y="122"/>
                      <a:pt x="1420" y="122"/>
                    </a:cubicBezTo>
                    <a:cubicBezTo>
                      <a:pt x="1420" y="124"/>
                      <a:pt x="1420" y="124"/>
                      <a:pt x="1420" y="124"/>
                    </a:cubicBezTo>
                    <a:cubicBezTo>
                      <a:pt x="1422" y="126"/>
                      <a:pt x="1422" y="126"/>
                      <a:pt x="1422" y="126"/>
                    </a:cubicBezTo>
                    <a:cubicBezTo>
                      <a:pt x="1426" y="128"/>
                      <a:pt x="1426" y="128"/>
                      <a:pt x="1426" y="128"/>
                    </a:cubicBezTo>
                    <a:cubicBezTo>
                      <a:pt x="1428" y="130"/>
                      <a:pt x="1428" y="130"/>
                      <a:pt x="1428" y="130"/>
                    </a:cubicBezTo>
                    <a:cubicBezTo>
                      <a:pt x="1427" y="131"/>
                      <a:pt x="1427" y="131"/>
                      <a:pt x="1427" y="131"/>
                    </a:cubicBezTo>
                    <a:cubicBezTo>
                      <a:pt x="1429" y="133"/>
                      <a:pt x="1429" y="133"/>
                      <a:pt x="1429" y="133"/>
                    </a:cubicBezTo>
                    <a:cubicBezTo>
                      <a:pt x="1430" y="132"/>
                      <a:pt x="1430" y="132"/>
                      <a:pt x="1430" y="132"/>
                    </a:cubicBezTo>
                    <a:cubicBezTo>
                      <a:pt x="1433" y="133"/>
                      <a:pt x="1433" y="133"/>
                      <a:pt x="1433" y="133"/>
                    </a:cubicBezTo>
                    <a:cubicBezTo>
                      <a:pt x="1435" y="135"/>
                      <a:pt x="1435" y="135"/>
                      <a:pt x="1435" y="135"/>
                    </a:cubicBezTo>
                    <a:cubicBezTo>
                      <a:pt x="1432" y="137"/>
                      <a:pt x="1432" y="137"/>
                      <a:pt x="1432" y="137"/>
                    </a:cubicBezTo>
                    <a:cubicBezTo>
                      <a:pt x="1431" y="136"/>
                      <a:pt x="1431" y="136"/>
                      <a:pt x="1431" y="136"/>
                    </a:cubicBezTo>
                    <a:cubicBezTo>
                      <a:pt x="1428" y="136"/>
                      <a:pt x="1428" y="136"/>
                      <a:pt x="1428" y="136"/>
                    </a:cubicBezTo>
                    <a:cubicBezTo>
                      <a:pt x="1427" y="138"/>
                      <a:pt x="1427" y="138"/>
                      <a:pt x="1427" y="138"/>
                    </a:cubicBezTo>
                    <a:cubicBezTo>
                      <a:pt x="1428" y="141"/>
                      <a:pt x="1428" y="141"/>
                      <a:pt x="1428" y="141"/>
                    </a:cubicBezTo>
                    <a:cubicBezTo>
                      <a:pt x="1440" y="149"/>
                      <a:pt x="1440" y="149"/>
                      <a:pt x="1440" y="149"/>
                    </a:cubicBezTo>
                    <a:cubicBezTo>
                      <a:pt x="1446" y="151"/>
                      <a:pt x="1446" y="151"/>
                      <a:pt x="1446" y="151"/>
                    </a:cubicBezTo>
                    <a:cubicBezTo>
                      <a:pt x="1452" y="150"/>
                      <a:pt x="1452" y="150"/>
                      <a:pt x="1452" y="150"/>
                    </a:cubicBezTo>
                    <a:cubicBezTo>
                      <a:pt x="1455" y="153"/>
                      <a:pt x="1455" y="153"/>
                      <a:pt x="1455" y="153"/>
                    </a:cubicBezTo>
                    <a:cubicBezTo>
                      <a:pt x="1458" y="155"/>
                      <a:pt x="1458" y="155"/>
                      <a:pt x="1458" y="155"/>
                    </a:cubicBezTo>
                    <a:cubicBezTo>
                      <a:pt x="1460" y="159"/>
                      <a:pt x="1460" y="159"/>
                      <a:pt x="1460" y="159"/>
                    </a:cubicBezTo>
                    <a:cubicBezTo>
                      <a:pt x="1463" y="162"/>
                      <a:pt x="1463" y="162"/>
                      <a:pt x="1463" y="162"/>
                    </a:cubicBezTo>
                    <a:cubicBezTo>
                      <a:pt x="1468" y="162"/>
                      <a:pt x="1468" y="162"/>
                      <a:pt x="1468" y="162"/>
                    </a:cubicBezTo>
                    <a:cubicBezTo>
                      <a:pt x="1474" y="160"/>
                      <a:pt x="1474" y="160"/>
                      <a:pt x="1474" y="160"/>
                    </a:cubicBezTo>
                    <a:cubicBezTo>
                      <a:pt x="1479" y="160"/>
                      <a:pt x="1479" y="160"/>
                      <a:pt x="1479" y="160"/>
                    </a:cubicBezTo>
                    <a:cubicBezTo>
                      <a:pt x="1483" y="163"/>
                      <a:pt x="1483" y="163"/>
                      <a:pt x="1483" y="163"/>
                    </a:cubicBezTo>
                    <a:cubicBezTo>
                      <a:pt x="1486" y="162"/>
                      <a:pt x="1486" y="162"/>
                      <a:pt x="1486" y="162"/>
                    </a:cubicBezTo>
                    <a:cubicBezTo>
                      <a:pt x="1488" y="159"/>
                      <a:pt x="1488" y="159"/>
                      <a:pt x="1488" y="159"/>
                    </a:cubicBezTo>
                    <a:cubicBezTo>
                      <a:pt x="1488" y="155"/>
                      <a:pt x="1488" y="155"/>
                      <a:pt x="1488" y="155"/>
                    </a:cubicBezTo>
                    <a:cubicBezTo>
                      <a:pt x="1486" y="151"/>
                      <a:pt x="1486" y="151"/>
                      <a:pt x="1486" y="151"/>
                    </a:cubicBezTo>
                    <a:cubicBezTo>
                      <a:pt x="1486" y="148"/>
                      <a:pt x="1486" y="148"/>
                      <a:pt x="1486" y="148"/>
                    </a:cubicBezTo>
                    <a:close/>
                    <a:moveTo>
                      <a:pt x="1488" y="76"/>
                    </a:moveTo>
                    <a:cubicBezTo>
                      <a:pt x="1494" y="76"/>
                      <a:pt x="1494" y="76"/>
                      <a:pt x="1494" y="76"/>
                    </a:cubicBezTo>
                    <a:cubicBezTo>
                      <a:pt x="1500" y="75"/>
                      <a:pt x="1500" y="75"/>
                      <a:pt x="1500" y="75"/>
                    </a:cubicBezTo>
                    <a:cubicBezTo>
                      <a:pt x="1504" y="76"/>
                      <a:pt x="1504" y="76"/>
                      <a:pt x="1504" y="76"/>
                    </a:cubicBezTo>
                    <a:cubicBezTo>
                      <a:pt x="1513" y="81"/>
                      <a:pt x="1513" y="81"/>
                      <a:pt x="1513" y="81"/>
                    </a:cubicBezTo>
                    <a:cubicBezTo>
                      <a:pt x="1517" y="81"/>
                      <a:pt x="1517" y="81"/>
                      <a:pt x="1517" y="81"/>
                    </a:cubicBezTo>
                    <a:cubicBezTo>
                      <a:pt x="1521" y="80"/>
                      <a:pt x="1521" y="80"/>
                      <a:pt x="1521" y="80"/>
                    </a:cubicBezTo>
                    <a:cubicBezTo>
                      <a:pt x="1530" y="81"/>
                      <a:pt x="1530" y="81"/>
                      <a:pt x="1530" y="81"/>
                    </a:cubicBezTo>
                    <a:cubicBezTo>
                      <a:pt x="1540" y="84"/>
                      <a:pt x="1540" y="84"/>
                      <a:pt x="1540" y="84"/>
                    </a:cubicBezTo>
                    <a:cubicBezTo>
                      <a:pt x="1540" y="86"/>
                      <a:pt x="1540" y="86"/>
                      <a:pt x="1540" y="86"/>
                    </a:cubicBezTo>
                    <a:cubicBezTo>
                      <a:pt x="1535" y="87"/>
                      <a:pt x="1535" y="87"/>
                      <a:pt x="1535" y="87"/>
                    </a:cubicBezTo>
                    <a:cubicBezTo>
                      <a:pt x="1533" y="90"/>
                      <a:pt x="1533" y="90"/>
                      <a:pt x="1533" y="90"/>
                    </a:cubicBezTo>
                    <a:cubicBezTo>
                      <a:pt x="1533" y="93"/>
                      <a:pt x="1533" y="93"/>
                      <a:pt x="1533" y="93"/>
                    </a:cubicBezTo>
                    <a:cubicBezTo>
                      <a:pt x="1537" y="98"/>
                      <a:pt x="1537" y="98"/>
                      <a:pt x="1537" y="98"/>
                    </a:cubicBezTo>
                    <a:cubicBezTo>
                      <a:pt x="1541" y="99"/>
                      <a:pt x="1541" y="99"/>
                      <a:pt x="1541" y="99"/>
                    </a:cubicBezTo>
                    <a:cubicBezTo>
                      <a:pt x="1542" y="104"/>
                      <a:pt x="1542" y="104"/>
                      <a:pt x="1542" y="104"/>
                    </a:cubicBezTo>
                    <a:cubicBezTo>
                      <a:pt x="1542" y="106"/>
                      <a:pt x="1542" y="106"/>
                      <a:pt x="1542" y="106"/>
                    </a:cubicBezTo>
                    <a:cubicBezTo>
                      <a:pt x="1540" y="110"/>
                      <a:pt x="1540" y="110"/>
                      <a:pt x="1540" y="110"/>
                    </a:cubicBezTo>
                    <a:cubicBezTo>
                      <a:pt x="1540" y="114"/>
                      <a:pt x="1540" y="114"/>
                      <a:pt x="1540" y="114"/>
                    </a:cubicBezTo>
                    <a:cubicBezTo>
                      <a:pt x="1536" y="118"/>
                      <a:pt x="1536" y="118"/>
                      <a:pt x="1536" y="118"/>
                    </a:cubicBezTo>
                    <a:cubicBezTo>
                      <a:pt x="1535" y="120"/>
                      <a:pt x="1535" y="120"/>
                      <a:pt x="1535" y="120"/>
                    </a:cubicBezTo>
                    <a:cubicBezTo>
                      <a:pt x="1531" y="117"/>
                      <a:pt x="1531" y="117"/>
                      <a:pt x="1531" y="117"/>
                    </a:cubicBezTo>
                    <a:cubicBezTo>
                      <a:pt x="1529" y="118"/>
                      <a:pt x="1529" y="118"/>
                      <a:pt x="1529" y="118"/>
                    </a:cubicBezTo>
                    <a:cubicBezTo>
                      <a:pt x="1525" y="120"/>
                      <a:pt x="1525" y="120"/>
                      <a:pt x="1525" y="120"/>
                    </a:cubicBezTo>
                    <a:cubicBezTo>
                      <a:pt x="1521" y="121"/>
                      <a:pt x="1521" y="121"/>
                      <a:pt x="1521" y="121"/>
                    </a:cubicBezTo>
                    <a:cubicBezTo>
                      <a:pt x="1512" y="117"/>
                      <a:pt x="1512" y="117"/>
                      <a:pt x="1512" y="117"/>
                    </a:cubicBezTo>
                    <a:cubicBezTo>
                      <a:pt x="1508" y="113"/>
                      <a:pt x="1508" y="113"/>
                      <a:pt x="1508" y="113"/>
                    </a:cubicBezTo>
                    <a:cubicBezTo>
                      <a:pt x="1499" y="106"/>
                      <a:pt x="1499" y="106"/>
                      <a:pt x="1499" y="106"/>
                    </a:cubicBezTo>
                    <a:cubicBezTo>
                      <a:pt x="1498" y="101"/>
                      <a:pt x="1498" y="101"/>
                      <a:pt x="1498" y="101"/>
                    </a:cubicBezTo>
                    <a:cubicBezTo>
                      <a:pt x="1499" y="97"/>
                      <a:pt x="1499" y="97"/>
                      <a:pt x="1499" y="97"/>
                    </a:cubicBezTo>
                    <a:cubicBezTo>
                      <a:pt x="1499" y="94"/>
                      <a:pt x="1499" y="94"/>
                      <a:pt x="1499" y="94"/>
                    </a:cubicBezTo>
                    <a:cubicBezTo>
                      <a:pt x="1500" y="92"/>
                      <a:pt x="1500" y="92"/>
                      <a:pt x="1500" y="92"/>
                    </a:cubicBezTo>
                    <a:cubicBezTo>
                      <a:pt x="1498" y="89"/>
                      <a:pt x="1498" y="89"/>
                      <a:pt x="1498" y="89"/>
                    </a:cubicBezTo>
                    <a:cubicBezTo>
                      <a:pt x="1496" y="87"/>
                      <a:pt x="1496" y="87"/>
                      <a:pt x="1496" y="87"/>
                    </a:cubicBezTo>
                    <a:cubicBezTo>
                      <a:pt x="1495" y="84"/>
                      <a:pt x="1495" y="84"/>
                      <a:pt x="1495" y="84"/>
                    </a:cubicBezTo>
                    <a:cubicBezTo>
                      <a:pt x="1493" y="83"/>
                      <a:pt x="1493" y="83"/>
                      <a:pt x="1493" y="83"/>
                    </a:cubicBezTo>
                    <a:cubicBezTo>
                      <a:pt x="1491" y="79"/>
                      <a:pt x="1491" y="79"/>
                      <a:pt x="1491" y="79"/>
                    </a:cubicBezTo>
                    <a:cubicBezTo>
                      <a:pt x="1488" y="76"/>
                      <a:pt x="1488" y="76"/>
                      <a:pt x="1488" y="76"/>
                    </a:cubicBezTo>
                    <a:close/>
                    <a:moveTo>
                      <a:pt x="848" y="172"/>
                    </a:moveTo>
                    <a:cubicBezTo>
                      <a:pt x="853" y="170"/>
                      <a:pt x="853" y="170"/>
                      <a:pt x="853" y="170"/>
                    </a:cubicBezTo>
                    <a:cubicBezTo>
                      <a:pt x="856" y="165"/>
                      <a:pt x="856" y="165"/>
                      <a:pt x="856" y="165"/>
                    </a:cubicBezTo>
                    <a:cubicBezTo>
                      <a:pt x="860" y="160"/>
                      <a:pt x="860" y="160"/>
                      <a:pt x="860" y="160"/>
                    </a:cubicBezTo>
                    <a:cubicBezTo>
                      <a:pt x="863" y="158"/>
                      <a:pt x="863" y="158"/>
                      <a:pt x="863" y="158"/>
                    </a:cubicBezTo>
                    <a:cubicBezTo>
                      <a:pt x="862" y="156"/>
                      <a:pt x="862" y="156"/>
                      <a:pt x="862" y="156"/>
                    </a:cubicBezTo>
                    <a:cubicBezTo>
                      <a:pt x="863" y="153"/>
                      <a:pt x="863" y="153"/>
                      <a:pt x="863" y="153"/>
                    </a:cubicBezTo>
                    <a:cubicBezTo>
                      <a:pt x="871" y="147"/>
                      <a:pt x="871" y="147"/>
                      <a:pt x="871" y="147"/>
                    </a:cubicBezTo>
                    <a:cubicBezTo>
                      <a:pt x="875" y="147"/>
                      <a:pt x="875" y="147"/>
                      <a:pt x="875" y="147"/>
                    </a:cubicBezTo>
                    <a:cubicBezTo>
                      <a:pt x="877" y="149"/>
                      <a:pt x="877" y="149"/>
                      <a:pt x="877" y="149"/>
                    </a:cubicBezTo>
                    <a:cubicBezTo>
                      <a:pt x="879" y="148"/>
                      <a:pt x="879" y="148"/>
                      <a:pt x="879" y="148"/>
                    </a:cubicBezTo>
                    <a:cubicBezTo>
                      <a:pt x="881" y="145"/>
                      <a:pt x="881" y="145"/>
                      <a:pt x="881" y="145"/>
                    </a:cubicBezTo>
                    <a:cubicBezTo>
                      <a:pt x="883" y="142"/>
                      <a:pt x="883" y="142"/>
                      <a:pt x="883" y="142"/>
                    </a:cubicBezTo>
                    <a:cubicBezTo>
                      <a:pt x="887" y="140"/>
                      <a:pt x="887" y="140"/>
                      <a:pt x="887" y="140"/>
                    </a:cubicBezTo>
                    <a:cubicBezTo>
                      <a:pt x="893" y="136"/>
                      <a:pt x="893" y="136"/>
                      <a:pt x="893" y="136"/>
                    </a:cubicBezTo>
                    <a:cubicBezTo>
                      <a:pt x="894" y="133"/>
                      <a:pt x="894" y="133"/>
                      <a:pt x="894" y="133"/>
                    </a:cubicBezTo>
                    <a:cubicBezTo>
                      <a:pt x="897" y="131"/>
                      <a:pt x="897" y="131"/>
                      <a:pt x="897" y="131"/>
                    </a:cubicBezTo>
                    <a:cubicBezTo>
                      <a:pt x="900" y="124"/>
                      <a:pt x="900" y="124"/>
                      <a:pt x="900" y="124"/>
                    </a:cubicBezTo>
                    <a:cubicBezTo>
                      <a:pt x="899" y="120"/>
                      <a:pt x="899" y="120"/>
                      <a:pt x="899" y="120"/>
                    </a:cubicBezTo>
                    <a:cubicBezTo>
                      <a:pt x="894" y="114"/>
                      <a:pt x="894" y="114"/>
                      <a:pt x="894" y="114"/>
                    </a:cubicBezTo>
                    <a:cubicBezTo>
                      <a:pt x="892" y="109"/>
                      <a:pt x="892" y="109"/>
                      <a:pt x="892" y="109"/>
                    </a:cubicBezTo>
                    <a:cubicBezTo>
                      <a:pt x="892" y="106"/>
                      <a:pt x="892" y="106"/>
                      <a:pt x="892" y="106"/>
                    </a:cubicBezTo>
                    <a:cubicBezTo>
                      <a:pt x="886" y="102"/>
                      <a:pt x="886" y="102"/>
                      <a:pt x="886" y="102"/>
                    </a:cubicBezTo>
                    <a:cubicBezTo>
                      <a:pt x="882" y="102"/>
                      <a:pt x="882" y="102"/>
                      <a:pt x="882" y="102"/>
                    </a:cubicBezTo>
                    <a:cubicBezTo>
                      <a:pt x="880" y="103"/>
                      <a:pt x="880" y="103"/>
                      <a:pt x="880" y="103"/>
                    </a:cubicBezTo>
                    <a:cubicBezTo>
                      <a:pt x="877" y="101"/>
                      <a:pt x="877" y="101"/>
                      <a:pt x="877" y="101"/>
                    </a:cubicBezTo>
                    <a:cubicBezTo>
                      <a:pt x="873" y="99"/>
                      <a:pt x="873" y="99"/>
                      <a:pt x="873" y="99"/>
                    </a:cubicBezTo>
                    <a:cubicBezTo>
                      <a:pt x="868" y="95"/>
                      <a:pt x="868" y="95"/>
                      <a:pt x="868" y="95"/>
                    </a:cubicBezTo>
                    <a:cubicBezTo>
                      <a:pt x="866" y="94"/>
                      <a:pt x="866" y="94"/>
                      <a:pt x="866" y="94"/>
                    </a:cubicBezTo>
                    <a:cubicBezTo>
                      <a:pt x="865" y="96"/>
                      <a:pt x="865" y="96"/>
                      <a:pt x="865" y="96"/>
                    </a:cubicBezTo>
                    <a:cubicBezTo>
                      <a:pt x="862" y="95"/>
                      <a:pt x="862" y="95"/>
                      <a:pt x="862" y="95"/>
                    </a:cubicBezTo>
                    <a:cubicBezTo>
                      <a:pt x="861" y="92"/>
                      <a:pt x="861" y="92"/>
                      <a:pt x="861" y="92"/>
                    </a:cubicBezTo>
                    <a:cubicBezTo>
                      <a:pt x="858" y="89"/>
                      <a:pt x="858" y="89"/>
                      <a:pt x="858" y="89"/>
                    </a:cubicBezTo>
                    <a:cubicBezTo>
                      <a:pt x="856" y="89"/>
                      <a:pt x="856" y="89"/>
                      <a:pt x="856" y="89"/>
                    </a:cubicBezTo>
                    <a:cubicBezTo>
                      <a:pt x="855" y="93"/>
                      <a:pt x="855" y="93"/>
                      <a:pt x="855" y="93"/>
                    </a:cubicBezTo>
                    <a:cubicBezTo>
                      <a:pt x="853" y="92"/>
                      <a:pt x="853" y="92"/>
                      <a:pt x="853" y="92"/>
                    </a:cubicBezTo>
                    <a:cubicBezTo>
                      <a:pt x="850" y="88"/>
                      <a:pt x="850" y="88"/>
                      <a:pt x="850" y="88"/>
                    </a:cubicBezTo>
                    <a:cubicBezTo>
                      <a:pt x="847" y="86"/>
                      <a:pt x="847" y="86"/>
                      <a:pt x="847" y="86"/>
                    </a:cubicBezTo>
                    <a:cubicBezTo>
                      <a:pt x="847" y="88"/>
                      <a:pt x="847" y="88"/>
                      <a:pt x="847" y="88"/>
                    </a:cubicBezTo>
                    <a:cubicBezTo>
                      <a:pt x="850" y="91"/>
                      <a:pt x="850" y="91"/>
                      <a:pt x="850" y="91"/>
                    </a:cubicBezTo>
                    <a:cubicBezTo>
                      <a:pt x="850" y="94"/>
                      <a:pt x="850" y="94"/>
                      <a:pt x="850" y="94"/>
                    </a:cubicBezTo>
                    <a:cubicBezTo>
                      <a:pt x="848" y="96"/>
                      <a:pt x="848" y="96"/>
                      <a:pt x="848" y="96"/>
                    </a:cubicBezTo>
                    <a:cubicBezTo>
                      <a:pt x="848" y="99"/>
                      <a:pt x="848" y="99"/>
                      <a:pt x="848" y="99"/>
                    </a:cubicBezTo>
                    <a:cubicBezTo>
                      <a:pt x="846" y="99"/>
                      <a:pt x="846" y="99"/>
                      <a:pt x="846" y="99"/>
                    </a:cubicBezTo>
                    <a:cubicBezTo>
                      <a:pt x="844" y="96"/>
                      <a:pt x="844" y="96"/>
                      <a:pt x="844" y="96"/>
                    </a:cubicBezTo>
                    <a:cubicBezTo>
                      <a:pt x="844" y="84"/>
                      <a:pt x="844" y="84"/>
                      <a:pt x="844" y="84"/>
                    </a:cubicBezTo>
                    <a:cubicBezTo>
                      <a:pt x="840" y="83"/>
                      <a:pt x="840" y="83"/>
                      <a:pt x="840" y="83"/>
                    </a:cubicBezTo>
                    <a:cubicBezTo>
                      <a:pt x="836" y="82"/>
                      <a:pt x="836" y="82"/>
                      <a:pt x="836" y="82"/>
                    </a:cubicBezTo>
                    <a:cubicBezTo>
                      <a:pt x="831" y="80"/>
                      <a:pt x="831" y="80"/>
                      <a:pt x="831" y="80"/>
                    </a:cubicBezTo>
                    <a:cubicBezTo>
                      <a:pt x="829" y="80"/>
                      <a:pt x="829" y="80"/>
                      <a:pt x="829" y="80"/>
                    </a:cubicBezTo>
                    <a:cubicBezTo>
                      <a:pt x="826" y="83"/>
                      <a:pt x="826" y="83"/>
                      <a:pt x="826" y="83"/>
                    </a:cubicBezTo>
                    <a:cubicBezTo>
                      <a:pt x="827" y="86"/>
                      <a:pt x="827" y="86"/>
                      <a:pt x="827" y="86"/>
                    </a:cubicBezTo>
                    <a:cubicBezTo>
                      <a:pt x="831" y="88"/>
                      <a:pt x="831" y="88"/>
                      <a:pt x="831" y="88"/>
                    </a:cubicBezTo>
                    <a:cubicBezTo>
                      <a:pt x="834" y="92"/>
                      <a:pt x="834" y="92"/>
                      <a:pt x="834" y="92"/>
                    </a:cubicBezTo>
                    <a:cubicBezTo>
                      <a:pt x="832" y="93"/>
                      <a:pt x="832" y="93"/>
                      <a:pt x="832" y="93"/>
                    </a:cubicBezTo>
                    <a:cubicBezTo>
                      <a:pt x="829" y="93"/>
                      <a:pt x="829" y="93"/>
                      <a:pt x="829" y="93"/>
                    </a:cubicBezTo>
                    <a:cubicBezTo>
                      <a:pt x="828" y="91"/>
                      <a:pt x="828" y="91"/>
                      <a:pt x="828" y="91"/>
                    </a:cubicBezTo>
                    <a:cubicBezTo>
                      <a:pt x="825" y="89"/>
                      <a:pt x="825" y="89"/>
                      <a:pt x="825" y="89"/>
                    </a:cubicBezTo>
                    <a:cubicBezTo>
                      <a:pt x="824" y="89"/>
                      <a:pt x="824" y="89"/>
                      <a:pt x="824" y="89"/>
                    </a:cubicBezTo>
                    <a:cubicBezTo>
                      <a:pt x="824" y="92"/>
                      <a:pt x="824" y="92"/>
                      <a:pt x="824" y="92"/>
                    </a:cubicBezTo>
                    <a:cubicBezTo>
                      <a:pt x="825" y="95"/>
                      <a:pt x="825" y="95"/>
                      <a:pt x="825" y="95"/>
                    </a:cubicBezTo>
                    <a:cubicBezTo>
                      <a:pt x="824" y="96"/>
                      <a:pt x="824" y="96"/>
                      <a:pt x="824" y="96"/>
                    </a:cubicBezTo>
                    <a:cubicBezTo>
                      <a:pt x="824" y="100"/>
                      <a:pt x="824" y="100"/>
                      <a:pt x="824" y="100"/>
                    </a:cubicBezTo>
                    <a:cubicBezTo>
                      <a:pt x="826" y="102"/>
                      <a:pt x="826" y="102"/>
                      <a:pt x="826" y="102"/>
                    </a:cubicBezTo>
                    <a:cubicBezTo>
                      <a:pt x="829" y="102"/>
                      <a:pt x="829" y="102"/>
                      <a:pt x="829" y="102"/>
                    </a:cubicBezTo>
                    <a:cubicBezTo>
                      <a:pt x="831" y="105"/>
                      <a:pt x="831" y="105"/>
                      <a:pt x="831" y="105"/>
                    </a:cubicBezTo>
                    <a:cubicBezTo>
                      <a:pt x="830" y="108"/>
                      <a:pt x="830" y="108"/>
                      <a:pt x="830" y="108"/>
                    </a:cubicBezTo>
                    <a:cubicBezTo>
                      <a:pt x="834" y="117"/>
                      <a:pt x="834" y="117"/>
                      <a:pt x="834" y="117"/>
                    </a:cubicBezTo>
                    <a:cubicBezTo>
                      <a:pt x="837" y="120"/>
                      <a:pt x="837" y="120"/>
                      <a:pt x="837" y="120"/>
                    </a:cubicBezTo>
                    <a:cubicBezTo>
                      <a:pt x="841" y="120"/>
                      <a:pt x="841" y="120"/>
                      <a:pt x="841" y="120"/>
                    </a:cubicBezTo>
                    <a:cubicBezTo>
                      <a:pt x="838" y="122"/>
                      <a:pt x="838" y="122"/>
                      <a:pt x="838" y="122"/>
                    </a:cubicBezTo>
                    <a:cubicBezTo>
                      <a:pt x="835" y="123"/>
                      <a:pt x="835" y="123"/>
                      <a:pt x="835" y="123"/>
                    </a:cubicBezTo>
                    <a:cubicBezTo>
                      <a:pt x="833" y="129"/>
                      <a:pt x="833" y="129"/>
                      <a:pt x="833" y="129"/>
                    </a:cubicBezTo>
                    <a:cubicBezTo>
                      <a:pt x="836" y="135"/>
                      <a:pt x="836" y="135"/>
                      <a:pt x="836" y="135"/>
                    </a:cubicBezTo>
                    <a:cubicBezTo>
                      <a:pt x="837" y="140"/>
                      <a:pt x="837" y="140"/>
                      <a:pt x="837" y="140"/>
                    </a:cubicBezTo>
                    <a:cubicBezTo>
                      <a:pt x="837" y="145"/>
                      <a:pt x="837" y="145"/>
                      <a:pt x="837" y="145"/>
                    </a:cubicBezTo>
                    <a:cubicBezTo>
                      <a:pt x="839" y="146"/>
                      <a:pt x="839" y="146"/>
                      <a:pt x="839" y="146"/>
                    </a:cubicBezTo>
                    <a:cubicBezTo>
                      <a:pt x="840" y="150"/>
                      <a:pt x="840" y="150"/>
                      <a:pt x="840" y="150"/>
                    </a:cubicBezTo>
                    <a:cubicBezTo>
                      <a:pt x="838" y="152"/>
                      <a:pt x="838" y="152"/>
                      <a:pt x="838" y="152"/>
                    </a:cubicBezTo>
                    <a:cubicBezTo>
                      <a:pt x="841" y="157"/>
                      <a:pt x="841" y="157"/>
                      <a:pt x="841" y="157"/>
                    </a:cubicBezTo>
                    <a:cubicBezTo>
                      <a:pt x="843" y="163"/>
                      <a:pt x="843" y="163"/>
                      <a:pt x="843" y="163"/>
                    </a:cubicBezTo>
                    <a:cubicBezTo>
                      <a:pt x="846" y="166"/>
                      <a:pt x="846" y="166"/>
                      <a:pt x="846" y="166"/>
                    </a:cubicBezTo>
                    <a:cubicBezTo>
                      <a:pt x="846" y="170"/>
                      <a:pt x="846" y="170"/>
                      <a:pt x="846" y="170"/>
                    </a:cubicBezTo>
                    <a:cubicBezTo>
                      <a:pt x="848" y="172"/>
                      <a:pt x="848" y="172"/>
                      <a:pt x="848" y="172"/>
                    </a:cubicBezTo>
                    <a:close/>
                    <a:moveTo>
                      <a:pt x="923" y="131"/>
                    </a:moveTo>
                    <a:cubicBezTo>
                      <a:pt x="926" y="128"/>
                      <a:pt x="926" y="128"/>
                      <a:pt x="926" y="128"/>
                    </a:cubicBezTo>
                    <a:cubicBezTo>
                      <a:pt x="926" y="126"/>
                      <a:pt x="926" y="126"/>
                      <a:pt x="926" y="126"/>
                    </a:cubicBezTo>
                    <a:cubicBezTo>
                      <a:pt x="925" y="125"/>
                      <a:pt x="925" y="125"/>
                      <a:pt x="925" y="125"/>
                    </a:cubicBezTo>
                    <a:cubicBezTo>
                      <a:pt x="926" y="123"/>
                      <a:pt x="926" y="123"/>
                      <a:pt x="926" y="123"/>
                    </a:cubicBezTo>
                    <a:cubicBezTo>
                      <a:pt x="928" y="123"/>
                      <a:pt x="928" y="123"/>
                      <a:pt x="928" y="123"/>
                    </a:cubicBezTo>
                    <a:cubicBezTo>
                      <a:pt x="927" y="120"/>
                      <a:pt x="927" y="120"/>
                      <a:pt x="927" y="120"/>
                    </a:cubicBezTo>
                    <a:cubicBezTo>
                      <a:pt x="924" y="121"/>
                      <a:pt x="924" y="121"/>
                      <a:pt x="924" y="121"/>
                    </a:cubicBezTo>
                    <a:cubicBezTo>
                      <a:pt x="921" y="124"/>
                      <a:pt x="921" y="124"/>
                      <a:pt x="921" y="124"/>
                    </a:cubicBezTo>
                    <a:cubicBezTo>
                      <a:pt x="922" y="126"/>
                      <a:pt x="922" y="126"/>
                      <a:pt x="922" y="126"/>
                    </a:cubicBezTo>
                    <a:cubicBezTo>
                      <a:pt x="919" y="127"/>
                      <a:pt x="919" y="127"/>
                      <a:pt x="919" y="127"/>
                    </a:cubicBezTo>
                    <a:cubicBezTo>
                      <a:pt x="919" y="130"/>
                      <a:pt x="919" y="130"/>
                      <a:pt x="919" y="130"/>
                    </a:cubicBezTo>
                    <a:cubicBezTo>
                      <a:pt x="921" y="131"/>
                      <a:pt x="921" y="131"/>
                      <a:pt x="921" y="131"/>
                    </a:cubicBezTo>
                    <a:cubicBezTo>
                      <a:pt x="923" y="131"/>
                      <a:pt x="923" y="131"/>
                      <a:pt x="923" y="131"/>
                    </a:cubicBezTo>
                    <a:close/>
                    <a:moveTo>
                      <a:pt x="928" y="131"/>
                    </a:moveTo>
                    <a:cubicBezTo>
                      <a:pt x="929" y="128"/>
                      <a:pt x="929" y="128"/>
                      <a:pt x="929" y="128"/>
                    </a:cubicBezTo>
                    <a:cubicBezTo>
                      <a:pt x="934" y="129"/>
                      <a:pt x="934" y="129"/>
                      <a:pt x="934" y="129"/>
                    </a:cubicBezTo>
                    <a:cubicBezTo>
                      <a:pt x="937" y="125"/>
                      <a:pt x="937" y="125"/>
                      <a:pt x="937" y="125"/>
                    </a:cubicBezTo>
                    <a:cubicBezTo>
                      <a:pt x="940" y="125"/>
                      <a:pt x="940" y="125"/>
                      <a:pt x="940" y="125"/>
                    </a:cubicBezTo>
                    <a:cubicBezTo>
                      <a:pt x="941" y="124"/>
                      <a:pt x="941" y="124"/>
                      <a:pt x="941" y="124"/>
                    </a:cubicBezTo>
                    <a:cubicBezTo>
                      <a:pt x="944" y="125"/>
                      <a:pt x="944" y="125"/>
                      <a:pt x="944" y="125"/>
                    </a:cubicBezTo>
                    <a:cubicBezTo>
                      <a:pt x="945" y="129"/>
                      <a:pt x="945" y="129"/>
                      <a:pt x="945" y="129"/>
                    </a:cubicBezTo>
                    <a:cubicBezTo>
                      <a:pt x="943" y="133"/>
                      <a:pt x="943" y="133"/>
                      <a:pt x="943" y="133"/>
                    </a:cubicBezTo>
                    <a:cubicBezTo>
                      <a:pt x="941" y="131"/>
                      <a:pt x="941" y="131"/>
                      <a:pt x="941" y="131"/>
                    </a:cubicBezTo>
                    <a:cubicBezTo>
                      <a:pt x="939" y="133"/>
                      <a:pt x="939" y="133"/>
                      <a:pt x="939" y="133"/>
                    </a:cubicBezTo>
                    <a:cubicBezTo>
                      <a:pt x="933" y="134"/>
                      <a:pt x="933" y="134"/>
                      <a:pt x="933" y="134"/>
                    </a:cubicBezTo>
                    <a:cubicBezTo>
                      <a:pt x="928" y="133"/>
                      <a:pt x="928" y="133"/>
                      <a:pt x="928" y="133"/>
                    </a:cubicBezTo>
                    <a:cubicBezTo>
                      <a:pt x="928" y="131"/>
                      <a:pt x="928" y="131"/>
                      <a:pt x="928" y="131"/>
                    </a:cubicBezTo>
                    <a:close/>
                    <a:moveTo>
                      <a:pt x="967" y="166"/>
                    </a:moveTo>
                    <a:cubicBezTo>
                      <a:pt x="967" y="169"/>
                      <a:pt x="967" y="169"/>
                      <a:pt x="967" y="169"/>
                    </a:cubicBezTo>
                    <a:cubicBezTo>
                      <a:pt x="970" y="174"/>
                      <a:pt x="970" y="174"/>
                      <a:pt x="970" y="174"/>
                    </a:cubicBezTo>
                    <a:cubicBezTo>
                      <a:pt x="969" y="175"/>
                      <a:pt x="969" y="175"/>
                      <a:pt x="969" y="175"/>
                    </a:cubicBezTo>
                    <a:cubicBezTo>
                      <a:pt x="970" y="177"/>
                      <a:pt x="970" y="177"/>
                      <a:pt x="970" y="177"/>
                    </a:cubicBezTo>
                    <a:cubicBezTo>
                      <a:pt x="973" y="175"/>
                      <a:pt x="973" y="175"/>
                      <a:pt x="973" y="175"/>
                    </a:cubicBezTo>
                    <a:cubicBezTo>
                      <a:pt x="975" y="171"/>
                      <a:pt x="975" y="171"/>
                      <a:pt x="975" y="171"/>
                    </a:cubicBezTo>
                    <a:cubicBezTo>
                      <a:pt x="972" y="166"/>
                      <a:pt x="972" y="166"/>
                      <a:pt x="972" y="166"/>
                    </a:cubicBezTo>
                    <a:cubicBezTo>
                      <a:pt x="968" y="165"/>
                      <a:pt x="968" y="165"/>
                      <a:pt x="968" y="165"/>
                    </a:cubicBezTo>
                    <a:cubicBezTo>
                      <a:pt x="967" y="166"/>
                      <a:pt x="967" y="166"/>
                      <a:pt x="967" y="166"/>
                    </a:cubicBezTo>
                    <a:close/>
                    <a:moveTo>
                      <a:pt x="1325" y="278"/>
                    </a:moveTo>
                    <a:cubicBezTo>
                      <a:pt x="1327" y="277"/>
                      <a:pt x="1327" y="277"/>
                      <a:pt x="1327" y="277"/>
                    </a:cubicBezTo>
                    <a:cubicBezTo>
                      <a:pt x="1327" y="273"/>
                      <a:pt x="1327" y="273"/>
                      <a:pt x="1327" y="273"/>
                    </a:cubicBezTo>
                    <a:cubicBezTo>
                      <a:pt x="1327" y="270"/>
                      <a:pt x="1327" y="270"/>
                      <a:pt x="1327" y="270"/>
                    </a:cubicBezTo>
                    <a:cubicBezTo>
                      <a:pt x="1322" y="272"/>
                      <a:pt x="1322" y="272"/>
                      <a:pt x="1322" y="272"/>
                    </a:cubicBezTo>
                    <a:cubicBezTo>
                      <a:pt x="1321" y="273"/>
                      <a:pt x="1321" y="273"/>
                      <a:pt x="1321" y="273"/>
                    </a:cubicBezTo>
                    <a:cubicBezTo>
                      <a:pt x="1321" y="277"/>
                      <a:pt x="1321" y="277"/>
                      <a:pt x="1321" y="277"/>
                    </a:cubicBezTo>
                    <a:cubicBezTo>
                      <a:pt x="1323" y="277"/>
                      <a:pt x="1323" y="277"/>
                      <a:pt x="1323" y="277"/>
                    </a:cubicBezTo>
                    <a:cubicBezTo>
                      <a:pt x="1325" y="278"/>
                      <a:pt x="1325" y="278"/>
                      <a:pt x="1325" y="278"/>
                    </a:cubicBezTo>
                    <a:close/>
                    <a:moveTo>
                      <a:pt x="1277" y="330"/>
                    </a:moveTo>
                    <a:cubicBezTo>
                      <a:pt x="1282" y="330"/>
                      <a:pt x="1282" y="330"/>
                      <a:pt x="1282" y="330"/>
                    </a:cubicBezTo>
                    <a:cubicBezTo>
                      <a:pt x="1283" y="329"/>
                      <a:pt x="1283" y="329"/>
                      <a:pt x="1283" y="329"/>
                    </a:cubicBezTo>
                    <a:cubicBezTo>
                      <a:pt x="1285" y="329"/>
                      <a:pt x="1285" y="329"/>
                      <a:pt x="1285" y="329"/>
                    </a:cubicBezTo>
                    <a:cubicBezTo>
                      <a:pt x="1285" y="327"/>
                      <a:pt x="1285" y="327"/>
                      <a:pt x="1285" y="327"/>
                    </a:cubicBezTo>
                    <a:cubicBezTo>
                      <a:pt x="1283" y="325"/>
                      <a:pt x="1283" y="325"/>
                      <a:pt x="1283" y="325"/>
                    </a:cubicBezTo>
                    <a:cubicBezTo>
                      <a:pt x="1279" y="322"/>
                      <a:pt x="1279" y="322"/>
                      <a:pt x="1279" y="322"/>
                    </a:cubicBezTo>
                    <a:cubicBezTo>
                      <a:pt x="1276" y="322"/>
                      <a:pt x="1276" y="322"/>
                      <a:pt x="1276" y="322"/>
                    </a:cubicBezTo>
                    <a:cubicBezTo>
                      <a:pt x="1274" y="324"/>
                      <a:pt x="1274" y="324"/>
                      <a:pt x="1274" y="324"/>
                    </a:cubicBezTo>
                    <a:cubicBezTo>
                      <a:pt x="1274" y="325"/>
                      <a:pt x="1274" y="325"/>
                      <a:pt x="1274" y="325"/>
                    </a:cubicBezTo>
                    <a:cubicBezTo>
                      <a:pt x="1277" y="327"/>
                      <a:pt x="1277" y="327"/>
                      <a:pt x="1277" y="327"/>
                    </a:cubicBezTo>
                    <a:cubicBezTo>
                      <a:pt x="1277" y="330"/>
                      <a:pt x="1277" y="330"/>
                      <a:pt x="1277" y="330"/>
                    </a:cubicBezTo>
                    <a:close/>
                    <a:moveTo>
                      <a:pt x="1143" y="307"/>
                    </a:moveTo>
                    <a:cubicBezTo>
                      <a:pt x="1147" y="308"/>
                      <a:pt x="1147" y="308"/>
                      <a:pt x="1147" y="308"/>
                    </a:cubicBezTo>
                    <a:cubicBezTo>
                      <a:pt x="1150" y="309"/>
                      <a:pt x="1150" y="309"/>
                      <a:pt x="1150" y="309"/>
                    </a:cubicBezTo>
                    <a:cubicBezTo>
                      <a:pt x="1152" y="308"/>
                      <a:pt x="1152" y="308"/>
                      <a:pt x="1152" y="308"/>
                    </a:cubicBezTo>
                    <a:cubicBezTo>
                      <a:pt x="1153" y="305"/>
                      <a:pt x="1153" y="305"/>
                      <a:pt x="1153" y="305"/>
                    </a:cubicBezTo>
                    <a:cubicBezTo>
                      <a:pt x="1155" y="303"/>
                      <a:pt x="1155" y="303"/>
                      <a:pt x="1155" y="303"/>
                    </a:cubicBezTo>
                    <a:cubicBezTo>
                      <a:pt x="1155" y="301"/>
                      <a:pt x="1155" y="301"/>
                      <a:pt x="1155" y="301"/>
                    </a:cubicBezTo>
                    <a:cubicBezTo>
                      <a:pt x="1153" y="299"/>
                      <a:pt x="1153" y="299"/>
                      <a:pt x="1153" y="299"/>
                    </a:cubicBezTo>
                    <a:cubicBezTo>
                      <a:pt x="1153" y="292"/>
                      <a:pt x="1153" y="292"/>
                      <a:pt x="1153" y="292"/>
                    </a:cubicBezTo>
                    <a:cubicBezTo>
                      <a:pt x="1150" y="290"/>
                      <a:pt x="1150" y="290"/>
                      <a:pt x="1150" y="290"/>
                    </a:cubicBezTo>
                    <a:cubicBezTo>
                      <a:pt x="1149" y="286"/>
                      <a:pt x="1149" y="286"/>
                      <a:pt x="1149" y="286"/>
                    </a:cubicBezTo>
                    <a:cubicBezTo>
                      <a:pt x="1149" y="284"/>
                      <a:pt x="1149" y="284"/>
                      <a:pt x="1149" y="284"/>
                    </a:cubicBezTo>
                    <a:cubicBezTo>
                      <a:pt x="1146" y="283"/>
                      <a:pt x="1146" y="283"/>
                      <a:pt x="1146" y="283"/>
                    </a:cubicBezTo>
                    <a:cubicBezTo>
                      <a:pt x="1139" y="285"/>
                      <a:pt x="1139" y="285"/>
                      <a:pt x="1139" y="285"/>
                    </a:cubicBezTo>
                    <a:cubicBezTo>
                      <a:pt x="1132" y="289"/>
                      <a:pt x="1132" y="289"/>
                      <a:pt x="1132" y="289"/>
                    </a:cubicBezTo>
                    <a:cubicBezTo>
                      <a:pt x="1128" y="289"/>
                      <a:pt x="1128" y="289"/>
                      <a:pt x="1128" y="289"/>
                    </a:cubicBezTo>
                    <a:cubicBezTo>
                      <a:pt x="1127" y="291"/>
                      <a:pt x="1127" y="291"/>
                      <a:pt x="1127" y="291"/>
                    </a:cubicBezTo>
                    <a:cubicBezTo>
                      <a:pt x="1128" y="295"/>
                      <a:pt x="1128" y="295"/>
                      <a:pt x="1128" y="295"/>
                    </a:cubicBezTo>
                    <a:cubicBezTo>
                      <a:pt x="1131" y="297"/>
                      <a:pt x="1131" y="297"/>
                      <a:pt x="1131" y="297"/>
                    </a:cubicBezTo>
                    <a:cubicBezTo>
                      <a:pt x="1132" y="300"/>
                      <a:pt x="1132" y="300"/>
                      <a:pt x="1132" y="300"/>
                    </a:cubicBezTo>
                    <a:cubicBezTo>
                      <a:pt x="1131" y="301"/>
                      <a:pt x="1131" y="301"/>
                      <a:pt x="1131" y="301"/>
                    </a:cubicBezTo>
                    <a:cubicBezTo>
                      <a:pt x="1127" y="301"/>
                      <a:pt x="1127" y="301"/>
                      <a:pt x="1127" y="301"/>
                    </a:cubicBezTo>
                    <a:cubicBezTo>
                      <a:pt x="1126" y="302"/>
                      <a:pt x="1126" y="302"/>
                      <a:pt x="1126" y="302"/>
                    </a:cubicBezTo>
                    <a:cubicBezTo>
                      <a:pt x="1128" y="304"/>
                      <a:pt x="1128" y="304"/>
                      <a:pt x="1128" y="304"/>
                    </a:cubicBezTo>
                    <a:cubicBezTo>
                      <a:pt x="1134" y="305"/>
                      <a:pt x="1134" y="305"/>
                      <a:pt x="1134" y="305"/>
                    </a:cubicBezTo>
                    <a:cubicBezTo>
                      <a:pt x="1143" y="307"/>
                      <a:pt x="1143" y="307"/>
                      <a:pt x="1143" y="307"/>
                    </a:cubicBezTo>
                    <a:close/>
                    <a:moveTo>
                      <a:pt x="1535" y="194"/>
                    </a:moveTo>
                    <a:cubicBezTo>
                      <a:pt x="1537" y="193"/>
                      <a:pt x="1537" y="193"/>
                      <a:pt x="1537" y="193"/>
                    </a:cubicBezTo>
                    <a:cubicBezTo>
                      <a:pt x="1536" y="192"/>
                      <a:pt x="1536" y="192"/>
                      <a:pt x="1536" y="192"/>
                    </a:cubicBezTo>
                    <a:cubicBezTo>
                      <a:pt x="1537" y="188"/>
                      <a:pt x="1537" y="188"/>
                      <a:pt x="1537" y="188"/>
                    </a:cubicBezTo>
                    <a:cubicBezTo>
                      <a:pt x="1539" y="185"/>
                      <a:pt x="1539" y="185"/>
                      <a:pt x="1539" y="185"/>
                    </a:cubicBezTo>
                    <a:cubicBezTo>
                      <a:pt x="1538" y="181"/>
                      <a:pt x="1538" y="181"/>
                      <a:pt x="1538" y="181"/>
                    </a:cubicBezTo>
                    <a:cubicBezTo>
                      <a:pt x="1533" y="176"/>
                      <a:pt x="1533" y="176"/>
                      <a:pt x="1533" y="176"/>
                    </a:cubicBezTo>
                    <a:cubicBezTo>
                      <a:pt x="1531" y="172"/>
                      <a:pt x="1531" y="172"/>
                      <a:pt x="1531" y="172"/>
                    </a:cubicBezTo>
                    <a:cubicBezTo>
                      <a:pt x="1529" y="171"/>
                      <a:pt x="1529" y="171"/>
                      <a:pt x="1529" y="171"/>
                    </a:cubicBezTo>
                    <a:cubicBezTo>
                      <a:pt x="1524" y="172"/>
                      <a:pt x="1524" y="172"/>
                      <a:pt x="1524" y="172"/>
                    </a:cubicBezTo>
                    <a:cubicBezTo>
                      <a:pt x="1521" y="176"/>
                      <a:pt x="1521" y="176"/>
                      <a:pt x="1521" y="176"/>
                    </a:cubicBezTo>
                    <a:cubicBezTo>
                      <a:pt x="1521" y="179"/>
                      <a:pt x="1521" y="179"/>
                      <a:pt x="1521" y="179"/>
                    </a:cubicBezTo>
                    <a:cubicBezTo>
                      <a:pt x="1524" y="183"/>
                      <a:pt x="1524" y="183"/>
                      <a:pt x="1524" y="183"/>
                    </a:cubicBezTo>
                    <a:cubicBezTo>
                      <a:pt x="1523" y="185"/>
                      <a:pt x="1523" y="185"/>
                      <a:pt x="1523" y="185"/>
                    </a:cubicBezTo>
                    <a:cubicBezTo>
                      <a:pt x="1525" y="187"/>
                      <a:pt x="1525" y="187"/>
                      <a:pt x="1525" y="187"/>
                    </a:cubicBezTo>
                    <a:cubicBezTo>
                      <a:pt x="1528" y="188"/>
                      <a:pt x="1528" y="188"/>
                      <a:pt x="1528" y="188"/>
                    </a:cubicBezTo>
                    <a:cubicBezTo>
                      <a:pt x="1531" y="193"/>
                      <a:pt x="1531" y="193"/>
                      <a:pt x="1531" y="193"/>
                    </a:cubicBezTo>
                    <a:cubicBezTo>
                      <a:pt x="1535" y="194"/>
                      <a:pt x="1535" y="194"/>
                      <a:pt x="1535" y="194"/>
                    </a:cubicBezTo>
                    <a:close/>
                    <a:moveTo>
                      <a:pt x="1546" y="222"/>
                    </a:moveTo>
                    <a:cubicBezTo>
                      <a:pt x="1548" y="221"/>
                      <a:pt x="1548" y="221"/>
                      <a:pt x="1548" y="221"/>
                    </a:cubicBezTo>
                    <a:cubicBezTo>
                      <a:pt x="1551" y="216"/>
                      <a:pt x="1551" y="216"/>
                      <a:pt x="1551" y="216"/>
                    </a:cubicBezTo>
                    <a:cubicBezTo>
                      <a:pt x="1557" y="213"/>
                      <a:pt x="1557" y="213"/>
                      <a:pt x="1557" y="213"/>
                    </a:cubicBezTo>
                    <a:cubicBezTo>
                      <a:pt x="1563" y="214"/>
                      <a:pt x="1563" y="214"/>
                      <a:pt x="1563" y="214"/>
                    </a:cubicBezTo>
                    <a:cubicBezTo>
                      <a:pt x="1571" y="214"/>
                      <a:pt x="1571" y="214"/>
                      <a:pt x="1571" y="214"/>
                    </a:cubicBezTo>
                    <a:cubicBezTo>
                      <a:pt x="1576" y="213"/>
                      <a:pt x="1576" y="213"/>
                      <a:pt x="1576" y="213"/>
                    </a:cubicBezTo>
                    <a:cubicBezTo>
                      <a:pt x="1585" y="213"/>
                      <a:pt x="1585" y="213"/>
                      <a:pt x="1585" y="213"/>
                    </a:cubicBezTo>
                    <a:cubicBezTo>
                      <a:pt x="1589" y="211"/>
                      <a:pt x="1589" y="211"/>
                      <a:pt x="1589" y="211"/>
                    </a:cubicBezTo>
                    <a:cubicBezTo>
                      <a:pt x="1595" y="211"/>
                      <a:pt x="1595" y="211"/>
                      <a:pt x="1595" y="211"/>
                    </a:cubicBezTo>
                    <a:cubicBezTo>
                      <a:pt x="1598" y="212"/>
                      <a:pt x="1598" y="212"/>
                      <a:pt x="1598" y="212"/>
                    </a:cubicBezTo>
                    <a:cubicBezTo>
                      <a:pt x="1602" y="209"/>
                      <a:pt x="1602" y="209"/>
                      <a:pt x="1602" y="209"/>
                    </a:cubicBezTo>
                    <a:cubicBezTo>
                      <a:pt x="1598" y="206"/>
                      <a:pt x="1598" y="206"/>
                      <a:pt x="1598" y="206"/>
                    </a:cubicBezTo>
                    <a:cubicBezTo>
                      <a:pt x="1597" y="202"/>
                      <a:pt x="1597" y="202"/>
                      <a:pt x="1597" y="202"/>
                    </a:cubicBezTo>
                    <a:cubicBezTo>
                      <a:pt x="1592" y="197"/>
                      <a:pt x="1592" y="197"/>
                      <a:pt x="1592" y="197"/>
                    </a:cubicBezTo>
                    <a:cubicBezTo>
                      <a:pt x="1585" y="191"/>
                      <a:pt x="1585" y="191"/>
                      <a:pt x="1585" y="191"/>
                    </a:cubicBezTo>
                    <a:cubicBezTo>
                      <a:pt x="1579" y="190"/>
                      <a:pt x="1579" y="190"/>
                      <a:pt x="1579" y="190"/>
                    </a:cubicBezTo>
                    <a:cubicBezTo>
                      <a:pt x="1574" y="189"/>
                      <a:pt x="1574" y="189"/>
                      <a:pt x="1574" y="189"/>
                    </a:cubicBezTo>
                    <a:cubicBezTo>
                      <a:pt x="1570" y="185"/>
                      <a:pt x="1570" y="185"/>
                      <a:pt x="1570" y="185"/>
                    </a:cubicBezTo>
                    <a:cubicBezTo>
                      <a:pt x="1567" y="185"/>
                      <a:pt x="1567" y="185"/>
                      <a:pt x="1567" y="185"/>
                    </a:cubicBezTo>
                    <a:cubicBezTo>
                      <a:pt x="1564" y="187"/>
                      <a:pt x="1564" y="187"/>
                      <a:pt x="1564" y="187"/>
                    </a:cubicBezTo>
                    <a:cubicBezTo>
                      <a:pt x="1559" y="185"/>
                      <a:pt x="1559" y="185"/>
                      <a:pt x="1559" y="185"/>
                    </a:cubicBezTo>
                    <a:cubicBezTo>
                      <a:pt x="1556" y="185"/>
                      <a:pt x="1556" y="185"/>
                      <a:pt x="1556" y="185"/>
                    </a:cubicBezTo>
                    <a:cubicBezTo>
                      <a:pt x="1553" y="189"/>
                      <a:pt x="1553" y="189"/>
                      <a:pt x="1553" y="189"/>
                    </a:cubicBezTo>
                    <a:cubicBezTo>
                      <a:pt x="1549" y="195"/>
                      <a:pt x="1549" y="195"/>
                      <a:pt x="1549" y="195"/>
                    </a:cubicBezTo>
                    <a:cubicBezTo>
                      <a:pt x="1550" y="199"/>
                      <a:pt x="1550" y="199"/>
                      <a:pt x="1550" y="199"/>
                    </a:cubicBezTo>
                    <a:cubicBezTo>
                      <a:pt x="1550" y="206"/>
                      <a:pt x="1550" y="206"/>
                      <a:pt x="1550" y="206"/>
                    </a:cubicBezTo>
                    <a:cubicBezTo>
                      <a:pt x="1547" y="215"/>
                      <a:pt x="1547" y="215"/>
                      <a:pt x="1547" y="215"/>
                    </a:cubicBezTo>
                    <a:cubicBezTo>
                      <a:pt x="1544" y="218"/>
                      <a:pt x="1544" y="218"/>
                      <a:pt x="1544" y="218"/>
                    </a:cubicBezTo>
                    <a:cubicBezTo>
                      <a:pt x="1543" y="222"/>
                      <a:pt x="1543" y="222"/>
                      <a:pt x="1543" y="222"/>
                    </a:cubicBezTo>
                    <a:cubicBezTo>
                      <a:pt x="1546" y="222"/>
                      <a:pt x="1546" y="222"/>
                      <a:pt x="1546" y="222"/>
                    </a:cubicBezTo>
                    <a:close/>
                    <a:moveTo>
                      <a:pt x="1454" y="204"/>
                    </a:moveTo>
                    <a:cubicBezTo>
                      <a:pt x="1456" y="207"/>
                      <a:pt x="1456" y="207"/>
                      <a:pt x="1456" y="207"/>
                    </a:cubicBezTo>
                    <a:cubicBezTo>
                      <a:pt x="1458" y="210"/>
                      <a:pt x="1458" y="210"/>
                      <a:pt x="1458" y="210"/>
                    </a:cubicBezTo>
                    <a:cubicBezTo>
                      <a:pt x="1462" y="210"/>
                      <a:pt x="1462" y="210"/>
                      <a:pt x="1462" y="210"/>
                    </a:cubicBezTo>
                    <a:cubicBezTo>
                      <a:pt x="1465" y="212"/>
                      <a:pt x="1465" y="212"/>
                      <a:pt x="1465" y="212"/>
                    </a:cubicBezTo>
                    <a:cubicBezTo>
                      <a:pt x="1470" y="213"/>
                      <a:pt x="1470" y="213"/>
                      <a:pt x="1470" y="213"/>
                    </a:cubicBezTo>
                    <a:cubicBezTo>
                      <a:pt x="1474" y="216"/>
                      <a:pt x="1474" y="216"/>
                      <a:pt x="1474" y="216"/>
                    </a:cubicBezTo>
                    <a:cubicBezTo>
                      <a:pt x="1476" y="216"/>
                      <a:pt x="1476" y="216"/>
                      <a:pt x="1476" y="216"/>
                    </a:cubicBezTo>
                    <a:cubicBezTo>
                      <a:pt x="1476" y="214"/>
                      <a:pt x="1476" y="214"/>
                      <a:pt x="1476" y="214"/>
                    </a:cubicBezTo>
                    <a:cubicBezTo>
                      <a:pt x="1471" y="209"/>
                      <a:pt x="1471" y="209"/>
                      <a:pt x="1471" y="209"/>
                    </a:cubicBezTo>
                    <a:cubicBezTo>
                      <a:pt x="1467" y="207"/>
                      <a:pt x="1467" y="207"/>
                      <a:pt x="1467" y="207"/>
                    </a:cubicBezTo>
                    <a:cubicBezTo>
                      <a:pt x="1463" y="207"/>
                      <a:pt x="1463" y="207"/>
                      <a:pt x="1463" y="207"/>
                    </a:cubicBezTo>
                    <a:cubicBezTo>
                      <a:pt x="1458" y="203"/>
                      <a:pt x="1458" y="203"/>
                      <a:pt x="1458" y="203"/>
                    </a:cubicBezTo>
                    <a:cubicBezTo>
                      <a:pt x="1455" y="203"/>
                      <a:pt x="1455" y="203"/>
                      <a:pt x="1455" y="203"/>
                    </a:cubicBezTo>
                    <a:cubicBezTo>
                      <a:pt x="1454" y="204"/>
                      <a:pt x="1454" y="204"/>
                      <a:pt x="1454" y="204"/>
                    </a:cubicBezTo>
                    <a:close/>
                    <a:moveTo>
                      <a:pt x="1577" y="321"/>
                    </a:moveTo>
                    <a:cubicBezTo>
                      <a:pt x="1580" y="325"/>
                      <a:pt x="1580" y="325"/>
                      <a:pt x="1580" y="325"/>
                    </a:cubicBezTo>
                    <a:cubicBezTo>
                      <a:pt x="1583" y="326"/>
                      <a:pt x="1583" y="326"/>
                      <a:pt x="1583" y="326"/>
                    </a:cubicBezTo>
                    <a:cubicBezTo>
                      <a:pt x="1584" y="324"/>
                      <a:pt x="1584" y="324"/>
                      <a:pt x="1584" y="324"/>
                    </a:cubicBezTo>
                    <a:cubicBezTo>
                      <a:pt x="1589" y="323"/>
                      <a:pt x="1589" y="323"/>
                      <a:pt x="1589" y="323"/>
                    </a:cubicBezTo>
                    <a:cubicBezTo>
                      <a:pt x="1590" y="321"/>
                      <a:pt x="1590" y="321"/>
                      <a:pt x="1590" y="321"/>
                    </a:cubicBezTo>
                    <a:cubicBezTo>
                      <a:pt x="1588" y="319"/>
                      <a:pt x="1588" y="319"/>
                      <a:pt x="1588" y="319"/>
                    </a:cubicBezTo>
                    <a:cubicBezTo>
                      <a:pt x="1587" y="315"/>
                      <a:pt x="1587" y="315"/>
                      <a:pt x="1587" y="315"/>
                    </a:cubicBezTo>
                    <a:cubicBezTo>
                      <a:pt x="1585" y="315"/>
                      <a:pt x="1585" y="315"/>
                      <a:pt x="1585" y="315"/>
                    </a:cubicBezTo>
                    <a:cubicBezTo>
                      <a:pt x="1585" y="318"/>
                      <a:pt x="1585" y="318"/>
                      <a:pt x="1585" y="318"/>
                    </a:cubicBezTo>
                    <a:cubicBezTo>
                      <a:pt x="1581" y="321"/>
                      <a:pt x="1581" y="321"/>
                      <a:pt x="1581" y="321"/>
                    </a:cubicBezTo>
                    <a:cubicBezTo>
                      <a:pt x="1577" y="321"/>
                      <a:pt x="1577" y="321"/>
                      <a:pt x="1577" y="321"/>
                    </a:cubicBezTo>
                    <a:close/>
                    <a:moveTo>
                      <a:pt x="2006" y="289"/>
                    </a:moveTo>
                    <a:cubicBezTo>
                      <a:pt x="2007" y="289"/>
                      <a:pt x="2007" y="289"/>
                      <a:pt x="2007" y="289"/>
                    </a:cubicBezTo>
                    <a:cubicBezTo>
                      <a:pt x="2008" y="286"/>
                      <a:pt x="2008" y="286"/>
                      <a:pt x="2008" y="286"/>
                    </a:cubicBezTo>
                    <a:cubicBezTo>
                      <a:pt x="2007" y="283"/>
                      <a:pt x="2007" y="283"/>
                      <a:pt x="2007" y="283"/>
                    </a:cubicBezTo>
                    <a:cubicBezTo>
                      <a:pt x="2005" y="283"/>
                      <a:pt x="2005" y="283"/>
                      <a:pt x="2005" y="283"/>
                    </a:cubicBezTo>
                    <a:cubicBezTo>
                      <a:pt x="2004" y="284"/>
                      <a:pt x="2004" y="284"/>
                      <a:pt x="2004" y="284"/>
                    </a:cubicBezTo>
                    <a:cubicBezTo>
                      <a:pt x="2006" y="289"/>
                      <a:pt x="2006" y="289"/>
                      <a:pt x="2006" y="289"/>
                    </a:cubicBezTo>
                    <a:close/>
                    <a:moveTo>
                      <a:pt x="2003" y="292"/>
                    </a:moveTo>
                    <a:cubicBezTo>
                      <a:pt x="2005" y="293"/>
                      <a:pt x="2005" y="293"/>
                      <a:pt x="2005" y="293"/>
                    </a:cubicBezTo>
                    <a:cubicBezTo>
                      <a:pt x="2005" y="290"/>
                      <a:pt x="2005" y="290"/>
                      <a:pt x="2005" y="290"/>
                    </a:cubicBezTo>
                    <a:cubicBezTo>
                      <a:pt x="2003" y="287"/>
                      <a:pt x="2003" y="287"/>
                      <a:pt x="2003" y="287"/>
                    </a:cubicBezTo>
                    <a:cubicBezTo>
                      <a:pt x="2001" y="287"/>
                      <a:pt x="2001" y="287"/>
                      <a:pt x="2001" y="287"/>
                    </a:cubicBezTo>
                    <a:cubicBezTo>
                      <a:pt x="2000" y="289"/>
                      <a:pt x="2000" y="289"/>
                      <a:pt x="2000" y="289"/>
                    </a:cubicBezTo>
                    <a:cubicBezTo>
                      <a:pt x="2003" y="292"/>
                      <a:pt x="2003" y="292"/>
                      <a:pt x="2003" y="292"/>
                    </a:cubicBezTo>
                    <a:close/>
                    <a:moveTo>
                      <a:pt x="2000" y="294"/>
                    </a:moveTo>
                    <a:cubicBezTo>
                      <a:pt x="2003" y="298"/>
                      <a:pt x="2003" y="298"/>
                      <a:pt x="2003" y="298"/>
                    </a:cubicBezTo>
                    <a:cubicBezTo>
                      <a:pt x="2005" y="301"/>
                      <a:pt x="2005" y="301"/>
                      <a:pt x="2005" y="301"/>
                    </a:cubicBezTo>
                    <a:cubicBezTo>
                      <a:pt x="2006" y="300"/>
                      <a:pt x="2006" y="300"/>
                      <a:pt x="2006" y="300"/>
                    </a:cubicBezTo>
                    <a:cubicBezTo>
                      <a:pt x="2005" y="295"/>
                      <a:pt x="2005" y="295"/>
                      <a:pt x="2005" y="295"/>
                    </a:cubicBezTo>
                    <a:cubicBezTo>
                      <a:pt x="2001" y="292"/>
                      <a:pt x="2001" y="292"/>
                      <a:pt x="2001" y="292"/>
                    </a:cubicBezTo>
                    <a:cubicBezTo>
                      <a:pt x="2000" y="292"/>
                      <a:pt x="2000" y="292"/>
                      <a:pt x="2000" y="292"/>
                    </a:cubicBezTo>
                    <a:cubicBezTo>
                      <a:pt x="2000" y="294"/>
                      <a:pt x="2000" y="294"/>
                      <a:pt x="2000" y="294"/>
                    </a:cubicBezTo>
                    <a:close/>
                    <a:moveTo>
                      <a:pt x="1990" y="291"/>
                    </a:moveTo>
                    <a:cubicBezTo>
                      <a:pt x="1992" y="295"/>
                      <a:pt x="1992" y="295"/>
                      <a:pt x="1992" y="295"/>
                    </a:cubicBezTo>
                    <a:cubicBezTo>
                      <a:pt x="1995" y="297"/>
                      <a:pt x="1995" y="297"/>
                      <a:pt x="1995" y="297"/>
                    </a:cubicBezTo>
                    <a:cubicBezTo>
                      <a:pt x="1996" y="295"/>
                      <a:pt x="1996" y="295"/>
                      <a:pt x="1996" y="295"/>
                    </a:cubicBezTo>
                    <a:cubicBezTo>
                      <a:pt x="1997" y="294"/>
                      <a:pt x="1997" y="294"/>
                      <a:pt x="1997" y="294"/>
                    </a:cubicBezTo>
                    <a:cubicBezTo>
                      <a:pt x="1996" y="291"/>
                      <a:pt x="1996" y="291"/>
                      <a:pt x="1996" y="291"/>
                    </a:cubicBezTo>
                    <a:cubicBezTo>
                      <a:pt x="1994" y="289"/>
                      <a:pt x="1994" y="289"/>
                      <a:pt x="1994" y="289"/>
                    </a:cubicBezTo>
                    <a:cubicBezTo>
                      <a:pt x="1993" y="290"/>
                      <a:pt x="1993" y="290"/>
                      <a:pt x="1993" y="290"/>
                    </a:cubicBezTo>
                    <a:cubicBezTo>
                      <a:pt x="1990" y="291"/>
                      <a:pt x="1990" y="291"/>
                      <a:pt x="1990" y="291"/>
                    </a:cubicBezTo>
                    <a:close/>
                    <a:moveTo>
                      <a:pt x="2097" y="249"/>
                    </a:moveTo>
                    <a:cubicBezTo>
                      <a:pt x="2101" y="251"/>
                      <a:pt x="2101" y="251"/>
                      <a:pt x="2101" y="251"/>
                    </a:cubicBezTo>
                    <a:cubicBezTo>
                      <a:pt x="2106" y="250"/>
                      <a:pt x="2106" y="250"/>
                      <a:pt x="2106" y="250"/>
                    </a:cubicBezTo>
                    <a:cubicBezTo>
                      <a:pt x="2108" y="246"/>
                      <a:pt x="2108" y="246"/>
                      <a:pt x="2108" y="246"/>
                    </a:cubicBezTo>
                    <a:cubicBezTo>
                      <a:pt x="2107" y="242"/>
                      <a:pt x="2107" y="242"/>
                      <a:pt x="2107" y="242"/>
                    </a:cubicBezTo>
                    <a:cubicBezTo>
                      <a:pt x="2104" y="239"/>
                      <a:pt x="2104" y="239"/>
                      <a:pt x="2104" y="239"/>
                    </a:cubicBezTo>
                    <a:cubicBezTo>
                      <a:pt x="2106" y="238"/>
                      <a:pt x="2106" y="238"/>
                      <a:pt x="2106" y="238"/>
                    </a:cubicBezTo>
                    <a:cubicBezTo>
                      <a:pt x="2104" y="234"/>
                      <a:pt x="2104" y="234"/>
                      <a:pt x="2104" y="234"/>
                    </a:cubicBezTo>
                    <a:cubicBezTo>
                      <a:pt x="2100" y="231"/>
                      <a:pt x="2100" y="231"/>
                      <a:pt x="2100" y="231"/>
                    </a:cubicBezTo>
                    <a:cubicBezTo>
                      <a:pt x="2099" y="233"/>
                      <a:pt x="2099" y="233"/>
                      <a:pt x="2099" y="233"/>
                    </a:cubicBezTo>
                    <a:cubicBezTo>
                      <a:pt x="2096" y="233"/>
                      <a:pt x="2096" y="233"/>
                      <a:pt x="2096" y="233"/>
                    </a:cubicBezTo>
                    <a:cubicBezTo>
                      <a:pt x="2093" y="231"/>
                      <a:pt x="2093" y="231"/>
                      <a:pt x="2093" y="231"/>
                    </a:cubicBezTo>
                    <a:cubicBezTo>
                      <a:pt x="2089" y="231"/>
                      <a:pt x="2089" y="231"/>
                      <a:pt x="2089" y="231"/>
                    </a:cubicBezTo>
                    <a:cubicBezTo>
                      <a:pt x="2088" y="233"/>
                      <a:pt x="2088" y="233"/>
                      <a:pt x="2088" y="233"/>
                    </a:cubicBezTo>
                    <a:cubicBezTo>
                      <a:pt x="2086" y="233"/>
                      <a:pt x="2086" y="233"/>
                      <a:pt x="2086" y="233"/>
                    </a:cubicBezTo>
                    <a:cubicBezTo>
                      <a:pt x="2086" y="234"/>
                      <a:pt x="2086" y="234"/>
                      <a:pt x="2086" y="234"/>
                    </a:cubicBezTo>
                    <a:cubicBezTo>
                      <a:pt x="2083" y="235"/>
                      <a:pt x="2083" y="235"/>
                      <a:pt x="2083" y="235"/>
                    </a:cubicBezTo>
                    <a:cubicBezTo>
                      <a:pt x="2082" y="238"/>
                      <a:pt x="2082" y="238"/>
                      <a:pt x="2082" y="238"/>
                    </a:cubicBezTo>
                    <a:cubicBezTo>
                      <a:pt x="2082" y="244"/>
                      <a:pt x="2082" y="244"/>
                      <a:pt x="2082" y="244"/>
                    </a:cubicBezTo>
                    <a:cubicBezTo>
                      <a:pt x="2084" y="245"/>
                      <a:pt x="2084" y="245"/>
                      <a:pt x="2084" y="245"/>
                    </a:cubicBezTo>
                    <a:cubicBezTo>
                      <a:pt x="2088" y="245"/>
                      <a:pt x="2088" y="245"/>
                      <a:pt x="2088" y="245"/>
                    </a:cubicBezTo>
                    <a:cubicBezTo>
                      <a:pt x="2093" y="246"/>
                      <a:pt x="2093" y="246"/>
                      <a:pt x="2093" y="246"/>
                    </a:cubicBezTo>
                    <a:cubicBezTo>
                      <a:pt x="2097" y="249"/>
                      <a:pt x="2097" y="249"/>
                      <a:pt x="2097" y="249"/>
                    </a:cubicBezTo>
                    <a:close/>
                    <a:moveTo>
                      <a:pt x="2121" y="240"/>
                    </a:moveTo>
                    <a:cubicBezTo>
                      <a:pt x="2123" y="238"/>
                      <a:pt x="2123" y="238"/>
                      <a:pt x="2123" y="238"/>
                    </a:cubicBezTo>
                    <a:cubicBezTo>
                      <a:pt x="2124" y="236"/>
                      <a:pt x="2124" y="236"/>
                      <a:pt x="2124" y="236"/>
                    </a:cubicBezTo>
                    <a:cubicBezTo>
                      <a:pt x="2121" y="236"/>
                      <a:pt x="2121" y="236"/>
                      <a:pt x="2121" y="236"/>
                    </a:cubicBezTo>
                    <a:cubicBezTo>
                      <a:pt x="2119" y="238"/>
                      <a:pt x="2119" y="238"/>
                      <a:pt x="2119" y="238"/>
                    </a:cubicBezTo>
                    <a:cubicBezTo>
                      <a:pt x="2121" y="240"/>
                      <a:pt x="2121" y="240"/>
                      <a:pt x="2121" y="240"/>
                    </a:cubicBezTo>
                    <a:close/>
                    <a:moveTo>
                      <a:pt x="2147" y="1235"/>
                    </a:moveTo>
                    <a:cubicBezTo>
                      <a:pt x="2147" y="1231"/>
                      <a:pt x="2147" y="1231"/>
                      <a:pt x="2147" y="1231"/>
                    </a:cubicBezTo>
                    <a:cubicBezTo>
                      <a:pt x="2148" y="1227"/>
                      <a:pt x="2148" y="1227"/>
                      <a:pt x="2148" y="1227"/>
                    </a:cubicBezTo>
                    <a:cubicBezTo>
                      <a:pt x="2146" y="1223"/>
                      <a:pt x="2146" y="1223"/>
                      <a:pt x="2146" y="1223"/>
                    </a:cubicBezTo>
                    <a:cubicBezTo>
                      <a:pt x="2145" y="1219"/>
                      <a:pt x="2145" y="1219"/>
                      <a:pt x="2145" y="1219"/>
                    </a:cubicBezTo>
                    <a:cubicBezTo>
                      <a:pt x="2146" y="1213"/>
                      <a:pt x="2146" y="1213"/>
                      <a:pt x="2146" y="1213"/>
                    </a:cubicBezTo>
                    <a:cubicBezTo>
                      <a:pt x="2149" y="1210"/>
                      <a:pt x="2149" y="1210"/>
                      <a:pt x="2149" y="1210"/>
                    </a:cubicBezTo>
                    <a:cubicBezTo>
                      <a:pt x="2151" y="1211"/>
                      <a:pt x="2151" y="1211"/>
                      <a:pt x="2151" y="1211"/>
                    </a:cubicBezTo>
                    <a:cubicBezTo>
                      <a:pt x="2151" y="1213"/>
                      <a:pt x="2151" y="1213"/>
                      <a:pt x="2151" y="1213"/>
                    </a:cubicBezTo>
                    <a:cubicBezTo>
                      <a:pt x="2153" y="1215"/>
                      <a:pt x="2153" y="1215"/>
                      <a:pt x="2153" y="1215"/>
                    </a:cubicBezTo>
                    <a:cubicBezTo>
                      <a:pt x="2161" y="1214"/>
                      <a:pt x="2161" y="1214"/>
                      <a:pt x="2161" y="1214"/>
                    </a:cubicBezTo>
                    <a:cubicBezTo>
                      <a:pt x="2161" y="1213"/>
                      <a:pt x="2161" y="1213"/>
                      <a:pt x="2161" y="1213"/>
                    </a:cubicBezTo>
                    <a:cubicBezTo>
                      <a:pt x="2163" y="1212"/>
                      <a:pt x="2163" y="1212"/>
                      <a:pt x="2163" y="1212"/>
                    </a:cubicBezTo>
                    <a:cubicBezTo>
                      <a:pt x="2164" y="1214"/>
                      <a:pt x="2164" y="1214"/>
                      <a:pt x="2164" y="1214"/>
                    </a:cubicBezTo>
                    <a:cubicBezTo>
                      <a:pt x="2163" y="1215"/>
                      <a:pt x="2163" y="1215"/>
                      <a:pt x="2163" y="1215"/>
                    </a:cubicBezTo>
                    <a:cubicBezTo>
                      <a:pt x="2164" y="1218"/>
                      <a:pt x="2164" y="1218"/>
                      <a:pt x="2164" y="1218"/>
                    </a:cubicBezTo>
                    <a:cubicBezTo>
                      <a:pt x="2168" y="1222"/>
                      <a:pt x="2168" y="1222"/>
                      <a:pt x="2168" y="1222"/>
                    </a:cubicBezTo>
                    <a:cubicBezTo>
                      <a:pt x="2168" y="1226"/>
                      <a:pt x="2168" y="1226"/>
                      <a:pt x="2168" y="1226"/>
                    </a:cubicBezTo>
                    <a:cubicBezTo>
                      <a:pt x="2171" y="1228"/>
                      <a:pt x="2171" y="1228"/>
                      <a:pt x="2171" y="1228"/>
                    </a:cubicBezTo>
                    <a:cubicBezTo>
                      <a:pt x="2171" y="1225"/>
                      <a:pt x="2171" y="1225"/>
                      <a:pt x="2171" y="1225"/>
                    </a:cubicBezTo>
                    <a:cubicBezTo>
                      <a:pt x="2170" y="1223"/>
                      <a:pt x="2170" y="1223"/>
                      <a:pt x="2170" y="1223"/>
                    </a:cubicBezTo>
                    <a:cubicBezTo>
                      <a:pt x="2170" y="1219"/>
                      <a:pt x="2170" y="1219"/>
                      <a:pt x="2170" y="1219"/>
                    </a:cubicBezTo>
                    <a:cubicBezTo>
                      <a:pt x="2170" y="1215"/>
                      <a:pt x="2170" y="1215"/>
                      <a:pt x="2170" y="1215"/>
                    </a:cubicBezTo>
                    <a:cubicBezTo>
                      <a:pt x="2166" y="1212"/>
                      <a:pt x="2166" y="1212"/>
                      <a:pt x="2166" y="1212"/>
                    </a:cubicBezTo>
                    <a:cubicBezTo>
                      <a:pt x="2166" y="1207"/>
                      <a:pt x="2166" y="1207"/>
                      <a:pt x="2166" y="1207"/>
                    </a:cubicBezTo>
                    <a:cubicBezTo>
                      <a:pt x="2164" y="1204"/>
                      <a:pt x="2164" y="1204"/>
                      <a:pt x="2164" y="1204"/>
                    </a:cubicBezTo>
                    <a:cubicBezTo>
                      <a:pt x="2161" y="1206"/>
                      <a:pt x="2161" y="1206"/>
                      <a:pt x="2161" y="1206"/>
                    </a:cubicBezTo>
                    <a:cubicBezTo>
                      <a:pt x="2159" y="1206"/>
                      <a:pt x="2159" y="1206"/>
                      <a:pt x="2159" y="1206"/>
                    </a:cubicBezTo>
                    <a:cubicBezTo>
                      <a:pt x="2154" y="1202"/>
                      <a:pt x="2154" y="1202"/>
                      <a:pt x="2154" y="1202"/>
                    </a:cubicBezTo>
                    <a:cubicBezTo>
                      <a:pt x="2153" y="1197"/>
                      <a:pt x="2153" y="1197"/>
                      <a:pt x="2153" y="1197"/>
                    </a:cubicBezTo>
                    <a:cubicBezTo>
                      <a:pt x="2150" y="1193"/>
                      <a:pt x="2150" y="1193"/>
                      <a:pt x="2150" y="1193"/>
                    </a:cubicBezTo>
                    <a:cubicBezTo>
                      <a:pt x="2146" y="1189"/>
                      <a:pt x="2146" y="1189"/>
                      <a:pt x="2146" y="1189"/>
                    </a:cubicBezTo>
                    <a:cubicBezTo>
                      <a:pt x="2143" y="1188"/>
                      <a:pt x="2143" y="1188"/>
                      <a:pt x="2143" y="1188"/>
                    </a:cubicBezTo>
                    <a:cubicBezTo>
                      <a:pt x="2140" y="1184"/>
                      <a:pt x="2140" y="1184"/>
                      <a:pt x="2140" y="1184"/>
                    </a:cubicBezTo>
                    <a:cubicBezTo>
                      <a:pt x="2138" y="1178"/>
                      <a:pt x="2138" y="1178"/>
                      <a:pt x="2138" y="1178"/>
                    </a:cubicBezTo>
                    <a:cubicBezTo>
                      <a:pt x="2135" y="1173"/>
                      <a:pt x="2135" y="1173"/>
                      <a:pt x="2135" y="1173"/>
                    </a:cubicBezTo>
                    <a:cubicBezTo>
                      <a:pt x="2134" y="1169"/>
                      <a:pt x="2134" y="1169"/>
                      <a:pt x="2134" y="1169"/>
                    </a:cubicBezTo>
                    <a:cubicBezTo>
                      <a:pt x="2134" y="1163"/>
                      <a:pt x="2134" y="1163"/>
                      <a:pt x="2134" y="1163"/>
                    </a:cubicBezTo>
                    <a:cubicBezTo>
                      <a:pt x="2133" y="1155"/>
                      <a:pt x="2133" y="1155"/>
                      <a:pt x="2133" y="1155"/>
                    </a:cubicBezTo>
                    <a:cubicBezTo>
                      <a:pt x="2131" y="1152"/>
                      <a:pt x="2131" y="1152"/>
                      <a:pt x="2131" y="1152"/>
                    </a:cubicBezTo>
                    <a:cubicBezTo>
                      <a:pt x="2132" y="1145"/>
                      <a:pt x="2132" y="1145"/>
                      <a:pt x="2132" y="1145"/>
                    </a:cubicBezTo>
                    <a:cubicBezTo>
                      <a:pt x="2131" y="1142"/>
                      <a:pt x="2131" y="1142"/>
                      <a:pt x="2131" y="1142"/>
                    </a:cubicBezTo>
                    <a:cubicBezTo>
                      <a:pt x="2129" y="1137"/>
                      <a:pt x="2129" y="1137"/>
                      <a:pt x="2129" y="1137"/>
                    </a:cubicBezTo>
                    <a:cubicBezTo>
                      <a:pt x="2130" y="1135"/>
                      <a:pt x="2130" y="1135"/>
                      <a:pt x="2130" y="1135"/>
                    </a:cubicBezTo>
                    <a:cubicBezTo>
                      <a:pt x="2131" y="1132"/>
                      <a:pt x="2131" y="1132"/>
                      <a:pt x="2131" y="1132"/>
                    </a:cubicBezTo>
                    <a:cubicBezTo>
                      <a:pt x="2131" y="1130"/>
                      <a:pt x="2131" y="1130"/>
                      <a:pt x="2131" y="1130"/>
                    </a:cubicBezTo>
                    <a:cubicBezTo>
                      <a:pt x="2133" y="1129"/>
                      <a:pt x="2133" y="1129"/>
                      <a:pt x="2133" y="1129"/>
                    </a:cubicBezTo>
                    <a:cubicBezTo>
                      <a:pt x="2135" y="1130"/>
                      <a:pt x="2135" y="1130"/>
                      <a:pt x="2135" y="1130"/>
                    </a:cubicBezTo>
                    <a:cubicBezTo>
                      <a:pt x="2139" y="1129"/>
                      <a:pt x="2139" y="1129"/>
                      <a:pt x="2139" y="1129"/>
                    </a:cubicBezTo>
                    <a:cubicBezTo>
                      <a:pt x="2144" y="1129"/>
                      <a:pt x="2144" y="1129"/>
                      <a:pt x="2144" y="1129"/>
                    </a:cubicBezTo>
                    <a:cubicBezTo>
                      <a:pt x="2148" y="1132"/>
                      <a:pt x="2148" y="1132"/>
                      <a:pt x="2148" y="1132"/>
                    </a:cubicBezTo>
                    <a:cubicBezTo>
                      <a:pt x="2151" y="1137"/>
                      <a:pt x="2151" y="1137"/>
                      <a:pt x="2151" y="1137"/>
                    </a:cubicBezTo>
                    <a:cubicBezTo>
                      <a:pt x="2155" y="1139"/>
                      <a:pt x="2155" y="1139"/>
                      <a:pt x="2155" y="1139"/>
                    </a:cubicBezTo>
                    <a:cubicBezTo>
                      <a:pt x="2158" y="1141"/>
                      <a:pt x="2158" y="1141"/>
                      <a:pt x="2158" y="1141"/>
                    </a:cubicBezTo>
                    <a:cubicBezTo>
                      <a:pt x="2162" y="1146"/>
                      <a:pt x="2162" y="1146"/>
                      <a:pt x="2162" y="1146"/>
                    </a:cubicBezTo>
                    <a:cubicBezTo>
                      <a:pt x="2164" y="1147"/>
                      <a:pt x="2164" y="1147"/>
                      <a:pt x="2164" y="1147"/>
                    </a:cubicBezTo>
                    <a:cubicBezTo>
                      <a:pt x="2162" y="1142"/>
                      <a:pt x="2162" y="1142"/>
                      <a:pt x="2162" y="1142"/>
                    </a:cubicBezTo>
                    <a:cubicBezTo>
                      <a:pt x="2158" y="1138"/>
                      <a:pt x="2158" y="1138"/>
                      <a:pt x="2158" y="1138"/>
                    </a:cubicBezTo>
                    <a:cubicBezTo>
                      <a:pt x="2153" y="1134"/>
                      <a:pt x="2153" y="1134"/>
                      <a:pt x="2153" y="1134"/>
                    </a:cubicBezTo>
                    <a:cubicBezTo>
                      <a:pt x="2150" y="1129"/>
                      <a:pt x="2150" y="1129"/>
                      <a:pt x="2150" y="1129"/>
                    </a:cubicBezTo>
                    <a:cubicBezTo>
                      <a:pt x="2146" y="1124"/>
                      <a:pt x="2146" y="1124"/>
                      <a:pt x="2146" y="1124"/>
                    </a:cubicBezTo>
                    <a:cubicBezTo>
                      <a:pt x="2146" y="1122"/>
                      <a:pt x="2146" y="1122"/>
                      <a:pt x="2146" y="1122"/>
                    </a:cubicBezTo>
                    <a:cubicBezTo>
                      <a:pt x="2144" y="1120"/>
                      <a:pt x="2144" y="1120"/>
                      <a:pt x="2144" y="1120"/>
                    </a:cubicBezTo>
                    <a:cubicBezTo>
                      <a:pt x="2140" y="1113"/>
                      <a:pt x="2140" y="1113"/>
                      <a:pt x="2140" y="1113"/>
                    </a:cubicBezTo>
                    <a:cubicBezTo>
                      <a:pt x="2139" y="1109"/>
                      <a:pt x="2139" y="1109"/>
                      <a:pt x="2139" y="1109"/>
                    </a:cubicBezTo>
                    <a:cubicBezTo>
                      <a:pt x="2136" y="1108"/>
                      <a:pt x="2136" y="1108"/>
                      <a:pt x="2136" y="1108"/>
                    </a:cubicBezTo>
                    <a:cubicBezTo>
                      <a:pt x="2136" y="1104"/>
                      <a:pt x="2136" y="1104"/>
                      <a:pt x="2136" y="1104"/>
                    </a:cubicBezTo>
                    <a:cubicBezTo>
                      <a:pt x="2130" y="1098"/>
                      <a:pt x="2130" y="1098"/>
                      <a:pt x="2130" y="1098"/>
                    </a:cubicBezTo>
                    <a:cubicBezTo>
                      <a:pt x="2125" y="1089"/>
                      <a:pt x="2125" y="1089"/>
                      <a:pt x="2125" y="1089"/>
                    </a:cubicBezTo>
                    <a:cubicBezTo>
                      <a:pt x="2123" y="1084"/>
                      <a:pt x="2123" y="1084"/>
                      <a:pt x="2123" y="1084"/>
                    </a:cubicBezTo>
                    <a:cubicBezTo>
                      <a:pt x="2117" y="1075"/>
                      <a:pt x="2117" y="1075"/>
                      <a:pt x="2117" y="1075"/>
                    </a:cubicBezTo>
                    <a:cubicBezTo>
                      <a:pt x="2113" y="1069"/>
                      <a:pt x="2113" y="1069"/>
                      <a:pt x="2113" y="1069"/>
                    </a:cubicBezTo>
                    <a:cubicBezTo>
                      <a:pt x="2110" y="1067"/>
                      <a:pt x="2110" y="1067"/>
                      <a:pt x="2110" y="1067"/>
                    </a:cubicBezTo>
                    <a:cubicBezTo>
                      <a:pt x="2110" y="1063"/>
                      <a:pt x="2110" y="1063"/>
                      <a:pt x="2110" y="1063"/>
                    </a:cubicBezTo>
                    <a:cubicBezTo>
                      <a:pt x="2108" y="1060"/>
                      <a:pt x="2108" y="1060"/>
                      <a:pt x="2108" y="1060"/>
                    </a:cubicBezTo>
                    <a:cubicBezTo>
                      <a:pt x="2106" y="1059"/>
                      <a:pt x="2106" y="1059"/>
                      <a:pt x="2106" y="1059"/>
                    </a:cubicBezTo>
                    <a:cubicBezTo>
                      <a:pt x="2106" y="1060"/>
                      <a:pt x="2106" y="1060"/>
                      <a:pt x="2106" y="1060"/>
                    </a:cubicBezTo>
                    <a:cubicBezTo>
                      <a:pt x="2103" y="1060"/>
                      <a:pt x="2103" y="1060"/>
                      <a:pt x="2103" y="1060"/>
                    </a:cubicBezTo>
                    <a:cubicBezTo>
                      <a:pt x="2102" y="1059"/>
                      <a:pt x="2102" y="1059"/>
                      <a:pt x="2102" y="1059"/>
                    </a:cubicBezTo>
                    <a:cubicBezTo>
                      <a:pt x="2103" y="1056"/>
                      <a:pt x="2103" y="1056"/>
                      <a:pt x="2103" y="1056"/>
                    </a:cubicBezTo>
                    <a:cubicBezTo>
                      <a:pt x="2102" y="1053"/>
                      <a:pt x="2102" y="1053"/>
                      <a:pt x="2102" y="1053"/>
                    </a:cubicBezTo>
                    <a:cubicBezTo>
                      <a:pt x="2098" y="1051"/>
                      <a:pt x="2098" y="1051"/>
                      <a:pt x="2098" y="1051"/>
                    </a:cubicBezTo>
                    <a:cubicBezTo>
                      <a:pt x="2095" y="1047"/>
                      <a:pt x="2095" y="1047"/>
                      <a:pt x="2095" y="1047"/>
                    </a:cubicBezTo>
                    <a:cubicBezTo>
                      <a:pt x="2093" y="1042"/>
                      <a:pt x="2093" y="1042"/>
                      <a:pt x="2093" y="1042"/>
                    </a:cubicBezTo>
                    <a:cubicBezTo>
                      <a:pt x="2091" y="1039"/>
                      <a:pt x="2091" y="1039"/>
                      <a:pt x="2091" y="1039"/>
                    </a:cubicBezTo>
                    <a:cubicBezTo>
                      <a:pt x="2091" y="1035"/>
                      <a:pt x="2091" y="1035"/>
                      <a:pt x="2091" y="1035"/>
                    </a:cubicBezTo>
                    <a:cubicBezTo>
                      <a:pt x="2092" y="1032"/>
                      <a:pt x="2092" y="1032"/>
                      <a:pt x="2092" y="1032"/>
                    </a:cubicBezTo>
                    <a:cubicBezTo>
                      <a:pt x="2092" y="1033"/>
                      <a:pt x="2092" y="1033"/>
                      <a:pt x="2092" y="1033"/>
                    </a:cubicBezTo>
                    <a:cubicBezTo>
                      <a:pt x="2091" y="1027"/>
                      <a:pt x="2091" y="1027"/>
                      <a:pt x="2091" y="1027"/>
                    </a:cubicBezTo>
                    <a:cubicBezTo>
                      <a:pt x="2091" y="1021"/>
                      <a:pt x="2091" y="1021"/>
                      <a:pt x="2091" y="1021"/>
                    </a:cubicBezTo>
                    <a:cubicBezTo>
                      <a:pt x="2090" y="1017"/>
                      <a:pt x="2090" y="1017"/>
                      <a:pt x="2090" y="1017"/>
                    </a:cubicBezTo>
                    <a:cubicBezTo>
                      <a:pt x="2086" y="1015"/>
                      <a:pt x="2086" y="1015"/>
                      <a:pt x="2086" y="1015"/>
                    </a:cubicBezTo>
                    <a:cubicBezTo>
                      <a:pt x="2082" y="1011"/>
                      <a:pt x="2082" y="1011"/>
                      <a:pt x="2082" y="1011"/>
                    </a:cubicBezTo>
                    <a:cubicBezTo>
                      <a:pt x="2081" y="1009"/>
                      <a:pt x="2081" y="1009"/>
                      <a:pt x="2081" y="1009"/>
                    </a:cubicBezTo>
                    <a:cubicBezTo>
                      <a:pt x="2079" y="1007"/>
                      <a:pt x="2079" y="1007"/>
                      <a:pt x="2079" y="1007"/>
                    </a:cubicBezTo>
                    <a:cubicBezTo>
                      <a:pt x="2079" y="1005"/>
                      <a:pt x="2079" y="1005"/>
                      <a:pt x="2079" y="1005"/>
                    </a:cubicBezTo>
                    <a:cubicBezTo>
                      <a:pt x="2081" y="1005"/>
                      <a:pt x="2081" y="1005"/>
                      <a:pt x="2081" y="1005"/>
                    </a:cubicBezTo>
                    <a:cubicBezTo>
                      <a:pt x="2084" y="1008"/>
                      <a:pt x="2084" y="1008"/>
                      <a:pt x="2084" y="1008"/>
                    </a:cubicBezTo>
                    <a:cubicBezTo>
                      <a:pt x="2088" y="1013"/>
                      <a:pt x="2088" y="1013"/>
                      <a:pt x="2088" y="1013"/>
                    </a:cubicBezTo>
                    <a:cubicBezTo>
                      <a:pt x="2086" y="1008"/>
                      <a:pt x="2086" y="1008"/>
                      <a:pt x="2086" y="1008"/>
                    </a:cubicBezTo>
                    <a:cubicBezTo>
                      <a:pt x="2082" y="1002"/>
                      <a:pt x="2082" y="1002"/>
                      <a:pt x="2082" y="1002"/>
                    </a:cubicBezTo>
                    <a:cubicBezTo>
                      <a:pt x="2078" y="997"/>
                      <a:pt x="2078" y="997"/>
                      <a:pt x="2078" y="997"/>
                    </a:cubicBezTo>
                    <a:cubicBezTo>
                      <a:pt x="2076" y="997"/>
                      <a:pt x="2076" y="997"/>
                      <a:pt x="2076" y="997"/>
                    </a:cubicBezTo>
                    <a:cubicBezTo>
                      <a:pt x="2075" y="994"/>
                      <a:pt x="2075" y="994"/>
                      <a:pt x="2075" y="994"/>
                    </a:cubicBezTo>
                    <a:cubicBezTo>
                      <a:pt x="2067" y="988"/>
                      <a:pt x="2067" y="988"/>
                      <a:pt x="2067" y="988"/>
                    </a:cubicBezTo>
                    <a:cubicBezTo>
                      <a:pt x="2064" y="984"/>
                      <a:pt x="2064" y="984"/>
                      <a:pt x="2064" y="984"/>
                    </a:cubicBezTo>
                    <a:cubicBezTo>
                      <a:pt x="2065" y="978"/>
                      <a:pt x="2065" y="978"/>
                      <a:pt x="2065" y="978"/>
                    </a:cubicBezTo>
                    <a:cubicBezTo>
                      <a:pt x="2062" y="976"/>
                      <a:pt x="2062" y="976"/>
                      <a:pt x="2062" y="976"/>
                    </a:cubicBezTo>
                    <a:cubicBezTo>
                      <a:pt x="2057" y="973"/>
                      <a:pt x="2057" y="973"/>
                      <a:pt x="2057" y="973"/>
                    </a:cubicBezTo>
                    <a:cubicBezTo>
                      <a:pt x="2054" y="968"/>
                      <a:pt x="2054" y="968"/>
                      <a:pt x="2054" y="968"/>
                    </a:cubicBezTo>
                    <a:cubicBezTo>
                      <a:pt x="2053" y="967"/>
                      <a:pt x="2053" y="967"/>
                      <a:pt x="2053" y="967"/>
                    </a:cubicBezTo>
                    <a:cubicBezTo>
                      <a:pt x="2051" y="968"/>
                      <a:pt x="2051" y="968"/>
                      <a:pt x="2051" y="968"/>
                    </a:cubicBezTo>
                    <a:cubicBezTo>
                      <a:pt x="2053" y="970"/>
                      <a:pt x="2053" y="970"/>
                      <a:pt x="2053" y="970"/>
                    </a:cubicBezTo>
                    <a:cubicBezTo>
                      <a:pt x="2053" y="973"/>
                      <a:pt x="2053" y="973"/>
                      <a:pt x="2053" y="973"/>
                    </a:cubicBezTo>
                    <a:cubicBezTo>
                      <a:pt x="2051" y="974"/>
                      <a:pt x="2051" y="974"/>
                      <a:pt x="2051" y="974"/>
                    </a:cubicBezTo>
                    <a:cubicBezTo>
                      <a:pt x="2048" y="972"/>
                      <a:pt x="2048" y="972"/>
                      <a:pt x="2048" y="972"/>
                    </a:cubicBezTo>
                    <a:cubicBezTo>
                      <a:pt x="2045" y="972"/>
                      <a:pt x="2045" y="972"/>
                      <a:pt x="2045" y="972"/>
                    </a:cubicBezTo>
                    <a:cubicBezTo>
                      <a:pt x="2050" y="977"/>
                      <a:pt x="2050" y="977"/>
                      <a:pt x="2050" y="977"/>
                    </a:cubicBezTo>
                    <a:cubicBezTo>
                      <a:pt x="2056" y="981"/>
                      <a:pt x="2056" y="981"/>
                      <a:pt x="2056" y="981"/>
                    </a:cubicBezTo>
                    <a:cubicBezTo>
                      <a:pt x="2058" y="984"/>
                      <a:pt x="2058" y="984"/>
                      <a:pt x="2058" y="984"/>
                    </a:cubicBezTo>
                    <a:cubicBezTo>
                      <a:pt x="2058" y="988"/>
                      <a:pt x="2058" y="988"/>
                      <a:pt x="2058" y="988"/>
                    </a:cubicBezTo>
                    <a:cubicBezTo>
                      <a:pt x="2059" y="986"/>
                      <a:pt x="2059" y="986"/>
                      <a:pt x="2059" y="986"/>
                    </a:cubicBezTo>
                    <a:cubicBezTo>
                      <a:pt x="2062" y="986"/>
                      <a:pt x="2062" y="986"/>
                      <a:pt x="2062" y="986"/>
                    </a:cubicBezTo>
                    <a:cubicBezTo>
                      <a:pt x="2063" y="989"/>
                      <a:pt x="2063" y="989"/>
                      <a:pt x="2063" y="989"/>
                    </a:cubicBezTo>
                    <a:cubicBezTo>
                      <a:pt x="2061" y="990"/>
                      <a:pt x="2061" y="990"/>
                      <a:pt x="2061" y="990"/>
                    </a:cubicBezTo>
                    <a:cubicBezTo>
                      <a:pt x="2058" y="991"/>
                      <a:pt x="2058" y="991"/>
                      <a:pt x="2058" y="991"/>
                    </a:cubicBezTo>
                    <a:cubicBezTo>
                      <a:pt x="2059" y="994"/>
                      <a:pt x="2059" y="994"/>
                      <a:pt x="2059" y="994"/>
                    </a:cubicBezTo>
                    <a:cubicBezTo>
                      <a:pt x="2062" y="994"/>
                      <a:pt x="2062" y="994"/>
                      <a:pt x="2062" y="994"/>
                    </a:cubicBezTo>
                    <a:cubicBezTo>
                      <a:pt x="2063" y="998"/>
                      <a:pt x="2063" y="998"/>
                      <a:pt x="2063" y="998"/>
                    </a:cubicBezTo>
                    <a:cubicBezTo>
                      <a:pt x="2060" y="999"/>
                      <a:pt x="2060" y="999"/>
                      <a:pt x="2060" y="999"/>
                    </a:cubicBezTo>
                    <a:cubicBezTo>
                      <a:pt x="2057" y="999"/>
                      <a:pt x="2057" y="999"/>
                      <a:pt x="2057" y="999"/>
                    </a:cubicBezTo>
                    <a:cubicBezTo>
                      <a:pt x="2055" y="996"/>
                      <a:pt x="2055" y="996"/>
                      <a:pt x="2055" y="996"/>
                    </a:cubicBezTo>
                    <a:cubicBezTo>
                      <a:pt x="2052" y="998"/>
                      <a:pt x="2052" y="998"/>
                      <a:pt x="2052" y="998"/>
                    </a:cubicBezTo>
                    <a:cubicBezTo>
                      <a:pt x="2050" y="1003"/>
                      <a:pt x="2050" y="1003"/>
                      <a:pt x="2050" y="1003"/>
                    </a:cubicBezTo>
                    <a:cubicBezTo>
                      <a:pt x="2054" y="1007"/>
                      <a:pt x="2054" y="1007"/>
                      <a:pt x="2054" y="1007"/>
                    </a:cubicBezTo>
                    <a:cubicBezTo>
                      <a:pt x="2055" y="1011"/>
                      <a:pt x="2055" y="1011"/>
                      <a:pt x="2055" y="1011"/>
                    </a:cubicBezTo>
                    <a:cubicBezTo>
                      <a:pt x="2059" y="1016"/>
                      <a:pt x="2059" y="1016"/>
                      <a:pt x="2059" y="1016"/>
                    </a:cubicBezTo>
                    <a:cubicBezTo>
                      <a:pt x="2062" y="1022"/>
                      <a:pt x="2062" y="1022"/>
                      <a:pt x="2062" y="1022"/>
                    </a:cubicBezTo>
                    <a:cubicBezTo>
                      <a:pt x="2062" y="1029"/>
                      <a:pt x="2062" y="1029"/>
                      <a:pt x="2062" y="1029"/>
                    </a:cubicBezTo>
                    <a:cubicBezTo>
                      <a:pt x="2064" y="1031"/>
                      <a:pt x="2064" y="1031"/>
                      <a:pt x="2064" y="1031"/>
                    </a:cubicBezTo>
                    <a:cubicBezTo>
                      <a:pt x="2065" y="1037"/>
                      <a:pt x="2065" y="1037"/>
                      <a:pt x="2065" y="1037"/>
                    </a:cubicBezTo>
                    <a:cubicBezTo>
                      <a:pt x="2067" y="1046"/>
                      <a:pt x="2067" y="1046"/>
                      <a:pt x="2067" y="1046"/>
                    </a:cubicBezTo>
                    <a:cubicBezTo>
                      <a:pt x="2070" y="1052"/>
                      <a:pt x="2070" y="1052"/>
                      <a:pt x="2070" y="1052"/>
                    </a:cubicBezTo>
                    <a:cubicBezTo>
                      <a:pt x="2074" y="1054"/>
                      <a:pt x="2074" y="1054"/>
                      <a:pt x="2074" y="1054"/>
                    </a:cubicBezTo>
                    <a:cubicBezTo>
                      <a:pt x="2075" y="1056"/>
                      <a:pt x="2075" y="1056"/>
                      <a:pt x="2075" y="1056"/>
                    </a:cubicBezTo>
                    <a:cubicBezTo>
                      <a:pt x="2073" y="1057"/>
                      <a:pt x="2073" y="1057"/>
                      <a:pt x="2073" y="1057"/>
                    </a:cubicBezTo>
                    <a:cubicBezTo>
                      <a:pt x="2082" y="1066"/>
                      <a:pt x="2082" y="1066"/>
                      <a:pt x="2082" y="1066"/>
                    </a:cubicBezTo>
                    <a:cubicBezTo>
                      <a:pt x="2085" y="1067"/>
                      <a:pt x="2085" y="1067"/>
                      <a:pt x="2085" y="1067"/>
                    </a:cubicBezTo>
                    <a:cubicBezTo>
                      <a:pt x="2090" y="1073"/>
                      <a:pt x="2090" y="1073"/>
                      <a:pt x="2090" y="1073"/>
                    </a:cubicBezTo>
                    <a:cubicBezTo>
                      <a:pt x="2091" y="1079"/>
                      <a:pt x="2091" y="1079"/>
                      <a:pt x="2091" y="1079"/>
                    </a:cubicBezTo>
                    <a:cubicBezTo>
                      <a:pt x="2091" y="1084"/>
                      <a:pt x="2091" y="1084"/>
                      <a:pt x="2091" y="1084"/>
                    </a:cubicBezTo>
                    <a:cubicBezTo>
                      <a:pt x="2094" y="1089"/>
                      <a:pt x="2094" y="1089"/>
                      <a:pt x="2094" y="1089"/>
                    </a:cubicBezTo>
                    <a:cubicBezTo>
                      <a:pt x="2094" y="1093"/>
                      <a:pt x="2094" y="1093"/>
                      <a:pt x="2094" y="1093"/>
                    </a:cubicBezTo>
                    <a:cubicBezTo>
                      <a:pt x="2097" y="1095"/>
                      <a:pt x="2097" y="1095"/>
                      <a:pt x="2097" y="1095"/>
                    </a:cubicBezTo>
                    <a:cubicBezTo>
                      <a:pt x="2101" y="1099"/>
                      <a:pt x="2101" y="1099"/>
                      <a:pt x="2101" y="1099"/>
                    </a:cubicBezTo>
                    <a:cubicBezTo>
                      <a:pt x="2099" y="1100"/>
                      <a:pt x="2099" y="1100"/>
                      <a:pt x="2099" y="1100"/>
                    </a:cubicBezTo>
                    <a:cubicBezTo>
                      <a:pt x="2100" y="1103"/>
                      <a:pt x="2100" y="1103"/>
                      <a:pt x="2100" y="1103"/>
                    </a:cubicBezTo>
                    <a:cubicBezTo>
                      <a:pt x="2104" y="1109"/>
                      <a:pt x="2104" y="1109"/>
                      <a:pt x="2104" y="1109"/>
                    </a:cubicBezTo>
                    <a:cubicBezTo>
                      <a:pt x="2105" y="1113"/>
                      <a:pt x="2105" y="1113"/>
                      <a:pt x="2105" y="1113"/>
                    </a:cubicBezTo>
                    <a:cubicBezTo>
                      <a:pt x="2107" y="1118"/>
                      <a:pt x="2107" y="1118"/>
                      <a:pt x="2107" y="1118"/>
                    </a:cubicBezTo>
                    <a:cubicBezTo>
                      <a:pt x="2108" y="1125"/>
                      <a:pt x="2108" y="1125"/>
                      <a:pt x="2108" y="1125"/>
                    </a:cubicBezTo>
                    <a:cubicBezTo>
                      <a:pt x="2109" y="1128"/>
                      <a:pt x="2109" y="1128"/>
                      <a:pt x="2109" y="1128"/>
                    </a:cubicBezTo>
                    <a:cubicBezTo>
                      <a:pt x="2108" y="1131"/>
                      <a:pt x="2108" y="1131"/>
                      <a:pt x="2108" y="1131"/>
                    </a:cubicBezTo>
                    <a:cubicBezTo>
                      <a:pt x="2109" y="1137"/>
                      <a:pt x="2109" y="1137"/>
                      <a:pt x="2109" y="1137"/>
                    </a:cubicBezTo>
                    <a:cubicBezTo>
                      <a:pt x="2112" y="1145"/>
                      <a:pt x="2112" y="1145"/>
                      <a:pt x="2112" y="1145"/>
                    </a:cubicBezTo>
                    <a:cubicBezTo>
                      <a:pt x="2111" y="1147"/>
                      <a:pt x="2111" y="1147"/>
                      <a:pt x="2111" y="1147"/>
                    </a:cubicBezTo>
                    <a:cubicBezTo>
                      <a:pt x="2112" y="1152"/>
                      <a:pt x="2112" y="1152"/>
                      <a:pt x="2112" y="1152"/>
                    </a:cubicBezTo>
                    <a:cubicBezTo>
                      <a:pt x="2116" y="1155"/>
                      <a:pt x="2116" y="1155"/>
                      <a:pt x="2116" y="1155"/>
                    </a:cubicBezTo>
                    <a:cubicBezTo>
                      <a:pt x="2123" y="1164"/>
                      <a:pt x="2123" y="1164"/>
                      <a:pt x="2123" y="1164"/>
                    </a:cubicBezTo>
                    <a:cubicBezTo>
                      <a:pt x="2123" y="1168"/>
                      <a:pt x="2123" y="1168"/>
                      <a:pt x="2123" y="1168"/>
                    </a:cubicBezTo>
                    <a:cubicBezTo>
                      <a:pt x="2126" y="1173"/>
                      <a:pt x="2126" y="1173"/>
                      <a:pt x="2126" y="1173"/>
                    </a:cubicBezTo>
                    <a:cubicBezTo>
                      <a:pt x="2125" y="1180"/>
                      <a:pt x="2125" y="1180"/>
                      <a:pt x="2125" y="1180"/>
                    </a:cubicBezTo>
                    <a:cubicBezTo>
                      <a:pt x="2126" y="1186"/>
                      <a:pt x="2126" y="1186"/>
                      <a:pt x="2126" y="1186"/>
                    </a:cubicBezTo>
                    <a:cubicBezTo>
                      <a:pt x="2129" y="1192"/>
                      <a:pt x="2129" y="1192"/>
                      <a:pt x="2129" y="1192"/>
                    </a:cubicBezTo>
                    <a:cubicBezTo>
                      <a:pt x="2130" y="1196"/>
                      <a:pt x="2130" y="1196"/>
                      <a:pt x="2130" y="1196"/>
                    </a:cubicBezTo>
                    <a:cubicBezTo>
                      <a:pt x="2135" y="1203"/>
                      <a:pt x="2135" y="1203"/>
                      <a:pt x="2135" y="1203"/>
                    </a:cubicBezTo>
                    <a:cubicBezTo>
                      <a:pt x="2136" y="1205"/>
                      <a:pt x="2136" y="1205"/>
                      <a:pt x="2136" y="1205"/>
                    </a:cubicBezTo>
                    <a:cubicBezTo>
                      <a:pt x="2135" y="1211"/>
                      <a:pt x="2135" y="1211"/>
                      <a:pt x="2135" y="1211"/>
                    </a:cubicBezTo>
                    <a:cubicBezTo>
                      <a:pt x="2134" y="1219"/>
                      <a:pt x="2134" y="1219"/>
                      <a:pt x="2134" y="1219"/>
                    </a:cubicBezTo>
                    <a:cubicBezTo>
                      <a:pt x="2136" y="1224"/>
                      <a:pt x="2136" y="1224"/>
                      <a:pt x="2136" y="1224"/>
                    </a:cubicBezTo>
                    <a:cubicBezTo>
                      <a:pt x="2140" y="1226"/>
                      <a:pt x="2140" y="1226"/>
                      <a:pt x="2140" y="1226"/>
                    </a:cubicBezTo>
                    <a:cubicBezTo>
                      <a:pt x="2143" y="1232"/>
                      <a:pt x="2143" y="1232"/>
                      <a:pt x="2143" y="1232"/>
                    </a:cubicBezTo>
                    <a:cubicBezTo>
                      <a:pt x="2147" y="1235"/>
                      <a:pt x="2147" y="1235"/>
                      <a:pt x="2147" y="1235"/>
                    </a:cubicBezTo>
                    <a:close/>
                    <a:moveTo>
                      <a:pt x="1951" y="972"/>
                    </a:moveTo>
                    <a:cubicBezTo>
                      <a:pt x="1953" y="972"/>
                      <a:pt x="1953" y="972"/>
                      <a:pt x="1953" y="972"/>
                    </a:cubicBezTo>
                    <a:cubicBezTo>
                      <a:pt x="1953" y="970"/>
                      <a:pt x="1953" y="970"/>
                      <a:pt x="1953" y="970"/>
                    </a:cubicBezTo>
                    <a:cubicBezTo>
                      <a:pt x="1954" y="969"/>
                      <a:pt x="1954" y="969"/>
                      <a:pt x="1954" y="969"/>
                    </a:cubicBezTo>
                    <a:cubicBezTo>
                      <a:pt x="1956" y="969"/>
                      <a:pt x="1956" y="969"/>
                      <a:pt x="1956" y="969"/>
                    </a:cubicBezTo>
                    <a:cubicBezTo>
                      <a:pt x="1958" y="972"/>
                      <a:pt x="1958" y="972"/>
                      <a:pt x="1958" y="972"/>
                    </a:cubicBezTo>
                    <a:cubicBezTo>
                      <a:pt x="1962" y="973"/>
                      <a:pt x="1962" y="973"/>
                      <a:pt x="1962" y="973"/>
                    </a:cubicBezTo>
                    <a:cubicBezTo>
                      <a:pt x="1964" y="971"/>
                      <a:pt x="1964" y="971"/>
                      <a:pt x="1964" y="971"/>
                    </a:cubicBezTo>
                    <a:cubicBezTo>
                      <a:pt x="1965" y="969"/>
                      <a:pt x="1965" y="969"/>
                      <a:pt x="1965" y="969"/>
                    </a:cubicBezTo>
                    <a:cubicBezTo>
                      <a:pt x="1963" y="967"/>
                      <a:pt x="1963" y="967"/>
                      <a:pt x="1963" y="967"/>
                    </a:cubicBezTo>
                    <a:cubicBezTo>
                      <a:pt x="1964" y="964"/>
                      <a:pt x="1964" y="964"/>
                      <a:pt x="1964" y="964"/>
                    </a:cubicBezTo>
                    <a:cubicBezTo>
                      <a:pt x="1966" y="962"/>
                      <a:pt x="1966" y="962"/>
                      <a:pt x="1966" y="962"/>
                    </a:cubicBezTo>
                    <a:cubicBezTo>
                      <a:pt x="1966" y="961"/>
                      <a:pt x="1966" y="961"/>
                      <a:pt x="1966" y="961"/>
                    </a:cubicBezTo>
                    <a:cubicBezTo>
                      <a:pt x="1963" y="961"/>
                      <a:pt x="1963" y="961"/>
                      <a:pt x="1963" y="961"/>
                    </a:cubicBezTo>
                    <a:cubicBezTo>
                      <a:pt x="1963" y="962"/>
                      <a:pt x="1963" y="962"/>
                      <a:pt x="1963" y="962"/>
                    </a:cubicBezTo>
                    <a:cubicBezTo>
                      <a:pt x="1961" y="964"/>
                      <a:pt x="1961" y="964"/>
                      <a:pt x="1961" y="964"/>
                    </a:cubicBezTo>
                    <a:cubicBezTo>
                      <a:pt x="1960" y="963"/>
                      <a:pt x="1960" y="963"/>
                      <a:pt x="1960" y="963"/>
                    </a:cubicBezTo>
                    <a:cubicBezTo>
                      <a:pt x="1961" y="960"/>
                      <a:pt x="1961" y="960"/>
                      <a:pt x="1961" y="960"/>
                    </a:cubicBezTo>
                    <a:cubicBezTo>
                      <a:pt x="1962" y="959"/>
                      <a:pt x="1962" y="959"/>
                      <a:pt x="1962" y="959"/>
                    </a:cubicBezTo>
                    <a:cubicBezTo>
                      <a:pt x="1961" y="958"/>
                      <a:pt x="1961" y="958"/>
                      <a:pt x="1961" y="958"/>
                    </a:cubicBezTo>
                    <a:cubicBezTo>
                      <a:pt x="1956" y="959"/>
                      <a:pt x="1956" y="959"/>
                      <a:pt x="1956" y="959"/>
                    </a:cubicBezTo>
                    <a:cubicBezTo>
                      <a:pt x="1954" y="957"/>
                      <a:pt x="1954" y="957"/>
                      <a:pt x="1954" y="957"/>
                    </a:cubicBezTo>
                    <a:cubicBezTo>
                      <a:pt x="1952" y="959"/>
                      <a:pt x="1952" y="959"/>
                      <a:pt x="1952" y="959"/>
                    </a:cubicBezTo>
                    <a:cubicBezTo>
                      <a:pt x="1951" y="963"/>
                      <a:pt x="1951" y="963"/>
                      <a:pt x="1951" y="963"/>
                    </a:cubicBezTo>
                    <a:cubicBezTo>
                      <a:pt x="1948" y="965"/>
                      <a:pt x="1948" y="965"/>
                      <a:pt x="1948" y="965"/>
                    </a:cubicBezTo>
                    <a:cubicBezTo>
                      <a:pt x="1948" y="967"/>
                      <a:pt x="1948" y="967"/>
                      <a:pt x="1948" y="967"/>
                    </a:cubicBezTo>
                    <a:cubicBezTo>
                      <a:pt x="1951" y="972"/>
                      <a:pt x="1951" y="972"/>
                      <a:pt x="1951" y="972"/>
                    </a:cubicBezTo>
                    <a:close/>
                    <a:moveTo>
                      <a:pt x="1939" y="970"/>
                    </a:moveTo>
                    <a:cubicBezTo>
                      <a:pt x="1940" y="969"/>
                      <a:pt x="1940" y="969"/>
                      <a:pt x="1940" y="969"/>
                    </a:cubicBezTo>
                    <a:cubicBezTo>
                      <a:pt x="1940" y="968"/>
                      <a:pt x="1940" y="968"/>
                      <a:pt x="1940" y="968"/>
                    </a:cubicBezTo>
                    <a:cubicBezTo>
                      <a:pt x="1941" y="967"/>
                      <a:pt x="1941" y="967"/>
                      <a:pt x="1941" y="967"/>
                    </a:cubicBezTo>
                    <a:cubicBezTo>
                      <a:pt x="1943" y="968"/>
                      <a:pt x="1943" y="968"/>
                      <a:pt x="1943" y="968"/>
                    </a:cubicBezTo>
                    <a:cubicBezTo>
                      <a:pt x="1945" y="967"/>
                      <a:pt x="1945" y="967"/>
                      <a:pt x="1945" y="967"/>
                    </a:cubicBezTo>
                    <a:cubicBezTo>
                      <a:pt x="1944" y="965"/>
                      <a:pt x="1944" y="965"/>
                      <a:pt x="1944" y="965"/>
                    </a:cubicBezTo>
                    <a:cubicBezTo>
                      <a:pt x="1945" y="962"/>
                      <a:pt x="1945" y="962"/>
                      <a:pt x="1945" y="962"/>
                    </a:cubicBezTo>
                    <a:cubicBezTo>
                      <a:pt x="1944" y="960"/>
                      <a:pt x="1944" y="960"/>
                      <a:pt x="1944" y="960"/>
                    </a:cubicBezTo>
                    <a:cubicBezTo>
                      <a:pt x="1943" y="960"/>
                      <a:pt x="1943" y="960"/>
                      <a:pt x="1943" y="960"/>
                    </a:cubicBezTo>
                    <a:cubicBezTo>
                      <a:pt x="1941" y="963"/>
                      <a:pt x="1941" y="963"/>
                      <a:pt x="1941" y="963"/>
                    </a:cubicBezTo>
                    <a:cubicBezTo>
                      <a:pt x="1937" y="964"/>
                      <a:pt x="1937" y="964"/>
                      <a:pt x="1937" y="964"/>
                    </a:cubicBezTo>
                    <a:cubicBezTo>
                      <a:pt x="1937" y="967"/>
                      <a:pt x="1937" y="967"/>
                      <a:pt x="1937" y="967"/>
                    </a:cubicBezTo>
                    <a:cubicBezTo>
                      <a:pt x="1939" y="970"/>
                      <a:pt x="1939" y="970"/>
                      <a:pt x="1939" y="970"/>
                    </a:cubicBezTo>
                    <a:close/>
                    <a:moveTo>
                      <a:pt x="1965" y="982"/>
                    </a:moveTo>
                    <a:cubicBezTo>
                      <a:pt x="1966" y="983"/>
                      <a:pt x="1966" y="983"/>
                      <a:pt x="1966" y="983"/>
                    </a:cubicBezTo>
                    <a:cubicBezTo>
                      <a:pt x="1968" y="981"/>
                      <a:pt x="1968" y="981"/>
                      <a:pt x="1968" y="981"/>
                    </a:cubicBezTo>
                    <a:cubicBezTo>
                      <a:pt x="1969" y="979"/>
                      <a:pt x="1969" y="979"/>
                      <a:pt x="1969" y="979"/>
                    </a:cubicBezTo>
                    <a:cubicBezTo>
                      <a:pt x="1967" y="977"/>
                      <a:pt x="1967" y="977"/>
                      <a:pt x="1967" y="977"/>
                    </a:cubicBezTo>
                    <a:cubicBezTo>
                      <a:pt x="1966" y="978"/>
                      <a:pt x="1966" y="978"/>
                      <a:pt x="1966" y="978"/>
                    </a:cubicBezTo>
                    <a:cubicBezTo>
                      <a:pt x="1966" y="979"/>
                      <a:pt x="1966" y="979"/>
                      <a:pt x="1966" y="979"/>
                    </a:cubicBezTo>
                    <a:cubicBezTo>
                      <a:pt x="1965" y="982"/>
                      <a:pt x="1965" y="982"/>
                      <a:pt x="1965" y="982"/>
                    </a:cubicBezTo>
                    <a:close/>
                    <a:moveTo>
                      <a:pt x="1961" y="977"/>
                    </a:moveTo>
                    <a:cubicBezTo>
                      <a:pt x="1961" y="980"/>
                      <a:pt x="1961" y="980"/>
                      <a:pt x="1961" y="980"/>
                    </a:cubicBezTo>
                    <a:cubicBezTo>
                      <a:pt x="1962" y="982"/>
                      <a:pt x="1962" y="982"/>
                      <a:pt x="1962" y="982"/>
                    </a:cubicBezTo>
                    <a:cubicBezTo>
                      <a:pt x="1963" y="980"/>
                      <a:pt x="1963" y="980"/>
                      <a:pt x="1963" y="980"/>
                    </a:cubicBezTo>
                    <a:cubicBezTo>
                      <a:pt x="1963" y="977"/>
                      <a:pt x="1963" y="977"/>
                      <a:pt x="1963" y="977"/>
                    </a:cubicBezTo>
                    <a:cubicBezTo>
                      <a:pt x="1962" y="977"/>
                      <a:pt x="1962" y="977"/>
                      <a:pt x="1962" y="977"/>
                    </a:cubicBezTo>
                    <a:cubicBezTo>
                      <a:pt x="1961" y="977"/>
                      <a:pt x="1961" y="977"/>
                      <a:pt x="1961" y="977"/>
                    </a:cubicBezTo>
                    <a:close/>
                    <a:moveTo>
                      <a:pt x="1962" y="995"/>
                    </a:moveTo>
                    <a:cubicBezTo>
                      <a:pt x="1964" y="991"/>
                      <a:pt x="1964" y="991"/>
                      <a:pt x="1964" y="991"/>
                    </a:cubicBezTo>
                    <a:cubicBezTo>
                      <a:pt x="1966" y="991"/>
                      <a:pt x="1966" y="991"/>
                      <a:pt x="1966" y="991"/>
                    </a:cubicBezTo>
                    <a:cubicBezTo>
                      <a:pt x="1967" y="988"/>
                      <a:pt x="1967" y="988"/>
                      <a:pt x="1967" y="988"/>
                    </a:cubicBezTo>
                    <a:cubicBezTo>
                      <a:pt x="1967" y="987"/>
                      <a:pt x="1967" y="987"/>
                      <a:pt x="1967" y="987"/>
                    </a:cubicBezTo>
                    <a:cubicBezTo>
                      <a:pt x="1968" y="984"/>
                      <a:pt x="1968" y="984"/>
                      <a:pt x="1968" y="984"/>
                    </a:cubicBezTo>
                    <a:cubicBezTo>
                      <a:pt x="1962" y="986"/>
                      <a:pt x="1962" y="986"/>
                      <a:pt x="1962" y="986"/>
                    </a:cubicBezTo>
                    <a:cubicBezTo>
                      <a:pt x="1959" y="990"/>
                      <a:pt x="1959" y="990"/>
                      <a:pt x="1959" y="990"/>
                    </a:cubicBezTo>
                    <a:cubicBezTo>
                      <a:pt x="1959" y="993"/>
                      <a:pt x="1959" y="993"/>
                      <a:pt x="1959" y="993"/>
                    </a:cubicBezTo>
                    <a:cubicBezTo>
                      <a:pt x="1962" y="995"/>
                      <a:pt x="1962" y="995"/>
                      <a:pt x="1962" y="995"/>
                    </a:cubicBezTo>
                    <a:close/>
                    <a:moveTo>
                      <a:pt x="2109" y="778"/>
                    </a:moveTo>
                    <a:cubicBezTo>
                      <a:pt x="2111" y="778"/>
                      <a:pt x="2111" y="778"/>
                      <a:pt x="2111" y="778"/>
                    </a:cubicBezTo>
                    <a:cubicBezTo>
                      <a:pt x="2114" y="774"/>
                      <a:pt x="2114" y="774"/>
                      <a:pt x="2114" y="774"/>
                    </a:cubicBezTo>
                    <a:cubicBezTo>
                      <a:pt x="2114" y="772"/>
                      <a:pt x="2114" y="772"/>
                      <a:pt x="2114" y="772"/>
                    </a:cubicBezTo>
                    <a:cubicBezTo>
                      <a:pt x="2111" y="772"/>
                      <a:pt x="2111" y="772"/>
                      <a:pt x="2111" y="772"/>
                    </a:cubicBezTo>
                    <a:cubicBezTo>
                      <a:pt x="2109" y="775"/>
                      <a:pt x="2109" y="775"/>
                      <a:pt x="2109" y="775"/>
                    </a:cubicBezTo>
                    <a:cubicBezTo>
                      <a:pt x="2109" y="778"/>
                      <a:pt x="2109" y="778"/>
                      <a:pt x="2109" y="778"/>
                    </a:cubicBezTo>
                    <a:close/>
                    <a:moveTo>
                      <a:pt x="2344" y="754"/>
                    </a:moveTo>
                    <a:cubicBezTo>
                      <a:pt x="2346" y="755"/>
                      <a:pt x="2346" y="755"/>
                      <a:pt x="2346" y="755"/>
                    </a:cubicBezTo>
                    <a:cubicBezTo>
                      <a:pt x="2345" y="750"/>
                      <a:pt x="2345" y="750"/>
                      <a:pt x="2345" y="750"/>
                    </a:cubicBezTo>
                    <a:cubicBezTo>
                      <a:pt x="2343" y="747"/>
                      <a:pt x="2343" y="747"/>
                      <a:pt x="2343" y="747"/>
                    </a:cubicBezTo>
                    <a:cubicBezTo>
                      <a:pt x="2344" y="745"/>
                      <a:pt x="2344" y="745"/>
                      <a:pt x="2344" y="745"/>
                    </a:cubicBezTo>
                    <a:cubicBezTo>
                      <a:pt x="2344" y="743"/>
                      <a:pt x="2344" y="743"/>
                      <a:pt x="2344" y="743"/>
                    </a:cubicBezTo>
                    <a:cubicBezTo>
                      <a:pt x="2346" y="738"/>
                      <a:pt x="2346" y="738"/>
                      <a:pt x="2346" y="738"/>
                    </a:cubicBezTo>
                    <a:cubicBezTo>
                      <a:pt x="2349" y="735"/>
                      <a:pt x="2349" y="735"/>
                      <a:pt x="2349" y="735"/>
                    </a:cubicBezTo>
                    <a:cubicBezTo>
                      <a:pt x="2354" y="732"/>
                      <a:pt x="2354" y="732"/>
                      <a:pt x="2354" y="732"/>
                    </a:cubicBezTo>
                    <a:cubicBezTo>
                      <a:pt x="2356" y="731"/>
                      <a:pt x="2356" y="731"/>
                      <a:pt x="2356" y="731"/>
                    </a:cubicBezTo>
                    <a:cubicBezTo>
                      <a:pt x="2355" y="727"/>
                      <a:pt x="2355" y="727"/>
                      <a:pt x="2355" y="727"/>
                    </a:cubicBezTo>
                    <a:cubicBezTo>
                      <a:pt x="2353" y="722"/>
                      <a:pt x="2353" y="722"/>
                      <a:pt x="2353" y="722"/>
                    </a:cubicBezTo>
                    <a:cubicBezTo>
                      <a:pt x="2348" y="717"/>
                      <a:pt x="2348" y="717"/>
                      <a:pt x="2348" y="717"/>
                    </a:cubicBezTo>
                    <a:cubicBezTo>
                      <a:pt x="2346" y="716"/>
                      <a:pt x="2346" y="716"/>
                      <a:pt x="2346" y="716"/>
                    </a:cubicBezTo>
                    <a:cubicBezTo>
                      <a:pt x="2344" y="718"/>
                      <a:pt x="2344" y="718"/>
                      <a:pt x="2344" y="718"/>
                    </a:cubicBezTo>
                    <a:cubicBezTo>
                      <a:pt x="2344" y="720"/>
                      <a:pt x="2344" y="720"/>
                      <a:pt x="2344" y="720"/>
                    </a:cubicBezTo>
                    <a:cubicBezTo>
                      <a:pt x="2342" y="721"/>
                      <a:pt x="2342" y="721"/>
                      <a:pt x="2342" y="721"/>
                    </a:cubicBezTo>
                    <a:cubicBezTo>
                      <a:pt x="2337" y="727"/>
                      <a:pt x="2337" y="727"/>
                      <a:pt x="2337" y="727"/>
                    </a:cubicBezTo>
                    <a:cubicBezTo>
                      <a:pt x="2336" y="728"/>
                      <a:pt x="2336" y="728"/>
                      <a:pt x="2336" y="728"/>
                    </a:cubicBezTo>
                    <a:cubicBezTo>
                      <a:pt x="2333" y="731"/>
                      <a:pt x="2333" y="731"/>
                      <a:pt x="2333" y="731"/>
                    </a:cubicBezTo>
                    <a:cubicBezTo>
                      <a:pt x="2335" y="731"/>
                      <a:pt x="2335" y="731"/>
                      <a:pt x="2335" y="731"/>
                    </a:cubicBezTo>
                    <a:cubicBezTo>
                      <a:pt x="2339" y="730"/>
                      <a:pt x="2339" y="730"/>
                      <a:pt x="2339" y="730"/>
                    </a:cubicBezTo>
                    <a:cubicBezTo>
                      <a:pt x="2339" y="730"/>
                      <a:pt x="2339" y="730"/>
                      <a:pt x="2339" y="730"/>
                    </a:cubicBezTo>
                    <a:cubicBezTo>
                      <a:pt x="2338" y="733"/>
                      <a:pt x="2338" y="733"/>
                      <a:pt x="2338" y="733"/>
                    </a:cubicBezTo>
                    <a:cubicBezTo>
                      <a:pt x="2340" y="739"/>
                      <a:pt x="2340" y="739"/>
                      <a:pt x="2340" y="739"/>
                    </a:cubicBezTo>
                    <a:cubicBezTo>
                      <a:pt x="2342" y="742"/>
                      <a:pt x="2342" y="742"/>
                      <a:pt x="2342" y="742"/>
                    </a:cubicBezTo>
                    <a:cubicBezTo>
                      <a:pt x="2342" y="746"/>
                      <a:pt x="2342" y="746"/>
                      <a:pt x="2342" y="746"/>
                    </a:cubicBezTo>
                    <a:cubicBezTo>
                      <a:pt x="2340" y="749"/>
                      <a:pt x="2340" y="749"/>
                      <a:pt x="2340" y="749"/>
                    </a:cubicBezTo>
                    <a:cubicBezTo>
                      <a:pt x="2341" y="751"/>
                      <a:pt x="2341" y="751"/>
                      <a:pt x="2341" y="751"/>
                    </a:cubicBezTo>
                    <a:cubicBezTo>
                      <a:pt x="2344" y="754"/>
                      <a:pt x="2344" y="754"/>
                      <a:pt x="2344" y="754"/>
                    </a:cubicBezTo>
                    <a:close/>
                    <a:moveTo>
                      <a:pt x="2483" y="871"/>
                    </a:moveTo>
                    <a:cubicBezTo>
                      <a:pt x="2485" y="874"/>
                      <a:pt x="2485" y="874"/>
                      <a:pt x="2485" y="874"/>
                    </a:cubicBezTo>
                    <a:cubicBezTo>
                      <a:pt x="2488" y="874"/>
                      <a:pt x="2488" y="874"/>
                      <a:pt x="2488" y="874"/>
                    </a:cubicBezTo>
                    <a:cubicBezTo>
                      <a:pt x="2492" y="878"/>
                      <a:pt x="2492" y="878"/>
                      <a:pt x="2492" y="878"/>
                    </a:cubicBezTo>
                    <a:cubicBezTo>
                      <a:pt x="2498" y="880"/>
                      <a:pt x="2498" y="880"/>
                      <a:pt x="2498" y="880"/>
                    </a:cubicBezTo>
                    <a:cubicBezTo>
                      <a:pt x="2500" y="881"/>
                      <a:pt x="2500" y="881"/>
                      <a:pt x="2500" y="881"/>
                    </a:cubicBezTo>
                    <a:cubicBezTo>
                      <a:pt x="2505" y="880"/>
                      <a:pt x="2505" y="880"/>
                      <a:pt x="2505" y="880"/>
                    </a:cubicBezTo>
                    <a:cubicBezTo>
                      <a:pt x="2504" y="879"/>
                      <a:pt x="2504" y="879"/>
                      <a:pt x="2504" y="879"/>
                    </a:cubicBezTo>
                    <a:cubicBezTo>
                      <a:pt x="2498" y="877"/>
                      <a:pt x="2498" y="877"/>
                      <a:pt x="2498" y="877"/>
                    </a:cubicBezTo>
                    <a:cubicBezTo>
                      <a:pt x="2496" y="875"/>
                      <a:pt x="2496" y="875"/>
                      <a:pt x="2496" y="875"/>
                    </a:cubicBezTo>
                    <a:cubicBezTo>
                      <a:pt x="2492" y="874"/>
                      <a:pt x="2492" y="874"/>
                      <a:pt x="2492" y="874"/>
                    </a:cubicBezTo>
                    <a:cubicBezTo>
                      <a:pt x="2489" y="871"/>
                      <a:pt x="2489" y="871"/>
                      <a:pt x="2489" y="871"/>
                    </a:cubicBezTo>
                    <a:cubicBezTo>
                      <a:pt x="2484" y="870"/>
                      <a:pt x="2484" y="870"/>
                      <a:pt x="2484" y="870"/>
                    </a:cubicBezTo>
                    <a:cubicBezTo>
                      <a:pt x="2483" y="871"/>
                      <a:pt x="2483" y="871"/>
                      <a:pt x="2483" y="871"/>
                    </a:cubicBezTo>
                    <a:close/>
                    <a:moveTo>
                      <a:pt x="2443" y="862"/>
                    </a:moveTo>
                    <a:cubicBezTo>
                      <a:pt x="2446" y="863"/>
                      <a:pt x="2446" y="863"/>
                      <a:pt x="2446" y="863"/>
                    </a:cubicBezTo>
                    <a:cubicBezTo>
                      <a:pt x="2449" y="863"/>
                      <a:pt x="2449" y="863"/>
                      <a:pt x="2449" y="863"/>
                    </a:cubicBezTo>
                    <a:cubicBezTo>
                      <a:pt x="2451" y="865"/>
                      <a:pt x="2451" y="865"/>
                      <a:pt x="2451" y="865"/>
                    </a:cubicBezTo>
                    <a:cubicBezTo>
                      <a:pt x="2451" y="867"/>
                      <a:pt x="2451" y="867"/>
                      <a:pt x="2451" y="867"/>
                    </a:cubicBezTo>
                    <a:cubicBezTo>
                      <a:pt x="2455" y="871"/>
                      <a:pt x="2455" y="871"/>
                      <a:pt x="2455" y="871"/>
                    </a:cubicBezTo>
                    <a:cubicBezTo>
                      <a:pt x="2457" y="872"/>
                      <a:pt x="2457" y="872"/>
                      <a:pt x="2457" y="872"/>
                    </a:cubicBezTo>
                    <a:cubicBezTo>
                      <a:pt x="2461" y="875"/>
                      <a:pt x="2461" y="875"/>
                      <a:pt x="2461" y="875"/>
                    </a:cubicBezTo>
                    <a:cubicBezTo>
                      <a:pt x="2462" y="876"/>
                      <a:pt x="2462" y="876"/>
                      <a:pt x="2462" y="876"/>
                    </a:cubicBezTo>
                    <a:cubicBezTo>
                      <a:pt x="2464" y="875"/>
                      <a:pt x="2464" y="875"/>
                      <a:pt x="2464" y="875"/>
                    </a:cubicBezTo>
                    <a:cubicBezTo>
                      <a:pt x="2468" y="878"/>
                      <a:pt x="2468" y="878"/>
                      <a:pt x="2468" y="878"/>
                    </a:cubicBezTo>
                    <a:cubicBezTo>
                      <a:pt x="2472" y="879"/>
                      <a:pt x="2472" y="879"/>
                      <a:pt x="2472" y="879"/>
                    </a:cubicBezTo>
                    <a:cubicBezTo>
                      <a:pt x="2473" y="877"/>
                      <a:pt x="2473" y="877"/>
                      <a:pt x="2473" y="877"/>
                    </a:cubicBezTo>
                    <a:cubicBezTo>
                      <a:pt x="2470" y="873"/>
                      <a:pt x="2470" y="873"/>
                      <a:pt x="2470" y="873"/>
                    </a:cubicBezTo>
                    <a:cubicBezTo>
                      <a:pt x="2466" y="872"/>
                      <a:pt x="2466" y="872"/>
                      <a:pt x="2466" y="872"/>
                    </a:cubicBezTo>
                    <a:cubicBezTo>
                      <a:pt x="2461" y="868"/>
                      <a:pt x="2461" y="868"/>
                      <a:pt x="2461" y="868"/>
                    </a:cubicBezTo>
                    <a:cubicBezTo>
                      <a:pt x="2460" y="865"/>
                      <a:pt x="2460" y="865"/>
                      <a:pt x="2460" y="865"/>
                    </a:cubicBezTo>
                    <a:cubicBezTo>
                      <a:pt x="2456" y="864"/>
                      <a:pt x="2456" y="864"/>
                      <a:pt x="2456" y="864"/>
                    </a:cubicBezTo>
                    <a:cubicBezTo>
                      <a:pt x="2453" y="859"/>
                      <a:pt x="2453" y="859"/>
                      <a:pt x="2453" y="859"/>
                    </a:cubicBezTo>
                    <a:cubicBezTo>
                      <a:pt x="2453" y="858"/>
                      <a:pt x="2453" y="858"/>
                      <a:pt x="2453" y="858"/>
                    </a:cubicBezTo>
                    <a:cubicBezTo>
                      <a:pt x="2454" y="856"/>
                      <a:pt x="2454" y="856"/>
                      <a:pt x="2454" y="856"/>
                    </a:cubicBezTo>
                    <a:cubicBezTo>
                      <a:pt x="2450" y="856"/>
                      <a:pt x="2450" y="856"/>
                      <a:pt x="2450" y="856"/>
                    </a:cubicBezTo>
                    <a:cubicBezTo>
                      <a:pt x="2448" y="857"/>
                      <a:pt x="2448" y="857"/>
                      <a:pt x="2448" y="857"/>
                    </a:cubicBezTo>
                    <a:cubicBezTo>
                      <a:pt x="2445" y="857"/>
                      <a:pt x="2445" y="857"/>
                      <a:pt x="2445" y="857"/>
                    </a:cubicBezTo>
                    <a:cubicBezTo>
                      <a:pt x="2443" y="860"/>
                      <a:pt x="2443" y="860"/>
                      <a:pt x="2443" y="860"/>
                    </a:cubicBezTo>
                    <a:cubicBezTo>
                      <a:pt x="2443" y="862"/>
                      <a:pt x="2443" y="862"/>
                      <a:pt x="2443" y="862"/>
                    </a:cubicBezTo>
                    <a:close/>
                    <a:moveTo>
                      <a:pt x="2348" y="1054"/>
                    </a:moveTo>
                    <a:cubicBezTo>
                      <a:pt x="2350" y="1054"/>
                      <a:pt x="2350" y="1054"/>
                      <a:pt x="2350" y="1054"/>
                    </a:cubicBezTo>
                    <a:cubicBezTo>
                      <a:pt x="2351" y="1052"/>
                      <a:pt x="2351" y="1052"/>
                      <a:pt x="2351" y="1052"/>
                    </a:cubicBezTo>
                    <a:cubicBezTo>
                      <a:pt x="2351" y="1049"/>
                      <a:pt x="2351" y="1049"/>
                      <a:pt x="2351" y="1049"/>
                    </a:cubicBezTo>
                    <a:cubicBezTo>
                      <a:pt x="2348" y="1046"/>
                      <a:pt x="2348" y="1046"/>
                      <a:pt x="2348" y="1046"/>
                    </a:cubicBezTo>
                    <a:cubicBezTo>
                      <a:pt x="2346" y="1048"/>
                      <a:pt x="2346" y="1048"/>
                      <a:pt x="2346" y="1048"/>
                    </a:cubicBezTo>
                    <a:cubicBezTo>
                      <a:pt x="2346" y="1051"/>
                      <a:pt x="2346" y="1051"/>
                      <a:pt x="2346" y="1051"/>
                    </a:cubicBezTo>
                    <a:cubicBezTo>
                      <a:pt x="2348" y="1054"/>
                      <a:pt x="2348" y="1054"/>
                      <a:pt x="2348" y="1054"/>
                    </a:cubicBezTo>
                    <a:close/>
                    <a:moveTo>
                      <a:pt x="2328" y="1049"/>
                    </a:moveTo>
                    <a:cubicBezTo>
                      <a:pt x="2328" y="1052"/>
                      <a:pt x="2328" y="1052"/>
                      <a:pt x="2328" y="1052"/>
                    </a:cubicBezTo>
                    <a:cubicBezTo>
                      <a:pt x="2329" y="1053"/>
                      <a:pt x="2329" y="1053"/>
                      <a:pt x="2329" y="1053"/>
                    </a:cubicBezTo>
                    <a:cubicBezTo>
                      <a:pt x="2333" y="1053"/>
                      <a:pt x="2333" y="1053"/>
                      <a:pt x="2333" y="1053"/>
                    </a:cubicBezTo>
                    <a:cubicBezTo>
                      <a:pt x="2334" y="1050"/>
                      <a:pt x="2334" y="1050"/>
                      <a:pt x="2334" y="1050"/>
                    </a:cubicBezTo>
                    <a:cubicBezTo>
                      <a:pt x="2330" y="1047"/>
                      <a:pt x="2330" y="1047"/>
                      <a:pt x="2330" y="1047"/>
                    </a:cubicBezTo>
                    <a:cubicBezTo>
                      <a:pt x="2328" y="1049"/>
                      <a:pt x="2328" y="1049"/>
                      <a:pt x="2328" y="1049"/>
                    </a:cubicBezTo>
                    <a:close/>
                    <a:moveTo>
                      <a:pt x="2339" y="1080"/>
                    </a:moveTo>
                    <a:cubicBezTo>
                      <a:pt x="2340" y="1080"/>
                      <a:pt x="2340" y="1080"/>
                      <a:pt x="2340" y="1080"/>
                    </a:cubicBezTo>
                    <a:cubicBezTo>
                      <a:pt x="2340" y="1076"/>
                      <a:pt x="2340" y="1076"/>
                      <a:pt x="2340" y="1076"/>
                    </a:cubicBezTo>
                    <a:cubicBezTo>
                      <a:pt x="2341" y="1073"/>
                      <a:pt x="2341" y="1073"/>
                      <a:pt x="2341" y="1073"/>
                    </a:cubicBezTo>
                    <a:cubicBezTo>
                      <a:pt x="2344" y="1071"/>
                      <a:pt x="2344" y="1071"/>
                      <a:pt x="2344" y="1071"/>
                    </a:cubicBezTo>
                    <a:cubicBezTo>
                      <a:pt x="2346" y="1068"/>
                      <a:pt x="2346" y="1068"/>
                      <a:pt x="2346" y="1068"/>
                    </a:cubicBezTo>
                    <a:cubicBezTo>
                      <a:pt x="2346" y="1064"/>
                      <a:pt x="2346" y="1064"/>
                      <a:pt x="2346" y="1064"/>
                    </a:cubicBezTo>
                    <a:cubicBezTo>
                      <a:pt x="2346" y="1061"/>
                      <a:pt x="2346" y="1061"/>
                      <a:pt x="2346" y="1061"/>
                    </a:cubicBezTo>
                    <a:cubicBezTo>
                      <a:pt x="2349" y="1059"/>
                      <a:pt x="2349" y="1059"/>
                      <a:pt x="2349" y="1059"/>
                    </a:cubicBezTo>
                    <a:cubicBezTo>
                      <a:pt x="2347" y="1056"/>
                      <a:pt x="2347" y="1056"/>
                      <a:pt x="2347" y="1056"/>
                    </a:cubicBezTo>
                    <a:cubicBezTo>
                      <a:pt x="2341" y="1050"/>
                      <a:pt x="2341" y="1050"/>
                      <a:pt x="2341" y="1050"/>
                    </a:cubicBezTo>
                    <a:cubicBezTo>
                      <a:pt x="2340" y="1053"/>
                      <a:pt x="2340" y="1053"/>
                      <a:pt x="2340" y="1053"/>
                    </a:cubicBezTo>
                    <a:cubicBezTo>
                      <a:pt x="2341" y="1060"/>
                      <a:pt x="2341" y="1060"/>
                      <a:pt x="2341" y="1060"/>
                    </a:cubicBezTo>
                    <a:cubicBezTo>
                      <a:pt x="2340" y="1064"/>
                      <a:pt x="2340" y="1064"/>
                      <a:pt x="2340" y="1064"/>
                    </a:cubicBezTo>
                    <a:cubicBezTo>
                      <a:pt x="2337" y="1065"/>
                      <a:pt x="2337" y="1065"/>
                      <a:pt x="2337" y="1065"/>
                    </a:cubicBezTo>
                    <a:cubicBezTo>
                      <a:pt x="2335" y="1068"/>
                      <a:pt x="2335" y="1068"/>
                      <a:pt x="2335" y="1068"/>
                    </a:cubicBezTo>
                    <a:cubicBezTo>
                      <a:pt x="2333" y="1068"/>
                      <a:pt x="2333" y="1068"/>
                      <a:pt x="2333" y="1068"/>
                    </a:cubicBezTo>
                    <a:cubicBezTo>
                      <a:pt x="2332" y="1070"/>
                      <a:pt x="2332" y="1070"/>
                      <a:pt x="2332" y="1070"/>
                    </a:cubicBezTo>
                    <a:cubicBezTo>
                      <a:pt x="2335" y="1073"/>
                      <a:pt x="2335" y="1073"/>
                      <a:pt x="2335" y="1073"/>
                    </a:cubicBezTo>
                    <a:cubicBezTo>
                      <a:pt x="2335" y="1076"/>
                      <a:pt x="2335" y="1076"/>
                      <a:pt x="2335" y="1076"/>
                    </a:cubicBezTo>
                    <a:cubicBezTo>
                      <a:pt x="2333" y="1077"/>
                      <a:pt x="2333" y="1077"/>
                      <a:pt x="2333" y="1077"/>
                    </a:cubicBezTo>
                    <a:cubicBezTo>
                      <a:pt x="2334" y="1078"/>
                      <a:pt x="2334" y="1078"/>
                      <a:pt x="2334" y="1078"/>
                    </a:cubicBezTo>
                    <a:cubicBezTo>
                      <a:pt x="2337" y="1078"/>
                      <a:pt x="2337" y="1078"/>
                      <a:pt x="2337" y="1078"/>
                    </a:cubicBezTo>
                    <a:cubicBezTo>
                      <a:pt x="2339" y="1080"/>
                      <a:pt x="2339" y="1080"/>
                      <a:pt x="2339" y="1080"/>
                    </a:cubicBezTo>
                    <a:close/>
                    <a:moveTo>
                      <a:pt x="2335" y="1102"/>
                    </a:moveTo>
                    <a:cubicBezTo>
                      <a:pt x="2337" y="1100"/>
                      <a:pt x="2337" y="1100"/>
                      <a:pt x="2337" y="1100"/>
                    </a:cubicBezTo>
                    <a:cubicBezTo>
                      <a:pt x="2335" y="1097"/>
                      <a:pt x="2335" y="1097"/>
                      <a:pt x="2335" y="1097"/>
                    </a:cubicBezTo>
                    <a:cubicBezTo>
                      <a:pt x="2335" y="1093"/>
                      <a:pt x="2335" y="1093"/>
                      <a:pt x="2335" y="1093"/>
                    </a:cubicBezTo>
                    <a:cubicBezTo>
                      <a:pt x="2334" y="1093"/>
                      <a:pt x="2334" y="1093"/>
                      <a:pt x="2334" y="1093"/>
                    </a:cubicBezTo>
                    <a:cubicBezTo>
                      <a:pt x="2334" y="1096"/>
                      <a:pt x="2334" y="1096"/>
                      <a:pt x="2334" y="1096"/>
                    </a:cubicBezTo>
                    <a:cubicBezTo>
                      <a:pt x="2333" y="1100"/>
                      <a:pt x="2333" y="1100"/>
                      <a:pt x="2333" y="1100"/>
                    </a:cubicBezTo>
                    <a:cubicBezTo>
                      <a:pt x="2335" y="1102"/>
                      <a:pt x="2335" y="1102"/>
                      <a:pt x="2335" y="1102"/>
                    </a:cubicBezTo>
                    <a:close/>
                    <a:moveTo>
                      <a:pt x="2336" y="1110"/>
                    </a:moveTo>
                    <a:cubicBezTo>
                      <a:pt x="2338" y="1109"/>
                      <a:pt x="2338" y="1109"/>
                      <a:pt x="2338" y="1109"/>
                    </a:cubicBezTo>
                    <a:cubicBezTo>
                      <a:pt x="2337" y="1107"/>
                      <a:pt x="2337" y="1107"/>
                      <a:pt x="2337" y="1107"/>
                    </a:cubicBezTo>
                    <a:cubicBezTo>
                      <a:pt x="2334" y="1106"/>
                      <a:pt x="2334" y="1106"/>
                      <a:pt x="2334" y="1106"/>
                    </a:cubicBezTo>
                    <a:cubicBezTo>
                      <a:pt x="2333" y="1106"/>
                      <a:pt x="2333" y="1106"/>
                      <a:pt x="2333" y="1106"/>
                    </a:cubicBezTo>
                    <a:cubicBezTo>
                      <a:pt x="2334" y="1108"/>
                      <a:pt x="2334" y="1108"/>
                      <a:pt x="2334" y="1108"/>
                    </a:cubicBezTo>
                    <a:cubicBezTo>
                      <a:pt x="2336" y="1110"/>
                      <a:pt x="2336" y="1110"/>
                      <a:pt x="2336" y="1110"/>
                    </a:cubicBezTo>
                    <a:close/>
                    <a:moveTo>
                      <a:pt x="2329" y="1115"/>
                    </a:moveTo>
                    <a:cubicBezTo>
                      <a:pt x="2330" y="1114"/>
                      <a:pt x="2330" y="1114"/>
                      <a:pt x="2330" y="1114"/>
                    </a:cubicBezTo>
                    <a:cubicBezTo>
                      <a:pt x="2329" y="1113"/>
                      <a:pt x="2329" y="1113"/>
                      <a:pt x="2329" y="1113"/>
                    </a:cubicBezTo>
                    <a:cubicBezTo>
                      <a:pt x="2328" y="1113"/>
                      <a:pt x="2328" y="1113"/>
                      <a:pt x="2328" y="1113"/>
                    </a:cubicBezTo>
                    <a:cubicBezTo>
                      <a:pt x="2327" y="1114"/>
                      <a:pt x="2327" y="1114"/>
                      <a:pt x="2327" y="1114"/>
                    </a:cubicBezTo>
                    <a:cubicBezTo>
                      <a:pt x="2329" y="1115"/>
                      <a:pt x="2329" y="1115"/>
                      <a:pt x="2329" y="1115"/>
                    </a:cubicBezTo>
                    <a:close/>
                    <a:moveTo>
                      <a:pt x="2332" y="1124"/>
                    </a:moveTo>
                    <a:cubicBezTo>
                      <a:pt x="2333" y="1123"/>
                      <a:pt x="2333" y="1123"/>
                      <a:pt x="2333" y="1123"/>
                    </a:cubicBezTo>
                    <a:cubicBezTo>
                      <a:pt x="2335" y="1121"/>
                      <a:pt x="2335" y="1121"/>
                      <a:pt x="2335" y="1121"/>
                    </a:cubicBezTo>
                    <a:cubicBezTo>
                      <a:pt x="2335" y="1118"/>
                      <a:pt x="2335" y="1118"/>
                      <a:pt x="2335" y="1118"/>
                    </a:cubicBezTo>
                    <a:cubicBezTo>
                      <a:pt x="2334" y="1116"/>
                      <a:pt x="2334" y="1116"/>
                      <a:pt x="2334" y="1116"/>
                    </a:cubicBezTo>
                    <a:cubicBezTo>
                      <a:pt x="2332" y="1119"/>
                      <a:pt x="2332" y="1119"/>
                      <a:pt x="2332" y="1119"/>
                    </a:cubicBezTo>
                    <a:cubicBezTo>
                      <a:pt x="2332" y="1124"/>
                      <a:pt x="2332" y="1124"/>
                      <a:pt x="2332" y="1124"/>
                    </a:cubicBezTo>
                    <a:close/>
                    <a:moveTo>
                      <a:pt x="2327" y="1146"/>
                    </a:moveTo>
                    <a:cubicBezTo>
                      <a:pt x="2328" y="1145"/>
                      <a:pt x="2328" y="1145"/>
                      <a:pt x="2328" y="1145"/>
                    </a:cubicBezTo>
                    <a:cubicBezTo>
                      <a:pt x="2326" y="1144"/>
                      <a:pt x="2326" y="1144"/>
                      <a:pt x="2326" y="1144"/>
                    </a:cubicBezTo>
                    <a:cubicBezTo>
                      <a:pt x="2325" y="1145"/>
                      <a:pt x="2325" y="1145"/>
                      <a:pt x="2325" y="1145"/>
                    </a:cubicBezTo>
                    <a:cubicBezTo>
                      <a:pt x="2327" y="1146"/>
                      <a:pt x="2327" y="1146"/>
                      <a:pt x="2327" y="1146"/>
                    </a:cubicBezTo>
                    <a:close/>
                    <a:moveTo>
                      <a:pt x="2326" y="1159"/>
                    </a:moveTo>
                    <a:cubicBezTo>
                      <a:pt x="2327" y="1157"/>
                      <a:pt x="2327" y="1157"/>
                      <a:pt x="2327" y="1157"/>
                    </a:cubicBezTo>
                    <a:cubicBezTo>
                      <a:pt x="2326" y="1155"/>
                      <a:pt x="2326" y="1155"/>
                      <a:pt x="2326" y="1155"/>
                    </a:cubicBezTo>
                    <a:cubicBezTo>
                      <a:pt x="2325" y="1156"/>
                      <a:pt x="2325" y="1156"/>
                      <a:pt x="2325" y="1156"/>
                    </a:cubicBezTo>
                    <a:cubicBezTo>
                      <a:pt x="2326" y="1159"/>
                      <a:pt x="2326" y="1159"/>
                      <a:pt x="2326" y="1159"/>
                    </a:cubicBezTo>
                    <a:close/>
                    <a:moveTo>
                      <a:pt x="2325" y="1162"/>
                    </a:moveTo>
                    <a:cubicBezTo>
                      <a:pt x="2325" y="1164"/>
                      <a:pt x="2325" y="1164"/>
                      <a:pt x="2325" y="1164"/>
                    </a:cubicBezTo>
                    <a:cubicBezTo>
                      <a:pt x="2327" y="1162"/>
                      <a:pt x="2327" y="1162"/>
                      <a:pt x="2327" y="1162"/>
                    </a:cubicBezTo>
                    <a:cubicBezTo>
                      <a:pt x="2325" y="1162"/>
                      <a:pt x="2325" y="1162"/>
                      <a:pt x="2325" y="1162"/>
                    </a:cubicBezTo>
                    <a:close/>
                    <a:moveTo>
                      <a:pt x="2321" y="1169"/>
                    </a:moveTo>
                    <a:cubicBezTo>
                      <a:pt x="2321" y="1170"/>
                      <a:pt x="2321" y="1170"/>
                      <a:pt x="2321" y="1170"/>
                    </a:cubicBezTo>
                    <a:cubicBezTo>
                      <a:pt x="2323" y="1170"/>
                      <a:pt x="2323" y="1170"/>
                      <a:pt x="2323" y="1170"/>
                    </a:cubicBezTo>
                    <a:cubicBezTo>
                      <a:pt x="2324" y="1169"/>
                      <a:pt x="2324" y="1169"/>
                      <a:pt x="2324" y="1169"/>
                    </a:cubicBezTo>
                    <a:cubicBezTo>
                      <a:pt x="2322" y="1168"/>
                      <a:pt x="2322" y="1168"/>
                      <a:pt x="2322" y="1168"/>
                    </a:cubicBezTo>
                    <a:cubicBezTo>
                      <a:pt x="2321" y="1169"/>
                      <a:pt x="2321" y="1169"/>
                      <a:pt x="2321" y="1169"/>
                    </a:cubicBezTo>
                    <a:close/>
                    <a:moveTo>
                      <a:pt x="2318" y="1184"/>
                    </a:moveTo>
                    <a:cubicBezTo>
                      <a:pt x="2319" y="1182"/>
                      <a:pt x="2319" y="1182"/>
                      <a:pt x="2319" y="1182"/>
                    </a:cubicBezTo>
                    <a:cubicBezTo>
                      <a:pt x="2320" y="1176"/>
                      <a:pt x="2320" y="1176"/>
                      <a:pt x="2320" y="1176"/>
                    </a:cubicBezTo>
                    <a:cubicBezTo>
                      <a:pt x="2319" y="1176"/>
                      <a:pt x="2319" y="1176"/>
                      <a:pt x="2319" y="1176"/>
                    </a:cubicBezTo>
                    <a:cubicBezTo>
                      <a:pt x="2318" y="1179"/>
                      <a:pt x="2318" y="1179"/>
                      <a:pt x="2318" y="1179"/>
                    </a:cubicBezTo>
                    <a:cubicBezTo>
                      <a:pt x="2317" y="1184"/>
                      <a:pt x="2317" y="1184"/>
                      <a:pt x="2317" y="1184"/>
                    </a:cubicBezTo>
                    <a:cubicBezTo>
                      <a:pt x="2318" y="1184"/>
                      <a:pt x="2318" y="1184"/>
                      <a:pt x="2318" y="1184"/>
                    </a:cubicBezTo>
                    <a:close/>
                    <a:moveTo>
                      <a:pt x="2285" y="1226"/>
                    </a:moveTo>
                    <a:cubicBezTo>
                      <a:pt x="2287" y="1227"/>
                      <a:pt x="2287" y="1227"/>
                      <a:pt x="2287" y="1227"/>
                    </a:cubicBezTo>
                    <a:cubicBezTo>
                      <a:pt x="2291" y="1223"/>
                      <a:pt x="2291" y="1223"/>
                      <a:pt x="2291" y="1223"/>
                    </a:cubicBezTo>
                    <a:cubicBezTo>
                      <a:pt x="2294" y="1219"/>
                      <a:pt x="2294" y="1219"/>
                      <a:pt x="2294" y="1219"/>
                    </a:cubicBezTo>
                    <a:cubicBezTo>
                      <a:pt x="2296" y="1217"/>
                      <a:pt x="2296" y="1217"/>
                      <a:pt x="2296" y="1217"/>
                    </a:cubicBezTo>
                    <a:cubicBezTo>
                      <a:pt x="2296" y="1213"/>
                      <a:pt x="2296" y="1213"/>
                      <a:pt x="2296" y="1213"/>
                    </a:cubicBezTo>
                    <a:cubicBezTo>
                      <a:pt x="2297" y="1209"/>
                      <a:pt x="2297" y="1209"/>
                      <a:pt x="2297" y="1209"/>
                    </a:cubicBezTo>
                    <a:cubicBezTo>
                      <a:pt x="2301" y="1204"/>
                      <a:pt x="2301" y="1204"/>
                      <a:pt x="2301" y="1204"/>
                    </a:cubicBezTo>
                    <a:cubicBezTo>
                      <a:pt x="2299" y="1205"/>
                      <a:pt x="2299" y="1205"/>
                      <a:pt x="2299" y="1205"/>
                    </a:cubicBezTo>
                    <a:cubicBezTo>
                      <a:pt x="2295" y="1206"/>
                      <a:pt x="2295" y="1206"/>
                      <a:pt x="2295" y="1206"/>
                    </a:cubicBezTo>
                    <a:cubicBezTo>
                      <a:pt x="2294" y="1210"/>
                      <a:pt x="2294" y="1210"/>
                      <a:pt x="2294" y="1210"/>
                    </a:cubicBezTo>
                    <a:cubicBezTo>
                      <a:pt x="2292" y="1211"/>
                      <a:pt x="2292" y="1211"/>
                      <a:pt x="2292" y="1211"/>
                    </a:cubicBezTo>
                    <a:cubicBezTo>
                      <a:pt x="2291" y="1214"/>
                      <a:pt x="2291" y="1214"/>
                      <a:pt x="2291" y="1214"/>
                    </a:cubicBezTo>
                    <a:cubicBezTo>
                      <a:pt x="2289" y="1216"/>
                      <a:pt x="2289" y="1216"/>
                      <a:pt x="2289" y="1216"/>
                    </a:cubicBezTo>
                    <a:cubicBezTo>
                      <a:pt x="2289" y="1218"/>
                      <a:pt x="2289" y="1218"/>
                      <a:pt x="2289" y="1218"/>
                    </a:cubicBezTo>
                    <a:cubicBezTo>
                      <a:pt x="2286" y="1221"/>
                      <a:pt x="2286" y="1221"/>
                      <a:pt x="2286" y="1221"/>
                    </a:cubicBezTo>
                    <a:cubicBezTo>
                      <a:pt x="2285" y="1226"/>
                      <a:pt x="2285" y="1226"/>
                      <a:pt x="2285" y="1226"/>
                    </a:cubicBezTo>
                    <a:close/>
                    <a:moveTo>
                      <a:pt x="2249" y="1267"/>
                    </a:moveTo>
                    <a:cubicBezTo>
                      <a:pt x="2251" y="1266"/>
                      <a:pt x="2251" y="1266"/>
                      <a:pt x="2251" y="1266"/>
                    </a:cubicBezTo>
                    <a:cubicBezTo>
                      <a:pt x="2252" y="1262"/>
                      <a:pt x="2252" y="1262"/>
                      <a:pt x="2252" y="1262"/>
                    </a:cubicBezTo>
                    <a:cubicBezTo>
                      <a:pt x="2254" y="1260"/>
                      <a:pt x="2254" y="1260"/>
                      <a:pt x="2254" y="1260"/>
                    </a:cubicBezTo>
                    <a:cubicBezTo>
                      <a:pt x="2254" y="1255"/>
                      <a:pt x="2254" y="1255"/>
                      <a:pt x="2254" y="1255"/>
                    </a:cubicBezTo>
                    <a:cubicBezTo>
                      <a:pt x="2256" y="1254"/>
                      <a:pt x="2256" y="1254"/>
                      <a:pt x="2256" y="1254"/>
                    </a:cubicBezTo>
                    <a:cubicBezTo>
                      <a:pt x="2256" y="1252"/>
                      <a:pt x="2256" y="1252"/>
                      <a:pt x="2256" y="1252"/>
                    </a:cubicBezTo>
                    <a:cubicBezTo>
                      <a:pt x="2258" y="1250"/>
                      <a:pt x="2258" y="1250"/>
                      <a:pt x="2258" y="1250"/>
                    </a:cubicBezTo>
                    <a:cubicBezTo>
                      <a:pt x="2260" y="1251"/>
                      <a:pt x="2260" y="1251"/>
                      <a:pt x="2260" y="1251"/>
                    </a:cubicBezTo>
                    <a:cubicBezTo>
                      <a:pt x="2262" y="1249"/>
                      <a:pt x="2262" y="1249"/>
                      <a:pt x="2262" y="1249"/>
                    </a:cubicBezTo>
                    <a:cubicBezTo>
                      <a:pt x="2265" y="1243"/>
                      <a:pt x="2265" y="1243"/>
                      <a:pt x="2265" y="1243"/>
                    </a:cubicBezTo>
                    <a:cubicBezTo>
                      <a:pt x="2269" y="1239"/>
                      <a:pt x="2269" y="1239"/>
                      <a:pt x="2269" y="1239"/>
                    </a:cubicBezTo>
                    <a:cubicBezTo>
                      <a:pt x="2273" y="1239"/>
                      <a:pt x="2273" y="1239"/>
                      <a:pt x="2273" y="1239"/>
                    </a:cubicBezTo>
                    <a:cubicBezTo>
                      <a:pt x="2276" y="1237"/>
                      <a:pt x="2276" y="1237"/>
                      <a:pt x="2276" y="1237"/>
                    </a:cubicBezTo>
                    <a:cubicBezTo>
                      <a:pt x="2276" y="1233"/>
                      <a:pt x="2276" y="1233"/>
                      <a:pt x="2276" y="1233"/>
                    </a:cubicBezTo>
                    <a:cubicBezTo>
                      <a:pt x="2275" y="1229"/>
                      <a:pt x="2275" y="1229"/>
                      <a:pt x="2275" y="1229"/>
                    </a:cubicBezTo>
                    <a:cubicBezTo>
                      <a:pt x="2272" y="1230"/>
                      <a:pt x="2272" y="1230"/>
                      <a:pt x="2272" y="1230"/>
                    </a:cubicBezTo>
                    <a:cubicBezTo>
                      <a:pt x="2268" y="1235"/>
                      <a:pt x="2268" y="1235"/>
                      <a:pt x="2268" y="1235"/>
                    </a:cubicBezTo>
                    <a:cubicBezTo>
                      <a:pt x="2267" y="1237"/>
                      <a:pt x="2267" y="1237"/>
                      <a:pt x="2267" y="1237"/>
                    </a:cubicBezTo>
                    <a:cubicBezTo>
                      <a:pt x="2265" y="1238"/>
                      <a:pt x="2265" y="1238"/>
                      <a:pt x="2265" y="1238"/>
                    </a:cubicBezTo>
                    <a:cubicBezTo>
                      <a:pt x="2262" y="1239"/>
                      <a:pt x="2262" y="1239"/>
                      <a:pt x="2262" y="1239"/>
                    </a:cubicBezTo>
                    <a:cubicBezTo>
                      <a:pt x="2260" y="1239"/>
                      <a:pt x="2260" y="1239"/>
                      <a:pt x="2260" y="1239"/>
                    </a:cubicBezTo>
                    <a:cubicBezTo>
                      <a:pt x="2259" y="1236"/>
                      <a:pt x="2259" y="1236"/>
                      <a:pt x="2259" y="1236"/>
                    </a:cubicBezTo>
                    <a:cubicBezTo>
                      <a:pt x="2258" y="1236"/>
                      <a:pt x="2258" y="1236"/>
                      <a:pt x="2258" y="1236"/>
                    </a:cubicBezTo>
                    <a:cubicBezTo>
                      <a:pt x="2257" y="1239"/>
                      <a:pt x="2257" y="1239"/>
                      <a:pt x="2257" y="1239"/>
                    </a:cubicBezTo>
                    <a:cubicBezTo>
                      <a:pt x="2258" y="1241"/>
                      <a:pt x="2258" y="1241"/>
                      <a:pt x="2258" y="1241"/>
                    </a:cubicBezTo>
                    <a:cubicBezTo>
                      <a:pt x="2256" y="1244"/>
                      <a:pt x="2256" y="1244"/>
                      <a:pt x="2256" y="1244"/>
                    </a:cubicBezTo>
                    <a:cubicBezTo>
                      <a:pt x="2254" y="1248"/>
                      <a:pt x="2254" y="1248"/>
                      <a:pt x="2254" y="1248"/>
                    </a:cubicBezTo>
                    <a:cubicBezTo>
                      <a:pt x="2252" y="1248"/>
                      <a:pt x="2252" y="1248"/>
                      <a:pt x="2252" y="1248"/>
                    </a:cubicBezTo>
                    <a:cubicBezTo>
                      <a:pt x="2253" y="1250"/>
                      <a:pt x="2253" y="1250"/>
                      <a:pt x="2253" y="1250"/>
                    </a:cubicBezTo>
                    <a:cubicBezTo>
                      <a:pt x="2252" y="1253"/>
                      <a:pt x="2252" y="1253"/>
                      <a:pt x="2252" y="1253"/>
                    </a:cubicBezTo>
                    <a:cubicBezTo>
                      <a:pt x="2249" y="1255"/>
                      <a:pt x="2249" y="1255"/>
                      <a:pt x="2249" y="1255"/>
                    </a:cubicBezTo>
                    <a:cubicBezTo>
                      <a:pt x="2248" y="1257"/>
                      <a:pt x="2248" y="1257"/>
                      <a:pt x="2248" y="1257"/>
                    </a:cubicBezTo>
                    <a:cubicBezTo>
                      <a:pt x="2250" y="1259"/>
                      <a:pt x="2250" y="1259"/>
                      <a:pt x="2250" y="1259"/>
                    </a:cubicBezTo>
                    <a:cubicBezTo>
                      <a:pt x="2248" y="1260"/>
                      <a:pt x="2248" y="1260"/>
                      <a:pt x="2248" y="1260"/>
                    </a:cubicBezTo>
                    <a:cubicBezTo>
                      <a:pt x="2248" y="1263"/>
                      <a:pt x="2248" y="1263"/>
                      <a:pt x="2248" y="1263"/>
                    </a:cubicBezTo>
                    <a:cubicBezTo>
                      <a:pt x="2249" y="1267"/>
                      <a:pt x="2249" y="1267"/>
                      <a:pt x="2249" y="1267"/>
                    </a:cubicBezTo>
                    <a:close/>
                    <a:moveTo>
                      <a:pt x="2233" y="1292"/>
                    </a:moveTo>
                    <a:cubicBezTo>
                      <a:pt x="2233" y="1291"/>
                      <a:pt x="2233" y="1287"/>
                      <a:pt x="2233" y="1287"/>
                    </a:cubicBezTo>
                    <a:cubicBezTo>
                      <a:pt x="2235" y="1278"/>
                      <a:pt x="2235" y="1278"/>
                      <a:pt x="2235" y="1278"/>
                    </a:cubicBezTo>
                    <a:cubicBezTo>
                      <a:pt x="2236" y="1277"/>
                      <a:pt x="2236" y="1277"/>
                      <a:pt x="2236" y="1277"/>
                    </a:cubicBezTo>
                    <a:cubicBezTo>
                      <a:pt x="2241" y="1273"/>
                      <a:pt x="2241" y="1273"/>
                      <a:pt x="2241" y="1273"/>
                    </a:cubicBezTo>
                    <a:cubicBezTo>
                      <a:pt x="2242" y="1269"/>
                      <a:pt x="2242" y="1269"/>
                      <a:pt x="2242" y="1269"/>
                    </a:cubicBezTo>
                    <a:cubicBezTo>
                      <a:pt x="2241" y="1269"/>
                      <a:pt x="2241" y="1269"/>
                      <a:pt x="2241" y="1269"/>
                    </a:cubicBezTo>
                    <a:cubicBezTo>
                      <a:pt x="2238" y="1269"/>
                      <a:pt x="2238" y="1269"/>
                      <a:pt x="2238" y="1269"/>
                    </a:cubicBezTo>
                    <a:cubicBezTo>
                      <a:pt x="2236" y="1269"/>
                      <a:pt x="2236" y="1269"/>
                      <a:pt x="2236" y="1269"/>
                    </a:cubicBezTo>
                    <a:cubicBezTo>
                      <a:pt x="2234" y="1267"/>
                      <a:pt x="2234" y="1267"/>
                      <a:pt x="2234" y="1267"/>
                    </a:cubicBezTo>
                    <a:cubicBezTo>
                      <a:pt x="2233" y="1268"/>
                      <a:pt x="2233" y="1268"/>
                      <a:pt x="2233" y="1268"/>
                    </a:cubicBezTo>
                    <a:cubicBezTo>
                      <a:pt x="2232" y="1273"/>
                      <a:pt x="2232" y="1273"/>
                      <a:pt x="2232" y="1273"/>
                    </a:cubicBezTo>
                    <a:cubicBezTo>
                      <a:pt x="2231" y="1277"/>
                      <a:pt x="2231" y="1277"/>
                      <a:pt x="2231" y="1277"/>
                    </a:cubicBezTo>
                    <a:cubicBezTo>
                      <a:pt x="2230" y="1282"/>
                      <a:pt x="2230" y="1282"/>
                      <a:pt x="2230" y="1282"/>
                    </a:cubicBezTo>
                    <a:cubicBezTo>
                      <a:pt x="2229" y="1286"/>
                      <a:pt x="2229" y="1286"/>
                      <a:pt x="2229" y="1286"/>
                    </a:cubicBezTo>
                    <a:cubicBezTo>
                      <a:pt x="2229" y="1288"/>
                      <a:pt x="2229" y="1288"/>
                      <a:pt x="2229" y="1288"/>
                    </a:cubicBezTo>
                    <a:cubicBezTo>
                      <a:pt x="2233" y="1292"/>
                      <a:pt x="2233" y="1292"/>
                      <a:pt x="2233" y="1292"/>
                    </a:cubicBezTo>
                    <a:close/>
                    <a:moveTo>
                      <a:pt x="40" y="994"/>
                    </a:moveTo>
                    <a:cubicBezTo>
                      <a:pt x="38" y="998"/>
                      <a:pt x="38" y="998"/>
                      <a:pt x="38" y="998"/>
                    </a:cubicBezTo>
                    <a:cubicBezTo>
                      <a:pt x="42" y="1000"/>
                      <a:pt x="42" y="1000"/>
                      <a:pt x="42" y="1000"/>
                    </a:cubicBezTo>
                    <a:cubicBezTo>
                      <a:pt x="43" y="998"/>
                      <a:pt x="43" y="998"/>
                      <a:pt x="43" y="998"/>
                    </a:cubicBezTo>
                    <a:lnTo>
                      <a:pt x="40" y="994"/>
                    </a:lnTo>
                    <a:close/>
                  </a:path>
                </a:pathLst>
              </a:custGeom>
              <a:solidFill>
                <a:schemeClr val="accent4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615" name="Freeform 419"/>
              <p:cNvSpPr>
                <a:spLocks/>
              </p:cNvSpPr>
              <p:nvPr userDrawn="1"/>
            </p:nvSpPr>
            <p:spPr bwMode="auto">
              <a:xfrm>
                <a:off x="5361" y="2053"/>
                <a:ext cx="10" cy="4"/>
              </a:xfrm>
              <a:custGeom>
                <a:avLst/>
                <a:gdLst>
                  <a:gd name="T0" fmla="*/ 10 w 10"/>
                  <a:gd name="T1" fmla="*/ 0 h 4"/>
                  <a:gd name="T2" fmla="*/ 4 w 10"/>
                  <a:gd name="T3" fmla="*/ 4 h 4"/>
                  <a:gd name="T4" fmla="*/ 0 w 10"/>
                  <a:gd name="T5" fmla="*/ 4 h 4"/>
                  <a:gd name="T6" fmla="*/ 10 w 10"/>
                  <a:gd name="T7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" h="4">
                    <a:moveTo>
                      <a:pt x="10" y="0"/>
                    </a:moveTo>
                    <a:lnTo>
                      <a:pt x="4" y="4"/>
                    </a:lnTo>
                    <a:lnTo>
                      <a:pt x="0" y="4"/>
                    </a:lnTo>
                    <a:lnTo>
                      <a:pt x="10" y="0"/>
                    </a:lnTo>
                    <a:close/>
                  </a:path>
                </a:pathLst>
              </a:custGeom>
              <a:solidFill>
                <a:srgbClr val="65625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616" name="Freeform 420"/>
              <p:cNvSpPr>
                <a:spLocks/>
              </p:cNvSpPr>
              <p:nvPr userDrawn="1"/>
            </p:nvSpPr>
            <p:spPr bwMode="auto">
              <a:xfrm>
                <a:off x="5361" y="2053"/>
                <a:ext cx="10" cy="4"/>
              </a:xfrm>
              <a:custGeom>
                <a:avLst/>
                <a:gdLst>
                  <a:gd name="T0" fmla="*/ 10 w 10"/>
                  <a:gd name="T1" fmla="*/ 0 h 4"/>
                  <a:gd name="T2" fmla="*/ 4 w 10"/>
                  <a:gd name="T3" fmla="*/ 4 h 4"/>
                  <a:gd name="T4" fmla="*/ 0 w 10"/>
                  <a:gd name="T5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4">
                    <a:moveTo>
                      <a:pt x="10" y="0"/>
                    </a:moveTo>
                    <a:lnTo>
                      <a:pt x="4" y="4"/>
                    </a:lnTo>
                    <a:lnTo>
                      <a:pt x="0" y="4"/>
                    </a:lnTo>
                  </a:path>
                </a:pathLst>
              </a:custGeom>
              <a:noFill/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617" name="Freeform 421"/>
              <p:cNvSpPr>
                <a:spLocks noEditPoints="1"/>
              </p:cNvSpPr>
              <p:nvPr userDrawn="1"/>
            </p:nvSpPr>
            <p:spPr bwMode="auto">
              <a:xfrm>
                <a:off x="5225" y="2811"/>
                <a:ext cx="847" cy="324"/>
              </a:xfrm>
              <a:custGeom>
                <a:avLst/>
                <a:gdLst>
                  <a:gd name="T0" fmla="*/ 845 w 886"/>
                  <a:gd name="T1" fmla="*/ 266 h 339"/>
                  <a:gd name="T2" fmla="*/ 802 w 886"/>
                  <a:gd name="T3" fmla="*/ 220 h 339"/>
                  <a:gd name="T4" fmla="*/ 735 w 886"/>
                  <a:gd name="T5" fmla="*/ 206 h 339"/>
                  <a:gd name="T6" fmla="*/ 730 w 886"/>
                  <a:gd name="T7" fmla="*/ 171 h 339"/>
                  <a:gd name="T8" fmla="*/ 756 w 886"/>
                  <a:gd name="T9" fmla="*/ 152 h 339"/>
                  <a:gd name="T10" fmla="*/ 812 w 886"/>
                  <a:gd name="T11" fmla="*/ 165 h 339"/>
                  <a:gd name="T12" fmla="*/ 687 w 886"/>
                  <a:gd name="T13" fmla="*/ 130 h 339"/>
                  <a:gd name="T14" fmla="*/ 584 w 886"/>
                  <a:gd name="T15" fmla="*/ 61 h 339"/>
                  <a:gd name="T16" fmla="*/ 634 w 886"/>
                  <a:gd name="T17" fmla="*/ 138 h 339"/>
                  <a:gd name="T18" fmla="*/ 649 w 886"/>
                  <a:gd name="T19" fmla="*/ 96 h 339"/>
                  <a:gd name="T20" fmla="*/ 627 w 886"/>
                  <a:gd name="T21" fmla="*/ 143 h 339"/>
                  <a:gd name="T22" fmla="*/ 643 w 886"/>
                  <a:gd name="T23" fmla="*/ 197 h 339"/>
                  <a:gd name="T24" fmla="*/ 679 w 886"/>
                  <a:gd name="T25" fmla="*/ 197 h 339"/>
                  <a:gd name="T26" fmla="*/ 596 w 886"/>
                  <a:gd name="T27" fmla="*/ 199 h 339"/>
                  <a:gd name="T28" fmla="*/ 588 w 886"/>
                  <a:gd name="T29" fmla="*/ 166 h 339"/>
                  <a:gd name="T30" fmla="*/ 536 w 886"/>
                  <a:gd name="T31" fmla="*/ 226 h 339"/>
                  <a:gd name="T32" fmla="*/ 538 w 886"/>
                  <a:gd name="T33" fmla="*/ 165 h 339"/>
                  <a:gd name="T34" fmla="*/ 515 w 886"/>
                  <a:gd name="T35" fmla="*/ 138 h 339"/>
                  <a:gd name="T36" fmla="*/ 567 w 886"/>
                  <a:gd name="T37" fmla="*/ 104 h 339"/>
                  <a:gd name="T38" fmla="*/ 475 w 886"/>
                  <a:gd name="T39" fmla="*/ 143 h 339"/>
                  <a:gd name="T40" fmla="*/ 470 w 886"/>
                  <a:gd name="T41" fmla="*/ 236 h 339"/>
                  <a:gd name="T42" fmla="*/ 506 w 886"/>
                  <a:gd name="T43" fmla="*/ 209 h 339"/>
                  <a:gd name="T44" fmla="*/ 523 w 886"/>
                  <a:gd name="T45" fmla="*/ 191 h 339"/>
                  <a:gd name="T46" fmla="*/ 524 w 886"/>
                  <a:gd name="T47" fmla="*/ 143 h 339"/>
                  <a:gd name="T48" fmla="*/ 465 w 886"/>
                  <a:gd name="T49" fmla="*/ 34 h 339"/>
                  <a:gd name="T50" fmla="*/ 407 w 886"/>
                  <a:gd name="T51" fmla="*/ 200 h 339"/>
                  <a:gd name="T52" fmla="*/ 278 w 886"/>
                  <a:gd name="T53" fmla="*/ 154 h 339"/>
                  <a:gd name="T54" fmla="*/ 398 w 886"/>
                  <a:gd name="T55" fmla="*/ 48 h 339"/>
                  <a:gd name="T56" fmla="*/ 447 w 886"/>
                  <a:gd name="T57" fmla="*/ 102 h 339"/>
                  <a:gd name="T58" fmla="*/ 404 w 886"/>
                  <a:gd name="T59" fmla="*/ 165 h 339"/>
                  <a:gd name="T60" fmla="*/ 359 w 886"/>
                  <a:gd name="T61" fmla="*/ 194 h 339"/>
                  <a:gd name="T62" fmla="*/ 291 w 886"/>
                  <a:gd name="T63" fmla="*/ 181 h 339"/>
                  <a:gd name="T64" fmla="*/ 767 w 886"/>
                  <a:gd name="T65" fmla="*/ 145 h 339"/>
                  <a:gd name="T66" fmla="*/ 786 w 886"/>
                  <a:gd name="T67" fmla="*/ 140 h 339"/>
                  <a:gd name="T68" fmla="*/ 757 w 886"/>
                  <a:gd name="T69" fmla="*/ 256 h 339"/>
                  <a:gd name="T70" fmla="*/ 752 w 886"/>
                  <a:gd name="T71" fmla="*/ 237 h 339"/>
                  <a:gd name="T72" fmla="*/ 688 w 886"/>
                  <a:gd name="T73" fmla="*/ 271 h 339"/>
                  <a:gd name="T74" fmla="*/ 673 w 886"/>
                  <a:gd name="T75" fmla="*/ 247 h 339"/>
                  <a:gd name="T76" fmla="*/ 616 w 886"/>
                  <a:gd name="T77" fmla="*/ 273 h 339"/>
                  <a:gd name="T78" fmla="*/ 563 w 886"/>
                  <a:gd name="T79" fmla="*/ 308 h 339"/>
                  <a:gd name="T80" fmla="*/ 508 w 886"/>
                  <a:gd name="T81" fmla="*/ 329 h 339"/>
                  <a:gd name="T82" fmla="*/ 390 w 886"/>
                  <a:gd name="T83" fmla="*/ 260 h 339"/>
                  <a:gd name="T84" fmla="*/ 572 w 886"/>
                  <a:gd name="T85" fmla="*/ 285 h 339"/>
                  <a:gd name="T86" fmla="*/ 471 w 886"/>
                  <a:gd name="T87" fmla="*/ 290 h 339"/>
                  <a:gd name="T88" fmla="*/ 482 w 886"/>
                  <a:gd name="T89" fmla="*/ 298 h 339"/>
                  <a:gd name="T90" fmla="*/ 455 w 886"/>
                  <a:gd name="T91" fmla="*/ 299 h 339"/>
                  <a:gd name="T92" fmla="*/ 407 w 886"/>
                  <a:gd name="T93" fmla="*/ 298 h 339"/>
                  <a:gd name="T94" fmla="*/ 841 w 886"/>
                  <a:gd name="T95" fmla="*/ 283 h 339"/>
                  <a:gd name="T96" fmla="*/ 355 w 886"/>
                  <a:gd name="T97" fmla="*/ 262 h 339"/>
                  <a:gd name="T98" fmla="*/ 295 w 886"/>
                  <a:gd name="T99" fmla="*/ 259 h 339"/>
                  <a:gd name="T100" fmla="*/ 353 w 886"/>
                  <a:gd name="T101" fmla="*/ 291 h 339"/>
                  <a:gd name="T102" fmla="*/ 215 w 886"/>
                  <a:gd name="T103" fmla="*/ 263 h 339"/>
                  <a:gd name="T104" fmla="*/ 206 w 886"/>
                  <a:gd name="T105" fmla="*/ 67 h 339"/>
                  <a:gd name="T106" fmla="*/ 244 w 886"/>
                  <a:gd name="T107" fmla="*/ 191 h 339"/>
                  <a:gd name="T108" fmla="*/ 211 w 886"/>
                  <a:gd name="T109" fmla="*/ 162 h 339"/>
                  <a:gd name="T110" fmla="*/ 137 w 886"/>
                  <a:gd name="T111" fmla="*/ 99 h 339"/>
                  <a:gd name="T112" fmla="*/ 66 w 886"/>
                  <a:gd name="T113" fmla="*/ 150 h 339"/>
                  <a:gd name="T114" fmla="*/ 39 w 886"/>
                  <a:gd name="T115" fmla="*/ 101 h 339"/>
                  <a:gd name="T116" fmla="*/ 71 w 886"/>
                  <a:gd name="T117" fmla="*/ 95 h 339"/>
                  <a:gd name="T118" fmla="*/ 182 w 886"/>
                  <a:gd name="T119" fmla="*/ 240 h 339"/>
                  <a:gd name="T120" fmla="*/ 184 w 886"/>
                  <a:gd name="T121" fmla="*/ 162 h 339"/>
                  <a:gd name="T122" fmla="*/ 129 w 886"/>
                  <a:gd name="T123" fmla="*/ 97 h 339"/>
                  <a:gd name="T124" fmla="*/ 21 w 886"/>
                  <a:gd name="T125" fmla="*/ 25 h 3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886" h="339">
                    <a:moveTo>
                      <a:pt x="886" y="178"/>
                    </a:moveTo>
                    <a:cubicBezTo>
                      <a:pt x="884" y="247"/>
                      <a:pt x="884" y="247"/>
                      <a:pt x="884" y="247"/>
                    </a:cubicBezTo>
                    <a:cubicBezTo>
                      <a:pt x="883" y="253"/>
                      <a:pt x="883" y="253"/>
                      <a:pt x="883" y="253"/>
                    </a:cubicBezTo>
                    <a:cubicBezTo>
                      <a:pt x="883" y="256"/>
                      <a:pt x="883" y="256"/>
                      <a:pt x="883" y="256"/>
                    </a:cubicBezTo>
                    <a:cubicBezTo>
                      <a:pt x="884" y="257"/>
                      <a:pt x="884" y="257"/>
                      <a:pt x="884" y="257"/>
                    </a:cubicBezTo>
                    <a:cubicBezTo>
                      <a:pt x="882" y="302"/>
                      <a:pt x="882" y="302"/>
                      <a:pt x="882" y="302"/>
                    </a:cubicBezTo>
                    <a:cubicBezTo>
                      <a:pt x="881" y="302"/>
                      <a:pt x="881" y="302"/>
                      <a:pt x="881" y="302"/>
                    </a:cubicBezTo>
                    <a:cubicBezTo>
                      <a:pt x="876" y="301"/>
                      <a:pt x="876" y="301"/>
                      <a:pt x="876" y="301"/>
                    </a:cubicBezTo>
                    <a:cubicBezTo>
                      <a:pt x="871" y="295"/>
                      <a:pt x="871" y="295"/>
                      <a:pt x="871" y="295"/>
                    </a:cubicBezTo>
                    <a:cubicBezTo>
                      <a:pt x="870" y="292"/>
                      <a:pt x="870" y="292"/>
                      <a:pt x="870" y="292"/>
                    </a:cubicBezTo>
                    <a:cubicBezTo>
                      <a:pt x="870" y="291"/>
                      <a:pt x="870" y="291"/>
                      <a:pt x="870" y="291"/>
                    </a:cubicBezTo>
                    <a:cubicBezTo>
                      <a:pt x="866" y="288"/>
                      <a:pt x="866" y="288"/>
                      <a:pt x="866" y="288"/>
                    </a:cubicBezTo>
                    <a:cubicBezTo>
                      <a:pt x="864" y="287"/>
                      <a:pt x="864" y="287"/>
                      <a:pt x="864" y="287"/>
                    </a:cubicBezTo>
                    <a:cubicBezTo>
                      <a:pt x="863" y="284"/>
                      <a:pt x="863" y="284"/>
                      <a:pt x="863" y="284"/>
                    </a:cubicBezTo>
                    <a:cubicBezTo>
                      <a:pt x="865" y="281"/>
                      <a:pt x="865" y="281"/>
                      <a:pt x="865" y="281"/>
                    </a:cubicBezTo>
                    <a:cubicBezTo>
                      <a:pt x="865" y="277"/>
                      <a:pt x="865" y="277"/>
                      <a:pt x="865" y="277"/>
                    </a:cubicBezTo>
                    <a:cubicBezTo>
                      <a:pt x="864" y="281"/>
                      <a:pt x="864" y="281"/>
                      <a:pt x="864" y="281"/>
                    </a:cubicBezTo>
                    <a:cubicBezTo>
                      <a:pt x="861" y="283"/>
                      <a:pt x="861" y="283"/>
                      <a:pt x="861" y="283"/>
                    </a:cubicBezTo>
                    <a:cubicBezTo>
                      <a:pt x="856" y="282"/>
                      <a:pt x="856" y="282"/>
                      <a:pt x="856" y="282"/>
                    </a:cubicBezTo>
                    <a:cubicBezTo>
                      <a:pt x="852" y="284"/>
                      <a:pt x="852" y="284"/>
                      <a:pt x="852" y="284"/>
                    </a:cubicBezTo>
                    <a:cubicBezTo>
                      <a:pt x="850" y="284"/>
                      <a:pt x="850" y="284"/>
                      <a:pt x="850" y="284"/>
                    </a:cubicBezTo>
                    <a:cubicBezTo>
                      <a:pt x="848" y="282"/>
                      <a:pt x="848" y="282"/>
                      <a:pt x="848" y="282"/>
                    </a:cubicBezTo>
                    <a:cubicBezTo>
                      <a:pt x="844" y="285"/>
                      <a:pt x="844" y="285"/>
                      <a:pt x="844" y="285"/>
                    </a:cubicBezTo>
                    <a:cubicBezTo>
                      <a:pt x="841" y="282"/>
                      <a:pt x="841" y="282"/>
                      <a:pt x="841" y="282"/>
                    </a:cubicBezTo>
                    <a:cubicBezTo>
                      <a:pt x="843" y="281"/>
                      <a:pt x="843" y="281"/>
                      <a:pt x="843" y="281"/>
                    </a:cubicBezTo>
                    <a:cubicBezTo>
                      <a:pt x="844" y="278"/>
                      <a:pt x="844" y="278"/>
                      <a:pt x="844" y="278"/>
                    </a:cubicBezTo>
                    <a:cubicBezTo>
                      <a:pt x="844" y="276"/>
                      <a:pt x="844" y="276"/>
                      <a:pt x="844" y="276"/>
                    </a:cubicBezTo>
                    <a:cubicBezTo>
                      <a:pt x="845" y="275"/>
                      <a:pt x="845" y="275"/>
                      <a:pt x="845" y="275"/>
                    </a:cubicBezTo>
                    <a:cubicBezTo>
                      <a:pt x="846" y="270"/>
                      <a:pt x="846" y="270"/>
                      <a:pt x="846" y="270"/>
                    </a:cubicBezTo>
                    <a:cubicBezTo>
                      <a:pt x="843" y="269"/>
                      <a:pt x="843" y="269"/>
                      <a:pt x="843" y="269"/>
                    </a:cubicBezTo>
                    <a:cubicBezTo>
                      <a:pt x="841" y="266"/>
                      <a:pt x="841" y="266"/>
                      <a:pt x="841" y="266"/>
                    </a:cubicBezTo>
                    <a:cubicBezTo>
                      <a:pt x="843" y="266"/>
                      <a:pt x="843" y="266"/>
                      <a:pt x="843" y="266"/>
                    </a:cubicBezTo>
                    <a:cubicBezTo>
                      <a:pt x="845" y="266"/>
                      <a:pt x="845" y="266"/>
                      <a:pt x="845" y="266"/>
                    </a:cubicBezTo>
                    <a:cubicBezTo>
                      <a:pt x="849" y="265"/>
                      <a:pt x="849" y="265"/>
                      <a:pt x="849" y="265"/>
                    </a:cubicBezTo>
                    <a:cubicBezTo>
                      <a:pt x="851" y="265"/>
                      <a:pt x="851" y="265"/>
                      <a:pt x="851" y="265"/>
                    </a:cubicBezTo>
                    <a:cubicBezTo>
                      <a:pt x="848" y="264"/>
                      <a:pt x="848" y="264"/>
                      <a:pt x="848" y="264"/>
                    </a:cubicBezTo>
                    <a:cubicBezTo>
                      <a:pt x="844" y="264"/>
                      <a:pt x="844" y="264"/>
                      <a:pt x="844" y="264"/>
                    </a:cubicBezTo>
                    <a:cubicBezTo>
                      <a:pt x="841" y="263"/>
                      <a:pt x="841" y="263"/>
                      <a:pt x="841" y="263"/>
                    </a:cubicBezTo>
                    <a:cubicBezTo>
                      <a:pt x="838" y="261"/>
                      <a:pt x="838" y="261"/>
                      <a:pt x="838" y="261"/>
                    </a:cubicBezTo>
                    <a:cubicBezTo>
                      <a:pt x="839" y="258"/>
                      <a:pt x="839" y="258"/>
                      <a:pt x="839" y="258"/>
                    </a:cubicBezTo>
                    <a:cubicBezTo>
                      <a:pt x="840" y="258"/>
                      <a:pt x="840" y="258"/>
                      <a:pt x="840" y="258"/>
                    </a:cubicBezTo>
                    <a:cubicBezTo>
                      <a:pt x="843" y="258"/>
                      <a:pt x="843" y="258"/>
                      <a:pt x="843" y="258"/>
                    </a:cubicBezTo>
                    <a:cubicBezTo>
                      <a:pt x="842" y="256"/>
                      <a:pt x="842" y="256"/>
                      <a:pt x="842" y="256"/>
                    </a:cubicBezTo>
                    <a:cubicBezTo>
                      <a:pt x="837" y="253"/>
                      <a:pt x="837" y="253"/>
                      <a:pt x="837" y="253"/>
                    </a:cubicBezTo>
                    <a:cubicBezTo>
                      <a:pt x="833" y="251"/>
                      <a:pt x="833" y="251"/>
                      <a:pt x="833" y="251"/>
                    </a:cubicBezTo>
                    <a:cubicBezTo>
                      <a:pt x="832" y="248"/>
                      <a:pt x="832" y="248"/>
                      <a:pt x="832" y="248"/>
                    </a:cubicBezTo>
                    <a:cubicBezTo>
                      <a:pt x="833" y="244"/>
                      <a:pt x="833" y="244"/>
                      <a:pt x="833" y="244"/>
                    </a:cubicBezTo>
                    <a:cubicBezTo>
                      <a:pt x="829" y="240"/>
                      <a:pt x="829" y="240"/>
                      <a:pt x="829" y="240"/>
                    </a:cubicBezTo>
                    <a:cubicBezTo>
                      <a:pt x="829" y="239"/>
                      <a:pt x="829" y="239"/>
                      <a:pt x="829" y="239"/>
                    </a:cubicBezTo>
                    <a:cubicBezTo>
                      <a:pt x="833" y="236"/>
                      <a:pt x="833" y="236"/>
                      <a:pt x="833" y="236"/>
                    </a:cubicBezTo>
                    <a:cubicBezTo>
                      <a:pt x="829" y="236"/>
                      <a:pt x="829" y="236"/>
                      <a:pt x="829" y="236"/>
                    </a:cubicBezTo>
                    <a:cubicBezTo>
                      <a:pt x="827" y="234"/>
                      <a:pt x="827" y="234"/>
                      <a:pt x="827" y="234"/>
                    </a:cubicBezTo>
                    <a:cubicBezTo>
                      <a:pt x="828" y="233"/>
                      <a:pt x="828" y="233"/>
                      <a:pt x="828" y="233"/>
                    </a:cubicBezTo>
                    <a:cubicBezTo>
                      <a:pt x="826" y="231"/>
                      <a:pt x="826" y="231"/>
                      <a:pt x="826" y="231"/>
                    </a:cubicBezTo>
                    <a:cubicBezTo>
                      <a:pt x="829" y="229"/>
                      <a:pt x="829" y="229"/>
                      <a:pt x="829" y="229"/>
                    </a:cubicBezTo>
                    <a:cubicBezTo>
                      <a:pt x="825" y="230"/>
                      <a:pt x="825" y="230"/>
                      <a:pt x="825" y="230"/>
                    </a:cubicBezTo>
                    <a:cubicBezTo>
                      <a:pt x="824" y="228"/>
                      <a:pt x="824" y="228"/>
                      <a:pt x="824" y="228"/>
                    </a:cubicBezTo>
                    <a:cubicBezTo>
                      <a:pt x="821" y="229"/>
                      <a:pt x="821" y="229"/>
                      <a:pt x="821" y="229"/>
                    </a:cubicBezTo>
                    <a:cubicBezTo>
                      <a:pt x="820" y="228"/>
                      <a:pt x="820" y="228"/>
                      <a:pt x="820" y="228"/>
                    </a:cubicBezTo>
                    <a:cubicBezTo>
                      <a:pt x="823" y="225"/>
                      <a:pt x="823" y="225"/>
                      <a:pt x="823" y="225"/>
                    </a:cubicBezTo>
                    <a:cubicBezTo>
                      <a:pt x="820" y="226"/>
                      <a:pt x="820" y="226"/>
                      <a:pt x="820" y="226"/>
                    </a:cubicBezTo>
                    <a:cubicBezTo>
                      <a:pt x="817" y="226"/>
                      <a:pt x="817" y="226"/>
                      <a:pt x="817" y="226"/>
                    </a:cubicBezTo>
                    <a:cubicBezTo>
                      <a:pt x="812" y="224"/>
                      <a:pt x="812" y="224"/>
                      <a:pt x="812" y="224"/>
                    </a:cubicBezTo>
                    <a:cubicBezTo>
                      <a:pt x="810" y="221"/>
                      <a:pt x="810" y="221"/>
                      <a:pt x="810" y="221"/>
                    </a:cubicBezTo>
                    <a:cubicBezTo>
                      <a:pt x="805" y="219"/>
                      <a:pt x="805" y="219"/>
                      <a:pt x="805" y="219"/>
                    </a:cubicBezTo>
                    <a:cubicBezTo>
                      <a:pt x="802" y="220"/>
                      <a:pt x="802" y="220"/>
                      <a:pt x="802" y="220"/>
                    </a:cubicBezTo>
                    <a:cubicBezTo>
                      <a:pt x="790" y="216"/>
                      <a:pt x="790" y="216"/>
                      <a:pt x="790" y="216"/>
                    </a:cubicBezTo>
                    <a:cubicBezTo>
                      <a:pt x="779" y="213"/>
                      <a:pt x="779" y="213"/>
                      <a:pt x="779" y="213"/>
                    </a:cubicBezTo>
                    <a:cubicBezTo>
                      <a:pt x="773" y="212"/>
                      <a:pt x="773" y="212"/>
                      <a:pt x="773" y="212"/>
                    </a:cubicBezTo>
                    <a:cubicBezTo>
                      <a:pt x="768" y="210"/>
                      <a:pt x="768" y="210"/>
                      <a:pt x="768" y="210"/>
                    </a:cubicBezTo>
                    <a:cubicBezTo>
                      <a:pt x="767" y="209"/>
                      <a:pt x="767" y="209"/>
                      <a:pt x="767" y="209"/>
                    </a:cubicBezTo>
                    <a:cubicBezTo>
                      <a:pt x="767" y="207"/>
                      <a:pt x="767" y="207"/>
                      <a:pt x="767" y="207"/>
                    </a:cubicBezTo>
                    <a:cubicBezTo>
                      <a:pt x="763" y="206"/>
                      <a:pt x="763" y="206"/>
                      <a:pt x="763" y="206"/>
                    </a:cubicBezTo>
                    <a:cubicBezTo>
                      <a:pt x="763" y="204"/>
                      <a:pt x="763" y="204"/>
                      <a:pt x="763" y="204"/>
                    </a:cubicBezTo>
                    <a:cubicBezTo>
                      <a:pt x="766" y="203"/>
                      <a:pt x="766" y="203"/>
                      <a:pt x="766" y="203"/>
                    </a:cubicBezTo>
                    <a:cubicBezTo>
                      <a:pt x="767" y="204"/>
                      <a:pt x="767" y="204"/>
                      <a:pt x="767" y="204"/>
                    </a:cubicBezTo>
                    <a:cubicBezTo>
                      <a:pt x="767" y="203"/>
                      <a:pt x="767" y="203"/>
                      <a:pt x="767" y="203"/>
                    </a:cubicBezTo>
                    <a:cubicBezTo>
                      <a:pt x="764" y="202"/>
                      <a:pt x="764" y="202"/>
                      <a:pt x="764" y="202"/>
                    </a:cubicBezTo>
                    <a:cubicBezTo>
                      <a:pt x="761" y="204"/>
                      <a:pt x="761" y="204"/>
                      <a:pt x="761" y="204"/>
                    </a:cubicBezTo>
                    <a:cubicBezTo>
                      <a:pt x="758" y="203"/>
                      <a:pt x="758" y="203"/>
                      <a:pt x="758" y="203"/>
                    </a:cubicBezTo>
                    <a:cubicBezTo>
                      <a:pt x="757" y="201"/>
                      <a:pt x="757" y="201"/>
                      <a:pt x="757" y="201"/>
                    </a:cubicBezTo>
                    <a:cubicBezTo>
                      <a:pt x="756" y="201"/>
                      <a:pt x="756" y="201"/>
                      <a:pt x="756" y="201"/>
                    </a:cubicBezTo>
                    <a:cubicBezTo>
                      <a:pt x="754" y="203"/>
                      <a:pt x="754" y="203"/>
                      <a:pt x="754" y="203"/>
                    </a:cubicBezTo>
                    <a:cubicBezTo>
                      <a:pt x="754" y="199"/>
                      <a:pt x="754" y="199"/>
                      <a:pt x="754" y="199"/>
                    </a:cubicBezTo>
                    <a:cubicBezTo>
                      <a:pt x="752" y="198"/>
                      <a:pt x="752" y="198"/>
                      <a:pt x="752" y="198"/>
                    </a:cubicBezTo>
                    <a:cubicBezTo>
                      <a:pt x="751" y="199"/>
                      <a:pt x="751" y="199"/>
                      <a:pt x="751" y="199"/>
                    </a:cubicBezTo>
                    <a:cubicBezTo>
                      <a:pt x="750" y="200"/>
                      <a:pt x="750" y="200"/>
                      <a:pt x="750" y="200"/>
                    </a:cubicBezTo>
                    <a:cubicBezTo>
                      <a:pt x="748" y="198"/>
                      <a:pt x="748" y="198"/>
                      <a:pt x="748" y="198"/>
                    </a:cubicBezTo>
                    <a:cubicBezTo>
                      <a:pt x="746" y="193"/>
                      <a:pt x="746" y="193"/>
                      <a:pt x="746" y="193"/>
                    </a:cubicBezTo>
                    <a:cubicBezTo>
                      <a:pt x="745" y="189"/>
                      <a:pt x="745" y="189"/>
                      <a:pt x="745" y="189"/>
                    </a:cubicBezTo>
                    <a:cubicBezTo>
                      <a:pt x="747" y="187"/>
                      <a:pt x="747" y="187"/>
                      <a:pt x="747" y="187"/>
                    </a:cubicBezTo>
                    <a:cubicBezTo>
                      <a:pt x="747" y="182"/>
                      <a:pt x="747" y="182"/>
                      <a:pt x="747" y="182"/>
                    </a:cubicBezTo>
                    <a:cubicBezTo>
                      <a:pt x="745" y="186"/>
                      <a:pt x="745" y="186"/>
                      <a:pt x="745" y="186"/>
                    </a:cubicBezTo>
                    <a:cubicBezTo>
                      <a:pt x="744" y="190"/>
                      <a:pt x="744" y="190"/>
                      <a:pt x="744" y="190"/>
                    </a:cubicBezTo>
                    <a:cubicBezTo>
                      <a:pt x="743" y="193"/>
                      <a:pt x="743" y="193"/>
                      <a:pt x="743" y="193"/>
                    </a:cubicBezTo>
                    <a:cubicBezTo>
                      <a:pt x="741" y="193"/>
                      <a:pt x="741" y="193"/>
                      <a:pt x="741" y="193"/>
                    </a:cubicBezTo>
                    <a:cubicBezTo>
                      <a:pt x="738" y="198"/>
                      <a:pt x="738" y="198"/>
                      <a:pt x="738" y="198"/>
                    </a:cubicBezTo>
                    <a:cubicBezTo>
                      <a:pt x="739" y="201"/>
                      <a:pt x="739" y="201"/>
                      <a:pt x="739" y="201"/>
                    </a:cubicBezTo>
                    <a:cubicBezTo>
                      <a:pt x="735" y="206"/>
                      <a:pt x="735" y="206"/>
                      <a:pt x="735" y="206"/>
                    </a:cubicBezTo>
                    <a:cubicBezTo>
                      <a:pt x="731" y="207"/>
                      <a:pt x="731" y="207"/>
                      <a:pt x="731" y="207"/>
                    </a:cubicBezTo>
                    <a:cubicBezTo>
                      <a:pt x="728" y="206"/>
                      <a:pt x="728" y="206"/>
                      <a:pt x="728" y="206"/>
                    </a:cubicBezTo>
                    <a:cubicBezTo>
                      <a:pt x="725" y="200"/>
                      <a:pt x="725" y="200"/>
                      <a:pt x="725" y="200"/>
                    </a:cubicBezTo>
                    <a:cubicBezTo>
                      <a:pt x="725" y="197"/>
                      <a:pt x="725" y="197"/>
                      <a:pt x="725" y="197"/>
                    </a:cubicBezTo>
                    <a:cubicBezTo>
                      <a:pt x="727" y="197"/>
                      <a:pt x="727" y="197"/>
                      <a:pt x="727" y="197"/>
                    </a:cubicBezTo>
                    <a:cubicBezTo>
                      <a:pt x="727" y="194"/>
                      <a:pt x="727" y="194"/>
                      <a:pt x="727" y="194"/>
                    </a:cubicBezTo>
                    <a:cubicBezTo>
                      <a:pt x="726" y="192"/>
                      <a:pt x="726" y="192"/>
                      <a:pt x="726" y="192"/>
                    </a:cubicBezTo>
                    <a:cubicBezTo>
                      <a:pt x="724" y="192"/>
                      <a:pt x="724" y="192"/>
                      <a:pt x="724" y="192"/>
                    </a:cubicBezTo>
                    <a:cubicBezTo>
                      <a:pt x="723" y="191"/>
                      <a:pt x="723" y="191"/>
                      <a:pt x="723" y="191"/>
                    </a:cubicBezTo>
                    <a:cubicBezTo>
                      <a:pt x="721" y="187"/>
                      <a:pt x="721" y="187"/>
                      <a:pt x="721" y="187"/>
                    </a:cubicBezTo>
                    <a:cubicBezTo>
                      <a:pt x="717" y="185"/>
                      <a:pt x="717" y="185"/>
                      <a:pt x="717" y="185"/>
                    </a:cubicBezTo>
                    <a:cubicBezTo>
                      <a:pt x="713" y="184"/>
                      <a:pt x="713" y="184"/>
                      <a:pt x="713" y="184"/>
                    </a:cubicBezTo>
                    <a:cubicBezTo>
                      <a:pt x="711" y="182"/>
                      <a:pt x="711" y="182"/>
                      <a:pt x="711" y="182"/>
                    </a:cubicBezTo>
                    <a:cubicBezTo>
                      <a:pt x="714" y="179"/>
                      <a:pt x="714" y="179"/>
                      <a:pt x="714" y="179"/>
                    </a:cubicBezTo>
                    <a:cubicBezTo>
                      <a:pt x="718" y="179"/>
                      <a:pt x="718" y="179"/>
                      <a:pt x="718" y="179"/>
                    </a:cubicBezTo>
                    <a:cubicBezTo>
                      <a:pt x="720" y="180"/>
                      <a:pt x="720" y="180"/>
                      <a:pt x="720" y="180"/>
                    </a:cubicBezTo>
                    <a:cubicBezTo>
                      <a:pt x="724" y="181"/>
                      <a:pt x="724" y="181"/>
                      <a:pt x="724" y="181"/>
                    </a:cubicBezTo>
                    <a:cubicBezTo>
                      <a:pt x="727" y="182"/>
                      <a:pt x="727" y="182"/>
                      <a:pt x="727" y="182"/>
                    </a:cubicBezTo>
                    <a:cubicBezTo>
                      <a:pt x="731" y="180"/>
                      <a:pt x="731" y="180"/>
                      <a:pt x="731" y="180"/>
                    </a:cubicBezTo>
                    <a:cubicBezTo>
                      <a:pt x="732" y="176"/>
                      <a:pt x="732" y="176"/>
                      <a:pt x="732" y="176"/>
                    </a:cubicBezTo>
                    <a:cubicBezTo>
                      <a:pt x="735" y="175"/>
                      <a:pt x="735" y="175"/>
                      <a:pt x="735" y="175"/>
                    </a:cubicBezTo>
                    <a:cubicBezTo>
                      <a:pt x="741" y="178"/>
                      <a:pt x="741" y="178"/>
                      <a:pt x="741" y="178"/>
                    </a:cubicBezTo>
                    <a:cubicBezTo>
                      <a:pt x="743" y="181"/>
                      <a:pt x="743" y="181"/>
                      <a:pt x="743" y="181"/>
                    </a:cubicBezTo>
                    <a:cubicBezTo>
                      <a:pt x="745" y="177"/>
                      <a:pt x="745" y="177"/>
                      <a:pt x="745" y="177"/>
                    </a:cubicBezTo>
                    <a:cubicBezTo>
                      <a:pt x="747" y="175"/>
                      <a:pt x="747" y="175"/>
                      <a:pt x="747" y="175"/>
                    </a:cubicBezTo>
                    <a:cubicBezTo>
                      <a:pt x="749" y="175"/>
                      <a:pt x="749" y="175"/>
                      <a:pt x="749" y="175"/>
                    </a:cubicBezTo>
                    <a:cubicBezTo>
                      <a:pt x="749" y="171"/>
                      <a:pt x="749" y="171"/>
                      <a:pt x="749" y="171"/>
                    </a:cubicBezTo>
                    <a:cubicBezTo>
                      <a:pt x="748" y="169"/>
                      <a:pt x="748" y="169"/>
                      <a:pt x="748" y="169"/>
                    </a:cubicBezTo>
                    <a:cubicBezTo>
                      <a:pt x="738" y="168"/>
                      <a:pt x="738" y="168"/>
                      <a:pt x="738" y="168"/>
                    </a:cubicBezTo>
                    <a:cubicBezTo>
                      <a:pt x="740" y="170"/>
                      <a:pt x="740" y="170"/>
                      <a:pt x="740" y="170"/>
                    </a:cubicBezTo>
                    <a:cubicBezTo>
                      <a:pt x="738" y="170"/>
                      <a:pt x="738" y="170"/>
                      <a:pt x="738" y="170"/>
                    </a:cubicBezTo>
                    <a:cubicBezTo>
                      <a:pt x="736" y="170"/>
                      <a:pt x="736" y="170"/>
                      <a:pt x="736" y="170"/>
                    </a:cubicBezTo>
                    <a:cubicBezTo>
                      <a:pt x="730" y="171"/>
                      <a:pt x="730" y="171"/>
                      <a:pt x="730" y="171"/>
                    </a:cubicBezTo>
                    <a:cubicBezTo>
                      <a:pt x="727" y="170"/>
                      <a:pt x="727" y="170"/>
                      <a:pt x="727" y="170"/>
                    </a:cubicBezTo>
                    <a:cubicBezTo>
                      <a:pt x="725" y="171"/>
                      <a:pt x="725" y="171"/>
                      <a:pt x="725" y="171"/>
                    </a:cubicBezTo>
                    <a:cubicBezTo>
                      <a:pt x="723" y="170"/>
                      <a:pt x="723" y="170"/>
                      <a:pt x="723" y="170"/>
                    </a:cubicBezTo>
                    <a:cubicBezTo>
                      <a:pt x="719" y="171"/>
                      <a:pt x="719" y="171"/>
                      <a:pt x="719" y="171"/>
                    </a:cubicBezTo>
                    <a:cubicBezTo>
                      <a:pt x="716" y="170"/>
                      <a:pt x="716" y="170"/>
                      <a:pt x="716" y="170"/>
                    </a:cubicBezTo>
                    <a:cubicBezTo>
                      <a:pt x="712" y="167"/>
                      <a:pt x="712" y="167"/>
                      <a:pt x="712" y="167"/>
                    </a:cubicBezTo>
                    <a:cubicBezTo>
                      <a:pt x="710" y="163"/>
                      <a:pt x="710" y="163"/>
                      <a:pt x="710" y="163"/>
                    </a:cubicBezTo>
                    <a:cubicBezTo>
                      <a:pt x="711" y="162"/>
                      <a:pt x="711" y="162"/>
                      <a:pt x="711" y="162"/>
                    </a:cubicBezTo>
                    <a:cubicBezTo>
                      <a:pt x="709" y="158"/>
                      <a:pt x="709" y="158"/>
                      <a:pt x="709" y="158"/>
                    </a:cubicBezTo>
                    <a:cubicBezTo>
                      <a:pt x="704" y="155"/>
                      <a:pt x="704" y="155"/>
                      <a:pt x="704" y="155"/>
                    </a:cubicBezTo>
                    <a:cubicBezTo>
                      <a:pt x="702" y="153"/>
                      <a:pt x="702" y="153"/>
                      <a:pt x="702" y="153"/>
                    </a:cubicBezTo>
                    <a:cubicBezTo>
                      <a:pt x="701" y="154"/>
                      <a:pt x="701" y="154"/>
                      <a:pt x="701" y="154"/>
                    </a:cubicBezTo>
                    <a:cubicBezTo>
                      <a:pt x="698" y="156"/>
                      <a:pt x="698" y="156"/>
                      <a:pt x="698" y="156"/>
                    </a:cubicBezTo>
                    <a:cubicBezTo>
                      <a:pt x="693" y="155"/>
                      <a:pt x="693" y="155"/>
                      <a:pt x="693" y="155"/>
                    </a:cubicBezTo>
                    <a:cubicBezTo>
                      <a:pt x="694" y="153"/>
                      <a:pt x="694" y="153"/>
                      <a:pt x="694" y="153"/>
                    </a:cubicBezTo>
                    <a:cubicBezTo>
                      <a:pt x="698" y="150"/>
                      <a:pt x="698" y="150"/>
                      <a:pt x="698" y="150"/>
                    </a:cubicBezTo>
                    <a:cubicBezTo>
                      <a:pt x="699" y="148"/>
                      <a:pt x="699" y="148"/>
                      <a:pt x="699" y="148"/>
                    </a:cubicBezTo>
                    <a:cubicBezTo>
                      <a:pt x="697" y="145"/>
                      <a:pt x="697" y="145"/>
                      <a:pt x="697" y="145"/>
                    </a:cubicBezTo>
                    <a:cubicBezTo>
                      <a:pt x="700" y="143"/>
                      <a:pt x="700" y="143"/>
                      <a:pt x="700" y="143"/>
                    </a:cubicBezTo>
                    <a:cubicBezTo>
                      <a:pt x="706" y="143"/>
                      <a:pt x="706" y="143"/>
                      <a:pt x="706" y="143"/>
                    </a:cubicBezTo>
                    <a:cubicBezTo>
                      <a:pt x="708" y="140"/>
                      <a:pt x="708" y="140"/>
                      <a:pt x="708" y="140"/>
                    </a:cubicBezTo>
                    <a:cubicBezTo>
                      <a:pt x="711" y="139"/>
                      <a:pt x="711" y="139"/>
                      <a:pt x="711" y="139"/>
                    </a:cubicBezTo>
                    <a:cubicBezTo>
                      <a:pt x="716" y="136"/>
                      <a:pt x="716" y="136"/>
                      <a:pt x="716" y="136"/>
                    </a:cubicBezTo>
                    <a:cubicBezTo>
                      <a:pt x="718" y="134"/>
                      <a:pt x="718" y="134"/>
                      <a:pt x="718" y="134"/>
                    </a:cubicBezTo>
                    <a:cubicBezTo>
                      <a:pt x="724" y="133"/>
                      <a:pt x="724" y="133"/>
                      <a:pt x="724" y="133"/>
                    </a:cubicBezTo>
                    <a:cubicBezTo>
                      <a:pt x="734" y="137"/>
                      <a:pt x="734" y="137"/>
                      <a:pt x="734" y="137"/>
                    </a:cubicBezTo>
                    <a:cubicBezTo>
                      <a:pt x="740" y="141"/>
                      <a:pt x="740" y="141"/>
                      <a:pt x="740" y="141"/>
                    </a:cubicBezTo>
                    <a:cubicBezTo>
                      <a:pt x="746" y="141"/>
                      <a:pt x="746" y="141"/>
                      <a:pt x="746" y="141"/>
                    </a:cubicBezTo>
                    <a:cubicBezTo>
                      <a:pt x="752" y="141"/>
                      <a:pt x="752" y="141"/>
                      <a:pt x="752" y="141"/>
                    </a:cubicBezTo>
                    <a:cubicBezTo>
                      <a:pt x="754" y="143"/>
                      <a:pt x="754" y="143"/>
                      <a:pt x="754" y="143"/>
                    </a:cubicBezTo>
                    <a:cubicBezTo>
                      <a:pt x="753" y="145"/>
                      <a:pt x="753" y="145"/>
                      <a:pt x="753" y="145"/>
                    </a:cubicBezTo>
                    <a:cubicBezTo>
                      <a:pt x="753" y="149"/>
                      <a:pt x="753" y="149"/>
                      <a:pt x="753" y="149"/>
                    </a:cubicBezTo>
                    <a:cubicBezTo>
                      <a:pt x="756" y="152"/>
                      <a:pt x="756" y="152"/>
                      <a:pt x="756" y="152"/>
                    </a:cubicBezTo>
                    <a:cubicBezTo>
                      <a:pt x="757" y="155"/>
                      <a:pt x="757" y="155"/>
                      <a:pt x="757" y="155"/>
                    </a:cubicBezTo>
                    <a:cubicBezTo>
                      <a:pt x="755" y="159"/>
                      <a:pt x="755" y="159"/>
                      <a:pt x="755" y="159"/>
                    </a:cubicBezTo>
                    <a:cubicBezTo>
                      <a:pt x="753" y="162"/>
                      <a:pt x="753" y="162"/>
                      <a:pt x="753" y="162"/>
                    </a:cubicBezTo>
                    <a:cubicBezTo>
                      <a:pt x="754" y="167"/>
                      <a:pt x="754" y="167"/>
                      <a:pt x="754" y="167"/>
                    </a:cubicBezTo>
                    <a:cubicBezTo>
                      <a:pt x="755" y="176"/>
                      <a:pt x="755" y="176"/>
                      <a:pt x="755" y="176"/>
                    </a:cubicBezTo>
                    <a:cubicBezTo>
                      <a:pt x="757" y="180"/>
                      <a:pt x="757" y="180"/>
                      <a:pt x="757" y="180"/>
                    </a:cubicBezTo>
                    <a:cubicBezTo>
                      <a:pt x="759" y="182"/>
                      <a:pt x="759" y="182"/>
                      <a:pt x="759" y="182"/>
                    </a:cubicBezTo>
                    <a:cubicBezTo>
                      <a:pt x="761" y="182"/>
                      <a:pt x="761" y="182"/>
                      <a:pt x="761" y="182"/>
                    </a:cubicBezTo>
                    <a:cubicBezTo>
                      <a:pt x="760" y="178"/>
                      <a:pt x="760" y="178"/>
                      <a:pt x="760" y="178"/>
                    </a:cubicBezTo>
                    <a:cubicBezTo>
                      <a:pt x="762" y="176"/>
                      <a:pt x="762" y="176"/>
                      <a:pt x="762" y="176"/>
                    </a:cubicBezTo>
                    <a:cubicBezTo>
                      <a:pt x="764" y="177"/>
                      <a:pt x="764" y="177"/>
                      <a:pt x="764" y="177"/>
                    </a:cubicBezTo>
                    <a:cubicBezTo>
                      <a:pt x="764" y="181"/>
                      <a:pt x="764" y="181"/>
                      <a:pt x="764" y="181"/>
                    </a:cubicBezTo>
                    <a:cubicBezTo>
                      <a:pt x="765" y="185"/>
                      <a:pt x="765" y="185"/>
                      <a:pt x="765" y="185"/>
                    </a:cubicBezTo>
                    <a:cubicBezTo>
                      <a:pt x="767" y="184"/>
                      <a:pt x="767" y="184"/>
                      <a:pt x="767" y="184"/>
                    </a:cubicBezTo>
                    <a:cubicBezTo>
                      <a:pt x="768" y="187"/>
                      <a:pt x="768" y="187"/>
                      <a:pt x="768" y="187"/>
                    </a:cubicBezTo>
                    <a:cubicBezTo>
                      <a:pt x="772" y="191"/>
                      <a:pt x="772" y="191"/>
                      <a:pt x="772" y="191"/>
                    </a:cubicBezTo>
                    <a:cubicBezTo>
                      <a:pt x="774" y="193"/>
                      <a:pt x="774" y="193"/>
                      <a:pt x="774" y="193"/>
                    </a:cubicBezTo>
                    <a:cubicBezTo>
                      <a:pt x="778" y="193"/>
                      <a:pt x="778" y="193"/>
                      <a:pt x="778" y="193"/>
                    </a:cubicBezTo>
                    <a:cubicBezTo>
                      <a:pt x="781" y="191"/>
                      <a:pt x="781" y="191"/>
                      <a:pt x="781" y="191"/>
                    </a:cubicBezTo>
                    <a:cubicBezTo>
                      <a:pt x="782" y="188"/>
                      <a:pt x="782" y="188"/>
                      <a:pt x="782" y="188"/>
                    </a:cubicBezTo>
                    <a:cubicBezTo>
                      <a:pt x="784" y="186"/>
                      <a:pt x="784" y="186"/>
                      <a:pt x="784" y="186"/>
                    </a:cubicBezTo>
                    <a:cubicBezTo>
                      <a:pt x="787" y="185"/>
                      <a:pt x="787" y="185"/>
                      <a:pt x="787" y="185"/>
                    </a:cubicBezTo>
                    <a:cubicBezTo>
                      <a:pt x="787" y="181"/>
                      <a:pt x="787" y="181"/>
                      <a:pt x="787" y="181"/>
                    </a:cubicBezTo>
                    <a:cubicBezTo>
                      <a:pt x="789" y="177"/>
                      <a:pt x="789" y="177"/>
                      <a:pt x="789" y="177"/>
                    </a:cubicBezTo>
                    <a:cubicBezTo>
                      <a:pt x="793" y="177"/>
                      <a:pt x="793" y="177"/>
                      <a:pt x="793" y="177"/>
                    </a:cubicBezTo>
                    <a:cubicBezTo>
                      <a:pt x="796" y="175"/>
                      <a:pt x="796" y="175"/>
                      <a:pt x="796" y="175"/>
                    </a:cubicBezTo>
                    <a:cubicBezTo>
                      <a:pt x="797" y="171"/>
                      <a:pt x="797" y="171"/>
                      <a:pt x="797" y="171"/>
                    </a:cubicBezTo>
                    <a:cubicBezTo>
                      <a:pt x="798" y="169"/>
                      <a:pt x="798" y="169"/>
                      <a:pt x="798" y="169"/>
                    </a:cubicBezTo>
                    <a:cubicBezTo>
                      <a:pt x="800" y="170"/>
                      <a:pt x="800" y="170"/>
                      <a:pt x="800" y="170"/>
                    </a:cubicBezTo>
                    <a:cubicBezTo>
                      <a:pt x="802" y="170"/>
                      <a:pt x="802" y="170"/>
                      <a:pt x="802" y="170"/>
                    </a:cubicBezTo>
                    <a:cubicBezTo>
                      <a:pt x="806" y="169"/>
                      <a:pt x="806" y="169"/>
                      <a:pt x="806" y="169"/>
                    </a:cubicBezTo>
                    <a:cubicBezTo>
                      <a:pt x="811" y="168"/>
                      <a:pt x="811" y="168"/>
                      <a:pt x="811" y="168"/>
                    </a:cubicBezTo>
                    <a:cubicBezTo>
                      <a:pt x="812" y="165"/>
                      <a:pt x="812" y="165"/>
                      <a:pt x="812" y="165"/>
                    </a:cubicBezTo>
                    <a:cubicBezTo>
                      <a:pt x="810" y="162"/>
                      <a:pt x="810" y="162"/>
                      <a:pt x="810" y="162"/>
                    </a:cubicBezTo>
                    <a:cubicBezTo>
                      <a:pt x="811" y="160"/>
                      <a:pt x="811" y="160"/>
                      <a:pt x="811" y="160"/>
                    </a:cubicBezTo>
                    <a:cubicBezTo>
                      <a:pt x="821" y="155"/>
                      <a:pt x="821" y="155"/>
                      <a:pt x="821" y="155"/>
                    </a:cubicBezTo>
                    <a:cubicBezTo>
                      <a:pt x="825" y="155"/>
                      <a:pt x="825" y="155"/>
                      <a:pt x="825" y="155"/>
                    </a:cubicBezTo>
                    <a:cubicBezTo>
                      <a:pt x="828" y="158"/>
                      <a:pt x="828" y="158"/>
                      <a:pt x="828" y="158"/>
                    </a:cubicBezTo>
                    <a:cubicBezTo>
                      <a:pt x="834" y="160"/>
                      <a:pt x="834" y="160"/>
                      <a:pt x="834" y="160"/>
                    </a:cubicBezTo>
                    <a:cubicBezTo>
                      <a:pt x="841" y="162"/>
                      <a:pt x="841" y="162"/>
                      <a:pt x="841" y="162"/>
                    </a:cubicBezTo>
                    <a:cubicBezTo>
                      <a:pt x="845" y="165"/>
                      <a:pt x="845" y="165"/>
                      <a:pt x="845" y="165"/>
                    </a:cubicBezTo>
                    <a:cubicBezTo>
                      <a:pt x="849" y="165"/>
                      <a:pt x="849" y="165"/>
                      <a:pt x="849" y="165"/>
                    </a:cubicBezTo>
                    <a:cubicBezTo>
                      <a:pt x="853" y="167"/>
                      <a:pt x="853" y="167"/>
                      <a:pt x="853" y="167"/>
                    </a:cubicBezTo>
                    <a:cubicBezTo>
                      <a:pt x="864" y="171"/>
                      <a:pt x="864" y="171"/>
                      <a:pt x="864" y="171"/>
                    </a:cubicBezTo>
                    <a:cubicBezTo>
                      <a:pt x="867" y="171"/>
                      <a:pt x="867" y="171"/>
                      <a:pt x="867" y="171"/>
                    </a:cubicBezTo>
                    <a:cubicBezTo>
                      <a:pt x="870" y="171"/>
                      <a:pt x="870" y="171"/>
                      <a:pt x="870" y="171"/>
                    </a:cubicBezTo>
                    <a:cubicBezTo>
                      <a:pt x="875" y="172"/>
                      <a:pt x="875" y="172"/>
                      <a:pt x="875" y="172"/>
                    </a:cubicBezTo>
                    <a:cubicBezTo>
                      <a:pt x="878" y="172"/>
                      <a:pt x="878" y="172"/>
                      <a:pt x="878" y="172"/>
                    </a:cubicBezTo>
                    <a:cubicBezTo>
                      <a:pt x="881" y="174"/>
                      <a:pt x="881" y="174"/>
                      <a:pt x="881" y="174"/>
                    </a:cubicBezTo>
                    <a:cubicBezTo>
                      <a:pt x="881" y="176"/>
                      <a:pt x="881" y="176"/>
                      <a:pt x="881" y="176"/>
                    </a:cubicBezTo>
                    <a:cubicBezTo>
                      <a:pt x="881" y="178"/>
                      <a:pt x="881" y="178"/>
                      <a:pt x="881" y="178"/>
                    </a:cubicBezTo>
                    <a:cubicBezTo>
                      <a:pt x="883" y="179"/>
                      <a:pt x="883" y="179"/>
                      <a:pt x="883" y="179"/>
                    </a:cubicBezTo>
                    <a:cubicBezTo>
                      <a:pt x="886" y="178"/>
                      <a:pt x="886" y="178"/>
                      <a:pt x="886" y="178"/>
                    </a:cubicBezTo>
                    <a:cubicBezTo>
                      <a:pt x="886" y="178"/>
                      <a:pt x="886" y="178"/>
                      <a:pt x="886" y="178"/>
                    </a:cubicBezTo>
                    <a:close/>
                    <a:moveTo>
                      <a:pt x="657" y="126"/>
                    </a:moveTo>
                    <a:cubicBezTo>
                      <a:pt x="665" y="130"/>
                      <a:pt x="665" y="130"/>
                      <a:pt x="665" y="130"/>
                    </a:cubicBezTo>
                    <a:cubicBezTo>
                      <a:pt x="665" y="132"/>
                      <a:pt x="665" y="132"/>
                      <a:pt x="665" y="132"/>
                    </a:cubicBezTo>
                    <a:cubicBezTo>
                      <a:pt x="660" y="129"/>
                      <a:pt x="660" y="129"/>
                      <a:pt x="660" y="129"/>
                    </a:cubicBezTo>
                    <a:cubicBezTo>
                      <a:pt x="657" y="126"/>
                      <a:pt x="657" y="126"/>
                      <a:pt x="657" y="126"/>
                    </a:cubicBezTo>
                    <a:close/>
                    <a:moveTo>
                      <a:pt x="696" y="134"/>
                    </a:moveTo>
                    <a:cubicBezTo>
                      <a:pt x="698" y="135"/>
                      <a:pt x="698" y="135"/>
                      <a:pt x="698" y="135"/>
                    </a:cubicBezTo>
                    <a:cubicBezTo>
                      <a:pt x="701" y="134"/>
                      <a:pt x="701" y="134"/>
                      <a:pt x="701" y="134"/>
                    </a:cubicBezTo>
                    <a:cubicBezTo>
                      <a:pt x="701" y="131"/>
                      <a:pt x="701" y="131"/>
                      <a:pt x="701" y="131"/>
                    </a:cubicBezTo>
                    <a:cubicBezTo>
                      <a:pt x="696" y="128"/>
                      <a:pt x="696" y="128"/>
                      <a:pt x="696" y="128"/>
                    </a:cubicBezTo>
                    <a:cubicBezTo>
                      <a:pt x="690" y="128"/>
                      <a:pt x="690" y="128"/>
                      <a:pt x="690" y="128"/>
                    </a:cubicBezTo>
                    <a:cubicBezTo>
                      <a:pt x="687" y="130"/>
                      <a:pt x="687" y="130"/>
                      <a:pt x="687" y="130"/>
                    </a:cubicBezTo>
                    <a:cubicBezTo>
                      <a:pt x="683" y="130"/>
                      <a:pt x="683" y="130"/>
                      <a:pt x="683" y="130"/>
                    </a:cubicBezTo>
                    <a:cubicBezTo>
                      <a:pt x="682" y="131"/>
                      <a:pt x="682" y="131"/>
                      <a:pt x="682" y="131"/>
                    </a:cubicBezTo>
                    <a:cubicBezTo>
                      <a:pt x="683" y="132"/>
                      <a:pt x="683" y="132"/>
                      <a:pt x="683" y="132"/>
                    </a:cubicBezTo>
                    <a:cubicBezTo>
                      <a:pt x="680" y="133"/>
                      <a:pt x="680" y="133"/>
                      <a:pt x="680" y="133"/>
                    </a:cubicBezTo>
                    <a:cubicBezTo>
                      <a:pt x="686" y="134"/>
                      <a:pt x="686" y="134"/>
                      <a:pt x="686" y="134"/>
                    </a:cubicBezTo>
                    <a:cubicBezTo>
                      <a:pt x="689" y="136"/>
                      <a:pt x="689" y="136"/>
                      <a:pt x="689" y="136"/>
                    </a:cubicBezTo>
                    <a:cubicBezTo>
                      <a:pt x="693" y="135"/>
                      <a:pt x="693" y="135"/>
                      <a:pt x="693" y="135"/>
                    </a:cubicBezTo>
                    <a:cubicBezTo>
                      <a:pt x="693" y="134"/>
                      <a:pt x="693" y="134"/>
                      <a:pt x="693" y="134"/>
                    </a:cubicBezTo>
                    <a:cubicBezTo>
                      <a:pt x="689" y="132"/>
                      <a:pt x="689" y="132"/>
                      <a:pt x="689" y="132"/>
                    </a:cubicBezTo>
                    <a:cubicBezTo>
                      <a:pt x="689" y="131"/>
                      <a:pt x="689" y="131"/>
                      <a:pt x="689" y="131"/>
                    </a:cubicBezTo>
                    <a:cubicBezTo>
                      <a:pt x="690" y="131"/>
                      <a:pt x="690" y="131"/>
                      <a:pt x="690" y="131"/>
                    </a:cubicBezTo>
                    <a:cubicBezTo>
                      <a:pt x="696" y="134"/>
                      <a:pt x="696" y="134"/>
                      <a:pt x="696" y="134"/>
                    </a:cubicBezTo>
                    <a:close/>
                    <a:moveTo>
                      <a:pt x="690" y="145"/>
                    </a:moveTo>
                    <a:cubicBezTo>
                      <a:pt x="686" y="143"/>
                      <a:pt x="686" y="143"/>
                      <a:pt x="686" y="143"/>
                    </a:cubicBezTo>
                    <a:cubicBezTo>
                      <a:pt x="682" y="144"/>
                      <a:pt x="682" y="144"/>
                      <a:pt x="682" y="144"/>
                    </a:cubicBezTo>
                    <a:cubicBezTo>
                      <a:pt x="685" y="146"/>
                      <a:pt x="685" y="146"/>
                      <a:pt x="685" y="146"/>
                    </a:cubicBezTo>
                    <a:cubicBezTo>
                      <a:pt x="690" y="145"/>
                      <a:pt x="690" y="145"/>
                      <a:pt x="690" y="145"/>
                    </a:cubicBezTo>
                    <a:close/>
                    <a:moveTo>
                      <a:pt x="692" y="142"/>
                    </a:moveTo>
                    <a:cubicBezTo>
                      <a:pt x="691" y="144"/>
                      <a:pt x="691" y="144"/>
                      <a:pt x="691" y="144"/>
                    </a:cubicBezTo>
                    <a:cubicBezTo>
                      <a:pt x="689" y="143"/>
                      <a:pt x="689" y="143"/>
                      <a:pt x="689" y="143"/>
                    </a:cubicBezTo>
                    <a:cubicBezTo>
                      <a:pt x="692" y="142"/>
                      <a:pt x="692" y="142"/>
                      <a:pt x="692" y="142"/>
                    </a:cubicBezTo>
                    <a:close/>
                    <a:moveTo>
                      <a:pt x="692" y="145"/>
                    </a:moveTo>
                    <a:cubicBezTo>
                      <a:pt x="688" y="148"/>
                      <a:pt x="688" y="148"/>
                      <a:pt x="688" y="148"/>
                    </a:cubicBezTo>
                    <a:cubicBezTo>
                      <a:pt x="688" y="153"/>
                      <a:pt x="688" y="153"/>
                      <a:pt x="688" y="153"/>
                    </a:cubicBezTo>
                    <a:cubicBezTo>
                      <a:pt x="692" y="153"/>
                      <a:pt x="692" y="153"/>
                      <a:pt x="692" y="153"/>
                    </a:cubicBezTo>
                    <a:cubicBezTo>
                      <a:pt x="694" y="152"/>
                      <a:pt x="694" y="152"/>
                      <a:pt x="694" y="152"/>
                    </a:cubicBezTo>
                    <a:cubicBezTo>
                      <a:pt x="695" y="146"/>
                      <a:pt x="695" y="146"/>
                      <a:pt x="695" y="146"/>
                    </a:cubicBezTo>
                    <a:cubicBezTo>
                      <a:pt x="692" y="145"/>
                      <a:pt x="692" y="145"/>
                      <a:pt x="692" y="145"/>
                    </a:cubicBezTo>
                    <a:close/>
                    <a:moveTo>
                      <a:pt x="584" y="54"/>
                    </a:moveTo>
                    <a:cubicBezTo>
                      <a:pt x="588" y="59"/>
                      <a:pt x="588" y="59"/>
                      <a:pt x="588" y="59"/>
                    </a:cubicBezTo>
                    <a:cubicBezTo>
                      <a:pt x="590" y="63"/>
                      <a:pt x="590" y="63"/>
                      <a:pt x="590" y="63"/>
                    </a:cubicBezTo>
                    <a:cubicBezTo>
                      <a:pt x="588" y="64"/>
                      <a:pt x="588" y="64"/>
                      <a:pt x="588" y="64"/>
                    </a:cubicBezTo>
                    <a:cubicBezTo>
                      <a:pt x="584" y="61"/>
                      <a:pt x="584" y="61"/>
                      <a:pt x="584" y="61"/>
                    </a:cubicBezTo>
                    <a:cubicBezTo>
                      <a:pt x="584" y="57"/>
                      <a:pt x="584" y="57"/>
                      <a:pt x="584" y="57"/>
                    </a:cubicBezTo>
                    <a:cubicBezTo>
                      <a:pt x="584" y="54"/>
                      <a:pt x="584" y="54"/>
                      <a:pt x="584" y="54"/>
                    </a:cubicBezTo>
                    <a:close/>
                    <a:moveTo>
                      <a:pt x="608" y="41"/>
                    </a:moveTo>
                    <a:cubicBezTo>
                      <a:pt x="609" y="45"/>
                      <a:pt x="609" y="45"/>
                      <a:pt x="609" y="45"/>
                    </a:cubicBezTo>
                    <a:cubicBezTo>
                      <a:pt x="610" y="49"/>
                      <a:pt x="610" y="49"/>
                      <a:pt x="610" y="49"/>
                    </a:cubicBezTo>
                    <a:cubicBezTo>
                      <a:pt x="612" y="48"/>
                      <a:pt x="612" y="48"/>
                      <a:pt x="612" y="48"/>
                    </a:cubicBezTo>
                    <a:cubicBezTo>
                      <a:pt x="613" y="45"/>
                      <a:pt x="613" y="45"/>
                      <a:pt x="613" y="45"/>
                    </a:cubicBezTo>
                    <a:cubicBezTo>
                      <a:pt x="612" y="41"/>
                      <a:pt x="612" y="41"/>
                      <a:pt x="612" y="41"/>
                    </a:cubicBezTo>
                    <a:cubicBezTo>
                      <a:pt x="610" y="40"/>
                      <a:pt x="610" y="40"/>
                      <a:pt x="610" y="40"/>
                    </a:cubicBezTo>
                    <a:cubicBezTo>
                      <a:pt x="608" y="41"/>
                      <a:pt x="608" y="41"/>
                      <a:pt x="608" y="41"/>
                    </a:cubicBezTo>
                    <a:close/>
                    <a:moveTo>
                      <a:pt x="608" y="50"/>
                    </a:moveTo>
                    <a:cubicBezTo>
                      <a:pt x="610" y="51"/>
                      <a:pt x="610" y="51"/>
                      <a:pt x="610" y="51"/>
                    </a:cubicBezTo>
                    <a:cubicBezTo>
                      <a:pt x="611" y="54"/>
                      <a:pt x="611" y="54"/>
                      <a:pt x="611" y="54"/>
                    </a:cubicBezTo>
                    <a:cubicBezTo>
                      <a:pt x="610" y="54"/>
                      <a:pt x="610" y="54"/>
                      <a:pt x="610" y="54"/>
                    </a:cubicBezTo>
                    <a:cubicBezTo>
                      <a:pt x="608" y="50"/>
                      <a:pt x="608" y="50"/>
                      <a:pt x="608" y="50"/>
                    </a:cubicBezTo>
                    <a:close/>
                    <a:moveTo>
                      <a:pt x="639" y="84"/>
                    </a:moveTo>
                    <a:cubicBezTo>
                      <a:pt x="640" y="90"/>
                      <a:pt x="640" y="90"/>
                      <a:pt x="640" y="90"/>
                    </a:cubicBezTo>
                    <a:cubicBezTo>
                      <a:pt x="642" y="88"/>
                      <a:pt x="642" y="88"/>
                      <a:pt x="642" y="88"/>
                    </a:cubicBezTo>
                    <a:cubicBezTo>
                      <a:pt x="645" y="89"/>
                      <a:pt x="645" y="89"/>
                      <a:pt x="645" y="89"/>
                    </a:cubicBezTo>
                    <a:cubicBezTo>
                      <a:pt x="648" y="86"/>
                      <a:pt x="648" y="86"/>
                      <a:pt x="648" y="86"/>
                    </a:cubicBezTo>
                    <a:cubicBezTo>
                      <a:pt x="647" y="83"/>
                      <a:pt x="647" y="83"/>
                      <a:pt x="647" y="83"/>
                    </a:cubicBezTo>
                    <a:cubicBezTo>
                      <a:pt x="644" y="82"/>
                      <a:pt x="644" y="82"/>
                      <a:pt x="644" y="82"/>
                    </a:cubicBezTo>
                    <a:cubicBezTo>
                      <a:pt x="642" y="83"/>
                      <a:pt x="642" y="83"/>
                      <a:pt x="642" y="83"/>
                    </a:cubicBezTo>
                    <a:cubicBezTo>
                      <a:pt x="639" y="84"/>
                      <a:pt x="639" y="84"/>
                      <a:pt x="639" y="84"/>
                    </a:cubicBezTo>
                    <a:close/>
                    <a:moveTo>
                      <a:pt x="635" y="134"/>
                    </a:moveTo>
                    <a:cubicBezTo>
                      <a:pt x="637" y="139"/>
                      <a:pt x="637" y="139"/>
                      <a:pt x="637" y="139"/>
                    </a:cubicBezTo>
                    <a:cubicBezTo>
                      <a:pt x="642" y="143"/>
                      <a:pt x="642" y="143"/>
                      <a:pt x="642" y="143"/>
                    </a:cubicBezTo>
                    <a:cubicBezTo>
                      <a:pt x="643" y="145"/>
                      <a:pt x="643" y="145"/>
                      <a:pt x="643" y="145"/>
                    </a:cubicBezTo>
                    <a:cubicBezTo>
                      <a:pt x="641" y="146"/>
                      <a:pt x="641" y="146"/>
                      <a:pt x="641" y="146"/>
                    </a:cubicBezTo>
                    <a:cubicBezTo>
                      <a:pt x="641" y="148"/>
                      <a:pt x="641" y="148"/>
                      <a:pt x="641" y="148"/>
                    </a:cubicBezTo>
                    <a:cubicBezTo>
                      <a:pt x="640" y="145"/>
                      <a:pt x="640" y="145"/>
                      <a:pt x="640" y="145"/>
                    </a:cubicBezTo>
                    <a:cubicBezTo>
                      <a:pt x="637" y="144"/>
                      <a:pt x="637" y="144"/>
                      <a:pt x="637" y="144"/>
                    </a:cubicBezTo>
                    <a:cubicBezTo>
                      <a:pt x="634" y="138"/>
                      <a:pt x="634" y="138"/>
                      <a:pt x="634" y="138"/>
                    </a:cubicBezTo>
                    <a:cubicBezTo>
                      <a:pt x="630" y="135"/>
                      <a:pt x="630" y="135"/>
                      <a:pt x="630" y="135"/>
                    </a:cubicBezTo>
                    <a:cubicBezTo>
                      <a:pt x="627" y="131"/>
                      <a:pt x="627" y="131"/>
                      <a:pt x="627" y="131"/>
                    </a:cubicBezTo>
                    <a:cubicBezTo>
                      <a:pt x="629" y="127"/>
                      <a:pt x="629" y="127"/>
                      <a:pt x="629" y="127"/>
                    </a:cubicBezTo>
                    <a:cubicBezTo>
                      <a:pt x="628" y="125"/>
                      <a:pt x="628" y="125"/>
                      <a:pt x="628" y="125"/>
                    </a:cubicBezTo>
                    <a:cubicBezTo>
                      <a:pt x="629" y="123"/>
                      <a:pt x="629" y="123"/>
                      <a:pt x="629" y="123"/>
                    </a:cubicBezTo>
                    <a:cubicBezTo>
                      <a:pt x="625" y="120"/>
                      <a:pt x="625" y="120"/>
                      <a:pt x="625" y="120"/>
                    </a:cubicBezTo>
                    <a:cubicBezTo>
                      <a:pt x="626" y="116"/>
                      <a:pt x="626" y="116"/>
                      <a:pt x="626" y="116"/>
                    </a:cubicBezTo>
                    <a:cubicBezTo>
                      <a:pt x="627" y="114"/>
                      <a:pt x="627" y="114"/>
                      <a:pt x="627" y="114"/>
                    </a:cubicBezTo>
                    <a:cubicBezTo>
                      <a:pt x="625" y="110"/>
                      <a:pt x="625" y="110"/>
                      <a:pt x="625" y="110"/>
                    </a:cubicBezTo>
                    <a:cubicBezTo>
                      <a:pt x="623" y="108"/>
                      <a:pt x="623" y="108"/>
                      <a:pt x="623" y="108"/>
                    </a:cubicBezTo>
                    <a:cubicBezTo>
                      <a:pt x="624" y="103"/>
                      <a:pt x="624" y="103"/>
                      <a:pt x="624" y="103"/>
                    </a:cubicBezTo>
                    <a:cubicBezTo>
                      <a:pt x="627" y="101"/>
                      <a:pt x="627" y="101"/>
                      <a:pt x="627" y="101"/>
                    </a:cubicBezTo>
                    <a:cubicBezTo>
                      <a:pt x="626" y="96"/>
                      <a:pt x="626" y="96"/>
                      <a:pt x="626" y="96"/>
                    </a:cubicBezTo>
                    <a:cubicBezTo>
                      <a:pt x="627" y="91"/>
                      <a:pt x="627" y="91"/>
                      <a:pt x="627" y="91"/>
                    </a:cubicBezTo>
                    <a:cubicBezTo>
                      <a:pt x="633" y="86"/>
                      <a:pt x="633" y="86"/>
                      <a:pt x="633" y="86"/>
                    </a:cubicBezTo>
                    <a:cubicBezTo>
                      <a:pt x="635" y="85"/>
                      <a:pt x="635" y="85"/>
                      <a:pt x="635" y="85"/>
                    </a:cubicBezTo>
                    <a:cubicBezTo>
                      <a:pt x="635" y="88"/>
                      <a:pt x="635" y="88"/>
                      <a:pt x="635" y="88"/>
                    </a:cubicBezTo>
                    <a:cubicBezTo>
                      <a:pt x="632" y="91"/>
                      <a:pt x="632" y="91"/>
                      <a:pt x="632" y="91"/>
                    </a:cubicBezTo>
                    <a:cubicBezTo>
                      <a:pt x="632" y="93"/>
                      <a:pt x="632" y="93"/>
                      <a:pt x="632" y="93"/>
                    </a:cubicBezTo>
                    <a:cubicBezTo>
                      <a:pt x="636" y="95"/>
                      <a:pt x="636" y="95"/>
                      <a:pt x="636" y="95"/>
                    </a:cubicBezTo>
                    <a:cubicBezTo>
                      <a:pt x="636" y="100"/>
                      <a:pt x="636" y="100"/>
                      <a:pt x="636" y="100"/>
                    </a:cubicBezTo>
                    <a:cubicBezTo>
                      <a:pt x="634" y="105"/>
                      <a:pt x="634" y="105"/>
                      <a:pt x="634" y="105"/>
                    </a:cubicBezTo>
                    <a:cubicBezTo>
                      <a:pt x="631" y="105"/>
                      <a:pt x="631" y="105"/>
                      <a:pt x="631" y="105"/>
                    </a:cubicBezTo>
                    <a:cubicBezTo>
                      <a:pt x="628" y="108"/>
                      <a:pt x="628" y="108"/>
                      <a:pt x="628" y="108"/>
                    </a:cubicBezTo>
                    <a:cubicBezTo>
                      <a:pt x="630" y="111"/>
                      <a:pt x="630" y="111"/>
                      <a:pt x="630" y="111"/>
                    </a:cubicBezTo>
                    <a:cubicBezTo>
                      <a:pt x="632" y="110"/>
                      <a:pt x="632" y="110"/>
                      <a:pt x="632" y="110"/>
                    </a:cubicBezTo>
                    <a:cubicBezTo>
                      <a:pt x="634" y="107"/>
                      <a:pt x="634" y="107"/>
                      <a:pt x="634" y="107"/>
                    </a:cubicBezTo>
                    <a:cubicBezTo>
                      <a:pt x="637" y="106"/>
                      <a:pt x="637" y="106"/>
                      <a:pt x="637" y="106"/>
                    </a:cubicBezTo>
                    <a:cubicBezTo>
                      <a:pt x="639" y="104"/>
                      <a:pt x="639" y="104"/>
                      <a:pt x="639" y="104"/>
                    </a:cubicBezTo>
                    <a:cubicBezTo>
                      <a:pt x="637" y="104"/>
                      <a:pt x="637" y="104"/>
                      <a:pt x="637" y="104"/>
                    </a:cubicBezTo>
                    <a:cubicBezTo>
                      <a:pt x="637" y="101"/>
                      <a:pt x="637" y="101"/>
                      <a:pt x="637" y="101"/>
                    </a:cubicBezTo>
                    <a:cubicBezTo>
                      <a:pt x="643" y="99"/>
                      <a:pt x="643" y="99"/>
                      <a:pt x="643" y="99"/>
                    </a:cubicBezTo>
                    <a:cubicBezTo>
                      <a:pt x="649" y="96"/>
                      <a:pt x="649" y="96"/>
                      <a:pt x="649" y="96"/>
                    </a:cubicBezTo>
                    <a:cubicBezTo>
                      <a:pt x="651" y="99"/>
                      <a:pt x="651" y="99"/>
                      <a:pt x="651" y="99"/>
                    </a:cubicBezTo>
                    <a:cubicBezTo>
                      <a:pt x="651" y="101"/>
                      <a:pt x="651" y="101"/>
                      <a:pt x="651" y="101"/>
                    </a:cubicBezTo>
                    <a:cubicBezTo>
                      <a:pt x="649" y="108"/>
                      <a:pt x="649" y="108"/>
                      <a:pt x="649" y="108"/>
                    </a:cubicBezTo>
                    <a:cubicBezTo>
                      <a:pt x="642" y="110"/>
                      <a:pt x="642" y="110"/>
                      <a:pt x="642" y="110"/>
                    </a:cubicBezTo>
                    <a:cubicBezTo>
                      <a:pt x="639" y="113"/>
                      <a:pt x="639" y="113"/>
                      <a:pt x="639" y="113"/>
                    </a:cubicBezTo>
                    <a:cubicBezTo>
                      <a:pt x="641" y="116"/>
                      <a:pt x="641" y="116"/>
                      <a:pt x="641" y="116"/>
                    </a:cubicBezTo>
                    <a:cubicBezTo>
                      <a:pt x="643" y="116"/>
                      <a:pt x="643" y="116"/>
                      <a:pt x="643" y="116"/>
                    </a:cubicBezTo>
                    <a:cubicBezTo>
                      <a:pt x="648" y="119"/>
                      <a:pt x="648" y="119"/>
                      <a:pt x="648" y="119"/>
                    </a:cubicBezTo>
                    <a:cubicBezTo>
                      <a:pt x="649" y="122"/>
                      <a:pt x="649" y="122"/>
                      <a:pt x="649" y="122"/>
                    </a:cubicBezTo>
                    <a:cubicBezTo>
                      <a:pt x="651" y="123"/>
                      <a:pt x="651" y="123"/>
                      <a:pt x="651" y="123"/>
                    </a:cubicBezTo>
                    <a:cubicBezTo>
                      <a:pt x="647" y="124"/>
                      <a:pt x="647" y="124"/>
                      <a:pt x="647" y="124"/>
                    </a:cubicBezTo>
                    <a:cubicBezTo>
                      <a:pt x="644" y="122"/>
                      <a:pt x="644" y="122"/>
                      <a:pt x="644" y="122"/>
                    </a:cubicBezTo>
                    <a:cubicBezTo>
                      <a:pt x="639" y="121"/>
                      <a:pt x="639" y="121"/>
                      <a:pt x="639" y="121"/>
                    </a:cubicBezTo>
                    <a:cubicBezTo>
                      <a:pt x="635" y="120"/>
                      <a:pt x="635" y="120"/>
                      <a:pt x="635" y="120"/>
                    </a:cubicBezTo>
                    <a:cubicBezTo>
                      <a:pt x="632" y="121"/>
                      <a:pt x="632" y="121"/>
                      <a:pt x="632" y="121"/>
                    </a:cubicBezTo>
                    <a:cubicBezTo>
                      <a:pt x="632" y="128"/>
                      <a:pt x="632" y="128"/>
                      <a:pt x="632" y="128"/>
                    </a:cubicBezTo>
                    <a:cubicBezTo>
                      <a:pt x="635" y="134"/>
                      <a:pt x="635" y="134"/>
                      <a:pt x="635" y="134"/>
                    </a:cubicBezTo>
                    <a:close/>
                    <a:moveTo>
                      <a:pt x="620" y="142"/>
                    </a:moveTo>
                    <a:cubicBezTo>
                      <a:pt x="621" y="145"/>
                      <a:pt x="621" y="145"/>
                      <a:pt x="621" y="145"/>
                    </a:cubicBezTo>
                    <a:cubicBezTo>
                      <a:pt x="617" y="144"/>
                      <a:pt x="617" y="144"/>
                      <a:pt x="617" y="144"/>
                    </a:cubicBezTo>
                    <a:cubicBezTo>
                      <a:pt x="619" y="141"/>
                      <a:pt x="619" y="141"/>
                      <a:pt x="619" y="141"/>
                    </a:cubicBezTo>
                    <a:cubicBezTo>
                      <a:pt x="620" y="142"/>
                      <a:pt x="620" y="142"/>
                      <a:pt x="620" y="142"/>
                    </a:cubicBezTo>
                    <a:close/>
                    <a:moveTo>
                      <a:pt x="620" y="135"/>
                    </a:moveTo>
                    <a:cubicBezTo>
                      <a:pt x="617" y="135"/>
                      <a:pt x="617" y="135"/>
                      <a:pt x="617" y="135"/>
                    </a:cubicBezTo>
                    <a:cubicBezTo>
                      <a:pt x="616" y="138"/>
                      <a:pt x="616" y="138"/>
                      <a:pt x="616" y="138"/>
                    </a:cubicBezTo>
                    <a:cubicBezTo>
                      <a:pt x="619" y="139"/>
                      <a:pt x="619" y="139"/>
                      <a:pt x="619" y="139"/>
                    </a:cubicBezTo>
                    <a:cubicBezTo>
                      <a:pt x="620" y="137"/>
                      <a:pt x="620" y="137"/>
                      <a:pt x="620" y="137"/>
                    </a:cubicBezTo>
                    <a:cubicBezTo>
                      <a:pt x="620" y="135"/>
                      <a:pt x="620" y="135"/>
                      <a:pt x="620" y="135"/>
                    </a:cubicBezTo>
                    <a:close/>
                    <a:moveTo>
                      <a:pt x="623" y="137"/>
                    </a:moveTo>
                    <a:cubicBezTo>
                      <a:pt x="622" y="138"/>
                      <a:pt x="622" y="138"/>
                      <a:pt x="622" y="138"/>
                    </a:cubicBezTo>
                    <a:cubicBezTo>
                      <a:pt x="622" y="140"/>
                      <a:pt x="622" y="140"/>
                      <a:pt x="622" y="140"/>
                    </a:cubicBezTo>
                    <a:cubicBezTo>
                      <a:pt x="624" y="143"/>
                      <a:pt x="624" y="143"/>
                      <a:pt x="624" y="143"/>
                    </a:cubicBezTo>
                    <a:cubicBezTo>
                      <a:pt x="627" y="143"/>
                      <a:pt x="627" y="143"/>
                      <a:pt x="627" y="143"/>
                    </a:cubicBezTo>
                    <a:cubicBezTo>
                      <a:pt x="629" y="145"/>
                      <a:pt x="629" y="145"/>
                      <a:pt x="629" y="145"/>
                    </a:cubicBezTo>
                    <a:cubicBezTo>
                      <a:pt x="631" y="143"/>
                      <a:pt x="631" y="143"/>
                      <a:pt x="631" y="143"/>
                    </a:cubicBezTo>
                    <a:cubicBezTo>
                      <a:pt x="630" y="142"/>
                      <a:pt x="630" y="142"/>
                      <a:pt x="630" y="142"/>
                    </a:cubicBezTo>
                    <a:cubicBezTo>
                      <a:pt x="627" y="141"/>
                      <a:pt x="627" y="141"/>
                      <a:pt x="627" y="141"/>
                    </a:cubicBezTo>
                    <a:cubicBezTo>
                      <a:pt x="628" y="138"/>
                      <a:pt x="628" y="138"/>
                      <a:pt x="628" y="138"/>
                    </a:cubicBezTo>
                    <a:cubicBezTo>
                      <a:pt x="625" y="136"/>
                      <a:pt x="625" y="136"/>
                      <a:pt x="625" y="136"/>
                    </a:cubicBezTo>
                    <a:cubicBezTo>
                      <a:pt x="623" y="137"/>
                      <a:pt x="623" y="137"/>
                      <a:pt x="623" y="137"/>
                    </a:cubicBezTo>
                    <a:close/>
                    <a:moveTo>
                      <a:pt x="622" y="159"/>
                    </a:moveTo>
                    <a:cubicBezTo>
                      <a:pt x="627" y="155"/>
                      <a:pt x="627" y="155"/>
                      <a:pt x="627" y="155"/>
                    </a:cubicBezTo>
                    <a:cubicBezTo>
                      <a:pt x="632" y="155"/>
                      <a:pt x="632" y="155"/>
                      <a:pt x="632" y="155"/>
                    </a:cubicBezTo>
                    <a:cubicBezTo>
                      <a:pt x="637" y="159"/>
                      <a:pt x="637" y="159"/>
                      <a:pt x="637" y="159"/>
                    </a:cubicBezTo>
                    <a:cubicBezTo>
                      <a:pt x="636" y="162"/>
                      <a:pt x="636" y="162"/>
                      <a:pt x="636" y="162"/>
                    </a:cubicBezTo>
                    <a:cubicBezTo>
                      <a:pt x="633" y="162"/>
                      <a:pt x="633" y="162"/>
                      <a:pt x="633" y="162"/>
                    </a:cubicBezTo>
                    <a:cubicBezTo>
                      <a:pt x="630" y="162"/>
                      <a:pt x="630" y="162"/>
                      <a:pt x="630" y="162"/>
                    </a:cubicBezTo>
                    <a:cubicBezTo>
                      <a:pt x="628" y="162"/>
                      <a:pt x="628" y="162"/>
                      <a:pt x="628" y="162"/>
                    </a:cubicBezTo>
                    <a:cubicBezTo>
                      <a:pt x="624" y="161"/>
                      <a:pt x="624" y="161"/>
                      <a:pt x="624" y="161"/>
                    </a:cubicBezTo>
                    <a:cubicBezTo>
                      <a:pt x="622" y="159"/>
                      <a:pt x="622" y="159"/>
                      <a:pt x="622" y="159"/>
                    </a:cubicBezTo>
                    <a:close/>
                    <a:moveTo>
                      <a:pt x="678" y="160"/>
                    </a:moveTo>
                    <a:cubicBezTo>
                      <a:pt x="670" y="162"/>
                      <a:pt x="670" y="162"/>
                      <a:pt x="670" y="162"/>
                    </a:cubicBezTo>
                    <a:cubicBezTo>
                      <a:pt x="668" y="163"/>
                      <a:pt x="668" y="163"/>
                      <a:pt x="668" y="163"/>
                    </a:cubicBezTo>
                    <a:cubicBezTo>
                      <a:pt x="670" y="165"/>
                      <a:pt x="670" y="165"/>
                      <a:pt x="670" y="165"/>
                    </a:cubicBezTo>
                    <a:cubicBezTo>
                      <a:pt x="676" y="167"/>
                      <a:pt x="676" y="167"/>
                      <a:pt x="676" y="167"/>
                    </a:cubicBezTo>
                    <a:cubicBezTo>
                      <a:pt x="681" y="165"/>
                      <a:pt x="681" y="165"/>
                      <a:pt x="681" y="165"/>
                    </a:cubicBezTo>
                    <a:cubicBezTo>
                      <a:pt x="680" y="165"/>
                      <a:pt x="680" y="165"/>
                      <a:pt x="680" y="165"/>
                    </a:cubicBezTo>
                    <a:cubicBezTo>
                      <a:pt x="679" y="162"/>
                      <a:pt x="679" y="162"/>
                      <a:pt x="679" y="162"/>
                    </a:cubicBezTo>
                    <a:cubicBezTo>
                      <a:pt x="678" y="160"/>
                      <a:pt x="678" y="160"/>
                      <a:pt x="678" y="160"/>
                    </a:cubicBezTo>
                    <a:close/>
                    <a:moveTo>
                      <a:pt x="645" y="196"/>
                    </a:moveTo>
                    <a:cubicBezTo>
                      <a:pt x="647" y="196"/>
                      <a:pt x="647" y="196"/>
                      <a:pt x="647" y="196"/>
                    </a:cubicBezTo>
                    <a:cubicBezTo>
                      <a:pt x="647" y="197"/>
                      <a:pt x="647" y="197"/>
                      <a:pt x="647" y="197"/>
                    </a:cubicBezTo>
                    <a:cubicBezTo>
                      <a:pt x="645" y="198"/>
                      <a:pt x="645" y="198"/>
                      <a:pt x="645" y="198"/>
                    </a:cubicBezTo>
                    <a:cubicBezTo>
                      <a:pt x="645" y="196"/>
                      <a:pt x="645" y="196"/>
                      <a:pt x="645" y="196"/>
                    </a:cubicBezTo>
                    <a:close/>
                    <a:moveTo>
                      <a:pt x="641" y="197"/>
                    </a:moveTo>
                    <a:cubicBezTo>
                      <a:pt x="643" y="197"/>
                      <a:pt x="643" y="197"/>
                      <a:pt x="643" y="197"/>
                    </a:cubicBezTo>
                    <a:cubicBezTo>
                      <a:pt x="643" y="198"/>
                      <a:pt x="643" y="198"/>
                      <a:pt x="643" y="198"/>
                    </a:cubicBezTo>
                    <a:cubicBezTo>
                      <a:pt x="641" y="198"/>
                      <a:pt x="641" y="198"/>
                      <a:pt x="641" y="198"/>
                    </a:cubicBezTo>
                    <a:cubicBezTo>
                      <a:pt x="641" y="197"/>
                      <a:pt x="641" y="197"/>
                      <a:pt x="641" y="197"/>
                    </a:cubicBezTo>
                    <a:close/>
                    <a:moveTo>
                      <a:pt x="631" y="199"/>
                    </a:moveTo>
                    <a:cubicBezTo>
                      <a:pt x="636" y="197"/>
                      <a:pt x="636" y="197"/>
                      <a:pt x="636" y="197"/>
                    </a:cubicBezTo>
                    <a:cubicBezTo>
                      <a:pt x="637" y="196"/>
                      <a:pt x="637" y="196"/>
                      <a:pt x="637" y="196"/>
                    </a:cubicBezTo>
                    <a:cubicBezTo>
                      <a:pt x="639" y="197"/>
                      <a:pt x="639" y="197"/>
                      <a:pt x="639" y="197"/>
                    </a:cubicBezTo>
                    <a:cubicBezTo>
                      <a:pt x="637" y="201"/>
                      <a:pt x="637" y="201"/>
                      <a:pt x="637" y="201"/>
                    </a:cubicBezTo>
                    <a:cubicBezTo>
                      <a:pt x="636" y="199"/>
                      <a:pt x="636" y="199"/>
                      <a:pt x="636" y="199"/>
                    </a:cubicBezTo>
                    <a:cubicBezTo>
                      <a:pt x="634" y="201"/>
                      <a:pt x="634" y="201"/>
                      <a:pt x="634" y="201"/>
                    </a:cubicBezTo>
                    <a:cubicBezTo>
                      <a:pt x="631" y="199"/>
                      <a:pt x="631" y="199"/>
                      <a:pt x="631" y="199"/>
                    </a:cubicBezTo>
                    <a:close/>
                    <a:moveTo>
                      <a:pt x="630" y="187"/>
                    </a:moveTo>
                    <a:cubicBezTo>
                      <a:pt x="627" y="189"/>
                      <a:pt x="627" y="189"/>
                      <a:pt x="627" y="189"/>
                    </a:cubicBezTo>
                    <a:cubicBezTo>
                      <a:pt x="630" y="190"/>
                      <a:pt x="630" y="190"/>
                      <a:pt x="630" y="190"/>
                    </a:cubicBezTo>
                    <a:cubicBezTo>
                      <a:pt x="630" y="187"/>
                      <a:pt x="630" y="187"/>
                      <a:pt x="630" y="187"/>
                    </a:cubicBezTo>
                    <a:close/>
                    <a:moveTo>
                      <a:pt x="634" y="183"/>
                    </a:moveTo>
                    <a:cubicBezTo>
                      <a:pt x="630" y="184"/>
                      <a:pt x="630" y="184"/>
                      <a:pt x="630" y="184"/>
                    </a:cubicBezTo>
                    <a:cubicBezTo>
                      <a:pt x="631" y="185"/>
                      <a:pt x="631" y="185"/>
                      <a:pt x="631" y="185"/>
                    </a:cubicBezTo>
                    <a:cubicBezTo>
                      <a:pt x="633" y="185"/>
                      <a:pt x="633" y="185"/>
                      <a:pt x="633" y="185"/>
                    </a:cubicBezTo>
                    <a:cubicBezTo>
                      <a:pt x="634" y="183"/>
                      <a:pt x="634" y="183"/>
                      <a:pt x="634" y="183"/>
                    </a:cubicBezTo>
                    <a:close/>
                    <a:moveTo>
                      <a:pt x="635" y="194"/>
                    </a:moveTo>
                    <a:cubicBezTo>
                      <a:pt x="638" y="188"/>
                      <a:pt x="638" y="188"/>
                      <a:pt x="638" y="188"/>
                    </a:cubicBezTo>
                    <a:cubicBezTo>
                      <a:pt x="641" y="192"/>
                      <a:pt x="641" y="192"/>
                      <a:pt x="641" y="192"/>
                    </a:cubicBezTo>
                    <a:cubicBezTo>
                      <a:pt x="643" y="194"/>
                      <a:pt x="643" y="194"/>
                      <a:pt x="643" y="194"/>
                    </a:cubicBezTo>
                    <a:cubicBezTo>
                      <a:pt x="646" y="194"/>
                      <a:pt x="646" y="194"/>
                      <a:pt x="646" y="194"/>
                    </a:cubicBezTo>
                    <a:cubicBezTo>
                      <a:pt x="650" y="190"/>
                      <a:pt x="650" y="190"/>
                      <a:pt x="650" y="190"/>
                    </a:cubicBezTo>
                    <a:cubicBezTo>
                      <a:pt x="652" y="190"/>
                      <a:pt x="652" y="190"/>
                      <a:pt x="652" y="190"/>
                    </a:cubicBezTo>
                    <a:cubicBezTo>
                      <a:pt x="654" y="194"/>
                      <a:pt x="654" y="194"/>
                      <a:pt x="654" y="194"/>
                    </a:cubicBezTo>
                    <a:cubicBezTo>
                      <a:pt x="663" y="195"/>
                      <a:pt x="663" y="195"/>
                      <a:pt x="663" y="195"/>
                    </a:cubicBezTo>
                    <a:cubicBezTo>
                      <a:pt x="664" y="192"/>
                      <a:pt x="664" y="192"/>
                      <a:pt x="664" y="192"/>
                    </a:cubicBezTo>
                    <a:cubicBezTo>
                      <a:pt x="668" y="192"/>
                      <a:pt x="668" y="192"/>
                      <a:pt x="668" y="192"/>
                    </a:cubicBezTo>
                    <a:cubicBezTo>
                      <a:pt x="676" y="197"/>
                      <a:pt x="676" y="197"/>
                      <a:pt x="676" y="197"/>
                    </a:cubicBezTo>
                    <a:cubicBezTo>
                      <a:pt x="679" y="197"/>
                      <a:pt x="679" y="197"/>
                      <a:pt x="679" y="197"/>
                    </a:cubicBezTo>
                    <a:cubicBezTo>
                      <a:pt x="683" y="202"/>
                      <a:pt x="683" y="202"/>
                      <a:pt x="683" y="202"/>
                    </a:cubicBezTo>
                    <a:cubicBezTo>
                      <a:pt x="687" y="202"/>
                      <a:pt x="687" y="202"/>
                      <a:pt x="687" y="202"/>
                    </a:cubicBezTo>
                    <a:cubicBezTo>
                      <a:pt x="689" y="198"/>
                      <a:pt x="689" y="198"/>
                      <a:pt x="689" y="198"/>
                    </a:cubicBezTo>
                    <a:cubicBezTo>
                      <a:pt x="687" y="191"/>
                      <a:pt x="687" y="191"/>
                      <a:pt x="687" y="191"/>
                    </a:cubicBezTo>
                    <a:cubicBezTo>
                      <a:pt x="678" y="186"/>
                      <a:pt x="678" y="186"/>
                      <a:pt x="678" y="186"/>
                    </a:cubicBezTo>
                    <a:cubicBezTo>
                      <a:pt x="670" y="185"/>
                      <a:pt x="670" y="185"/>
                      <a:pt x="670" y="185"/>
                    </a:cubicBezTo>
                    <a:cubicBezTo>
                      <a:pt x="666" y="182"/>
                      <a:pt x="666" y="182"/>
                      <a:pt x="666" y="182"/>
                    </a:cubicBezTo>
                    <a:cubicBezTo>
                      <a:pt x="662" y="181"/>
                      <a:pt x="662" y="181"/>
                      <a:pt x="662" y="181"/>
                    </a:cubicBezTo>
                    <a:cubicBezTo>
                      <a:pt x="658" y="184"/>
                      <a:pt x="658" y="184"/>
                      <a:pt x="658" y="184"/>
                    </a:cubicBezTo>
                    <a:cubicBezTo>
                      <a:pt x="654" y="184"/>
                      <a:pt x="654" y="184"/>
                      <a:pt x="654" y="184"/>
                    </a:cubicBezTo>
                    <a:cubicBezTo>
                      <a:pt x="651" y="183"/>
                      <a:pt x="651" y="183"/>
                      <a:pt x="651" y="183"/>
                    </a:cubicBezTo>
                    <a:cubicBezTo>
                      <a:pt x="646" y="183"/>
                      <a:pt x="646" y="183"/>
                      <a:pt x="646" y="183"/>
                    </a:cubicBezTo>
                    <a:cubicBezTo>
                      <a:pt x="638" y="183"/>
                      <a:pt x="638" y="183"/>
                      <a:pt x="638" y="183"/>
                    </a:cubicBezTo>
                    <a:cubicBezTo>
                      <a:pt x="636" y="185"/>
                      <a:pt x="636" y="185"/>
                      <a:pt x="636" y="185"/>
                    </a:cubicBezTo>
                    <a:cubicBezTo>
                      <a:pt x="636" y="187"/>
                      <a:pt x="636" y="187"/>
                      <a:pt x="636" y="187"/>
                    </a:cubicBezTo>
                    <a:cubicBezTo>
                      <a:pt x="633" y="188"/>
                      <a:pt x="633" y="188"/>
                      <a:pt x="633" y="188"/>
                    </a:cubicBezTo>
                    <a:cubicBezTo>
                      <a:pt x="632" y="191"/>
                      <a:pt x="632" y="191"/>
                      <a:pt x="632" y="191"/>
                    </a:cubicBezTo>
                    <a:cubicBezTo>
                      <a:pt x="632" y="194"/>
                      <a:pt x="632" y="194"/>
                      <a:pt x="632" y="194"/>
                    </a:cubicBezTo>
                    <a:cubicBezTo>
                      <a:pt x="635" y="194"/>
                      <a:pt x="635" y="194"/>
                      <a:pt x="635" y="194"/>
                    </a:cubicBezTo>
                    <a:close/>
                    <a:moveTo>
                      <a:pt x="597" y="188"/>
                    </a:moveTo>
                    <a:cubicBezTo>
                      <a:pt x="600" y="189"/>
                      <a:pt x="600" y="189"/>
                      <a:pt x="600" y="189"/>
                    </a:cubicBezTo>
                    <a:cubicBezTo>
                      <a:pt x="603" y="187"/>
                      <a:pt x="603" y="187"/>
                      <a:pt x="603" y="187"/>
                    </a:cubicBezTo>
                    <a:cubicBezTo>
                      <a:pt x="611" y="187"/>
                      <a:pt x="611" y="187"/>
                      <a:pt x="611" y="187"/>
                    </a:cubicBezTo>
                    <a:cubicBezTo>
                      <a:pt x="616" y="189"/>
                      <a:pt x="616" y="189"/>
                      <a:pt x="616" y="189"/>
                    </a:cubicBezTo>
                    <a:cubicBezTo>
                      <a:pt x="616" y="192"/>
                      <a:pt x="616" y="192"/>
                      <a:pt x="616" y="192"/>
                    </a:cubicBezTo>
                    <a:cubicBezTo>
                      <a:pt x="620" y="195"/>
                      <a:pt x="620" y="195"/>
                      <a:pt x="620" y="195"/>
                    </a:cubicBezTo>
                    <a:cubicBezTo>
                      <a:pt x="619" y="198"/>
                      <a:pt x="619" y="198"/>
                      <a:pt x="619" y="198"/>
                    </a:cubicBezTo>
                    <a:cubicBezTo>
                      <a:pt x="616" y="198"/>
                      <a:pt x="616" y="198"/>
                      <a:pt x="616" y="198"/>
                    </a:cubicBezTo>
                    <a:cubicBezTo>
                      <a:pt x="612" y="201"/>
                      <a:pt x="612" y="201"/>
                      <a:pt x="612" y="201"/>
                    </a:cubicBezTo>
                    <a:cubicBezTo>
                      <a:pt x="608" y="201"/>
                      <a:pt x="608" y="201"/>
                      <a:pt x="608" y="201"/>
                    </a:cubicBezTo>
                    <a:cubicBezTo>
                      <a:pt x="603" y="201"/>
                      <a:pt x="603" y="201"/>
                      <a:pt x="603" y="201"/>
                    </a:cubicBezTo>
                    <a:cubicBezTo>
                      <a:pt x="602" y="200"/>
                      <a:pt x="602" y="200"/>
                      <a:pt x="602" y="200"/>
                    </a:cubicBezTo>
                    <a:cubicBezTo>
                      <a:pt x="596" y="199"/>
                      <a:pt x="596" y="199"/>
                      <a:pt x="596" y="199"/>
                    </a:cubicBezTo>
                    <a:cubicBezTo>
                      <a:pt x="593" y="195"/>
                      <a:pt x="593" y="195"/>
                      <a:pt x="593" y="195"/>
                    </a:cubicBezTo>
                    <a:cubicBezTo>
                      <a:pt x="594" y="190"/>
                      <a:pt x="594" y="190"/>
                      <a:pt x="594" y="190"/>
                    </a:cubicBezTo>
                    <a:cubicBezTo>
                      <a:pt x="597" y="188"/>
                      <a:pt x="597" y="188"/>
                      <a:pt x="597" y="188"/>
                    </a:cubicBezTo>
                    <a:close/>
                    <a:moveTo>
                      <a:pt x="491" y="264"/>
                    </a:moveTo>
                    <a:cubicBezTo>
                      <a:pt x="488" y="263"/>
                      <a:pt x="488" y="263"/>
                      <a:pt x="488" y="263"/>
                    </a:cubicBezTo>
                    <a:cubicBezTo>
                      <a:pt x="486" y="264"/>
                      <a:pt x="486" y="264"/>
                      <a:pt x="486" y="264"/>
                    </a:cubicBezTo>
                    <a:cubicBezTo>
                      <a:pt x="488" y="266"/>
                      <a:pt x="488" y="266"/>
                      <a:pt x="488" y="266"/>
                    </a:cubicBezTo>
                    <a:cubicBezTo>
                      <a:pt x="491" y="264"/>
                      <a:pt x="491" y="264"/>
                      <a:pt x="491" y="264"/>
                    </a:cubicBezTo>
                    <a:close/>
                    <a:moveTo>
                      <a:pt x="487" y="239"/>
                    </a:moveTo>
                    <a:cubicBezTo>
                      <a:pt x="490" y="245"/>
                      <a:pt x="490" y="245"/>
                      <a:pt x="490" y="245"/>
                    </a:cubicBezTo>
                    <a:cubicBezTo>
                      <a:pt x="488" y="247"/>
                      <a:pt x="488" y="247"/>
                      <a:pt x="488" y="247"/>
                    </a:cubicBezTo>
                    <a:cubicBezTo>
                      <a:pt x="487" y="251"/>
                      <a:pt x="487" y="251"/>
                      <a:pt x="487" y="251"/>
                    </a:cubicBezTo>
                    <a:cubicBezTo>
                      <a:pt x="486" y="248"/>
                      <a:pt x="486" y="248"/>
                      <a:pt x="486" y="248"/>
                    </a:cubicBezTo>
                    <a:cubicBezTo>
                      <a:pt x="484" y="246"/>
                      <a:pt x="484" y="246"/>
                      <a:pt x="484" y="246"/>
                    </a:cubicBezTo>
                    <a:cubicBezTo>
                      <a:pt x="485" y="243"/>
                      <a:pt x="485" y="243"/>
                      <a:pt x="485" y="243"/>
                    </a:cubicBezTo>
                    <a:cubicBezTo>
                      <a:pt x="486" y="241"/>
                      <a:pt x="486" y="241"/>
                      <a:pt x="486" y="241"/>
                    </a:cubicBezTo>
                    <a:cubicBezTo>
                      <a:pt x="487" y="239"/>
                      <a:pt x="487" y="239"/>
                      <a:pt x="487" y="239"/>
                    </a:cubicBezTo>
                    <a:close/>
                    <a:moveTo>
                      <a:pt x="593" y="167"/>
                    </a:moveTo>
                    <a:cubicBezTo>
                      <a:pt x="593" y="170"/>
                      <a:pt x="593" y="170"/>
                      <a:pt x="593" y="170"/>
                    </a:cubicBezTo>
                    <a:cubicBezTo>
                      <a:pt x="596" y="174"/>
                      <a:pt x="596" y="174"/>
                      <a:pt x="596" y="174"/>
                    </a:cubicBezTo>
                    <a:cubicBezTo>
                      <a:pt x="596" y="176"/>
                      <a:pt x="596" y="176"/>
                      <a:pt x="596" y="176"/>
                    </a:cubicBezTo>
                    <a:cubicBezTo>
                      <a:pt x="594" y="175"/>
                      <a:pt x="594" y="175"/>
                      <a:pt x="594" y="175"/>
                    </a:cubicBezTo>
                    <a:cubicBezTo>
                      <a:pt x="593" y="171"/>
                      <a:pt x="593" y="171"/>
                      <a:pt x="593" y="171"/>
                    </a:cubicBezTo>
                    <a:cubicBezTo>
                      <a:pt x="592" y="168"/>
                      <a:pt x="592" y="168"/>
                      <a:pt x="592" y="168"/>
                    </a:cubicBezTo>
                    <a:cubicBezTo>
                      <a:pt x="593" y="167"/>
                      <a:pt x="593" y="167"/>
                      <a:pt x="593" y="167"/>
                    </a:cubicBezTo>
                    <a:close/>
                    <a:moveTo>
                      <a:pt x="583" y="163"/>
                    </a:moveTo>
                    <a:cubicBezTo>
                      <a:pt x="585" y="162"/>
                      <a:pt x="585" y="162"/>
                      <a:pt x="585" y="162"/>
                    </a:cubicBezTo>
                    <a:cubicBezTo>
                      <a:pt x="588" y="163"/>
                      <a:pt x="588" y="163"/>
                      <a:pt x="588" y="163"/>
                    </a:cubicBezTo>
                    <a:cubicBezTo>
                      <a:pt x="590" y="162"/>
                      <a:pt x="590" y="162"/>
                      <a:pt x="590" y="162"/>
                    </a:cubicBezTo>
                    <a:cubicBezTo>
                      <a:pt x="597" y="162"/>
                      <a:pt x="597" y="162"/>
                      <a:pt x="597" y="162"/>
                    </a:cubicBezTo>
                    <a:cubicBezTo>
                      <a:pt x="601" y="163"/>
                      <a:pt x="601" y="163"/>
                      <a:pt x="601" y="163"/>
                    </a:cubicBezTo>
                    <a:cubicBezTo>
                      <a:pt x="597" y="164"/>
                      <a:pt x="597" y="164"/>
                      <a:pt x="597" y="164"/>
                    </a:cubicBezTo>
                    <a:cubicBezTo>
                      <a:pt x="588" y="166"/>
                      <a:pt x="588" y="166"/>
                      <a:pt x="588" y="166"/>
                    </a:cubicBezTo>
                    <a:cubicBezTo>
                      <a:pt x="584" y="165"/>
                      <a:pt x="584" y="165"/>
                      <a:pt x="584" y="165"/>
                    </a:cubicBezTo>
                    <a:cubicBezTo>
                      <a:pt x="584" y="164"/>
                      <a:pt x="584" y="164"/>
                      <a:pt x="584" y="164"/>
                    </a:cubicBezTo>
                    <a:cubicBezTo>
                      <a:pt x="583" y="163"/>
                      <a:pt x="583" y="163"/>
                      <a:pt x="583" y="163"/>
                    </a:cubicBezTo>
                    <a:close/>
                    <a:moveTo>
                      <a:pt x="564" y="163"/>
                    </a:moveTo>
                    <a:cubicBezTo>
                      <a:pt x="566" y="161"/>
                      <a:pt x="566" y="161"/>
                      <a:pt x="566" y="161"/>
                    </a:cubicBezTo>
                    <a:cubicBezTo>
                      <a:pt x="568" y="161"/>
                      <a:pt x="568" y="161"/>
                      <a:pt x="568" y="161"/>
                    </a:cubicBezTo>
                    <a:cubicBezTo>
                      <a:pt x="570" y="160"/>
                      <a:pt x="570" y="160"/>
                      <a:pt x="570" y="160"/>
                    </a:cubicBezTo>
                    <a:cubicBezTo>
                      <a:pt x="574" y="161"/>
                      <a:pt x="574" y="161"/>
                      <a:pt x="574" y="161"/>
                    </a:cubicBezTo>
                    <a:cubicBezTo>
                      <a:pt x="577" y="162"/>
                      <a:pt x="577" y="162"/>
                      <a:pt x="577" y="162"/>
                    </a:cubicBezTo>
                    <a:cubicBezTo>
                      <a:pt x="579" y="161"/>
                      <a:pt x="579" y="161"/>
                      <a:pt x="579" y="161"/>
                    </a:cubicBezTo>
                    <a:cubicBezTo>
                      <a:pt x="581" y="161"/>
                      <a:pt x="581" y="161"/>
                      <a:pt x="581" y="161"/>
                    </a:cubicBezTo>
                    <a:cubicBezTo>
                      <a:pt x="582" y="165"/>
                      <a:pt x="582" y="165"/>
                      <a:pt x="582" y="165"/>
                    </a:cubicBezTo>
                    <a:cubicBezTo>
                      <a:pt x="579" y="164"/>
                      <a:pt x="579" y="164"/>
                      <a:pt x="579" y="164"/>
                    </a:cubicBezTo>
                    <a:cubicBezTo>
                      <a:pt x="575" y="166"/>
                      <a:pt x="575" y="166"/>
                      <a:pt x="575" y="166"/>
                    </a:cubicBezTo>
                    <a:cubicBezTo>
                      <a:pt x="572" y="165"/>
                      <a:pt x="572" y="165"/>
                      <a:pt x="572" y="165"/>
                    </a:cubicBezTo>
                    <a:cubicBezTo>
                      <a:pt x="568" y="167"/>
                      <a:pt x="568" y="167"/>
                      <a:pt x="568" y="167"/>
                    </a:cubicBezTo>
                    <a:cubicBezTo>
                      <a:pt x="565" y="167"/>
                      <a:pt x="565" y="167"/>
                      <a:pt x="565" y="167"/>
                    </a:cubicBezTo>
                    <a:cubicBezTo>
                      <a:pt x="563" y="165"/>
                      <a:pt x="563" y="165"/>
                      <a:pt x="563" y="165"/>
                    </a:cubicBezTo>
                    <a:cubicBezTo>
                      <a:pt x="564" y="163"/>
                      <a:pt x="564" y="163"/>
                      <a:pt x="564" y="163"/>
                    </a:cubicBezTo>
                    <a:close/>
                    <a:moveTo>
                      <a:pt x="530" y="231"/>
                    </a:moveTo>
                    <a:cubicBezTo>
                      <a:pt x="533" y="226"/>
                      <a:pt x="533" y="226"/>
                      <a:pt x="533" y="226"/>
                    </a:cubicBezTo>
                    <a:cubicBezTo>
                      <a:pt x="535" y="220"/>
                      <a:pt x="535" y="220"/>
                      <a:pt x="535" y="220"/>
                    </a:cubicBezTo>
                    <a:cubicBezTo>
                      <a:pt x="535" y="214"/>
                      <a:pt x="535" y="214"/>
                      <a:pt x="535" y="214"/>
                    </a:cubicBezTo>
                    <a:cubicBezTo>
                      <a:pt x="537" y="213"/>
                      <a:pt x="537" y="213"/>
                      <a:pt x="537" y="213"/>
                    </a:cubicBezTo>
                    <a:cubicBezTo>
                      <a:pt x="539" y="213"/>
                      <a:pt x="539" y="213"/>
                      <a:pt x="539" y="213"/>
                    </a:cubicBezTo>
                    <a:cubicBezTo>
                      <a:pt x="539" y="216"/>
                      <a:pt x="539" y="216"/>
                      <a:pt x="539" y="216"/>
                    </a:cubicBezTo>
                    <a:cubicBezTo>
                      <a:pt x="541" y="218"/>
                      <a:pt x="541" y="218"/>
                      <a:pt x="541" y="218"/>
                    </a:cubicBezTo>
                    <a:cubicBezTo>
                      <a:pt x="540" y="220"/>
                      <a:pt x="540" y="220"/>
                      <a:pt x="540" y="220"/>
                    </a:cubicBezTo>
                    <a:cubicBezTo>
                      <a:pt x="539" y="219"/>
                      <a:pt x="539" y="219"/>
                      <a:pt x="539" y="219"/>
                    </a:cubicBezTo>
                    <a:cubicBezTo>
                      <a:pt x="539" y="220"/>
                      <a:pt x="539" y="220"/>
                      <a:pt x="539" y="220"/>
                    </a:cubicBezTo>
                    <a:cubicBezTo>
                      <a:pt x="537" y="222"/>
                      <a:pt x="537" y="222"/>
                      <a:pt x="537" y="222"/>
                    </a:cubicBezTo>
                    <a:cubicBezTo>
                      <a:pt x="535" y="223"/>
                      <a:pt x="535" y="223"/>
                      <a:pt x="535" y="223"/>
                    </a:cubicBezTo>
                    <a:cubicBezTo>
                      <a:pt x="536" y="226"/>
                      <a:pt x="536" y="226"/>
                      <a:pt x="536" y="226"/>
                    </a:cubicBezTo>
                    <a:cubicBezTo>
                      <a:pt x="539" y="227"/>
                      <a:pt x="539" y="227"/>
                      <a:pt x="539" y="227"/>
                    </a:cubicBezTo>
                    <a:cubicBezTo>
                      <a:pt x="540" y="228"/>
                      <a:pt x="540" y="228"/>
                      <a:pt x="540" y="228"/>
                    </a:cubicBezTo>
                    <a:cubicBezTo>
                      <a:pt x="539" y="230"/>
                      <a:pt x="539" y="230"/>
                      <a:pt x="539" y="230"/>
                    </a:cubicBezTo>
                    <a:cubicBezTo>
                      <a:pt x="536" y="231"/>
                      <a:pt x="536" y="231"/>
                      <a:pt x="536" y="231"/>
                    </a:cubicBezTo>
                    <a:cubicBezTo>
                      <a:pt x="534" y="234"/>
                      <a:pt x="534" y="234"/>
                      <a:pt x="534" y="234"/>
                    </a:cubicBezTo>
                    <a:cubicBezTo>
                      <a:pt x="532" y="235"/>
                      <a:pt x="532" y="235"/>
                      <a:pt x="532" y="235"/>
                    </a:cubicBezTo>
                    <a:cubicBezTo>
                      <a:pt x="529" y="234"/>
                      <a:pt x="529" y="234"/>
                      <a:pt x="529" y="234"/>
                    </a:cubicBezTo>
                    <a:cubicBezTo>
                      <a:pt x="530" y="231"/>
                      <a:pt x="530" y="231"/>
                      <a:pt x="530" y="231"/>
                    </a:cubicBezTo>
                    <a:close/>
                    <a:moveTo>
                      <a:pt x="521" y="228"/>
                    </a:moveTo>
                    <a:cubicBezTo>
                      <a:pt x="521" y="229"/>
                      <a:pt x="521" y="229"/>
                      <a:pt x="521" y="229"/>
                    </a:cubicBezTo>
                    <a:cubicBezTo>
                      <a:pt x="523" y="230"/>
                      <a:pt x="523" y="230"/>
                      <a:pt x="523" y="230"/>
                    </a:cubicBezTo>
                    <a:cubicBezTo>
                      <a:pt x="526" y="230"/>
                      <a:pt x="526" y="230"/>
                      <a:pt x="526" y="230"/>
                    </a:cubicBezTo>
                    <a:cubicBezTo>
                      <a:pt x="526" y="229"/>
                      <a:pt x="526" y="229"/>
                      <a:pt x="526" y="229"/>
                    </a:cubicBezTo>
                    <a:cubicBezTo>
                      <a:pt x="528" y="228"/>
                      <a:pt x="528" y="228"/>
                      <a:pt x="528" y="228"/>
                    </a:cubicBezTo>
                    <a:cubicBezTo>
                      <a:pt x="528" y="225"/>
                      <a:pt x="528" y="225"/>
                      <a:pt x="528" y="225"/>
                    </a:cubicBezTo>
                    <a:cubicBezTo>
                      <a:pt x="531" y="223"/>
                      <a:pt x="531" y="223"/>
                      <a:pt x="531" y="223"/>
                    </a:cubicBezTo>
                    <a:cubicBezTo>
                      <a:pt x="531" y="221"/>
                      <a:pt x="531" y="221"/>
                      <a:pt x="531" y="221"/>
                    </a:cubicBezTo>
                    <a:cubicBezTo>
                      <a:pt x="529" y="218"/>
                      <a:pt x="529" y="218"/>
                      <a:pt x="529" y="218"/>
                    </a:cubicBezTo>
                    <a:cubicBezTo>
                      <a:pt x="526" y="219"/>
                      <a:pt x="526" y="219"/>
                      <a:pt x="526" y="219"/>
                    </a:cubicBezTo>
                    <a:cubicBezTo>
                      <a:pt x="523" y="222"/>
                      <a:pt x="523" y="222"/>
                      <a:pt x="523" y="222"/>
                    </a:cubicBezTo>
                    <a:cubicBezTo>
                      <a:pt x="524" y="224"/>
                      <a:pt x="524" y="224"/>
                      <a:pt x="524" y="224"/>
                    </a:cubicBezTo>
                    <a:cubicBezTo>
                      <a:pt x="521" y="228"/>
                      <a:pt x="521" y="228"/>
                      <a:pt x="521" y="228"/>
                    </a:cubicBezTo>
                    <a:close/>
                    <a:moveTo>
                      <a:pt x="512" y="225"/>
                    </a:moveTo>
                    <a:cubicBezTo>
                      <a:pt x="512" y="227"/>
                      <a:pt x="512" y="227"/>
                      <a:pt x="512" y="227"/>
                    </a:cubicBezTo>
                    <a:cubicBezTo>
                      <a:pt x="511" y="228"/>
                      <a:pt x="511" y="228"/>
                      <a:pt x="511" y="228"/>
                    </a:cubicBezTo>
                    <a:cubicBezTo>
                      <a:pt x="513" y="232"/>
                      <a:pt x="513" y="232"/>
                      <a:pt x="513" y="232"/>
                    </a:cubicBezTo>
                    <a:cubicBezTo>
                      <a:pt x="514" y="233"/>
                      <a:pt x="514" y="233"/>
                      <a:pt x="514" y="233"/>
                    </a:cubicBezTo>
                    <a:cubicBezTo>
                      <a:pt x="517" y="231"/>
                      <a:pt x="517" y="231"/>
                      <a:pt x="517" y="231"/>
                    </a:cubicBezTo>
                    <a:cubicBezTo>
                      <a:pt x="516" y="228"/>
                      <a:pt x="516" y="228"/>
                      <a:pt x="516" y="228"/>
                    </a:cubicBezTo>
                    <a:cubicBezTo>
                      <a:pt x="514" y="224"/>
                      <a:pt x="514" y="224"/>
                      <a:pt x="514" y="224"/>
                    </a:cubicBezTo>
                    <a:cubicBezTo>
                      <a:pt x="514" y="224"/>
                      <a:pt x="513" y="225"/>
                      <a:pt x="512" y="225"/>
                    </a:cubicBezTo>
                    <a:close/>
                    <a:moveTo>
                      <a:pt x="541" y="164"/>
                    </a:moveTo>
                    <a:cubicBezTo>
                      <a:pt x="538" y="165"/>
                      <a:pt x="538" y="165"/>
                      <a:pt x="538" y="165"/>
                    </a:cubicBezTo>
                    <a:cubicBezTo>
                      <a:pt x="540" y="166"/>
                      <a:pt x="540" y="166"/>
                      <a:pt x="540" y="166"/>
                    </a:cubicBezTo>
                    <a:cubicBezTo>
                      <a:pt x="541" y="164"/>
                      <a:pt x="541" y="164"/>
                      <a:pt x="541" y="164"/>
                    </a:cubicBezTo>
                    <a:close/>
                    <a:moveTo>
                      <a:pt x="545" y="162"/>
                    </a:moveTo>
                    <a:cubicBezTo>
                      <a:pt x="543" y="163"/>
                      <a:pt x="543" y="163"/>
                      <a:pt x="543" y="163"/>
                    </a:cubicBezTo>
                    <a:cubicBezTo>
                      <a:pt x="546" y="164"/>
                      <a:pt x="546" y="164"/>
                      <a:pt x="546" y="164"/>
                    </a:cubicBezTo>
                    <a:cubicBezTo>
                      <a:pt x="545" y="162"/>
                      <a:pt x="545" y="162"/>
                      <a:pt x="545" y="162"/>
                    </a:cubicBezTo>
                    <a:close/>
                    <a:moveTo>
                      <a:pt x="550" y="158"/>
                    </a:moveTo>
                    <a:cubicBezTo>
                      <a:pt x="547" y="160"/>
                      <a:pt x="547" y="160"/>
                      <a:pt x="547" y="160"/>
                    </a:cubicBezTo>
                    <a:cubicBezTo>
                      <a:pt x="550" y="161"/>
                      <a:pt x="550" y="161"/>
                      <a:pt x="550" y="161"/>
                    </a:cubicBezTo>
                    <a:cubicBezTo>
                      <a:pt x="550" y="158"/>
                      <a:pt x="550" y="158"/>
                      <a:pt x="550" y="158"/>
                    </a:cubicBezTo>
                    <a:close/>
                    <a:moveTo>
                      <a:pt x="533" y="154"/>
                    </a:moveTo>
                    <a:cubicBezTo>
                      <a:pt x="538" y="151"/>
                      <a:pt x="538" y="151"/>
                      <a:pt x="538" y="151"/>
                    </a:cubicBezTo>
                    <a:cubicBezTo>
                      <a:pt x="543" y="152"/>
                      <a:pt x="543" y="152"/>
                      <a:pt x="543" y="152"/>
                    </a:cubicBezTo>
                    <a:cubicBezTo>
                      <a:pt x="543" y="153"/>
                      <a:pt x="543" y="153"/>
                      <a:pt x="543" y="153"/>
                    </a:cubicBezTo>
                    <a:cubicBezTo>
                      <a:pt x="542" y="156"/>
                      <a:pt x="542" y="156"/>
                      <a:pt x="542" y="156"/>
                    </a:cubicBezTo>
                    <a:cubicBezTo>
                      <a:pt x="545" y="155"/>
                      <a:pt x="545" y="155"/>
                      <a:pt x="545" y="155"/>
                    </a:cubicBezTo>
                    <a:cubicBezTo>
                      <a:pt x="546" y="153"/>
                      <a:pt x="546" y="153"/>
                      <a:pt x="546" y="153"/>
                    </a:cubicBezTo>
                    <a:cubicBezTo>
                      <a:pt x="549" y="155"/>
                      <a:pt x="549" y="155"/>
                      <a:pt x="549" y="155"/>
                    </a:cubicBezTo>
                    <a:cubicBezTo>
                      <a:pt x="549" y="157"/>
                      <a:pt x="549" y="157"/>
                      <a:pt x="549" y="157"/>
                    </a:cubicBezTo>
                    <a:cubicBezTo>
                      <a:pt x="545" y="158"/>
                      <a:pt x="545" y="158"/>
                      <a:pt x="545" y="158"/>
                    </a:cubicBezTo>
                    <a:cubicBezTo>
                      <a:pt x="544" y="157"/>
                      <a:pt x="544" y="157"/>
                      <a:pt x="544" y="157"/>
                    </a:cubicBezTo>
                    <a:cubicBezTo>
                      <a:pt x="542" y="159"/>
                      <a:pt x="542" y="159"/>
                      <a:pt x="542" y="159"/>
                    </a:cubicBezTo>
                    <a:cubicBezTo>
                      <a:pt x="539" y="157"/>
                      <a:pt x="539" y="157"/>
                      <a:pt x="539" y="157"/>
                    </a:cubicBezTo>
                    <a:cubicBezTo>
                      <a:pt x="536" y="159"/>
                      <a:pt x="536" y="159"/>
                      <a:pt x="536" y="159"/>
                    </a:cubicBezTo>
                    <a:cubicBezTo>
                      <a:pt x="534" y="157"/>
                      <a:pt x="534" y="157"/>
                      <a:pt x="534" y="157"/>
                    </a:cubicBezTo>
                    <a:cubicBezTo>
                      <a:pt x="533" y="154"/>
                      <a:pt x="533" y="154"/>
                      <a:pt x="533" y="154"/>
                    </a:cubicBezTo>
                    <a:close/>
                    <a:moveTo>
                      <a:pt x="513" y="136"/>
                    </a:moveTo>
                    <a:cubicBezTo>
                      <a:pt x="516" y="137"/>
                      <a:pt x="516" y="137"/>
                      <a:pt x="516" y="137"/>
                    </a:cubicBezTo>
                    <a:cubicBezTo>
                      <a:pt x="516" y="135"/>
                      <a:pt x="516" y="135"/>
                      <a:pt x="516" y="135"/>
                    </a:cubicBezTo>
                    <a:cubicBezTo>
                      <a:pt x="513" y="136"/>
                      <a:pt x="513" y="136"/>
                      <a:pt x="513" y="136"/>
                    </a:cubicBezTo>
                    <a:close/>
                    <a:moveTo>
                      <a:pt x="510" y="136"/>
                    </a:moveTo>
                    <a:cubicBezTo>
                      <a:pt x="512" y="136"/>
                      <a:pt x="512" y="136"/>
                      <a:pt x="512" y="136"/>
                    </a:cubicBezTo>
                    <a:cubicBezTo>
                      <a:pt x="515" y="138"/>
                      <a:pt x="515" y="138"/>
                      <a:pt x="515" y="138"/>
                    </a:cubicBezTo>
                    <a:cubicBezTo>
                      <a:pt x="512" y="139"/>
                      <a:pt x="512" y="139"/>
                      <a:pt x="512" y="139"/>
                    </a:cubicBezTo>
                    <a:cubicBezTo>
                      <a:pt x="510" y="136"/>
                      <a:pt x="510" y="136"/>
                      <a:pt x="510" y="136"/>
                    </a:cubicBezTo>
                    <a:close/>
                    <a:moveTo>
                      <a:pt x="486" y="120"/>
                    </a:moveTo>
                    <a:cubicBezTo>
                      <a:pt x="491" y="119"/>
                      <a:pt x="491" y="119"/>
                      <a:pt x="491" y="119"/>
                    </a:cubicBezTo>
                    <a:cubicBezTo>
                      <a:pt x="496" y="121"/>
                      <a:pt x="496" y="121"/>
                      <a:pt x="496" y="121"/>
                    </a:cubicBezTo>
                    <a:cubicBezTo>
                      <a:pt x="502" y="121"/>
                      <a:pt x="502" y="121"/>
                      <a:pt x="502" y="121"/>
                    </a:cubicBezTo>
                    <a:cubicBezTo>
                      <a:pt x="509" y="118"/>
                      <a:pt x="509" y="118"/>
                      <a:pt x="509" y="118"/>
                    </a:cubicBezTo>
                    <a:cubicBezTo>
                      <a:pt x="514" y="119"/>
                      <a:pt x="514" y="119"/>
                      <a:pt x="514" y="119"/>
                    </a:cubicBezTo>
                    <a:cubicBezTo>
                      <a:pt x="515" y="121"/>
                      <a:pt x="515" y="121"/>
                      <a:pt x="515" y="121"/>
                    </a:cubicBezTo>
                    <a:cubicBezTo>
                      <a:pt x="519" y="121"/>
                      <a:pt x="519" y="121"/>
                      <a:pt x="519" y="121"/>
                    </a:cubicBezTo>
                    <a:cubicBezTo>
                      <a:pt x="522" y="120"/>
                      <a:pt x="522" y="120"/>
                      <a:pt x="522" y="120"/>
                    </a:cubicBezTo>
                    <a:cubicBezTo>
                      <a:pt x="530" y="120"/>
                      <a:pt x="530" y="120"/>
                      <a:pt x="530" y="120"/>
                    </a:cubicBezTo>
                    <a:cubicBezTo>
                      <a:pt x="534" y="120"/>
                      <a:pt x="534" y="120"/>
                      <a:pt x="534" y="120"/>
                    </a:cubicBezTo>
                    <a:cubicBezTo>
                      <a:pt x="535" y="119"/>
                      <a:pt x="535" y="119"/>
                      <a:pt x="535" y="119"/>
                    </a:cubicBezTo>
                    <a:cubicBezTo>
                      <a:pt x="540" y="119"/>
                      <a:pt x="540" y="119"/>
                      <a:pt x="540" y="119"/>
                    </a:cubicBezTo>
                    <a:cubicBezTo>
                      <a:pt x="543" y="121"/>
                      <a:pt x="543" y="121"/>
                      <a:pt x="543" y="121"/>
                    </a:cubicBezTo>
                    <a:cubicBezTo>
                      <a:pt x="544" y="123"/>
                      <a:pt x="544" y="123"/>
                      <a:pt x="544" y="123"/>
                    </a:cubicBezTo>
                    <a:cubicBezTo>
                      <a:pt x="548" y="124"/>
                      <a:pt x="548" y="124"/>
                      <a:pt x="548" y="124"/>
                    </a:cubicBezTo>
                    <a:cubicBezTo>
                      <a:pt x="562" y="121"/>
                      <a:pt x="562" y="121"/>
                      <a:pt x="562" y="121"/>
                    </a:cubicBezTo>
                    <a:cubicBezTo>
                      <a:pt x="568" y="117"/>
                      <a:pt x="568" y="117"/>
                      <a:pt x="568" y="117"/>
                    </a:cubicBezTo>
                    <a:cubicBezTo>
                      <a:pt x="570" y="114"/>
                      <a:pt x="570" y="114"/>
                      <a:pt x="570" y="114"/>
                    </a:cubicBezTo>
                    <a:cubicBezTo>
                      <a:pt x="572" y="113"/>
                      <a:pt x="572" y="113"/>
                      <a:pt x="572" y="113"/>
                    </a:cubicBezTo>
                    <a:cubicBezTo>
                      <a:pt x="574" y="111"/>
                      <a:pt x="574" y="111"/>
                      <a:pt x="574" y="111"/>
                    </a:cubicBezTo>
                    <a:cubicBezTo>
                      <a:pt x="577" y="109"/>
                      <a:pt x="577" y="109"/>
                      <a:pt x="577" y="109"/>
                    </a:cubicBezTo>
                    <a:cubicBezTo>
                      <a:pt x="578" y="106"/>
                      <a:pt x="578" y="106"/>
                      <a:pt x="578" y="106"/>
                    </a:cubicBezTo>
                    <a:cubicBezTo>
                      <a:pt x="580" y="103"/>
                      <a:pt x="580" y="103"/>
                      <a:pt x="580" y="103"/>
                    </a:cubicBezTo>
                    <a:cubicBezTo>
                      <a:pt x="582" y="102"/>
                      <a:pt x="582" y="102"/>
                      <a:pt x="582" y="102"/>
                    </a:cubicBezTo>
                    <a:cubicBezTo>
                      <a:pt x="580" y="100"/>
                      <a:pt x="580" y="100"/>
                      <a:pt x="580" y="100"/>
                    </a:cubicBezTo>
                    <a:cubicBezTo>
                      <a:pt x="580" y="98"/>
                      <a:pt x="580" y="98"/>
                      <a:pt x="580" y="98"/>
                    </a:cubicBezTo>
                    <a:cubicBezTo>
                      <a:pt x="574" y="97"/>
                      <a:pt x="574" y="97"/>
                      <a:pt x="574" y="97"/>
                    </a:cubicBezTo>
                    <a:cubicBezTo>
                      <a:pt x="570" y="98"/>
                      <a:pt x="570" y="98"/>
                      <a:pt x="570" y="98"/>
                    </a:cubicBezTo>
                    <a:cubicBezTo>
                      <a:pt x="570" y="102"/>
                      <a:pt x="570" y="102"/>
                      <a:pt x="570" y="102"/>
                    </a:cubicBezTo>
                    <a:cubicBezTo>
                      <a:pt x="567" y="104"/>
                      <a:pt x="567" y="104"/>
                      <a:pt x="567" y="104"/>
                    </a:cubicBezTo>
                    <a:cubicBezTo>
                      <a:pt x="567" y="106"/>
                      <a:pt x="567" y="106"/>
                      <a:pt x="567" y="106"/>
                    </a:cubicBezTo>
                    <a:cubicBezTo>
                      <a:pt x="563" y="108"/>
                      <a:pt x="563" y="108"/>
                      <a:pt x="563" y="108"/>
                    </a:cubicBezTo>
                    <a:cubicBezTo>
                      <a:pt x="559" y="109"/>
                      <a:pt x="559" y="109"/>
                      <a:pt x="559" y="109"/>
                    </a:cubicBezTo>
                    <a:cubicBezTo>
                      <a:pt x="558" y="112"/>
                      <a:pt x="558" y="112"/>
                      <a:pt x="558" y="112"/>
                    </a:cubicBezTo>
                    <a:cubicBezTo>
                      <a:pt x="553" y="113"/>
                      <a:pt x="553" y="113"/>
                      <a:pt x="553" y="113"/>
                    </a:cubicBezTo>
                    <a:cubicBezTo>
                      <a:pt x="544" y="111"/>
                      <a:pt x="544" y="111"/>
                      <a:pt x="544" y="111"/>
                    </a:cubicBezTo>
                    <a:cubicBezTo>
                      <a:pt x="536" y="110"/>
                      <a:pt x="536" y="110"/>
                      <a:pt x="536" y="110"/>
                    </a:cubicBezTo>
                    <a:cubicBezTo>
                      <a:pt x="535" y="112"/>
                      <a:pt x="535" y="112"/>
                      <a:pt x="535" y="112"/>
                    </a:cubicBezTo>
                    <a:cubicBezTo>
                      <a:pt x="533" y="113"/>
                      <a:pt x="533" y="113"/>
                      <a:pt x="533" y="113"/>
                    </a:cubicBezTo>
                    <a:cubicBezTo>
                      <a:pt x="529" y="109"/>
                      <a:pt x="529" y="109"/>
                      <a:pt x="529" y="109"/>
                    </a:cubicBezTo>
                    <a:cubicBezTo>
                      <a:pt x="526" y="109"/>
                      <a:pt x="526" y="109"/>
                      <a:pt x="526" y="109"/>
                    </a:cubicBezTo>
                    <a:cubicBezTo>
                      <a:pt x="523" y="109"/>
                      <a:pt x="523" y="109"/>
                      <a:pt x="523" y="109"/>
                    </a:cubicBezTo>
                    <a:cubicBezTo>
                      <a:pt x="519" y="108"/>
                      <a:pt x="519" y="108"/>
                      <a:pt x="519" y="108"/>
                    </a:cubicBezTo>
                    <a:cubicBezTo>
                      <a:pt x="514" y="108"/>
                      <a:pt x="514" y="108"/>
                      <a:pt x="514" y="108"/>
                    </a:cubicBezTo>
                    <a:cubicBezTo>
                      <a:pt x="512" y="109"/>
                      <a:pt x="512" y="109"/>
                      <a:pt x="512" y="109"/>
                    </a:cubicBezTo>
                    <a:cubicBezTo>
                      <a:pt x="509" y="108"/>
                      <a:pt x="509" y="108"/>
                      <a:pt x="509" y="108"/>
                    </a:cubicBezTo>
                    <a:cubicBezTo>
                      <a:pt x="505" y="104"/>
                      <a:pt x="505" y="104"/>
                      <a:pt x="505" y="104"/>
                    </a:cubicBezTo>
                    <a:cubicBezTo>
                      <a:pt x="499" y="103"/>
                      <a:pt x="499" y="103"/>
                      <a:pt x="499" y="103"/>
                    </a:cubicBezTo>
                    <a:cubicBezTo>
                      <a:pt x="496" y="103"/>
                      <a:pt x="496" y="103"/>
                      <a:pt x="496" y="103"/>
                    </a:cubicBezTo>
                    <a:cubicBezTo>
                      <a:pt x="496" y="107"/>
                      <a:pt x="496" y="107"/>
                      <a:pt x="496" y="107"/>
                    </a:cubicBezTo>
                    <a:cubicBezTo>
                      <a:pt x="493" y="109"/>
                      <a:pt x="493" y="109"/>
                      <a:pt x="493" y="109"/>
                    </a:cubicBezTo>
                    <a:cubicBezTo>
                      <a:pt x="491" y="113"/>
                      <a:pt x="491" y="113"/>
                      <a:pt x="491" y="113"/>
                    </a:cubicBezTo>
                    <a:cubicBezTo>
                      <a:pt x="489" y="115"/>
                      <a:pt x="489" y="115"/>
                      <a:pt x="489" y="115"/>
                    </a:cubicBezTo>
                    <a:cubicBezTo>
                      <a:pt x="484" y="113"/>
                      <a:pt x="484" y="113"/>
                      <a:pt x="484" y="113"/>
                    </a:cubicBezTo>
                    <a:cubicBezTo>
                      <a:pt x="479" y="114"/>
                      <a:pt x="479" y="114"/>
                      <a:pt x="479" y="114"/>
                    </a:cubicBezTo>
                    <a:cubicBezTo>
                      <a:pt x="477" y="116"/>
                      <a:pt x="477" y="116"/>
                      <a:pt x="477" y="116"/>
                    </a:cubicBezTo>
                    <a:cubicBezTo>
                      <a:pt x="478" y="117"/>
                      <a:pt x="478" y="117"/>
                      <a:pt x="478" y="117"/>
                    </a:cubicBezTo>
                    <a:cubicBezTo>
                      <a:pt x="473" y="122"/>
                      <a:pt x="473" y="122"/>
                      <a:pt x="473" y="122"/>
                    </a:cubicBezTo>
                    <a:cubicBezTo>
                      <a:pt x="473" y="127"/>
                      <a:pt x="473" y="127"/>
                      <a:pt x="473" y="127"/>
                    </a:cubicBezTo>
                    <a:cubicBezTo>
                      <a:pt x="474" y="130"/>
                      <a:pt x="474" y="130"/>
                      <a:pt x="474" y="130"/>
                    </a:cubicBezTo>
                    <a:cubicBezTo>
                      <a:pt x="474" y="136"/>
                      <a:pt x="474" y="136"/>
                      <a:pt x="474" y="136"/>
                    </a:cubicBezTo>
                    <a:cubicBezTo>
                      <a:pt x="473" y="139"/>
                      <a:pt x="473" y="139"/>
                      <a:pt x="473" y="139"/>
                    </a:cubicBezTo>
                    <a:cubicBezTo>
                      <a:pt x="475" y="143"/>
                      <a:pt x="475" y="143"/>
                      <a:pt x="475" y="143"/>
                    </a:cubicBezTo>
                    <a:cubicBezTo>
                      <a:pt x="475" y="146"/>
                      <a:pt x="475" y="146"/>
                      <a:pt x="475" y="146"/>
                    </a:cubicBezTo>
                    <a:cubicBezTo>
                      <a:pt x="474" y="145"/>
                      <a:pt x="474" y="145"/>
                      <a:pt x="474" y="145"/>
                    </a:cubicBezTo>
                    <a:cubicBezTo>
                      <a:pt x="473" y="142"/>
                      <a:pt x="473" y="142"/>
                      <a:pt x="473" y="142"/>
                    </a:cubicBezTo>
                    <a:cubicBezTo>
                      <a:pt x="470" y="142"/>
                      <a:pt x="470" y="142"/>
                      <a:pt x="470" y="142"/>
                    </a:cubicBezTo>
                    <a:cubicBezTo>
                      <a:pt x="468" y="145"/>
                      <a:pt x="468" y="145"/>
                      <a:pt x="468" y="145"/>
                    </a:cubicBezTo>
                    <a:cubicBezTo>
                      <a:pt x="465" y="147"/>
                      <a:pt x="465" y="147"/>
                      <a:pt x="465" y="147"/>
                    </a:cubicBezTo>
                    <a:cubicBezTo>
                      <a:pt x="464" y="151"/>
                      <a:pt x="464" y="151"/>
                      <a:pt x="464" y="151"/>
                    </a:cubicBezTo>
                    <a:cubicBezTo>
                      <a:pt x="464" y="155"/>
                      <a:pt x="464" y="155"/>
                      <a:pt x="464" y="155"/>
                    </a:cubicBezTo>
                    <a:cubicBezTo>
                      <a:pt x="463" y="158"/>
                      <a:pt x="463" y="158"/>
                      <a:pt x="463" y="158"/>
                    </a:cubicBezTo>
                    <a:cubicBezTo>
                      <a:pt x="464" y="165"/>
                      <a:pt x="464" y="165"/>
                      <a:pt x="464" y="165"/>
                    </a:cubicBezTo>
                    <a:cubicBezTo>
                      <a:pt x="463" y="167"/>
                      <a:pt x="463" y="167"/>
                      <a:pt x="463" y="167"/>
                    </a:cubicBezTo>
                    <a:cubicBezTo>
                      <a:pt x="463" y="170"/>
                      <a:pt x="463" y="170"/>
                      <a:pt x="463" y="170"/>
                    </a:cubicBezTo>
                    <a:cubicBezTo>
                      <a:pt x="460" y="171"/>
                      <a:pt x="460" y="171"/>
                      <a:pt x="460" y="171"/>
                    </a:cubicBezTo>
                    <a:cubicBezTo>
                      <a:pt x="460" y="176"/>
                      <a:pt x="460" y="176"/>
                      <a:pt x="460" y="176"/>
                    </a:cubicBezTo>
                    <a:cubicBezTo>
                      <a:pt x="456" y="179"/>
                      <a:pt x="456" y="179"/>
                      <a:pt x="456" y="179"/>
                    </a:cubicBezTo>
                    <a:cubicBezTo>
                      <a:pt x="454" y="184"/>
                      <a:pt x="454" y="184"/>
                      <a:pt x="454" y="184"/>
                    </a:cubicBezTo>
                    <a:cubicBezTo>
                      <a:pt x="455" y="186"/>
                      <a:pt x="455" y="186"/>
                      <a:pt x="455" y="186"/>
                    </a:cubicBezTo>
                    <a:cubicBezTo>
                      <a:pt x="453" y="188"/>
                      <a:pt x="453" y="188"/>
                      <a:pt x="453" y="188"/>
                    </a:cubicBezTo>
                    <a:cubicBezTo>
                      <a:pt x="456" y="194"/>
                      <a:pt x="456" y="194"/>
                      <a:pt x="456" y="194"/>
                    </a:cubicBezTo>
                    <a:cubicBezTo>
                      <a:pt x="458" y="197"/>
                      <a:pt x="458" y="197"/>
                      <a:pt x="458" y="197"/>
                    </a:cubicBezTo>
                    <a:cubicBezTo>
                      <a:pt x="459" y="196"/>
                      <a:pt x="459" y="196"/>
                      <a:pt x="459" y="196"/>
                    </a:cubicBezTo>
                    <a:cubicBezTo>
                      <a:pt x="462" y="196"/>
                      <a:pt x="462" y="196"/>
                      <a:pt x="462" y="196"/>
                    </a:cubicBezTo>
                    <a:cubicBezTo>
                      <a:pt x="464" y="195"/>
                      <a:pt x="464" y="195"/>
                      <a:pt x="464" y="195"/>
                    </a:cubicBezTo>
                    <a:cubicBezTo>
                      <a:pt x="466" y="196"/>
                      <a:pt x="466" y="196"/>
                      <a:pt x="466" y="196"/>
                    </a:cubicBezTo>
                    <a:cubicBezTo>
                      <a:pt x="467" y="200"/>
                      <a:pt x="467" y="200"/>
                      <a:pt x="467" y="200"/>
                    </a:cubicBezTo>
                    <a:cubicBezTo>
                      <a:pt x="471" y="209"/>
                      <a:pt x="471" y="209"/>
                      <a:pt x="471" y="209"/>
                    </a:cubicBezTo>
                    <a:cubicBezTo>
                      <a:pt x="469" y="211"/>
                      <a:pt x="469" y="211"/>
                      <a:pt x="469" y="211"/>
                    </a:cubicBezTo>
                    <a:cubicBezTo>
                      <a:pt x="468" y="216"/>
                      <a:pt x="468" y="216"/>
                      <a:pt x="468" y="216"/>
                    </a:cubicBezTo>
                    <a:cubicBezTo>
                      <a:pt x="465" y="220"/>
                      <a:pt x="465" y="220"/>
                      <a:pt x="465" y="220"/>
                    </a:cubicBezTo>
                    <a:cubicBezTo>
                      <a:pt x="465" y="228"/>
                      <a:pt x="465" y="228"/>
                      <a:pt x="465" y="228"/>
                    </a:cubicBezTo>
                    <a:cubicBezTo>
                      <a:pt x="465" y="234"/>
                      <a:pt x="465" y="234"/>
                      <a:pt x="465" y="234"/>
                    </a:cubicBezTo>
                    <a:cubicBezTo>
                      <a:pt x="468" y="234"/>
                      <a:pt x="468" y="234"/>
                      <a:pt x="468" y="234"/>
                    </a:cubicBezTo>
                    <a:cubicBezTo>
                      <a:pt x="470" y="236"/>
                      <a:pt x="470" y="236"/>
                      <a:pt x="470" y="236"/>
                    </a:cubicBezTo>
                    <a:cubicBezTo>
                      <a:pt x="474" y="236"/>
                      <a:pt x="474" y="236"/>
                      <a:pt x="474" y="236"/>
                    </a:cubicBezTo>
                    <a:cubicBezTo>
                      <a:pt x="476" y="234"/>
                      <a:pt x="476" y="234"/>
                      <a:pt x="476" y="234"/>
                    </a:cubicBezTo>
                    <a:cubicBezTo>
                      <a:pt x="480" y="234"/>
                      <a:pt x="480" y="234"/>
                      <a:pt x="480" y="234"/>
                    </a:cubicBezTo>
                    <a:cubicBezTo>
                      <a:pt x="483" y="234"/>
                      <a:pt x="483" y="234"/>
                      <a:pt x="483" y="234"/>
                    </a:cubicBezTo>
                    <a:cubicBezTo>
                      <a:pt x="485" y="236"/>
                      <a:pt x="485" y="236"/>
                      <a:pt x="485" y="236"/>
                    </a:cubicBezTo>
                    <a:cubicBezTo>
                      <a:pt x="486" y="233"/>
                      <a:pt x="486" y="233"/>
                      <a:pt x="486" y="233"/>
                    </a:cubicBezTo>
                    <a:cubicBezTo>
                      <a:pt x="485" y="229"/>
                      <a:pt x="485" y="229"/>
                      <a:pt x="485" y="229"/>
                    </a:cubicBezTo>
                    <a:cubicBezTo>
                      <a:pt x="483" y="227"/>
                      <a:pt x="483" y="227"/>
                      <a:pt x="483" y="227"/>
                    </a:cubicBezTo>
                    <a:cubicBezTo>
                      <a:pt x="482" y="222"/>
                      <a:pt x="482" y="222"/>
                      <a:pt x="482" y="222"/>
                    </a:cubicBezTo>
                    <a:cubicBezTo>
                      <a:pt x="484" y="219"/>
                      <a:pt x="484" y="219"/>
                      <a:pt x="484" y="219"/>
                    </a:cubicBezTo>
                    <a:cubicBezTo>
                      <a:pt x="485" y="213"/>
                      <a:pt x="485" y="213"/>
                      <a:pt x="485" y="213"/>
                    </a:cubicBezTo>
                    <a:cubicBezTo>
                      <a:pt x="484" y="207"/>
                      <a:pt x="484" y="207"/>
                      <a:pt x="484" y="207"/>
                    </a:cubicBezTo>
                    <a:cubicBezTo>
                      <a:pt x="483" y="205"/>
                      <a:pt x="483" y="205"/>
                      <a:pt x="483" y="205"/>
                    </a:cubicBezTo>
                    <a:cubicBezTo>
                      <a:pt x="487" y="200"/>
                      <a:pt x="487" y="200"/>
                      <a:pt x="487" y="200"/>
                    </a:cubicBezTo>
                    <a:cubicBezTo>
                      <a:pt x="488" y="195"/>
                      <a:pt x="488" y="195"/>
                      <a:pt x="488" y="195"/>
                    </a:cubicBezTo>
                    <a:cubicBezTo>
                      <a:pt x="487" y="190"/>
                      <a:pt x="487" y="190"/>
                      <a:pt x="487" y="190"/>
                    </a:cubicBezTo>
                    <a:cubicBezTo>
                      <a:pt x="484" y="187"/>
                      <a:pt x="484" y="187"/>
                      <a:pt x="484" y="187"/>
                    </a:cubicBezTo>
                    <a:cubicBezTo>
                      <a:pt x="484" y="186"/>
                      <a:pt x="484" y="186"/>
                      <a:pt x="484" y="186"/>
                    </a:cubicBezTo>
                    <a:cubicBezTo>
                      <a:pt x="488" y="183"/>
                      <a:pt x="488" y="183"/>
                      <a:pt x="488" y="183"/>
                    </a:cubicBezTo>
                    <a:cubicBezTo>
                      <a:pt x="490" y="181"/>
                      <a:pt x="490" y="181"/>
                      <a:pt x="490" y="181"/>
                    </a:cubicBezTo>
                    <a:cubicBezTo>
                      <a:pt x="494" y="180"/>
                      <a:pt x="494" y="180"/>
                      <a:pt x="494" y="180"/>
                    </a:cubicBezTo>
                    <a:cubicBezTo>
                      <a:pt x="498" y="181"/>
                      <a:pt x="498" y="181"/>
                      <a:pt x="498" y="181"/>
                    </a:cubicBezTo>
                    <a:cubicBezTo>
                      <a:pt x="497" y="183"/>
                      <a:pt x="497" y="183"/>
                      <a:pt x="497" y="183"/>
                    </a:cubicBezTo>
                    <a:cubicBezTo>
                      <a:pt x="499" y="186"/>
                      <a:pt x="499" y="186"/>
                      <a:pt x="499" y="186"/>
                    </a:cubicBezTo>
                    <a:cubicBezTo>
                      <a:pt x="499" y="190"/>
                      <a:pt x="499" y="190"/>
                      <a:pt x="499" y="190"/>
                    </a:cubicBezTo>
                    <a:cubicBezTo>
                      <a:pt x="496" y="193"/>
                      <a:pt x="496" y="193"/>
                      <a:pt x="496" y="193"/>
                    </a:cubicBezTo>
                    <a:cubicBezTo>
                      <a:pt x="495" y="197"/>
                      <a:pt x="495" y="197"/>
                      <a:pt x="495" y="197"/>
                    </a:cubicBezTo>
                    <a:cubicBezTo>
                      <a:pt x="497" y="200"/>
                      <a:pt x="497" y="200"/>
                      <a:pt x="497" y="200"/>
                    </a:cubicBezTo>
                    <a:cubicBezTo>
                      <a:pt x="500" y="201"/>
                      <a:pt x="500" y="201"/>
                      <a:pt x="500" y="201"/>
                    </a:cubicBezTo>
                    <a:cubicBezTo>
                      <a:pt x="502" y="203"/>
                      <a:pt x="502" y="203"/>
                      <a:pt x="502" y="203"/>
                    </a:cubicBezTo>
                    <a:cubicBezTo>
                      <a:pt x="507" y="206"/>
                      <a:pt x="507" y="206"/>
                      <a:pt x="507" y="206"/>
                    </a:cubicBezTo>
                    <a:cubicBezTo>
                      <a:pt x="508" y="209"/>
                      <a:pt x="508" y="209"/>
                      <a:pt x="508" y="209"/>
                    </a:cubicBezTo>
                    <a:cubicBezTo>
                      <a:pt x="506" y="209"/>
                      <a:pt x="506" y="209"/>
                      <a:pt x="506" y="209"/>
                    </a:cubicBezTo>
                    <a:cubicBezTo>
                      <a:pt x="505" y="216"/>
                      <a:pt x="505" y="216"/>
                      <a:pt x="505" y="216"/>
                    </a:cubicBezTo>
                    <a:cubicBezTo>
                      <a:pt x="506" y="220"/>
                      <a:pt x="506" y="220"/>
                      <a:pt x="506" y="220"/>
                    </a:cubicBezTo>
                    <a:cubicBezTo>
                      <a:pt x="509" y="221"/>
                      <a:pt x="509" y="221"/>
                      <a:pt x="509" y="221"/>
                    </a:cubicBezTo>
                    <a:cubicBezTo>
                      <a:pt x="511" y="220"/>
                      <a:pt x="511" y="220"/>
                      <a:pt x="511" y="220"/>
                    </a:cubicBezTo>
                    <a:cubicBezTo>
                      <a:pt x="516" y="222"/>
                      <a:pt x="516" y="222"/>
                      <a:pt x="516" y="222"/>
                    </a:cubicBezTo>
                    <a:cubicBezTo>
                      <a:pt x="519" y="221"/>
                      <a:pt x="519" y="221"/>
                      <a:pt x="519" y="221"/>
                    </a:cubicBezTo>
                    <a:cubicBezTo>
                      <a:pt x="518" y="220"/>
                      <a:pt x="518" y="220"/>
                      <a:pt x="518" y="220"/>
                    </a:cubicBezTo>
                    <a:cubicBezTo>
                      <a:pt x="517" y="217"/>
                      <a:pt x="517" y="217"/>
                      <a:pt x="517" y="217"/>
                    </a:cubicBezTo>
                    <a:cubicBezTo>
                      <a:pt x="521" y="214"/>
                      <a:pt x="521" y="214"/>
                      <a:pt x="521" y="214"/>
                    </a:cubicBezTo>
                    <a:cubicBezTo>
                      <a:pt x="524" y="213"/>
                      <a:pt x="524" y="213"/>
                      <a:pt x="524" y="213"/>
                    </a:cubicBezTo>
                    <a:cubicBezTo>
                      <a:pt x="529" y="211"/>
                      <a:pt x="529" y="211"/>
                      <a:pt x="529" y="211"/>
                    </a:cubicBezTo>
                    <a:cubicBezTo>
                      <a:pt x="534" y="211"/>
                      <a:pt x="534" y="211"/>
                      <a:pt x="534" y="211"/>
                    </a:cubicBezTo>
                    <a:cubicBezTo>
                      <a:pt x="536" y="209"/>
                      <a:pt x="536" y="209"/>
                      <a:pt x="536" y="209"/>
                    </a:cubicBezTo>
                    <a:cubicBezTo>
                      <a:pt x="538" y="210"/>
                      <a:pt x="538" y="210"/>
                      <a:pt x="538" y="210"/>
                    </a:cubicBezTo>
                    <a:cubicBezTo>
                      <a:pt x="541" y="210"/>
                      <a:pt x="541" y="210"/>
                      <a:pt x="541" y="210"/>
                    </a:cubicBezTo>
                    <a:cubicBezTo>
                      <a:pt x="542" y="207"/>
                      <a:pt x="542" y="207"/>
                      <a:pt x="542" y="207"/>
                    </a:cubicBezTo>
                    <a:cubicBezTo>
                      <a:pt x="542" y="206"/>
                      <a:pt x="542" y="206"/>
                      <a:pt x="542" y="206"/>
                    </a:cubicBezTo>
                    <a:cubicBezTo>
                      <a:pt x="537" y="205"/>
                      <a:pt x="537" y="205"/>
                      <a:pt x="537" y="205"/>
                    </a:cubicBezTo>
                    <a:cubicBezTo>
                      <a:pt x="535" y="206"/>
                      <a:pt x="535" y="206"/>
                      <a:pt x="535" y="206"/>
                    </a:cubicBezTo>
                    <a:cubicBezTo>
                      <a:pt x="534" y="205"/>
                      <a:pt x="534" y="205"/>
                      <a:pt x="534" y="205"/>
                    </a:cubicBezTo>
                    <a:cubicBezTo>
                      <a:pt x="530" y="206"/>
                      <a:pt x="530" y="206"/>
                      <a:pt x="530" y="206"/>
                    </a:cubicBezTo>
                    <a:cubicBezTo>
                      <a:pt x="530" y="203"/>
                      <a:pt x="530" y="203"/>
                      <a:pt x="530" y="203"/>
                    </a:cubicBezTo>
                    <a:cubicBezTo>
                      <a:pt x="528" y="203"/>
                      <a:pt x="528" y="203"/>
                      <a:pt x="528" y="203"/>
                    </a:cubicBezTo>
                    <a:cubicBezTo>
                      <a:pt x="528" y="201"/>
                      <a:pt x="528" y="201"/>
                      <a:pt x="528" y="201"/>
                    </a:cubicBezTo>
                    <a:cubicBezTo>
                      <a:pt x="526" y="201"/>
                      <a:pt x="526" y="201"/>
                      <a:pt x="526" y="201"/>
                    </a:cubicBezTo>
                    <a:cubicBezTo>
                      <a:pt x="525" y="202"/>
                      <a:pt x="525" y="202"/>
                      <a:pt x="525" y="202"/>
                    </a:cubicBezTo>
                    <a:cubicBezTo>
                      <a:pt x="525" y="200"/>
                      <a:pt x="525" y="200"/>
                      <a:pt x="525" y="200"/>
                    </a:cubicBezTo>
                    <a:cubicBezTo>
                      <a:pt x="521" y="199"/>
                      <a:pt x="521" y="199"/>
                      <a:pt x="521" y="199"/>
                    </a:cubicBezTo>
                    <a:cubicBezTo>
                      <a:pt x="520" y="197"/>
                      <a:pt x="520" y="197"/>
                      <a:pt x="520" y="197"/>
                    </a:cubicBezTo>
                    <a:cubicBezTo>
                      <a:pt x="522" y="194"/>
                      <a:pt x="522" y="194"/>
                      <a:pt x="522" y="194"/>
                    </a:cubicBezTo>
                    <a:cubicBezTo>
                      <a:pt x="523" y="193"/>
                      <a:pt x="523" y="193"/>
                      <a:pt x="523" y="193"/>
                    </a:cubicBezTo>
                    <a:cubicBezTo>
                      <a:pt x="525" y="193"/>
                      <a:pt x="525" y="193"/>
                      <a:pt x="525" y="193"/>
                    </a:cubicBezTo>
                    <a:cubicBezTo>
                      <a:pt x="523" y="191"/>
                      <a:pt x="523" y="191"/>
                      <a:pt x="523" y="191"/>
                    </a:cubicBezTo>
                    <a:cubicBezTo>
                      <a:pt x="525" y="191"/>
                      <a:pt x="525" y="191"/>
                      <a:pt x="525" y="191"/>
                    </a:cubicBezTo>
                    <a:cubicBezTo>
                      <a:pt x="526" y="189"/>
                      <a:pt x="526" y="189"/>
                      <a:pt x="526" y="189"/>
                    </a:cubicBezTo>
                    <a:cubicBezTo>
                      <a:pt x="524" y="187"/>
                      <a:pt x="524" y="187"/>
                      <a:pt x="524" y="187"/>
                    </a:cubicBezTo>
                    <a:cubicBezTo>
                      <a:pt x="522" y="186"/>
                      <a:pt x="522" y="186"/>
                      <a:pt x="522" y="186"/>
                    </a:cubicBezTo>
                    <a:cubicBezTo>
                      <a:pt x="523" y="184"/>
                      <a:pt x="523" y="184"/>
                      <a:pt x="523" y="184"/>
                    </a:cubicBezTo>
                    <a:cubicBezTo>
                      <a:pt x="522" y="182"/>
                      <a:pt x="522" y="182"/>
                      <a:pt x="522" y="182"/>
                    </a:cubicBezTo>
                    <a:cubicBezTo>
                      <a:pt x="519" y="180"/>
                      <a:pt x="519" y="180"/>
                      <a:pt x="519" y="180"/>
                    </a:cubicBezTo>
                    <a:cubicBezTo>
                      <a:pt x="517" y="180"/>
                      <a:pt x="517" y="180"/>
                      <a:pt x="517" y="180"/>
                    </a:cubicBezTo>
                    <a:cubicBezTo>
                      <a:pt x="516" y="177"/>
                      <a:pt x="516" y="177"/>
                      <a:pt x="516" y="177"/>
                    </a:cubicBezTo>
                    <a:cubicBezTo>
                      <a:pt x="510" y="171"/>
                      <a:pt x="510" y="171"/>
                      <a:pt x="510" y="171"/>
                    </a:cubicBezTo>
                    <a:cubicBezTo>
                      <a:pt x="507" y="169"/>
                      <a:pt x="507" y="169"/>
                      <a:pt x="507" y="169"/>
                    </a:cubicBezTo>
                    <a:cubicBezTo>
                      <a:pt x="505" y="166"/>
                      <a:pt x="505" y="166"/>
                      <a:pt x="505" y="166"/>
                    </a:cubicBezTo>
                    <a:cubicBezTo>
                      <a:pt x="506" y="164"/>
                      <a:pt x="506" y="164"/>
                      <a:pt x="506" y="164"/>
                    </a:cubicBezTo>
                    <a:cubicBezTo>
                      <a:pt x="507" y="164"/>
                      <a:pt x="507" y="164"/>
                      <a:pt x="507" y="164"/>
                    </a:cubicBezTo>
                    <a:cubicBezTo>
                      <a:pt x="508" y="166"/>
                      <a:pt x="508" y="166"/>
                      <a:pt x="508" y="166"/>
                    </a:cubicBezTo>
                    <a:cubicBezTo>
                      <a:pt x="512" y="166"/>
                      <a:pt x="512" y="166"/>
                      <a:pt x="512" y="166"/>
                    </a:cubicBezTo>
                    <a:cubicBezTo>
                      <a:pt x="515" y="164"/>
                      <a:pt x="515" y="164"/>
                      <a:pt x="515" y="164"/>
                    </a:cubicBezTo>
                    <a:cubicBezTo>
                      <a:pt x="515" y="162"/>
                      <a:pt x="515" y="162"/>
                      <a:pt x="515" y="162"/>
                    </a:cubicBezTo>
                    <a:cubicBezTo>
                      <a:pt x="523" y="159"/>
                      <a:pt x="523" y="159"/>
                      <a:pt x="523" y="159"/>
                    </a:cubicBezTo>
                    <a:cubicBezTo>
                      <a:pt x="529" y="155"/>
                      <a:pt x="529" y="155"/>
                      <a:pt x="529" y="155"/>
                    </a:cubicBezTo>
                    <a:cubicBezTo>
                      <a:pt x="531" y="151"/>
                      <a:pt x="531" y="151"/>
                      <a:pt x="531" y="151"/>
                    </a:cubicBezTo>
                    <a:cubicBezTo>
                      <a:pt x="535" y="149"/>
                      <a:pt x="535" y="149"/>
                      <a:pt x="535" y="149"/>
                    </a:cubicBezTo>
                    <a:cubicBezTo>
                      <a:pt x="535" y="146"/>
                      <a:pt x="535" y="146"/>
                      <a:pt x="535" y="146"/>
                    </a:cubicBezTo>
                    <a:cubicBezTo>
                      <a:pt x="539" y="145"/>
                      <a:pt x="539" y="145"/>
                      <a:pt x="539" y="145"/>
                    </a:cubicBezTo>
                    <a:cubicBezTo>
                      <a:pt x="543" y="147"/>
                      <a:pt x="543" y="147"/>
                      <a:pt x="543" y="147"/>
                    </a:cubicBezTo>
                    <a:cubicBezTo>
                      <a:pt x="545" y="147"/>
                      <a:pt x="545" y="147"/>
                      <a:pt x="545" y="147"/>
                    </a:cubicBezTo>
                    <a:cubicBezTo>
                      <a:pt x="549" y="143"/>
                      <a:pt x="549" y="143"/>
                      <a:pt x="549" y="143"/>
                    </a:cubicBezTo>
                    <a:cubicBezTo>
                      <a:pt x="549" y="140"/>
                      <a:pt x="549" y="140"/>
                      <a:pt x="549" y="140"/>
                    </a:cubicBezTo>
                    <a:cubicBezTo>
                      <a:pt x="545" y="139"/>
                      <a:pt x="545" y="139"/>
                      <a:pt x="545" y="139"/>
                    </a:cubicBezTo>
                    <a:cubicBezTo>
                      <a:pt x="536" y="139"/>
                      <a:pt x="536" y="139"/>
                      <a:pt x="536" y="139"/>
                    </a:cubicBezTo>
                    <a:cubicBezTo>
                      <a:pt x="532" y="142"/>
                      <a:pt x="532" y="142"/>
                      <a:pt x="532" y="142"/>
                    </a:cubicBezTo>
                    <a:cubicBezTo>
                      <a:pt x="527" y="142"/>
                      <a:pt x="527" y="142"/>
                      <a:pt x="527" y="142"/>
                    </a:cubicBezTo>
                    <a:cubicBezTo>
                      <a:pt x="524" y="143"/>
                      <a:pt x="524" y="143"/>
                      <a:pt x="524" y="143"/>
                    </a:cubicBezTo>
                    <a:cubicBezTo>
                      <a:pt x="520" y="146"/>
                      <a:pt x="520" y="146"/>
                      <a:pt x="520" y="146"/>
                    </a:cubicBezTo>
                    <a:cubicBezTo>
                      <a:pt x="517" y="146"/>
                      <a:pt x="517" y="146"/>
                      <a:pt x="517" y="146"/>
                    </a:cubicBezTo>
                    <a:cubicBezTo>
                      <a:pt x="514" y="146"/>
                      <a:pt x="514" y="146"/>
                      <a:pt x="514" y="146"/>
                    </a:cubicBezTo>
                    <a:cubicBezTo>
                      <a:pt x="510" y="144"/>
                      <a:pt x="510" y="144"/>
                      <a:pt x="510" y="144"/>
                    </a:cubicBezTo>
                    <a:cubicBezTo>
                      <a:pt x="507" y="143"/>
                      <a:pt x="507" y="143"/>
                      <a:pt x="507" y="143"/>
                    </a:cubicBezTo>
                    <a:cubicBezTo>
                      <a:pt x="503" y="148"/>
                      <a:pt x="503" y="148"/>
                      <a:pt x="503" y="148"/>
                    </a:cubicBezTo>
                    <a:cubicBezTo>
                      <a:pt x="501" y="154"/>
                      <a:pt x="501" y="154"/>
                      <a:pt x="501" y="154"/>
                    </a:cubicBezTo>
                    <a:cubicBezTo>
                      <a:pt x="497" y="156"/>
                      <a:pt x="497" y="156"/>
                      <a:pt x="497" y="156"/>
                    </a:cubicBezTo>
                    <a:cubicBezTo>
                      <a:pt x="493" y="156"/>
                      <a:pt x="493" y="156"/>
                      <a:pt x="493" y="156"/>
                    </a:cubicBezTo>
                    <a:cubicBezTo>
                      <a:pt x="492" y="154"/>
                      <a:pt x="492" y="154"/>
                      <a:pt x="492" y="154"/>
                    </a:cubicBezTo>
                    <a:cubicBezTo>
                      <a:pt x="487" y="148"/>
                      <a:pt x="487" y="148"/>
                      <a:pt x="487" y="148"/>
                    </a:cubicBezTo>
                    <a:cubicBezTo>
                      <a:pt x="482" y="144"/>
                      <a:pt x="482" y="144"/>
                      <a:pt x="482" y="144"/>
                    </a:cubicBezTo>
                    <a:cubicBezTo>
                      <a:pt x="479" y="138"/>
                      <a:pt x="479" y="138"/>
                      <a:pt x="479" y="138"/>
                    </a:cubicBezTo>
                    <a:cubicBezTo>
                      <a:pt x="480" y="131"/>
                      <a:pt x="480" y="131"/>
                      <a:pt x="480" y="131"/>
                    </a:cubicBezTo>
                    <a:cubicBezTo>
                      <a:pt x="483" y="124"/>
                      <a:pt x="483" y="124"/>
                      <a:pt x="483" y="124"/>
                    </a:cubicBezTo>
                    <a:cubicBezTo>
                      <a:pt x="486" y="120"/>
                      <a:pt x="486" y="120"/>
                      <a:pt x="486" y="120"/>
                    </a:cubicBezTo>
                    <a:close/>
                    <a:moveTo>
                      <a:pt x="490" y="0"/>
                    </a:moveTo>
                    <a:cubicBezTo>
                      <a:pt x="488" y="3"/>
                      <a:pt x="488" y="3"/>
                      <a:pt x="488" y="3"/>
                    </a:cubicBezTo>
                    <a:cubicBezTo>
                      <a:pt x="490" y="4"/>
                      <a:pt x="490" y="4"/>
                      <a:pt x="490" y="4"/>
                    </a:cubicBezTo>
                    <a:cubicBezTo>
                      <a:pt x="491" y="2"/>
                      <a:pt x="491" y="2"/>
                      <a:pt x="491" y="2"/>
                    </a:cubicBezTo>
                    <a:cubicBezTo>
                      <a:pt x="490" y="0"/>
                      <a:pt x="490" y="0"/>
                      <a:pt x="490" y="0"/>
                    </a:cubicBezTo>
                    <a:close/>
                    <a:moveTo>
                      <a:pt x="495" y="13"/>
                    </a:moveTo>
                    <a:cubicBezTo>
                      <a:pt x="498" y="13"/>
                      <a:pt x="498" y="13"/>
                      <a:pt x="498" y="13"/>
                    </a:cubicBezTo>
                    <a:cubicBezTo>
                      <a:pt x="500" y="12"/>
                      <a:pt x="500" y="12"/>
                      <a:pt x="500" y="12"/>
                    </a:cubicBezTo>
                    <a:cubicBezTo>
                      <a:pt x="502" y="13"/>
                      <a:pt x="502" y="13"/>
                      <a:pt x="502" y="13"/>
                    </a:cubicBezTo>
                    <a:cubicBezTo>
                      <a:pt x="504" y="11"/>
                      <a:pt x="504" y="11"/>
                      <a:pt x="504" y="11"/>
                    </a:cubicBezTo>
                    <a:cubicBezTo>
                      <a:pt x="504" y="10"/>
                      <a:pt x="504" y="10"/>
                      <a:pt x="504" y="10"/>
                    </a:cubicBezTo>
                    <a:cubicBezTo>
                      <a:pt x="500" y="9"/>
                      <a:pt x="500" y="9"/>
                      <a:pt x="500" y="9"/>
                    </a:cubicBezTo>
                    <a:cubicBezTo>
                      <a:pt x="495" y="10"/>
                      <a:pt x="495" y="10"/>
                      <a:pt x="495" y="10"/>
                    </a:cubicBezTo>
                    <a:cubicBezTo>
                      <a:pt x="494" y="11"/>
                      <a:pt x="494" y="11"/>
                      <a:pt x="494" y="11"/>
                    </a:cubicBezTo>
                    <a:cubicBezTo>
                      <a:pt x="495" y="13"/>
                      <a:pt x="495" y="13"/>
                      <a:pt x="495" y="13"/>
                    </a:cubicBezTo>
                    <a:close/>
                    <a:moveTo>
                      <a:pt x="466" y="32"/>
                    </a:moveTo>
                    <a:cubicBezTo>
                      <a:pt x="465" y="34"/>
                      <a:pt x="465" y="34"/>
                      <a:pt x="465" y="34"/>
                    </a:cubicBezTo>
                    <a:cubicBezTo>
                      <a:pt x="467" y="37"/>
                      <a:pt x="467" y="37"/>
                      <a:pt x="467" y="37"/>
                    </a:cubicBezTo>
                    <a:cubicBezTo>
                      <a:pt x="467" y="35"/>
                      <a:pt x="467" y="35"/>
                      <a:pt x="467" y="35"/>
                    </a:cubicBezTo>
                    <a:cubicBezTo>
                      <a:pt x="466" y="32"/>
                      <a:pt x="466" y="32"/>
                      <a:pt x="466" y="32"/>
                    </a:cubicBezTo>
                    <a:close/>
                    <a:moveTo>
                      <a:pt x="472" y="28"/>
                    </a:moveTo>
                    <a:cubicBezTo>
                      <a:pt x="479" y="23"/>
                      <a:pt x="479" y="23"/>
                      <a:pt x="479" y="23"/>
                    </a:cubicBezTo>
                    <a:cubicBezTo>
                      <a:pt x="482" y="22"/>
                      <a:pt x="482" y="22"/>
                      <a:pt x="482" y="22"/>
                    </a:cubicBezTo>
                    <a:cubicBezTo>
                      <a:pt x="482" y="25"/>
                      <a:pt x="482" y="25"/>
                      <a:pt x="482" y="25"/>
                    </a:cubicBezTo>
                    <a:cubicBezTo>
                      <a:pt x="478" y="28"/>
                      <a:pt x="478" y="28"/>
                      <a:pt x="478" y="28"/>
                    </a:cubicBezTo>
                    <a:cubicBezTo>
                      <a:pt x="474" y="29"/>
                      <a:pt x="474" y="29"/>
                      <a:pt x="474" y="29"/>
                    </a:cubicBezTo>
                    <a:cubicBezTo>
                      <a:pt x="472" y="28"/>
                      <a:pt x="472" y="28"/>
                      <a:pt x="472" y="28"/>
                    </a:cubicBezTo>
                    <a:close/>
                    <a:moveTo>
                      <a:pt x="433" y="48"/>
                    </a:moveTo>
                    <a:cubicBezTo>
                      <a:pt x="434" y="50"/>
                      <a:pt x="434" y="50"/>
                      <a:pt x="434" y="50"/>
                    </a:cubicBezTo>
                    <a:cubicBezTo>
                      <a:pt x="432" y="49"/>
                      <a:pt x="432" y="49"/>
                      <a:pt x="432" y="49"/>
                    </a:cubicBezTo>
                    <a:cubicBezTo>
                      <a:pt x="433" y="48"/>
                      <a:pt x="433" y="48"/>
                      <a:pt x="433" y="48"/>
                    </a:cubicBezTo>
                    <a:close/>
                    <a:moveTo>
                      <a:pt x="433" y="46"/>
                    </a:moveTo>
                    <a:cubicBezTo>
                      <a:pt x="433" y="47"/>
                      <a:pt x="433" y="47"/>
                      <a:pt x="433" y="47"/>
                    </a:cubicBezTo>
                    <a:cubicBezTo>
                      <a:pt x="434" y="49"/>
                      <a:pt x="434" y="49"/>
                      <a:pt x="434" y="49"/>
                    </a:cubicBezTo>
                    <a:cubicBezTo>
                      <a:pt x="437" y="49"/>
                      <a:pt x="437" y="49"/>
                      <a:pt x="437" y="49"/>
                    </a:cubicBezTo>
                    <a:cubicBezTo>
                      <a:pt x="437" y="48"/>
                      <a:pt x="437" y="48"/>
                      <a:pt x="437" y="48"/>
                    </a:cubicBezTo>
                    <a:cubicBezTo>
                      <a:pt x="433" y="46"/>
                      <a:pt x="433" y="46"/>
                      <a:pt x="433" y="46"/>
                    </a:cubicBezTo>
                    <a:close/>
                    <a:moveTo>
                      <a:pt x="435" y="56"/>
                    </a:moveTo>
                    <a:cubicBezTo>
                      <a:pt x="431" y="57"/>
                      <a:pt x="431" y="57"/>
                      <a:pt x="431" y="57"/>
                    </a:cubicBezTo>
                    <a:cubicBezTo>
                      <a:pt x="434" y="58"/>
                      <a:pt x="434" y="58"/>
                      <a:pt x="434" y="58"/>
                    </a:cubicBezTo>
                    <a:cubicBezTo>
                      <a:pt x="435" y="56"/>
                      <a:pt x="435" y="56"/>
                      <a:pt x="435" y="56"/>
                    </a:cubicBezTo>
                    <a:close/>
                    <a:moveTo>
                      <a:pt x="431" y="60"/>
                    </a:moveTo>
                    <a:cubicBezTo>
                      <a:pt x="433" y="61"/>
                      <a:pt x="433" y="61"/>
                      <a:pt x="433" y="61"/>
                    </a:cubicBezTo>
                    <a:cubicBezTo>
                      <a:pt x="433" y="65"/>
                      <a:pt x="433" y="65"/>
                      <a:pt x="433" y="65"/>
                    </a:cubicBezTo>
                    <a:cubicBezTo>
                      <a:pt x="432" y="64"/>
                      <a:pt x="432" y="64"/>
                      <a:pt x="432" y="64"/>
                    </a:cubicBezTo>
                    <a:cubicBezTo>
                      <a:pt x="431" y="60"/>
                      <a:pt x="431" y="60"/>
                      <a:pt x="431" y="60"/>
                    </a:cubicBezTo>
                    <a:close/>
                    <a:moveTo>
                      <a:pt x="407" y="194"/>
                    </a:moveTo>
                    <a:cubicBezTo>
                      <a:pt x="408" y="195"/>
                      <a:pt x="408" y="195"/>
                      <a:pt x="408" y="195"/>
                    </a:cubicBezTo>
                    <a:cubicBezTo>
                      <a:pt x="408" y="200"/>
                      <a:pt x="408" y="200"/>
                      <a:pt x="408" y="200"/>
                    </a:cubicBezTo>
                    <a:cubicBezTo>
                      <a:pt x="407" y="200"/>
                      <a:pt x="407" y="200"/>
                      <a:pt x="407" y="200"/>
                    </a:cubicBezTo>
                    <a:cubicBezTo>
                      <a:pt x="406" y="195"/>
                      <a:pt x="406" y="195"/>
                      <a:pt x="406" y="195"/>
                    </a:cubicBezTo>
                    <a:cubicBezTo>
                      <a:pt x="407" y="194"/>
                      <a:pt x="407" y="194"/>
                      <a:pt x="407" y="194"/>
                    </a:cubicBezTo>
                    <a:close/>
                    <a:moveTo>
                      <a:pt x="405" y="194"/>
                    </a:moveTo>
                    <a:cubicBezTo>
                      <a:pt x="406" y="201"/>
                      <a:pt x="406" y="201"/>
                      <a:pt x="406" y="201"/>
                    </a:cubicBezTo>
                    <a:cubicBezTo>
                      <a:pt x="405" y="204"/>
                      <a:pt x="405" y="204"/>
                      <a:pt x="405" y="204"/>
                    </a:cubicBezTo>
                    <a:cubicBezTo>
                      <a:pt x="402" y="206"/>
                      <a:pt x="402" y="206"/>
                      <a:pt x="402" y="206"/>
                    </a:cubicBezTo>
                    <a:cubicBezTo>
                      <a:pt x="400" y="205"/>
                      <a:pt x="400" y="205"/>
                      <a:pt x="400" y="205"/>
                    </a:cubicBezTo>
                    <a:cubicBezTo>
                      <a:pt x="401" y="199"/>
                      <a:pt x="401" y="199"/>
                      <a:pt x="401" y="199"/>
                    </a:cubicBezTo>
                    <a:cubicBezTo>
                      <a:pt x="403" y="194"/>
                      <a:pt x="403" y="194"/>
                      <a:pt x="403" y="194"/>
                    </a:cubicBezTo>
                    <a:cubicBezTo>
                      <a:pt x="404" y="193"/>
                      <a:pt x="404" y="193"/>
                      <a:pt x="404" y="193"/>
                    </a:cubicBezTo>
                    <a:cubicBezTo>
                      <a:pt x="405" y="194"/>
                      <a:pt x="405" y="194"/>
                      <a:pt x="405" y="194"/>
                    </a:cubicBezTo>
                    <a:close/>
                    <a:moveTo>
                      <a:pt x="272" y="136"/>
                    </a:moveTo>
                    <a:cubicBezTo>
                      <a:pt x="277" y="137"/>
                      <a:pt x="277" y="137"/>
                      <a:pt x="277" y="137"/>
                    </a:cubicBezTo>
                    <a:cubicBezTo>
                      <a:pt x="278" y="138"/>
                      <a:pt x="278" y="138"/>
                      <a:pt x="278" y="138"/>
                    </a:cubicBezTo>
                    <a:cubicBezTo>
                      <a:pt x="276" y="139"/>
                      <a:pt x="276" y="139"/>
                      <a:pt x="276" y="139"/>
                    </a:cubicBezTo>
                    <a:cubicBezTo>
                      <a:pt x="272" y="138"/>
                      <a:pt x="272" y="138"/>
                      <a:pt x="272" y="138"/>
                    </a:cubicBezTo>
                    <a:cubicBezTo>
                      <a:pt x="272" y="136"/>
                      <a:pt x="272" y="136"/>
                      <a:pt x="272" y="136"/>
                    </a:cubicBezTo>
                    <a:cubicBezTo>
                      <a:pt x="272" y="136"/>
                      <a:pt x="272" y="136"/>
                      <a:pt x="272" y="136"/>
                    </a:cubicBezTo>
                    <a:close/>
                    <a:moveTo>
                      <a:pt x="274" y="144"/>
                    </a:moveTo>
                    <a:cubicBezTo>
                      <a:pt x="279" y="144"/>
                      <a:pt x="279" y="144"/>
                      <a:pt x="279" y="144"/>
                    </a:cubicBezTo>
                    <a:cubicBezTo>
                      <a:pt x="281" y="146"/>
                      <a:pt x="281" y="146"/>
                      <a:pt x="281" y="146"/>
                    </a:cubicBezTo>
                    <a:cubicBezTo>
                      <a:pt x="283" y="147"/>
                      <a:pt x="283" y="147"/>
                      <a:pt x="283" y="147"/>
                    </a:cubicBezTo>
                    <a:cubicBezTo>
                      <a:pt x="283" y="148"/>
                      <a:pt x="283" y="148"/>
                      <a:pt x="283" y="148"/>
                    </a:cubicBezTo>
                    <a:cubicBezTo>
                      <a:pt x="278" y="148"/>
                      <a:pt x="278" y="148"/>
                      <a:pt x="278" y="148"/>
                    </a:cubicBezTo>
                    <a:cubicBezTo>
                      <a:pt x="276" y="148"/>
                      <a:pt x="276" y="148"/>
                      <a:pt x="276" y="148"/>
                    </a:cubicBezTo>
                    <a:cubicBezTo>
                      <a:pt x="274" y="145"/>
                      <a:pt x="274" y="145"/>
                      <a:pt x="274" y="145"/>
                    </a:cubicBezTo>
                    <a:cubicBezTo>
                      <a:pt x="274" y="144"/>
                      <a:pt x="274" y="144"/>
                      <a:pt x="274" y="144"/>
                    </a:cubicBezTo>
                    <a:close/>
                    <a:moveTo>
                      <a:pt x="278" y="149"/>
                    </a:moveTo>
                    <a:cubicBezTo>
                      <a:pt x="283" y="150"/>
                      <a:pt x="283" y="150"/>
                      <a:pt x="283" y="150"/>
                    </a:cubicBezTo>
                    <a:cubicBezTo>
                      <a:pt x="286" y="152"/>
                      <a:pt x="286" y="152"/>
                      <a:pt x="286" y="152"/>
                    </a:cubicBezTo>
                    <a:cubicBezTo>
                      <a:pt x="282" y="155"/>
                      <a:pt x="282" y="155"/>
                      <a:pt x="282" y="155"/>
                    </a:cubicBezTo>
                    <a:cubicBezTo>
                      <a:pt x="279" y="156"/>
                      <a:pt x="279" y="156"/>
                      <a:pt x="279" y="156"/>
                    </a:cubicBezTo>
                    <a:cubicBezTo>
                      <a:pt x="278" y="154"/>
                      <a:pt x="278" y="154"/>
                      <a:pt x="278" y="154"/>
                    </a:cubicBezTo>
                    <a:cubicBezTo>
                      <a:pt x="278" y="152"/>
                      <a:pt x="278" y="152"/>
                      <a:pt x="278" y="152"/>
                    </a:cubicBezTo>
                    <a:cubicBezTo>
                      <a:pt x="278" y="152"/>
                      <a:pt x="278" y="150"/>
                      <a:pt x="278" y="149"/>
                    </a:cubicBezTo>
                    <a:close/>
                    <a:moveTo>
                      <a:pt x="269" y="105"/>
                    </a:moveTo>
                    <a:cubicBezTo>
                      <a:pt x="272" y="100"/>
                      <a:pt x="272" y="100"/>
                      <a:pt x="272" y="100"/>
                    </a:cubicBezTo>
                    <a:cubicBezTo>
                      <a:pt x="276" y="94"/>
                      <a:pt x="276" y="94"/>
                      <a:pt x="276" y="94"/>
                    </a:cubicBezTo>
                    <a:cubicBezTo>
                      <a:pt x="278" y="91"/>
                      <a:pt x="278" y="91"/>
                      <a:pt x="278" y="91"/>
                    </a:cubicBezTo>
                    <a:cubicBezTo>
                      <a:pt x="281" y="90"/>
                      <a:pt x="281" y="90"/>
                      <a:pt x="281" y="90"/>
                    </a:cubicBezTo>
                    <a:cubicBezTo>
                      <a:pt x="285" y="97"/>
                      <a:pt x="285" y="97"/>
                      <a:pt x="285" y="97"/>
                    </a:cubicBezTo>
                    <a:cubicBezTo>
                      <a:pt x="292" y="101"/>
                      <a:pt x="292" y="101"/>
                      <a:pt x="292" y="101"/>
                    </a:cubicBezTo>
                    <a:cubicBezTo>
                      <a:pt x="292" y="103"/>
                      <a:pt x="292" y="103"/>
                      <a:pt x="292" y="103"/>
                    </a:cubicBezTo>
                    <a:cubicBezTo>
                      <a:pt x="296" y="107"/>
                      <a:pt x="296" y="107"/>
                      <a:pt x="296" y="107"/>
                    </a:cubicBezTo>
                    <a:cubicBezTo>
                      <a:pt x="298" y="110"/>
                      <a:pt x="298" y="110"/>
                      <a:pt x="298" y="110"/>
                    </a:cubicBezTo>
                    <a:cubicBezTo>
                      <a:pt x="301" y="110"/>
                      <a:pt x="301" y="110"/>
                      <a:pt x="301" y="110"/>
                    </a:cubicBezTo>
                    <a:cubicBezTo>
                      <a:pt x="306" y="109"/>
                      <a:pt x="306" y="109"/>
                      <a:pt x="306" y="109"/>
                    </a:cubicBezTo>
                    <a:cubicBezTo>
                      <a:pt x="307" y="107"/>
                      <a:pt x="307" y="107"/>
                      <a:pt x="307" y="107"/>
                    </a:cubicBezTo>
                    <a:cubicBezTo>
                      <a:pt x="312" y="107"/>
                      <a:pt x="312" y="107"/>
                      <a:pt x="312" y="107"/>
                    </a:cubicBezTo>
                    <a:cubicBezTo>
                      <a:pt x="315" y="106"/>
                      <a:pt x="315" y="106"/>
                      <a:pt x="315" y="106"/>
                    </a:cubicBezTo>
                    <a:cubicBezTo>
                      <a:pt x="325" y="106"/>
                      <a:pt x="325" y="106"/>
                      <a:pt x="325" y="106"/>
                    </a:cubicBezTo>
                    <a:cubicBezTo>
                      <a:pt x="336" y="102"/>
                      <a:pt x="336" y="102"/>
                      <a:pt x="336" y="102"/>
                    </a:cubicBezTo>
                    <a:cubicBezTo>
                      <a:pt x="339" y="100"/>
                      <a:pt x="339" y="100"/>
                      <a:pt x="339" y="100"/>
                    </a:cubicBezTo>
                    <a:cubicBezTo>
                      <a:pt x="348" y="99"/>
                      <a:pt x="348" y="99"/>
                      <a:pt x="348" y="99"/>
                    </a:cubicBezTo>
                    <a:cubicBezTo>
                      <a:pt x="353" y="102"/>
                      <a:pt x="353" y="102"/>
                      <a:pt x="353" y="102"/>
                    </a:cubicBezTo>
                    <a:cubicBezTo>
                      <a:pt x="354" y="104"/>
                      <a:pt x="354" y="104"/>
                      <a:pt x="354" y="104"/>
                    </a:cubicBezTo>
                    <a:cubicBezTo>
                      <a:pt x="359" y="104"/>
                      <a:pt x="359" y="104"/>
                      <a:pt x="359" y="104"/>
                    </a:cubicBezTo>
                    <a:cubicBezTo>
                      <a:pt x="367" y="100"/>
                      <a:pt x="367" y="100"/>
                      <a:pt x="367" y="100"/>
                    </a:cubicBezTo>
                    <a:cubicBezTo>
                      <a:pt x="376" y="98"/>
                      <a:pt x="376" y="98"/>
                      <a:pt x="376" y="98"/>
                    </a:cubicBezTo>
                    <a:cubicBezTo>
                      <a:pt x="375" y="96"/>
                      <a:pt x="375" y="96"/>
                      <a:pt x="375" y="96"/>
                    </a:cubicBezTo>
                    <a:cubicBezTo>
                      <a:pt x="383" y="84"/>
                      <a:pt x="383" y="84"/>
                      <a:pt x="383" y="84"/>
                    </a:cubicBezTo>
                    <a:cubicBezTo>
                      <a:pt x="386" y="77"/>
                      <a:pt x="386" y="77"/>
                      <a:pt x="386" y="77"/>
                    </a:cubicBezTo>
                    <a:cubicBezTo>
                      <a:pt x="392" y="68"/>
                      <a:pt x="392" y="68"/>
                      <a:pt x="392" y="68"/>
                    </a:cubicBezTo>
                    <a:cubicBezTo>
                      <a:pt x="396" y="54"/>
                      <a:pt x="396" y="54"/>
                      <a:pt x="396" y="54"/>
                    </a:cubicBezTo>
                    <a:cubicBezTo>
                      <a:pt x="396" y="51"/>
                      <a:pt x="396" y="51"/>
                      <a:pt x="396" y="51"/>
                    </a:cubicBezTo>
                    <a:cubicBezTo>
                      <a:pt x="398" y="48"/>
                      <a:pt x="398" y="48"/>
                      <a:pt x="398" y="48"/>
                    </a:cubicBezTo>
                    <a:cubicBezTo>
                      <a:pt x="398" y="45"/>
                      <a:pt x="398" y="45"/>
                      <a:pt x="398" y="45"/>
                    </a:cubicBezTo>
                    <a:cubicBezTo>
                      <a:pt x="402" y="41"/>
                      <a:pt x="402" y="41"/>
                      <a:pt x="402" y="41"/>
                    </a:cubicBezTo>
                    <a:cubicBezTo>
                      <a:pt x="405" y="42"/>
                      <a:pt x="405" y="42"/>
                      <a:pt x="405" y="42"/>
                    </a:cubicBezTo>
                    <a:cubicBezTo>
                      <a:pt x="411" y="42"/>
                      <a:pt x="411" y="42"/>
                      <a:pt x="411" y="42"/>
                    </a:cubicBezTo>
                    <a:cubicBezTo>
                      <a:pt x="420" y="42"/>
                      <a:pt x="420" y="42"/>
                      <a:pt x="420" y="42"/>
                    </a:cubicBezTo>
                    <a:cubicBezTo>
                      <a:pt x="422" y="43"/>
                      <a:pt x="422" y="43"/>
                      <a:pt x="422" y="43"/>
                    </a:cubicBezTo>
                    <a:cubicBezTo>
                      <a:pt x="427" y="43"/>
                      <a:pt x="427" y="43"/>
                      <a:pt x="427" y="43"/>
                    </a:cubicBezTo>
                    <a:cubicBezTo>
                      <a:pt x="431" y="44"/>
                      <a:pt x="431" y="44"/>
                      <a:pt x="431" y="44"/>
                    </a:cubicBezTo>
                    <a:cubicBezTo>
                      <a:pt x="431" y="45"/>
                      <a:pt x="431" y="45"/>
                      <a:pt x="431" y="45"/>
                    </a:cubicBezTo>
                    <a:cubicBezTo>
                      <a:pt x="429" y="46"/>
                      <a:pt x="429" y="46"/>
                      <a:pt x="429" y="46"/>
                    </a:cubicBezTo>
                    <a:cubicBezTo>
                      <a:pt x="429" y="47"/>
                      <a:pt x="429" y="47"/>
                      <a:pt x="429" y="47"/>
                    </a:cubicBezTo>
                    <a:cubicBezTo>
                      <a:pt x="428" y="49"/>
                      <a:pt x="428" y="49"/>
                      <a:pt x="428" y="49"/>
                    </a:cubicBezTo>
                    <a:cubicBezTo>
                      <a:pt x="432" y="51"/>
                      <a:pt x="432" y="51"/>
                      <a:pt x="432" y="51"/>
                    </a:cubicBezTo>
                    <a:cubicBezTo>
                      <a:pt x="436" y="55"/>
                      <a:pt x="436" y="55"/>
                      <a:pt x="436" y="55"/>
                    </a:cubicBezTo>
                    <a:cubicBezTo>
                      <a:pt x="431" y="56"/>
                      <a:pt x="431" y="56"/>
                      <a:pt x="431" y="56"/>
                    </a:cubicBezTo>
                    <a:cubicBezTo>
                      <a:pt x="427" y="55"/>
                      <a:pt x="427" y="55"/>
                      <a:pt x="427" y="55"/>
                    </a:cubicBezTo>
                    <a:cubicBezTo>
                      <a:pt x="425" y="57"/>
                      <a:pt x="425" y="57"/>
                      <a:pt x="425" y="57"/>
                    </a:cubicBezTo>
                    <a:cubicBezTo>
                      <a:pt x="428" y="60"/>
                      <a:pt x="428" y="60"/>
                      <a:pt x="428" y="60"/>
                    </a:cubicBezTo>
                    <a:cubicBezTo>
                      <a:pt x="430" y="61"/>
                      <a:pt x="430" y="61"/>
                      <a:pt x="430" y="61"/>
                    </a:cubicBezTo>
                    <a:cubicBezTo>
                      <a:pt x="431" y="63"/>
                      <a:pt x="431" y="63"/>
                      <a:pt x="431" y="63"/>
                    </a:cubicBezTo>
                    <a:cubicBezTo>
                      <a:pt x="429" y="63"/>
                      <a:pt x="429" y="63"/>
                      <a:pt x="429" y="63"/>
                    </a:cubicBezTo>
                    <a:cubicBezTo>
                      <a:pt x="427" y="66"/>
                      <a:pt x="427" y="66"/>
                      <a:pt x="427" y="66"/>
                    </a:cubicBezTo>
                    <a:cubicBezTo>
                      <a:pt x="431" y="69"/>
                      <a:pt x="431" y="69"/>
                      <a:pt x="431" y="69"/>
                    </a:cubicBezTo>
                    <a:cubicBezTo>
                      <a:pt x="432" y="73"/>
                      <a:pt x="432" y="73"/>
                      <a:pt x="432" y="73"/>
                    </a:cubicBezTo>
                    <a:cubicBezTo>
                      <a:pt x="438" y="79"/>
                      <a:pt x="438" y="79"/>
                      <a:pt x="438" y="79"/>
                    </a:cubicBezTo>
                    <a:cubicBezTo>
                      <a:pt x="441" y="82"/>
                      <a:pt x="441" y="82"/>
                      <a:pt x="441" y="82"/>
                    </a:cubicBezTo>
                    <a:cubicBezTo>
                      <a:pt x="439" y="85"/>
                      <a:pt x="439" y="85"/>
                      <a:pt x="439" y="85"/>
                    </a:cubicBezTo>
                    <a:cubicBezTo>
                      <a:pt x="434" y="86"/>
                      <a:pt x="434" y="86"/>
                      <a:pt x="434" y="86"/>
                    </a:cubicBezTo>
                    <a:cubicBezTo>
                      <a:pt x="434" y="88"/>
                      <a:pt x="434" y="88"/>
                      <a:pt x="434" y="88"/>
                    </a:cubicBezTo>
                    <a:cubicBezTo>
                      <a:pt x="435" y="90"/>
                      <a:pt x="435" y="90"/>
                      <a:pt x="435" y="90"/>
                    </a:cubicBezTo>
                    <a:cubicBezTo>
                      <a:pt x="436" y="93"/>
                      <a:pt x="436" y="93"/>
                      <a:pt x="436" y="93"/>
                    </a:cubicBezTo>
                    <a:cubicBezTo>
                      <a:pt x="439" y="95"/>
                      <a:pt x="439" y="95"/>
                      <a:pt x="439" y="95"/>
                    </a:cubicBezTo>
                    <a:cubicBezTo>
                      <a:pt x="447" y="102"/>
                      <a:pt x="447" y="102"/>
                      <a:pt x="447" y="102"/>
                    </a:cubicBezTo>
                    <a:cubicBezTo>
                      <a:pt x="450" y="102"/>
                      <a:pt x="450" y="102"/>
                      <a:pt x="450" y="102"/>
                    </a:cubicBezTo>
                    <a:cubicBezTo>
                      <a:pt x="453" y="105"/>
                      <a:pt x="453" y="105"/>
                      <a:pt x="453" y="105"/>
                    </a:cubicBezTo>
                    <a:cubicBezTo>
                      <a:pt x="454" y="108"/>
                      <a:pt x="454" y="108"/>
                      <a:pt x="454" y="108"/>
                    </a:cubicBezTo>
                    <a:cubicBezTo>
                      <a:pt x="457" y="108"/>
                      <a:pt x="457" y="108"/>
                      <a:pt x="457" y="108"/>
                    </a:cubicBezTo>
                    <a:cubicBezTo>
                      <a:pt x="456" y="112"/>
                      <a:pt x="456" y="112"/>
                      <a:pt x="456" y="112"/>
                    </a:cubicBezTo>
                    <a:cubicBezTo>
                      <a:pt x="454" y="113"/>
                      <a:pt x="454" y="113"/>
                      <a:pt x="454" y="113"/>
                    </a:cubicBezTo>
                    <a:cubicBezTo>
                      <a:pt x="451" y="112"/>
                      <a:pt x="451" y="112"/>
                      <a:pt x="451" y="112"/>
                    </a:cubicBezTo>
                    <a:cubicBezTo>
                      <a:pt x="449" y="114"/>
                      <a:pt x="449" y="114"/>
                      <a:pt x="449" y="114"/>
                    </a:cubicBezTo>
                    <a:cubicBezTo>
                      <a:pt x="444" y="113"/>
                      <a:pt x="444" y="113"/>
                      <a:pt x="444" y="113"/>
                    </a:cubicBezTo>
                    <a:cubicBezTo>
                      <a:pt x="438" y="107"/>
                      <a:pt x="438" y="107"/>
                      <a:pt x="438" y="107"/>
                    </a:cubicBezTo>
                    <a:cubicBezTo>
                      <a:pt x="439" y="112"/>
                      <a:pt x="439" y="112"/>
                      <a:pt x="439" y="112"/>
                    </a:cubicBezTo>
                    <a:cubicBezTo>
                      <a:pt x="438" y="114"/>
                      <a:pt x="438" y="114"/>
                      <a:pt x="438" y="114"/>
                    </a:cubicBezTo>
                    <a:cubicBezTo>
                      <a:pt x="436" y="112"/>
                      <a:pt x="436" y="112"/>
                      <a:pt x="436" y="112"/>
                    </a:cubicBezTo>
                    <a:cubicBezTo>
                      <a:pt x="432" y="116"/>
                      <a:pt x="432" y="116"/>
                      <a:pt x="432" y="116"/>
                    </a:cubicBezTo>
                    <a:cubicBezTo>
                      <a:pt x="432" y="118"/>
                      <a:pt x="432" y="118"/>
                      <a:pt x="432" y="118"/>
                    </a:cubicBezTo>
                    <a:cubicBezTo>
                      <a:pt x="430" y="120"/>
                      <a:pt x="430" y="120"/>
                      <a:pt x="430" y="120"/>
                    </a:cubicBezTo>
                    <a:cubicBezTo>
                      <a:pt x="430" y="127"/>
                      <a:pt x="430" y="127"/>
                      <a:pt x="430" y="127"/>
                    </a:cubicBezTo>
                    <a:cubicBezTo>
                      <a:pt x="428" y="130"/>
                      <a:pt x="428" y="130"/>
                      <a:pt x="428" y="130"/>
                    </a:cubicBezTo>
                    <a:cubicBezTo>
                      <a:pt x="427" y="136"/>
                      <a:pt x="427" y="136"/>
                      <a:pt x="427" y="136"/>
                    </a:cubicBezTo>
                    <a:cubicBezTo>
                      <a:pt x="422" y="140"/>
                      <a:pt x="422" y="140"/>
                      <a:pt x="422" y="140"/>
                    </a:cubicBezTo>
                    <a:cubicBezTo>
                      <a:pt x="423" y="145"/>
                      <a:pt x="423" y="145"/>
                      <a:pt x="423" y="145"/>
                    </a:cubicBezTo>
                    <a:cubicBezTo>
                      <a:pt x="421" y="148"/>
                      <a:pt x="421" y="148"/>
                      <a:pt x="421" y="148"/>
                    </a:cubicBezTo>
                    <a:cubicBezTo>
                      <a:pt x="418" y="152"/>
                      <a:pt x="418" y="152"/>
                      <a:pt x="418" y="152"/>
                    </a:cubicBezTo>
                    <a:cubicBezTo>
                      <a:pt x="416" y="148"/>
                      <a:pt x="416" y="148"/>
                      <a:pt x="416" y="148"/>
                    </a:cubicBezTo>
                    <a:cubicBezTo>
                      <a:pt x="414" y="147"/>
                      <a:pt x="414" y="147"/>
                      <a:pt x="414" y="147"/>
                    </a:cubicBezTo>
                    <a:cubicBezTo>
                      <a:pt x="415" y="150"/>
                      <a:pt x="415" y="150"/>
                      <a:pt x="415" y="150"/>
                    </a:cubicBezTo>
                    <a:cubicBezTo>
                      <a:pt x="415" y="154"/>
                      <a:pt x="415" y="154"/>
                      <a:pt x="415" y="154"/>
                    </a:cubicBezTo>
                    <a:cubicBezTo>
                      <a:pt x="412" y="157"/>
                      <a:pt x="412" y="157"/>
                      <a:pt x="412" y="157"/>
                    </a:cubicBezTo>
                    <a:cubicBezTo>
                      <a:pt x="411" y="161"/>
                      <a:pt x="411" y="161"/>
                      <a:pt x="411" y="161"/>
                    </a:cubicBezTo>
                    <a:cubicBezTo>
                      <a:pt x="408" y="162"/>
                      <a:pt x="408" y="162"/>
                      <a:pt x="408" y="162"/>
                    </a:cubicBezTo>
                    <a:cubicBezTo>
                      <a:pt x="405" y="162"/>
                      <a:pt x="405" y="162"/>
                      <a:pt x="405" y="162"/>
                    </a:cubicBezTo>
                    <a:cubicBezTo>
                      <a:pt x="406" y="163"/>
                      <a:pt x="406" y="163"/>
                      <a:pt x="406" y="163"/>
                    </a:cubicBezTo>
                    <a:cubicBezTo>
                      <a:pt x="404" y="165"/>
                      <a:pt x="404" y="165"/>
                      <a:pt x="404" y="165"/>
                    </a:cubicBezTo>
                    <a:cubicBezTo>
                      <a:pt x="409" y="165"/>
                      <a:pt x="409" y="165"/>
                      <a:pt x="409" y="165"/>
                    </a:cubicBezTo>
                    <a:cubicBezTo>
                      <a:pt x="410" y="166"/>
                      <a:pt x="410" y="166"/>
                      <a:pt x="410" y="166"/>
                    </a:cubicBezTo>
                    <a:cubicBezTo>
                      <a:pt x="409" y="169"/>
                      <a:pt x="409" y="169"/>
                      <a:pt x="409" y="169"/>
                    </a:cubicBezTo>
                    <a:cubicBezTo>
                      <a:pt x="407" y="171"/>
                      <a:pt x="407" y="171"/>
                      <a:pt x="407" y="171"/>
                    </a:cubicBezTo>
                    <a:cubicBezTo>
                      <a:pt x="408" y="171"/>
                      <a:pt x="408" y="171"/>
                      <a:pt x="408" y="171"/>
                    </a:cubicBezTo>
                    <a:cubicBezTo>
                      <a:pt x="410" y="171"/>
                      <a:pt x="410" y="171"/>
                      <a:pt x="410" y="171"/>
                    </a:cubicBezTo>
                    <a:cubicBezTo>
                      <a:pt x="411" y="174"/>
                      <a:pt x="411" y="174"/>
                      <a:pt x="411" y="174"/>
                    </a:cubicBezTo>
                    <a:cubicBezTo>
                      <a:pt x="410" y="177"/>
                      <a:pt x="410" y="177"/>
                      <a:pt x="410" y="177"/>
                    </a:cubicBezTo>
                    <a:cubicBezTo>
                      <a:pt x="407" y="176"/>
                      <a:pt x="407" y="176"/>
                      <a:pt x="407" y="176"/>
                    </a:cubicBezTo>
                    <a:cubicBezTo>
                      <a:pt x="406" y="175"/>
                      <a:pt x="406" y="175"/>
                      <a:pt x="406" y="175"/>
                    </a:cubicBezTo>
                    <a:cubicBezTo>
                      <a:pt x="406" y="177"/>
                      <a:pt x="406" y="177"/>
                      <a:pt x="406" y="177"/>
                    </a:cubicBezTo>
                    <a:cubicBezTo>
                      <a:pt x="408" y="178"/>
                      <a:pt x="408" y="178"/>
                      <a:pt x="408" y="178"/>
                    </a:cubicBezTo>
                    <a:cubicBezTo>
                      <a:pt x="409" y="179"/>
                      <a:pt x="409" y="179"/>
                      <a:pt x="409" y="179"/>
                    </a:cubicBezTo>
                    <a:cubicBezTo>
                      <a:pt x="406" y="185"/>
                      <a:pt x="406" y="185"/>
                      <a:pt x="406" y="185"/>
                    </a:cubicBezTo>
                    <a:cubicBezTo>
                      <a:pt x="404" y="185"/>
                      <a:pt x="404" y="185"/>
                      <a:pt x="404" y="185"/>
                    </a:cubicBezTo>
                    <a:cubicBezTo>
                      <a:pt x="403" y="184"/>
                      <a:pt x="403" y="184"/>
                      <a:pt x="403" y="184"/>
                    </a:cubicBezTo>
                    <a:cubicBezTo>
                      <a:pt x="402" y="188"/>
                      <a:pt x="402" y="188"/>
                      <a:pt x="402" y="188"/>
                    </a:cubicBezTo>
                    <a:cubicBezTo>
                      <a:pt x="402" y="191"/>
                      <a:pt x="402" y="191"/>
                      <a:pt x="402" y="191"/>
                    </a:cubicBezTo>
                    <a:cubicBezTo>
                      <a:pt x="398" y="198"/>
                      <a:pt x="398" y="198"/>
                      <a:pt x="398" y="198"/>
                    </a:cubicBezTo>
                    <a:cubicBezTo>
                      <a:pt x="391" y="202"/>
                      <a:pt x="391" y="202"/>
                      <a:pt x="391" y="202"/>
                    </a:cubicBezTo>
                    <a:cubicBezTo>
                      <a:pt x="386" y="203"/>
                      <a:pt x="386" y="203"/>
                      <a:pt x="386" y="203"/>
                    </a:cubicBezTo>
                    <a:cubicBezTo>
                      <a:pt x="378" y="207"/>
                      <a:pt x="378" y="207"/>
                      <a:pt x="378" y="207"/>
                    </a:cubicBezTo>
                    <a:cubicBezTo>
                      <a:pt x="374" y="207"/>
                      <a:pt x="374" y="207"/>
                      <a:pt x="374" y="207"/>
                    </a:cubicBezTo>
                    <a:cubicBezTo>
                      <a:pt x="373" y="202"/>
                      <a:pt x="373" y="202"/>
                      <a:pt x="373" y="202"/>
                    </a:cubicBezTo>
                    <a:cubicBezTo>
                      <a:pt x="374" y="199"/>
                      <a:pt x="374" y="199"/>
                      <a:pt x="374" y="199"/>
                    </a:cubicBezTo>
                    <a:cubicBezTo>
                      <a:pt x="372" y="197"/>
                      <a:pt x="372" y="197"/>
                      <a:pt x="372" y="197"/>
                    </a:cubicBezTo>
                    <a:cubicBezTo>
                      <a:pt x="371" y="195"/>
                      <a:pt x="371" y="195"/>
                      <a:pt x="371" y="195"/>
                    </a:cubicBezTo>
                    <a:cubicBezTo>
                      <a:pt x="369" y="196"/>
                      <a:pt x="369" y="196"/>
                      <a:pt x="369" y="196"/>
                    </a:cubicBezTo>
                    <a:cubicBezTo>
                      <a:pt x="367" y="193"/>
                      <a:pt x="367" y="193"/>
                      <a:pt x="367" y="193"/>
                    </a:cubicBezTo>
                    <a:cubicBezTo>
                      <a:pt x="365" y="194"/>
                      <a:pt x="365" y="194"/>
                      <a:pt x="365" y="194"/>
                    </a:cubicBezTo>
                    <a:cubicBezTo>
                      <a:pt x="362" y="194"/>
                      <a:pt x="362" y="194"/>
                      <a:pt x="362" y="194"/>
                    </a:cubicBezTo>
                    <a:cubicBezTo>
                      <a:pt x="361" y="191"/>
                      <a:pt x="361" y="191"/>
                      <a:pt x="361" y="191"/>
                    </a:cubicBezTo>
                    <a:cubicBezTo>
                      <a:pt x="359" y="194"/>
                      <a:pt x="359" y="194"/>
                      <a:pt x="359" y="194"/>
                    </a:cubicBezTo>
                    <a:cubicBezTo>
                      <a:pt x="361" y="196"/>
                      <a:pt x="361" y="196"/>
                      <a:pt x="361" y="196"/>
                    </a:cubicBezTo>
                    <a:cubicBezTo>
                      <a:pt x="357" y="195"/>
                      <a:pt x="357" y="195"/>
                      <a:pt x="357" y="195"/>
                    </a:cubicBezTo>
                    <a:cubicBezTo>
                      <a:pt x="356" y="193"/>
                      <a:pt x="356" y="193"/>
                      <a:pt x="356" y="193"/>
                    </a:cubicBezTo>
                    <a:cubicBezTo>
                      <a:pt x="356" y="190"/>
                      <a:pt x="356" y="190"/>
                      <a:pt x="356" y="190"/>
                    </a:cubicBezTo>
                    <a:cubicBezTo>
                      <a:pt x="354" y="188"/>
                      <a:pt x="354" y="188"/>
                      <a:pt x="354" y="188"/>
                    </a:cubicBezTo>
                    <a:cubicBezTo>
                      <a:pt x="351" y="190"/>
                      <a:pt x="351" y="190"/>
                      <a:pt x="351" y="190"/>
                    </a:cubicBezTo>
                    <a:cubicBezTo>
                      <a:pt x="348" y="188"/>
                      <a:pt x="348" y="188"/>
                      <a:pt x="348" y="188"/>
                    </a:cubicBezTo>
                    <a:cubicBezTo>
                      <a:pt x="346" y="188"/>
                      <a:pt x="346" y="188"/>
                      <a:pt x="346" y="188"/>
                    </a:cubicBezTo>
                    <a:cubicBezTo>
                      <a:pt x="343" y="191"/>
                      <a:pt x="343" y="191"/>
                      <a:pt x="343" y="191"/>
                    </a:cubicBezTo>
                    <a:cubicBezTo>
                      <a:pt x="338" y="192"/>
                      <a:pt x="338" y="192"/>
                      <a:pt x="338" y="192"/>
                    </a:cubicBezTo>
                    <a:cubicBezTo>
                      <a:pt x="337" y="194"/>
                      <a:pt x="337" y="194"/>
                      <a:pt x="337" y="194"/>
                    </a:cubicBezTo>
                    <a:cubicBezTo>
                      <a:pt x="334" y="194"/>
                      <a:pt x="334" y="194"/>
                      <a:pt x="334" y="194"/>
                    </a:cubicBezTo>
                    <a:cubicBezTo>
                      <a:pt x="332" y="192"/>
                      <a:pt x="332" y="192"/>
                      <a:pt x="332" y="192"/>
                    </a:cubicBezTo>
                    <a:cubicBezTo>
                      <a:pt x="330" y="193"/>
                      <a:pt x="330" y="193"/>
                      <a:pt x="330" y="193"/>
                    </a:cubicBezTo>
                    <a:cubicBezTo>
                      <a:pt x="326" y="198"/>
                      <a:pt x="326" y="198"/>
                      <a:pt x="326" y="198"/>
                    </a:cubicBezTo>
                    <a:cubicBezTo>
                      <a:pt x="323" y="198"/>
                      <a:pt x="323" y="198"/>
                      <a:pt x="323" y="198"/>
                    </a:cubicBezTo>
                    <a:cubicBezTo>
                      <a:pt x="323" y="195"/>
                      <a:pt x="323" y="195"/>
                      <a:pt x="323" y="195"/>
                    </a:cubicBezTo>
                    <a:cubicBezTo>
                      <a:pt x="323" y="189"/>
                      <a:pt x="323" y="189"/>
                      <a:pt x="323" y="189"/>
                    </a:cubicBezTo>
                    <a:cubicBezTo>
                      <a:pt x="321" y="184"/>
                      <a:pt x="321" y="184"/>
                      <a:pt x="321" y="184"/>
                    </a:cubicBezTo>
                    <a:cubicBezTo>
                      <a:pt x="322" y="181"/>
                      <a:pt x="322" y="181"/>
                      <a:pt x="322" y="181"/>
                    </a:cubicBezTo>
                    <a:cubicBezTo>
                      <a:pt x="321" y="179"/>
                      <a:pt x="321" y="179"/>
                      <a:pt x="321" y="179"/>
                    </a:cubicBezTo>
                    <a:cubicBezTo>
                      <a:pt x="321" y="181"/>
                      <a:pt x="321" y="181"/>
                      <a:pt x="321" y="181"/>
                    </a:cubicBezTo>
                    <a:cubicBezTo>
                      <a:pt x="319" y="184"/>
                      <a:pt x="319" y="184"/>
                      <a:pt x="319" y="184"/>
                    </a:cubicBezTo>
                    <a:cubicBezTo>
                      <a:pt x="317" y="186"/>
                      <a:pt x="317" y="186"/>
                      <a:pt x="317" y="186"/>
                    </a:cubicBezTo>
                    <a:cubicBezTo>
                      <a:pt x="315" y="184"/>
                      <a:pt x="315" y="184"/>
                      <a:pt x="315" y="184"/>
                    </a:cubicBezTo>
                    <a:cubicBezTo>
                      <a:pt x="311" y="187"/>
                      <a:pt x="311" y="187"/>
                      <a:pt x="311" y="187"/>
                    </a:cubicBezTo>
                    <a:cubicBezTo>
                      <a:pt x="307" y="187"/>
                      <a:pt x="307" y="187"/>
                      <a:pt x="307" y="187"/>
                    </a:cubicBezTo>
                    <a:cubicBezTo>
                      <a:pt x="304" y="186"/>
                      <a:pt x="304" y="186"/>
                      <a:pt x="304" y="186"/>
                    </a:cubicBezTo>
                    <a:cubicBezTo>
                      <a:pt x="300" y="186"/>
                      <a:pt x="300" y="186"/>
                      <a:pt x="300" y="186"/>
                    </a:cubicBezTo>
                    <a:cubicBezTo>
                      <a:pt x="298" y="183"/>
                      <a:pt x="298" y="183"/>
                      <a:pt x="298" y="183"/>
                    </a:cubicBezTo>
                    <a:cubicBezTo>
                      <a:pt x="295" y="186"/>
                      <a:pt x="295" y="186"/>
                      <a:pt x="295" y="186"/>
                    </a:cubicBezTo>
                    <a:cubicBezTo>
                      <a:pt x="293" y="186"/>
                      <a:pt x="293" y="186"/>
                      <a:pt x="293" y="186"/>
                    </a:cubicBezTo>
                    <a:cubicBezTo>
                      <a:pt x="291" y="181"/>
                      <a:pt x="291" y="181"/>
                      <a:pt x="291" y="181"/>
                    </a:cubicBezTo>
                    <a:cubicBezTo>
                      <a:pt x="291" y="176"/>
                      <a:pt x="291" y="176"/>
                      <a:pt x="291" y="176"/>
                    </a:cubicBezTo>
                    <a:cubicBezTo>
                      <a:pt x="290" y="168"/>
                      <a:pt x="290" y="168"/>
                      <a:pt x="290" y="168"/>
                    </a:cubicBezTo>
                    <a:cubicBezTo>
                      <a:pt x="287" y="166"/>
                      <a:pt x="287" y="166"/>
                      <a:pt x="287" y="166"/>
                    </a:cubicBezTo>
                    <a:cubicBezTo>
                      <a:pt x="286" y="163"/>
                      <a:pt x="286" y="163"/>
                      <a:pt x="286" y="163"/>
                    </a:cubicBezTo>
                    <a:cubicBezTo>
                      <a:pt x="288" y="161"/>
                      <a:pt x="288" y="161"/>
                      <a:pt x="288" y="161"/>
                    </a:cubicBezTo>
                    <a:cubicBezTo>
                      <a:pt x="290" y="157"/>
                      <a:pt x="290" y="157"/>
                      <a:pt x="290" y="157"/>
                    </a:cubicBezTo>
                    <a:cubicBezTo>
                      <a:pt x="290" y="154"/>
                      <a:pt x="290" y="154"/>
                      <a:pt x="290" y="154"/>
                    </a:cubicBezTo>
                    <a:cubicBezTo>
                      <a:pt x="288" y="151"/>
                      <a:pt x="288" y="151"/>
                      <a:pt x="288" y="151"/>
                    </a:cubicBezTo>
                    <a:cubicBezTo>
                      <a:pt x="283" y="145"/>
                      <a:pt x="283" y="145"/>
                      <a:pt x="283" y="145"/>
                    </a:cubicBezTo>
                    <a:cubicBezTo>
                      <a:pt x="278" y="143"/>
                      <a:pt x="278" y="143"/>
                      <a:pt x="278" y="143"/>
                    </a:cubicBezTo>
                    <a:cubicBezTo>
                      <a:pt x="273" y="142"/>
                      <a:pt x="273" y="142"/>
                      <a:pt x="273" y="142"/>
                    </a:cubicBezTo>
                    <a:cubicBezTo>
                      <a:pt x="273" y="140"/>
                      <a:pt x="273" y="140"/>
                      <a:pt x="273" y="140"/>
                    </a:cubicBezTo>
                    <a:cubicBezTo>
                      <a:pt x="277" y="140"/>
                      <a:pt x="277" y="140"/>
                      <a:pt x="277" y="140"/>
                    </a:cubicBezTo>
                    <a:cubicBezTo>
                      <a:pt x="280" y="137"/>
                      <a:pt x="280" y="137"/>
                      <a:pt x="280" y="137"/>
                    </a:cubicBezTo>
                    <a:cubicBezTo>
                      <a:pt x="286" y="136"/>
                      <a:pt x="286" y="136"/>
                      <a:pt x="286" y="136"/>
                    </a:cubicBezTo>
                    <a:cubicBezTo>
                      <a:pt x="291" y="132"/>
                      <a:pt x="291" y="132"/>
                      <a:pt x="291" y="132"/>
                    </a:cubicBezTo>
                    <a:cubicBezTo>
                      <a:pt x="295" y="133"/>
                      <a:pt x="295" y="133"/>
                      <a:pt x="295" y="133"/>
                    </a:cubicBezTo>
                    <a:cubicBezTo>
                      <a:pt x="291" y="132"/>
                      <a:pt x="291" y="132"/>
                      <a:pt x="291" y="132"/>
                    </a:cubicBezTo>
                    <a:cubicBezTo>
                      <a:pt x="286" y="135"/>
                      <a:pt x="286" y="135"/>
                      <a:pt x="286" y="135"/>
                    </a:cubicBezTo>
                    <a:cubicBezTo>
                      <a:pt x="280" y="136"/>
                      <a:pt x="280" y="136"/>
                      <a:pt x="280" y="136"/>
                    </a:cubicBezTo>
                    <a:cubicBezTo>
                      <a:pt x="278" y="136"/>
                      <a:pt x="278" y="136"/>
                      <a:pt x="278" y="136"/>
                    </a:cubicBezTo>
                    <a:cubicBezTo>
                      <a:pt x="274" y="135"/>
                      <a:pt x="274" y="135"/>
                      <a:pt x="274" y="135"/>
                    </a:cubicBezTo>
                    <a:cubicBezTo>
                      <a:pt x="271" y="131"/>
                      <a:pt x="271" y="131"/>
                      <a:pt x="271" y="131"/>
                    </a:cubicBezTo>
                    <a:cubicBezTo>
                      <a:pt x="272" y="130"/>
                      <a:pt x="272" y="130"/>
                      <a:pt x="272" y="130"/>
                    </a:cubicBezTo>
                    <a:cubicBezTo>
                      <a:pt x="275" y="131"/>
                      <a:pt x="275" y="131"/>
                      <a:pt x="275" y="131"/>
                    </a:cubicBezTo>
                    <a:cubicBezTo>
                      <a:pt x="273" y="128"/>
                      <a:pt x="273" y="128"/>
                      <a:pt x="273" y="128"/>
                    </a:cubicBezTo>
                    <a:cubicBezTo>
                      <a:pt x="267" y="121"/>
                      <a:pt x="267" y="121"/>
                      <a:pt x="267" y="121"/>
                    </a:cubicBezTo>
                    <a:cubicBezTo>
                      <a:pt x="267" y="114"/>
                      <a:pt x="267" y="114"/>
                      <a:pt x="267" y="114"/>
                    </a:cubicBezTo>
                    <a:cubicBezTo>
                      <a:pt x="269" y="112"/>
                      <a:pt x="269" y="112"/>
                      <a:pt x="269" y="112"/>
                    </a:cubicBezTo>
                    <a:cubicBezTo>
                      <a:pt x="270" y="110"/>
                      <a:pt x="270" y="110"/>
                      <a:pt x="270" y="110"/>
                    </a:cubicBezTo>
                    <a:cubicBezTo>
                      <a:pt x="269" y="108"/>
                      <a:pt x="269" y="108"/>
                      <a:pt x="269" y="108"/>
                    </a:cubicBezTo>
                    <a:cubicBezTo>
                      <a:pt x="269" y="105"/>
                      <a:pt x="269" y="105"/>
                      <a:pt x="269" y="105"/>
                    </a:cubicBezTo>
                    <a:close/>
                    <a:moveTo>
                      <a:pt x="767" y="145"/>
                    </a:moveTo>
                    <a:cubicBezTo>
                      <a:pt x="765" y="146"/>
                      <a:pt x="765" y="146"/>
                      <a:pt x="765" y="146"/>
                    </a:cubicBezTo>
                    <a:cubicBezTo>
                      <a:pt x="767" y="148"/>
                      <a:pt x="767" y="148"/>
                      <a:pt x="767" y="148"/>
                    </a:cubicBezTo>
                    <a:cubicBezTo>
                      <a:pt x="769" y="147"/>
                      <a:pt x="769" y="147"/>
                      <a:pt x="769" y="147"/>
                    </a:cubicBezTo>
                    <a:cubicBezTo>
                      <a:pt x="767" y="145"/>
                      <a:pt x="767" y="145"/>
                      <a:pt x="767" y="145"/>
                    </a:cubicBezTo>
                    <a:close/>
                    <a:moveTo>
                      <a:pt x="775" y="157"/>
                    </a:moveTo>
                    <a:cubicBezTo>
                      <a:pt x="770" y="157"/>
                      <a:pt x="770" y="157"/>
                      <a:pt x="770" y="157"/>
                    </a:cubicBezTo>
                    <a:cubicBezTo>
                      <a:pt x="773" y="158"/>
                      <a:pt x="773" y="158"/>
                      <a:pt x="773" y="158"/>
                    </a:cubicBezTo>
                    <a:cubicBezTo>
                      <a:pt x="775" y="157"/>
                      <a:pt x="775" y="157"/>
                      <a:pt x="775" y="157"/>
                    </a:cubicBezTo>
                    <a:close/>
                    <a:moveTo>
                      <a:pt x="778" y="158"/>
                    </a:moveTo>
                    <a:cubicBezTo>
                      <a:pt x="779" y="160"/>
                      <a:pt x="779" y="160"/>
                      <a:pt x="779" y="160"/>
                    </a:cubicBezTo>
                    <a:cubicBezTo>
                      <a:pt x="786" y="162"/>
                      <a:pt x="786" y="162"/>
                      <a:pt x="786" y="162"/>
                    </a:cubicBezTo>
                    <a:cubicBezTo>
                      <a:pt x="794" y="163"/>
                      <a:pt x="794" y="163"/>
                      <a:pt x="794" y="163"/>
                    </a:cubicBezTo>
                    <a:cubicBezTo>
                      <a:pt x="802" y="162"/>
                      <a:pt x="802" y="162"/>
                      <a:pt x="802" y="162"/>
                    </a:cubicBezTo>
                    <a:cubicBezTo>
                      <a:pt x="805" y="161"/>
                      <a:pt x="805" y="161"/>
                      <a:pt x="805" y="161"/>
                    </a:cubicBezTo>
                    <a:cubicBezTo>
                      <a:pt x="798" y="159"/>
                      <a:pt x="798" y="159"/>
                      <a:pt x="798" y="159"/>
                    </a:cubicBezTo>
                    <a:cubicBezTo>
                      <a:pt x="795" y="160"/>
                      <a:pt x="795" y="160"/>
                      <a:pt x="795" y="160"/>
                    </a:cubicBezTo>
                    <a:cubicBezTo>
                      <a:pt x="789" y="159"/>
                      <a:pt x="789" y="159"/>
                      <a:pt x="789" y="159"/>
                    </a:cubicBezTo>
                    <a:cubicBezTo>
                      <a:pt x="785" y="160"/>
                      <a:pt x="785" y="160"/>
                      <a:pt x="785" y="160"/>
                    </a:cubicBezTo>
                    <a:cubicBezTo>
                      <a:pt x="778" y="158"/>
                      <a:pt x="778" y="158"/>
                      <a:pt x="778" y="158"/>
                    </a:cubicBezTo>
                    <a:close/>
                    <a:moveTo>
                      <a:pt x="778" y="140"/>
                    </a:moveTo>
                    <a:cubicBezTo>
                      <a:pt x="781" y="143"/>
                      <a:pt x="781" y="143"/>
                      <a:pt x="781" y="143"/>
                    </a:cubicBezTo>
                    <a:cubicBezTo>
                      <a:pt x="781" y="141"/>
                      <a:pt x="781" y="141"/>
                      <a:pt x="781" y="141"/>
                    </a:cubicBezTo>
                    <a:cubicBezTo>
                      <a:pt x="783" y="141"/>
                      <a:pt x="783" y="141"/>
                      <a:pt x="783" y="141"/>
                    </a:cubicBezTo>
                    <a:cubicBezTo>
                      <a:pt x="787" y="146"/>
                      <a:pt x="787" y="146"/>
                      <a:pt x="787" y="146"/>
                    </a:cubicBezTo>
                    <a:cubicBezTo>
                      <a:pt x="786" y="148"/>
                      <a:pt x="786" y="148"/>
                      <a:pt x="786" y="148"/>
                    </a:cubicBezTo>
                    <a:cubicBezTo>
                      <a:pt x="789" y="149"/>
                      <a:pt x="789" y="149"/>
                      <a:pt x="789" y="149"/>
                    </a:cubicBezTo>
                    <a:cubicBezTo>
                      <a:pt x="790" y="149"/>
                      <a:pt x="790" y="149"/>
                      <a:pt x="790" y="149"/>
                    </a:cubicBezTo>
                    <a:cubicBezTo>
                      <a:pt x="792" y="149"/>
                      <a:pt x="792" y="149"/>
                      <a:pt x="792" y="149"/>
                    </a:cubicBezTo>
                    <a:cubicBezTo>
                      <a:pt x="796" y="149"/>
                      <a:pt x="796" y="149"/>
                      <a:pt x="796" y="149"/>
                    </a:cubicBezTo>
                    <a:cubicBezTo>
                      <a:pt x="794" y="147"/>
                      <a:pt x="794" y="147"/>
                      <a:pt x="794" y="147"/>
                    </a:cubicBezTo>
                    <a:cubicBezTo>
                      <a:pt x="792" y="146"/>
                      <a:pt x="792" y="146"/>
                      <a:pt x="792" y="146"/>
                    </a:cubicBezTo>
                    <a:cubicBezTo>
                      <a:pt x="789" y="142"/>
                      <a:pt x="789" y="142"/>
                      <a:pt x="789" y="142"/>
                    </a:cubicBezTo>
                    <a:cubicBezTo>
                      <a:pt x="786" y="140"/>
                      <a:pt x="786" y="140"/>
                      <a:pt x="786" y="140"/>
                    </a:cubicBezTo>
                    <a:cubicBezTo>
                      <a:pt x="783" y="140"/>
                      <a:pt x="783" y="140"/>
                      <a:pt x="783" y="140"/>
                    </a:cubicBezTo>
                    <a:cubicBezTo>
                      <a:pt x="778" y="139"/>
                      <a:pt x="778" y="139"/>
                      <a:pt x="778" y="139"/>
                    </a:cubicBezTo>
                    <a:cubicBezTo>
                      <a:pt x="778" y="140"/>
                      <a:pt x="778" y="140"/>
                      <a:pt x="778" y="140"/>
                    </a:cubicBezTo>
                    <a:close/>
                    <a:moveTo>
                      <a:pt x="722" y="233"/>
                    </a:moveTo>
                    <a:cubicBezTo>
                      <a:pt x="723" y="237"/>
                      <a:pt x="723" y="237"/>
                      <a:pt x="723" y="237"/>
                    </a:cubicBezTo>
                    <a:cubicBezTo>
                      <a:pt x="724" y="240"/>
                      <a:pt x="724" y="240"/>
                      <a:pt x="724" y="240"/>
                    </a:cubicBezTo>
                    <a:cubicBezTo>
                      <a:pt x="725" y="241"/>
                      <a:pt x="725" y="241"/>
                      <a:pt x="725" y="241"/>
                    </a:cubicBezTo>
                    <a:cubicBezTo>
                      <a:pt x="725" y="237"/>
                      <a:pt x="725" y="237"/>
                      <a:pt x="725" y="237"/>
                    </a:cubicBezTo>
                    <a:cubicBezTo>
                      <a:pt x="722" y="233"/>
                      <a:pt x="722" y="233"/>
                      <a:pt x="722" y="233"/>
                    </a:cubicBezTo>
                    <a:close/>
                    <a:moveTo>
                      <a:pt x="733" y="229"/>
                    </a:moveTo>
                    <a:cubicBezTo>
                      <a:pt x="729" y="231"/>
                      <a:pt x="729" y="231"/>
                      <a:pt x="729" y="231"/>
                    </a:cubicBezTo>
                    <a:cubicBezTo>
                      <a:pt x="727" y="239"/>
                      <a:pt x="727" y="239"/>
                      <a:pt x="727" y="239"/>
                    </a:cubicBezTo>
                    <a:cubicBezTo>
                      <a:pt x="726" y="241"/>
                      <a:pt x="726" y="241"/>
                      <a:pt x="726" y="241"/>
                    </a:cubicBezTo>
                    <a:cubicBezTo>
                      <a:pt x="728" y="240"/>
                      <a:pt x="728" y="240"/>
                      <a:pt x="728" y="240"/>
                    </a:cubicBezTo>
                    <a:cubicBezTo>
                      <a:pt x="731" y="233"/>
                      <a:pt x="731" y="233"/>
                      <a:pt x="731" y="233"/>
                    </a:cubicBezTo>
                    <a:cubicBezTo>
                      <a:pt x="733" y="229"/>
                      <a:pt x="733" y="229"/>
                      <a:pt x="733" y="229"/>
                    </a:cubicBezTo>
                    <a:close/>
                    <a:moveTo>
                      <a:pt x="763" y="254"/>
                    </a:moveTo>
                    <a:cubicBezTo>
                      <a:pt x="761" y="256"/>
                      <a:pt x="761" y="256"/>
                      <a:pt x="761" y="256"/>
                    </a:cubicBezTo>
                    <a:cubicBezTo>
                      <a:pt x="762" y="257"/>
                      <a:pt x="762" y="257"/>
                      <a:pt x="762" y="257"/>
                    </a:cubicBezTo>
                    <a:cubicBezTo>
                      <a:pt x="763" y="256"/>
                      <a:pt x="763" y="256"/>
                      <a:pt x="763" y="256"/>
                    </a:cubicBezTo>
                    <a:cubicBezTo>
                      <a:pt x="763" y="254"/>
                      <a:pt x="763" y="254"/>
                      <a:pt x="763" y="254"/>
                    </a:cubicBezTo>
                    <a:close/>
                    <a:moveTo>
                      <a:pt x="752" y="248"/>
                    </a:moveTo>
                    <a:cubicBezTo>
                      <a:pt x="750" y="247"/>
                      <a:pt x="750" y="247"/>
                      <a:pt x="750" y="247"/>
                    </a:cubicBezTo>
                    <a:cubicBezTo>
                      <a:pt x="751" y="248"/>
                      <a:pt x="751" y="248"/>
                      <a:pt x="751" y="248"/>
                    </a:cubicBezTo>
                    <a:cubicBezTo>
                      <a:pt x="751" y="252"/>
                      <a:pt x="751" y="252"/>
                      <a:pt x="751" y="252"/>
                    </a:cubicBezTo>
                    <a:cubicBezTo>
                      <a:pt x="752" y="253"/>
                      <a:pt x="752" y="253"/>
                      <a:pt x="752" y="253"/>
                    </a:cubicBezTo>
                    <a:cubicBezTo>
                      <a:pt x="753" y="255"/>
                      <a:pt x="753" y="255"/>
                      <a:pt x="753" y="255"/>
                    </a:cubicBezTo>
                    <a:cubicBezTo>
                      <a:pt x="752" y="254"/>
                      <a:pt x="752" y="254"/>
                      <a:pt x="752" y="254"/>
                    </a:cubicBezTo>
                    <a:cubicBezTo>
                      <a:pt x="750" y="254"/>
                      <a:pt x="750" y="254"/>
                      <a:pt x="750" y="254"/>
                    </a:cubicBezTo>
                    <a:cubicBezTo>
                      <a:pt x="750" y="257"/>
                      <a:pt x="750" y="257"/>
                      <a:pt x="750" y="257"/>
                    </a:cubicBezTo>
                    <a:cubicBezTo>
                      <a:pt x="752" y="259"/>
                      <a:pt x="752" y="259"/>
                      <a:pt x="752" y="259"/>
                    </a:cubicBezTo>
                    <a:cubicBezTo>
                      <a:pt x="754" y="259"/>
                      <a:pt x="754" y="259"/>
                      <a:pt x="754" y="259"/>
                    </a:cubicBezTo>
                    <a:cubicBezTo>
                      <a:pt x="757" y="256"/>
                      <a:pt x="757" y="256"/>
                      <a:pt x="757" y="256"/>
                    </a:cubicBezTo>
                    <a:cubicBezTo>
                      <a:pt x="758" y="254"/>
                      <a:pt x="758" y="254"/>
                      <a:pt x="758" y="254"/>
                    </a:cubicBezTo>
                    <a:cubicBezTo>
                      <a:pt x="756" y="253"/>
                      <a:pt x="756" y="253"/>
                      <a:pt x="756" y="253"/>
                    </a:cubicBezTo>
                    <a:cubicBezTo>
                      <a:pt x="755" y="251"/>
                      <a:pt x="755" y="251"/>
                      <a:pt x="755" y="251"/>
                    </a:cubicBezTo>
                    <a:cubicBezTo>
                      <a:pt x="752" y="248"/>
                      <a:pt x="752" y="248"/>
                      <a:pt x="752" y="248"/>
                    </a:cubicBezTo>
                    <a:close/>
                    <a:moveTo>
                      <a:pt x="759" y="249"/>
                    </a:moveTo>
                    <a:cubicBezTo>
                      <a:pt x="757" y="250"/>
                      <a:pt x="757" y="250"/>
                      <a:pt x="757" y="250"/>
                    </a:cubicBezTo>
                    <a:cubicBezTo>
                      <a:pt x="758" y="252"/>
                      <a:pt x="758" y="252"/>
                      <a:pt x="758" y="252"/>
                    </a:cubicBezTo>
                    <a:cubicBezTo>
                      <a:pt x="759" y="253"/>
                      <a:pt x="759" y="253"/>
                      <a:pt x="759" y="253"/>
                    </a:cubicBezTo>
                    <a:cubicBezTo>
                      <a:pt x="761" y="252"/>
                      <a:pt x="761" y="252"/>
                      <a:pt x="761" y="252"/>
                    </a:cubicBezTo>
                    <a:cubicBezTo>
                      <a:pt x="761" y="250"/>
                      <a:pt x="761" y="250"/>
                      <a:pt x="761" y="250"/>
                    </a:cubicBezTo>
                    <a:cubicBezTo>
                      <a:pt x="759" y="249"/>
                      <a:pt x="759" y="249"/>
                      <a:pt x="759" y="249"/>
                    </a:cubicBezTo>
                    <a:close/>
                    <a:moveTo>
                      <a:pt x="753" y="243"/>
                    </a:moveTo>
                    <a:cubicBezTo>
                      <a:pt x="751" y="243"/>
                      <a:pt x="751" y="243"/>
                      <a:pt x="751" y="243"/>
                    </a:cubicBezTo>
                    <a:cubicBezTo>
                      <a:pt x="751" y="245"/>
                      <a:pt x="751" y="245"/>
                      <a:pt x="751" y="245"/>
                    </a:cubicBezTo>
                    <a:cubicBezTo>
                      <a:pt x="754" y="248"/>
                      <a:pt x="754" y="248"/>
                      <a:pt x="754" y="248"/>
                    </a:cubicBezTo>
                    <a:cubicBezTo>
                      <a:pt x="756" y="249"/>
                      <a:pt x="756" y="249"/>
                      <a:pt x="756" y="249"/>
                    </a:cubicBezTo>
                    <a:cubicBezTo>
                      <a:pt x="757" y="248"/>
                      <a:pt x="757" y="248"/>
                      <a:pt x="757" y="248"/>
                    </a:cubicBezTo>
                    <a:cubicBezTo>
                      <a:pt x="754" y="245"/>
                      <a:pt x="754" y="245"/>
                      <a:pt x="754" y="245"/>
                    </a:cubicBezTo>
                    <a:cubicBezTo>
                      <a:pt x="753" y="243"/>
                      <a:pt x="753" y="243"/>
                      <a:pt x="753" y="243"/>
                    </a:cubicBezTo>
                    <a:close/>
                    <a:moveTo>
                      <a:pt x="760" y="241"/>
                    </a:moveTo>
                    <a:cubicBezTo>
                      <a:pt x="757" y="242"/>
                      <a:pt x="757" y="242"/>
                      <a:pt x="757" y="242"/>
                    </a:cubicBezTo>
                    <a:cubicBezTo>
                      <a:pt x="755" y="244"/>
                      <a:pt x="755" y="244"/>
                      <a:pt x="755" y="244"/>
                    </a:cubicBezTo>
                    <a:cubicBezTo>
                      <a:pt x="755" y="245"/>
                      <a:pt x="755" y="245"/>
                      <a:pt x="755" y="245"/>
                    </a:cubicBezTo>
                    <a:cubicBezTo>
                      <a:pt x="759" y="247"/>
                      <a:pt x="759" y="247"/>
                      <a:pt x="759" y="247"/>
                    </a:cubicBezTo>
                    <a:cubicBezTo>
                      <a:pt x="761" y="248"/>
                      <a:pt x="761" y="248"/>
                      <a:pt x="761" y="248"/>
                    </a:cubicBezTo>
                    <a:cubicBezTo>
                      <a:pt x="763" y="246"/>
                      <a:pt x="763" y="246"/>
                      <a:pt x="763" y="246"/>
                    </a:cubicBezTo>
                    <a:cubicBezTo>
                      <a:pt x="763" y="244"/>
                      <a:pt x="763" y="244"/>
                      <a:pt x="763" y="244"/>
                    </a:cubicBezTo>
                    <a:cubicBezTo>
                      <a:pt x="762" y="244"/>
                      <a:pt x="762" y="244"/>
                      <a:pt x="762" y="244"/>
                    </a:cubicBezTo>
                    <a:cubicBezTo>
                      <a:pt x="763" y="243"/>
                      <a:pt x="763" y="243"/>
                      <a:pt x="763" y="243"/>
                    </a:cubicBezTo>
                    <a:cubicBezTo>
                      <a:pt x="761" y="241"/>
                      <a:pt x="761" y="241"/>
                      <a:pt x="761" y="241"/>
                    </a:cubicBezTo>
                    <a:cubicBezTo>
                      <a:pt x="760" y="241"/>
                      <a:pt x="760" y="241"/>
                      <a:pt x="760" y="241"/>
                    </a:cubicBezTo>
                    <a:close/>
                    <a:moveTo>
                      <a:pt x="753" y="237"/>
                    </a:moveTo>
                    <a:cubicBezTo>
                      <a:pt x="752" y="237"/>
                      <a:pt x="752" y="237"/>
                      <a:pt x="752" y="237"/>
                    </a:cubicBezTo>
                    <a:cubicBezTo>
                      <a:pt x="751" y="238"/>
                      <a:pt x="751" y="238"/>
                      <a:pt x="751" y="238"/>
                    </a:cubicBezTo>
                    <a:cubicBezTo>
                      <a:pt x="753" y="238"/>
                      <a:pt x="753" y="238"/>
                      <a:pt x="753" y="238"/>
                    </a:cubicBezTo>
                    <a:cubicBezTo>
                      <a:pt x="753" y="237"/>
                      <a:pt x="753" y="237"/>
                      <a:pt x="753" y="237"/>
                    </a:cubicBezTo>
                    <a:close/>
                    <a:moveTo>
                      <a:pt x="759" y="231"/>
                    </a:moveTo>
                    <a:cubicBezTo>
                      <a:pt x="761" y="233"/>
                      <a:pt x="761" y="233"/>
                      <a:pt x="761" y="233"/>
                    </a:cubicBezTo>
                    <a:cubicBezTo>
                      <a:pt x="762" y="233"/>
                      <a:pt x="762" y="233"/>
                      <a:pt x="762" y="233"/>
                    </a:cubicBezTo>
                    <a:cubicBezTo>
                      <a:pt x="761" y="231"/>
                      <a:pt x="761" y="231"/>
                      <a:pt x="761" y="231"/>
                    </a:cubicBezTo>
                    <a:cubicBezTo>
                      <a:pt x="759" y="231"/>
                      <a:pt x="759" y="231"/>
                      <a:pt x="759" y="231"/>
                    </a:cubicBezTo>
                    <a:close/>
                    <a:moveTo>
                      <a:pt x="758" y="232"/>
                    </a:moveTo>
                    <a:cubicBezTo>
                      <a:pt x="757" y="232"/>
                      <a:pt x="757" y="232"/>
                      <a:pt x="757" y="232"/>
                    </a:cubicBezTo>
                    <a:cubicBezTo>
                      <a:pt x="755" y="235"/>
                      <a:pt x="755" y="235"/>
                      <a:pt x="755" y="235"/>
                    </a:cubicBezTo>
                    <a:cubicBezTo>
                      <a:pt x="753" y="235"/>
                      <a:pt x="753" y="235"/>
                      <a:pt x="753" y="235"/>
                    </a:cubicBezTo>
                    <a:cubicBezTo>
                      <a:pt x="755" y="236"/>
                      <a:pt x="755" y="236"/>
                      <a:pt x="755" y="236"/>
                    </a:cubicBezTo>
                    <a:cubicBezTo>
                      <a:pt x="755" y="237"/>
                      <a:pt x="755" y="237"/>
                      <a:pt x="755" y="237"/>
                    </a:cubicBezTo>
                    <a:cubicBezTo>
                      <a:pt x="757" y="237"/>
                      <a:pt x="757" y="237"/>
                      <a:pt x="757" y="237"/>
                    </a:cubicBezTo>
                    <a:cubicBezTo>
                      <a:pt x="755" y="239"/>
                      <a:pt x="755" y="239"/>
                      <a:pt x="755" y="239"/>
                    </a:cubicBezTo>
                    <a:cubicBezTo>
                      <a:pt x="755" y="241"/>
                      <a:pt x="755" y="241"/>
                      <a:pt x="755" y="241"/>
                    </a:cubicBezTo>
                    <a:cubicBezTo>
                      <a:pt x="757" y="241"/>
                      <a:pt x="757" y="241"/>
                      <a:pt x="757" y="241"/>
                    </a:cubicBezTo>
                    <a:cubicBezTo>
                      <a:pt x="759" y="239"/>
                      <a:pt x="759" y="239"/>
                      <a:pt x="759" y="239"/>
                    </a:cubicBezTo>
                    <a:cubicBezTo>
                      <a:pt x="761" y="239"/>
                      <a:pt x="761" y="239"/>
                      <a:pt x="761" y="239"/>
                    </a:cubicBezTo>
                    <a:cubicBezTo>
                      <a:pt x="762" y="238"/>
                      <a:pt x="762" y="238"/>
                      <a:pt x="762" y="238"/>
                    </a:cubicBezTo>
                    <a:cubicBezTo>
                      <a:pt x="762" y="234"/>
                      <a:pt x="762" y="234"/>
                      <a:pt x="762" y="234"/>
                    </a:cubicBezTo>
                    <a:cubicBezTo>
                      <a:pt x="761" y="234"/>
                      <a:pt x="761" y="234"/>
                      <a:pt x="761" y="234"/>
                    </a:cubicBezTo>
                    <a:cubicBezTo>
                      <a:pt x="758" y="232"/>
                      <a:pt x="758" y="232"/>
                      <a:pt x="758" y="232"/>
                    </a:cubicBezTo>
                    <a:close/>
                    <a:moveTo>
                      <a:pt x="708" y="262"/>
                    </a:moveTo>
                    <a:cubicBezTo>
                      <a:pt x="711" y="260"/>
                      <a:pt x="711" y="260"/>
                      <a:pt x="711" y="260"/>
                    </a:cubicBezTo>
                    <a:cubicBezTo>
                      <a:pt x="710" y="260"/>
                      <a:pt x="710" y="260"/>
                      <a:pt x="710" y="260"/>
                    </a:cubicBezTo>
                    <a:cubicBezTo>
                      <a:pt x="708" y="262"/>
                      <a:pt x="708" y="262"/>
                      <a:pt x="708" y="262"/>
                    </a:cubicBezTo>
                    <a:close/>
                    <a:moveTo>
                      <a:pt x="705" y="263"/>
                    </a:moveTo>
                    <a:cubicBezTo>
                      <a:pt x="709" y="266"/>
                      <a:pt x="709" y="266"/>
                      <a:pt x="709" y="266"/>
                    </a:cubicBezTo>
                    <a:cubicBezTo>
                      <a:pt x="708" y="264"/>
                      <a:pt x="708" y="264"/>
                      <a:pt x="708" y="264"/>
                    </a:cubicBezTo>
                    <a:cubicBezTo>
                      <a:pt x="705" y="263"/>
                      <a:pt x="705" y="263"/>
                      <a:pt x="705" y="263"/>
                    </a:cubicBezTo>
                    <a:close/>
                    <a:moveTo>
                      <a:pt x="688" y="271"/>
                    </a:moveTo>
                    <a:cubicBezTo>
                      <a:pt x="686" y="272"/>
                      <a:pt x="686" y="272"/>
                      <a:pt x="686" y="272"/>
                    </a:cubicBezTo>
                    <a:cubicBezTo>
                      <a:pt x="688" y="272"/>
                      <a:pt x="688" y="272"/>
                      <a:pt x="688" y="272"/>
                    </a:cubicBezTo>
                    <a:cubicBezTo>
                      <a:pt x="688" y="271"/>
                      <a:pt x="688" y="271"/>
                      <a:pt x="688" y="271"/>
                    </a:cubicBezTo>
                    <a:close/>
                    <a:moveTo>
                      <a:pt x="693" y="269"/>
                    </a:moveTo>
                    <a:cubicBezTo>
                      <a:pt x="688" y="269"/>
                      <a:pt x="688" y="269"/>
                      <a:pt x="688" y="269"/>
                    </a:cubicBezTo>
                    <a:cubicBezTo>
                      <a:pt x="690" y="270"/>
                      <a:pt x="690" y="270"/>
                      <a:pt x="690" y="270"/>
                    </a:cubicBezTo>
                    <a:cubicBezTo>
                      <a:pt x="692" y="270"/>
                      <a:pt x="692" y="270"/>
                      <a:pt x="692" y="270"/>
                    </a:cubicBezTo>
                    <a:cubicBezTo>
                      <a:pt x="693" y="269"/>
                      <a:pt x="693" y="269"/>
                      <a:pt x="693" y="269"/>
                    </a:cubicBezTo>
                    <a:close/>
                    <a:moveTo>
                      <a:pt x="693" y="282"/>
                    </a:moveTo>
                    <a:cubicBezTo>
                      <a:pt x="691" y="282"/>
                      <a:pt x="691" y="282"/>
                      <a:pt x="691" y="282"/>
                    </a:cubicBezTo>
                    <a:cubicBezTo>
                      <a:pt x="688" y="284"/>
                      <a:pt x="688" y="284"/>
                      <a:pt x="688" y="284"/>
                    </a:cubicBezTo>
                    <a:cubicBezTo>
                      <a:pt x="687" y="286"/>
                      <a:pt x="687" y="286"/>
                      <a:pt x="687" y="286"/>
                    </a:cubicBezTo>
                    <a:cubicBezTo>
                      <a:pt x="690" y="285"/>
                      <a:pt x="690" y="285"/>
                      <a:pt x="690" y="285"/>
                    </a:cubicBezTo>
                    <a:cubicBezTo>
                      <a:pt x="692" y="284"/>
                      <a:pt x="692" y="284"/>
                      <a:pt x="692" y="284"/>
                    </a:cubicBezTo>
                    <a:cubicBezTo>
                      <a:pt x="693" y="282"/>
                      <a:pt x="693" y="282"/>
                      <a:pt x="693" y="282"/>
                    </a:cubicBezTo>
                    <a:close/>
                    <a:moveTo>
                      <a:pt x="699" y="267"/>
                    </a:moveTo>
                    <a:cubicBezTo>
                      <a:pt x="694" y="272"/>
                      <a:pt x="694" y="272"/>
                      <a:pt x="694" y="272"/>
                    </a:cubicBezTo>
                    <a:cubicBezTo>
                      <a:pt x="694" y="273"/>
                      <a:pt x="694" y="273"/>
                      <a:pt x="694" y="273"/>
                    </a:cubicBezTo>
                    <a:cubicBezTo>
                      <a:pt x="695" y="275"/>
                      <a:pt x="695" y="275"/>
                      <a:pt x="695" y="275"/>
                    </a:cubicBezTo>
                    <a:cubicBezTo>
                      <a:pt x="693" y="276"/>
                      <a:pt x="693" y="276"/>
                      <a:pt x="693" y="276"/>
                    </a:cubicBezTo>
                    <a:cubicBezTo>
                      <a:pt x="693" y="279"/>
                      <a:pt x="693" y="279"/>
                      <a:pt x="693" y="279"/>
                    </a:cubicBezTo>
                    <a:cubicBezTo>
                      <a:pt x="695" y="281"/>
                      <a:pt x="695" y="281"/>
                      <a:pt x="695" y="281"/>
                    </a:cubicBezTo>
                    <a:cubicBezTo>
                      <a:pt x="698" y="281"/>
                      <a:pt x="698" y="281"/>
                      <a:pt x="698" y="281"/>
                    </a:cubicBezTo>
                    <a:cubicBezTo>
                      <a:pt x="702" y="275"/>
                      <a:pt x="702" y="275"/>
                      <a:pt x="702" y="275"/>
                    </a:cubicBezTo>
                    <a:cubicBezTo>
                      <a:pt x="704" y="271"/>
                      <a:pt x="704" y="271"/>
                      <a:pt x="704" y="271"/>
                    </a:cubicBezTo>
                    <a:cubicBezTo>
                      <a:pt x="703" y="268"/>
                      <a:pt x="703" y="268"/>
                      <a:pt x="703" y="268"/>
                    </a:cubicBezTo>
                    <a:cubicBezTo>
                      <a:pt x="704" y="266"/>
                      <a:pt x="704" y="266"/>
                      <a:pt x="704" y="266"/>
                    </a:cubicBezTo>
                    <a:cubicBezTo>
                      <a:pt x="704" y="265"/>
                      <a:pt x="704" y="265"/>
                      <a:pt x="704" y="265"/>
                    </a:cubicBezTo>
                    <a:cubicBezTo>
                      <a:pt x="701" y="264"/>
                      <a:pt x="701" y="264"/>
                      <a:pt x="701" y="264"/>
                    </a:cubicBezTo>
                    <a:cubicBezTo>
                      <a:pt x="699" y="266"/>
                      <a:pt x="699" y="266"/>
                      <a:pt x="699" y="266"/>
                    </a:cubicBezTo>
                    <a:cubicBezTo>
                      <a:pt x="699" y="267"/>
                      <a:pt x="699" y="267"/>
                      <a:pt x="699" y="267"/>
                    </a:cubicBezTo>
                    <a:close/>
                    <a:moveTo>
                      <a:pt x="670" y="249"/>
                    </a:moveTo>
                    <a:cubicBezTo>
                      <a:pt x="673" y="247"/>
                      <a:pt x="673" y="247"/>
                      <a:pt x="673" y="247"/>
                    </a:cubicBezTo>
                    <a:cubicBezTo>
                      <a:pt x="671" y="247"/>
                      <a:pt x="671" y="247"/>
                      <a:pt x="671" y="247"/>
                    </a:cubicBezTo>
                    <a:cubicBezTo>
                      <a:pt x="670" y="249"/>
                      <a:pt x="670" y="249"/>
                      <a:pt x="670" y="249"/>
                    </a:cubicBezTo>
                    <a:close/>
                    <a:moveTo>
                      <a:pt x="662" y="255"/>
                    </a:moveTo>
                    <a:cubicBezTo>
                      <a:pt x="660" y="256"/>
                      <a:pt x="660" y="256"/>
                      <a:pt x="660" y="256"/>
                    </a:cubicBezTo>
                    <a:cubicBezTo>
                      <a:pt x="662" y="256"/>
                      <a:pt x="662" y="256"/>
                      <a:pt x="662" y="256"/>
                    </a:cubicBezTo>
                    <a:cubicBezTo>
                      <a:pt x="662" y="255"/>
                      <a:pt x="662" y="255"/>
                      <a:pt x="662" y="255"/>
                    </a:cubicBezTo>
                    <a:close/>
                    <a:moveTo>
                      <a:pt x="669" y="283"/>
                    </a:moveTo>
                    <a:cubicBezTo>
                      <a:pt x="665" y="285"/>
                      <a:pt x="665" y="285"/>
                      <a:pt x="665" y="285"/>
                    </a:cubicBezTo>
                    <a:cubicBezTo>
                      <a:pt x="667" y="285"/>
                      <a:pt x="667" y="285"/>
                      <a:pt x="667" y="285"/>
                    </a:cubicBezTo>
                    <a:cubicBezTo>
                      <a:pt x="669" y="283"/>
                      <a:pt x="669" y="283"/>
                      <a:pt x="669" y="283"/>
                    </a:cubicBezTo>
                    <a:close/>
                    <a:moveTo>
                      <a:pt x="662" y="277"/>
                    </a:moveTo>
                    <a:cubicBezTo>
                      <a:pt x="664" y="276"/>
                      <a:pt x="664" y="276"/>
                      <a:pt x="664" y="276"/>
                    </a:cubicBezTo>
                    <a:cubicBezTo>
                      <a:pt x="667" y="277"/>
                      <a:pt x="667" y="277"/>
                      <a:pt x="667" y="277"/>
                    </a:cubicBezTo>
                    <a:cubicBezTo>
                      <a:pt x="668" y="280"/>
                      <a:pt x="668" y="280"/>
                      <a:pt x="668" y="280"/>
                    </a:cubicBezTo>
                    <a:cubicBezTo>
                      <a:pt x="665" y="281"/>
                      <a:pt x="665" y="281"/>
                      <a:pt x="665" y="281"/>
                    </a:cubicBezTo>
                    <a:cubicBezTo>
                      <a:pt x="662" y="279"/>
                      <a:pt x="662" y="279"/>
                      <a:pt x="662" y="279"/>
                    </a:cubicBezTo>
                    <a:cubicBezTo>
                      <a:pt x="662" y="277"/>
                      <a:pt x="662" y="277"/>
                      <a:pt x="662" y="277"/>
                    </a:cubicBezTo>
                    <a:close/>
                    <a:moveTo>
                      <a:pt x="641" y="264"/>
                    </a:moveTo>
                    <a:cubicBezTo>
                      <a:pt x="643" y="263"/>
                      <a:pt x="643" y="263"/>
                      <a:pt x="643" y="263"/>
                    </a:cubicBezTo>
                    <a:cubicBezTo>
                      <a:pt x="645" y="264"/>
                      <a:pt x="645" y="264"/>
                      <a:pt x="645" y="264"/>
                    </a:cubicBezTo>
                    <a:cubicBezTo>
                      <a:pt x="644" y="266"/>
                      <a:pt x="644" y="266"/>
                      <a:pt x="644" y="266"/>
                    </a:cubicBezTo>
                    <a:cubicBezTo>
                      <a:pt x="642" y="266"/>
                      <a:pt x="642" y="266"/>
                      <a:pt x="642" y="266"/>
                    </a:cubicBezTo>
                    <a:cubicBezTo>
                      <a:pt x="641" y="264"/>
                      <a:pt x="641" y="264"/>
                      <a:pt x="641" y="264"/>
                    </a:cubicBezTo>
                    <a:close/>
                    <a:moveTo>
                      <a:pt x="646" y="286"/>
                    </a:moveTo>
                    <a:cubicBezTo>
                      <a:pt x="649" y="286"/>
                      <a:pt x="649" y="286"/>
                      <a:pt x="649" y="286"/>
                    </a:cubicBezTo>
                    <a:cubicBezTo>
                      <a:pt x="651" y="287"/>
                      <a:pt x="651" y="287"/>
                      <a:pt x="651" y="287"/>
                    </a:cubicBezTo>
                    <a:cubicBezTo>
                      <a:pt x="648" y="287"/>
                      <a:pt x="648" y="287"/>
                      <a:pt x="648" y="287"/>
                    </a:cubicBezTo>
                    <a:cubicBezTo>
                      <a:pt x="646" y="286"/>
                      <a:pt x="646" y="286"/>
                      <a:pt x="646" y="286"/>
                    </a:cubicBezTo>
                    <a:close/>
                    <a:moveTo>
                      <a:pt x="616" y="273"/>
                    </a:moveTo>
                    <a:cubicBezTo>
                      <a:pt x="620" y="271"/>
                      <a:pt x="620" y="271"/>
                      <a:pt x="620" y="271"/>
                    </a:cubicBezTo>
                    <a:cubicBezTo>
                      <a:pt x="618" y="270"/>
                      <a:pt x="618" y="270"/>
                      <a:pt x="618" y="270"/>
                    </a:cubicBezTo>
                    <a:cubicBezTo>
                      <a:pt x="616" y="271"/>
                      <a:pt x="616" y="271"/>
                      <a:pt x="616" y="271"/>
                    </a:cubicBezTo>
                    <a:cubicBezTo>
                      <a:pt x="616" y="273"/>
                      <a:pt x="616" y="273"/>
                      <a:pt x="616" y="273"/>
                    </a:cubicBezTo>
                    <a:close/>
                    <a:moveTo>
                      <a:pt x="626" y="284"/>
                    </a:moveTo>
                    <a:cubicBezTo>
                      <a:pt x="632" y="284"/>
                      <a:pt x="632" y="284"/>
                      <a:pt x="632" y="284"/>
                    </a:cubicBezTo>
                    <a:cubicBezTo>
                      <a:pt x="635" y="284"/>
                      <a:pt x="635" y="284"/>
                      <a:pt x="635" y="284"/>
                    </a:cubicBezTo>
                    <a:cubicBezTo>
                      <a:pt x="635" y="286"/>
                      <a:pt x="635" y="286"/>
                      <a:pt x="635" y="286"/>
                    </a:cubicBezTo>
                    <a:cubicBezTo>
                      <a:pt x="631" y="287"/>
                      <a:pt x="631" y="287"/>
                      <a:pt x="631" y="287"/>
                    </a:cubicBezTo>
                    <a:cubicBezTo>
                      <a:pt x="627" y="285"/>
                      <a:pt x="627" y="285"/>
                      <a:pt x="627" y="285"/>
                    </a:cubicBezTo>
                    <a:cubicBezTo>
                      <a:pt x="626" y="284"/>
                      <a:pt x="626" y="284"/>
                      <a:pt x="626" y="284"/>
                    </a:cubicBezTo>
                    <a:close/>
                    <a:moveTo>
                      <a:pt x="621" y="285"/>
                    </a:moveTo>
                    <a:cubicBezTo>
                      <a:pt x="624" y="285"/>
                      <a:pt x="624" y="285"/>
                      <a:pt x="624" y="285"/>
                    </a:cubicBezTo>
                    <a:cubicBezTo>
                      <a:pt x="624" y="287"/>
                      <a:pt x="624" y="287"/>
                      <a:pt x="624" y="287"/>
                    </a:cubicBezTo>
                    <a:cubicBezTo>
                      <a:pt x="621" y="285"/>
                      <a:pt x="621" y="285"/>
                      <a:pt x="621" y="285"/>
                    </a:cubicBezTo>
                    <a:close/>
                    <a:moveTo>
                      <a:pt x="612" y="284"/>
                    </a:moveTo>
                    <a:cubicBezTo>
                      <a:pt x="615" y="283"/>
                      <a:pt x="615" y="283"/>
                      <a:pt x="615" y="283"/>
                    </a:cubicBezTo>
                    <a:cubicBezTo>
                      <a:pt x="617" y="285"/>
                      <a:pt x="617" y="285"/>
                      <a:pt x="617" y="285"/>
                    </a:cubicBezTo>
                    <a:cubicBezTo>
                      <a:pt x="614" y="286"/>
                      <a:pt x="614" y="286"/>
                      <a:pt x="614" y="286"/>
                    </a:cubicBezTo>
                    <a:cubicBezTo>
                      <a:pt x="612" y="284"/>
                      <a:pt x="612" y="284"/>
                      <a:pt x="612" y="284"/>
                    </a:cubicBezTo>
                    <a:close/>
                    <a:moveTo>
                      <a:pt x="540" y="323"/>
                    </a:moveTo>
                    <a:cubicBezTo>
                      <a:pt x="539" y="327"/>
                      <a:pt x="539" y="327"/>
                      <a:pt x="539" y="327"/>
                    </a:cubicBezTo>
                    <a:cubicBezTo>
                      <a:pt x="541" y="329"/>
                      <a:pt x="541" y="329"/>
                      <a:pt x="541" y="329"/>
                    </a:cubicBezTo>
                    <a:cubicBezTo>
                      <a:pt x="547" y="328"/>
                      <a:pt x="547" y="328"/>
                      <a:pt x="547" y="328"/>
                    </a:cubicBezTo>
                    <a:cubicBezTo>
                      <a:pt x="553" y="325"/>
                      <a:pt x="553" y="325"/>
                      <a:pt x="553" y="325"/>
                    </a:cubicBezTo>
                    <a:cubicBezTo>
                      <a:pt x="556" y="324"/>
                      <a:pt x="556" y="324"/>
                      <a:pt x="556" y="324"/>
                    </a:cubicBezTo>
                    <a:cubicBezTo>
                      <a:pt x="559" y="324"/>
                      <a:pt x="559" y="324"/>
                      <a:pt x="559" y="324"/>
                    </a:cubicBezTo>
                    <a:cubicBezTo>
                      <a:pt x="563" y="321"/>
                      <a:pt x="563" y="321"/>
                      <a:pt x="563" y="321"/>
                    </a:cubicBezTo>
                    <a:cubicBezTo>
                      <a:pt x="565" y="318"/>
                      <a:pt x="565" y="318"/>
                      <a:pt x="565" y="318"/>
                    </a:cubicBezTo>
                    <a:cubicBezTo>
                      <a:pt x="573" y="313"/>
                      <a:pt x="573" y="313"/>
                      <a:pt x="573" y="313"/>
                    </a:cubicBezTo>
                    <a:cubicBezTo>
                      <a:pt x="574" y="311"/>
                      <a:pt x="574" y="311"/>
                      <a:pt x="574" y="311"/>
                    </a:cubicBezTo>
                    <a:cubicBezTo>
                      <a:pt x="576" y="310"/>
                      <a:pt x="576" y="310"/>
                      <a:pt x="576" y="310"/>
                    </a:cubicBezTo>
                    <a:cubicBezTo>
                      <a:pt x="572" y="306"/>
                      <a:pt x="572" y="306"/>
                      <a:pt x="572" y="306"/>
                    </a:cubicBezTo>
                    <a:cubicBezTo>
                      <a:pt x="568" y="301"/>
                      <a:pt x="568" y="301"/>
                      <a:pt x="568" y="301"/>
                    </a:cubicBezTo>
                    <a:cubicBezTo>
                      <a:pt x="566" y="302"/>
                      <a:pt x="566" y="302"/>
                      <a:pt x="566" y="302"/>
                    </a:cubicBezTo>
                    <a:cubicBezTo>
                      <a:pt x="563" y="303"/>
                      <a:pt x="563" y="303"/>
                      <a:pt x="563" y="303"/>
                    </a:cubicBezTo>
                    <a:cubicBezTo>
                      <a:pt x="563" y="308"/>
                      <a:pt x="563" y="308"/>
                      <a:pt x="563" y="308"/>
                    </a:cubicBezTo>
                    <a:cubicBezTo>
                      <a:pt x="559" y="308"/>
                      <a:pt x="559" y="308"/>
                      <a:pt x="559" y="308"/>
                    </a:cubicBezTo>
                    <a:cubicBezTo>
                      <a:pt x="555" y="310"/>
                      <a:pt x="555" y="310"/>
                      <a:pt x="555" y="310"/>
                    </a:cubicBezTo>
                    <a:cubicBezTo>
                      <a:pt x="552" y="307"/>
                      <a:pt x="552" y="307"/>
                      <a:pt x="552" y="307"/>
                    </a:cubicBezTo>
                    <a:cubicBezTo>
                      <a:pt x="551" y="308"/>
                      <a:pt x="551" y="308"/>
                      <a:pt x="551" y="308"/>
                    </a:cubicBezTo>
                    <a:cubicBezTo>
                      <a:pt x="547" y="310"/>
                      <a:pt x="547" y="310"/>
                      <a:pt x="547" y="310"/>
                    </a:cubicBezTo>
                    <a:cubicBezTo>
                      <a:pt x="546" y="314"/>
                      <a:pt x="546" y="314"/>
                      <a:pt x="546" y="314"/>
                    </a:cubicBezTo>
                    <a:cubicBezTo>
                      <a:pt x="542" y="320"/>
                      <a:pt x="542" y="320"/>
                      <a:pt x="542" y="320"/>
                    </a:cubicBezTo>
                    <a:cubicBezTo>
                      <a:pt x="542" y="321"/>
                      <a:pt x="542" y="321"/>
                      <a:pt x="542" y="321"/>
                    </a:cubicBezTo>
                    <a:cubicBezTo>
                      <a:pt x="543" y="323"/>
                      <a:pt x="543" y="323"/>
                      <a:pt x="543" y="323"/>
                    </a:cubicBezTo>
                    <a:cubicBezTo>
                      <a:pt x="544" y="324"/>
                      <a:pt x="544" y="324"/>
                      <a:pt x="544" y="324"/>
                    </a:cubicBezTo>
                    <a:cubicBezTo>
                      <a:pt x="542" y="324"/>
                      <a:pt x="542" y="324"/>
                      <a:pt x="542" y="324"/>
                    </a:cubicBezTo>
                    <a:cubicBezTo>
                      <a:pt x="540" y="323"/>
                      <a:pt x="540" y="323"/>
                      <a:pt x="540" y="323"/>
                    </a:cubicBezTo>
                    <a:close/>
                    <a:moveTo>
                      <a:pt x="537" y="327"/>
                    </a:moveTo>
                    <a:cubicBezTo>
                      <a:pt x="538" y="324"/>
                      <a:pt x="538" y="324"/>
                      <a:pt x="538" y="324"/>
                    </a:cubicBezTo>
                    <a:cubicBezTo>
                      <a:pt x="537" y="324"/>
                      <a:pt x="537" y="324"/>
                      <a:pt x="537" y="324"/>
                    </a:cubicBezTo>
                    <a:cubicBezTo>
                      <a:pt x="535" y="327"/>
                      <a:pt x="535" y="327"/>
                      <a:pt x="535" y="327"/>
                    </a:cubicBezTo>
                    <a:cubicBezTo>
                      <a:pt x="537" y="327"/>
                      <a:pt x="537" y="327"/>
                      <a:pt x="537" y="327"/>
                    </a:cubicBezTo>
                    <a:close/>
                    <a:moveTo>
                      <a:pt x="537" y="330"/>
                    </a:moveTo>
                    <a:cubicBezTo>
                      <a:pt x="533" y="332"/>
                      <a:pt x="533" y="332"/>
                      <a:pt x="533" y="332"/>
                    </a:cubicBezTo>
                    <a:cubicBezTo>
                      <a:pt x="534" y="332"/>
                      <a:pt x="534" y="332"/>
                      <a:pt x="534" y="332"/>
                    </a:cubicBezTo>
                    <a:cubicBezTo>
                      <a:pt x="528" y="335"/>
                      <a:pt x="528" y="335"/>
                      <a:pt x="528" y="335"/>
                    </a:cubicBezTo>
                    <a:cubicBezTo>
                      <a:pt x="525" y="338"/>
                      <a:pt x="525" y="338"/>
                      <a:pt x="525" y="338"/>
                    </a:cubicBezTo>
                    <a:cubicBezTo>
                      <a:pt x="528" y="339"/>
                      <a:pt x="528" y="339"/>
                      <a:pt x="528" y="339"/>
                    </a:cubicBezTo>
                    <a:cubicBezTo>
                      <a:pt x="537" y="335"/>
                      <a:pt x="537" y="335"/>
                      <a:pt x="537" y="335"/>
                    </a:cubicBezTo>
                    <a:cubicBezTo>
                      <a:pt x="538" y="332"/>
                      <a:pt x="538" y="332"/>
                      <a:pt x="538" y="332"/>
                    </a:cubicBezTo>
                    <a:cubicBezTo>
                      <a:pt x="537" y="330"/>
                      <a:pt x="537" y="330"/>
                      <a:pt x="537" y="330"/>
                    </a:cubicBezTo>
                    <a:close/>
                    <a:moveTo>
                      <a:pt x="508" y="329"/>
                    </a:moveTo>
                    <a:cubicBezTo>
                      <a:pt x="511" y="330"/>
                      <a:pt x="511" y="330"/>
                      <a:pt x="511" y="330"/>
                    </a:cubicBezTo>
                    <a:cubicBezTo>
                      <a:pt x="511" y="332"/>
                      <a:pt x="511" y="332"/>
                      <a:pt x="511" y="332"/>
                    </a:cubicBezTo>
                    <a:cubicBezTo>
                      <a:pt x="509" y="334"/>
                      <a:pt x="509" y="334"/>
                      <a:pt x="509" y="334"/>
                    </a:cubicBezTo>
                    <a:cubicBezTo>
                      <a:pt x="505" y="333"/>
                      <a:pt x="505" y="333"/>
                      <a:pt x="505" y="333"/>
                    </a:cubicBezTo>
                    <a:cubicBezTo>
                      <a:pt x="507" y="330"/>
                      <a:pt x="507" y="330"/>
                      <a:pt x="507" y="330"/>
                    </a:cubicBezTo>
                    <a:cubicBezTo>
                      <a:pt x="508" y="329"/>
                      <a:pt x="508" y="329"/>
                      <a:pt x="508" y="329"/>
                    </a:cubicBezTo>
                    <a:close/>
                    <a:moveTo>
                      <a:pt x="453" y="309"/>
                    </a:moveTo>
                    <a:cubicBezTo>
                      <a:pt x="461" y="305"/>
                      <a:pt x="461" y="305"/>
                      <a:pt x="461" y="305"/>
                    </a:cubicBezTo>
                    <a:cubicBezTo>
                      <a:pt x="466" y="309"/>
                      <a:pt x="466" y="309"/>
                      <a:pt x="466" y="309"/>
                    </a:cubicBezTo>
                    <a:cubicBezTo>
                      <a:pt x="470" y="309"/>
                      <a:pt x="470" y="309"/>
                      <a:pt x="470" y="309"/>
                    </a:cubicBezTo>
                    <a:cubicBezTo>
                      <a:pt x="473" y="307"/>
                      <a:pt x="473" y="307"/>
                      <a:pt x="473" y="307"/>
                    </a:cubicBezTo>
                    <a:cubicBezTo>
                      <a:pt x="478" y="309"/>
                      <a:pt x="478" y="309"/>
                      <a:pt x="478" y="309"/>
                    </a:cubicBezTo>
                    <a:cubicBezTo>
                      <a:pt x="479" y="313"/>
                      <a:pt x="479" y="313"/>
                      <a:pt x="479" y="313"/>
                    </a:cubicBezTo>
                    <a:cubicBezTo>
                      <a:pt x="483" y="313"/>
                      <a:pt x="483" y="313"/>
                      <a:pt x="483" y="313"/>
                    </a:cubicBezTo>
                    <a:cubicBezTo>
                      <a:pt x="486" y="317"/>
                      <a:pt x="486" y="317"/>
                      <a:pt x="486" y="317"/>
                    </a:cubicBezTo>
                    <a:cubicBezTo>
                      <a:pt x="489" y="320"/>
                      <a:pt x="489" y="320"/>
                      <a:pt x="489" y="320"/>
                    </a:cubicBezTo>
                    <a:cubicBezTo>
                      <a:pt x="489" y="323"/>
                      <a:pt x="489" y="323"/>
                      <a:pt x="489" y="323"/>
                    </a:cubicBezTo>
                    <a:cubicBezTo>
                      <a:pt x="484" y="325"/>
                      <a:pt x="484" y="325"/>
                      <a:pt x="484" y="325"/>
                    </a:cubicBezTo>
                    <a:cubicBezTo>
                      <a:pt x="479" y="326"/>
                      <a:pt x="479" y="326"/>
                      <a:pt x="479" y="326"/>
                    </a:cubicBezTo>
                    <a:cubicBezTo>
                      <a:pt x="475" y="324"/>
                      <a:pt x="475" y="324"/>
                      <a:pt x="475" y="324"/>
                    </a:cubicBezTo>
                    <a:cubicBezTo>
                      <a:pt x="471" y="319"/>
                      <a:pt x="471" y="319"/>
                      <a:pt x="471" y="319"/>
                    </a:cubicBezTo>
                    <a:cubicBezTo>
                      <a:pt x="468" y="319"/>
                      <a:pt x="468" y="319"/>
                      <a:pt x="468" y="319"/>
                    </a:cubicBezTo>
                    <a:cubicBezTo>
                      <a:pt x="465" y="315"/>
                      <a:pt x="465" y="315"/>
                      <a:pt x="465" y="315"/>
                    </a:cubicBezTo>
                    <a:cubicBezTo>
                      <a:pt x="461" y="316"/>
                      <a:pt x="461" y="316"/>
                      <a:pt x="461" y="316"/>
                    </a:cubicBezTo>
                    <a:cubicBezTo>
                      <a:pt x="456" y="315"/>
                      <a:pt x="456" y="315"/>
                      <a:pt x="456" y="315"/>
                    </a:cubicBezTo>
                    <a:cubicBezTo>
                      <a:pt x="453" y="312"/>
                      <a:pt x="453" y="312"/>
                      <a:pt x="453" y="312"/>
                    </a:cubicBezTo>
                    <a:cubicBezTo>
                      <a:pt x="453" y="309"/>
                      <a:pt x="453" y="309"/>
                      <a:pt x="453" y="309"/>
                    </a:cubicBezTo>
                    <a:close/>
                    <a:moveTo>
                      <a:pt x="393" y="267"/>
                    </a:moveTo>
                    <a:cubicBezTo>
                      <a:pt x="396" y="267"/>
                      <a:pt x="396" y="267"/>
                      <a:pt x="396" y="267"/>
                    </a:cubicBezTo>
                    <a:cubicBezTo>
                      <a:pt x="397" y="267"/>
                      <a:pt x="397" y="267"/>
                      <a:pt x="397" y="267"/>
                    </a:cubicBezTo>
                    <a:cubicBezTo>
                      <a:pt x="397" y="268"/>
                      <a:pt x="397" y="268"/>
                      <a:pt x="397" y="268"/>
                    </a:cubicBezTo>
                    <a:cubicBezTo>
                      <a:pt x="394" y="268"/>
                      <a:pt x="394" y="268"/>
                      <a:pt x="394" y="268"/>
                    </a:cubicBezTo>
                    <a:cubicBezTo>
                      <a:pt x="393" y="267"/>
                      <a:pt x="393" y="267"/>
                      <a:pt x="393" y="267"/>
                    </a:cubicBezTo>
                    <a:close/>
                    <a:moveTo>
                      <a:pt x="382" y="261"/>
                    </a:moveTo>
                    <a:cubicBezTo>
                      <a:pt x="385" y="264"/>
                      <a:pt x="385" y="264"/>
                      <a:pt x="385" y="264"/>
                    </a:cubicBezTo>
                    <a:cubicBezTo>
                      <a:pt x="387" y="261"/>
                      <a:pt x="387" y="261"/>
                      <a:pt x="387" y="261"/>
                    </a:cubicBezTo>
                    <a:cubicBezTo>
                      <a:pt x="389" y="261"/>
                      <a:pt x="389" y="261"/>
                      <a:pt x="389" y="261"/>
                    </a:cubicBezTo>
                    <a:cubicBezTo>
                      <a:pt x="390" y="261"/>
                      <a:pt x="390" y="261"/>
                      <a:pt x="390" y="261"/>
                    </a:cubicBezTo>
                    <a:cubicBezTo>
                      <a:pt x="390" y="260"/>
                      <a:pt x="390" y="260"/>
                      <a:pt x="390" y="260"/>
                    </a:cubicBezTo>
                    <a:cubicBezTo>
                      <a:pt x="387" y="259"/>
                      <a:pt x="387" y="259"/>
                      <a:pt x="387" y="259"/>
                    </a:cubicBezTo>
                    <a:cubicBezTo>
                      <a:pt x="384" y="259"/>
                      <a:pt x="384" y="259"/>
                      <a:pt x="384" y="259"/>
                    </a:cubicBezTo>
                    <a:cubicBezTo>
                      <a:pt x="382" y="260"/>
                      <a:pt x="382" y="260"/>
                      <a:pt x="382" y="260"/>
                    </a:cubicBezTo>
                    <a:cubicBezTo>
                      <a:pt x="382" y="261"/>
                      <a:pt x="382" y="261"/>
                      <a:pt x="382" y="261"/>
                    </a:cubicBezTo>
                    <a:close/>
                    <a:moveTo>
                      <a:pt x="589" y="280"/>
                    </a:moveTo>
                    <a:cubicBezTo>
                      <a:pt x="593" y="278"/>
                      <a:pt x="593" y="278"/>
                      <a:pt x="593" y="278"/>
                    </a:cubicBezTo>
                    <a:cubicBezTo>
                      <a:pt x="599" y="279"/>
                      <a:pt x="599" y="279"/>
                      <a:pt x="599" y="279"/>
                    </a:cubicBezTo>
                    <a:cubicBezTo>
                      <a:pt x="601" y="281"/>
                      <a:pt x="601" y="281"/>
                      <a:pt x="601" y="281"/>
                    </a:cubicBezTo>
                    <a:cubicBezTo>
                      <a:pt x="602" y="279"/>
                      <a:pt x="602" y="279"/>
                      <a:pt x="602" y="279"/>
                    </a:cubicBezTo>
                    <a:cubicBezTo>
                      <a:pt x="605" y="277"/>
                      <a:pt x="605" y="277"/>
                      <a:pt x="605" y="277"/>
                    </a:cubicBezTo>
                    <a:cubicBezTo>
                      <a:pt x="608" y="275"/>
                      <a:pt x="608" y="275"/>
                      <a:pt x="608" y="275"/>
                    </a:cubicBezTo>
                    <a:cubicBezTo>
                      <a:pt x="607" y="273"/>
                      <a:pt x="607" y="273"/>
                      <a:pt x="607" y="273"/>
                    </a:cubicBezTo>
                    <a:cubicBezTo>
                      <a:pt x="604" y="272"/>
                      <a:pt x="604" y="272"/>
                      <a:pt x="604" y="272"/>
                    </a:cubicBezTo>
                    <a:cubicBezTo>
                      <a:pt x="601" y="274"/>
                      <a:pt x="601" y="274"/>
                      <a:pt x="601" y="274"/>
                    </a:cubicBezTo>
                    <a:cubicBezTo>
                      <a:pt x="595" y="275"/>
                      <a:pt x="595" y="275"/>
                      <a:pt x="595" y="275"/>
                    </a:cubicBezTo>
                    <a:cubicBezTo>
                      <a:pt x="593" y="273"/>
                      <a:pt x="593" y="273"/>
                      <a:pt x="593" y="273"/>
                    </a:cubicBezTo>
                    <a:cubicBezTo>
                      <a:pt x="590" y="274"/>
                      <a:pt x="590" y="274"/>
                      <a:pt x="590" y="274"/>
                    </a:cubicBezTo>
                    <a:cubicBezTo>
                      <a:pt x="588" y="278"/>
                      <a:pt x="588" y="278"/>
                      <a:pt x="588" y="278"/>
                    </a:cubicBezTo>
                    <a:cubicBezTo>
                      <a:pt x="589" y="280"/>
                      <a:pt x="589" y="280"/>
                      <a:pt x="589" y="280"/>
                    </a:cubicBezTo>
                    <a:close/>
                    <a:moveTo>
                      <a:pt x="583" y="285"/>
                    </a:moveTo>
                    <a:cubicBezTo>
                      <a:pt x="581" y="287"/>
                      <a:pt x="581" y="287"/>
                      <a:pt x="581" y="287"/>
                    </a:cubicBezTo>
                    <a:cubicBezTo>
                      <a:pt x="582" y="287"/>
                      <a:pt x="582" y="287"/>
                      <a:pt x="582" y="287"/>
                    </a:cubicBezTo>
                    <a:cubicBezTo>
                      <a:pt x="584" y="286"/>
                      <a:pt x="584" y="286"/>
                      <a:pt x="584" y="286"/>
                    </a:cubicBezTo>
                    <a:cubicBezTo>
                      <a:pt x="583" y="285"/>
                      <a:pt x="583" y="285"/>
                      <a:pt x="583" y="285"/>
                    </a:cubicBezTo>
                    <a:close/>
                    <a:moveTo>
                      <a:pt x="565" y="285"/>
                    </a:moveTo>
                    <a:cubicBezTo>
                      <a:pt x="561" y="286"/>
                      <a:pt x="561" y="286"/>
                      <a:pt x="561" y="286"/>
                    </a:cubicBezTo>
                    <a:cubicBezTo>
                      <a:pt x="563" y="287"/>
                      <a:pt x="563" y="287"/>
                      <a:pt x="563" y="287"/>
                    </a:cubicBezTo>
                    <a:cubicBezTo>
                      <a:pt x="562" y="289"/>
                      <a:pt x="562" y="289"/>
                      <a:pt x="562" y="289"/>
                    </a:cubicBezTo>
                    <a:cubicBezTo>
                      <a:pt x="562" y="290"/>
                      <a:pt x="562" y="290"/>
                      <a:pt x="562" y="290"/>
                    </a:cubicBezTo>
                    <a:cubicBezTo>
                      <a:pt x="565" y="291"/>
                      <a:pt x="565" y="291"/>
                      <a:pt x="565" y="291"/>
                    </a:cubicBezTo>
                    <a:cubicBezTo>
                      <a:pt x="572" y="289"/>
                      <a:pt x="572" y="289"/>
                      <a:pt x="572" y="289"/>
                    </a:cubicBezTo>
                    <a:cubicBezTo>
                      <a:pt x="574" y="286"/>
                      <a:pt x="574" y="286"/>
                      <a:pt x="574" y="286"/>
                    </a:cubicBezTo>
                    <a:cubicBezTo>
                      <a:pt x="572" y="285"/>
                      <a:pt x="572" y="285"/>
                      <a:pt x="572" y="285"/>
                    </a:cubicBezTo>
                    <a:cubicBezTo>
                      <a:pt x="567" y="286"/>
                      <a:pt x="567" y="286"/>
                      <a:pt x="567" y="286"/>
                    </a:cubicBezTo>
                    <a:cubicBezTo>
                      <a:pt x="565" y="285"/>
                      <a:pt x="565" y="285"/>
                      <a:pt x="565" y="285"/>
                    </a:cubicBezTo>
                    <a:close/>
                    <a:moveTo>
                      <a:pt x="551" y="292"/>
                    </a:moveTo>
                    <a:cubicBezTo>
                      <a:pt x="554" y="292"/>
                      <a:pt x="554" y="292"/>
                      <a:pt x="554" y="292"/>
                    </a:cubicBezTo>
                    <a:cubicBezTo>
                      <a:pt x="556" y="294"/>
                      <a:pt x="556" y="294"/>
                      <a:pt x="556" y="294"/>
                    </a:cubicBezTo>
                    <a:cubicBezTo>
                      <a:pt x="559" y="290"/>
                      <a:pt x="559" y="290"/>
                      <a:pt x="559" y="290"/>
                    </a:cubicBezTo>
                    <a:cubicBezTo>
                      <a:pt x="558" y="288"/>
                      <a:pt x="558" y="288"/>
                      <a:pt x="558" y="288"/>
                    </a:cubicBezTo>
                    <a:cubicBezTo>
                      <a:pt x="556" y="290"/>
                      <a:pt x="556" y="290"/>
                      <a:pt x="556" y="290"/>
                    </a:cubicBezTo>
                    <a:cubicBezTo>
                      <a:pt x="553" y="290"/>
                      <a:pt x="553" y="290"/>
                      <a:pt x="553" y="290"/>
                    </a:cubicBezTo>
                    <a:cubicBezTo>
                      <a:pt x="551" y="292"/>
                      <a:pt x="551" y="292"/>
                      <a:pt x="551" y="292"/>
                    </a:cubicBezTo>
                    <a:close/>
                    <a:moveTo>
                      <a:pt x="539" y="293"/>
                    </a:moveTo>
                    <a:cubicBezTo>
                      <a:pt x="543" y="290"/>
                      <a:pt x="543" y="290"/>
                      <a:pt x="543" y="290"/>
                    </a:cubicBezTo>
                    <a:cubicBezTo>
                      <a:pt x="542" y="288"/>
                      <a:pt x="542" y="288"/>
                      <a:pt x="542" y="288"/>
                    </a:cubicBezTo>
                    <a:cubicBezTo>
                      <a:pt x="544" y="288"/>
                      <a:pt x="544" y="288"/>
                      <a:pt x="544" y="288"/>
                    </a:cubicBezTo>
                    <a:cubicBezTo>
                      <a:pt x="547" y="288"/>
                      <a:pt x="547" y="288"/>
                      <a:pt x="547" y="288"/>
                    </a:cubicBezTo>
                    <a:cubicBezTo>
                      <a:pt x="549" y="287"/>
                      <a:pt x="549" y="287"/>
                      <a:pt x="549" y="287"/>
                    </a:cubicBezTo>
                    <a:cubicBezTo>
                      <a:pt x="551" y="287"/>
                      <a:pt x="551" y="287"/>
                      <a:pt x="551" y="287"/>
                    </a:cubicBezTo>
                    <a:cubicBezTo>
                      <a:pt x="547" y="291"/>
                      <a:pt x="547" y="291"/>
                      <a:pt x="547" y="291"/>
                    </a:cubicBezTo>
                    <a:cubicBezTo>
                      <a:pt x="545" y="293"/>
                      <a:pt x="545" y="293"/>
                      <a:pt x="545" y="293"/>
                    </a:cubicBezTo>
                    <a:cubicBezTo>
                      <a:pt x="541" y="294"/>
                      <a:pt x="541" y="294"/>
                      <a:pt x="541" y="294"/>
                    </a:cubicBezTo>
                    <a:cubicBezTo>
                      <a:pt x="539" y="293"/>
                      <a:pt x="539" y="293"/>
                      <a:pt x="539" y="293"/>
                    </a:cubicBezTo>
                    <a:close/>
                    <a:moveTo>
                      <a:pt x="536" y="291"/>
                    </a:moveTo>
                    <a:cubicBezTo>
                      <a:pt x="532" y="292"/>
                      <a:pt x="532" y="292"/>
                      <a:pt x="532" y="292"/>
                    </a:cubicBezTo>
                    <a:cubicBezTo>
                      <a:pt x="531" y="295"/>
                      <a:pt x="531" y="295"/>
                      <a:pt x="531" y="295"/>
                    </a:cubicBezTo>
                    <a:cubicBezTo>
                      <a:pt x="533" y="293"/>
                      <a:pt x="533" y="293"/>
                      <a:pt x="533" y="293"/>
                    </a:cubicBezTo>
                    <a:cubicBezTo>
                      <a:pt x="536" y="291"/>
                      <a:pt x="536" y="291"/>
                      <a:pt x="536" y="291"/>
                    </a:cubicBezTo>
                    <a:close/>
                    <a:moveTo>
                      <a:pt x="538" y="286"/>
                    </a:moveTo>
                    <a:cubicBezTo>
                      <a:pt x="536" y="288"/>
                      <a:pt x="536" y="288"/>
                      <a:pt x="536" y="288"/>
                    </a:cubicBezTo>
                    <a:cubicBezTo>
                      <a:pt x="538" y="289"/>
                      <a:pt x="538" y="289"/>
                      <a:pt x="538" y="289"/>
                    </a:cubicBezTo>
                    <a:cubicBezTo>
                      <a:pt x="539" y="288"/>
                      <a:pt x="539" y="288"/>
                      <a:pt x="539" y="288"/>
                    </a:cubicBezTo>
                    <a:cubicBezTo>
                      <a:pt x="538" y="286"/>
                      <a:pt x="538" y="286"/>
                      <a:pt x="538" y="286"/>
                    </a:cubicBezTo>
                    <a:close/>
                    <a:moveTo>
                      <a:pt x="470" y="294"/>
                    </a:moveTo>
                    <a:cubicBezTo>
                      <a:pt x="470" y="293"/>
                      <a:pt x="471" y="290"/>
                      <a:pt x="471" y="290"/>
                    </a:cubicBezTo>
                    <a:cubicBezTo>
                      <a:pt x="477" y="287"/>
                      <a:pt x="477" y="287"/>
                      <a:pt x="477" y="287"/>
                    </a:cubicBezTo>
                    <a:cubicBezTo>
                      <a:pt x="486" y="285"/>
                      <a:pt x="486" y="285"/>
                      <a:pt x="486" y="285"/>
                    </a:cubicBezTo>
                    <a:cubicBezTo>
                      <a:pt x="491" y="288"/>
                      <a:pt x="491" y="288"/>
                      <a:pt x="491" y="288"/>
                    </a:cubicBezTo>
                    <a:cubicBezTo>
                      <a:pt x="493" y="287"/>
                      <a:pt x="493" y="287"/>
                      <a:pt x="493" y="287"/>
                    </a:cubicBezTo>
                    <a:cubicBezTo>
                      <a:pt x="498" y="288"/>
                      <a:pt x="498" y="288"/>
                      <a:pt x="498" y="288"/>
                    </a:cubicBezTo>
                    <a:cubicBezTo>
                      <a:pt x="504" y="291"/>
                      <a:pt x="504" y="291"/>
                      <a:pt x="504" y="291"/>
                    </a:cubicBezTo>
                    <a:cubicBezTo>
                      <a:pt x="508" y="290"/>
                      <a:pt x="508" y="290"/>
                      <a:pt x="508" y="290"/>
                    </a:cubicBezTo>
                    <a:cubicBezTo>
                      <a:pt x="513" y="290"/>
                      <a:pt x="513" y="290"/>
                      <a:pt x="513" y="290"/>
                    </a:cubicBezTo>
                    <a:cubicBezTo>
                      <a:pt x="516" y="292"/>
                      <a:pt x="516" y="292"/>
                      <a:pt x="516" y="292"/>
                    </a:cubicBezTo>
                    <a:cubicBezTo>
                      <a:pt x="520" y="291"/>
                      <a:pt x="520" y="291"/>
                      <a:pt x="520" y="291"/>
                    </a:cubicBezTo>
                    <a:cubicBezTo>
                      <a:pt x="522" y="289"/>
                      <a:pt x="522" y="289"/>
                      <a:pt x="522" y="289"/>
                    </a:cubicBezTo>
                    <a:cubicBezTo>
                      <a:pt x="526" y="288"/>
                      <a:pt x="526" y="288"/>
                      <a:pt x="526" y="288"/>
                    </a:cubicBezTo>
                    <a:cubicBezTo>
                      <a:pt x="528" y="285"/>
                      <a:pt x="528" y="285"/>
                      <a:pt x="528" y="285"/>
                    </a:cubicBezTo>
                    <a:cubicBezTo>
                      <a:pt x="526" y="284"/>
                      <a:pt x="526" y="284"/>
                      <a:pt x="526" y="284"/>
                    </a:cubicBezTo>
                    <a:cubicBezTo>
                      <a:pt x="530" y="282"/>
                      <a:pt x="530" y="282"/>
                      <a:pt x="530" y="282"/>
                    </a:cubicBezTo>
                    <a:cubicBezTo>
                      <a:pt x="534" y="283"/>
                      <a:pt x="534" y="283"/>
                      <a:pt x="534" y="283"/>
                    </a:cubicBezTo>
                    <a:cubicBezTo>
                      <a:pt x="534" y="287"/>
                      <a:pt x="534" y="287"/>
                      <a:pt x="534" y="287"/>
                    </a:cubicBezTo>
                    <a:cubicBezTo>
                      <a:pt x="532" y="290"/>
                      <a:pt x="532" y="290"/>
                      <a:pt x="532" y="290"/>
                    </a:cubicBezTo>
                    <a:cubicBezTo>
                      <a:pt x="530" y="291"/>
                      <a:pt x="530" y="291"/>
                      <a:pt x="530" y="291"/>
                    </a:cubicBezTo>
                    <a:cubicBezTo>
                      <a:pt x="527" y="294"/>
                      <a:pt x="527" y="294"/>
                      <a:pt x="527" y="294"/>
                    </a:cubicBezTo>
                    <a:cubicBezTo>
                      <a:pt x="523" y="295"/>
                      <a:pt x="523" y="295"/>
                      <a:pt x="523" y="295"/>
                    </a:cubicBezTo>
                    <a:cubicBezTo>
                      <a:pt x="521" y="297"/>
                      <a:pt x="521" y="297"/>
                      <a:pt x="521" y="297"/>
                    </a:cubicBezTo>
                    <a:cubicBezTo>
                      <a:pt x="518" y="296"/>
                      <a:pt x="518" y="296"/>
                      <a:pt x="518" y="296"/>
                    </a:cubicBezTo>
                    <a:cubicBezTo>
                      <a:pt x="513" y="296"/>
                      <a:pt x="513" y="296"/>
                      <a:pt x="513" y="296"/>
                    </a:cubicBezTo>
                    <a:cubicBezTo>
                      <a:pt x="507" y="298"/>
                      <a:pt x="507" y="298"/>
                      <a:pt x="507" y="298"/>
                    </a:cubicBezTo>
                    <a:cubicBezTo>
                      <a:pt x="501" y="297"/>
                      <a:pt x="501" y="297"/>
                      <a:pt x="501" y="297"/>
                    </a:cubicBezTo>
                    <a:cubicBezTo>
                      <a:pt x="497" y="299"/>
                      <a:pt x="497" y="299"/>
                      <a:pt x="497" y="299"/>
                    </a:cubicBezTo>
                    <a:cubicBezTo>
                      <a:pt x="496" y="300"/>
                      <a:pt x="496" y="300"/>
                      <a:pt x="496" y="300"/>
                    </a:cubicBezTo>
                    <a:cubicBezTo>
                      <a:pt x="493" y="300"/>
                      <a:pt x="493" y="300"/>
                      <a:pt x="493" y="300"/>
                    </a:cubicBezTo>
                    <a:cubicBezTo>
                      <a:pt x="491" y="298"/>
                      <a:pt x="491" y="298"/>
                      <a:pt x="491" y="298"/>
                    </a:cubicBezTo>
                    <a:cubicBezTo>
                      <a:pt x="488" y="300"/>
                      <a:pt x="488" y="300"/>
                      <a:pt x="488" y="300"/>
                    </a:cubicBezTo>
                    <a:cubicBezTo>
                      <a:pt x="485" y="298"/>
                      <a:pt x="485" y="298"/>
                      <a:pt x="485" y="298"/>
                    </a:cubicBezTo>
                    <a:cubicBezTo>
                      <a:pt x="482" y="298"/>
                      <a:pt x="482" y="298"/>
                      <a:pt x="482" y="298"/>
                    </a:cubicBezTo>
                    <a:cubicBezTo>
                      <a:pt x="480" y="298"/>
                      <a:pt x="480" y="298"/>
                      <a:pt x="480" y="298"/>
                    </a:cubicBezTo>
                    <a:cubicBezTo>
                      <a:pt x="477" y="297"/>
                      <a:pt x="477" y="297"/>
                      <a:pt x="477" y="297"/>
                    </a:cubicBezTo>
                    <a:cubicBezTo>
                      <a:pt x="474" y="298"/>
                      <a:pt x="474" y="298"/>
                      <a:pt x="474" y="298"/>
                    </a:cubicBezTo>
                    <a:cubicBezTo>
                      <a:pt x="471" y="297"/>
                      <a:pt x="471" y="297"/>
                      <a:pt x="471" y="297"/>
                    </a:cubicBezTo>
                    <a:cubicBezTo>
                      <a:pt x="470" y="294"/>
                      <a:pt x="470" y="294"/>
                      <a:pt x="470" y="294"/>
                    </a:cubicBezTo>
                    <a:close/>
                    <a:moveTo>
                      <a:pt x="467" y="293"/>
                    </a:moveTo>
                    <a:cubicBezTo>
                      <a:pt x="466" y="297"/>
                      <a:pt x="466" y="297"/>
                      <a:pt x="466" y="297"/>
                    </a:cubicBezTo>
                    <a:cubicBezTo>
                      <a:pt x="469" y="297"/>
                      <a:pt x="469" y="297"/>
                      <a:pt x="469" y="297"/>
                    </a:cubicBezTo>
                    <a:cubicBezTo>
                      <a:pt x="469" y="295"/>
                      <a:pt x="469" y="295"/>
                      <a:pt x="469" y="295"/>
                    </a:cubicBezTo>
                    <a:cubicBezTo>
                      <a:pt x="467" y="293"/>
                      <a:pt x="467" y="293"/>
                      <a:pt x="467" y="293"/>
                    </a:cubicBezTo>
                    <a:close/>
                    <a:moveTo>
                      <a:pt x="466" y="291"/>
                    </a:moveTo>
                    <a:cubicBezTo>
                      <a:pt x="462" y="290"/>
                      <a:pt x="462" y="290"/>
                      <a:pt x="462" y="290"/>
                    </a:cubicBezTo>
                    <a:cubicBezTo>
                      <a:pt x="461" y="295"/>
                      <a:pt x="461" y="295"/>
                      <a:pt x="461" y="295"/>
                    </a:cubicBezTo>
                    <a:cubicBezTo>
                      <a:pt x="463" y="297"/>
                      <a:pt x="463" y="297"/>
                      <a:pt x="463" y="297"/>
                    </a:cubicBezTo>
                    <a:cubicBezTo>
                      <a:pt x="464" y="293"/>
                      <a:pt x="464" y="293"/>
                      <a:pt x="464" y="293"/>
                    </a:cubicBezTo>
                    <a:cubicBezTo>
                      <a:pt x="466" y="291"/>
                      <a:pt x="466" y="291"/>
                      <a:pt x="466" y="291"/>
                    </a:cubicBezTo>
                    <a:close/>
                    <a:moveTo>
                      <a:pt x="411" y="294"/>
                    </a:moveTo>
                    <a:cubicBezTo>
                      <a:pt x="410" y="296"/>
                      <a:pt x="410" y="296"/>
                      <a:pt x="410" y="296"/>
                    </a:cubicBezTo>
                    <a:cubicBezTo>
                      <a:pt x="411" y="298"/>
                      <a:pt x="411" y="298"/>
                      <a:pt x="411" y="298"/>
                    </a:cubicBezTo>
                    <a:cubicBezTo>
                      <a:pt x="410" y="299"/>
                      <a:pt x="410" y="299"/>
                      <a:pt x="410" y="299"/>
                    </a:cubicBezTo>
                    <a:cubicBezTo>
                      <a:pt x="412" y="301"/>
                      <a:pt x="412" y="301"/>
                      <a:pt x="412" y="301"/>
                    </a:cubicBezTo>
                    <a:cubicBezTo>
                      <a:pt x="415" y="303"/>
                      <a:pt x="415" y="303"/>
                      <a:pt x="415" y="303"/>
                    </a:cubicBezTo>
                    <a:cubicBezTo>
                      <a:pt x="420" y="302"/>
                      <a:pt x="420" y="302"/>
                      <a:pt x="420" y="302"/>
                    </a:cubicBezTo>
                    <a:cubicBezTo>
                      <a:pt x="423" y="303"/>
                      <a:pt x="423" y="303"/>
                      <a:pt x="423" y="303"/>
                    </a:cubicBezTo>
                    <a:cubicBezTo>
                      <a:pt x="427" y="301"/>
                      <a:pt x="427" y="301"/>
                      <a:pt x="427" y="301"/>
                    </a:cubicBezTo>
                    <a:cubicBezTo>
                      <a:pt x="429" y="299"/>
                      <a:pt x="429" y="299"/>
                      <a:pt x="429" y="299"/>
                    </a:cubicBezTo>
                    <a:cubicBezTo>
                      <a:pt x="432" y="300"/>
                      <a:pt x="432" y="300"/>
                      <a:pt x="432" y="300"/>
                    </a:cubicBezTo>
                    <a:cubicBezTo>
                      <a:pt x="437" y="299"/>
                      <a:pt x="437" y="299"/>
                      <a:pt x="437" y="299"/>
                    </a:cubicBezTo>
                    <a:cubicBezTo>
                      <a:pt x="441" y="299"/>
                      <a:pt x="441" y="299"/>
                      <a:pt x="441" y="299"/>
                    </a:cubicBezTo>
                    <a:cubicBezTo>
                      <a:pt x="445" y="296"/>
                      <a:pt x="445" y="296"/>
                      <a:pt x="445" y="296"/>
                    </a:cubicBezTo>
                    <a:cubicBezTo>
                      <a:pt x="446" y="298"/>
                      <a:pt x="446" y="298"/>
                      <a:pt x="446" y="298"/>
                    </a:cubicBezTo>
                    <a:cubicBezTo>
                      <a:pt x="450" y="298"/>
                      <a:pt x="450" y="298"/>
                      <a:pt x="450" y="298"/>
                    </a:cubicBezTo>
                    <a:cubicBezTo>
                      <a:pt x="455" y="299"/>
                      <a:pt x="455" y="299"/>
                      <a:pt x="455" y="299"/>
                    </a:cubicBezTo>
                    <a:cubicBezTo>
                      <a:pt x="452" y="297"/>
                      <a:pt x="452" y="297"/>
                      <a:pt x="452" y="297"/>
                    </a:cubicBezTo>
                    <a:cubicBezTo>
                      <a:pt x="457" y="297"/>
                      <a:pt x="457" y="297"/>
                      <a:pt x="457" y="297"/>
                    </a:cubicBezTo>
                    <a:cubicBezTo>
                      <a:pt x="458" y="293"/>
                      <a:pt x="458" y="293"/>
                      <a:pt x="458" y="293"/>
                    </a:cubicBezTo>
                    <a:cubicBezTo>
                      <a:pt x="456" y="294"/>
                      <a:pt x="456" y="294"/>
                      <a:pt x="456" y="294"/>
                    </a:cubicBezTo>
                    <a:cubicBezTo>
                      <a:pt x="455" y="291"/>
                      <a:pt x="455" y="291"/>
                      <a:pt x="455" y="291"/>
                    </a:cubicBezTo>
                    <a:cubicBezTo>
                      <a:pt x="456" y="288"/>
                      <a:pt x="456" y="288"/>
                      <a:pt x="456" y="288"/>
                    </a:cubicBezTo>
                    <a:cubicBezTo>
                      <a:pt x="452" y="287"/>
                      <a:pt x="452" y="287"/>
                      <a:pt x="452" y="287"/>
                    </a:cubicBezTo>
                    <a:cubicBezTo>
                      <a:pt x="452" y="290"/>
                      <a:pt x="452" y="290"/>
                      <a:pt x="452" y="290"/>
                    </a:cubicBezTo>
                    <a:cubicBezTo>
                      <a:pt x="450" y="291"/>
                      <a:pt x="450" y="291"/>
                      <a:pt x="450" y="291"/>
                    </a:cubicBezTo>
                    <a:cubicBezTo>
                      <a:pt x="450" y="287"/>
                      <a:pt x="450" y="287"/>
                      <a:pt x="450" y="287"/>
                    </a:cubicBezTo>
                    <a:cubicBezTo>
                      <a:pt x="446" y="285"/>
                      <a:pt x="446" y="285"/>
                      <a:pt x="446" y="285"/>
                    </a:cubicBezTo>
                    <a:cubicBezTo>
                      <a:pt x="442" y="287"/>
                      <a:pt x="442" y="287"/>
                      <a:pt x="442" y="287"/>
                    </a:cubicBezTo>
                    <a:cubicBezTo>
                      <a:pt x="439" y="284"/>
                      <a:pt x="439" y="284"/>
                      <a:pt x="439" y="284"/>
                    </a:cubicBezTo>
                    <a:cubicBezTo>
                      <a:pt x="435" y="283"/>
                      <a:pt x="435" y="283"/>
                      <a:pt x="435" y="283"/>
                    </a:cubicBezTo>
                    <a:cubicBezTo>
                      <a:pt x="431" y="286"/>
                      <a:pt x="431" y="286"/>
                      <a:pt x="431" y="286"/>
                    </a:cubicBezTo>
                    <a:cubicBezTo>
                      <a:pt x="431" y="288"/>
                      <a:pt x="431" y="288"/>
                      <a:pt x="431" y="288"/>
                    </a:cubicBezTo>
                    <a:cubicBezTo>
                      <a:pt x="439" y="291"/>
                      <a:pt x="439" y="291"/>
                      <a:pt x="439" y="291"/>
                    </a:cubicBezTo>
                    <a:cubicBezTo>
                      <a:pt x="442" y="294"/>
                      <a:pt x="442" y="294"/>
                      <a:pt x="442" y="294"/>
                    </a:cubicBezTo>
                    <a:cubicBezTo>
                      <a:pt x="436" y="294"/>
                      <a:pt x="436" y="294"/>
                      <a:pt x="436" y="294"/>
                    </a:cubicBezTo>
                    <a:cubicBezTo>
                      <a:pt x="433" y="296"/>
                      <a:pt x="433" y="296"/>
                      <a:pt x="433" y="296"/>
                    </a:cubicBezTo>
                    <a:cubicBezTo>
                      <a:pt x="429" y="293"/>
                      <a:pt x="429" y="293"/>
                      <a:pt x="429" y="293"/>
                    </a:cubicBezTo>
                    <a:cubicBezTo>
                      <a:pt x="428" y="290"/>
                      <a:pt x="428" y="290"/>
                      <a:pt x="428" y="290"/>
                    </a:cubicBezTo>
                    <a:cubicBezTo>
                      <a:pt x="425" y="289"/>
                      <a:pt x="425" y="289"/>
                      <a:pt x="425" y="289"/>
                    </a:cubicBezTo>
                    <a:cubicBezTo>
                      <a:pt x="422" y="290"/>
                      <a:pt x="422" y="290"/>
                      <a:pt x="422" y="290"/>
                    </a:cubicBezTo>
                    <a:cubicBezTo>
                      <a:pt x="419" y="289"/>
                      <a:pt x="419" y="289"/>
                      <a:pt x="419" y="289"/>
                    </a:cubicBezTo>
                    <a:cubicBezTo>
                      <a:pt x="413" y="291"/>
                      <a:pt x="413" y="291"/>
                      <a:pt x="413" y="291"/>
                    </a:cubicBezTo>
                    <a:cubicBezTo>
                      <a:pt x="413" y="291"/>
                      <a:pt x="410" y="294"/>
                      <a:pt x="411" y="294"/>
                    </a:cubicBezTo>
                    <a:close/>
                    <a:moveTo>
                      <a:pt x="399" y="289"/>
                    </a:moveTo>
                    <a:cubicBezTo>
                      <a:pt x="403" y="287"/>
                      <a:pt x="403" y="287"/>
                      <a:pt x="403" y="287"/>
                    </a:cubicBezTo>
                    <a:cubicBezTo>
                      <a:pt x="409" y="289"/>
                      <a:pt x="409" y="289"/>
                      <a:pt x="409" y="289"/>
                    </a:cubicBezTo>
                    <a:cubicBezTo>
                      <a:pt x="409" y="293"/>
                      <a:pt x="409" y="293"/>
                      <a:pt x="409" y="293"/>
                    </a:cubicBezTo>
                    <a:cubicBezTo>
                      <a:pt x="407" y="295"/>
                      <a:pt x="407" y="295"/>
                      <a:pt x="407" y="295"/>
                    </a:cubicBezTo>
                    <a:cubicBezTo>
                      <a:pt x="407" y="298"/>
                      <a:pt x="407" y="298"/>
                      <a:pt x="407" y="298"/>
                    </a:cubicBezTo>
                    <a:cubicBezTo>
                      <a:pt x="405" y="297"/>
                      <a:pt x="405" y="297"/>
                      <a:pt x="405" y="297"/>
                    </a:cubicBezTo>
                    <a:cubicBezTo>
                      <a:pt x="401" y="299"/>
                      <a:pt x="401" y="299"/>
                      <a:pt x="401" y="299"/>
                    </a:cubicBezTo>
                    <a:cubicBezTo>
                      <a:pt x="395" y="297"/>
                      <a:pt x="395" y="297"/>
                      <a:pt x="395" y="297"/>
                    </a:cubicBezTo>
                    <a:cubicBezTo>
                      <a:pt x="393" y="295"/>
                      <a:pt x="393" y="295"/>
                      <a:pt x="393" y="295"/>
                    </a:cubicBezTo>
                    <a:cubicBezTo>
                      <a:pt x="395" y="294"/>
                      <a:pt x="395" y="294"/>
                      <a:pt x="395" y="294"/>
                    </a:cubicBezTo>
                    <a:cubicBezTo>
                      <a:pt x="398" y="294"/>
                      <a:pt x="398" y="294"/>
                      <a:pt x="398" y="294"/>
                    </a:cubicBezTo>
                    <a:cubicBezTo>
                      <a:pt x="399" y="289"/>
                      <a:pt x="399" y="289"/>
                      <a:pt x="399" y="289"/>
                    </a:cubicBezTo>
                    <a:close/>
                    <a:moveTo>
                      <a:pt x="387" y="295"/>
                    </a:moveTo>
                    <a:cubicBezTo>
                      <a:pt x="389" y="293"/>
                      <a:pt x="389" y="293"/>
                      <a:pt x="389" y="293"/>
                    </a:cubicBezTo>
                    <a:cubicBezTo>
                      <a:pt x="390" y="296"/>
                      <a:pt x="390" y="296"/>
                      <a:pt x="390" y="296"/>
                    </a:cubicBezTo>
                    <a:cubicBezTo>
                      <a:pt x="388" y="297"/>
                      <a:pt x="388" y="297"/>
                      <a:pt x="388" y="297"/>
                    </a:cubicBezTo>
                    <a:cubicBezTo>
                      <a:pt x="387" y="295"/>
                      <a:pt x="387" y="295"/>
                      <a:pt x="387" y="295"/>
                    </a:cubicBezTo>
                    <a:close/>
                    <a:moveTo>
                      <a:pt x="369" y="284"/>
                    </a:moveTo>
                    <a:cubicBezTo>
                      <a:pt x="369" y="287"/>
                      <a:pt x="369" y="287"/>
                      <a:pt x="369" y="287"/>
                    </a:cubicBezTo>
                    <a:cubicBezTo>
                      <a:pt x="370" y="289"/>
                      <a:pt x="370" y="289"/>
                      <a:pt x="370" y="289"/>
                    </a:cubicBezTo>
                    <a:cubicBezTo>
                      <a:pt x="376" y="290"/>
                      <a:pt x="376" y="290"/>
                      <a:pt x="376" y="290"/>
                    </a:cubicBezTo>
                    <a:cubicBezTo>
                      <a:pt x="380" y="294"/>
                      <a:pt x="380" y="294"/>
                      <a:pt x="380" y="294"/>
                    </a:cubicBezTo>
                    <a:cubicBezTo>
                      <a:pt x="381" y="296"/>
                      <a:pt x="381" y="296"/>
                      <a:pt x="381" y="296"/>
                    </a:cubicBezTo>
                    <a:cubicBezTo>
                      <a:pt x="383" y="293"/>
                      <a:pt x="383" y="293"/>
                      <a:pt x="383" y="293"/>
                    </a:cubicBezTo>
                    <a:cubicBezTo>
                      <a:pt x="386" y="292"/>
                      <a:pt x="386" y="292"/>
                      <a:pt x="386" y="292"/>
                    </a:cubicBezTo>
                    <a:cubicBezTo>
                      <a:pt x="387" y="291"/>
                      <a:pt x="387" y="291"/>
                      <a:pt x="387" y="291"/>
                    </a:cubicBezTo>
                    <a:cubicBezTo>
                      <a:pt x="391" y="290"/>
                      <a:pt x="391" y="290"/>
                      <a:pt x="391" y="290"/>
                    </a:cubicBezTo>
                    <a:cubicBezTo>
                      <a:pt x="392" y="288"/>
                      <a:pt x="392" y="288"/>
                      <a:pt x="392" y="288"/>
                    </a:cubicBezTo>
                    <a:cubicBezTo>
                      <a:pt x="388" y="283"/>
                      <a:pt x="388" y="283"/>
                      <a:pt x="388" y="283"/>
                    </a:cubicBezTo>
                    <a:cubicBezTo>
                      <a:pt x="382" y="282"/>
                      <a:pt x="382" y="282"/>
                      <a:pt x="382" y="282"/>
                    </a:cubicBezTo>
                    <a:cubicBezTo>
                      <a:pt x="377" y="284"/>
                      <a:pt x="377" y="284"/>
                      <a:pt x="377" y="284"/>
                    </a:cubicBezTo>
                    <a:cubicBezTo>
                      <a:pt x="373" y="283"/>
                      <a:pt x="373" y="283"/>
                      <a:pt x="373" y="283"/>
                    </a:cubicBezTo>
                    <a:cubicBezTo>
                      <a:pt x="369" y="284"/>
                      <a:pt x="369" y="284"/>
                      <a:pt x="369" y="284"/>
                    </a:cubicBezTo>
                    <a:close/>
                    <a:moveTo>
                      <a:pt x="836" y="287"/>
                    </a:moveTo>
                    <a:cubicBezTo>
                      <a:pt x="837" y="287"/>
                      <a:pt x="837" y="287"/>
                      <a:pt x="837" y="287"/>
                    </a:cubicBezTo>
                    <a:cubicBezTo>
                      <a:pt x="841" y="288"/>
                      <a:pt x="841" y="288"/>
                      <a:pt x="841" y="288"/>
                    </a:cubicBezTo>
                    <a:cubicBezTo>
                      <a:pt x="842" y="287"/>
                      <a:pt x="842" y="287"/>
                      <a:pt x="842" y="287"/>
                    </a:cubicBezTo>
                    <a:cubicBezTo>
                      <a:pt x="841" y="283"/>
                      <a:pt x="841" y="283"/>
                      <a:pt x="841" y="283"/>
                    </a:cubicBezTo>
                    <a:cubicBezTo>
                      <a:pt x="839" y="282"/>
                      <a:pt x="839" y="282"/>
                      <a:pt x="839" y="282"/>
                    </a:cubicBezTo>
                    <a:cubicBezTo>
                      <a:pt x="837" y="284"/>
                      <a:pt x="837" y="284"/>
                      <a:pt x="837" y="284"/>
                    </a:cubicBezTo>
                    <a:cubicBezTo>
                      <a:pt x="836" y="287"/>
                      <a:pt x="836" y="287"/>
                      <a:pt x="836" y="287"/>
                    </a:cubicBezTo>
                    <a:close/>
                    <a:moveTo>
                      <a:pt x="817" y="287"/>
                    </a:moveTo>
                    <a:cubicBezTo>
                      <a:pt x="816" y="287"/>
                      <a:pt x="823" y="287"/>
                      <a:pt x="823" y="287"/>
                    </a:cubicBezTo>
                    <a:cubicBezTo>
                      <a:pt x="826" y="286"/>
                      <a:pt x="826" y="286"/>
                      <a:pt x="826" y="286"/>
                    </a:cubicBezTo>
                    <a:cubicBezTo>
                      <a:pt x="831" y="287"/>
                      <a:pt x="831" y="287"/>
                      <a:pt x="831" y="287"/>
                    </a:cubicBezTo>
                    <a:cubicBezTo>
                      <a:pt x="834" y="286"/>
                      <a:pt x="834" y="286"/>
                      <a:pt x="834" y="286"/>
                    </a:cubicBezTo>
                    <a:cubicBezTo>
                      <a:pt x="837" y="282"/>
                      <a:pt x="837" y="282"/>
                      <a:pt x="837" y="282"/>
                    </a:cubicBezTo>
                    <a:cubicBezTo>
                      <a:pt x="840" y="281"/>
                      <a:pt x="840" y="281"/>
                      <a:pt x="840" y="281"/>
                    </a:cubicBezTo>
                    <a:cubicBezTo>
                      <a:pt x="841" y="280"/>
                      <a:pt x="841" y="280"/>
                      <a:pt x="841" y="280"/>
                    </a:cubicBezTo>
                    <a:cubicBezTo>
                      <a:pt x="841" y="278"/>
                      <a:pt x="841" y="278"/>
                      <a:pt x="841" y="278"/>
                    </a:cubicBezTo>
                    <a:cubicBezTo>
                      <a:pt x="842" y="277"/>
                      <a:pt x="842" y="277"/>
                      <a:pt x="842" y="277"/>
                    </a:cubicBezTo>
                    <a:cubicBezTo>
                      <a:pt x="843" y="274"/>
                      <a:pt x="843" y="274"/>
                      <a:pt x="843" y="274"/>
                    </a:cubicBezTo>
                    <a:cubicBezTo>
                      <a:pt x="844" y="272"/>
                      <a:pt x="844" y="272"/>
                      <a:pt x="844" y="272"/>
                    </a:cubicBezTo>
                    <a:cubicBezTo>
                      <a:pt x="841" y="270"/>
                      <a:pt x="841" y="270"/>
                      <a:pt x="841" y="270"/>
                    </a:cubicBezTo>
                    <a:cubicBezTo>
                      <a:pt x="840" y="269"/>
                      <a:pt x="840" y="269"/>
                      <a:pt x="840" y="269"/>
                    </a:cubicBezTo>
                    <a:cubicBezTo>
                      <a:pt x="833" y="269"/>
                      <a:pt x="833" y="269"/>
                      <a:pt x="833" y="269"/>
                    </a:cubicBezTo>
                    <a:cubicBezTo>
                      <a:pt x="828" y="271"/>
                      <a:pt x="828" y="271"/>
                      <a:pt x="828" y="271"/>
                    </a:cubicBezTo>
                    <a:cubicBezTo>
                      <a:pt x="826" y="276"/>
                      <a:pt x="826" y="276"/>
                      <a:pt x="826" y="276"/>
                    </a:cubicBezTo>
                    <a:cubicBezTo>
                      <a:pt x="824" y="280"/>
                      <a:pt x="824" y="280"/>
                      <a:pt x="824" y="280"/>
                    </a:cubicBezTo>
                    <a:cubicBezTo>
                      <a:pt x="817" y="287"/>
                      <a:pt x="817" y="287"/>
                      <a:pt x="817" y="287"/>
                    </a:cubicBezTo>
                    <a:close/>
                    <a:moveTo>
                      <a:pt x="339" y="259"/>
                    </a:moveTo>
                    <a:cubicBezTo>
                      <a:pt x="337" y="263"/>
                      <a:pt x="337" y="263"/>
                      <a:pt x="337" y="263"/>
                    </a:cubicBezTo>
                    <a:cubicBezTo>
                      <a:pt x="340" y="267"/>
                      <a:pt x="340" y="267"/>
                      <a:pt x="340" y="267"/>
                    </a:cubicBezTo>
                    <a:cubicBezTo>
                      <a:pt x="343" y="267"/>
                      <a:pt x="343" y="267"/>
                      <a:pt x="343" y="267"/>
                    </a:cubicBezTo>
                    <a:cubicBezTo>
                      <a:pt x="346" y="266"/>
                      <a:pt x="346" y="266"/>
                      <a:pt x="346" y="266"/>
                    </a:cubicBezTo>
                    <a:cubicBezTo>
                      <a:pt x="352" y="266"/>
                      <a:pt x="352" y="266"/>
                      <a:pt x="352" y="266"/>
                    </a:cubicBezTo>
                    <a:cubicBezTo>
                      <a:pt x="356" y="265"/>
                      <a:pt x="356" y="265"/>
                      <a:pt x="356" y="265"/>
                    </a:cubicBezTo>
                    <a:cubicBezTo>
                      <a:pt x="360" y="264"/>
                      <a:pt x="360" y="264"/>
                      <a:pt x="360" y="264"/>
                    </a:cubicBezTo>
                    <a:cubicBezTo>
                      <a:pt x="362" y="262"/>
                      <a:pt x="362" y="262"/>
                      <a:pt x="362" y="262"/>
                    </a:cubicBezTo>
                    <a:cubicBezTo>
                      <a:pt x="360" y="261"/>
                      <a:pt x="360" y="261"/>
                      <a:pt x="360" y="261"/>
                    </a:cubicBezTo>
                    <a:cubicBezTo>
                      <a:pt x="355" y="262"/>
                      <a:pt x="355" y="262"/>
                      <a:pt x="355" y="262"/>
                    </a:cubicBezTo>
                    <a:cubicBezTo>
                      <a:pt x="352" y="261"/>
                      <a:pt x="352" y="261"/>
                      <a:pt x="352" y="261"/>
                    </a:cubicBezTo>
                    <a:cubicBezTo>
                      <a:pt x="341" y="260"/>
                      <a:pt x="341" y="260"/>
                      <a:pt x="341" y="260"/>
                    </a:cubicBezTo>
                    <a:cubicBezTo>
                      <a:pt x="339" y="259"/>
                      <a:pt x="339" y="259"/>
                      <a:pt x="339" y="259"/>
                    </a:cubicBezTo>
                    <a:close/>
                    <a:moveTo>
                      <a:pt x="194" y="253"/>
                    </a:moveTo>
                    <a:cubicBezTo>
                      <a:pt x="195" y="255"/>
                      <a:pt x="195" y="255"/>
                      <a:pt x="195" y="255"/>
                    </a:cubicBezTo>
                    <a:cubicBezTo>
                      <a:pt x="196" y="255"/>
                      <a:pt x="196" y="255"/>
                      <a:pt x="196" y="255"/>
                    </a:cubicBezTo>
                    <a:cubicBezTo>
                      <a:pt x="196" y="253"/>
                      <a:pt x="196" y="253"/>
                      <a:pt x="196" y="253"/>
                    </a:cubicBezTo>
                    <a:cubicBezTo>
                      <a:pt x="194" y="253"/>
                      <a:pt x="194" y="253"/>
                      <a:pt x="194" y="253"/>
                    </a:cubicBezTo>
                    <a:close/>
                    <a:moveTo>
                      <a:pt x="197" y="256"/>
                    </a:moveTo>
                    <a:cubicBezTo>
                      <a:pt x="199" y="257"/>
                      <a:pt x="199" y="257"/>
                      <a:pt x="199" y="257"/>
                    </a:cubicBezTo>
                    <a:cubicBezTo>
                      <a:pt x="202" y="256"/>
                      <a:pt x="202" y="256"/>
                      <a:pt x="202" y="256"/>
                    </a:cubicBezTo>
                    <a:cubicBezTo>
                      <a:pt x="202" y="252"/>
                      <a:pt x="202" y="252"/>
                      <a:pt x="202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8" y="248"/>
                      <a:pt x="208" y="248"/>
                      <a:pt x="208" y="248"/>
                    </a:cubicBezTo>
                    <a:cubicBezTo>
                      <a:pt x="208" y="244"/>
                      <a:pt x="208" y="244"/>
                      <a:pt x="208" y="244"/>
                    </a:cubicBezTo>
                    <a:cubicBezTo>
                      <a:pt x="212" y="240"/>
                      <a:pt x="212" y="240"/>
                      <a:pt x="212" y="240"/>
                    </a:cubicBezTo>
                    <a:cubicBezTo>
                      <a:pt x="213" y="241"/>
                      <a:pt x="213" y="241"/>
                      <a:pt x="213" y="241"/>
                    </a:cubicBezTo>
                    <a:cubicBezTo>
                      <a:pt x="218" y="241"/>
                      <a:pt x="218" y="241"/>
                      <a:pt x="218" y="241"/>
                    </a:cubicBezTo>
                    <a:cubicBezTo>
                      <a:pt x="224" y="242"/>
                      <a:pt x="224" y="242"/>
                      <a:pt x="224" y="242"/>
                    </a:cubicBezTo>
                    <a:cubicBezTo>
                      <a:pt x="227" y="245"/>
                      <a:pt x="227" y="245"/>
                      <a:pt x="227" y="245"/>
                    </a:cubicBezTo>
                    <a:cubicBezTo>
                      <a:pt x="228" y="243"/>
                      <a:pt x="228" y="243"/>
                      <a:pt x="228" y="243"/>
                    </a:cubicBezTo>
                    <a:cubicBezTo>
                      <a:pt x="230" y="241"/>
                      <a:pt x="230" y="241"/>
                      <a:pt x="230" y="241"/>
                    </a:cubicBezTo>
                    <a:cubicBezTo>
                      <a:pt x="236" y="242"/>
                      <a:pt x="236" y="242"/>
                      <a:pt x="236" y="242"/>
                    </a:cubicBezTo>
                    <a:cubicBezTo>
                      <a:pt x="240" y="245"/>
                      <a:pt x="240" y="245"/>
                      <a:pt x="240" y="245"/>
                    </a:cubicBezTo>
                    <a:cubicBezTo>
                      <a:pt x="247" y="246"/>
                      <a:pt x="247" y="246"/>
                      <a:pt x="247" y="246"/>
                    </a:cubicBezTo>
                    <a:cubicBezTo>
                      <a:pt x="255" y="247"/>
                      <a:pt x="255" y="247"/>
                      <a:pt x="255" y="247"/>
                    </a:cubicBezTo>
                    <a:cubicBezTo>
                      <a:pt x="257" y="251"/>
                      <a:pt x="257" y="251"/>
                      <a:pt x="257" y="251"/>
                    </a:cubicBezTo>
                    <a:cubicBezTo>
                      <a:pt x="257" y="255"/>
                      <a:pt x="257" y="255"/>
                      <a:pt x="257" y="255"/>
                    </a:cubicBezTo>
                    <a:cubicBezTo>
                      <a:pt x="258" y="256"/>
                      <a:pt x="258" y="256"/>
                      <a:pt x="258" y="256"/>
                    </a:cubicBezTo>
                    <a:cubicBezTo>
                      <a:pt x="265" y="259"/>
                      <a:pt x="265" y="259"/>
                      <a:pt x="265" y="259"/>
                    </a:cubicBezTo>
                    <a:cubicBezTo>
                      <a:pt x="276" y="259"/>
                      <a:pt x="276" y="259"/>
                      <a:pt x="276" y="259"/>
                    </a:cubicBezTo>
                    <a:cubicBezTo>
                      <a:pt x="287" y="260"/>
                      <a:pt x="287" y="260"/>
                      <a:pt x="287" y="260"/>
                    </a:cubicBezTo>
                    <a:cubicBezTo>
                      <a:pt x="295" y="259"/>
                      <a:pt x="295" y="259"/>
                      <a:pt x="295" y="259"/>
                    </a:cubicBezTo>
                    <a:cubicBezTo>
                      <a:pt x="298" y="256"/>
                      <a:pt x="298" y="256"/>
                      <a:pt x="298" y="256"/>
                    </a:cubicBezTo>
                    <a:cubicBezTo>
                      <a:pt x="299" y="249"/>
                      <a:pt x="299" y="249"/>
                      <a:pt x="299" y="249"/>
                    </a:cubicBezTo>
                    <a:cubicBezTo>
                      <a:pt x="302" y="249"/>
                      <a:pt x="302" y="249"/>
                      <a:pt x="302" y="249"/>
                    </a:cubicBezTo>
                    <a:cubicBezTo>
                      <a:pt x="307" y="253"/>
                      <a:pt x="307" y="253"/>
                      <a:pt x="307" y="253"/>
                    </a:cubicBezTo>
                    <a:cubicBezTo>
                      <a:pt x="310" y="253"/>
                      <a:pt x="310" y="253"/>
                      <a:pt x="310" y="253"/>
                    </a:cubicBezTo>
                    <a:cubicBezTo>
                      <a:pt x="314" y="253"/>
                      <a:pt x="314" y="253"/>
                      <a:pt x="314" y="253"/>
                    </a:cubicBezTo>
                    <a:cubicBezTo>
                      <a:pt x="316" y="254"/>
                      <a:pt x="316" y="254"/>
                      <a:pt x="316" y="254"/>
                    </a:cubicBezTo>
                    <a:cubicBezTo>
                      <a:pt x="320" y="258"/>
                      <a:pt x="320" y="258"/>
                      <a:pt x="320" y="258"/>
                    </a:cubicBezTo>
                    <a:cubicBezTo>
                      <a:pt x="324" y="257"/>
                      <a:pt x="324" y="257"/>
                      <a:pt x="324" y="257"/>
                    </a:cubicBezTo>
                    <a:cubicBezTo>
                      <a:pt x="326" y="260"/>
                      <a:pt x="326" y="260"/>
                      <a:pt x="326" y="260"/>
                    </a:cubicBezTo>
                    <a:cubicBezTo>
                      <a:pt x="329" y="259"/>
                      <a:pt x="329" y="259"/>
                      <a:pt x="329" y="259"/>
                    </a:cubicBezTo>
                    <a:cubicBezTo>
                      <a:pt x="334" y="259"/>
                      <a:pt x="334" y="259"/>
                      <a:pt x="334" y="259"/>
                    </a:cubicBezTo>
                    <a:cubicBezTo>
                      <a:pt x="334" y="264"/>
                      <a:pt x="334" y="264"/>
                      <a:pt x="334" y="264"/>
                    </a:cubicBezTo>
                    <a:cubicBezTo>
                      <a:pt x="338" y="269"/>
                      <a:pt x="338" y="269"/>
                      <a:pt x="338" y="269"/>
                    </a:cubicBezTo>
                    <a:cubicBezTo>
                      <a:pt x="338" y="272"/>
                      <a:pt x="338" y="272"/>
                      <a:pt x="338" y="272"/>
                    </a:cubicBezTo>
                    <a:cubicBezTo>
                      <a:pt x="341" y="274"/>
                      <a:pt x="341" y="274"/>
                      <a:pt x="341" y="274"/>
                    </a:cubicBezTo>
                    <a:cubicBezTo>
                      <a:pt x="345" y="276"/>
                      <a:pt x="345" y="276"/>
                      <a:pt x="345" y="276"/>
                    </a:cubicBezTo>
                    <a:cubicBezTo>
                      <a:pt x="349" y="275"/>
                      <a:pt x="349" y="275"/>
                      <a:pt x="349" y="275"/>
                    </a:cubicBezTo>
                    <a:cubicBezTo>
                      <a:pt x="352" y="277"/>
                      <a:pt x="352" y="277"/>
                      <a:pt x="352" y="277"/>
                    </a:cubicBezTo>
                    <a:cubicBezTo>
                      <a:pt x="355" y="277"/>
                      <a:pt x="355" y="277"/>
                      <a:pt x="355" y="277"/>
                    </a:cubicBezTo>
                    <a:cubicBezTo>
                      <a:pt x="358" y="275"/>
                      <a:pt x="358" y="275"/>
                      <a:pt x="358" y="275"/>
                    </a:cubicBezTo>
                    <a:cubicBezTo>
                      <a:pt x="361" y="275"/>
                      <a:pt x="361" y="275"/>
                      <a:pt x="361" y="275"/>
                    </a:cubicBezTo>
                    <a:cubicBezTo>
                      <a:pt x="362" y="276"/>
                      <a:pt x="362" y="276"/>
                      <a:pt x="362" y="276"/>
                    </a:cubicBezTo>
                    <a:cubicBezTo>
                      <a:pt x="365" y="277"/>
                      <a:pt x="365" y="277"/>
                      <a:pt x="365" y="277"/>
                    </a:cubicBezTo>
                    <a:cubicBezTo>
                      <a:pt x="367" y="279"/>
                      <a:pt x="367" y="279"/>
                      <a:pt x="367" y="279"/>
                    </a:cubicBezTo>
                    <a:cubicBezTo>
                      <a:pt x="366" y="287"/>
                      <a:pt x="366" y="287"/>
                      <a:pt x="366" y="287"/>
                    </a:cubicBezTo>
                    <a:cubicBezTo>
                      <a:pt x="364" y="289"/>
                      <a:pt x="364" y="289"/>
                      <a:pt x="364" y="289"/>
                    </a:cubicBezTo>
                    <a:cubicBezTo>
                      <a:pt x="366" y="291"/>
                      <a:pt x="366" y="291"/>
                      <a:pt x="366" y="291"/>
                    </a:cubicBezTo>
                    <a:cubicBezTo>
                      <a:pt x="368" y="296"/>
                      <a:pt x="368" y="296"/>
                      <a:pt x="368" y="296"/>
                    </a:cubicBezTo>
                    <a:cubicBezTo>
                      <a:pt x="365" y="297"/>
                      <a:pt x="365" y="297"/>
                      <a:pt x="365" y="297"/>
                    </a:cubicBezTo>
                    <a:cubicBezTo>
                      <a:pt x="362" y="294"/>
                      <a:pt x="362" y="294"/>
                      <a:pt x="362" y="294"/>
                    </a:cubicBezTo>
                    <a:cubicBezTo>
                      <a:pt x="358" y="295"/>
                      <a:pt x="358" y="295"/>
                      <a:pt x="358" y="295"/>
                    </a:cubicBezTo>
                    <a:cubicBezTo>
                      <a:pt x="353" y="291"/>
                      <a:pt x="353" y="291"/>
                      <a:pt x="353" y="291"/>
                    </a:cubicBezTo>
                    <a:cubicBezTo>
                      <a:pt x="349" y="290"/>
                      <a:pt x="349" y="290"/>
                      <a:pt x="349" y="290"/>
                    </a:cubicBezTo>
                    <a:cubicBezTo>
                      <a:pt x="346" y="286"/>
                      <a:pt x="346" y="286"/>
                      <a:pt x="346" y="286"/>
                    </a:cubicBezTo>
                    <a:cubicBezTo>
                      <a:pt x="343" y="286"/>
                      <a:pt x="343" y="286"/>
                      <a:pt x="343" y="286"/>
                    </a:cubicBezTo>
                    <a:cubicBezTo>
                      <a:pt x="337" y="289"/>
                      <a:pt x="337" y="289"/>
                      <a:pt x="337" y="289"/>
                    </a:cubicBezTo>
                    <a:cubicBezTo>
                      <a:pt x="331" y="289"/>
                      <a:pt x="331" y="289"/>
                      <a:pt x="331" y="289"/>
                    </a:cubicBezTo>
                    <a:cubicBezTo>
                      <a:pt x="327" y="286"/>
                      <a:pt x="327" y="286"/>
                      <a:pt x="327" y="286"/>
                    </a:cubicBezTo>
                    <a:cubicBezTo>
                      <a:pt x="321" y="285"/>
                      <a:pt x="321" y="285"/>
                      <a:pt x="321" y="285"/>
                    </a:cubicBezTo>
                    <a:cubicBezTo>
                      <a:pt x="317" y="289"/>
                      <a:pt x="317" y="289"/>
                      <a:pt x="317" y="289"/>
                    </a:cubicBezTo>
                    <a:cubicBezTo>
                      <a:pt x="312" y="285"/>
                      <a:pt x="312" y="285"/>
                      <a:pt x="312" y="285"/>
                    </a:cubicBezTo>
                    <a:cubicBezTo>
                      <a:pt x="305" y="285"/>
                      <a:pt x="305" y="285"/>
                      <a:pt x="305" y="285"/>
                    </a:cubicBezTo>
                    <a:cubicBezTo>
                      <a:pt x="301" y="287"/>
                      <a:pt x="301" y="287"/>
                      <a:pt x="301" y="287"/>
                    </a:cubicBezTo>
                    <a:cubicBezTo>
                      <a:pt x="291" y="283"/>
                      <a:pt x="291" y="283"/>
                      <a:pt x="291" y="283"/>
                    </a:cubicBezTo>
                    <a:cubicBezTo>
                      <a:pt x="282" y="278"/>
                      <a:pt x="282" y="278"/>
                      <a:pt x="282" y="278"/>
                    </a:cubicBezTo>
                    <a:cubicBezTo>
                      <a:pt x="276" y="278"/>
                      <a:pt x="276" y="278"/>
                      <a:pt x="276" y="278"/>
                    </a:cubicBezTo>
                    <a:cubicBezTo>
                      <a:pt x="271" y="275"/>
                      <a:pt x="271" y="275"/>
                      <a:pt x="271" y="275"/>
                    </a:cubicBezTo>
                    <a:cubicBezTo>
                      <a:pt x="268" y="275"/>
                      <a:pt x="268" y="275"/>
                      <a:pt x="268" y="275"/>
                    </a:cubicBezTo>
                    <a:cubicBezTo>
                      <a:pt x="266" y="278"/>
                      <a:pt x="266" y="278"/>
                      <a:pt x="266" y="278"/>
                    </a:cubicBezTo>
                    <a:cubicBezTo>
                      <a:pt x="262" y="277"/>
                      <a:pt x="262" y="277"/>
                      <a:pt x="262" y="277"/>
                    </a:cubicBezTo>
                    <a:cubicBezTo>
                      <a:pt x="259" y="274"/>
                      <a:pt x="259" y="274"/>
                      <a:pt x="259" y="274"/>
                    </a:cubicBezTo>
                    <a:cubicBezTo>
                      <a:pt x="257" y="274"/>
                      <a:pt x="257" y="274"/>
                      <a:pt x="257" y="274"/>
                    </a:cubicBezTo>
                    <a:cubicBezTo>
                      <a:pt x="253" y="278"/>
                      <a:pt x="253" y="278"/>
                      <a:pt x="253" y="278"/>
                    </a:cubicBezTo>
                    <a:cubicBezTo>
                      <a:pt x="245" y="276"/>
                      <a:pt x="245" y="276"/>
                      <a:pt x="245" y="276"/>
                    </a:cubicBezTo>
                    <a:cubicBezTo>
                      <a:pt x="239" y="271"/>
                      <a:pt x="239" y="271"/>
                      <a:pt x="239" y="271"/>
                    </a:cubicBezTo>
                    <a:cubicBezTo>
                      <a:pt x="233" y="271"/>
                      <a:pt x="233" y="271"/>
                      <a:pt x="233" y="271"/>
                    </a:cubicBezTo>
                    <a:cubicBezTo>
                      <a:pt x="230" y="270"/>
                      <a:pt x="230" y="270"/>
                      <a:pt x="230" y="270"/>
                    </a:cubicBezTo>
                    <a:cubicBezTo>
                      <a:pt x="227" y="272"/>
                      <a:pt x="227" y="272"/>
                      <a:pt x="227" y="272"/>
                    </a:cubicBezTo>
                    <a:cubicBezTo>
                      <a:pt x="222" y="270"/>
                      <a:pt x="222" y="270"/>
                      <a:pt x="222" y="270"/>
                    </a:cubicBezTo>
                    <a:cubicBezTo>
                      <a:pt x="217" y="269"/>
                      <a:pt x="217" y="269"/>
                      <a:pt x="217" y="269"/>
                    </a:cubicBezTo>
                    <a:cubicBezTo>
                      <a:pt x="216" y="268"/>
                      <a:pt x="216" y="268"/>
                      <a:pt x="216" y="268"/>
                    </a:cubicBezTo>
                    <a:cubicBezTo>
                      <a:pt x="218" y="263"/>
                      <a:pt x="218" y="263"/>
                      <a:pt x="218" y="263"/>
                    </a:cubicBezTo>
                    <a:cubicBezTo>
                      <a:pt x="220" y="262"/>
                      <a:pt x="220" y="262"/>
                      <a:pt x="220" y="262"/>
                    </a:cubicBezTo>
                    <a:cubicBezTo>
                      <a:pt x="217" y="261"/>
                      <a:pt x="217" y="261"/>
                      <a:pt x="217" y="261"/>
                    </a:cubicBezTo>
                    <a:cubicBezTo>
                      <a:pt x="215" y="263"/>
                      <a:pt x="215" y="263"/>
                      <a:pt x="215" y="263"/>
                    </a:cubicBezTo>
                    <a:cubicBezTo>
                      <a:pt x="212" y="261"/>
                      <a:pt x="212" y="261"/>
                      <a:pt x="212" y="261"/>
                    </a:cubicBezTo>
                    <a:cubicBezTo>
                      <a:pt x="211" y="258"/>
                      <a:pt x="211" y="258"/>
                      <a:pt x="211" y="258"/>
                    </a:cubicBezTo>
                    <a:cubicBezTo>
                      <a:pt x="206" y="260"/>
                      <a:pt x="206" y="260"/>
                      <a:pt x="206" y="260"/>
                    </a:cubicBezTo>
                    <a:cubicBezTo>
                      <a:pt x="199" y="259"/>
                      <a:pt x="199" y="259"/>
                      <a:pt x="199" y="259"/>
                    </a:cubicBezTo>
                    <a:cubicBezTo>
                      <a:pt x="196" y="258"/>
                      <a:pt x="196" y="258"/>
                      <a:pt x="196" y="258"/>
                    </a:cubicBezTo>
                    <a:cubicBezTo>
                      <a:pt x="196" y="256"/>
                      <a:pt x="196" y="256"/>
                      <a:pt x="196" y="256"/>
                    </a:cubicBezTo>
                    <a:cubicBezTo>
                      <a:pt x="197" y="256"/>
                      <a:pt x="197" y="256"/>
                      <a:pt x="197" y="256"/>
                    </a:cubicBezTo>
                    <a:close/>
                    <a:moveTo>
                      <a:pt x="247" y="47"/>
                    </a:moveTo>
                    <a:cubicBezTo>
                      <a:pt x="251" y="51"/>
                      <a:pt x="251" y="51"/>
                      <a:pt x="251" y="51"/>
                    </a:cubicBezTo>
                    <a:cubicBezTo>
                      <a:pt x="253" y="51"/>
                      <a:pt x="253" y="51"/>
                      <a:pt x="253" y="51"/>
                    </a:cubicBezTo>
                    <a:cubicBezTo>
                      <a:pt x="252" y="54"/>
                      <a:pt x="252" y="54"/>
                      <a:pt x="252" y="54"/>
                    </a:cubicBezTo>
                    <a:cubicBezTo>
                      <a:pt x="255" y="54"/>
                      <a:pt x="255" y="54"/>
                      <a:pt x="255" y="54"/>
                    </a:cubicBezTo>
                    <a:cubicBezTo>
                      <a:pt x="257" y="48"/>
                      <a:pt x="257" y="48"/>
                      <a:pt x="257" y="48"/>
                    </a:cubicBezTo>
                    <a:cubicBezTo>
                      <a:pt x="252" y="43"/>
                      <a:pt x="252" y="43"/>
                      <a:pt x="252" y="43"/>
                    </a:cubicBezTo>
                    <a:cubicBezTo>
                      <a:pt x="249" y="45"/>
                      <a:pt x="249" y="45"/>
                      <a:pt x="249" y="45"/>
                    </a:cubicBezTo>
                    <a:cubicBezTo>
                      <a:pt x="247" y="47"/>
                      <a:pt x="247" y="47"/>
                      <a:pt x="247" y="47"/>
                    </a:cubicBezTo>
                    <a:close/>
                    <a:moveTo>
                      <a:pt x="215" y="70"/>
                    </a:moveTo>
                    <a:cubicBezTo>
                      <a:pt x="215" y="73"/>
                      <a:pt x="215" y="73"/>
                      <a:pt x="215" y="73"/>
                    </a:cubicBezTo>
                    <a:cubicBezTo>
                      <a:pt x="217" y="72"/>
                      <a:pt x="217" y="72"/>
                      <a:pt x="217" y="72"/>
                    </a:cubicBezTo>
                    <a:cubicBezTo>
                      <a:pt x="215" y="70"/>
                      <a:pt x="215" y="70"/>
                      <a:pt x="215" y="70"/>
                    </a:cubicBezTo>
                    <a:close/>
                    <a:moveTo>
                      <a:pt x="215" y="62"/>
                    </a:moveTo>
                    <a:cubicBezTo>
                      <a:pt x="217" y="60"/>
                      <a:pt x="217" y="60"/>
                      <a:pt x="217" y="60"/>
                    </a:cubicBezTo>
                    <a:cubicBezTo>
                      <a:pt x="215" y="59"/>
                      <a:pt x="215" y="59"/>
                      <a:pt x="215" y="59"/>
                    </a:cubicBezTo>
                    <a:cubicBezTo>
                      <a:pt x="215" y="62"/>
                      <a:pt x="215" y="62"/>
                      <a:pt x="215" y="62"/>
                    </a:cubicBezTo>
                    <a:close/>
                    <a:moveTo>
                      <a:pt x="216" y="64"/>
                    </a:moveTo>
                    <a:cubicBezTo>
                      <a:pt x="214" y="66"/>
                      <a:pt x="214" y="66"/>
                      <a:pt x="214" y="66"/>
                    </a:cubicBezTo>
                    <a:cubicBezTo>
                      <a:pt x="217" y="66"/>
                      <a:pt x="217" y="66"/>
                      <a:pt x="217" y="66"/>
                    </a:cubicBezTo>
                    <a:cubicBezTo>
                      <a:pt x="216" y="64"/>
                      <a:pt x="216" y="64"/>
                      <a:pt x="216" y="64"/>
                    </a:cubicBezTo>
                    <a:close/>
                    <a:moveTo>
                      <a:pt x="204" y="67"/>
                    </a:moveTo>
                    <a:cubicBezTo>
                      <a:pt x="203" y="70"/>
                      <a:pt x="203" y="70"/>
                      <a:pt x="203" y="70"/>
                    </a:cubicBezTo>
                    <a:cubicBezTo>
                      <a:pt x="205" y="72"/>
                      <a:pt x="205" y="72"/>
                      <a:pt x="205" y="72"/>
                    </a:cubicBezTo>
                    <a:cubicBezTo>
                      <a:pt x="209" y="68"/>
                      <a:pt x="209" y="68"/>
                      <a:pt x="209" y="68"/>
                    </a:cubicBezTo>
                    <a:cubicBezTo>
                      <a:pt x="206" y="67"/>
                      <a:pt x="206" y="67"/>
                      <a:pt x="206" y="67"/>
                    </a:cubicBezTo>
                    <a:cubicBezTo>
                      <a:pt x="204" y="67"/>
                      <a:pt x="204" y="67"/>
                      <a:pt x="204" y="67"/>
                    </a:cubicBezTo>
                    <a:close/>
                    <a:moveTo>
                      <a:pt x="171" y="108"/>
                    </a:moveTo>
                    <a:cubicBezTo>
                      <a:pt x="175" y="109"/>
                      <a:pt x="175" y="109"/>
                      <a:pt x="175" y="109"/>
                    </a:cubicBezTo>
                    <a:cubicBezTo>
                      <a:pt x="177" y="106"/>
                      <a:pt x="177" y="106"/>
                      <a:pt x="177" y="106"/>
                    </a:cubicBezTo>
                    <a:cubicBezTo>
                      <a:pt x="176" y="103"/>
                      <a:pt x="176" y="103"/>
                      <a:pt x="176" y="103"/>
                    </a:cubicBezTo>
                    <a:cubicBezTo>
                      <a:pt x="171" y="108"/>
                      <a:pt x="171" y="108"/>
                      <a:pt x="171" y="108"/>
                    </a:cubicBezTo>
                    <a:close/>
                    <a:moveTo>
                      <a:pt x="180" y="105"/>
                    </a:moveTo>
                    <a:cubicBezTo>
                      <a:pt x="178" y="108"/>
                      <a:pt x="178" y="108"/>
                      <a:pt x="178" y="108"/>
                    </a:cubicBezTo>
                    <a:cubicBezTo>
                      <a:pt x="182" y="109"/>
                      <a:pt x="182" y="109"/>
                      <a:pt x="182" y="109"/>
                    </a:cubicBezTo>
                    <a:cubicBezTo>
                      <a:pt x="184" y="114"/>
                      <a:pt x="184" y="114"/>
                      <a:pt x="184" y="114"/>
                    </a:cubicBezTo>
                    <a:cubicBezTo>
                      <a:pt x="186" y="113"/>
                      <a:pt x="186" y="113"/>
                      <a:pt x="186" y="113"/>
                    </a:cubicBezTo>
                    <a:cubicBezTo>
                      <a:pt x="187" y="108"/>
                      <a:pt x="187" y="108"/>
                      <a:pt x="187" y="108"/>
                    </a:cubicBezTo>
                    <a:cubicBezTo>
                      <a:pt x="185" y="106"/>
                      <a:pt x="185" y="106"/>
                      <a:pt x="185" y="106"/>
                    </a:cubicBezTo>
                    <a:cubicBezTo>
                      <a:pt x="187" y="103"/>
                      <a:pt x="187" y="103"/>
                      <a:pt x="187" y="103"/>
                    </a:cubicBezTo>
                    <a:cubicBezTo>
                      <a:pt x="185" y="103"/>
                      <a:pt x="185" y="103"/>
                      <a:pt x="185" y="103"/>
                    </a:cubicBezTo>
                    <a:cubicBezTo>
                      <a:pt x="183" y="105"/>
                      <a:pt x="183" y="105"/>
                      <a:pt x="183" y="105"/>
                    </a:cubicBezTo>
                    <a:cubicBezTo>
                      <a:pt x="180" y="105"/>
                      <a:pt x="180" y="105"/>
                      <a:pt x="180" y="105"/>
                    </a:cubicBezTo>
                    <a:close/>
                    <a:moveTo>
                      <a:pt x="265" y="160"/>
                    </a:moveTo>
                    <a:cubicBezTo>
                      <a:pt x="265" y="162"/>
                      <a:pt x="265" y="162"/>
                      <a:pt x="265" y="162"/>
                    </a:cubicBezTo>
                    <a:cubicBezTo>
                      <a:pt x="268" y="163"/>
                      <a:pt x="268" y="163"/>
                      <a:pt x="268" y="163"/>
                    </a:cubicBezTo>
                    <a:cubicBezTo>
                      <a:pt x="270" y="162"/>
                      <a:pt x="270" y="162"/>
                      <a:pt x="270" y="162"/>
                    </a:cubicBezTo>
                    <a:cubicBezTo>
                      <a:pt x="268" y="160"/>
                      <a:pt x="268" y="160"/>
                      <a:pt x="268" y="160"/>
                    </a:cubicBezTo>
                    <a:cubicBezTo>
                      <a:pt x="265" y="160"/>
                      <a:pt x="265" y="160"/>
                      <a:pt x="265" y="160"/>
                    </a:cubicBezTo>
                    <a:close/>
                    <a:moveTo>
                      <a:pt x="240" y="177"/>
                    </a:moveTo>
                    <a:cubicBezTo>
                      <a:pt x="241" y="181"/>
                      <a:pt x="241" y="181"/>
                      <a:pt x="241" y="181"/>
                    </a:cubicBezTo>
                    <a:cubicBezTo>
                      <a:pt x="241" y="182"/>
                      <a:pt x="241" y="182"/>
                      <a:pt x="241" y="182"/>
                    </a:cubicBezTo>
                    <a:cubicBezTo>
                      <a:pt x="237" y="183"/>
                      <a:pt x="237" y="183"/>
                      <a:pt x="237" y="183"/>
                    </a:cubicBezTo>
                    <a:cubicBezTo>
                      <a:pt x="236" y="185"/>
                      <a:pt x="236" y="185"/>
                      <a:pt x="236" y="185"/>
                    </a:cubicBezTo>
                    <a:cubicBezTo>
                      <a:pt x="239" y="185"/>
                      <a:pt x="239" y="185"/>
                      <a:pt x="239" y="185"/>
                    </a:cubicBezTo>
                    <a:cubicBezTo>
                      <a:pt x="239" y="184"/>
                      <a:pt x="239" y="184"/>
                      <a:pt x="239" y="184"/>
                    </a:cubicBezTo>
                    <a:cubicBezTo>
                      <a:pt x="241" y="183"/>
                      <a:pt x="241" y="183"/>
                      <a:pt x="241" y="183"/>
                    </a:cubicBezTo>
                    <a:cubicBezTo>
                      <a:pt x="241" y="188"/>
                      <a:pt x="241" y="188"/>
                      <a:pt x="241" y="188"/>
                    </a:cubicBezTo>
                    <a:cubicBezTo>
                      <a:pt x="244" y="191"/>
                      <a:pt x="244" y="191"/>
                      <a:pt x="244" y="191"/>
                    </a:cubicBezTo>
                    <a:cubicBezTo>
                      <a:pt x="248" y="186"/>
                      <a:pt x="248" y="186"/>
                      <a:pt x="248" y="186"/>
                    </a:cubicBezTo>
                    <a:cubicBezTo>
                      <a:pt x="250" y="189"/>
                      <a:pt x="250" y="189"/>
                      <a:pt x="250" y="189"/>
                    </a:cubicBezTo>
                    <a:cubicBezTo>
                      <a:pt x="253" y="190"/>
                      <a:pt x="253" y="190"/>
                      <a:pt x="253" y="190"/>
                    </a:cubicBezTo>
                    <a:cubicBezTo>
                      <a:pt x="254" y="187"/>
                      <a:pt x="254" y="187"/>
                      <a:pt x="254" y="187"/>
                    </a:cubicBezTo>
                    <a:cubicBezTo>
                      <a:pt x="257" y="186"/>
                      <a:pt x="257" y="186"/>
                      <a:pt x="257" y="186"/>
                    </a:cubicBezTo>
                    <a:cubicBezTo>
                      <a:pt x="255" y="182"/>
                      <a:pt x="255" y="182"/>
                      <a:pt x="255" y="182"/>
                    </a:cubicBezTo>
                    <a:cubicBezTo>
                      <a:pt x="248" y="178"/>
                      <a:pt x="248" y="178"/>
                      <a:pt x="248" y="178"/>
                    </a:cubicBezTo>
                    <a:cubicBezTo>
                      <a:pt x="242" y="177"/>
                      <a:pt x="242" y="177"/>
                      <a:pt x="242" y="177"/>
                    </a:cubicBezTo>
                    <a:cubicBezTo>
                      <a:pt x="240" y="177"/>
                      <a:pt x="240" y="177"/>
                      <a:pt x="240" y="177"/>
                    </a:cubicBezTo>
                    <a:close/>
                    <a:moveTo>
                      <a:pt x="228" y="184"/>
                    </a:moveTo>
                    <a:cubicBezTo>
                      <a:pt x="227" y="187"/>
                      <a:pt x="227" y="187"/>
                      <a:pt x="227" y="187"/>
                    </a:cubicBezTo>
                    <a:cubicBezTo>
                      <a:pt x="229" y="186"/>
                      <a:pt x="229" y="186"/>
                      <a:pt x="229" y="186"/>
                    </a:cubicBezTo>
                    <a:cubicBezTo>
                      <a:pt x="228" y="184"/>
                      <a:pt x="228" y="184"/>
                      <a:pt x="228" y="184"/>
                    </a:cubicBezTo>
                    <a:close/>
                    <a:moveTo>
                      <a:pt x="200" y="161"/>
                    </a:moveTo>
                    <a:cubicBezTo>
                      <a:pt x="200" y="164"/>
                      <a:pt x="200" y="164"/>
                      <a:pt x="200" y="164"/>
                    </a:cubicBezTo>
                    <a:cubicBezTo>
                      <a:pt x="196" y="166"/>
                      <a:pt x="196" y="166"/>
                      <a:pt x="196" y="166"/>
                    </a:cubicBezTo>
                    <a:cubicBezTo>
                      <a:pt x="199" y="169"/>
                      <a:pt x="199" y="169"/>
                      <a:pt x="199" y="169"/>
                    </a:cubicBezTo>
                    <a:cubicBezTo>
                      <a:pt x="206" y="170"/>
                      <a:pt x="206" y="170"/>
                      <a:pt x="206" y="170"/>
                    </a:cubicBezTo>
                    <a:cubicBezTo>
                      <a:pt x="208" y="172"/>
                      <a:pt x="208" y="172"/>
                      <a:pt x="208" y="172"/>
                    </a:cubicBezTo>
                    <a:cubicBezTo>
                      <a:pt x="208" y="175"/>
                      <a:pt x="208" y="175"/>
                      <a:pt x="208" y="175"/>
                    </a:cubicBezTo>
                    <a:cubicBezTo>
                      <a:pt x="210" y="177"/>
                      <a:pt x="210" y="177"/>
                      <a:pt x="210" y="177"/>
                    </a:cubicBezTo>
                    <a:cubicBezTo>
                      <a:pt x="211" y="182"/>
                      <a:pt x="211" y="182"/>
                      <a:pt x="211" y="182"/>
                    </a:cubicBezTo>
                    <a:cubicBezTo>
                      <a:pt x="215" y="184"/>
                      <a:pt x="215" y="184"/>
                      <a:pt x="215" y="184"/>
                    </a:cubicBezTo>
                    <a:cubicBezTo>
                      <a:pt x="219" y="184"/>
                      <a:pt x="219" y="184"/>
                      <a:pt x="219" y="184"/>
                    </a:cubicBezTo>
                    <a:cubicBezTo>
                      <a:pt x="220" y="187"/>
                      <a:pt x="220" y="187"/>
                      <a:pt x="220" y="187"/>
                    </a:cubicBezTo>
                    <a:cubicBezTo>
                      <a:pt x="222" y="189"/>
                      <a:pt x="222" y="189"/>
                      <a:pt x="222" y="189"/>
                    </a:cubicBezTo>
                    <a:cubicBezTo>
                      <a:pt x="224" y="186"/>
                      <a:pt x="224" y="186"/>
                      <a:pt x="224" y="186"/>
                    </a:cubicBezTo>
                    <a:cubicBezTo>
                      <a:pt x="223" y="182"/>
                      <a:pt x="223" y="182"/>
                      <a:pt x="223" y="182"/>
                    </a:cubicBezTo>
                    <a:cubicBezTo>
                      <a:pt x="225" y="178"/>
                      <a:pt x="225" y="178"/>
                      <a:pt x="225" y="178"/>
                    </a:cubicBezTo>
                    <a:cubicBezTo>
                      <a:pt x="219" y="176"/>
                      <a:pt x="219" y="176"/>
                      <a:pt x="219" y="176"/>
                    </a:cubicBezTo>
                    <a:cubicBezTo>
                      <a:pt x="214" y="172"/>
                      <a:pt x="214" y="172"/>
                      <a:pt x="214" y="172"/>
                    </a:cubicBezTo>
                    <a:cubicBezTo>
                      <a:pt x="213" y="164"/>
                      <a:pt x="213" y="164"/>
                      <a:pt x="213" y="164"/>
                    </a:cubicBezTo>
                    <a:cubicBezTo>
                      <a:pt x="211" y="162"/>
                      <a:pt x="211" y="162"/>
                      <a:pt x="211" y="162"/>
                    </a:cubicBezTo>
                    <a:cubicBezTo>
                      <a:pt x="211" y="159"/>
                      <a:pt x="211" y="159"/>
                      <a:pt x="211" y="159"/>
                    </a:cubicBezTo>
                    <a:cubicBezTo>
                      <a:pt x="208" y="158"/>
                      <a:pt x="208" y="158"/>
                      <a:pt x="208" y="158"/>
                    </a:cubicBezTo>
                    <a:cubicBezTo>
                      <a:pt x="206" y="158"/>
                      <a:pt x="206" y="158"/>
                      <a:pt x="206" y="158"/>
                    </a:cubicBezTo>
                    <a:cubicBezTo>
                      <a:pt x="206" y="161"/>
                      <a:pt x="206" y="161"/>
                      <a:pt x="206" y="161"/>
                    </a:cubicBezTo>
                    <a:cubicBezTo>
                      <a:pt x="207" y="164"/>
                      <a:pt x="207" y="164"/>
                      <a:pt x="207" y="164"/>
                    </a:cubicBezTo>
                    <a:cubicBezTo>
                      <a:pt x="204" y="162"/>
                      <a:pt x="204" y="162"/>
                      <a:pt x="204" y="162"/>
                    </a:cubicBezTo>
                    <a:cubicBezTo>
                      <a:pt x="201" y="160"/>
                      <a:pt x="201" y="160"/>
                      <a:pt x="201" y="160"/>
                    </a:cubicBezTo>
                    <a:cubicBezTo>
                      <a:pt x="200" y="161"/>
                      <a:pt x="200" y="161"/>
                      <a:pt x="200" y="161"/>
                    </a:cubicBezTo>
                    <a:close/>
                    <a:moveTo>
                      <a:pt x="181" y="138"/>
                    </a:moveTo>
                    <a:cubicBezTo>
                      <a:pt x="180" y="140"/>
                      <a:pt x="180" y="140"/>
                      <a:pt x="180" y="140"/>
                    </a:cubicBezTo>
                    <a:cubicBezTo>
                      <a:pt x="183" y="143"/>
                      <a:pt x="183" y="143"/>
                      <a:pt x="183" y="143"/>
                    </a:cubicBezTo>
                    <a:cubicBezTo>
                      <a:pt x="186" y="141"/>
                      <a:pt x="186" y="141"/>
                      <a:pt x="186" y="141"/>
                    </a:cubicBezTo>
                    <a:cubicBezTo>
                      <a:pt x="185" y="138"/>
                      <a:pt x="185" y="138"/>
                      <a:pt x="185" y="138"/>
                    </a:cubicBezTo>
                    <a:cubicBezTo>
                      <a:pt x="181" y="138"/>
                      <a:pt x="181" y="138"/>
                      <a:pt x="181" y="138"/>
                    </a:cubicBezTo>
                    <a:close/>
                    <a:moveTo>
                      <a:pt x="185" y="130"/>
                    </a:moveTo>
                    <a:cubicBezTo>
                      <a:pt x="182" y="133"/>
                      <a:pt x="182" y="133"/>
                      <a:pt x="182" y="133"/>
                    </a:cubicBezTo>
                    <a:cubicBezTo>
                      <a:pt x="184" y="136"/>
                      <a:pt x="184" y="136"/>
                      <a:pt x="184" y="136"/>
                    </a:cubicBezTo>
                    <a:cubicBezTo>
                      <a:pt x="187" y="135"/>
                      <a:pt x="187" y="135"/>
                      <a:pt x="187" y="135"/>
                    </a:cubicBezTo>
                    <a:cubicBezTo>
                      <a:pt x="192" y="137"/>
                      <a:pt x="192" y="137"/>
                      <a:pt x="192" y="137"/>
                    </a:cubicBezTo>
                    <a:cubicBezTo>
                      <a:pt x="193" y="136"/>
                      <a:pt x="193" y="136"/>
                      <a:pt x="193" y="136"/>
                    </a:cubicBezTo>
                    <a:cubicBezTo>
                      <a:pt x="188" y="130"/>
                      <a:pt x="188" y="130"/>
                      <a:pt x="188" y="130"/>
                    </a:cubicBezTo>
                    <a:cubicBezTo>
                      <a:pt x="185" y="130"/>
                      <a:pt x="185" y="130"/>
                      <a:pt x="185" y="130"/>
                    </a:cubicBezTo>
                    <a:close/>
                    <a:moveTo>
                      <a:pt x="146" y="105"/>
                    </a:moveTo>
                    <a:cubicBezTo>
                      <a:pt x="143" y="110"/>
                      <a:pt x="143" y="110"/>
                      <a:pt x="143" y="110"/>
                    </a:cubicBezTo>
                    <a:cubicBezTo>
                      <a:pt x="144" y="113"/>
                      <a:pt x="144" y="113"/>
                      <a:pt x="144" y="113"/>
                    </a:cubicBezTo>
                    <a:cubicBezTo>
                      <a:pt x="151" y="114"/>
                      <a:pt x="151" y="114"/>
                      <a:pt x="151" y="114"/>
                    </a:cubicBezTo>
                    <a:cubicBezTo>
                      <a:pt x="155" y="116"/>
                      <a:pt x="155" y="116"/>
                      <a:pt x="155" y="116"/>
                    </a:cubicBezTo>
                    <a:cubicBezTo>
                      <a:pt x="157" y="115"/>
                      <a:pt x="157" y="115"/>
                      <a:pt x="157" y="115"/>
                    </a:cubicBezTo>
                    <a:cubicBezTo>
                      <a:pt x="155" y="109"/>
                      <a:pt x="155" y="109"/>
                      <a:pt x="155" y="109"/>
                    </a:cubicBezTo>
                    <a:cubicBezTo>
                      <a:pt x="151" y="106"/>
                      <a:pt x="151" y="106"/>
                      <a:pt x="151" y="106"/>
                    </a:cubicBezTo>
                    <a:cubicBezTo>
                      <a:pt x="146" y="105"/>
                      <a:pt x="146" y="105"/>
                      <a:pt x="146" y="105"/>
                    </a:cubicBezTo>
                    <a:close/>
                    <a:moveTo>
                      <a:pt x="135" y="99"/>
                    </a:moveTo>
                    <a:cubicBezTo>
                      <a:pt x="137" y="99"/>
                      <a:pt x="137" y="99"/>
                      <a:pt x="137" y="99"/>
                    </a:cubicBezTo>
                    <a:cubicBezTo>
                      <a:pt x="142" y="101"/>
                      <a:pt x="142" y="101"/>
                      <a:pt x="142" y="101"/>
                    </a:cubicBezTo>
                    <a:cubicBezTo>
                      <a:pt x="144" y="104"/>
                      <a:pt x="144" y="104"/>
                      <a:pt x="144" y="104"/>
                    </a:cubicBezTo>
                    <a:cubicBezTo>
                      <a:pt x="142" y="108"/>
                      <a:pt x="142" y="108"/>
                      <a:pt x="142" y="108"/>
                    </a:cubicBezTo>
                    <a:cubicBezTo>
                      <a:pt x="140" y="106"/>
                      <a:pt x="140" y="106"/>
                      <a:pt x="140" y="106"/>
                    </a:cubicBezTo>
                    <a:cubicBezTo>
                      <a:pt x="135" y="99"/>
                      <a:pt x="135" y="99"/>
                      <a:pt x="135" y="99"/>
                    </a:cubicBezTo>
                    <a:close/>
                    <a:moveTo>
                      <a:pt x="122" y="90"/>
                    </a:moveTo>
                    <a:cubicBezTo>
                      <a:pt x="124" y="96"/>
                      <a:pt x="124" y="96"/>
                      <a:pt x="124" y="96"/>
                    </a:cubicBezTo>
                    <a:cubicBezTo>
                      <a:pt x="128" y="95"/>
                      <a:pt x="128" y="95"/>
                      <a:pt x="128" y="95"/>
                    </a:cubicBezTo>
                    <a:cubicBezTo>
                      <a:pt x="131" y="91"/>
                      <a:pt x="131" y="91"/>
                      <a:pt x="131" y="91"/>
                    </a:cubicBezTo>
                    <a:cubicBezTo>
                      <a:pt x="128" y="88"/>
                      <a:pt x="128" y="88"/>
                      <a:pt x="128" y="88"/>
                    </a:cubicBezTo>
                    <a:cubicBezTo>
                      <a:pt x="125" y="90"/>
                      <a:pt x="125" y="90"/>
                      <a:pt x="125" y="90"/>
                    </a:cubicBezTo>
                    <a:cubicBezTo>
                      <a:pt x="122" y="90"/>
                      <a:pt x="122" y="90"/>
                      <a:pt x="122" y="90"/>
                    </a:cubicBezTo>
                    <a:close/>
                    <a:moveTo>
                      <a:pt x="135" y="229"/>
                    </a:moveTo>
                    <a:cubicBezTo>
                      <a:pt x="140" y="233"/>
                      <a:pt x="140" y="233"/>
                      <a:pt x="140" y="233"/>
                    </a:cubicBezTo>
                    <a:cubicBezTo>
                      <a:pt x="140" y="230"/>
                      <a:pt x="140" y="230"/>
                      <a:pt x="140" y="230"/>
                    </a:cubicBezTo>
                    <a:cubicBezTo>
                      <a:pt x="138" y="228"/>
                      <a:pt x="138" y="228"/>
                      <a:pt x="138" y="228"/>
                    </a:cubicBezTo>
                    <a:cubicBezTo>
                      <a:pt x="135" y="229"/>
                      <a:pt x="135" y="229"/>
                      <a:pt x="135" y="229"/>
                    </a:cubicBezTo>
                    <a:close/>
                    <a:moveTo>
                      <a:pt x="100" y="182"/>
                    </a:moveTo>
                    <a:cubicBezTo>
                      <a:pt x="97" y="186"/>
                      <a:pt x="97" y="186"/>
                      <a:pt x="97" y="186"/>
                    </a:cubicBezTo>
                    <a:cubicBezTo>
                      <a:pt x="104" y="192"/>
                      <a:pt x="104" y="192"/>
                      <a:pt x="104" y="192"/>
                    </a:cubicBezTo>
                    <a:cubicBezTo>
                      <a:pt x="103" y="188"/>
                      <a:pt x="103" y="188"/>
                      <a:pt x="103" y="188"/>
                    </a:cubicBezTo>
                    <a:cubicBezTo>
                      <a:pt x="104" y="185"/>
                      <a:pt x="104" y="185"/>
                      <a:pt x="104" y="185"/>
                    </a:cubicBezTo>
                    <a:cubicBezTo>
                      <a:pt x="100" y="182"/>
                      <a:pt x="100" y="182"/>
                      <a:pt x="100" y="182"/>
                    </a:cubicBezTo>
                    <a:close/>
                    <a:moveTo>
                      <a:pt x="94" y="179"/>
                    </a:moveTo>
                    <a:cubicBezTo>
                      <a:pt x="98" y="180"/>
                      <a:pt x="98" y="180"/>
                      <a:pt x="98" y="180"/>
                    </a:cubicBezTo>
                    <a:cubicBezTo>
                      <a:pt x="95" y="183"/>
                      <a:pt x="95" y="183"/>
                      <a:pt x="95" y="183"/>
                    </a:cubicBezTo>
                    <a:cubicBezTo>
                      <a:pt x="94" y="179"/>
                      <a:pt x="94" y="179"/>
                      <a:pt x="94" y="179"/>
                    </a:cubicBezTo>
                    <a:close/>
                    <a:moveTo>
                      <a:pt x="87" y="167"/>
                    </a:moveTo>
                    <a:cubicBezTo>
                      <a:pt x="85" y="169"/>
                      <a:pt x="85" y="169"/>
                      <a:pt x="85" y="169"/>
                    </a:cubicBezTo>
                    <a:cubicBezTo>
                      <a:pt x="87" y="172"/>
                      <a:pt x="87" y="172"/>
                      <a:pt x="87" y="172"/>
                    </a:cubicBezTo>
                    <a:cubicBezTo>
                      <a:pt x="92" y="173"/>
                      <a:pt x="92" y="173"/>
                      <a:pt x="92" y="173"/>
                    </a:cubicBezTo>
                    <a:cubicBezTo>
                      <a:pt x="87" y="167"/>
                      <a:pt x="87" y="167"/>
                      <a:pt x="87" y="167"/>
                    </a:cubicBezTo>
                    <a:close/>
                    <a:moveTo>
                      <a:pt x="66" y="150"/>
                    </a:moveTo>
                    <a:cubicBezTo>
                      <a:pt x="66" y="153"/>
                      <a:pt x="66" y="153"/>
                      <a:pt x="66" y="153"/>
                    </a:cubicBezTo>
                    <a:cubicBezTo>
                      <a:pt x="70" y="155"/>
                      <a:pt x="70" y="155"/>
                      <a:pt x="70" y="155"/>
                    </a:cubicBezTo>
                    <a:cubicBezTo>
                      <a:pt x="75" y="162"/>
                      <a:pt x="75" y="162"/>
                      <a:pt x="75" y="162"/>
                    </a:cubicBezTo>
                    <a:cubicBezTo>
                      <a:pt x="80" y="163"/>
                      <a:pt x="80" y="163"/>
                      <a:pt x="80" y="163"/>
                    </a:cubicBezTo>
                    <a:cubicBezTo>
                      <a:pt x="80" y="156"/>
                      <a:pt x="80" y="156"/>
                      <a:pt x="80" y="156"/>
                    </a:cubicBezTo>
                    <a:cubicBezTo>
                      <a:pt x="74" y="148"/>
                      <a:pt x="74" y="148"/>
                      <a:pt x="74" y="148"/>
                    </a:cubicBezTo>
                    <a:cubicBezTo>
                      <a:pt x="70" y="147"/>
                      <a:pt x="70" y="147"/>
                      <a:pt x="70" y="147"/>
                    </a:cubicBezTo>
                    <a:cubicBezTo>
                      <a:pt x="66" y="150"/>
                      <a:pt x="66" y="150"/>
                      <a:pt x="66" y="150"/>
                    </a:cubicBezTo>
                    <a:close/>
                    <a:moveTo>
                      <a:pt x="64" y="136"/>
                    </a:moveTo>
                    <a:cubicBezTo>
                      <a:pt x="62" y="140"/>
                      <a:pt x="62" y="140"/>
                      <a:pt x="62" y="140"/>
                    </a:cubicBezTo>
                    <a:cubicBezTo>
                      <a:pt x="64" y="143"/>
                      <a:pt x="64" y="143"/>
                      <a:pt x="64" y="143"/>
                    </a:cubicBezTo>
                    <a:cubicBezTo>
                      <a:pt x="67" y="140"/>
                      <a:pt x="67" y="140"/>
                      <a:pt x="67" y="140"/>
                    </a:cubicBezTo>
                    <a:cubicBezTo>
                      <a:pt x="67" y="138"/>
                      <a:pt x="67" y="138"/>
                      <a:pt x="67" y="138"/>
                    </a:cubicBezTo>
                    <a:cubicBezTo>
                      <a:pt x="64" y="136"/>
                      <a:pt x="64" y="136"/>
                      <a:pt x="64" y="136"/>
                    </a:cubicBezTo>
                    <a:close/>
                    <a:moveTo>
                      <a:pt x="66" y="126"/>
                    </a:moveTo>
                    <a:cubicBezTo>
                      <a:pt x="71" y="126"/>
                      <a:pt x="71" y="126"/>
                      <a:pt x="71" y="126"/>
                    </a:cubicBezTo>
                    <a:cubicBezTo>
                      <a:pt x="72" y="128"/>
                      <a:pt x="72" y="128"/>
                      <a:pt x="72" y="128"/>
                    </a:cubicBezTo>
                    <a:cubicBezTo>
                      <a:pt x="73" y="125"/>
                      <a:pt x="73" y="125"/>
                      <a:pt x="73" y="125"/>
                    </a:cubicBezTo>
                    <a:cubicBezTo>
                      <a:pt x="68" y="124"/>
                      <a:pt x="68" y="124"/>
                      <a:pt x="68" y="124"/>
                    </a:cubicBezTo>
                    <a:cubicBezTo>
                      <a:pt x="66" y="126"/>
                      <a:pt x="66" y="126"/>
                      <a:pt x="66" y="126"/>
                    </a:cubicBezTo>
                    <a:close/>
                    <a:moveTo>
                      <a:pt x="39" y="101"/>
                    </a:moveTo>
                    <a:cubicBezTo>
                      <a:pt x="42" y="101"/>
                      <a:pt x="42" y="101"/>
                      <a:pt x="42" y="101"/>
                    </a:cubicBezTo>
                    <a:cubicBezTo>
                      <a:pt x="44" y="99"/>
                      <a:pt x="44" y="99"/>
                      <a:pt x="44" y="99"/>
                    </a:cubicBezTo>
                    <a:cubicBezTo>
                      <a:pt x="47" y="100"/>
                      <a:pt x="47" y="100"/>
                      <a:pt x="47" y="100"/>
                    </a:cubicBezTo>
                    <a:cubicBezTo>
                      <a:pt x="50" y="105"/>
                      <a:pt x="50" y="105"/>
                      <a:pt x="50" y="105"/>
                    </a:cubicBezTo>
                    <a:cubicBezTo>
                      <a:pt x="54" y="109"/>
                      <a:pt x="54" y="109"/>
                      <a:pt x="54" y="109"/>
                    </a:cubicBezTo>
                    <a:cubicBezTo>
                      <a:pt x="53" y="111"/>
                      <a:pt x="53" y="111"/>
                      <a:pt x="53" y="111"/>
                    </a:cubicBezTo>
                    <a:cubicBezTo>
                      <a:pt x="52" y="116"/>
                      <a:pt x="52" y="116"/>
                      <a:pt x="52" y="116"/>
                    </a:cubicBezTo>
                    <a:cubicBezTo>
                      <a:pt x="50" y="117"/>
                      <a:pt x="50" y="117"/>
                      <a:pt x="50" y="117"/>
                    </a:cubicBezTo>
                    <a:cubicBezTo>
                      <a:pt x="47" y="111"/>
                      <a:pt x="47" y="111"/>
                      <a:pt x="47" y="111"/>
                    </a:cubicBezTo>
                    <a:cubicBezTo>
                      <a:pt x="44" y="110"/>
                      <a:pt x="44" y="110"/>
                      <a:pt x="44" y="110"/>
                    </a:cubicBezTo>
                    <a:cubicBezTo>
                      <a:pt x="43" y="106"/>
                      <a:pt x="43" y="106"/>
                      <a:pt x="43" y="106"/>
                    </a:cubicBezTo>
                    <a:cubicBezTo>
                      <a:pt x="39" y="101"/>
                      <a:pt x="39" y="101"/>
                      <a:pt x="39" y="101"/>
                    </a:cubicBezTo>
                    <a:close/>
                    <a:moveTo>
                      <a:pt x="38" y="87"/>
                    </a:moveTo>
                    <a:cubicBezTo>
                      <a:pt x="43" y="89"/>
                      <a:pt x="43" y="89"/>
                      <a:pt x="43" y="89"/>
                    </a:cubicBezTo>
                    <a:cubicBezTo>
                      <a:pt x="41" y="86"/>
                      <a:pt x="41" y="86"/>
                      <a:pt x="41" y="86"/>
                    </a:cubicBezTo>
                    <a:cubicBezTo>
                      <a:pt x="38" y="87"/>
                      <a:pt x="38" y="87"/>
                      <a:pt x="38" y="87"/>
                    </a:cubicBezTo>
                    <a:close/>
                    <a:moveTo>
                      <a:pt x="12" y="71"/>
                    </a:moveTo>
                    <a:cubicBezTo>
                      <a:pt x="11" y="73"/>
                      <a:pt x="11" y="73"/>
                      <a:pt x="11" y="73"/>
                    </a:cubicBezTo>
                    <a:cubicBezTo>
                      <a:pt x="10" y="75"/>
                      <a:pt x="10" y="75"/>
                      <a:pt x="10" y="75"/>
                    </a:cubicBezTo>
                    <a:cubicBezTo>
                      <a:pt x="13" y="77"/>
                      <a:pt x="13" y="77"/>
                      <a:pt x="13" y="77"/>
                    </a:cubicBezTo>
                    <a:cubicBezTo>
                      <a:pt x="18" y="76"/>
                      <a:pt x="18" y="76"/>
                      <a:pt x="18" y="76"/>
                    </a:cubicBezTo>
                    <a:cubicBezTo>
                      <a:pt x="15" y="73"/>
                      <a:pt x="15" y="73"/>
                      <a:pt x="15" y="73"/>
                    </a:cubicBezTo>
                    <a:cubicBezTo>
                      <a:pt x="12" y="71"/>
                      <a:pt x="12" y="71"/>
                      <a:pt x="12" y="71"/>
                    </a:cubicBezTo>
                    <a:close/>
                    <a:moveTo>
                      <a:pt x="1" y="19"/>
                    </a:moveTo>
                    <a:cubicBezTo>
                      <a:pt x="0" y="21"/>
                      <a:pt x="0" y="21"/>
                      <a:pt x="0" y="21"/>
                    </a:cubicBezTo>
                    <a:cubicBezTo>
                      <a:pt x="1" y="26"/>
                      <a:pt x="1" y="26"/>
                      <a:pt x="1" y="26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9" y="38"/>
                      <a:pt x="9" y="38"/>
                      <a:pt x="9" y="38"/>
                    </a:cubicBezTo>
                    <a:cubicBezTo>
                      <a:pt x="18" y="47"/>
                      <a:pt x="18" y="47"/>
                      <a:pt x="18" y="47"/>
                    </a:cubicBezTo>
                    <a:cubicBezTo>
                      <a:pt x="20" y="47"/>
                      <a:pt x="20" y="47"/>
                      <a:pt x="20" y="47"/>
                    </a:cubicBezTo>
                    <a:cubicBezTo>
                      <a:pt x="25" y="53"/>
                      <a:pt x="25" y="53"/>
                      <a:pt x="25" y="53"/>
                    </a:cubicBezTo>
                    <a:cubicBezTo>
                      <a:pt x="28" y="54"/>
                      <a:pt x="28" y="54"/>
                      <a:pt x="28" y="54"/>
                    </a:cubicBezTo>
                    <a:cubicBezTo>
                      <a:pt x="31" y="53"/>
                      <a:pt x="31" y="53"/>
                      <a:pt x="31" y="53"/>
                    </a:cubicBezTo>
                    <a:cubicBezTo>
                      <a:pt x="37" y="58"/>
                      <a:pt x="37" y="58"/>
                      <a:pt x="37" y="58"/>
                    </a:cubicBezTo>
                    <a:cubicBezTo>
                      <a:pt x="44" y="68"/>
                      <a:pt x="44" y="68"/>
                      <a:pt x="44" y="68"/>
                    </a:cubicBezTo>
                    <a:cubicBezTo>
                      <a:pt x="50" y="75"/>
                      <a:pt x="50" y="75"/>
                      <a:pt x="50" y="75"/>
                    </a:cubicBezTo>
                    <a:cubicBezTo>
                      <a:pt x="52" y="75"/>
                      <a:pt x="52" y="75"/>
                      <a:pt x="52" y="75"/>
                    </a:cubicBezTo>
                    <a:cubicBezTo>
                      <a:pt x="52" y="79"/>
                      <a:pt x="52" y="79"/>
                      <a:pt x="52" y="79"/>
                    </a:cubicBezTo>
                    <a:cubicBezTo>
                      <a:pt x="54" y="81"/>
                      <a:pt x="54" y="81"/>
                      <a:pt x="54" y="81"/>
                    </a:cubicBezTo>
                    <a:cubicBezTo>
                      <a:pt x="55" y="86"/>
                      <a:pt x="55" y="86"/>
                      <a:pt x="55" y="86"/>
                    </a:cubicBezTo>
                    <a:cubicBezTo>
                      <a:pt x="57" y="88"/>
                      <a:pt x="57" y="88"/>
                      <a:pt x="57" y="88"/>
                    </a:cubicBezTo>
                    <a:cubicBezTo>
                      <a:pt x="61" y="88"/>
                      <a:pt x="61" y="88"/>
                      <a:pt x="61" y="88"/>
                    </a:cubicBezTo>
                    <a:cubicBezTo>
                      <a:pt x="66" y="94"/>
                      <a:pt x="66" y="94"/>
                      <a:pt x="66" y="94"/>
                    </a:cubicBezTo>
                    <a:cubicBezTo>
                      <a:pt x="69" y="95"/>
                      <a:pt x="69" y="95"/>
                      <a:pt x="69" y="95"/>
                    </a:cubicBezTo>
                    <a:cubicBezTo>
                      <a:pt x="71" y="95"/>
                      <a:pt x="71" y="95"/>
                      <a:pt x="71" y="95"/>
                    </a:cubicBezTo>
                    <a:cubicBezTo>
                      <a:pt x="72" y="97"/>
                      <a:pt x="72" y="97"/>
                      <a:pt x="72" y="97"/>
                    </a:cubicBezTo>
                    <a:cubicBezTo>
                      <a:pt x="71" y="100"/>
                      <a:pt x="71" y="100"/>
                      <a:pt x="71" y="100"/>
                    </a:cubicBezTo>
                    <a:cubicBezTo>
                      <a:pt x="73" y="102"/>
                      <a:pt x="73" y="102"/>
                      <a:pt x="73" y="102"/>
                    </a:cubicBezTo>
                    <a:cubicBezTo>
                      <a:pt x="75" y="107"/>
                      <a:pt x="75" y="107"/>
                      <a:pt x="75" y="107"/>
                    </a:cubicBezTo>
                    <a:cubicBezTo>
                      <a:pt x="75" y="108"/>
                      <a:pt x="75" y="108"/>
                      <a:pt x="75" y="108"/>
                    </a:cubicBezTo>
                    <a:cubicBezTo>
                      <a:pt x="79" y="118"/>
                      <a:pt x="79" y="118"/>
                      <a:pt x="79" y="118"/>
                    </a:cubicBezTo>
                    <a:cubicBezTo>
                      <a:pt x="80" y="123"/>
                      <a:pt x="80" y="123"/>
                      <a:pt x="80" y="123"/>
                    </a:cubicBezTo>
                    <a:cubicBezTo>
                      <a:pt x="85" y="125"/>
                      <a:pt x="85" y="125"/>
                      <a:pt x="85" y="125"/>
                    </a:cubicBezTo>
                    <a:cubicBezTo>
                      <a:pt x="91" y="129"/>
                      <a:pt x="91" y="129"/>
                      <a:pt x="91" y="129"/>
                    </a:cubicBezTo>
                    <a:cubicBezTo>
                      <a:pt x="91" y="132"/>
                      <a:pt x="91" y="132"/>
                      <a:pt x="91" y="132"/>
                    </a:cubicBezTo>
                    <a:cubicBezTo>
                      <a:pt x="96" y="140"/>
                      <a:pt x="96" y="140"/>
                      <a:pt x="96" y="140"/>
                    </a:cubicBezTo>
                    <a:cubicBezTo>
                      <a:pt x="100" y="143"/>
                      <a:pt x="100" y="143"/>
                      <a:pt x="100" y="143"/>
                    </a:cubicBezTo>
                    <a:cubicBezTo>
                      <a:pt x="101" y="152"/>
                      <a:pt x="101" y="152"/>
                      <a:pt x="101" y="152"/>
                    </a:cubicBezTo>
                    <a:cubicBezTo>
                      <a:pt x="108" y="165"/>
                      <a:pt x="108" y="165"/>
                      <a:pt x="108" y="165"/>
                    </a:cubicBezTo>
                    <a:cubicBezTo>
                      <a:pt x="108" y="170"/>
                      <a:pt x="108" y="170"/>
                      <a:pt x="108" y="170"/>
                    </a:cubicBezTo>
                    <a:cubicBezTo>
                      <a:pt x="110" y="175"/>
                      <a:pt x="110" y="175"/>
                      <a:pt x="110" y="175"/>
                    </a:cubicBezTo>
                    <a:cubicBezTo>
                      <a:pt x="117" y="180"/>
                      <a:pt x="117" y="180"/>
                      <a:pt x="117" y="180"/>
                    </a:cubicBezTo>
                    <a:cubicBezTo>
                      <a:pt x="124" y="188"/>
                      <a:pt x="124" y="188"/>
                      <a:pt x="124" y="188"/>
                    </a:cubicBezTo>
                    <a:cubicBezTo>
                      <a:pt x="126" y="193"/>
                      <a:pt x="126" y="193"/>
                      <a:pt x="126" y="193"/>
                    </a:cubicBezTo>
                    <a:cubicBezTo>
                      <a:pt x="131" y="194"/>
                      <a:pt x="131" y="194"/>
                      <a:pt x="131" y="194"/>
                    </a:cubicBezTo>
                    <a:cubicBezTo>
                      <a:pt x="133" y="196"/>
                      <a:pt x="133" y="196"/>
                      <a:pt x="133" y="196"/>
                    </a:cubicBezTo>
                    <a:cubicBezTo>
                      <a:pt x="138" y="199"/>
                      <a:pt x="138" y="199"/>
                      <a:pt x="138" y="199"/>
                    </a:cubicBezTo>
                    <a:cubicBezTo>
                      <a:pt x="138" y="204"/>
                      <a:pt x="138" y="204"/>
                      <a:pt x="138" y="204"/>
                    </a:cubicBezTo>
                    <a:cubicBezTo>
                      <a:pt x="142" y="207"/>
                      <a:pt x="142" y="207"/>
                      <a:pt x="142" y="207"/>
                    </a:cubicBezTo>
                    <a:cubicBezTo>
                      <a:pt x="147" y="212"/>
                      <a:pt x="147" y="212"/>
                      <a:pt x="147" y="212"/>
                    </a:cubicBezTo>
                    <a:cubicBezTo>
                      <a:pt x="156" y="217"/>
                      <a:pt x="156" y="217"/>
                      <a:pt x="156" y="217"/>
                    </a:cubicBezTo>
                    <a:cubicBezTo>
                      <a:pt x="158" y="221"/>
                      <a:pt x="158" y="221"/>
                      <a:pt x="158" y="221"/>
                    </a:cubicBezTo>
                    <a:cubicBezTo>
                      <a:pt x="163" y="223"/>
                      <a:pt x="163" y="223"/>
                      <a:pt x="163" y="223"/>
                    </a:cubicBezTo>
                    <a:cubicBezTo>
                      <a:pt x="175" y="233"/>
                      <a:pt x="175" y="233"/>
                      <a:pt x="175" y="233"/>
                    </a:cubicBezTo>
                    <a:cubicBezTo>
                      <a:pt x="176" y="236"/>
                      <a:pt x="176" y="236"/>
                      <a:pt x="176" y="236"/>
                    </a:cubicBezTo>
                    <a:cubicBezTo>
                      <a:pt x="178" y="237"/>
                      <a:pt x="178" y="237"/>
                      <a:pt x="178" y="237"/>
                    </a:cubicBezTo>
                    <a:cubicBezTo>
                      <a:pt x="181" y="242"/>
                      <a:pt x="181" y="242"/>
                      <a:pt x="181" y="242"/>
                    </a:cubicBezTo>
                    <a:cubicBezTo>
                      <a:pt x="182" y="240"/>
                      <a:pt x="182" y="240"/>
                      <a:pt x="182" y="240"/>
                    </a:cubicBezTo>
                    <a:cubicBezTo>
                      <a:pt x="182" y="237"/>
                      <a:pt x="182" y="237"/>
                      <a:pt x="182" y="237"/>
                    </a:cubicBezTo>
                    <a:cubicBezTo>
                      <a:pt x="181" y="235"/>
                      <a:pt x="181" y="235"/>
                      <a:pt x="181" y="235"/>
                    </a:cubicBezTo>
                    <a:cubicBezTo>
                      <a:pt x="181" y="233"/>
                      <a:pt x="181" y="233"/>
                      <a:pt x="181" y="233"/>
                    </a:cubicBezTo>
                    <a:cubicBezTo>
                      <a:pt x="185" y="233"/>
                      <a:pt x="185" y="233"/>
                      <a:pt x="185" y="233"/>
                    </a:cubicBezTo>
                    <a:cubicBezTo>
                      <a:pt x="192" y="240"/>
                      <a:pt x="192" y="240"/>
                      <a:pt x="192" y="240"/>
                    </a:cubicBezTo>
                    <a:cubicBezTo>
                      <a:pt x="194" y="239"/>
                      <a:pt x="194" y="239"/>
                      <a:pt x="194" y="239"/>
                    </a:cubicBezTo>
                    <a:cubicBezTo>
                      <a:pt x="194" y="234"/>
                      <a:pt x="194" y="234"/>
                      <a:pt x="194" y="234"/>
                    </a:cubicBezTo>
                    <a:cubicBezTo>
                      <a:pt x="195" y="231"/>
                      <a:pt x="195" y="231"/>
                      <a:pt x="195" y="231"/>
                    </a:cubicBezTo>
                    <a:cubicBezTo>
                      <a:pt x="199" y="232"/>
                      <a:pt x="199" y="232"/>
                      <a:pt x="199" y="232"/>
                    </a:cubicBezTo>
                    <a:cubicBezTo>
                      <a:pt x="202" y="237"/>
                      <a:pt x="202" y="237"/>
                      <a:pt x="202" y="237"/>
                    </a:cubicBezTo>
                    <a:cubicBezTo>
                      <a:pt x="204" y="238"/>
                      <a:pt x="204" y="238"/>
                      <a:pt x="204" y="238"/>
                    </a:cubicBezTo>
                    <a:cubicBezTo>
                      <a:pt x="207" y="236"/>
                      <a:pt x="207" y="236"/>
                      <a:pt x="207" y="236"/>
                    </a:cubicBezTo>
                    <a:cubicBezTo>
                      <a:pt x="206" y="227"/>
                      <a:pt x="206" y="227"/>
                      <a:pt x="206" y="227"/>
                    </a:cubicBezTo>
                    <a:cubicBezTo>
                      <a:pt x="208" y="217"/>
                      <a:pt x="208" y="217"/>
                      <a:pt x="208" y="217"/>
                    </a:cubicBezTo>
                    <a:cubicBezTo>
                      <a:pt x="206" y="210"/>
                      <a:pt x="206" y="210"/>
                      <a:pt x="206" y="210"/>
                    </a:cubicBezTo>
                    <a:cubicBezTo>
                      <a:pt x="209" y="203"/>
                      <a:pt x="209" y="203"/>
                      <a:pt x="209" y="203"/>
                    </a:cubicBezTo>
                    <a:cubicBezTo>
                      <a:pt x="208" y="200"/>
                      <a:pt x="208" y="200"/>
                      <a:pt x="208" y="200"/>
                    </a:cubicBezTo>
                    <a:cubicBezTo>
                      <a:pt x="208" y="194"/>
                      <a:pt x="208" y="194"/>
                      <a:pt x="208" y="194"/>
                    </a:cubicBezTo>
                    <a:cubicBezTo>
                      <a:pt x="212" y="193"/>
                      <a:pt x="212" y="193"/>
                      <a:pt x="212" y="193"/>
                    </a:cubicBezTo>
                    <a:cubicBezTo>
                      <a:pt x="213" y="190"/>
                      <a:pt x="213" y="190"/>
                      <a:pt x="213" y="190"/>
                    </a:cubicBezTo>
                    <a:cubicBezTo>
                      <a:pt x="213" y="187"/>
                      <a:pt x="213" y="187"/>
                      <a:pt x="213" y="187"/>
                    </a:cubicBezTo>
                    <a:cubicBezTo>
                      <a:pt x="210" y="186"/>
                      <a:pt x="210" y="186"/>
                      <a:pt x="210" y="186"/>
                    </a:cubicBezTo>
                    <a:cubicBezTo>
                      <a:pt x="206" y="183"/>
                      <a:pt x="206" y="183"/>
                      <a:pt x="206" y="183"/>
                    </a:cubicBezTo>
                    <a:cubicBezTo>
                      <a:pt x="205" y="179"/>
                      <a:pt x="205" y="179"/>
                      <a:pt x="205" y="179"/>
                    </a:cubicBezTo>
                    <a:cubicBezTo>
                      <a:pt x="202" y="177"/>
                      <a:pt x="202" y="177"/>
                      <a:pt x="202" y="177"/>
                    </a:cubicBezTo>
                    <a:cubicBezTo>
                      <a:pt x="201" y="174"/>
                      <a:pt x="201" y="174"/>
                      <a:pt x="201" y="174"/>
                    </a:cubicBezTo>
                    <a:cubicBezTo>
                      <a:pt x="198" y="173"/>
                      <a:pt x="198" y="173"/>
                      <a:pt x="198" y="173"/>
                    </a:cubicBezTo>
                    <a:cubicBezTo>
                      <a:pt x="192" y="174"/>
                      <a:pt x="192" y="174"/>
                      <a:pt x="192" y="174"/>
                    </a:cubicBezTo>
                    <a:cubicBezTo>
                      <a:pt x="188" y="173"/>
                      <a:pt x="188" y="173"/>
                      <a:pt x="188" y="173"/>
                    </a:cubicBezTo>
                    <a:cubicBezTo>
                      <a:pt x="187" y="168"/>
                      <a:pt x="187" y="168"/>
                      <a:pt x="187" y="168"/>
                    </a:cubicBezTo>
                    <a:cubicBezTo>
                      <a:pt x="185" y="164"/>
                      <a:pt x="185" y="164"/>
                      <a:pt x="185" y="164"/>
                    </a:cubicBezTo>
                    <a:cubicBezTo>
                      <a:pt x="182" y="165"/>
                      <a:pt x="182" y="165"/>
                      <a:pt x="182" y="165"/>
                    </a:cubicBezTo>
                    <a:cubicBezTo>
                      <a:pt x="184" y="162"/>
                      <a:pt x="184" y="162"/>
                      <a:pt x="184" y="162"/>
                    </a:cubicBezTo>
                    <a:cubicBezTo>
                      <a:pt x="182" y="158"/>
                      <a:pt x="182" y="158"/>
                      <a:pt x="182" y="158"/>
                    </a:cubicBezTo>
                    <a:cubicBezTo>
                      <a:pt x="182" y="149"/>
                      <a:pt x="182" y="149"/>
                      <a:pt x="182" y="149"/>
                    </a:cubicBezTo>
                    <a:cubicBezTo>
                      <a:pt x="177" y="151"/>
                      <a:pt x="177" y="151"/>
                      <a:pt x="177" y="151"/>
                    </a:cubicBezTo>
                    <a:cubicBezTo>
                      <a:pt x="175" y="149"/>
                      <a:pt x="175" y="149"/>
                      <a:pt x="175" y="149"/>
                    </a:cubicBezTo>
                    <a:cubicBezTo>
                      <a:pt x="168" y="149"/>
                      <a:pt x="168" y="149"/>
                      <a:pt x="168" y="149"/>
                    </a:cubicBezTo>
                    <a:cubicBezTo>
                      <a:pt x="161" y="144"/>
                      <a:pt x="161" y="144"/>
                      <a:pt x="161" y="144"/>
                    </a:cubicBezTo>
                    <a:cubicBezTo>
                      <a:pt x="162" y="141"/>
                      <a:pt x="162" y="141"/>
                      <a:pt x="162" y="141"/>
                    </a:cubicBezTo>
                    <a:cubicBezTo>
                      <a:pt x="165" y="140"/>
                      <a:pt x="165" y="140"/>
                      <a:pt x="165" y="140"/>
                    </a:cubicBezTo>
                    <a:cubicBezTo>
                      <a:pt x="170" y="137"/>
                      <a:pt x="170" y="137"/>
                      <a:pt x="170" y="137"/>
                    </a:cubicBezTo>
                    <a:cubicBezTo>
                      <a:pt x="167" y="136"/>
                      <a:pt x="167" y="136"/>
                      <a:pt x="167" y="136"/>
                    </a:cubicBezTo>
                    <a:cubicBezTo>
                      <a:pt x="163" y="136"/>
                      <a:pt x="163" y="136"/>
                      <a:pt x="163" y="136"/>
                    </a:cubicBezTo>
                    <a:cubicBezTo>
                      <a:pt x="161" y="135"/>
                      <a:pt x="161" y="135"/>
                      <a:pt x="161" y="135"/>
                    </a:cubicBezTo>
                    <a:cubicBezTo>
                      <a:pt x="156" y="137"/>
                      <a:pt x="156" y="137"/>
                      <a:pt x="156" y="137"/>
                    </a:cubicBezTo>
                    <a:cubicBezTo>
                      <a:pt x="159" y="134"/>
                      <a:pt x="159" y="134"/>
                      <a:pt x="159" y="134"/>
                    </a:cubicBezTo>
                    <a:cubicBezTo>
                      <a:pt x="164" y="131"/>
                      <a:pt x="164" y="131"/>
                      <a:pt x="164" y="131"/>
                    </a:cubicBezTo>
                    <a:cubicBezTo>
                      <a:pt x="170" y="130"/>
                      <a:pt x="170" y="130"/>
                      <a:pt x="170" y="130"/>
                    </a:cubicBezTo>
                    <a:cubicBezTo>
                      <a:pt x="168" y="126"/>
                      <a:pt x="168" y="126"/>
                      <a:pt x="168" y="126"/>
                    </a:cubicBezTo>
                    <a:cubicBezTo>
                      <a:pt x="163" y="120"/>
                      <a:pt x="163" y="120"/>
                      <a:pt x="163" y="120"/>
                    </a:cubicBezTo>
                    <a:cubicBezTo>
                      <a:pt x="159" y="120"/>
                      <a:pt x="159" y="120"/>
                      <a:pt x="159" y="120"/>
                    </a:cubicBezTo>
                    <a:cubicBezTo>
                      <a:pt x="155" y="122"/>
                      <a:pt x="155" y="122"/>
                      <a:pt x="155" y="122"/>
                    </a:cubicBezTo>
                    <a:cubicBezTo>
                      <a:pt x="151" y="125"/>
                      <a:pt x="151" y="125"/>
                      <a:pt x="151" y="125"/>
                    </a:cubicBezTo>
                    <a:cubicBezTo>
                      <a:pt x="146" y="125"/>
                      <a:pt x="146" y="125"/>
                      <a:pt x="146" y="125"/>
                    </a:cubicBezTo>
                    <a:cubicBezTo>
                      <a:pt x="149" y="125"/>
                      <a:pt x="149" y="125"/>
                      <a:pt x="149" y="125"/>
                    </a:cubicBezTo>
                    <a:cubicBezTo>
                      <a:pt x="151" y="123"/>
                      <a:pt x="151" y="123"/>
                      <a:pt x="151" y="123"/>
                    </a:cubicBezTo>
                    <a:cubicBezTo>
                      <a:pt x="152" y="122"/>
                      <a:pt x="152" y="122"/>
                      <a:pt x="152" y="122"/>
                    </a:cubicBezTo>
                    <a:cubicBezTo>
                      <a:pt x="154" y="120"/>
                      <a:pt x="154" y="120"/>
                      <a:pt x="154" y="120"/>
                    </a:cubicBezTo>
                    <a:cubicBezTo>
                      <a:pt x="153" y="118"/>
                      <a:pt x="153" y="118"/>
                      <a:pt x="153" y="118"/>
                    </a:cubicBezTo>
                    <a:cubicBezTo>
                      <a:pt x="149" y="116"/>
                      <a:pt x="149" y="116"/>
                      <a:pt x="149" y="116"/>
                    </a:cubicBezTo>
                    <a:cubicBezTo>
                      <a:pt x="142" y="116"/>
                      <a:pt x="142" y="116"/>
                      <a:pt x="142" y="116"/>
                    </a:cubicBezTo>
                    <a:cubicBezTo>
                      <a:pt x="137" y="112"/>
                      <a:pt x="137" y="112"/>
                      <a:pt x="137" y="112"/>
                    </a:cubicBezTo>
                    <a:cubicBezTo>
                      <a:pt x="137" y="109"/>
                      <a:pt x="137" y="109"/>
                      <a:pt x="137" y="109"/>
                    </a:cubicBezTo>
                    <a:cubicBezTo>
                      <a:pt x="137" y="105"/>
                      <a:pt x="137" y="105"/>
                      <a:pt x="137" y="105"/>
                    </a:cubicBezTo>
                    <a:cubicBezTo>
                      <a:pt x="129" y="97"/>
                      <a:pt x="129" y="97"/>
                      <a:pt x="129" y="97"/>
                    </a:cubicBezTo>
                    <a:cubicBezTo>
                      <a:pt x="126" y="96"/>
                      <a:pt x="126" y="96"/>
                      <a:pt x="126" y="96"/>
                    </a:cubicBezTo>
                    <a:cubicBezTo>
                      <a:pt x="124" y="97"/>
                      <a:pt x="124" y="97"/>
                      <a:pt x="124" y="97"/>
                    </a:cubicBezTo>
                    <a:cubicBezTo>
                      <a:pt x="120" y="95"/>
                      <a:pt x="120" y="95"/>
                      <a:pt x="120" y="95"/>
                    </a:cubicBezTo>
                    <a:cubicBezTo>
                      <a:pt x="120" y="88"/>
                      <a:pt x="120" y="88"/>
                      <a:pt x="120" y="88"/>
                    </a:cubicBezTo>
                    <a:cubicBezTo>
                      <a:pt x="114" y="83"/>
                      <a:pt x="114" y="83"/>
                      <a:pt x="114" y="83"/>
                    </a:cubicBezTo>
                    <a:cubicBezTo>
                      <a:pt x="107" y="79"/>
                      <a:pt x="107" y="79"/>
                      <a:pt x="107" y="79"/>
                    </a:cubicBezTo>
                    <a:cubicBezTo>
                      <a:pt x="102" y="79"/>
                      <a:pt x="102" y="79"/>
                      <a:pt x="102" y="79"/>
                    </a:cubicBezTo>
                    <a:cubicBezTo>
                      <a:pt x="101" y="80"/>
                      <a:pt x="101" y="80"/>
                      <a:pt x="101" y="80"/>
                    </a:cubicBezTo>
                    <a:cubicBezTo>
                      <a:pt x="99" y="79"/>
                      <a:pt x="99" y="79"/>
                      <a:pt x="99" y="79"/>
                    </a:cubicBezTo>
                    <a:cubicBezTo>
                      <a:pt x="98" y="74"/>
                      <a:pt x="98" y="74"/>
                      <a:pt x="98" y="74"/>
                    </a:cubicBezTo>
                    <a:cubicBezTo>
                      <a:pt x="95" y="76"/>
                      <a:pt x="95" y="76"/>
                      <a:pt x="95" y="76"/>
                    </a:cubicBezTo>
                    <a:cubicBezTo>
                      <a:pt x="93" y="74"/>
                      <a:pt x="93" y="74"/>
                      <a:pt x="93" y="74"/>
                    </a:cubicBezTo>
                    <a:cubicBezTo>
                      <a:pt x="93" y="68"/>
                      <a:pt x="93" y="68"/>
                      <a:pt x="93" y="68"/>
                    </a:cubicBezTo>
                    <a:cubicBezTo>
                      <a:pt x="90" y="64"/>
                      <a:pt x="90" y="64"/>
                      <a:pt x="90" y="64"/>
                    </a:cubicBezTo>
                    <a:cubicBezTo>
                      <a:pt x="85" y="63"/>
                      <a:pt x="85" y="63"/>
                      <a:pt x="85" y="63"/>
                    </a:cubicBezTo>
                    <a:cubicBezTo>
                      <a:pt x="84" y="61"/>
                      <a:pt x="84" y="61"/>
                      <a:pt x="84" y="61"/>
                    </a:cubicBezTo>
                    <a:cubicBezTo>
                      <a:pt x="73" y="54"/>
                      <a:pt x="73" y="54"/>
                      <a:pt x="73" y="54"/>
                    </a:cubicBezTo>
                    <a:cubicBezTo>
                      <a:pt x="69" y="53"/>
                      <a:pt x="69" y="53"/>
                      <a:pt x="69" y="53"/>
                    </a:cubicBezTo>
                    <a:cubicBezTo>
                      <a:pt x="65" y="48"/>
                      <a:pt x="65" y="48"/>
                      <a:pt x="65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59" y="45"/>
                      <a:pt x="59" y="45"/>
                      <a:pt x="59" y="45"/>
                    </a:cubicBezTo>
                    <a:cubicBezTo>
                      <a:pt x="58" y="39"/>
                      <a:pt x="58" y="39"/>
                      <a:pt x="58" y="39"/>
                    </a:cubicBezTo>
                    <a:cubicBezTo>
                      <a:pt x="54" y="37"/>
                      <a:pt x="54" y="37"/>
                      <a:pt x="54" y="37"/>
                    </a:cubicBezTo>
                    <a:cubicBezTo>
                      <a:pt x="52" y="32"/>
                      <a:pt x="52" y="32"/>
                      <a:pt x="52" y="32"/>
                    </a:cubicBezTo>
                    <a:cubicBezTo>
                      <a:pt x="50" y="32"/>
                      <a:pt x="50" y="32"/>
                      <a:pt x="50" y="32"/>
                    </a:cubicBezTo>
                    <a:cubicBezTo>
                      <a:pt x="47" y="27"/>
                      <a:pt x="47" y="27"/>
                      <a:pt x="47" y="27"/>
                    </a:cubicBezTo>
                    <a:cubicBezTo>
                      <a:pt x="43" y="25"/>
                      <a:pt x="43" y="25"/>
                      <a:pt x="43" y="25"/>
                    </a:cubicBezTo>
                    <a:cubicBezTo>
                      <a:pt x="39" y="25"/>
                      <a:pt x="39" y="25"/>
                      <a:pt x="39" y="25"/>
                    </a:cubicBezTo>
                    <a:cubicBezTo>
                      <a:pt x="36" y="26"/>
                      <a:pt x="36" y="26"/>
                      <a:pt x="36" y="26"/>
                    </a:cubicBezTo>
                    <a:cubicBezTo>
                      <a:pt x="34" y="25"/>
                      <a:pt x="34" y="25"/>
                      <a:pt x="34" y="25"/>
                    </a:cubicBezTo>
                    <a:cubicBezTo>
                      <a:pt x="29" y="25"/>
                      <a:pt x="29" y="25"/>
                      <a:pt x="29" y="25"/>
                    </a:cubicBezTo>
                    <a:cubicBezTo>
                      <a:pt x="24" y="26"/>
                      <a:pt x="24" y="26"/>
                      <a:pt x="24" y="26"/>
                    </a:cubicBezTo>
                    <a:cubicBezTo>
                      <a:pt x="21" y="25"/>
                      <a:pt x="21" y="25"/>
                      <a:pt x="21" y="25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4" y="18"/>
                      <a:pt x="4" y="18"/>
                      <a:pt x="4" y="18"/>
                    </a:cubicBezTo>
                    <a:lnTo>
                      <a:pt x="1" y="19"/>
                    </a:lnTo>
                    <a:close/>
                  </a:path>
                </a:pathLst>
              </a:custGeom>
              <a:solidFill>
                <a:schemeClr val="accent4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618" name="Freeform 422"/>
              <p:cNvSpPr>
                <a:spLocks noEditPoints="1"/>
              </p:cNvSpPr>
              <p:nvPr userDrawn="1"/>
            </p:nvSpPr>
            <p:spPr bwMode="auto">
              <a:xfrm>
                <a:off x="3387" y="1930"/>
                <a:ext cx="239" cy="215"/>
              </a:xfrm>
              <a:custGeom>
                <a:avLst/>
                <a:gdLst>
                  <a:gd name="T0" fmla="*/ 188 w 239"/>
                  <a:gd name="T1" fmla="*/ 105 h 215"/>
                  <a:gd name="T2" fmla="*/ 172 w 239"/>
                  <a:gd name="T3" fmla="*/ 113 h 215"/>
                  <a:gd name="T4" fmla="*/ 177 w 239"/>
                  <a:gd name="T5" fmla="*/ 100 h 215"/>
                  <a:gd name="T6" fmla="*/ 191 w 239"/>
                  <a:gd name="T7" fmla="*/ 83 h 215"/>
                  <a:gd name="T8" fmla="*/ 198 w 239"/>
                  <a:gd name="T9" fmla="*/ 80 h 215"/>
                  <a:gd name="T10" fmla="*/ 201 w 239"/>
                  <a:gd name="T11" fmla="*/ 62 h 215"/>
                  <a:gd name="T12" fmla="*/ 206 w 239"/>
                  <a:gd name="T13" fmla="*/ 45 h 215"/>
                  <a:gd name="T14" fmla="*/ 189 w 239"/>
                  <a:gd name="T15" fmla="*/ 44 h 215"/>
                  <a:gd name="T16" fmla="*/ 177 w 239"/>
                  <a:gd name="T17" fmla="*/ 38 h 215"/>
                  <a:gd name="T18" fmla="*/ 163 w 239"/>
                  <a:gd name="T19" fmla="*/ 32 h 215"/>
                  <a:gd name="T20" fmla="*/ 148 w 239"/>
                  <a:gd name="T21" fmla="*/ 25 h 215"/>
                  <a:gd name="T22" fmla="*/ 137 w 239"/>
                  <a:gd name="T23" fmla="*/ 16 h 215"/>
                  <a:gd name="T24" fmla="*/ 124 w 239"/>
                  <a:gd name="T25" fmla="*/ 2 h 215"/>
                  <a:gd name="T26" fmla="*/ 108 w 239"/>
                  <a:gd name="T27" fmla="*/ 5 h 215"/>
                  <a:gd name="T28" fmla="*/ 102 w 239"/>
                  <a:gd name="T29" fmla="*/ 27 h 215"/>
                  <a:gd name="T30" fmla="*/ 80 w 239"/>
                  <a:gd name="T31" fmla="*/ 33 h 215"/>
                  <a:gd name="T32" fmla="*/ 68 w 239"/>
                  <a:gd name="T33" fmla="*/ 40 h 215"/>
                  <a:gd name="T34" fmla="*/ 59 w 239"/>
                  <a:gd name="T35" fmla="*/ 33 h 215"/>
                  <a:gd name="T36" fmla="*/ 49 w 239"/>
                  <a:gd name="T37" fmla="*/ 35 h 215"/>
                  <a:gd name="T38" fmla="*/ 54 w 239"/>
                  <a:gd name="T39" fmla="*/ 50 h 215"/>
                  <a:gd name="T40" fmla="*/ 44 w 239"/>
                  <a:gd name="T41" fmla="*/ 55 h 215"/>
                  <a:gd name="T42" fmla="*/ 27 w 239"/>
                  <a:gd name="T43" fmla="*/ 51 h 215"/>
                  <a:gd name="T44" fmla="*/ 14 w 239"/>
                  <a:gd name="T45" fmla="*/ 54 h 215"/>
                  <a:gd name="T46" fmla="*/ 1 w 239"/>
                  <a:gd name="T47" fmla="*/ 62 h 215"/>
                  <a:gd name="T48" fmla="*/ 3 w 239"/>
                  <a:gd name="T49" fmla="*/ 63 h 215"/>
                  <a:gd name="T50" fmla="*/ 6 w 239"/>
                  <a:gd name="T51" fmla="*/ 68 h 215"/>
                  <a:gd name="T52" fmla="*/ 7 w 239"/>
                  <a:gd name="T53" fmla="*/ 75 h 215"/>
                  <a:gd name="T54" fmla="*/ 22 w 239"/>
                  <a:gd name="T55" fmla="*/ 77 h 215"/>
                  <a:gd name="T56" fmla="*/ 33 w 239"/>
                  <a:gd name="T57" fmla="*/ 80 h 215"/>
                  <a:gd name="T58" fmla="*/ 39 w 239"/>
                  <a:gd name="T59" fmla="*/ 88 h 215"/>
                  <a:gd name="T60" fmla="*/ 48 w 239"/>
                  <a:gd name="T61" fmla="*/ 87 h 215"/>
                  <a:gd name="T62" fmla="*/ 43 w 239"/>
                  <a:gd name="T63" fmla="*/ 97 h 215"/>
                  <a:gd name="T64" fmla="*/ 60 w 239"/>
                  <a:gd name="T65" fmla="*/ 109 h 215"/>
                  <a:gd name="T66" fmla="*/ 59 w 239"/>
                  <a:gd name="T67" fmla="*/ 121 h 215"/>
                  <a:gd name="T68" fmla="*/ 66 w 239"/>
                  <a:gd name="T69" fmla="*/ 127 h 215"/>
                  <a:gd name="T70" fmla="*/ 61 w 239"/>
                  <a:gd name="T71" fmla="*/ 144 h 215"/>
                  <a:gd name="T72" fmla="*/ 54 w 239"/>
                  <a:gd name="T73" fmla="*/ 172 h 215"/>
                  <a:gd name="T74" fmla="*/ 62 w 239"/>
                  <a:gd name="T75" fmla="*/ 180 h 215"/>
                  <a:gd name="T76" fmla="*/ 86 w 239"/>
                  <a:gd name="T77" fmla="*/ 188 h 215"/>
                  <a:gd name="T78" fmla="*/ 108 w 239"/>
                  <a:gd name="T79" fmla="*/ 187 h 215"/>
                  <a:gd name="T80" fmla="*/ 130 w 239"/>
                  <a:gd name="T81" fmla="*/ 192 h 215"/>
                  <a:gd name="T82" fmla="*/ 141 w 239"/>
                  <a:gd name="T83" fmla="*/ 167 h 215"/>
                  <a:gd name="T84" fmla="*/ 157 w 239"/>
                  <a:gd name="T85" fmla="*/ 172 h 215"/>
                  <a:gd name="T86" fmla="*/ 185 w 239"/>
                  <a:gd name="T87" fmla="*/ 180 h 215"/>
                  <a:gd name="T88" fmla="*/ 203 w 239"/>
                  <a:gd name="T89" fmla="*/ 162 h 215"/>
                  <a:gd name="T90" fmla="*/ 192 w 239"/>
                  <a:gd name="T91" fmla="*/ 140 h 215"/>
                  <a:gd name="T92" fmla="*/ 192 w 239"/>
                  <a:gd name="T93" fmla="*/ 123 h 215"/>
                  <a:gd name="T94" fmla="*/ 193 w 239"/>
                  <a:gd name="T95" fmla="*/ 117 h 215"/>
                  <a:gd name="T96" fmla="*/ 228 w 239"/>
                  <a:gd name="T97" fmla="*/ 209 h 215"/>
                  <a:gd name="T98" fmla="*/ 222 w 239"/>
                  <a:gd name="T99" fmla="*/ 202 h 215"/>
                  <a:gd name="T100" fmla="*/ 222 w 239"/>
                  <a:gd name="T101" fmla="*/ 196 h 215"/>
                  <a:gd name="T102" fmla="*/ 231 w 239"/>
                  <a:gd name="T103" fmla="*/ 184 h 215"/>
                  <a:gd name="T104" fmla="*/ 234 w 239"/>
                  <a:gd name="T105" fmla="*/ 178 h 215"/>
                  <a:gd name="T106" fmla="*/ 237 w 239"/>
                  <a:gd name="T107" fmla="*/ 203 h 2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39" h="215">
                    <a:moveTo>
                      <a:pt x="193" y="117"/>
                    </a:moveTo>
                    <a:lnTo>
                      <a:pt x="192" y="115"/>
                    </a:lnTo>
                    <a:lnTo>
                      <a:pt x="190" y="113"/>
                    </a:lnTo>
                    <a:lnTo>
                      <a:pt x="189" y="108"/>
                    </a:lnTo>
                    <a:lnTo>
                      <a:pt x="188" y="105"/>
                    </a:lnTo>
                    <a:lnTo>
                      <a:pt x="182" y="105"/>
                    </a:lnTo>
                    <a:lnTo>
                      <a:pt x="179" y="107"/>
                    </a:lnTo>
                    <a:lnTo>
                      <a:pt x="181" y="111"/>
                    </a:lnTo>
                    <a:lnTo>
                      <a:pt x="177" y="113"/>
                    </a:lnTo>
                    <a:lnTo>
                      <a:pt x="172" y="113"/>
                    </a:lnTo>
                    <a:lnTo>
                      <a:pt x="172" y="110"/>
                    </a:lnTo>
                    <a:lnTo>
                      <a:pt x="174" y="109"/>
                    </a:lnTo>
                    <a:lnTo>
                      <a:pt x="176" y="109"/>
                    </a:lnTo>
                    <a:lnTo>
                      <a:pt x="176" y="105"/>
                    </a:lnTo>
                    <a:lnTo>
                      <a:pt x="177" y="100"/>
                    </a:lnTo>
                    <a:lnTo>
                      <a:pt x="182" y="93"/>
                    </a:lnTo>
                    <a:lnTo>
                      <a:pt x="185" y="92"/>
                    </a:lnTo>
                    <a:lnTo>
                      <a:pt x="188" y="87"/>
                    </a:lnTo>
                    <a:lnTo>
                      <a:pt x="191" y="86"/>
                    </a:lnTo>
                    <a:lnTo>
                      <a:pt x="191" y="83"/>
                    </a:lnTo>
                    <a:lnTo>
                      <a:pt x="188" y="81"/>
                    </a:lnTo>
                    <a:lnTo>
                      <a:pt x="189" y="78"/>
                    </a:lnTo>
                    <a:lnTo>
                      <a:pt x="194" y="77"/>
                    </a:lnTo>
                    <a:lnTo>
                      <a:pt x="195" y="80"/>
                    </a:lnTo>
                    <a:lnTo>
                      <a:pt x="198" y="80"/>
                    </a:lnTo>
                    <a:lnTo>
                      <a:pt x="204" y="78"/>
                    </a:lnTo>
                    <a:lnTo>
                      <a:pt x="203" y="75"/>
                    </a:lnTo>
                    <a:lnTo>
                      <a:pt x="199" y="73"/>
                    </a:lnTo>
                    <a:lnTo>
                      <a:pt x="199" y="68"/>
                    </a:lnTo>
                    <a:lnTo>
                      <a:pt x="201" y="62"/>
                    </a:lnTo>
                    <a:lnTo>
                      <a:pt x="204" y="59"/>
                    </a:lnTo>
                    <a:lnTo>
                      <a:pt x="204" y="57"/>
                    </a:lnTo>
                    <a:lnTo>
                      <a:pt x="206" y="52"/>
                    </a:lnTo>
                    <a:lnTo>
                      <a:pt x="210" y="48"/>
                    </a:lnTo>
                    <a:lnTo>
                      <a:pt x="206" y="45"/>
                    </a:lnTo>
                    <a:lnTo>
                      <a:pt x="203" y="45"/>
                    </a:lnTo>
                    <a:lnTo>
                      <a:pt x="198" y="43"/>
                    </a:lnTo>
                    <a:lnTo>
                      <a:pt x="195" y="44"/>
                    </a:lnTo>
                    <a:lnTo>
                      <a:pt x="192" y="44"/>
                    </a:lnTo>
                    <a:lnTo>
                      <a:pt x="189" y="44"/>
                    </a:lnTo>
                    <a:lnTo>
                      <a:pt x="187" y="45"/>
                    </a:lnTo>
                    <a:lnTo>
                      <a:pt x="183" y="42"/>
                    </a:lnTo>
                    <a:lnTo>
                      <a:pt x="183" y="40"/>
                    </a:lnTo>
                    <a:lnTo>
                      <a:pt x="180" y="37"/>
                    </a:lnTo>
                    <a:lnTo>
                      <a:pt x="177" y="38"/>
                    </a:lnTo>
                    <a:lnTo>
                      <a:pt x="172" y="37"/>
                    </a:lnTo>
                    <a:lnTo>
                      <a:pt x="170" y="33"/>
                    </a:lnTo>
                    <a:lnTo>
                      <a:pt x="167" y="33"/>
                    </a:lnTo>
                    <a:lnTo>
                      <a:pt x="166" y="34"/>
                    </a:lnTo>
                    <a:lnTo>
                      <a:pt x="163" y="32"/>
                    </a:lnTo>
                    <a:lnTo>
                      <a:pt x="159" y="32"/>
                    </a:lnTo>
                    <a:lnTo>
                      <a:pt x="154" y="27"/>
                    </a:lnTo>
                    <a:lnTo>
                      <a:pt x="152" y="27"/>
                    </a:lnTo>
                    <a:lnTo>
                      <a:pt x="150" y="25"/>
                    </a:lnTo>
                    <a:lnTo>
                      <a:pt x="148" y="25"/>
                    </a:lnTo>
                    <a:lnTo>
                      <a:pt x="146" y="26"/>
                    </a:lnTo>
                    <a:lnTo>
                      <a:pt x="143" y="24"/>
                    </a:lnTo>
                    <a:lnTo>
                      <a:pt x="142" y="19"/>
                    </a:lnTo>
                    <a:lnTo>
                      <a:pt x="140" y="18"/>
                    </a:lnTo>
                    <a:lnTo>
                      <a:pt x="137" y="16"/>
                    </a:lnTo>
                    <a:lnTo>
                      <a:pt x="135" y="16"/>
                    </a:lnTo>
                    <a:lnTo>
                      <a:pt x="130" y="12"/>
                    </a:lnTo>
                    <a:lnTo>
                      <a:pt x="129" y="9"/>
                    </a:lnTo>
                    <a:lnTo>
                      <a:pt x="125" y="8"/>
                    </a:lnTo>
                    <a:lnTo>
                      <a:pt x="124" y="2"/>
                    </a:lnTo>
                    <a:lnTo>
                      <a:pt x="122" y="0"/>
                    </a:lnTo>
                    <a:lnTo>
                      <a:pt x="122" y="1"/>
                    </a:lnTo>
                    <a:lnTo>
                      <a:pt x="115" y="4"/>
                    </a:lnTo>
                    <a:lnTo>
                      <a:pt x="113" y="2"/>
                    </a:lnTo>
                    <a:lnTo>
                      <a:pt x="108" y="5"/>
                    </a:lnTo>
                    <a:lnTo>
                      <a:pt x="107" y="9"/>
                    </a:lnTo>
                    <a:lnTo>
                      <a:pt x="108" y="12"/>
                    </a:lnTo>
                    <a:lnTo>
                      <a:pt x="106" y="19"/>
                    </a:lnTo>
                    <a:lnTo>
                      <a:pt x="102" y="24"/>
                    </a:lnTo>
                    <a:lnTo>
                      <a:pt x="102" y="27"/>
                    </a:lnTo>
                    <a:lnTo>
                      <a:pt x="96" y="28"/>
                    </a:lnTo>
                    <a:lnTo>
                      <a:pt x="93" y="28"/>
                    </a:lnTo>
                    <a:lnTo>
                      <a:pt x="89" y="27"/>
                    </a:lnTo>
                    <a:lnTo>
                      <a:pt x="82" y="30"/>
                    </a:lnTo>
                    <a:lnTo>
                      <a:pt x="80" y="33"/>
                    </a:lnTo>
                    <a:lnTo>
                      <a:pt x="81" y="36"/>
                    </a:lnTo>
                    <a:lnTo>
                      <a:pt x="85" y="37"/>
                    </a:lnTo>
                    <a:lnTo>
                      <a:pt x="80" y="40"/>
                    </a:lnTo>
                    <a:lnTo>
                      <a:pt x="76" y="41"/>
                    </a:lnTo>
                    <a:lnTo>
                      <a:pt x="68" y="40"/>
                    </a:lnTo>
                    <a:lnTo>
                      <a:pt x="65" y="38"/>
                    </a:lnTo>
                    <a:lnTo>
                      <a:pt x="62" y="40"/>
                    </a:lnTo>
                    <a:lnTo>
                      <a:pt x="61" y="37"/>
                    </a:lnTo>
                    <a:lnTo>
                      <a:pt x="59" y="35"/>
                    </a:lnTo>
                    <a:lnTo>
                      <a:pt x="59" y="33"/>
                    </a:lnTo>
                    <a:lnTo>
                      <a:pt x="57" y="31"/>
                    </a:lnTo>
                    <a:lnTo>
                      <a:pt x="54" y="32"/>
                    </a:lnTo>
                    <a:lnTo>
                      <a:pt x="50" y="32"/>
                    </a:lnTo>
                    <a:lnTo>
                      <a:pt x="48" y="31"/>
                    </a:lnTo>
                    <a:lnTo>
                      <a:pt x="49" y="35"/>
                    </a:lnTo>
                    <a:lnTo>
                      <a:pt x="48" y="37"/>
                    </a:lnTo>
                    <a:lnTo>
                      <a:pt x="55" y="43"/>
                    </a:lnTo>
                    <a:lnTo>
                      <a:pt x="54" y="45"/>
                    </a:lnTo>
                    <a:lnTo>
                      <a:pt x="54" y="48"/>
                    </a:lnTo>
                    <a:lnTo>
                      <a:pt x="54" y="50"/>
                    </a:lnTo>
                    <a:lnTo>
                      <a:pt x="56" y="52"/>
                    </a:lnTo>
                    <a:lnTo>
                      <a:pt x="56" y="55"/>
                    </a:lnTo>
                    <a:lnTo>
                      <a:pt x="49" y="54"/>
                    </a:lnTo>
                    <a:lnTo>
                      <a:pt x="47" y="55"/>
                    </a:lnTo>
                    <a:lnTo>
                      <a:pt x="44" y="55"/>
                    </a:lnTo>
                    <a:lnTo>
                      <a:pt x="40" y="55"/>
                    </a:lnTo>
                    <a:lnTo>
                      <a:pt x="39" y="54"/>
                    </a:lnTo>
                    <a:lnTo>
                      <a:pt x="36" y="58"/>
                    </a:lnTo>
                    <a:lnTo>
                      <a:pt x="31" y="52"/>
                    </a:lnTo>
                    <a:lnTo>
                      <a:pt x="27" y="51"/>
                    </a:lnTo>
                    <a:lnTo>
                      <a:pt x="23" y="52"/>
                    </a:lnTo>
                    <a:lnTo>
                      <a:pt x="19" y="54"/>
                    </a:lnTo>
                    <a:lnTo>
                      <a:pt x="17" y="53"/>
                    </a:lnTo>
                    <a:lnTo>
                      <a:pt x="16" y="55"/>
                    </a:lnTo>
                    <a:lnTo>
                      <a:pt x="14" y="54"/>
                    </a:lnTo>
                    <a:lnTo>
                      <a:pt x="10" y="54"/>
                    </a:lnTo>
                    <a:lnTo>
                      <a:pt x="8" y="56"/>
                    </a:lnTo>
                    <a:lnTo>
                      <a:pt x="2" y="57"/>
                    </a:lnTo>
                    <a:lnTo>
                      <a:pt x="0" y="60"/>
                    </a:lnTo>
                    <a:lnTo>
                      <a:pt x="1" y="62"/>
                    </a:lnTo>
                    <a:lnTo>
                      <a:pt x="4" y="61"/>
                    </a:lnTo>
                    <a:lnTo>
                      <a:pt x="8" y="62"/>
                    </a:lnTo>
                    <a:lnTo>
                      <a:pt x="9" y="63"/>
                    </a:lnTo>
                    <a:lnTo>
                      <a:pt x="5" y="63"/>
                    </a:lnTo>
                    <a:lnTo>
                      <a:pt x="3" y="63"/>
                    </a:lnTo>
                    <a:lnTo>
                      <a:pt x="4" y="66"/>
                    </a:lnTo>
                    <a:lnTo>
                      <a:pt x="5" y="64"/>
                    </a:lnTo>
                    <a:lnTo>
                      <a:pt x="8" y="65"/>
                    </a:lnTo>
                    <a:lnTo>
                      <a:pt x="8" y="67"/>
                    </a:lnTo>
                    <a:lnTo>
                      <a:pt x="6" y="68"/>
                    </a:lnTo>
                    <a:lnTo>
                      <a:pt x="2" y="69"/>
                    </a:lnTo>
                    <a:lnTo>
                      <a:pt x="3" y="70"/>
                    </a:lnTo>
                    <a:lnTo>
                      <a:pt x="6" y="70"/>
                    </a:lnTo>
                    <a:lnTo>
                      <a:pt x="7" y="73"/>
                    </a:lnTo>
                    <a:lnTo>
                      <a:pt x="7" y="75"/>
                    </a:lnTo>
                    <a:lnTo>
                      <a:pt x="11" y="73"/>
                    </a:lnTo>
                    <a:lnTo>
                      <a:pt x="14" y="73"/>
                    </a:lnTo>
                    <a:lnTo>
                      <a:pt x="16" y="73"/>
                    </a:lnTo>
                    <a:lnTo>
                      <a:pt x="21" y="75"/>
                    </a:lnTo>
                    <a:lnTo>
                      <a:pt x="22" y="77"/>
                    </a:lnTo>
                    <a:lnTo>
                      <a:pt x="25" y="77"/>
                    </a:lnTo>
                    <a:lnTo>
                      <a:pt x="29" y="80"/>
                    </a:lnTo>
                    <a:lnTo>
                      <a:pt x="32" y="77"/>
                    </a:lnTo>
                    <a:lnTo>
                      <a:pt x="34" y="78"/>
                    </a:lnTo>
                    <a:lnTo>
                      <a:pt x="33" y="80"/>
                    </a:lnTo>
                    <a:lnTo>
                      <a:pt x="34" y="81"/>
                    </a:lnTo>
                    <a:lnTo>
                      <a:pt x="37" y="79"/>
                    </a:lnTo>
                    <a:lnTo>
                      <a:pt x="38" y="81"/>
                    </a:lnTo>
                    <a:lnTo>
                      <a:pt x="37" y="85"/>
                    </a:lnTo>
                    <a:lnTo>
                      <a:pt x="39" y="88"/>
                    </a:lnTo>
                    <a:lnTo>
                      <a:pt x="41" y="88"/>
                    </a:lnTo>
                    <a:lnTo>
                      <a:pt x="45" y="85"/>
                    </a:lnTo>
                    <a:lnTo>
                      <a:pt x="49" y="86"/>
                    </a:lnTo>
                    <a:lnTo>
                      <a:pt x="51" y="89"/>
                    </a:lnTo>
                    <a:lnTo>
                      <a:pt x="48" y="87"/>
                    </a:lnTo>
                    <a:lnTo>
                      <a:pt x="44" y="88"/>
                    </a:lnTo>
                    <a:lnTo>
                      <a:pt x="42" y="91"/>
                    </a:lnTo>
                    <a:lnTo>
                      <a:pt x="44" y="91"/>
                    </a:lnTo>
                    <a:lnTo>
                      <a:pt x="45" y="95"/>
                    </a:lnTo>
                    <a:lnTo>
                      <a:pt x="43" y="97"/>
                    </a:lnTo>
                    <a:lnTo>
                      <a:pt x="44" y="99"/>
                    </a:lnTo>
                    <a:lnTo>
                      <a:pt x="47" y="100"/>
                    </a:lnTo>
                    <a:lnTo>
                      <a:pt x="52" y="106"/>
                    </a:lnTo>
                    <a:lnTo>
                      <a:pt x="57" y="106"/>
                    </a:lnTo>
                    <a:lnTo>
                      <a:pt x="60" y="109"/>
                    </a:lnTo>
                    <a:lnTo>
                      <a:pt x="60" y="112"/>
                    </a:lnTo>
                    <a:lnTo>
                      <a:pt x="62" y="115"/>
                    </a:lnTo>
                    <a:lnTo>
                      <a:pt x="60" y="117"/>
                    </a:lnTo>
                    <a:lnTo>
                      <a:pt x="59" y="118"/>
                    </a:lnTo>
                    <a:lnTo>
                      <a:pt x="59" y="121"/>
                    </a:lnTo>
                    <a:lnTo>
                      <a:pt x="62" y="122"/>
                    </a:lnTo>
                    <a:lnTo>
                      <a:pt x="68" y="126"/>
                    </a:lnTo>
                    <a:lnTo>
                      <a:pt x="72" y="137"/>
                    </a:lnTo>
                    <a:lnTo>
                      <a:pt x="67" y="132"/>
                    </a:lnTo>
                    <a:lnTo>
                      <a:pt x="66" y="127"/>
                    </a:lnTo>
                    <a:lnTo>
                      <a:pt x="62" y="126"/>
                    </a:lnTo>
                    <a:lnTo>
                      <a:pt x="60" y="127"/>
                    </a:lnTo>
                    <a:lnTo>
                      <a:pt x="59" y="136"/>
                    </a:lnTo>
                    <a:lnTo>
                      <a:pt x="59" y="142"/>
                    </a:lnTo>
                    <a:lnTo>
                      <a:pt x="61" y="144"/>
                    </a:lnTo>
                    <a:lnTo>
                      <a:pt x="59" y="146"/>
                    </a:lnTo>
                    <a:lnTo>
                      <a:pt x="59" y="158"/>
                    </a:lnTo>
                    <a:lnTo>
                      <a:pt x="55" y="168"/>
                    </a:lnTo>
                    <a:lnTo>
                      <a:pt x="51" y="171"/>
                    </a:lnTo>
                    <a:lnTo>
                      <a:pt x="54" y="172"/>
                    </a:lnTo>
                    <a:lnTo>
                      <a:pt x="55" y="173"/>
                    </a:lnTo>
                    <a:lnTo>
                      <a:pt x="57" y="174"/>
                    </a:lnTo>
                    <a:lnTo>
                      <a:pt x="58" y="178"/>
                    </a:lnTo>
                    <a:lnTo>
                      <a:pt x="57" y="181"/>
                    </a:lnTo>
                    <a:lnTo>
                      <a:pt x="62" y="180"/>
                    </a:lnTo>
                    <a:lnTo>
                      <a:pt x="69" y="182"/>
                    </a:lnTo>
                    <a:lnTo>
                      <a:pt x="73" y="186"/>
                    </a:lnTo>
                    <a:lnTo>
                      <a:pt x="77" y="184"/>
                    </a:lnTo>
                    <a:lnTo>
                      <a:pt x="80" y="188"/>
                    </a:lnTo>
                    <a:lnTo>
                      <a:pt x="86" y="188"/>
                    </a:lnTo>
                    <a:lnTo>
                      <a:pt x="88" y="189"/>
                    </a:lnTo>
                    <a:lnTo>
                      <a:pt x="91" y="186"/>
                    </a:lnTo>
                    <a:lnTo>
                      <a:pt x="100" y="186"/>
                    </a:lnTo>
                    <a:lnTo>
                      <a:pt x="103" y="187"/>
                    </a:lnTo>
                    <a:lnTo>
                      <a:pt x="108" y="187"/>
                    </a:lnTo>
                    <a:lnTo>
                      <a:pt x="113" y="190"/>
                    </a:lnTo>
                    <a:lnTo>
                      <a:pt x="122" y="189"/>
                    </a:lnTo>
                    <a:lnTo>
                      <a:pt x="128" y="193"/>
                    </a:lnTo>
                    <a:lnTo>
                      <a:pt x="130" y="194"/>
                    </a:lnTo>
                    <a:lnTo>
                      <a:pt x="130" y="192"/>
                    </a:lnTo>
                    <a:lnTo>
                      <a:pt x="128" y="186"/>
                    </a:lnTo>
                    <a:lnTo>
                      <a:pt x="130" y="181"/>
                    </a:lnTo>
                    <a:lnTo>
                      <a:pt x="130" y="178"/>
                    </a:lnTo>
                    <a:lnTo>
                      <a:pt x="135" y="174"/>
                    </a:lnTo>
                    <a:lnTo>
                      <a:pt x="141" y="167"/>
                    </a:lnTo>
                    <a:lnTo>
                      <a:pt x="144" y="167"/>
                    </a:lnTo>
                    <a:lnTo>
                      <a:pt x="145" y="169"/>
                    </a:lnTo>
                    <a:lnTo>
                      <a:pt x="149" y="169"/>
                    </a:lnTo>
                    <a:lnTo>
                      <a:pt x="154" y="172"/>
                    </a:lnTo>
                    <a:lnTo>
                      <a:pt x="157" y="172"/>
                    </a:lnTo>
                    <a:lnTo>
                      <a:pt x="160" y="170"/>
                    </a:lnTo>
                    <a:lnTo>
                      <a:pt x="163" y="170"/>
                    </a:lnTo>
                    <a:lnTo>
                      <a:pt x="173" y="177"/>
                    </a:lnTo>
                    <a:lnTo>
                      <a:pt x="176" y="179"/>
                    </a:lnTo>
                    <a:lnTo>
                      <a:pt x="185" y="180"/>
                    </a:lnTo>
                    <a:lnTo>
                      <a:pt x="188" y="177"/>
                    </a:lnTo>
                    <a:lnTo>
                      <a:pt x="188" y="175"/>
                    </a:lnTo>
                    <a:lnTo>
                      <a:pt x="190" y="171"/>
                    </a:lnTo>
                    <a:lnTo>
                      <a:pt x="202" y="162"/>
                    </a:lnTo>
                    <a:lnTo>
                      <a:pt x="203" y="162"/>
                    </a:lnTo>
                    <a:lnTo>
                      <a:pt x="202" y="159"/>
                    </a:lnTo>
                    <a:lnTo>
                      <a:pt x="204" y="153"/>
                    </a:lnTo>
                    <a:lnTo>
                      <a:pt x="198" y="153"/>
                    </a:lnTo>
                    <a:lnTo>
                      <a:pt x="192" y="149"/>
                    </a:lnTo>
                    <a:lnTo>
                      <a:pt x="192" y="140"/>
                    </a:lnTo>
                    <a:lnTo>
                      <a:pt x="188" y="136"/>
                    </a:lnTo>
                    <a:lnTo>
                      <a:pt x="190" y="133"/>
                    </a:lnTo>
                    <a:lnTo>
                      <a:pt x="194" y="132"/>
                    </a:lnTo>
                    <a:lnTo>
                      <a:pt x="195" y="126"/>
                    </a:lnTo>
                    <a:lnTo>
                      <a:pt x="192" y="123"/>
                    </a:lnTo>
                    <a:lnTo>
                      <a:pt x="191" y="119"/>
                    </a:lnTo>
                    <a:lnTo>
                      <a:pt x="193" y="117"/>
                    </a:lnTo>
                    <a:lnTo>
                      <a:pt x="193" y="117"/>
                    </a:lnTo>
                    <a:lnTo>
                      <a:pt x="193" y="117"/>
                    </a:lnTo>
                    <a:lnTo>
                      <a:pt x="193" y="117"/>
                    </a:lnTo>
                    <a:close/>
                    <a:moveTo>
                      <a:pt x="231" y="215"/>
                    </a:moveTo>
                    <a:lnTo>
                      <a:pt x="226" y="212"/>
                    </a:lnTo>
                    <a:lnTo>
                      <a:pt x="225" y="211"/>
                    </a:lnTo>
                    <a:lnTo>
                      <a:pt x="227" y="209"/>
                    </a:lnTo>
                    <a:lnTo>
                      <a:pt x="228" y="209"/>
                    </a:lnTo>
                    <a:lnTo>
                      <a:pt x="227" y="207"/>
                    </a:lnTo>
                    <a:lnTo>
                      <a:pt x="226" y="207"/>
                    </a:lnTo>
                    <a:lnTo>
                      <a:pt x="226" y="205"/>
                    </a:lnTo>
                    <a:lnTo>
                      <a:pt x="223" y="203"/>
                    </a:lnTo>
                    <a:lnTo>
                      <a:pt x="222" y="202"/>
                    </a:lnTo>
                    <a:lnTo>
                      <a:pt x="223" y="202"/>
                    </a:lnTo>
                    <a:lnTo>
                      <a:pt x="223" y="200"/>
                    </a:lnTo>
                    <a:lnTo>
                      <a:pt x="221" y="199"/>
                    </a:lnTo>
                    <a:lnTo>
                      <a:pt x="220" y="196"/>
                    </a:lnTo>
                    <a:lnTo>
                      <a:pt x="222" y="196"/>
                    </a:lnTo>
                    <a:lnTo>
                      <a:pt x="223" y="194"/>
                    </a:lnTo>
                    <a:lnTo>
                      <a:pt x="221" y="193"/>
                    </a:lnTo>
                    <a:lnTo>
                      <a:pt x="223" y="188"/>
                    </a:lnTo>
                    <a:lnTo>
                      <a:pt x="229" y="186"/>
                    </a:lnTo>
                    <a:lnTo>
                      <a:pt x="231" y="184"/>
                    </a:lnTo>
                    <a:lnTo>
                      <a:pt x="233" y="186"/>
                    </a:lnTo>
                    <a:lnTo>
                      <a:pt x="234" y="186"/>
                    </a:lnTo>
                    <a:lnTo>
                      <a:pt x="235" y="183"/>
                    </a:lnTo>
                    <a:lnTo>
                      <a:pt x="234" y="181"/>
                    </a:lnTo>
                    <a:lnTo>
                      <a:pt x="234" y="178"/>
                    </a:lnTo>
                    <a:lnTo>
                      <a:pt x="236" y="178"/>
                    </a:lnTo>
                    <a:lnTo>
                      <a:pt x="237" y="183"/>
                    </a:lnTo>
                    <a:lnTo>
                      <a:pt x="237" y="187"/>
                    </a:lnTo>
                    <a:lnTo>
                      <a:pt x="239" y="195"/>
                    </a:lnTo>
                    <a:lnTo>
                      <a:pt x="237" y="203"/>
                    </a:lnTo>
                    <a:lnTo>
                      <a:pt x="237" y="207"/>
                    </a:lnTo>
                    <a:lnTo>
                      <a:pt x="235" y="213"/>
                    </a:lnTo>
                    <a:lnTo>
                      <a:pt x="231" y="215"/>
                    </a:lnTo>
                    <a:lnTo>
                      <a:pt x="231" y="215"/>
                    </a:lnTo>
                    <a:close/>
                  </a:path>
                </a:pathLst>
              </a:custGeom>
              <a:solidFill>
                <a:srgbClr val="65625E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619" name="Freeform 423"/>
              <p:cNvSpPr>
                <a:spLocks noEditPoints="1"/>
              </p:cNvSpPr>
              <p:nvPr userDrawn="1"/>
            </p:nvSpPr>
            <p:spPr bwMode="auto">
              <a:xfrm>
                <a:off x="3309" y="2092"/>
                <a:ext cx="227" cy="166"/>
              </a:xfrm>
              <a:custGeom>
                <a:avLst/>
                <a:gdLst>
                  <a:gd name="T0" fmla="*/ 139 w 238"/>
                  <a:gd name="T1" fmla="*/ 11 h 173"/>
                  <a:gd name="T2" fmla="*/ 141 w 238"/>
                  <a:gd name="T3" fmla="*/ 19 h 173"/>
                  <a:gd name="T4" fmla="*/ 158 w 238"/>
                  <a:gd name="T5" fmla="*/ 25 h 173"/>
                  <a:gd name="T6" fmla="*/ 172 w 238"/>
                  <a:gd name="T7" fmla="*/ 27 h 173"/>
                  <a:gd name="T8" fmla="*/ 186 w 238"/>
                  <a:gd name="T9" fmla="*/ 25 h 173"/>
                  <a:gd name="T10" fmla="*/ 200 w 238"/>
                  <a:gd name="T11" fmla="*/ 29 h 173"/>
                  <a:gd name="T12" fmla="*/ 218 w 238"/>
                  <a:gd name="T13" fmla="*/ 33 h 173"/>
                  <a:gd name="T14" fmla="*/ 216 w 238"/>
                  <a:gd name="T15" fmla="*/ 42 h 173"/>
                  <a:gd name="T16" fmla="*/ 207 w 238"/>
                  <a:gd name="T17" fmla="*/ 55 h 173"/>
                  <a:gd name="T18" fmla="*/ 190 w 238"/>
                  <a:gd name="T19" fmla="*/ 61 h 173"/>
                  <a:gd name="T20" fmla="*/ 183 w 238"/>
                  <a:gd name="T21" fmla="*/ 68 h 173"/>
                  <a:gd name="T22" fmla="*/ 179 w 238"/>
                  <a:gd name="T23" fmla="*/ 73 h 173"/>
                  <a:gd name="T24" fmla="*/ 172 w 238"/>
                  <a:gd name="T25" fmla="*/ 81 h 173"/>
                  <a:gd name="T26" fmla="*/ 158 w 238"/>
                  <a:gd name="T27" fmla="*/ 98 h 173"/>
                  <a:gd name="T28" fmla="*/ 165 w 238"/>
                  <a:gd name="T29" fmla="*/ 108 h 173"/>
                  <a:gd name="T30" fmla="*/ 159 w 238"/>
                  <a:gd name="T31" fmla="*/ 120 h 173"/>
                  <a:gd name="T32" fmla="*/ 153 w 238"/>
                  <a:gd name="T33" fmla="*/ 138 h 173"/>
                  <a:gd name="T34" fmla="*/ 146 w 238"/>
                  <a:gd name="T35" fmla="*/ 142 h 173"/>
                  <a:gd name="T36" fmla="*/ 130 w 238"/>
                  <a:gd name="T37" fmla="*/ 158 h 173"/>
                  <a:gd name="T38" fmla="*/ 121 w 238"/>
                  <a:gd name="T39" fmla="*/ 157 h 173"/>
                  <a:gd name="T40" fmla="*/ 111 w 238"/>
                  <a:gd name="T41" fmla="*/ 157 h 173"/>
                  <a:gd name="T42" fmla="*/ 96 w 238"/>
                  <a:gd name="T43" fmla="*/ 156 h 173"/>
                  <a:gd name="T44" fmla="*/ 80 w 238"/>
                  <a:gd name="T45" fmla="*/ 164 h 173"/>
                  <a:gd name="T46" fmla="*/ 70 w 238"/>
                  <a:gd name="T47" fmla="*/ 170 h 173"/>
                  <a:gd name="T48" fmla="*/ 52 w 238"/>
                  <a:gd name="T49" fmla="*/ 166 h 173"/>
                  <a:gd name="T50" fmla="*/ 41 w 238"/>
                  <a:gd name="T51" fmla="*/ 149 h 173"/>
                  <a:gd name="T52" fmla="*/ 33 w 238"/>
                  <a:gd name="T53" fmla="*/ 143 h 173"/>
                  <a:gd name="T54" fmla="*/ 39 w 238"/>
                  <a:gd name="T55" fmla="*/ 127 h 173"/>
                  <a:gd name="T56" fmla="*/ 33 w 238"/>
                  <a:gd name="T57" fmla="*/ 118 h 173"/>
                  <a:gd name="T58" fmla="*/ 34 w 238"/>
                  <a:gd name="T59" fmla="*/ 102 h 173"/>
                  <a:gd name="T60" fmla="*/ 37 w 238"/>
                  <a:gd name="T61" fmla="*/ 92 h 173"/>
                  <a:gd name="T62" fmla="*/ 43 w 238"/>
                  <a:gd name="T63" fmla="*/ 78 h 173"/>
                  <a:gd name="T64" fmla="*/ 50 w 238"/>
                  <a:gd name="T65" fmla="*/ 55 h 173"/>
                  <a:gd name="T66" fmla="*/ 50 w 238"/>
                  <a:gd name="T67" fmla="*/ 46 h 173"/>
                  <a:gd name="T68" fmla="*/ 36 w 238"/>
                  <a:gd name="T69" fmla="*/ 44 h 173"/>
                  <a:gd name="T70" fmla="*/ 18 w 238"/>
                  <a:gd name="T71" fmla="*/ 42 h 173"/>
                  <a:gd name="T72" fmla="*/ 7 w 238"/>
                  <a:gd name="T73" fmla="*/ 39 h 173"/>
                  <a:gd name="T74" fmla="*/ 8 w 238"/>
                  <a:gd name="T75" fmla="*/ 33 h 173"/>
                  <a:gd name="T76" fmla="*/ 9 w 238"/>
                  <a:gd name="T77" fmla="*/ 26 h 173"/>
                  <a:gd name="T78" fmla="*/ 6 w 238"/>
                  <a:gd name="T79" fmla="*/ 23 h 173"/>
                  <a:gd name="T80" fmla="*/ 2 w 238"/>
                  <a:gd name="T81" fmla="*/ 21 h 173"/>
                  <a:gd name="T82" fmla="*/ 10 w 238"/>
                  <a:gd name="T83" fmla="*/ 10 h 173"/>
                  <a:gd name="T84" fmla="*/ 21 w 238"/>
                  <a:gd name="T85" fmla="*/ 9 h 173"/>
                  <a:gd name="T86" fmla="*/ 25 w 238"/>
                  <a:gd name="T87" fmla="*/ 1 h 173"/>
                  <a:gd name="T88" fmla="*/ 34 w 238"/>
                  <a:gd name="T89" fmla="*/ 1 h 173"/>
                  <a:gd name="T90" fmla="*/ 45 w 238"/>
                  <a:gd name="T91" fmla="*/ 3 h 173"/>
                  <a:gd name="T92" fmla="*/ 61 w 238"/>
                  <a:gd name="T93" fmla="*/ 1 h 173"/>
                  <a:gd name="T94" fmla="*/ 81 w 238"/>
                  <a:gd name="T95" fmla="*/ 8 h 173"/>
                  <a:gd name="T96" fmla="*/ 103 w 238"/>
                  <a:gd name="T97" fmla="*/ 6 h 173"/>
                  <a:gd name="T98" fmla="*/ 115 w 238"/>
                  <a:gd name="T99" fmla="*/ 7 h 173"/>
                  <a:gd name="T100" fmla="*/ 131 w 238"/>
                  <a:gd name="T101" fmla="*/ 10 h 173"/>
                  <a:gd name="T102" fmla="*/ 228 w 238"/>
                  <a:gd name="T103" fmla="*/ 90 h 173"/>
                  <a:gd name="T104" fmla="*/ 238 w 238"/>
                  <a:gd name="T105" fmla="*/ 90 h 173"/>
                  <a:gd name="T106" fmla="*/ 228 w 238"/>
                  <a:gd name="T107" fmla="*/ 90 h 173"/>
                  <a:gd name="T108" fmla="*/ 223 w 238"/>
                  <a:gd name="T109" fmla="*/ 94 h 173"/>
                  <a:gd name="T110" fmla="*/ 211 w 238"/>
                  <a:gd name="T111" fmla="*/ 95 h 173"/>
                  <a:gd name="T112" fmla="*/ 217 w 238"/>
                  <a:gd name="T113" fmla="*/ 102 h 173"/>
                  <a:gd name="T114" fmla="*/ 198 w 238"/>
                  <a:gd name="T115" fmla="*/ 110 h 173"/>
                  <a:gd name="T116" fmla="*/ 190 w 238"/>
                  <a:gd name="T117" fmla="*/ 112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38" h="173">
                    <a:moveTo>
                      <a:pt x="135" y="9"/>
                    </a:moveTo>
                    <a:cubicBezTo>
                      <a:pt x="138" y="10"/>
                      <a:pt x="138" y="10"/>
                      <a:pt x="138" y="10"/>
                    </a:cubicBezTo>
                    <a:cubicBezTo>
                      <a:pt x="139" y="11"/>
                      <a:pt x="139" y="11"/>
                      <a:pt x="139" y="11"/>
                    </a:cubicBezTo>
                    <a:cubicBezTo>
                      <a:pt x="141" y="12"/>
                      <a:pt x="141" y="12"/>
                      <a:pt x="141" y="12"/>
                    </a:cubicBezTo>
                    <a:cubicBezTo>
                      <a:pt x="142" y="16"/>
                      <a:pt x="142" y="16"/>
                      <a:pt x="142" y="16"/>
                    </a:cubicBezTo>
                    <a:cubicBezTo>
                      <a:pt x="141" y="19"/>
                      <a:pt x="141" y="19"/>
                      <a:pt x="141" y="19"/>
                    </a:cubicBezTo>
                    <a:cubicBezTo>
                      <a:pt x="147" y="18"/>
                      <a:pt x="147" y="18"/>
                      <a:pt x="147" y="18"/>
                    </a:cubicBezTo>
                    <a:cubicBezTo>
                      <a:pt x="154" y="21"/>
                      <a:pt x="154" y="21"/>
                      <a:pt x="154" y="21"/>
                    </a:cubicBezTo>
                    <a:cubicBezTo>
                      <a:pt x="158" y="25"/>
                      <a:pt x="158" y="25"/>
                      <a:pt x="158" y="25"/>
                    </a:cubicBezTo>
                    <a:cubicBezTo>
                      <a:pt x="162" y="23"/>
                      <a:pt x="162" y="23"/>
                      <a:pt x="162" y="23"/>
                    </a:cubicBezTo>
                    <a:cubicBezTo>
                      <a:pt x="166" y="27"/>
                      <a:pt x="166" y="27"/>
                      <a:pt x="166" y="27"/>
                    </a:cubicBezTo>
                    <a:cubicBezTo>
                      <a:pt x="172" y="27"/>
                      <a:pt x="172" y="27"/>
                      <a:pt x="172" y="27"/>
                    </a:cubicBezTo>
                    <a:cubicBezTo>
                      <a:pt x="174" y="28"/>
                      <a:pt x="174" y="28"/>
                      <a:pt x="174" y="28"/>
                    </a:cubicBezTo>
                    <a:cubicBezTo>
                      <a:pt x="177" y="25"/>
                      <a:pt x="177" y="25"/>
                      <a:pt x="177" y="25"/>
                    </a:cubicBezTo>
                    <a:cubicBezTo>
                      <a:pt x="186" y="25"/>
                      <a:pt x="186" y="25"/>
                      <a:pt x="186" y="25"/>
                    </a:cubicBezTo>
                    <a:cubicBezTo>
                      <a:pt x="190" y="26"/>
                      <a:pt x="190" y="26"/>
                      <a:pt x="190" y="26"/>
                    </a:cubicBezTo>
                    <a:cubicBezTo>
                      <a:pt x="195" y="26"/>
                      <a:pt x="195" y="26"/>
                      <a:pt x="195" y="26"/>
                    </a:cubicBezTo>
                    <a:cubicBezTo>
                      <a:pt x="200" y="29"/>
                      <a:pt x="200" y="29"/>
                      <a:pt x="200" y="29"/>
                    </a:cubicBezTo>
                    <a:cubicBezTo>
                      <a:pt x="209" y="28"/>
                      <a:pt x="209" y="28"/>
                      <a:pt x="209" y="28"/>
                    </a:cubicBezTo>
                    <a:cubicBezTo>
                      <a:pt x="216" y="32"/>
                      <a:pt x="216" y="32"/>
                      <a:pt x="216" y="32"/>
                    </a:cubicBezTo>
                    <a:cubicBezTo>
                      <a:pt x="218" y="33"/>
                      <a:pt x="218" y="33"/>
                      <a:pt x="218" y="33"/>
                    </a:cubicBezTo>
                    <a:cubicBezTo>
                      <a:pt x="218" y="35"/>
                      <a:pt x="218" y="35"/>
                      <a:pt x="218" y="35"/>
                    </a:cubicBezTo>
                    <a:cubicBezTo>
                      <a:pt x="215" y="37"/>
                      <a:pt x="215" y="37"/>
                      <a:pt x="215" y="37"/>
                    </a:cubicBezTo>
                    <a:cubicBezTo>
                      <a:pt x="216" y="42"/>
                      <a:pt x="216" y="42"/>
                      <a:pt x="216" y="42"/>
                    </a:cubicBezTo>
                    <a:cubicBezTo>
                      <a:pt x="216" y="47"/>
                      <a:pt x="216" y="47"/>
                      <a:pt x="216" y="47"/>
                    </a:cubicBezTo>
                    <a:cubicBezTo>
                      <a:pt x="214" y="51"/>
                      <a:pt x="214" y="51"/>
                      <a:pt x="214" y="51"/>
                    </a:cubicBezTo>
                    <a:cubicBezTo>
                      <a:pt x="207" y="55"/>
                      <a:pt x="207" y="55"/>
                      <a:pt x="207" y="55"/>
                    </a:cubicBezTo>
                    <a:cubicBezTo>
                      <a:pt x="207" y="55"/>
                      <a:pt x="204" y="59"/>
                      <a:pt x="203" y="59"/>
                    </a:cubicBezTo>
                    <a:cubicBezTo>
                      <a:pt x="197" y="61"/>
                      <a:pt x="197" y="61"/>
                      <a:pt x="197" y="61"/>
                    </a:cubicBezTo>
                    <a:cubicBezTo>
                      <a:pt x="190" y="61"/>
                      <a:pt x="190" y="61"/>
                      <a:pt x="190" y="61"/>
                    </a:cubicBezTo>
                    <a:cubicBezTo>
                      <a:pt x="185" y="64"/>
                      <a:pt x="185" y="64"/>
                      <a:pt x="185" y="64"/>
                    </a:cubicBezTo>
                    <a:cubicBezTo>
                      <a:pt x="181" y="66"/>
                      <a:pt x="181" y="66"/>
                      <a:pt x="181" y="66"/>
                    </a:cubicBezTo>
                    <a:cubicBezTo>
                      <a:pt x="183" y="68"/>
                      <a:pt x="183" y="68"/>
                      <a:pt x="183" y="68"/>
                    </a:cubicBezTo>
                    <a:cubicBezTo>
                      <a:pt x="182" y="72"/>
                      <a:pt x="182" y="72"/>
                      <a:pt x="182" y="72"/>
                    </a:cubicBezTo>
                    <a:cubicBezTo>
                      <a:pt x="179" y="74"/>
                      <a:pt x="179" y="74"/>
                      <a:pt x="179" y="74"/>
                    </a:cubicBezTo>
                    <a:cubicBezTo>
                      <a:pt x="179" y="73"/>
                      <a:pt x="179" y="73"/>
                      <a:pt x="179" y="73"/>
                    </a:cubicBezTo>
                    <a:cubicBezTo>
                      <a:pt x="179" y="73"/>
                      <a:pt x="179" y="73"/>
                      <a:pt x="179" y="73"/>
                    </a:cubicBezTo>
                    <a:cubicBezTo>
                      <a:pt x="177" y="72"/>
                      <a:pt x="177" y="72"/>
                      <a:pt x="177" y="72"/>
                    </a:cubicBezTo>
                    <a:cubicBezTo>
                      <a:pt x="172" y="81"/>
                      <a:pt x="172" y="81"/>
                      <a:pt x="172" y="81"/>
                    </a:cubicBezTo>
                    <a:cubicBezTo>
                      <a:pt x="168" y="83"/>
                      <a:pt x="168" y="83"/>
                      <a:pt x="168" y="83"/>
                    </a:cubicBezTo>
                    <a:cubicBezTo>
                      <a:pt x="160" y="95"/>
                      <a:pt x="160" y="95"/>
                      <a:pt x="160" y="95"/>
                    </a:cubicBezTo>
                    <a:cubicBezTo>
                      <a:pt x="158" y="98"/>
                      <a:pt x="158" y="98"/>
                      <a:pt x="158" y="98"/>
                    </a:cubicBezTo>
                    <a:cubicBezTo>
                      <a:pt x="162" y="103"/>
                      <a:pt x="162" y="103"/>
                      <a:pt x="162" y="103"/>
                    </a:cubicBezTo>
                    <a:cubicBezTo>
                      <a:pt x="162" y="107"/>
                      <a:pt x="162" y="107"/>
                      <a:pt x="162" y="107"/>
                    </a:cubicBezTo>
                    <a:cubicBezTo>
                      <a:pt x="165" y="108"/>
                      <a:pt x="165" y="108"/>
                      <a:pt x="165" y="108"/>
                    </a:cubicBezTo>
                    <a:cubicBezTo>
                      <a:pt x="170" y="115"/>
                      <a:pt x="170" y="115"/>
                      <a:pt x="170" y="115"/>
                    </a:cubicBezTo>
                    <a:cubicBezTo>
                      <a:pt x="166" y="118"/>
                      <a:pt x="166" y="118"/>
                      <a:pt x="166" y="118"/>
                    </a:cubicBezTo>
                    <a:cubicBezTo>
                      <a:pt x="159" y="120"/>
                      <a:pt x="159" y="120"/>
                      <a:pt x="159" y="120"/>
                    </a:cubicBezTo>
                    <a:cubicBezTo>
                      <a:pt x="160" y="124"/>
                      <a:pt x="160" y="124"/>
                      <a:pt x="160" y="124"/>
                    </a:cubicBezTo>
                    <a:cubicBezTo>
                      <a:pt x="154" y="133"/>
                      <a:pt x="154" y="133"/>
                      <a:pt x="154" y="133"/>
                    </a:cubicBezTo>
                    <a:cubicBezTo>
                      <a:pt x="153" y="138"/>
                      <a:pt x="153" y="138"/>
                      <a:pt x="153" y="138"/>
                    </a:cubicBezTo>
                    <a:cubicBezTo>
                      <a:pt x="154" y="140"/>
                      <a:pt x="154" y="140"/>
                      <a:pt x="154" y="140"/>
                    </a:cubicBezTo>
                    <a:cubicBezTo>
                      <a:pt x="153" y="142"/>
                      <a:pt x="153" y="142"/>
                      <a:pt x="153" y="142"/>
                    </a:cubicBezTo>
                    <a:cubicBezTo>
                      <a:pt x="146" y="142"/>
                      <a:pt x="146" y="142"/>
                      <a:pt x="146" y="142"/>
                    </a:cubicBezTo>
                    <a:cubicBezTo>
                      <a:pt x="135" y="148"/>
                      <a:pt x="135" y="148"/>
                      <a:pt x="135" y="148"/>
                    </a:cubicBezTo>
                    <a:cubicBezTo>
                      <a:pt x="135" y="151"/>
                      <a:pt x="135" y="151"/>
                      <a:pt x="135" y="151"/>
                    </a:cubicBezTo>
                    <a:cubicBezTo>
                      <a:pt x="130" y="158"/>
                      <a:pt x="130" y="158"/>
                      <a:pt x="130" y="158"/>
                    </a:cubicBezTo>
                    <a:cubicBezTo>
                      <a:pt x="126" y="157"/>
                      <a:pt x="126" y="157"/>
                      <a:pt x="126" y="157"/>
                    </a:cubicBezTo>
                    <a:cubicBezTo>
                      <a:pt x="122" y="153"/>
                      <a:pt x="122" y="153"/>
                      <a:pt x="122" y="153"/>
                    </a:cubicBezTo>
                    <a:cubicBezTo>
                      <a:pt x="121" y="157"/>
                      <a:pt x="121" y="157"/>
                      <a:pt x="121" y="157"/>
                    </a:cubicBezTo>
                    <a:cubicBezTo>
                      <a:pt x="117" y="159"/>
                      <a:pt x="117" y="159"/>
                      <a:pt x="117" y="159"/>
                    </a:cubicBezTo>
                    <a:cubicBezTo>
                      <a:pt x="114" y="157"/>
                      <a:pt x="114" y="157"/>
                      <a:pt x="114" y="157"/>
                    </a:cubicBezTo>
                    <a:cubicBezTo>
                      <a:pt x="111" y="157"/>
                      <a:pt x="111" y="157"/>
                      <a:pt x="111" y="157"/>
                    </a:cubicBezTo>
                    <a:cubicBezTo>
                      <a:pt x="110" y="158"/>
                      <a:pt x="110" y="158"/>
                      <a:pt x="110" y="158"/>
                    </a:cubicBezTo>
                    <a:cubicBezTo>
                      <a:pt x="104" y="158"/>
                      <a:pt x="104" y="158"/>
                      <a:pt x="104" y="158"/>
                    </a:cubicBezTo>
                    <a:cubicBezTo>
                      <a:pt x="96" y="156"/>
                      <a:pt x="96" y="156"/>
                      <a:pt x="96" y="156"/>
                    </a:cubicBezTo>
                    <a:cubicBezTo>
                      <a:pt x="93" y="157"/>
                      <a:pt x="93" y="157"/>
                      <a:pt x="93" y="157"/>
                    </a:cubicBezTo>
                    <a:cubicBezTo>
                      <a:pt x="86" y="158"/>
                      <a:pt x="86" y="158"/>
                      <a:pt x="86" y="158"/>
                    </a:cubicBezTo>
                    <a:cubicBezTo>
                      <a:pt x="80" y="164"/>
                      <a:pt x="80" y="164"/>
                      <a:pt x="80" y="164"/>
                    </a:cubicBezTo>
                    <a:cubicBezTo>
                      <a:pt x="73" y="165"/>
                      <a:pt x="73" y="165"/>
                      <a:pt x="73" y="165"/>
                    </a:cubicBezTo>
                    <a:cubicBezTo>
                      <a:pt x="71" y="167"/>
                      <a:pt x="71" y="167"/>
                      <a:pt x="71" y="167"/>
                    </a:cubicBezTo>
                    <a:cubicBezTo>
                      <a:pt x="70" y="170"/>
                      <a:pt x="70" y="170"/>
                      <a:pt x="70" y="170"/>
                    </a:cubicBezTo>
                    <a:cubicBezTo>
                      <a:pt x="65" y="173"/>
                      <a:pt x="65" y="173"/>
                      <a:pt x="65" y="173"/>
                    </a:cubicBezTo>
                    <a:cubicBezTo>
                      <a:pt x="59" y="172"/>
                      <a:pt x="59" y="172"/>
                      <a:pt x="59" y="172"/>
                    </a:cubicBezTo>
                    <a:cubicBezTo>
                      <a:pt x="52" y="166"/>
                      <a:pt x="52" y="166"/>
                      <a:pt x="52" y="166"/>
                    </a:cubicBezTo>
                    <a:cubicBezTo>
                      <a:pt x="49" y="157"/>
                      <a:pt x="49" y="157"/>
                      <a:pt x="49" y="157"/>
                    </a:cubicBezTo>
                    <a:cubicBezTo>
                      <a:pt x="49" y="156"/>
                      <a:pt x="49" y="156"/>
                      <a:pt x="49" y="156"/>
                    </a:cubicBezTo>
                    <a:cubicBezTo>
                      <a:pt x="41" y="149"/>
                      <a:pt x="41" y="149"/>
                      <a:pt x="41" y="149"/>
                    </a:cubicBezTo>
                    <a:cubicBezTo>
                      <a:pt x="36" y="148"/>
                      <a:pt x="36" y="148"/>
                      <a:pt x="36" y="148"/>
                    </a:cubicBezTo>
                    <a:cubicBezTo>
                      <a:pt x="33" y="147"/>
                      <a:pt x="33" y="147"/>
                      <a:pt x="33" y="147"/>
                    </a:cubicBezTo>
                    <a:cubicBezTo>
                      <a:pt x="33" y="143"/>
                      <a:pt x="33" y="143"/>
                      <a:pt x="33" y="143"/>
                    </a:cubicBezTo>
                    <a:cubicBezTo>
                      <a:pt x="30" y="139"/>
                      <a:pt x="30" y="139"/>
                      <a:pt x="30" y="139"/>
                    </a:cubicBezTo>
                    <a:cubicBezTo>
                      <a:pt x="34" y="131"/>
                      <a:pt x="34" y="131"/>
                      <a:pt x="34" y="131"/>
                    </a:cubicBezTo>
                    <a:cubicBezTo>
                      <a:pt x="39" y="127"/>
                      <a:pt x="39" y="127"/>
                      <a:pt x="39" y="127"/>
                    </a:cubicBezTo>
                    <a:cubicBezTo>
                      <a:pt x="39" y="124"/>
                      <a:pt x="39" y="124"/>
                      <a:pt x="39" y="124"/>
                    </a:cubicBezTo>
                    <a:cubicBezTo>
                      <a:pt x="35" y="123"/>
                      <a:pt x="35" y="123"/>
                      <a:pt x="35" y="123"/>
                    </a:cubicBezTo>
                    <a:cubicBezTo>
                      <a:pt x="33" y="118"/>
                      <a:pt x="33" y="118"/>
                      <a:pt x="33" y="118"/>
                    </a:cubicBezTo>
                    <a:cubicBezTo>
                      <a:pt x="39" y="112"/>
                      <a:pt x="39" y="112"/>
                      <a:pt x="39" y="112"/>
                    </a:cubicBezTo>
                    <a:cubicBezTo>
                      <a:pt x="38" y="105"/>
                      <a:pt x="38" y="105"/>
                      <a:pt x="38" y="105"/>
                    </a:cubicBezTo>
                    <a:cubicBezTo>
                      <a:pt x="34" y="102"/>
                      <a:pt x="34" y="102"/>
                      <a:pt x="34" y="102"/>
                    </a:cubicBezTo>
                    <a:cubicBezTo>
                      <a:pt x="29" y="93"/>
                      <a:pt x="29" y="93"/>
                      <a:pt x="29" y="93"/>
                    </a:cubicBezTo>
                    <a:cubicBezTo>
                      <a:pt x="34" y="92"/>
                      <a:pt x="34" y="92"/>
                      <a:pt x="34" y="92"/>
                    </a:cubicBezTo>
                    <a:cubicBezTo>
                      <a:pt x="37" y="92"/>
                      <a:pt x="37" y="92"/>
                      <a:pt x="37" y="92"/>
                    </a:cubicBezTo>
                    <a:cubicBezTo>
                      <a:pt x="42" y="86"/>
                      <a:pt x="42" y="86"/>
                      <a:pt x="42" y="86"/>
                    </a:cubicBezTo>
                    <a:cubicBezTo>
                      <a:pt x="39" y="82"/>
                      <a:pt x="39" y="82"/>
                      <a:pt x="39" y="82"/>
                    </a:cubicBezTo>
                    <a:cubicBezTo>
                      <a:pt x="43" y="78"/>
                      <a:pt x="43" y="78"/>
                      <a:pt x="43" y="78"/>
                    </a:cubicBezTo>
                    <a:cubicBezTo>
                      <a:pt x="43" y="67"/>
                      <a:pt x="43" y="67"/>
                      <a:pt x="43" y="67"/>
                    </a:cubicBezTo>
                    <a:cubicBezTo>
                      <a:pt x="42" y="62"/>
                      <a:pt x="42" y="62"/>
                      <a:pt x="42" y="62"/>
                    </a:cubicBezTo>
                    <a:cubicBezTo>
                      <a:pt x="50" y="55"/>
                      <a:pt x="50" y="55"/>
                      <a:pt x="50" y="55"/>
                    </a:cubicBezTo>
                    <a:cubicBezTo>
                      <a:pt x="52" y="55"/>
                      <a:pt x="52" y="55"/>
                      <a:pt x="52" y="55"/>
                    </a:cubicBezTo>
                    <a:cubicBezTo>
                      <a:pt x="54" y="51"/>
                      <a:pt x="54" y="51"/>
                      <a:pt x="54" y="51"/>
                    </a:cubicBezTo>
                    <a:cubicBezTo>
                      <a:pt x="50" y="46"/>
                      <a:pt x="50" y="46"/>
                      <a:pt x="50" y="46"/>
                    </a:cubicBezTo>
                    <a:cubicBezTo>
                      <a:pt x="49" y="41"/>
                      <a:pt x="49" y="41"/>
                      <a:pt x="49" y="41"/>
                    </a:cubicBezTo>
                    <a:cubicBezTo>
                      <a:pt x="40" y="40"/>
                      <a:pt x="40" y="40"/>
                      <a:pt x="40" y="40"/>
                    </a:cubicBezTo>
                    <a:cubicBezTo>
                      <a:pt x="36" y="44"/>
                      <a:pt x="36" y="44"/>
                      <a:pt x="36" y="44"/>
                    </a:cubicBezTo>
                    <a:cubicBezTo>
                      <a:pt x="26" y="42"/>
                      <a:pt x="26" y="42"/>
                      <a:pt x="26" y="42"/>
                    </a:cubicBezTo>
                    <a:cubicBezTo>
                      <a:pt x="19" y="45"/>
                      <a:pt x="19" y="45"/>
                      <a:pt x="19" y="45"/>
                    </a:cubicBezTo>
                    <a:cubicBezTo>
                      <a:pt x="18" y="42"/>
                      <a:pt x="18" y="42"/>
                      <a:pt x="18" y="42"/>
                    </a:cubicBezTo>
                    <a:cubicBezTo>
                      <a:pt x="18" y="38"/>
                      <a:pt x="18" y="38"/>
                      <a:pt x="18" y="38"/>
                    </a:cubicBezTo>
                    <a:cubicBezTo>
                      <a:pt x="15" y="37"/>
                      <a:pt x="15" y="37"/>
                      <a:pt x="15" y="37"/>
                    </a:cubicBezTo>
                    <a:cubicBezTo>
                      <a:pt x="7" y="39"/>
                      <a:pt x="7" y="39"/>
                      <a:pt x="7" y="39"/>
                    </a:cubicBezTo>
                    <a:cubicBezTo>
                      <a:pt x="6" y="38"/>
                      <a:pt x="6" y="38"/>
                      <a:pt x="6" y="38"/>
                    </a:cubicBezTo>
                    <a:cubicBezTo>
                      <a:pt x="11" y="34"/>
                      <a:pt x="11" y="34"/>
                      <a:pt x="11" y="34"/>
                    </a:cubicBezTo>
                    <a:cubicBezTo>
                      <a:pt x="8" y="33"/>
                      <a:pt x="8" y="33"/>
                      <a:pt x="8" y="33"/>
                    </a:cubicBezTo>
                    <a:cubicBezTo>
                      <a:pt x="10" y="31"/>
                      <a:pt x="10" y="31"/>
                      <a:pt x="10" y="31"/>
                    </a:cubicBezTo>
                    <a:cubicBezTo>
                      <a:pt x="9" y="30"/>
                      <a:pt x="9" y="30"/>
                      <a:pt x="9" y="30"/>
                    </a:cubicBezTo>
                    <a:cubicBezTo>
                      <a:pt x="9" y="26"/>
                      <a:pt x="9" y="26"/>
                      <a:pt x="9" y="26"/>
                    </a:cubicBezTo>
                    <a:cubicBezTo>
                      <a:pt x="6" y="29"/>
                      <a:pt x="6" y="29"/>
                      <a:pt x="6" y="29"/>
                    </a:cubicBezTo>
                    <a:cubicBezTo>
                      <a:pt x="5" y="28"/>
                      <a:pt x="5" y="28"/>
                      <a:pt x="5" y="28"/>
                    </a:cubicBezTo>
                    <a:cubicBezTo>
                      <a:pt x="6" y="23"/>
                      <a:pt x="6" y="23"/>
                      <a:pt x="6" y="23"/>
                    </a:cubicBezTo>
                    <a:cubicBezTo>
                      <a:pt x="4" y="22"/>
                      <a:pt x="4" y="22"/>
                      <a:pt x="4" y="22"/>
                    </a:cubicBezTo>
                    <a:cubicBezTo>
                      <a:pt x="4" y="20"/>
                      <a:pt x="4" y="20"/>
                      <a:pt x="4" y="20"/>
                    </a:cubicBezTo>
                    <a:cubicBezTo>
                      <a:pt x="2" y="21"/>
                      <a:pt x="2" y="21"/>
                      <a:pt x="2" y="21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10" y="10"/>
                      <a:pt x="10" y="10"/>
                      <a:pt x="10" y="10"/>
                    </a:cubicBezTo>
                    <a:cubicBezTo>
                      <a:pt x="12" y="11"/>
                      <a:pt x="12" y="11"/>
                      <a:pt x="12" y="11"/>
                    </a:cubicBezTo>
                    <a:cubicBezTo>
                      <a:pt x="18" y="11"/>
                      <a:pt x="18" y="11"/>
                      <a:pt x="18" y="11"/>
                    </a:cubicBezTo>
                    <a:cubicBezTo>
                      <a:pt x="21" y="9"/>
                      <a:pt x="21" y="9"/>
                      <a:pt x="21" y="9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8" y="5"/>
                      <a:pt x="18" y="5"/>
                      <a:pt x="18" y="5"/>
                    </a:cubicBezTo>
                    <a:cubicBezTo>
                      <a:pt x="25" y="1"/>
                      <a:pt x="25" y="1"/>
                      <a:pt x="25" y="1"/>
                    </a:cubicBezTo>
                    <a:cubicBezTo>
                      <a:pt x="26" y="2"/>
                      <a:pt x="26" y="2"/>
                      <a:pt x="26" y="2"/>
                    </a:cubicBezTo>
                    <a:cubicBezTo>
                      <a:pt x="29" y="0"/>
                      <a:pt x="29" y="0"/>
                      <a:pt x="29" y="0"/>
                    </a:cubicBezTo>
                    <a:cubicBezTo>
                      <a:pt x="34" y="1"/>
                      <a:pt x="34" y="1"/>
                      <a:pt x="34" y="1"/>
                    </a:cubicBezTo>
                    <a:cubicBezTo>
                      <a:pt x="38" y="6"/>
                      <a:pt x="38" y="6"/>
                      <a:pt x="38" y="6"/>
                    </a:cubicBezTo>
                    <a:cubicBezTo>
                      <a:pt x="42" y="3"/>
                      <a:pt x="42" y="3"/>
                      <a:pt x="42" y="3"/>
                    </a:cubicBezTo>
                    <a:cubicBezTo>
                      <a:pt x="45" y="3"/>
                      <a:pt x="45" y="3"/>
                      <a:pt x="45" y="3"/>
                    </a:cubicBezTo>
                    <a:cubicBezTo>
                      <a:pt x="50" y="5"/>
                      <a:pt x="50" y="5"/>
                      <a:pt x="50" y="5"/>
                    </a:cubicBezTo>
                    <a:cubicBezTo>
                      <a:pt x="55" y="3"/>
                      <a:pt x="55" y="3"/>
                      <a:pt x="55" y="3"/>
                    </a:cubicBezTo>
                    <a:cubicBezTo>
                      <a:pt x="61" y="1"/>
                      <a:pt x="61" y="1"/>
                      <a:pt x="61" y="1"/>
                    </a:cubicBezTo>
                    <a:cubicBezTo>
                      <a:pt x="62" y="3"/>
                      <a:pt x="62" y="3"/>
                      <a:pt x="62" y="3"/>
                    </a:cubicBezTo>
                    <a:cubicBezTo>
                      <a:pt x="67" y="6"/>
                      <a:pt x="67" y="6"/>
                      <a:pt x="67" y="6"/>
                    </a:cubicBezTo>
                    <a:cubicBezTo>
                      <a:pt x="81" y="8"/>
                      <a:pt x="81" y="8"/>
                      <a:pt x="81" y="8"/>
                    </a:cubicBezTo>
                    <a:cubicBezTo>
                      <a:pt x="87" y="9"/>
                      <a:pt x="87" y="9"/>
                      <a:pt x="87" y="9"/>
                    </a:cubicBezTo>
                    <a:cubicBezTo>
                      <a:pt x="97" y="5"/>
                      <a:pt x="97" y="5"/>
                      <a:pt x="97" y="5"/>
                    </a:cubicBezTo>
                    <a:cubicBezTo>
                      <a:pt x="103" y="6"/>
                      <a:pt x="103" y="6"/>
                      <a:pt x="103" y="6"/>
                    </a:cubicBezTo>
                    <a:cubicBezTo>
                      <a:pt x="105" y="9"/>
                      <a:pt x="105" y="9"/>
                      <a:pt x="105" y="9"/>
                    </a:cubicBezTo>
                    <a:cubicBezTo>
                      <a:pt x="112" y="10"/>
                      <a:pt x="112" y="10"/>
                      <a:pt x="112" y="10"/>
                    </a:cubicBezTo>
                    <a:cubicBezTo>
                      <a:pt x="115" y="7"/>
                      <a:pt x="115" y="7"/>
                      <a:pt x="115" y="7"/>
                    </a:cubicBezTo>
                    <a:cubicBezTo>
                      <a:pt x="118" y="7"/>
                      <a:pt x="118" y="7"/>
                      <a:pt x="118" y="7"/>
                    </a:cubicBezTo>
                    <a:cubicBezTo>
                      <a:pt x="129" y="13"/>
                      <a:pt x="129" y="13"/>
                      <a:pt x="129" y="13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3" y="10"/>
                      <a:pt x="133" y="10"/>
                      <a:pt x="133" y="10"/>
                    </a:cubicBezTo>
                    <a:cubicBezTo>
                      <a:pt x="135" y="9"/>
                      <a:pt x="135" y="9"/>
                      <a:pt x="135" y="9"/>
                    </a:cubicBezTo>
                    <a:close/>
                    <a:moveTo>
                      <a:pt x="228" y="90"/>
                    </a:moveTo>
                    <a:cubicBezTo>
                      <a:pt x="234" y="90"/>
                      <a:pt x="234" y="90"/>
                      <a:pt x="234" y="90"/>
                    </a:cubicBezTo>
                    <a:cubicBezTo>
                      <a:pt x="237" y="92"/>
                      <a:pt x="237" y="92"/>
                      <a:pt x="237" y="92"/>
                    </a:cubicBezTo>
                    <a:cubicBezTo>
                      <a:pt x="238" y="90"/>
                      <a:pt x="238" y="90"/>
                      <a:pt x="238" y="90"/>
                    </a:cubicBezTo>
                    <a:cubicBezTo>
                      <a:pt x="234" y="86"/>
                      <a:pt x="234" y="86"/>
                      <a:pt x="234" y="86"/>
                    </a:cubicBezTo>
                    <a:cubicBezTo>
                      <a:pt x="229" y="87"/>
                      <a:pt x="229" y="87"/>
                      <a:pt x="229" y="87"/>
                    </a:cubicBezTo>
                    <a:cubicBezTo>
                      <a:pt x="228" y="90"/>
                      <a:pt x="228" y="90"/>
                      <a:pt x="228" y="90"/>
                    </a:cubicBezTo>
                    <a:close/>
                    <a:moveTo>
                      <a:pt x="217" y="102"/>
                    </a:moveTo>
                    <a:cubicBezTo>
                      <a:pt x="218" y="97"/>
                      <a:pt x="218" y="97"/>
                      <a:pt x="218" y="97"/>
                    </a:cubicBezTo>
                    <a:cubicBezTo>
                      <a:pt x="223" y="94"/>
                      <a:pt x="223" y="94"/>
                      <a:pt x="223" y="94"/>
                    </a:cubicBezTo>
                    <a:cubicBezTo>
                      <a:pt x="219" y="93"/>
                      <a:pt x="219" y="93"/>
                      <a:pt x="219" y="93"/>
                    </a:cubicBezTo>
                    <a:cubicBezTo>
                      <a:pt x="214" y="93"/>
                      <a:pt x="214" y="93"/>
                      <a:pt x="214" y="93"/>
                    </a:cubicBezTo>
                    <a:cubicBezTo>
                      <a:pt x="211" y="95"/>
                      <a:pt x="211" y="95"/>
                      <a:pt x="211" y="95"/>
                    </a:cubicBezTo>
                    <a:cubicBezTo>
                      <a:pt x="210" y="98"/>
                      <a:pt x="210" y="98"/>
                      <a:pt x="210" y="98"/>
                    </a:cubicBezTo>
                    <a:cubicBezTo>
                      <a:pt x="214" y="100"/>
                      <a:pt x="214" y="100"/>
                      <a:pt x="214" y="100"/>
                    </a:cubicBezTo>
                    <a:cubicBezTo>
                      <a:pt x="217" y="102"/>
                      <a:pt x="217" y="102"/>
                      <a:pt x="217" y="102"/>
                    </a:cubicBezTo>
                    <a:close/>
                    <a:moveTo>
                      <a:pt x="193" y="115"/>
                    </a:moveTo>
                    <a:cubicBezTo>
                      <a:pt x="195" y="112"/>
                      <a:pt x="195" y="112"/>
                      <a:pt x="195" y="112"/>
                    </a:cubicBezTo>
                    <a:cubicBezTo>
                      <a:pt x="198" y="110"/>
                      <a:pt x="198" y="110"/>
                      <a:pt x="198" y="110"/>
                    </a:cubicBezTo>
                    <a:cubicBezTo>
                      <a:pt x="196" y="107"/>
                      <a:pt x="196" y="107"/>
                      <a:pt x="196" y="107"/>
                    </a:cubicBezTo>
                    <a:cubicBezTo>
                      <a:pt x="191" y="109"/>
                      <a:pt x="191" y="109"/>
                      <a:pt x="191" y="109"/>
                    </a:cubicBezTo>
                    <a:cubicBezTo>
                      <a:pt x="190" y="112"/>
                      <a:pt x="190" y="112"/>
                      <a:pt x="190" y="112"/>
                    </a:cubicBezTo>
                    <a:lnTo>
                      <a:pt x="193" y="115"/>
                    </a:lnTo>
                    <a:close/>
                  </a:path>
                </a:pathLst>
              </a:custGeom>
              <a:solidFill>
                <a:srgbClr val="65625E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620" name="Freeform 424"/>
              <p:cNvSpPr>
                <a:spLocks/>
              </p:cNvSpPr>
              <p:nvPr userDrawn="1"/>
            </p:nvSpPr>
            <p:spPr bwMode="auto">
              <a:xfrm>
                <a:off x="4090" y="2330"/>
                <a:ext cx="382" cy="312"/>
              </a:xfrm>
              <a:custGeom>
                <a:avLst/>
                <a:gdLst>
                  <a:gd name="T0" fmla="*/ 232 w 382"/>
                  <a:gd name="T1" fmla="*/ 66 h 312"/>
                  <a:gd name="T2" fmla="*/ 92 w 382"/>
                  <a:gd name="T3" fmla="*/ 3 h 312"/>
                  <a:gd name="T4" fmla="*/ 41 w 382"/>
                  <a:gd name="T5" fmla="*/ 16 h 312"/>
                  <a:gd name="T6" fmla="*/ 54 w 382"/>
                  <a:gd name="T7" fmla="*/ 51 h 312"/>
                  <a:gd name="T8" fmla="*/ 8 w 382"/>
                  <a:gd name="T9" fmla="*/ 61 h 312"/>
                  <a:gd name="T10" fmla="*/ 2 w 382"/>
                  <a:gd name="T11" fmla="*/ 75 h 312"/>
                  <a:gd name="T12" fmla="*/ 2 w 382"/>
                  <a:gd name="T13" fmla="*/ 81 h 312"/>
                  <a:gd name="T14" fmla="*/ 10 w 382"/>
                  <a:gd name="T15" fmla="*/ 84 h 312"/>
                  <a:gd name="T16" fmla="*/ 18 w 382"/>
                  <a:gd name="T17" fmla="*/ 96 h 312"/>
                  <a:gd name="T18" fmla="*/ 24 w 382"/>
                  <a:gd name="T19" fmla="*/ 105 h 312"/>
                  <a:gd name="T20" fmla="*/ 32 w 382"/>
                  <a:gd name="T21" fmla="*/ 116 h 312"/>
                  <a:gd name="T22" fmla="*/ 37 w 382"/>
                  <a:gd name="T23" fmla="*/ 124 h 312"/>
                  <a:gd name="T24" fmla="*/ 46 w 382"/>
                  <a:gd name="T25" fmla="*/ 136 h 312"/>
                  <a:gd name="T26" fmla="*/ 49 w 382"/>
                  <a:gd name="T27" fmla="*/ 146 h 312"/>
                  <a:gd name="T28" fmla="*/ 53 w 382"/>
                  <a:gd name="T29" fmla="*/ 154 h 312"/>
                  <a:gd name="T30" fmla="*/ 63 w 382"/>
                  <a:gd name="T31" fmla="*/ 156 h 312"/>
                  <a:gd name="T32" fmla="*/ 74 w 382"/>
                  <a:gd name="T33" fmla="*/ 167 h 312"/>
                  <a:gd name="T34" fmla="*/ 78 w 382"/>
                  <a:gd name="T35" fmla="*/ 173 h 312"/>
                  <a:gd name="T36" fmla="*/ 84 w 382"/>
                  <a:gd name="T37" fmla="*/ 189 h 312"/>
                  <a:gd name="T38" fmla="*/ 83 w 382"/>
                  <a:gd name="T39" fmla="*/ 197 h 312"/>
                  <a:gd name="T40" fmla="*/ 87 w 382"/>
                  <a:gd name="T41" fmla="*/ 214 h 312"/>
                  <a:gd name="T42" fmla="*/ 100 w 382"/>
                  <a:gd name="T43" fmla="*/ 228 h 312"/>
                  <a:gd name="T44" fmla="*/ 109 w 382"/>
                  <a:gd name="T45" fmla="*/ 234 h 312"/>
                  <a:gd name="T46" fmla="*/ 116 w 382"/>
                  <a:gd name="T47" fmla="*/ 240 h 312"/>
                  <a:gd name="T48" fmla="*/ 123 w 382"/>
                  <a:gd name="T49" fmla="*/ 245 h 312"/>
                  <a:gd name="T50" fmla="*/ 131 w 382"/>
                  <a:gd name="T51" fmla="*/ 267 h 312"/>
                  <a:gd name="T52" fmla="*/ 149 w 382"/>
                  <a:gd name="T53" fmla="*/ 288 h 312"/>
                  <a:gd name="T54" fmla="*/ 161 w 382"/>
                  <a:gd name="T55" fmla="*/ 299 h 312"/>
                  <a:gd name="T56" fmla="*/ 171 w 382"/>
                  <a:gd name="T57" fmla="*/ 294 h 312"/>
                  <a:gd name="T58" fmla="*/ 175 w 382"/>
                  <a:gd name="T59" fmla="*/ 277 h 312"/>
                  <a:gd name="T60" fmla="*/ 207 w 382"/>
                  <a:gd name="T61" fmla="*/ 288 h 312"/>
                  <a:gd name="T62" fmla="*/ 258 w 382"/>
                  <a:gd name="T63" fmla="*/ 268 h 312"/>
                  <a:gd name="T64" fmla="*/ 378 w 382"/>
                  <a:gd name="T65" fmla="*/ 180 h 312"/>
                  <a:gd name="T66" fmla="*/ 318 w 382"/>
                  <a:gd name="T67" fmla="*/ 177 h 312"/>
                  <a:gd name="T68" fmla="*/ 310 w 382"/>
                  <a:gd name="T69" fmla="*/ 152 h 312"/>
                  <a:gd name="T70" fmla="*/ 307 w 382"/>
                  <a:gd name="T71" fmla="*/ 150 h 312"/>
                  <a:gd name="T72" fmla="*/ 305 w 382"/>
                  <a:gd name="T73" fmla="*/ 147 h 312"/>
                  <a:gd name="T74" fmla="*/ 296 w 382"/>
                  <a:gd name="T75" fmla="*/ 143 h 312"/>
                  <a:gd name="T76" fmla="*/ 291 w 382"/>
                  <a:gd name="T77" fmla="*/ 137 h 312"/>
                  <a:gd name="T78" fmla="*/ 279 w 382"/>
                  <a:gd name="T79" fmla="*/ 117 h 312"/>
                  <a:gd name="T80" fmla="*/ 278 w 382"/>
                  <a:gd name="T81" fmla="*/ 107 h 312"/>
                  <a:gd name="T82" fmla="*/ 274 w 382"/>
                  <a:gd name="T83" fmla="*/ 102 h 312"/>
                  <a:gd name="T84" fmla="*/ 262 w 382"/>
                  <a:gd name="T85" fmla="*/ 90 h 312"/>
                  <a:gd name="T86" fmla="*/ 265 w 382"/>
                  <a:gd name="T87" fmla="*/ 90 h 312"/>
                  <a:gd name="T88" fmla="*/ 255 w 382"/>
                  <a:gd name="T89" fmla="*/ 85 h 312"/>
                  <a:gd name="T90" fmla="*/ 247 w 382"/>
                  <a:gd name="T91" fmla="*/ 71 h 312"/>
                  <a:gd name="T92" fmla="*/ 244 w 382"/>
                  <a:gd name="T93" fmla="*/ 67 h 3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382" h="312">
                    <a:moveTo>
                      <a:pt x="244" y="67"/>
                    </a:moveTo>
                    <a:lnTo>
                      <a:pt x="233" y="72"/>
                    </a:lnTo>
                    <a:lnTo>
                      <a:pt x="232" y="66"/>
                    </a:lnTo>
                    <a:lnTo>
                      <a:pt x="216" y="61"/>
                    </a:lnTo>
                    <a:lnTo>
                      <a:pt x="178" y="61"/>
                    </a:lnTo>
                    <a:lnTo>
                      <a:pt x="92" y="3"/>
                    </a:lnTo>
                    <a:lnTo>
                      <a:pt x="75" y="0"/>
                    </a:lnTo>
                    <a:lnTo>
                      <a:pt x="68" y="7"/>
                    </a:lnTo>
                    <a:lnTo>
                      <a:pt x="41" y="16"/>
                    </a:lnTo>
                    <a:lnTo>
                      <a:pt x="62" y="38"/>
                    </a:lnTo>
                    <a:lnTo>
                      <a:pt x="54" y="46"/>
                    </a:lnTo>
                    <a:lnTo>
                      <a:pt x="54" y="51"/>
                    </a:lnTo>
                    <a:lnTo>
                      <a:pt x="40" y="53"/>
                    </a:lnTo>
                    <a:lnTo>
                      <a:pt x="26" y="66"/>
                    </a:lnTo>
                    <a:lnTo>
                      <a:pt x="8" y="61"/>
                    </a:lnTo>
                    <a:lnTo>
                      <a:pt x="2" y="61"/>
                    </a:lnTo>
                    <a:lnTo>
                      <a:pt x="2" y="67"/>
                    </a:lnTo>
                    <a:lnTo>
                      <a:pt x="2" y="75"/>
                    </a:lnTo>
                    <a:lnTo>
                      <a:pt x="0" y="80"/>
                    </a:lnTo>
                    <a:lnTo>
                      <a:pt x="1" y="82"/>
                    </a:lnTo>
                    <a:lnTo>
                      <a:pt x="2" y="81"/>
                    </a:lnTo>
                    <a:lnTo>
                      <a:pt x="3" y="83"/>
                    </a:lnTo>
                    <a:lnTo>
                      <a:pt x="6" y="81"/>
                    </a:lnTo>
                    <a:lnTo>
                      <a:pt x="10" y="84"/>
                    </a:lnTo>
                    <a:lnTo>
                      <a:pt x="9" y="84"/>
                    </a:lnTo>
                    <a:lnTo>
                      <a:pt x="17" y="92"/>
                    </a:lnTo>
                    <a:lnTo>
                      <a:pt x="18" y="96"/>
                    </a:lnTo>
                    <a:lnTo>
                      <a:pt x="20" y="97"/>
                    </a:lnTo>
                    <a:lnTo>
                      <a:pt x="21" y="101"/>
                    </a:lnTo>
                    <a:lnTo>
                      <a:pt x="24" y="105"/>
                    </a:lnTo>
                    <a:lnTo>
                      <a:pt x="26" y="105"/>
                    </a:lnTo>
                    <a:lnTo>
                      <a:pt x="32" y="113"/>
                    </a:lnTo>
                    <a:lnTo>
                      <a:pt x="32" y="116"/>
                    </a:lnTo>
                    <a:lnTo>
                      <a:pt x="33" y="119"/>
                    </a:lnTo>
                    <a:lnTo>
                      <a:pt x="36" y="120"/>
                    </a:lnTo>
                    <a:lnTo>
                      <a:pt x="37" y="124"/>
                    </a:lnTo>
                    <a:lnTo>
                      <a:pt x="39" y="127"/>
                    </a:lnTo>
                    <a:lnTo>
                      <a:pt x="44" y="128"/>
                    </a:lnTo>
                    <a:lnTo>
                      <a:pt x="46" y="136"/>
                    </a:lnTo>
                    <a:lnTo>
                      <a:pt x="49" y="138"/>
                    </a:lnTo>
                    <a:lnTo>
                      <a:pt x="50" y="144"/>
                    </a:lnTo>
                    <a:lnTo>
                      <a:pt x="49" y="146"/>
                    </a:lnTo>
                    <a:lnTo>
                      <a:pt x="49" y="149"/>
                    </a:lnTo>
                    <a:lnTo>
                      <a:pt x="53" y="151"/>
                    </a:lnTo>
                    <a:lnTo>
                      <a:pt x="53" y="154"/>
                    </a:lnTo>
                    <a:lnTo>
                      <a:pt x="56" y="155"/>
                    </a:lnTo>
                    <a:lnTo>
                      <a:pt x="59" y="152"/>
                    </a:lnTo>
                    <a:lnTo>
                      <a:pt x="63" y="156"/>
                    </a:lnTo>
                    <a:lnTo>
                      <a:pt x="68" y="158"/>
                    </a:lnTo>
                    <a:lnTo>
                      <a:pt x="72" y="163"/>
                    </a:lnTo>
                    <a:lnTo>
                      <a:pt x="74" y="167"/>
                    </a:lnTo>
                    <a:lnTo>
                      <a:pt x="75" y="167"/>
                    </a:lnTo>
                    <a:lnTo>
                      <a:pt x="76" y="171"/>
                    </a:lnTo>
                    <a:lnTo>
                      <a:pt x="78" y="173"/>
                    </a:lnTo>
                    <a:lnTo>
                      <a:pt x="79" y="179"/>
                    </a:lnTo>
                    <a:lnTo>
                      <a:pt x="83" y="182"/>
                    </a:lnTo>
                    <a:lnTo>
                      <a:pt x="84" y="189"/>
                    </a:lnTo>
                    <a:lnTo>
                      <a:pt x="86" y="191"/>
                    </a:lnTo>
                    <a:lnTo>
                      <a:pt x="84" y="196"/>
                    </a:lnTo>
                    <a:lnTo>
                      <a:pt x="83" y="197"/>
                    </a:lnTo>
                    <a:lnTo>
                      <a:pt x="84" y="200"/>
                    </a:lnTo>
                    <a:lnTo>
                      <a:pt x="86" y="207"/>
                    </a:lnTo>
                    <a:lnTo>
                      <a:pt x="87" y="214"/>
                    </a:lnTo>
                    <a:lnTo>
                      <a:pt x="89" y="216"/>
                    </a:lnTo>
                    <a:lnTo>
                      <a:pt x="90" y="218"/>
                    </a:lnTo>
                    <a:lnTo>
                      <a:pt x="100" y="228"/>
                    </a:lnTo>
                    <a:lnTo>
                      <a:pt x="103" y="230"/>
                    </a:lnTo>
                    <a:lnTo>
                      <a:pt x="107" y="230"/>
                    </a:lnTo>
                    <a:lnTo>
                      <a:pt x="109" y="234"/>
                    </a:lnTo>
                    <a:lnTo>
                      <a:pt x="110" y="234"/>
                    </a:lnTo>
                    <a:lnTo>
                      <a:pt x="116" y="237"/>
                    </a:lnTo>
                    <a:lnTo>
                      <a:pt x="116" y="240"/>
                    </a:lnTo>
                    <a:lnTo>
                      <a:pt x="121" y="241"/>
                    </a:lnTo>
                    <a:lnTo>
                      <a:pt x="120" y="244"/>
                    </a:lnTo>
                    <a:lnTo>
                      <a:pt x="123" y="245"/>
                    </a:lnTo>
                    <a:lnTo>
                      <a:pt x="127" y="260"/>
                    </a:lnTo>
                    <a:lnTo>
                      <a:pt x="131" y="262"/>
                    </a:lnTo>
                    <a:lnTo>
                      <a:pt x="131" y="267"/>
                    </a:lnTo>
                    <a:lnTo>
                      <a:pt x="145" y="280"/>
                    </a:lnTo>
                    <a:lnTo>
                      <a:pt x="147" y="280"/>
                    </a:lnTo>
                    <a:lnTo>
                      <a:pt x="149" y="288"/>
                    </a:lnTo>
                    <a:lnTo>
                      <a:pt x="154" y="290"/>
                    </a:lnTo>
                    <a:lnTo>
                      <a:pt x="157" y="299"/>
                    </a:lnTo>
                    <a:lnTo>
                      <a:pt x="161" y="299"/>
                    </a:lnTo>
                    <a:lnTo>
                      <a:pt x="164" y="301"/>
                    </a:lnTo>
                    <a:lnTo>
                      <a:pt x="166" y="297"/>
                    </a:lnTo>
                    <a:lnTo>
                      <a:pt x="171" y="294"/>
                    </a:lnTo>
                    <a:lnTo>
                      <a:pt x="167" y="287"/>
                    </a:lnTo>
                    <a:lnTo>
                      <a:pt x="170" y="279"/>
                    </a:lnTo>
                    <a:lnTo>
                      <a:pt x="175" y="277"/>
                    </a:lnTo>
                    <a:lnTo>
                      <a:pt x="180" y="281"/>
                    </a:lnTo>
                    <a:lnTo>
                      <a:pt x="192" y="281"/>
                    </a:lnTo>
                    <a:lnTo>
                      <a:pt x="207" y="288"/>
                    </a:lnTo>
                    <a:lnTo>
                      <a:pt x="223" y="296"/>
                    </a:lnTo>
                    <a:lnTo>
                      <a:pt x="224" y="312"/>
                    </a:lnTo>
                    <a:lnTo>
                      <a:pt x="258" y="268"/>
                    </a:lnTo>
                    <a:lnTo>
                      <a:pt x="380" y="233"/>
                    </a:lnTo>
                    <a:lnTo>
                      <a:pt x="382" y="194"/>
                    </a:lnTo>
                    <a:lnTo>
                      <a:pt x="378" y="180"/>
                    </a:lnTo>
                    <a:lnTo>
                      <a:pt x="378" y="180"/>
                    </a:lnTo>
                    <a:lnTo>
                      <a:pt x="372" y="186"/>
                    </a:lnTo>
                    <a:lnTo>
                      <a:pt x="318" y="177"/>
                    </a:lnTo>
                    <a:lnTo>
                      <a:pt x="314" y="164"/>
                    </a:lnTo>
                    <a:lnTo>
                      <a:pt x="309" y="159"/>
                    </a:lnTo>
                    <a:lnTo>
                      <a:pt x="310" y="152"/>
                    </a:lnTo>
                    <a:lnTo>
                      <a:pt x="309" y="152"/>
                    </a:lnTo>
                    <a:lnTo>
                      <a:pt x="308" y="152"/>
                    </a:lnTo>
                    <a:lnTo>
                      <a:pt x="307" y="150"/>
                    </a:lnTo>
                    <a:lnTo>
                      <a:pt x="307" y="149"/>
                    </a:lnTo>
                    <a:lnTo>
                      <a:pt x="309" y="147"/>
                    </a:lnTo>
                    <a:lnTo>
                      <a:pt x="305" y="147"/>
                    </a:lnTo>
                    <a:lnTo>
                      <a:pt x="305" y="146"/>
                    </a:lnTo>
                    <a:lnTo>
                      <a:pt x="303" y="146"/>
                    </a:lnTo>
                    <a:lnTo>
                      <a:pt x="296" y="143"/>
                    </a:lnTo>
                    <a:lnTo>
                      <a:pt x="296" y="141"/>
                    </a:lnTo>
                    <a:lnTo>
                      <a:pt x="295" y="142"/>
                    </a:lnTo>
                    <a:lnTo>
                      <a:pt x="291" y="137"/>
                    </a:lnTo>
                    <a:lnTo>
                      <a:pt x="290" y="133"/>
                    </a:lnTo>
                    <a:lnTo>
                      <a:pt x="282" y="122"/>
                    </a:lnTo>
                    <a:lnTo>
                      <a:pt x="279" y="117"/>
                    </a:lnTo>
                    <a:lnTo>
                      <a:pt x="281" y="118"/>
                    </a:lnTo>
                    <a:lnTo>
                      <a:pt x="281" y="116"/>
                    </a:lnTo>
                    <a:lnTo>
                      <a:pt x="278" y="107"/>
                    </a:lnTo>
                    <a:lnTo>
                      <a:pt x="278" y="106"/>
                    </a:lnTo>
                    <a:lnTo>
                      <a:pt x="276" y="102"/>
                    </a:lnTo>
                    <a:lnTo>
                      <a:pt x="274" y="102"/>
                    </a:lnTo>
                    <a:lnTo>
                      <a:pt x="268" y="93"/>
                    </a:lnTo>
                    <a:lnTo>
                      <a:pt x="265" y="93"/>
                    </a:lnTo>
                    <a:lnTo>
                      <a:pt x="262" y="90"/>
                    </a:lnTo>
                    <a:lnTo>
                      <a:pt x="263" y="89"/>
                    </a:lnTo>
                    <a:lnTo>
                      <a:pt x="264" y="89"/>
                    </a:lnTo>
                    <a:lnTo>
                      <a:pt x="265" y="90"/>
                    </a:lnTo>
                    <a:lnTo>
                      <a:pt x="264" y="87"/>
                    </a:lnTo>
                    <a:lnTo>
                      <a:pt x="261" y="87"/>
                    </a:lnTo>
                    <a:lnTo>
                      <a:pt x="255" y="85"/>
                    </a:lnTo>
                    <a:lnTo>
                      <a:pt x="251" y="77"/>
                    </a:lnTo>
                    <a:lnTo>
                      <a:pt x="249" y="73"/>
                    </a:lnTo>
                    <a:lnTo>
                      <a:pt x="247" y="71"/>
                    </a:lnTo>
                    <a:lnTo>
                      <a:pt x="247" y="68"/>
                    </a:lnTo>
                    <a:lnTo>
                      <a:pt x="246" y="69"/>
                    </a:lnTo>
                    <a:lnTo>
                      <a:pt x="244" y="67"/>
                    </a:lnTo>
                    <a:lnTo>
                      <a:pt x="244" y="67"/>
                    </a:lnTo>
                    <a:close/>
                  </a:path>
                </a:pathLst>
              </a:custGeom>
              <a:solidFill>
                <a:srgbClr val="65625E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621" name="Freeform 425"/>
              <p:cNvSpPr>
                <a:spLocks/>
              </p:cNvSpPr>
              <p:nvPr userDrawn="1"/>
            </p:nvSpPr>
            <p:spPr bwMode="auto">
              <a:xfrm>
                <a:off x="3907" y="2344"/>
                <a:ext cx="230" cy="186"/>
              </a:xfrm>
              <a:custGeom>
                <a:avLst/>
                <a:gdLst>
                  <a:gd name="T0" fmla="*/ 184 w 230"/>
                  <a:gd name="T1" fmla="*/ 33 h 186"/>
                  <a:gd name="T2" fmla="*/ 172 w 230"/>
                  <a:gd name="T3" fmla="*/ 10 h 186"/>
                  <a:gd name="T4" fmla="*/ 164 w 230"/>
                  <a:gd name="T5" fmla="*/ 7 h 186"/>
                  <a:gd name="T6" fmla="*/ 139 w 230"/>
                  <a:gd name="T7" fmla="*/ 9 h 186"/>
                  <a:gd name="T8" fmla="*/ 134 w 230"/>
                  <a:gd name="T9" fmla="*/ 11 h 186"/>
                  <a:gd name="T10" fmla="*/ 127 w 230"/>
                  <a:gd name="T11" fmla="*/ 8 h 186"/>
                  <a:gd name="T12" fmla="*/ 126 w 230"/>
                  <a:gd name="T13" fmla="*/ 3 h 186"/>
                  <a:gd name="T14" fmla="*/ 114 w 230"/>
                  <a:gd name="T15" fmla="*/ 1 h 186"/>
                  <a:gd name="T16" fmla="*/ 116 w 230"/>
                  <a:gd name="T17" fmla="*/ 4 h 186"/>
                  <a:gd name="T18" fmla="*/ 104 w 230"/>
                  <a:gd name="T19" fmla="*/ 5 h 186"/>
                  <a:gd name="T20" fmla="*/ 107 w 230"/>
                  <a:gd name="T21" fmla="*/ 3 h 186"/>
                  <a:gd name="T22" fmla="*/ 101 w 230"/>
                  <a:gd name="T23" fmla="*/ 2 h 186"/>
                  <a:gd name="T24" fmla="*/ 92 w 230"/>
                  <a:gd name="T25" fmla="*/ 7 h 186"/>
                  <a:gd name="T26" fmla="*/ 82 w 230"/>
                  <a:gd name="T27" fmla="*/ 14 h 186"/>
                  <a:gd name="T28" fmla="*/ 65 w 230"/>
                  <a:gd name="T29" fmla="*/ 9 h 186"/>
                  <a:gd name="T30" fmla="*/ 52 w 230"/>
                  <a:gd name="T31" fmla="*/ 6 h 186"/>
                  <a:gd name="T32" fmla="*/ 38 w 230"/>
                  <a:gd name="T33" fmla="*/ 4 h 186"/>
                  <a:gd name="T34" fmla="*/ 8 w 230"/>
                  <a:gd name="T35" fmla="*/ 1 h 186"/>
                  <a:gd name="T36" fmla="*/ 5 w 230"/>
                  <a:gd name="T37" fmla="*/ 4 h 186"/>
                  <a:gd name="T38" fmla="*/ 5 w 230"/>
                  <a:gd name="T39" fmla="*/ 20 h 186"/>
                  <a:gd name="T40" fmla="*/ 3 w 230"/>
                  <a:gd name="T41" fmla="*/ 36 h 186"/>
                  <a:gd name="T42" fmla="*/ 230 w 230"/>
                  <a:gd name="T43" fmla="*/ 184 h 186"/>
                  <a:gd name="T44" fmla="*/ 223 w 230"/>
                  <a:gd name="T45" fmla="*/ 179 h 186"/>
                  <a:gd name="T46" fmla="*/ 216 w 230"/>
                  <a:gd name="T47" fmla="*/ 171 h 186"/>
                  <a:gd name="T48" fmla="*/ 205 w 230"/>
                  <a:gd name="T49" fmla="*/ 168 h 186"/>
                  <a:gd name="T50" fmla="*/ 202 w 230"/>
                  <a:gd name="T51" fmla="*/ 152 h 186"/>
                  <a:gd name="T52" fmla="*/ 203 w 230"/>
                  <a:gd name="T53" fmla="*/ 149 h 186"/>
                  <a:gd name="T54" fmla="*/ 205 w 230"/>
                  <a:gd name="T55" fmla="*/ 147 h 186"/>
                  <a:gd name="T56" fmla="*/ 200 w 230"/>
                  <a:gd name="T57" fmla="*/ 143 h 186"/>
                  <a:gd name="T58" fmla="*/ 189 w 230"/>
                  <a:gd name="T59" fmla="*/ 125 h 186"/>
                  <a:gd name="T60" fmla="*/ 173 w 230"/>
                  <a:gd name="T61" fmla="*/ 102 h 186"/>
                  <a:gd name="T62" fmla="*/ 171 w 230"/>
                  <a:gd name="T63" fmla="*/ 89 h 186"/>
                  <a:gd name="T64" fmla="*/ 163 w 230"/>
                  <a:gd name="T65" fmla="*/ 78 h 186"/>
                  <a:gd name="T66" fmla="*/ 162 w 230"/>
                  <a:gd name="T67" fmla="*/ 70 h 186"/>
                  <a:gd name="T68" fmla="*/ 143 w 230"/>
                  <a:gd name="T69" fmla="*/ 50 h 186"/>
                  <a:gd name="T70" fmla="*/ 140 w 230"/>
                  <a:gd name="T71" fmla="*/ 39 h 186"/>
                  <a:gd name="T72" fmla="*/ 142 w 230"/>
                  <a:gd name="T73" fmla="*/ 36 h 186"/>
                  <a:gd name="T74" fmla="*/ 145 w 230"/>
                  <a:gd name="T75" fmla="*/ 43 h 186"/>
                  <a:gd name="T76" fmla="*/ 153 w 230"/>
                  <a:gd name="T77" fmla="*/ 54 h 186"/>
                  <a:gd name="T78" fmla="*/ 161 w 230"/>
                  <a:gd name="T79" fmla="*/ 64 h 186"/>
                  <a:gd name="T80" fmla="*/ 175 w 230"/>
                  <a:gd name="T81" fmla="*/ 76 h 186"/>
                  <a:gd name="T82" fmla="*/ 180 w 230"/>
                  <a:gd name="T83" fmla="*/ 66 h 186"/>
                  <a:gd name="T84" fmla="*/ 181 w 230"/>
                  <a:gd name="T85" fmla="*/ 54 h 186"/>
                  <a:gd name="T86" fmla="*/ 185 w 230"/>
                  <a:gd name="T87" fmla="*/ 44 h 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230" h="186">
                    <a:moveTo>
                      <a:pt x="185" y="44"/>
                    </a:moveTo>
                    <a:lnTo>
                      <a:pt x="182" y="38"/>
                    </a:lnTo>
                    <a:lnTo>
                      <a:pt x="184" y="33"/>
                    </a:lnTo>
                    <a:lnTo>
                      <a:pt x="180" y="24"/>
                    </a:lnTo>
                    <a:lnTo>
                      <a:pt x="174" y="17"/>
                    </a:lnTo>
                    <a:lnTo>
                      <a:pt x="172" y="10"/>
                    </a:lnTo>
                    <a:lnTo>
                      <a:pt x="168" y="5"/>
                    </a:lnTo>
                    <a:lnTo>
                      <a:pt x="166" y="4"/>
                    </a:lnTo>
                    <a:lnTo>
                      <a:pt x="164" y="7"/>
                    </a:lnTo>
                    <a:lnTo>
                      <a:pt x="160" y="9"/>
                    </a:lnTo>
                    <a:lnTo>
                      <a:pt x="147" y="7"/>
                    </a:lnTo>
                    <a:lnTo>
                      <a:pt x="139" y="9"/>
                    </a:lnTo>
                    <a:lnTo>
                      <a:pt x="132" y="5"/>
                    </a:lnTo>
                    <a:lnTo>
                      <a:pt x="131" y="8"/>
                    </a:lnTo>
                    <a:lnTo>
                      <a:pt x="134" y="11"/>
                    </a:lnTo>
                    <a:lnTo>
                      <a:pt x="133" y="14"/>
                    </a:lnTo>
                    <a:lnTo>
                      <a:pt x="131" y="10"/>
                    </a:lnTo>
                    <a:lnTo>
                      <a:pt x="127" y="8"/>
                    </a:lnTo>
                    <a:lnTo>
                      <a:pt x="126" y="6"/>
                    </a:lnTo>
                    <a:lnTo>
                      <a:pt x="128" y="5"/>
                    </a:lnTo>
                    <a:lnTo>
                      <a:pt x="126" y="3"/>
                    </a:lnTo>
                    <a:lnTo>
                      <a:pt x="123" y="4"/>
                    </a:lnTo>
                    <a:lnTo>
                      <a:pt x="120" y="2"/>
                    </a:lnTo>
                    <a:lnTo>
                      <a:pt x="114" y="1"/>
                    </a:lnTo>
                    <a:lnTo>
                      <a:pt x="113" y="2"/>
                    </a:lnTo>
                    <a:lnTo>
                      <a:pt x="115" y="2"/>
                    </a:lnTo>
                    <a:lnTo>
                      <a:pt x="116" y="4"/>
                    </a:lnTo>
                    <a:lnTo>
                      <a:pt x="112" y="4"/>
                    </a:lnTo>
                    <a:lnTo>
                      <a:pt x="109" y="4"/>
                    </a:lnTo>
                    <a:lnTo>
                      <a:pt x="104" y="5"/>
                    </a:lnTo>
                    <a:lnTo>
                      <a:pt x="103" y="4"/>
                    </a:lnTo>
                    <a:lnTo>
                      <a:pt x="103" y="3"/>
                    </a:lnTo>
                    <a:lnTo>
                      <a:pt x="107" y="3"/>
                    </a:lnTo>
                    <a:lnTo>
                      <a:pt x="110" y="2"/>
                    </a:lnTo>
                    <a:lnTo>
                      <a:pt x="106" y="2"/>
                    </a:lnTo>
                    <a:lnTo>
                      <a:pt x="101" y="2"/>
                    </a:lnTo>
                    <a:lnTo>
                      <a:pt x="99" y="4"/>
                    </a:lnTo>
                    <a:lnTo>
                      <a:pt x="94" y="6"/>
                    </a:lnTo>
                    <a:lnTo>
                      <a:pt x="92" y="7"/>
                    </a:lnTo>
                    <a:lnTo>
                      <a:pt x="87" y="8"/>
                    </a:lnTo>
                    <a:lnTo>
                      <a:pt x="83" y="12"/>
                    </a:lnTo>
                    <a:lnTo>
                      <a:pt x="82" y="14"/>
                    </a:lnTo>
                    <a:lnTo>
                      <a:pt x="77" y="14"/>
                    </a:lnTo>
                    <a:lnTo>
                      <a:pt x="70" y="10"/>
                    </a:lnTo>
                    <a:lnTo>
                      <a:pt x="65" y="9"/>
                    </a:lnTo>
                    <a:lnTo>
                      <a:pt x="59" y="10"/>
                    </a:lnTo>
                    <a:lnTo>
                      <a:pt x="54" y="6"/>
                    </a:lnTo>
                    <a:lnTo>
                      <a:pt x="52" y="6"/>
                    </a:lnTo>
                    <a:lnTo>
                      <a:pt x="50" y="8"/>
                    </a:lnTo>
                    <a:lnTo>
                      <a:pt x="44" y="5"/>
                    </a:lnTo>
                    <a:lnTo>
                      <a:pt x="38" y="4"/>
                    </a:lnTo>
                    <a:lnTo>
                      <a:pt x="24" y="3"/>
                    </a:lnTo>
                    <a:lnTo>
                      <a:pt x="17" y="0"/>
                    </a:lnTo>
                    <a:lnTo>
                      <a:pt x="8" y="1"/>
                    </a:lnTo>
                    <a:lnTo>
                      <a:pt x="6" y="1"/>
                    </a:lnTo>
                    <a:lnTo>
                      <a:pt x="6" y="1"/>
                    </a:lnTo>
                    <a:lnTo>
                      <a:pt x="5" y="4"/>
                    </a:lnTo>
                    <a:lnTo>
                      <a:pt x="3" y="11"/>
                    </a:lnTo>
                    <a:lnTo>
                      <a:pt x="5" y="16"/>
                    </a:lnTo>
                    <a:lnTo>
                      <a:pt x="5" y="20"/>
                    </a:lnTo>
                    <a:lnTo>
                      <a:pt x="3" y="27"/>
                    </a:lnTo>
                    <a:lnTo>
                      <a:pt x="0" y="31"/>
                    </a:lnTo>
                    <a:lnTo>
                      <a:pt x="3" y="36"/>
                    </a:lnTo>
                    <a:lnTo>
                      <a:pt x="5" y="46"/>
                    </a:lnTo>
                    <a:lnTo>
                      <a:pt x="11" y="186"/>
                    </a:lnTo>
                    <a:lnTo>
                      <a:pt x="230" y="184"/>
                    </a:lnTo>
                    <a:lnTo>
                      <a:pt x="230" y="184"/>
                    </a:lnTo>
                    <a:lnTo>
                      <a:pt x="228" y="182"/>
                    </a:lnTo>
                    <a:lnTo>
                      <a:pt x="223" y="179"/>
                    </a:lnTo>
                    <a:lnTo>
                      <a:pt x="222" y="177"/>
                    </a:lnTo>
                    <a:lnTo>
                      <a:pt x="218" y="176"/>
                    </a:lnTo>
                    <a:lnTo>
                      <a:pt x="216" y="171"/>
                    </a:lnTo>
                    <a:lnTo>
                      <a:pt x="214" y="172"/>
                    </a:lnTo>
                    <a:lnTo>
                      <a:pt x="210" y="172"/>
                    </a:lnTo>
                    <a:lnTo>
                      <a:pt x="205" y="168"/>
                    </a:lnTo>
                    <a:lnTo>
                      <a:pt x="202" y="158"/>
                    </a:lnTo>
                    <a:lnTo>
                      <a:pt x="203" y="157"/>
                    </a:lnTo>
                    <a:lnTo>
                      <a:pt x="202" y="152"/>
                    </a:lnTo>
                    <a:lnTo>
                      <a:pt x="201" y="150"/>
                    </a:lnTo>
                    <a:lnTo>
                      <a:pt x="202" y="148"/>
                    </a:lnTo>
                    <a:lnTo>
                      <a:pt x="203" y="149"/>
                    </a:lnTo>
                    <a:lnTo>
                      <a:pt x="208" y="150"/>
                    </a:lnTo>
                    <a:lnTo>
                      <a:pt x="206" y="147"/>
                    </a:lnTo>
                    <a:lnTo>
                      <a:pt x="205" y="147"/>
                    </a:lnTo>
                    <a:lnTo>
                      <a:pt x="202" y="142"/>
                    </a:lnTo>
                    <a:lnTo>
                      <a:pt x="200" y="141"/>
                    </a:lnTo>
                    <a:lnTo>
                      <a:pt x="200" y="143"/>
                    </a:lnTo>
                    <a:lnTo>
                      <a:pt x="198" y="140"/>
                    </a:lnTo>
                    <a:lnTo>
                      <a:pt x="196" y="136"/>
                    </a:lnTo>
                    <a:lnTo>
                      <a:pt x="189" y="125"/>
                    </a:lnTo>
                    <a:lnTo>
                      <a:pt x="185" y="123"/>
                    </a:lnTo>
                    <a:lnTo>
                      <a:pt x="185" y="118"/>
                    </a:lnTo>
                    <a:lnTo>
                      <a:pt x="173" y="102"/>
                    </a:lnTo>
                    <a:lnTo>
                      <a:pt x="174" y="98"/>
                    </a:lnTo>
                    <a:lnTo>
                      <a:pt x="172" y="95"/>
                    </a:lnTo>
                    <a:lnTo>
                      <a:pt x="171" y="89"/>
                    </a:lnTo>
                    <a:lnTo>
                      <a:pt x="169" y="87"/>
                    </a:lnTo>
                    <a:lnTo>
                      <a:pt x="169" y="84"/>
                    </a:lnTo>
                    <a:lnTo>
                      <a:pt x="163" y="78"/>
                    </a:lnTo>
                    <a:lnTo>
                      <a:pt x="163" y="75"/>
                    </a:lnTo>
                    <a:lnTo>
                      <a:pt x="164" y="72"/>
                    </a:lnTo>
                    <a:lnTo>
                      <a:pt x="162" y="70"/>
                    </a:lnTo>
                    <a:lnTo>
                      <a:pt x="151" y="61"/>
                    </a:lnTo>
                    <a:lnTo>
                      <a:pt x="150" y="58"/>
                    </a:lnTo>
                    <a:lnTo>
                      <a:pt x="143" y="50"/>
                    </a:lnTo>
                    <a:lnTo>
                      <a:pt x="143" y="47"/>
                    </a:lnTo>
                    <a:lnTo>
                      <a:pt x="140" y="42"/>
                    </a:lnTo>
                    <a:lnTo>
                      <a:pt x="140" y="39"/>
                    </a:lnTo>
                    <a:lnTo>
                      <a:pt x="140" y="37"/>
                    </a:lnTo>
                    <a:lnTo>
                      <a:pt x="141" y="35"/>
                    </a:lnTo>
                    <a:lnTo>
                      <a:pt x="142" y="36"/>
                    </a:lnTo>
                    <a:lnTo>
                      <a:pt x="142" y="36"/>
                    </a:lnTo>
                    <a:lnTo>
                      <a:pt x="144" y="41"/>
                    </a:lnTo>
                    <a:lnTo>
                      <a:pt x="145" y="43"/>
                    </a:lnTo>
                    <a:lnTo>
                      <a:pt x="146" y="45"/>
                    </a:lnTo>
                    <a:lnTo>
                      <a:pt x="153" y="51"/>
                    </a:lnTo>
                    <a:lnTo>
                      <a:pt x="153" y="54"/>
                    </a:lnTo>
                    <a:lnTo>
                      <a:pt x="155" y="58"/>
                    </a:lnTo>
                    <a:lnTo>
                      <a:pt x="160" y="60"/>
                    </a:lnTo>
                    <a:lnTo>
                      <a:pt x="161" y="64"/>
                    </a:lnTo>
                    <a:lnTo>
                      <a:pt x="170" y="72"/>
                    </a:lnTo>
                    <a:lnTo>
                      <a:pt x="175" y="75"/>
                    </a:lnTo>
                    <a:lnTo>
                      <a:pt x="175" y="76"/>
                    </a:lnTo>
                    <a:lnTo>
                      <a:pt x="176" y="73"/>
                    </a:lnTo>
                    <a:lnTo>
                      <a:pt x="179" y="71"/>
                    </a:lnTo>
                    <a:lnTo>
                      <a:pt x="180" y="66"/>
                    </a:lnTo>
                    <a:lnTo>
                      <a:pt x="178" y="64"/>
                    </a:lnTo>
                    <a:lnTo>
                      <a:pt x="181" y="58"/>
                    </a:lnTo>
                    <a:lnTo>
                      <a:pt x="181" y="54"/>
                    </a:lnTo>
                    <a:lnTo>
                      <a:pt x="184" y="45"/>
                    </a:lnTo>
                    <a:lnTo>
                      <a:pt x="185" y="44"/>
                    </a:lnTo>
                    <a:lnTo>
                      <a:pt x="185" y="44"/>
                    </a:lnTo>
                    <a:close/>
                  </a:path>
                </a:pathLst>
              </a:custGeom>
              <a:solidFill>
                <a:srgbClr val="65625E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622" name="Freeform 426"/>
              <p:cNvSpPr>
                <a:spLocks/>
              </p:cNvSpPr>
              <p:nvPr userDrawn="1"/>
            </p:nvSpPr>
            <p:spPr bwMode="auto">
              <a:xfrm>
                <a:off x="3867" y="2528"/>
                <a:ext cx="304" cy="337"/>
              </a:xfrm>
              <a:custGeom>
                <a:avLst/>
                <a:gdLst>
                  <a:gd name="T0" fmla="*/ 271 w 304"/>
                  <a:gd name="T1" fmla="*/ 5 h 337"/>
                  <a:gd name="T2" fmla="*/ 273 w 304"/>
                  <a:gd name="T3" fmla="*/ 14 h 337"/>
                  <a:gd name="T4" fmla="*/ 274 w 304"/>
                  <a:gd name="T5" fmla="*/ 16 h 337"/>
                  <a:gd name="T6" fmla="*/ 278 w 304"/>
                  <a:gd name="T7" fmla="*/ 46 h 337"/>
                  <a:gd name="T8" fmla="*/ 295 w 304"/>
                  <a:gd name="T9" fmla="*/ 69 h 337"/>
                  <a:gd name="T10" fmla="*/ 301 w 304"/>
                  <a:gd name="T11" fmla="*/ 78 h 337"/>
                  <a:gd name="T12" fmla="*/ 288 w 304"/>
                  <a:gd name="T13" fmla="*/ 83 h 337"/>
                  <a:gd name="T14" fmla="*/ 279 w 304"/>
                  <a:gd name="T15" fmla="*/ 89 h 337"/>
                  <a:gd name="T16" fmla="*/ 278 w 304"/>
                  <a:gd name="T17" fmla="*/ 102 h 337"/>
                  <a:gd name="T18" fmla="*/ 269 w 304"/>
                  <a:gd name="T19" fmla="*/ 125 h 337"/>
                  <a:gd name="T20" fmla="*/ 271 w 304"/>
                  <a:gd name="T21" fmla="*/ 143 h 337"/>
                  <a:gd name="T22" fmla="*/ 262 w 304"/>
                  <a:gd name="T23" fmla="*/ 168 h 337"/>
                  <a:gd name="T24" fmla="*/ 251 w 304"/>
                  <a:gd name="T25" fmla="*/ 182 h 337"/>
                  <a:gd name="T26" fmla="*/ 237 w 304"/>
                  <a:gd name="T27" fmla="*/ 204 h 337"/>
                  <a:gd name="T28" fmla="*/ 232 w 304"/>
                  <a:gd name="T29" fmla="*/ 221 h 337"/>
                  <a:gd name="T30" fmla="*/ 225 w 304"/>
                  <a:gd name="T31" fmla="*/ 247 h 337"/>
                  <a:gd name="T32" fmla="*/ 212 w 304"/>
                  <a:gd name="T33" fmla="*/ 248 h 337"/>
                  <a:gd name="T34" fmla="*/ 212 w 304"/>
                  <a:gd name="T35" fmla="*/ 260 h 337"/>
                  <a:gd name="T36" fmla="*/ 226 w 304"/>
                  <a:gd name="T37" fmla="*/ 268 h 337"/>
                  <a:gd name="T38" fmla="*/ 238 w 304"/>
                  <a:gd name="T39" fmla="*/ 278 h 337"/>
                  <a:gd name="T40" fmla="*/ 247 w 304"/>
                  <a:gd name="T41" fmla="*/ 296 h 337"/>
                  <a:gd name="T42" fmla="*/ 233 w 304"/>
                  <a:gd name="T43" fmla="*/ 318 h 337"/>
                  <a:gd name="T44" fmla="*/ 224 w 304"/>
                  <a:gd name="T45" fmla="*/ 326 h 337"/>
                  <a:gd name="T46" fmla="*/ 203 w 304"/>
                  <a:gd name="T47" fmla="*/ 332 h 337"/>
                  <a:gd name="T48" fmla="*/ 193 w 304"/>
                  <a:gd name="T49" fmla="*/ 337 h 337"/>
                  <a:gd name="T50" fmla="*/ 181 w 304"/>
                  <a:gd name="T51" fmla="*/ 333 h 337"/>
                  <a:gd name="T52" fmla="*/ 170 w 304"/>
                  <a:gd name="T53" fmla="*/ 336 h 337"/>
                  <a:gd name="T54" fmla="*/ 163 w 304"/>
                  <a:gd name="T55" fmla="*/ 334 h 337"/>
                  <a:gd name="T56" fmla="*/ 153 w 304"/>
                  <a:gd name="T57" fmla="*/ 323 h 337"/>
                  <a:gd name="T58" fmla="*/ 142 w 304"/>
                  <a:gd name="T59" fmla="*/ 315 h 337"/>
                  <a:gd name="T60" fmla="*/ 133 w 304"/>
                  <a:gd name="T61" fmla="*/ 319 h 337"/>
                  <a:gd name="T62" fmla="*/ 120 w 304"/>
                  <a:gd name="T63" fmla="*/ 322 h 337"/>
                  <a:gd name="T64" fmla="*/ 107 w 304"/>
                  <a:gd name="T65" fmla="*/ 313 h 337"/>
                  <a:gd name="T66" fmla="*/ 100 w 304"/>
                  <a:gd name="T67" fmla="*/ 305 h 337"/>
                  <a:gd name="T68" fmla="*/ 90 w 304"/>
                  <a:gd name="T69" fmla="*/ 293 h 337"/>
                  <a:gd name="T70" fmla="*/ 81 w 304"/>
                  <a:gd name="T71" fmla="*/ 283 h 337"/>
                  <a:gd name="T72" fmla="*/ 70 w 304"/>
                  <a:gd name="T73" fmla="*/ 272 h 337"/>
                  <a:gd name="T74" fmla="*/ 63 w 304"/>
                  <a:gd name="T75" fmla="*/ 265 h 337"/>
                  <a:gd name="T76" fmla="*/ 58 w 304"/>
                  <a:gd name="T77" fmla="*/ 257 h 337"/>
                  <a:gd name="T78" fmla="*/ 44 w 304"/>
                  <a:gd name="T79" fmla="*/ 249 h 337"/>
                  <a:gd name="T80" fmla="*/ 36 w 304"/>
                  <a:gd name="T81" fmla="*/ 243 h 337"/>
                  <a:gd name="T82" fmla="*/ 31 w 304"/>
                  <a:gd name="T83" fmla="*/ 231 h 337"/>
                  <a:gd name="T84" fmla="*/ 22 w 304"/>
                  <a:gd name="T85" fmla="*/ 210 h 337"/>
                  <a:gd name="T86" fmla="*/ 17 w 304"/>
                  <a:gd name="T87" fmla="*/ 199 h 337"/>
                  <a:gd name="T88" fmla="*/ 10 w 304"/>
                  <a:gd name="T89" fmla="*/ 187 h 337"/>
                  <a:gd name="T90" fmla="*/ 9 w 304"/>
                  <a:gd name="T91" fmla="*/ 173 h 337"/>
                  <a:gd name="T92" fmla="*/ 0 w 304"/>
                  <a:gd name="T93" fmla="*/ 168 h 337"/>
                  <a:gd name="T94" fmla="*/ 5 w 304"/>
                  <a:gd name="T95" fmla="*/ 150 h 337"/>
                  <a:gd name="T96" fmla="*/ 10 w 304"/>
                  <a:gd name="T97" fmla="*/ 137 h 337"/>
                  <a:gd name="T98" fmla="*/ 19 w 304"/>
                  <a:gd name="T99" fmla="*/ 119 h 337"/>
                  <a:gd name="T100" fmla="*/ 36 w 304"/>
                  <a:gd name="T101" fmla="*/ 115 h 337"/>
                  <a:gd name="T102" fmla="*/ 51 w 304"/>
                  <a:gd name="T103" fmla="*/ 2 h 3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304" h="337">
                    <a:moveTo>
                      <a:pt x="51" y="2"/>
                    </a:moveTo>
                    <a:lnTo>
                      <a:pt x="270" y="0"/>
                    </a:lnTo>
                    <a:lnTo>
                      <a:pt x="270" y="2"/>
                    </a:lnTo>
                    <a:lnTo>
                      <a:pt x="270" y="3"/>
                    </a:lnTo>
                    <a:lnTo>
                      <a:pt x="271" y="5"/>
                    </a:lnTo>
                    <a:lnTo>
                      <a:pt x="270" y="6"/>
                    </a:lnTo>
                    <a:lnTo>
                      <a:pt x="271" y="7"/>
                    </a:lnTo>
                    <a:lnTo>
                      <a:pt x="271" y="7"/>
                    </a:lnTo>
                    <a:lnTo>
                      <a:pt x="272" y="8"/>
                    </a:lnTo>
                    <a:lnTo>
                      <a:pt x="273" y="14"/>
                    </a:lnTo>
                    <a:lnTo>
                      <a:pt x="277" y="17"/>
                    </a:lnTo>
                    <a:lnTo>
                      <a:pt x="276" y="19"/>
                    </a:lnTo>
                    <a:lnTo>
                      <a:pt x="276" y="19"/>
                    </a:lnTo>
                    <a:lnTo>
                      <a:pt x="275" y="17"/>
                    </a:lnTo>
                    <a:lnTo>
                      <a:pt x="274" y="16"/>
                    </a:lnTo>
                    <a:lnTo>
                      <a:pt x="273" y="16"/>
                    </a:lnTo>
                    <a:lnTo>
                      <a:pt x="273" y="20"/>
                    </a:lnTo>
                    <a:lnTo>
                      <a:pt x="278" y="33"/>
                    </a:lnTo>
                    <a:lnTo>
                      <a:pt x="279" y="39"/>
                    </a:lnTo>
                    <a:lnTo>
                      <a:pt x="278" y="46"/>
                    </a:lnTo>
                    <a:lnTo>
                      <a:pt x="281" y="54"/>
                    </a:lnTo>
                    <a:lnTo>
                      <a:pt x="284" y="60"/>
                    </a:lnTo>
                    <a:lnTo>
                      <a:pt x="287" y="60"/>
                    </a:lnTo>
                    <a:lnTo>
                      <a:pt x="295" y="66"/>
                    </a:lnTo>
                    <a:lnTo>
                      <a:pt x="295" y="69"/>
                    </a:lnTo>
                    <a:lnTo>
                      <a:pt x="299" y="69"/>
                    </a:lnTo>
                    <a:lnTo>
                      <a:pt x="303" y="71"/>
                    </a:lnTo>
                    <a:lnTo>
                      <a:pt x="303" y="74"/>
                    </a:lnTo>
                    <a:lnTo>
                      <a:pt x="304" y="74"/>
                    </a:lnTo>
                    <a:lnTo>
                      <a:pt x="301" y="78"/>
                    </a:lnTo>
                    <a:lnTo>
                      <a:pt x="298" y="79"/>
                    </a:lnTo>
                    <a:lnTo>
                      <a:pt x="295" y="80"/>
                    </a:lnTo>
                    <a:lnTo>
                      <a:pt x="294" y="81"/>
                    </a:lnTo>
                    <a:lnTo>
                      <a:pt x="290" y="81"/>
                    </a:lnTo>
                    <a:lnTo>
                      <a:pt x="288" y="83"/>
                    </a:lnTo>
                    <a:lnTo>
                      <a:pt x="284" y="84"/>
                    </a:lnTo>
                    <a:lnTo>
                      <a:pt x="284" y="86"/>
                    </a:lnTo>
                    <a:lnTo>
                      <a:pt x="285" y="87"/>
                    </a:lnTo>
                    <a:lnTo>
                      <a:pt x="284" y="89"/>
                    </a:lnTo>
                    <a:lnTo>
                      <a:pt x="279" y="89"/>
                    </a:lnTo>
                    <a:lnTo>
                      <a:pt x="277" y="91"/>
                    </a:lnTo>
                    <a:lnTo>
                      <a:pt x="277" y="95"/>
                    </a:lnTo>
                    <a:lnTo>
                      <a:pt x="275" y="99"/>
                    </a:lnTo>
                    <a:lnTo>
                      <a:pt x="277" y="100"/>
                    </a:lnTo>
                    <a:lnTo>
                      <a:pt x="278" y="102"/>
                    </a:lnTo>
                    <a:lnTo>
                      <a:pt x="277" y="103"/>
                    </a:lnTo>
                    <a:lnTo>
                      <a:pt x="274" y="108"/>
                    </a:lnTo>
                    <a:lnTo>
                      <a:pt x="273" y="117"/>
                    </a:lnTo>
                    <a:lnTo>
                      <a:pt x="270" y="122"/>
                    </a:lnTo>
                    <a:lnTo>
                      <a:pt x="269" y="125"/>
                    </a:lnTo>
                    <a:lnTo>
                      <a:pt x="268" y="126"/>
                    </a:lnTo>
                    <a:lnTo>
                      <a:pt x="268" y="131"/>
                    </a:lnTo>
                    <a:lnTo>
                      <a:pt x="269" y="138"/>
                    </a:lnTo>
                    <a:lnTo>
                      <a:pt x="270" y="142"/>
                    </a:lnTo>
                    <a:lnTo>
                      <a:pt x="271" y="143"/>
                    </a:lnTo>
                    <a:lnTo>
                      <a:pt x="270" y="144"/>
                    </a:lnTo>
                    <a:lnTo>
                      <a:pt x="268" y="149"/>
                    </a:lnTo>
                    <a:lnTo>
                      <a:pt x="268" y="155"/>
                    </a:lnTo>
                    <a:lnTo>
                      <a:pt x="264" y="164"/>
                    </a:lnTo>
                    <a:lnTo>
                      <a:pt x="262" y="168"/>
                    </a:lnTo>
                    <a:lnTo>
                      <a:pt x="260" y="168"/>
                    </a:lnTo>
                    <a:lnTo>
                      <a:pt x="256" y="169"/>
                    </a:lnTo>
                    <a:lnTo>
                      <a:pt x="256" y="172"/>
                    </a:lnTo>
                    <a:lnTo>
                      <a:pt x="251" y="180"/>
                    </a:lnTo>
                    <a:lnTo>
                      <a:pt x="251" y="182"/>
                    </a:lnTo>
                    <a:lnTo>
                      <a:pt x="247" y="186"/>
                    </a:lnTo>
                    <a:lnTo>
                      <a:pt x="244" y="191"/>
                    </a:lnTo>
                    <a:lnTo>
                      <a:pt x="241" y="205"/>
                    </a:lnTo>
                    <a:lnTo>
                      <a:pt x="238" y="204"/>
                    </a:lnTo>
                    <a:lnTo>
                      <a:pt x="237" y="204"/>
                    </a:lnTo>
                    <a:lnTo>
                      <a:pt x="236" y="207"/>
                    </a:lnTo>
                    <a:lnTo>
                      <a:pt x="232" y="211"/>
                    </a:lnTo>
                    <a:lnTo>
                      <a:pt x="231" y="215"/>
                    </a:lnTo>
                    <a:lnTo>
                      <a:pt x="232" y="217"/>
                    </a:lnTo>
                    <a:lnTo>
                      <a:pt x="232" y="221"/>
                    </a:lnTo>
                    <a:lnTo>
                      <a:pt x="229" y="225"/>
                    </a:lnTo>
                    <a:lnTo>
                      <a:pt x="227" y="231"/>
                    </a:lnTo>
                    <a:lnTo>
                      <a:pt x="228" y="237"/>
                    </a:lnTo>
                    <a:lnTo>
                      <a:pt x="227" y="246"/>
                    </a:lnTo>
                    <a:lnTo>
                      <a:pt x="225" y="247"/>
                    </a:lnTo>
                    <a:lnTo>
                      <a:pt x="224" y="249"/>
                    </a:lnTo>
                    <a:lnTo>
                      <a:pt x="222" y="249"/>
                    </a:lnTo>
                    <a:lnTo>
                      <a:pt x="220" y="248"/>
                    </a:lnTo>
                    <a:lnTo>
                      <a:pt x="216" y="249"/>
                    </a:lnTo>
                    <a:lnTo>
                      <a:pt x="212" y="248"/>
                    </a:lnTo>
                    <a:lnTo>
                      <a:pt x="212" y="252"/>
                    </a:lnTo>
                    <a:lnTo>
                      <a:pt x="210" y="253"/>
                    </a:lnTo>
                    <a:lnTo>
                      <a:pt x="207" y="256"/>
                    </a:lnTo>
                    <a:lnTo>
                      <a:pt x="208" y="258"/>
                    </a:lnTo>
                    <a:lnTo>
                      <a:pt x="212" y="260"/>
                    </a:lnTo>
                    <a:lnTo>
                      <a:pt x="220" y="259"/>
                    </a:lnTo>
                    <a:lnTo>
                      <a:pt x="222" y="262"/>
                    </a:lnTo>
                    <a:lnTo>
                      <a:pt x="225" y="265"/>
                    </a:lnTo>
                    <a:lnTo>
                      <a:pt x="225" y="268"/>
                    </a:lnTo>
                    <a:lnTo>
                      <a:pt x="226" y="268"/>
                    </a:lnTo>
                    <a:lnTo>
                      <a:pt x="230" y="275"/>
                    </a:lnTo>
                    <a:lnTo>
                      <a:pt x="233" y="276"/>
                    </a:lnTo>
                    <a:lnTo>
                      <a:pt x="233" y="277"/>
                    </a:lnTo>
                    <a:lnTo>
                      <a:pt x="235" y="278"/>
                    </a:lnTo>
                    <a:lnTo>
                      <a:pt x="238" y="278"/>
                    </a:lnTo>
                    <a:lnTo>
                      <a:pt x="241" y="281"/>
                    </a:lnTo>
                    <a:lnTo>
                      <a:pt x="242" y="284"/>
                    </a:lnTo>
                    <a:lnTo>
                      <a:pt x="246" y="287"/>
                    </a:lnTo>
                    <a:lnTo>
                      <a:pt x="246" y="294"/>
                    </a:lnTo>
                    <a:lnTo>
                      <a:pt x="247" y="296"/>
                    </a:lnTo>
                    <a:lnTo>
                      <a:pt x="249" y="302"/>
                    </a:lnTo>
                    <a:lnTo>
                      <a:pt x="243" y="309"/>
                    </a:lnTo>
                    <a:lnTo>
                      <a:pt x="238" y="316"/>
                    </a:lnTo>
                    <a:lnTo>
                      <a:pt x="236" y="315"/>
                    </a:lnTo>
                    <a:lnTo>
                      <a:pt x="233" y="318"/>
                    </a:lnTo>
                    <a:lnTo>
                      <a:pt x="231" y="320"/>
                    </a:lnTo>
                    <a:lnTo>
                      <a:pt x="230" y="320"/>
                    </a:lnTo>
                    <a:lnTo>
                      <a:pt x="227" y="323"/>
                    </a:lnTo>
                    <a:lnTo>
                      <a:pt x="227" y="323"/>
                    </a:lnTo>
                    <a:lnTo>
                      <a:pt x="224" y="326"/>
                    </a:lnTo>
                    <a:lnTo>
                      <a:pt x="222" y="329"/>
                    </a:lnTo>
                    <a:lnTo>
                      <a:pt x="217" y="331"/>
                    </a:lnTo>
                    <a:lnTo>
                      <a:pt x="213" y="330"/>
                    </a:lnTo>
                    <a:lnTo>
                      <a:pt x="206" y="330"/>
                    </a:lnTo>
                    <a:lnTo>
                      <a:pt x="203" y="332"/>
                    </a:lnTo>
                    <a:lnTo>
                      <a:pt x="200" y="332"/>
                    </a:lnTo>
                    <a:lnTo>
                      <a:pt x="198" y="333"/>
                    </a:lnTo>
                    <a:lnTo>
                      <a:pt x="196" y="332"/>
                    </a:lnTo>
                    <a:lnTo>
                      <a:pt x="193" y="334"/>
                    </a:lnTo>
                    <a:lnTo>
                      <a:pt x="193" y="337"/>
                    </a:lnTo>
                    <a:lnTo>
                      <a:pt x="191" y="337"/>
                    </a:lnTo>
                    <a:lnTo>
                      <a:pt x="187" y="336"/>
                    </a:lnTo>
                    <a:lnTo>
                      <a:pt x="186" y="333"/>
                    </a:lnTo>
                    <a:lnTo>
                      <a:pt x="183" y="332"/>
                    </a:lnTo>
                    <a:lnTo>
                      <a:pt x="181" y="333"/>
                    </a:lnTo>
                    <a:lnTo>
                      <a:pt x="176" y="331"/>
                    </a:lnTo>
                    <a:lnTo>
                      <a:pt x="172" y="330"/>
                    </a:lnTo>
                    <a:lnTo>
                      <a:pt x="170" y="332"/>
                    </a:lnTo>
                    <a:lnTo>
                      <a:pt x="170" y="335"/>
                    </a:lnTo>
                    <a:lnTo>
                      <a:pt x="170" y="336"/>
                    </a:lnTo>
                    <a:lnTo>
                      <a:pt x="170" y="337"/>
                    </a:lnTo>
                    <a:lnTo>
                      <a:pt x="169" y="336"/>
                    </a:lnTo>
                    <a:lnTo>
                      <a:pt x="164" y="336"/>
                    </a:lnTo>
                    <a:lnTo>
                      <a:pt x="163" y="336"/>
                    </a:lnTo>
                    <a:lnTo>
                      <a:pt x="163" y="334"/>
                    </a:lnTo>
                    <a:lnTo>
                      <a:pt x="162" y="331"/>
                    </a:lnTo>
                    <a:lnTo>
                      <a:pt x="161" y="330"/>
                    </a:lnTo>
                    <a:lnTo>
                      <a:pt x="160" y="327"/>
                    </a:lnTo>
                    <a:lnTo>
                      <a:pt x="158" y="325"/>
                    </a:lnTo>
                    <a:lnTo>
                      <a:pt x="153" y="323"/>
                    </a:lnTo>
                    <a:lnTo>
                      <a:pt x="152" y="322"/>
                    </a:lnTo>
                    <a:lnTo>
                      <a:pt x="150" y="319"/>
                    </a:lnTo>
                    <a:lnTo>
                      <a:pt x="147" y="316"/>
                    </a:lnTo>
                    <a:lnTo>
                      <a:pt x="146" y="315"/>
                    </a:lnTo>
                    <a:lnTo>
                      <a:pt x="142" y="315"/>
                    </a:lnTo>
                    <a:lnTo>
                      <a:pt x="140" y="317"/>
                    </a:lnTo>
                    <a:lnTo>
                      <a:pt x="139" y="319"/>
                    </a:lnTo>
                    <a:lnTo>
                      <a:pt x="135" y="319"/>
                    </a:lnTo>
                    <a:lnTo>
                      <a:pt x="133" y="319"/>
                    </a:lnTo>
                    <a:lnTo>
                      <a:pt x="133" y="319"/>
                    </a:lnTo>
                    <a:lnTo>
                      <a:pt x="130" y="319"/>
                    </a:lnTo>
                    <a:lnTo>
                      <a:pt x="126" y="319"/>
                    </a:lnTo>
                    <a:lnTo>
                      <a:pt x="123" y="319"/>
                    </a:lnTo>
                    <a:lnTo>
                      <a:pt x="122" y="321"/>
                    </a:lnTo>
                    <a:lnTo>
                      <a:pt x="120" y="322"/>
                    </a:lnTo>
                    <a:lnTo>
                      <a:pt x="117" y="321"/>
                    </a:lnTo>
                    <a:lnTo>
                      <a:pt x="113" y="319"/>
                    </a:lnTo>
                    <a:lnTo>
                      <a:pt x="111" y="316"/>
                    </a:lnTo>
                    <a:lnTo>
                      <a:pt x="109" y="316"/>
                    </a:lnTo>
                    <a:lnTo>
                      <a:pt x="107" y="313"/>
                    </a:lnTo>
                    <a:lnTo>
                      <a:pt x="106" y="310"/>
                    </a:lnTo>
                    <a:lnTo>
                      <a:pt x="105" y="310"/>
                    </a:lnTo>
                    <a:lnTo>
                      <a:pt x="105" y="309"/>
                    </a:lnTo>
                    <a:lnTo>
                      <a:pt x="104" y="307"/>
                    </a:lnTo>
                    <a:lnTo>
                      <a:pt x="100" y="305"/>
                    </a:lnTo>
                    <a:lnTo>
                      <a:pt x="98" y="304"/>
                    </a:lnTo>
                    <a:lnTo>
                      <a:pt x="97" y="298"/>
                    </a:lnTo>
                    <a:lnTo>
                      <a:pt x="98" y="297"/>
                    </a:lnTo>
                    <a:lnTo>
                      <a:pt x="96" y="295"/>
                    </a:lnTo>
                    <a:lnTo>
                      <a:pt x="90" y="293"/>
                    </a:lnTo>
                    <a:lnTo>
                      <a:pt x="88" y="292"/>
                    </a:lnTo>
                    <a:lnTo>
                      <a:pt x="88" y="288"/>
                    </a:lnTo>
                    <a:lnTo>
                      <a:pt x="87" y="287"/>
                    </a:lnTo>
                    <a:lnTo>
                      <a:pt x="83" y="285"/>
                    </a:lnTo>
                    <a:lnTo>
                      <a:pt x="81" y="283"/>
                    </a:lnTo>
                    <a:lnTo>
                      <a:pt x="81" y="278"/>
                    </a:lnTo>
                    <a:lnTo>
                      <a:pt x="79" y="276"/>
                    </a:lnTo>
                    <a:lnTo>
                      <a:pt x="74" y="273"/>
                    </a:lnTo>
                    <a:lnTo>
                      <a:pt x="73" y="273"/>
                    </a:lnTo>
                    <a:lnTo>
                      <a:pt x="70" y="272"/>
                    </a:lnTo>
                    <a:lnTo>
                      <a:pt x="68" y="273"/>
                    </a:lnTo>
                    <a:lnTo>
                      <a:pt x="65" y="272"/>
                    </a:lnTo>
                    <a:lnTo>
                      <a:pt x="61" y="268"/>
                    </a:lnTo>
                    <a:lnTo>
                      <a:pt x="62" y="267"/>
                    </a:lnTo>
                    <a:lnTo>
                      <a:pt x="63" y="265"/>
                    </a:lnTo>
                    <a:lnTo>
                      <a:pt x="65" y="263"/>
                    </a:lnTo>
                    <a:lnTo>
                      <a:pt x="66" y="261"/>
                    </a:lnTo>
                    <a:lnTo>
                      <a:pt x="65" y="259"/>
                    </a:lnTo>
                    <a:lnTo>
                      <a:pt x="61" y="258"/>
                    </a:lnTo>
                    <a:lnTo>
                      <a:pt x="58" y="257"/>
                    </a:lnTo>
                    <a:lnTo>
                      <a:pt x="57" y="255"/>
                    </a:lnTo>
                    <a:lnTo>
                      <a:pt x="54" y="253"/>
                    </a:lnTo>
                    <a:lnTo>
                      <a:pt x="51" y="253"/>
                    </a:lnTo>
                    <a:lnTo>
                      <a:pt x="47" y="252"/>
                    </a:lnTo>
                    <a:lnTo>
                      <a:pt x="44" y="249"/>
                    </a:lnTo>
                    <a:lnTo>
                      <a:pt x="43" y="246"/>
                    </a:lnTo>
                    <a:lnTo>
                      <a:pt x="45" y="243"/>
                    </a:lnTo>
                    <a:lnTo>
                      <a:pt x="43" y="242"/>
                    </a:lnTo>
                    <a:lnTo>
                      <a:pt x="37" y="242"/>
                    </a:lnTo>
                    <a:lnTo>
                      <a:pt x="36" y="243"/>
                    </a:lnTo>
                    <a:lnTo>
                      <a:pt x="31" y="243"/>
                    </a:lnTo>
                    <a:lnTo>
                      <a:pt x="29" y="241"/>
                    </a:lnTo>
                    <a:lnTo>
                      <a:pt x="29" y="235"/>
                    </a:lnTo>
                    <a:lnTo>
                      <a:pt x="30" y="233"/>
                    </a:lnTo>
                    <a:lnTo>
                      <a:pt x="31" y="231"/>
                    </a:lnTo>
                    <a:lnTo>
                      <a:pt x="31" y="227"/>
                    </a:lnTo>
                    <a:lnTo>
                      <a:pt x="31" y="224"/>
                    </a:lnTo>
                    <a:lnTo>
                      <a:pt x="28" y="217"/>
                    </a:lnTo>
                    <a:lnTo>
                      <a:pt x="22" y="211"/>
                    </a:lnTo>
                    <a:lnTo>
                      <a:pt x="22" y="210"/>
                    </a:lnTo>
                    <a:lnTo>
                      <a:pt x="18" y="206"/>
                    </a:lnTo>
                    <a:lnTo>
                      <a:pt x="19" y="205"/>
                    </a:lnTo>
                    <a:lnTo>
                      <a:pt x="19" y="202"/>
                    </a:lnTo>
                    <a:lnTo>
                      <a:pt x="17" y="200"/>
                    </a:lnTo>
                    <a:lnTo>
                      <a:pt x="17" y="199"/>
                    </a:lnTo>
                    <a:lnTo>
                      <a:pt x="17" y="197"/>
                    </a:lnTo>
                    <a:lnTo>
                      <a:pt x="19" y="194"/>
                    </a:lnTo>
                    <a:lnTo>
                      <a:pt x="17" y="191"/>
                    </a:lnTo>
                    <a:lnTo>
                      <a:pt x="10" y="190"/>
                    </a:lnTo>
                    <a:lnTo>
                      <a:pt x="10" y="187"/>
                    </a:lnTo>
                    <a:lnTo>
                      <a:pt x="10" y="182"/>
                    </a:lnTo>
                    <a:lnTo>
                      <a:pt x="8" y="179"/>
                    </a:lnTo>
                    <a:lnTo>
                      <a:pt x="9" y="177"/>
                    </a:lnTo>
                    <a:lnTo>
                      <a:pt x="7" y="175"/>
                    </a:lnTo>
                    <a:lnTo>
                      <a:pt x="9" y="173"/>
                    </a:lnTo>
                    <a:lnTo>
                      <a:pt x="9" y="171"/>
                    </a:lnTo>
                    <a:lnTo>
                      <a:pt x="7" y="170"/>
                    </a:lnTo>
                    <a:lnTo>
                      <a:pt x="2" y="173"/>
                    </a:lnTo>
                    <a:lnTo>
                      <a:pt x="0" y="171"/>
                    </a:lnTo>
                    <a:lnTo>
                      <a:pt x="0" y="168"/>
                    </a:lnTo>
                    <a:lnTo>
                      <a:pt x="6" y="162"/>
                    </a:lnTo>
                    <a:lnTo>
                      <a:pt x="8" y="159"/>
                    </a:lnTo>
                    <a:lnTo>
                      <a:pt x="7" y="155"/>
                    </a:lnTo>
                    <a:lnTo>
                      <a:pt x="4" y="153"/>
                    </a:lnTo>
                    <a:lnTo>
                      <a:pt x="5" y="150"/>
                    </a:lnTo>
                    <a:lnTo>
                      <a:pt x="8" y="148"/>
                    </a:lnTo>
                    <a:lnTo>
                      <a:pt x="10" y="145"/>
                    </a:lnTo>
                    <a:lnTo>
                      <a:pt x="8" y="143"/>
                    </a:lnTo>
                    <a:lnTo>
                      <a:pt x="8" y="140"/>
                    </a:lnTo>
                    <a:lnTo>
                      <a:pt x="10" y="137"/>
                    </a:lnTo>
                    <a:lnTo>
                      <a:pt x="12" y="137"/>
                    </a:lnTo>
                    <a:lnTo>
                      <a:pt x="19" y="129"/>
                    </a:lnTo>
                    <a:lnTo>
                      <a:pt x="21" y="125"/>
                    </a:lnTo>
                    <a:lnTo>
                      <a:pt x="19" y="124"/>
                    </a:lnTo>
                    <a:lnTo>
                      <a:pt x="19" y="119"/>
                    </a:lnTo>
                    <a:lnTo>
                      <a:pt x="22" y="116"/>
                    </a:lnTo>
                    <a:lnTo>
                      <a:pt x="27" y="116"/>
                    </a:lnTo>
                    <a:lnTo>
                      <a:pt x="30" y="118"/>
                    </a:lnTo>
                    <a:lnTo>
                      <a:pt x="33" y="116"/>
                    </a:lnTo>
                    <a:lnTo>
                      <a:pt x="36" y="115"/>
                    </a:lnTo>
                    <a:lnTo>
                      <a:pt x="35" y="45"/>
                    </a:lnTo>
                    <a:lnTo>
                      <a:pt x="35" y="45"/>
                    </a:lnTo>
                    <a:lnTo>
                      <a:pt x="35" y="38"/>
                    </a:lnTo>
                    <a:lnTo>
                      <a:pt x="53" y="37"/>
                    </a:lnTo>
                    <a:lnTo>
                      <a:pt x="51" y="2"/>
                    </a:lnTo>
                    <a:lnTo>
                      <a:pt x="51" y="2"/>
                    </a:lnTo>
                    <a:close/>
                  </a:path>
                </a:pathLst>
              </a:custGeom>
              <a:solidFill>
                <a:srgbClr val="65625E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623" name="Freeform 427"/>
              <p:cNvSpPr>
                <a:spLocks/>
              </p:cNvSpPr>
              <p:nvPr userDrawn="1"/>
            </p:nvSpPr>
            <p:spPr bwMode="auto">
              <a:xfrm>
                <a:off x="4223" y="2713"/>
                <a:ext cx="189" cy="241"/>
              </a:xfrm>
              <a:custGeom>
                <a:avLst/>
                <a:gdLst>
                  <a:gd name="T0" fmla="*/ 20 w 189"/>
                  <a:gd name="T1" fmla="*/ 141 h 241"/>
                  <a:gd name="T2" fmla="*/ 36 w 189"/>
                  <a:gd name="T3" fmla="*/ 134 h 241"/>
                  <a:gd name="T4" fmla="*/ 45 w 189"/>
                  <a:gd name="T5" fmla="*/ 127 h 241"/>
                  <a:gd name="T6" fmla="*/ 63 w 189"/>
                  <a:gd name="T7" fmla="*/ 124 h 241"/>
                  <a:gd name="T8" fmla="*/ 108 w 189"/>
                  <a:gd name="T9" fmla="*/ 70 h 241"/>
                  <a:gd name="T10" fmla="*/ 43 w 189"/>
                  <a:gd name="T11" fmla="*/ 48 h 241"/>
                  <a:gd name="T12" fmla="*/ 36 w 189"/>
                  <a:gd name="T13" fmla="*/ 36 h 241"/>
                  <a:gd name="T14" fmla="*/ 34 w 189"/>
                  <a:gd name="T15" fmla="*/ 17 h 241"/>
                  <a:gd name="T16" fmla="*/ 41 w 189"/>
                  <a:gd name="T17" fmla="*/ 11 h 241"/>
                  <a:gd name="T18" fmla="*/ 54 w 189"/>
                  <a:gd name="T19" fmla="*/ 26 h 241"/>
                  <a:gd name="T20" fmla="*/ 69 w 189"/>
                  <a:gd name="T21" fmla="*/ 31 h 241"/>
                  <a:gd name="T22" fmla="*/ 78 w 189"/>
                  <a:gd name="T23" fmla="*/ 26 h 241"/>
                  <a:gd name="T24" fmla="*/ 87 w 189"/>
                  <a:gd name="T25" fmla="*/ 23 h 241"/>
                  <a:gd name="T26" fmla="*/ 98 w 189"/>
                  <a:gd name="T27" fmla="*/ 24 h 241"/>
                  <a:gd name="T28" fmla="*/ 118 w 189"/>
                  <a:gd name="T29" fmla="*/ 15 h 241"/>
                  <a:gd name="T30" fmla="*/ 129 w 189"/>
                  <a:gd name="T31" fmla="*/ 16 h 241"/>
                  <a:gd name="T32" fmla="*/ 142 w 189"/>
                  <a:gd name="T33" fmla="*/ 14 h 241"/>
                  <a:gd name="T34" fmla="*/ 156 w 189"/>
                  <a:gd name="T35" fmla="*/ 10 h 241"/>
                  <a:gd name="T36" fmla="*/ 164 w 189"/>
                  <a:gd name="T37" fmla="*/ 9 h 241"/>
                  <a:gd name="T38" fmla="*/ 173 w 189"/>
                  <a:gd name="T39" fmla="*/ 5 h 241"/>
                  <a:gd name="T40" fmla="*/ 176 w 189"/>
                  <a:gd name="T41" fmla="*/ 1 h 241"/>
                  <a:gd name="T42" fmla="*/ 180 w 189"/>
                  <a:gd name="T43" fmla="*/ 2 h 241"/>
                  <a:gd name="T44" fmla="*/ 188 w 189"/>
                  <a:gd name="T45" fmla="*/ 4 h 241"/>
                  <a:gd name="T46" fmla="*/ 184 w 189"/>
                  <a:gd name="T47" fmla="*/ 12 h 241"/>
                  <a:gd name="T48" fmla="*/ 187 w 189"/>
                  <a:gd name="T49" fmla="*/ 15 h 241"/>
                  <a:gd name="T50" fmla="*/ 183 w 189"/>
                  <a:gd name="T51" fmla="*/ 22 h 241"/>
                  <a:gd name="T52" fmla="*/ 184 w 189"/>
                  <a:gd name="T53" fmla="*/ 29 h 241"/>
                  <a:gd name="T54" fmla="*/ 187 w 189"/>
                  <a:gd name="T55" fmla="*/ 28 h 241"/>
                  <a:gd name="T56" fmla="*/ 187 w 189"/>
                  <a:gd name="T57" fmla="*/ 30 h 241"/>
                  <a:gd name="T58" fmla="*/ 180 w 189"/>
                  <a:gd name="T59" fmla="*/ 36 h 241"/>
                  <a:gd name="T60" fmla="*/ 180 w 189"/>
                  <a:gd name="T61" fmla="*/ 44 h 241"/>
                  <a:gd name="T62" fmla="*/ 170 w 189"/>
                  <a:gd name="T63" fmla="*/ 66 h 241"/>
                  <a:gd name="T64" fmla="*/ 161 w 189"/>
                  <a:gd name="T65" fmla="*/ 73 h 241"/>
                  <a:gd name="T66" fmla="*/ 160 w 189"/>
                  <a:gd name="T67" fmla="*/ 80 h 241"/>
                  <a:gd name="T68" fmla="*/ 143 w 189"/>
                  <a:gd name="T69" fmla="*/ 113 h 241"/>
                  <a:gd name="T70" fmla="*/ 128 w 189"/>
                  <a:gd name="T71" fmla="*/ 136 h 241"/>
                  <a:gd name="T72" fmla="*/ 93 w 189"/>
                  <a:gd name="T73" fmla="*/ 171 h 241"/>
                  <a:gd name="T74" fmla="*/ 73 w 189"/>
                  <a:gd name="T75" fmla="*/ 182 h 241"/>
                  <a:gd name="T76" fmla="*/ 51 w 189"/>
                  <a:gd name="T77" fmla="*/ 201 h 241"/>
                  <a:gd name="T78" fmla="*/ 38 w 189"/>
                  <a:gd name="T79" fmla="*/ 216 h 241"/>
                  <a:gd name="T80" fmla="*/ 28 w 189"/>
                  <a:gd name="T81" fmla="*/ 223 h 241"/>
                  <a:gd name="T82" fmla="*/ 0 w 189"/>
                  <a:gd name="T83" fmla="*/ 229 h 241"/>
                  <a:gd name="T84" fmla="*/ 18 w 189"/>
                  <a:gd name="T85" fmla="*/ 144 h 2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89" h="241">
                    <a:moveTo>
                      <a:pt x="18" y="144"/>
                    </a:moveTo>
                    <a:lnTo>
                      <a:pt x="18" y="143"/>
                    </a:lnTo>
                    <a:lnTo>
                      <a:pt x="20" y="141"/>
                    </a:lnTo>
                    <a:lnTo>
                      <a:pt x="25" y="138"/>
                    </a:lnTo>
                    <a:lnTo>
                      <a:pt x="31" y="137"/>
                    </a:lnTo>
                    <a:lnTo>
                      <a:pt x="36" y="134"/>
                    </a:lnTo>
                    <a:lnTo>
                      <a:pt x="39" y="133"/>
                    </a:lnTo>
                    <a:lnTo>
                      <a:pt x="41" y="129"/>
                    </a:lnTo>
                    <a:lnTo>
                      <a:pt x="45" y="127"/>
                    </a:lnTo>
                    <a:lnTo>
                      <a:pt x="48" y="127"/>
                    </a:lnTo>
                    <a:lnTo>
                      <a:pt x="52" y="125"/>
                    </a:lnTo>
                    <a:lnTo>
                      <a:pt x="63" y="124"/>
                    </a:lnTo>
                    <a:lnTo>
                      <a:pt x="75" y="124"/>
                    </a:lnTo>
                    <a:lnTo>
                      <a:pt x="132" y="70"/>
                    </a:lnTo>
                    <a:lnTo>
                      <a:pt x="108" y="70"/>
                    </a:lnTo>
                    <a:lnTo>
                      <a:pt x="54" y="54"/>
                    </a:lnTo>
                    <a:lnTo>
                      <a:pt x="50" y="50"/>
                    </a:lnTo>
                    <a:lnTo>
                      <a:pt x="43" y="48"/>
                    </a:lnTo>
                    <a:lnTo>
                      <a:pt x="41" y="43"/>
                    </a:lnTo>
                    <a:lnTo>
                      <a:pt x="42" y="38"/>
                    </a:lnTo>
                    <a:lnTo>
                      <a:pt x="36" y="36"/>
                    </a:lnTo>
                    <a:lnTo>
                      <a:pt x="33" y="26"/>
                    </a:lnTo>
                    <a:lnTo>
                      <a:pt x="32" y="20"/>
                    </a:lnTo>
                    <a:lnTo>
                      <a:pt x="34" y="17"/>
                    </a:lnTo>
                    <a:lnTo>
                      <a:pt x="38" y="9"/>
                    </a:lnTo>
                    <a:lnTo>
                      <a:pt x="39" y="11"/>
                    </a:lnTo>
                    <a:lnTo>
                      <a:pt x="41" y="11"/>
                    </a:lnTo>
                    <a:lnTo>
                      <a:pt x="51" y="24"/>
                    </a:lnTo>
                    <a:lnTo>
                      <a:pt x="53" y="26"/>
                    </a:lnTo>
                    <a:lnTo>
                      <a:pt x="54" y="26"/>
                    </a:lnTo>
                    <a:lnTo>
                      <a:pt x="59" y="30"/>
                    </a:lnTo>
                    <a:lnTo>
                      <a:pt x="63" y="31"/>
                    </a:lnTo>
                    <a:lnTo>
                      <a:pt x="69" y="31"/>
                    </a:lnTo>
                    <a:lnTo>
                      <a:pt x="70" y="29"/>
                    </a:lnTo>
                    <a:lnTo>
                      <a:pt x="75" y="26"/>
                    </a:lnTo>
                    <a:lnTo>
                      <a:pt x="78" y="26"/>
                    </a:lnTo>
                    <a:lnTo>
                      <a:pt x="85" y="22"/>
                    </a:lnTo>
                    <a:lnTo>
                      <a:pt x="86" y="22"/>
                    </a:lnTo>
                    <a:lnTo>
                      <a:pt x="87" y="23"/>
                    </a:lnTo>
                    <a:lnTo>
                      <a:pt x="92" y="22"/>
                    </a:lnTo>
                    <a:lnTo>
                      <a:pt x="94" y="22"/>
                    </a:lnTo>
                    <a:lnTo>
                      <a:pt x="98" y="24"/>
                    </a:lnTo>
                    <a:lnTo>
                      <a:pt x="103" y="23"/>
                    </a:lnTo>
                    <a:lnTo>
                      <a:pt x="114" y="16"/>
                    </a:lnTo>
                    <a:lnTo>
                      <a:pt x="118" y="15"/>
                    </a:lnTo>
                    <a:lnTo>
                      <a:pt x="122" y="17"/>
                    </a:lnTo>
                    <a:lnTo>
                      <a:pt x="124" y="16"/>
                    </a:lnTo>
                    <a:lnTo>
                      <a:pt x="129" y="16"/>
                    </a:lnTo>
                    <a:lnTo>
                      <a:pt x="134" y="14"/>
                    </a:lnTo>
                    <a:lnTo>
                      <a:pt x="140" y="13"/>
                    </a:lnTo>
                    <a:lnTo>
                      <a:pt x="142" y="14"/>
                    </a:lnTo>
                    <a:lnTo>
                      <a:pt x="144" y="14"/>
                    </a:lnTo>
                    <a:lnTo>
                      <a:pt x="152" y="13"/>
                    </a:lnTo>
                    <a:lnTo>
                      <a:pt x="156" y="10"/>
                    </a:lnTo>
                    <a:lnTo>
                      <a:pt x="161" y="9"/>
                    </a:lnTo>
                    <a:lnTo>
                      <a:pt x="163" y="10"/>
                    </a:lnTo>
                    <a:lnTo>
                      <a:pt x="164" y="9"/>
                    </a:lnTo>
                    <a:lnTo>
                      <a:pt x="170" y="8"/>
                    </a:lnTo>
                    <a:lnTo>
                      <a:pt x="172" y="5"/>
                    </a:lnTo>
                    <a:lnTo>
                      <a:pt x="173" y="5"/>
                    </a:lnTo>
                    <a:lnTo>
                      <a:pt x="174" y="4"/>
                    </a:lnTo>
                    <a:lnTo>
                      <a:pt x="174" y="3"/>
                    </a:lnTo>
                    <a:lnTo>
                      <a:pt x="176" y="1"/>
                    </a:lnTo>
                    <a:lnTo>
                      <a:pt x="178" y="1"/>
                    </a:lnTo>
                    <a:lnTo>
                      <a:pt x="177" y="0"/>
                    </a:lnTo>
                    <a:lnTo>
                      <a:pt x="180" y="2"/>
                    </a:lnTo>
                    <a:lnTo>
                      <a:pt x="185" y="4"/>
                    </a:lnTo>
                    <a:lnTo>
                      <a:pt x="187" y="4"/>
                    </a:lnTo>
                    <a:lnTo>
                      <a:pt x="188" y="4"/>
                    </a:lnTo>
                    <a:lnTo>
                      <a:pt x="186" y="6"/>
                    </a:lnTo>
                    <a:lnTo>
                      <a:pt x="184" y="9"/>
                    </a:lnTo>
                    <a:lnTo>
                      <a:pt x="184" y="12"/>
                    </a:lnTo>
                    <a:lnTo>
                      <a:pt x="183" y="14"/>
                    </a:lnTo>
                    <a:lnTo>
                      <a:pt x="184" y="15"/>
                    </a:lnTo>
                    <a:lnTo>
                      <a:pt x="187" y="15"/>
                    </a:lnTo>
                    <a:lnTo>
                      <a:pt x="187" y="16"/>
                    </a:lnTo>
                    <a:lnTo>
                      <a:pt x="185" y="18"/>
                    </a:lnTo>
                    <a:lnTo>
                      <a:pt x="183" y="22"/>
                    </a:lnTo>
                    <a:lnTo>
                      <a:pt x="185" y="24"/>
                    </a:lnTo>
                    <a:lnTo>
                      <a:pt x="185" y="26"/>
                    </a:lnTo>
                    <a:lnTo>
                      <a:pt x="184" y="29"/>
                    </a:lnTo>
                    <a:lnTo>
                      <a:pt x="187" y="29"/>
                    </a:lnTo>
                    <a:lnTo>
                      <a:pt x="186" y="28"/>
                    </a:lnTo>
                    <a:lnTo>
                      <a:pt x="187" y="28"/>
                    </a:lnTo>
                    <a:lnTo>
                      <a:pt x="189" y="31"/>
                    </a:lnTo>
                    <a:lnTo>
                      <a:pt x="187" y="31"/>
                    </a:lnTo>
                    <a:lnTo>
                      <a:pt x="187" y="30"/>
                    </a:lnTo>
                    <a:lnTo>
                      <a:pt x="184" y="30"/>
                    </a:lnTo>
                    <a:lnTo>
                      <a:pt x="183" y="31"/>
                    </a:lnTo>
                    <a:lnTo>
                      <a:pt x="180" y="36"/>
                    </a:lnTo>
                    <a:lnTo>
                      <a:pt x="182" y="38"/>
                    </a:lnTo>
                    <a:lnTo>
                      <a:pt x="181" y="42"/>
                    </a:lnTo>
                    <a:lnTo>
                      <a:pt x="180" y="44"/>
                    </a:lnTo>
                    <a:lnTo>
                      <a:pt x="180" y="48"/>
                    </a:lnTo>
                    <a:lnTo>
                      <a:pt x="173" y="57"/>
                    </a:lnTo>
                    <a:lnTo>
                      <a:pt x="170" y="66"/>
                    </a:lnTo>
                    <a:lnTo>
                      <a:pt x="167" y="70"/>
                    </a:lnTo>
                    <a:lnTo>
                      <a:pt x="165" y="69"/>
                    </a:lnTo>
                    <a:lnTo>
                      <a:pt x="161" y="73"/>
                    </a:lnTo>
                    <a:lnTo>
                      <a:pt x="161" y="75"/>
                    </a:lnTo>
                    <a:lnTo>
                      <a:pt x="163" y="78"/>
                    </a:lnTo>
                    <a:lnTo>
                      <a:pt x="160" y="80"/>
                    </a:lnTo>
                    <a:lnTo>
                      <a:pt x="149" y="99"/>
                    </a:lnTo>
                    <a:lnTo>
                      <a:pt x="149" y="105"/>
                    </a:lnTo>
                    <a:lnTo>
                      <a:pt x="143" y="113"/>
                    </a:lnTo>
                    <a:lnTo>
                      <a:pt x="143" y="116"/>
                    </a:lnTo>
                    <a:lnTo>
                      <a:pt x="130" y="133"/>
                    </a:lnTo>
                    <a:lnTo>
                      <a:pt x="128" y="136"/>
                    </a:lnTo>
                    <a:lnTo>
                      <a:pt x="123" y="142"/>
                    </a:lnTo>
                    <a:lnTo>
                      <a:pt x="113" y="154"/>
                    </a:lnTo>
                    <a:lnTo>
                      <a:pt x="93" y="171"/>
                    </a:lnTo>
                    <a:lnTo>
                      <a:pt x="85" y="178"/>
                    </a:lnTo>
                    <a:lnTo>
                      <a:pt x="78" y="179"/>
                    </a:lnTo>
                    <a:lnTo>
                      <a:pt x="73" y="182"/>
                    </a:lnTo>
                    <a:lnTo>
                      <a:pt x="66" y="187"/>
                    </a:lnTo>
                    <a:lnTo>
                      <a:pt x="54" y="200"/>
                    </a:lnTo>
                    <a:lnTo>
                      <a:pt x="51" y="201"/>
                    </a:lnTo>
                    <a:lnTo>
                      <a:pt x="41" y="212"/>
                    </a:lnTo>
                    <a:lnTo>
                      <a:pt x="39" y="213"/>
                    </a:lnTo>
                    <a:lnTo>
                      <a:pt x="38" y="216"/>
                    </a:lnTo>
                    <a:lnTo>
                      <a:pt x="34" y="217"/>
                    </a:lnTo>
                    <a:lnTo>
                      <a:pt x="30" y="220"/>
                    </a:lnTo>
                    <a:lnTo>
                      <a:pt x="28" y="223"/>
                    </a:lnTo>
                    <a:lnTo>
                      <a:pt x="13" y="240"/>
                    </a:lnTo>
                    <a:lnTo>
                      <a:pt x="13" y="241"/>
                    </a:lnTo>
                    <a:lnTo>
                      <a:pt x="0" y="229"/>
                    </a:lnTo>
                    <a:lnTo>
                      <a:pt x="0" y="159"/>
                    </a:lnTo>
                    <a:lnTo>
                      <a:pt x="18" y="144"/>
                    </a:lnTo>
                    <a:lnTo>
                      <a:pt x="18" y="144"/>
                    </a:lnTo>
                    <a:lnTo>
                      <a:pt x="18" y="144"/>
                    </a:lnTo>
                    <a:close/>
                  </a:path>
                </a:pathLst>
              </a:custGeom>
              <a:solidFill>
                <a:srgbClr val="65625E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624" name="Freeform 428"/>
              <p:cNvSpPr>
                <a:spLocks/>
              </p:cNvSpPr>
              <p:nvPr userDrawn="1"/>
            </p:nvSpPr>
            <p:spPr bwMode="auto">
              <a:xfrm>
                <a:off x="3239" y="2262"/>
                <a:ext cx="213" cy="162"/>
              </a:xfrm>
              <a:custGeom>
                <a:avLst/>
                <a:gdLst>
                  <a:gd name="T0" fmla="*/ 74 w 213"/>
                  <a:gd name="T1" fmla="*/ 147 h 162"/>
                  <a:gd name="T2" fmla="*/ 86 w 213"/>
                  <a:gd name="T3" fmla="*/ 136 h 162"/>
                  <a:gd name="T4" fmla="*/ 101 w 213"/>
                  <a:gd name="T5" fmla="*/ 131 h 162"/>
                  <a:gd name="T6" fmla="*/ 110 w 213"/>
                  <a:gd name="T7" fmla="*/ 131 h 162"/>
                  <a:gd name="T8" fmla="*/ 124 w 213"/>
                  <a:gd name="T9" fmla="*/ 129 h 162"/>
                  <a:gd name="T10" fmla="*/ 159 w 213"/>
                  <a:gd name="T11" fmla="*/ 109 h 162"/>
                  <a:gd name="T12" fmla="*/ 173 w 213"/>
                  <a:gd name="T13" fmla="*/ 97 h 162"/>
                  <a:gd name="T14" fmla="*/ 175 w 213"/>
                  <a:gd name="T15" fmla="*/ 88 h 162"/>
                  <a:gd name="T16" fmla="*/ 183 w 213"/>
                  <a:gd name="T17" fmla="*/ 78 h 162"/>
                  <a:gd name="T18" fmla="*/ 209 w 213"/>
                  <a:gd name="T19" fmla="*/ 77 h 162"/>
                  <a:gd name="T20" fmla="*/ 211 w 213"/>
                  <a:gd name="T21" fmla="*/ 72 h 162"/>
                  <a:gd name="T22" fmla="*/ 211 w 213"/>
                  <a:gd name="T23" fmla="*/ 66 h 162"/>
                  <a:gd name="T24" fmla="*/ 207 w 213"/>
                  <a:gd name="T25" fmla="*/ 65 h 162"/>
                  <a:gd name="T26" fmla="*/ 204 w 213"/>
                  <a:gd name="T27" fmla="*/ 60 h 162"/>
                  <a:gd name="T28" fmla="*/ 200 w 213"/>
                  <a:gd name="T29" fmla="*/ 42 h 162"/>
                  <a:gd name="T30" fmla="*/ 199 w 213"/>
                  <a:gd name="T31" fmla="*/ 32 h 162"/>
                  <a:gd name="T32" fmla="*/ 198 w 213"/>
                  <a:gd name="T33" fmla="*/ 25 h 162"/>
                  <a:gd name="T34" fmla="*/ 196 w 213"/>
                  <a:gd name="T35" fmla="*/ 20 h 162"/>
                  <a:gd name="T36" fmla="*/ 193 w 213"/>
                  <a:gd name="T37" fmla="*/ 16 h 162"/>
                  <a:gd name="T38" fmla="*/ 181 w 213"/>
                  <a:gd name="T39" fmla="*/ 15 h 162"/>
                  <a:gd name="T40" fmla="*/ 177 w 213"/>
                  <a:gd name="T41" fmla="*/ 9 h 162"/>
                  <a:gd name="T42" fmla="*/ 176 w 213"/>
                  <a:gd name="T43" fmla="*/ 8 h 162"/>
                  <a:gd name="T44" fmla="*/ 166 w 213"/>
                  <a:gd name="T45" fmla="*/ 13 h 162"/>
                  <a:gd name="T46" fmla="*/ 158 w 213"/>
                  <a:gd name="T47" fmla="*/ 11 h 162"/>
                  <a:gd name="T48" fmla="*/ 148 w 213"/>
                  <a:gd name="T49" fmla="*/ 14 h 162"/>
                  <a:gd name="T50" fmla="*/ 140 w 213"/>
                  <a:gd name="T51" fmla="*/ 8 h 162"/>
                  <a:gd name="T52" fmla="*/ 137 w 213"/>
                  <a:gd name="T53" fmla="*/ 4 h 162"/>
                  <a:gd name="T54" fmla="*/ 137 w 213"/>
                  <a:gd name="T55" fmla="*/ 1 h 162"/>
                  <a:gd name="T56" fmla="*/ 133 w 213"/>
                  <a:gd name="T57" fmla="*/ 1 h 162"/>
                  <a:gd name="T58" fmla="*/ 128 w 213"/>
                  <a:gd name="T59" fmla="*/ 1 h 162"/>
                  <a:gd name="T60" fmla="*/ 123 w 213"/>
                  <a:gd name="T61" fmla="*/ 15 h 162"/>
                  <a:gd name="T62" fmla="*/ 119 w 213"/>
                  <a:gd name="T63" fmla="*/ 27 h 162"/>
                  <a:gd name="T64" fmla="*/ 108 w 213"/>
                  <a:gd name="T65" fmla="*/ 40 h 162"/>
                  <a:gd name="T66" fmla="*/ 102 w 213"/>
                  <a:gd name="T67" fmla="*/ 43 h 162"/>
                  <a:gd name="T68" fmla="*/ 90 w 213"/>
                  <a:gd name="T69" fmla="*/ 50 h 162"/>
                  <a:gd name="T70" fmla="*/ 81 w 213"/>
                  <a:gd name="T71" fmla="*/ 55 h 162"/>
                  <a:gd name="T72" fmla="*/ 74 w 213"/>
                  <a:gd name="T73" fmla="*/ 60 h 162"/>
                  <a:gd name="T74" fmla="*/ 69 w 213"/>
                  <a:gd name="T75" fmla="*/ 72 h 162"/>
                  <a:gd name="T76" fmla="*/ 60 w 213"/>
                  <a:gd name="T77" fmla="*/ 83 h 162"/>
                  <a:gd name="T78" fmla="*/ 56 w 213"/>
                  <a:gd name="T79" fmla="*/ 96 h 162"/>
                  <a:gd name="T80" fmla="*/ 56 w 213"/>
                  <a:gd name="T81" fmla="*/ 109 h 162"/>
                  <a:gd name="T82" fmla="*/ 60 w 213"/>
                  <a:gd name="T83" fmla="*/ 112 h 162"/>
                  <a:gd name="T84" fmla="*/ 47 w 213"/>
                  <a:gd name="T85" fmla="*/ 130 h 162"/>
                  <a:gd name="T86" fmla="*/ 41 w 213"/>
                  <a:gd name="T87" fmla="*/ 140 h 162"/>
                  <a:gd name="T88" fmla="*/ 22 w 213"/>
                  <a:gd name="T89" fmla="*/ 153 h 162"/>
                  <a:gd name="T90" fmla="*/ 0 w 213"/>
                  <a:gd name="T91" fmla="*/ 161 h 162"/>
                  <a:gd name="T92" fmla="*/ 74 w 213"/>
                  <a:gd name="T93" fmla="*/ 162 h 162"/>
                  <a:gd name="T94" fmla="*/ 74 w 213"/>
                  <a:gd name="T95" fmla="*/ 162 h 1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13" h="162">
                    <a:moveTo>
                      <a:pt x="74" y="162"/>
                    </a:moveTo>
                    <a:lnTo>
                      <a:pt x="74" y="147"/>
                    </a:lnTo>
                    <a:lnTo>
                      <a:pt x="82" y="141"/>
                    </a:lnTo>
                    <a:lnTo>
                      <a:pt x="86" y="136"/>
                    </a:lnTo>
                    <a:lnTo>
                      <a:pt x="92" y="133"/>
                    </a:lnTo>
                    <a:lnTo>
                      <a:pt x="101" y="131"/>
                    </a:lnTo>
                    <a:lnTo>
                      <a:pt x="107" y="131"/>
                    </a:lnTo>
                    <a:lnTo>
                      <a:pt x="110" y="131"/>
                    </a:lnTo>
                    <a:lnTo>
                      <a:pt x="117" y="131"/>
                    </a:lnTo>
                    <a:lnTo>
                      <a:pt x="124" y="129"/>
                    </a:lnTo>
                    <a:lnTo>
                      <a:pt x="140" y="120"/>
                    </a:lnTo>
                    <a:lnTo>
                      <a:pt x="159" y="109"/>
                    </a:lnTo>
                    <a:lnTo>
                      <a:pt x="171" y="101"/>
                    </a:lnTo>
                    <a:lnTo>
                      <a:pt x="173" y="97"/>
                    </a:lnTo>
                    <a:lnTo>
                      <a:pt x="173" y="91"/>
                    </a:lnTo>
                    <a:lnTo>
                      <a:pt x="175" y="88"/>
                    </a:lnTo>
                    <a:lnTo>
                      <a:pt x="179" y="85"/>
                    </a:lnTo>
                    <a:lnTo>
                      <a:pt x="183" y="78"/>
                    </a:lnTo>
                    <a:lnTo>
                      <a:pt x="187" y="77"/>
                    </a:lnTo>
                    <a:lnTo>
                      <a:pt x="209" y="77"/>
                    </a:lnTo>
                    <a:lnTo>
                      <a:pt x="211" y="73"/>
                    </a:lnTo>
                    <a:lnTo>
                      <a:pt x="211" y="72"/>
                    </a:lnTo>
                    <a:lnTo>
                      <a:pt x="213" y="67"/>
                    </a:lnTo>
                    <a:lnTo>
                      <a:pt x="211" y="66"/>
                    </a:lnTo>
                    <a:lnTo>
                      <a:pt x="209" y="66"/>
                    </a:lnTo>
                    <a:lnTo>
                      <a:pt x="207" y="65"/>
                    </a:lnTo>
                    <a:lnTo>
                      <a:pt x="205" y="64"/>
                    </a:lnTo>
                    <a:lnTo>
                      <a:pt x="204" y="60"/>
                    </a:lnTo>
                    <a:lnTo>
                      <a:pt x="202" y="55"/>
                    </a:lnTo>
                    <a:lnTo>
                      <a:pt x="200" y="42"/>
                    </a:lnTo>
                    <a:lnTo>
                      <a:pt x="199" y="39"/>
                    </a:lnTo>
                    <a:lnTo>
                      <a:pt x="199" y="32"/>
                    </a:lnTo>
                    <a:lnTo>
                      <a:pt x="199" y="26"/>
                    </a:lnTo>
                    <a:lnTo>
                      <a:pt x="198" y="25"/>
                    </a:lnTo>
                    <a:lnTo>
                      <a:pt x="198" y="22"/>
                    </a:lnTo>
                    <a:lnTo>
                      <a:pt x="196" y="20"/>
                    </a:lnTo>
                    <a:lnTo>
                      <a:pt x="195" y="17"/>
                    </a:lnTo>
                    <a:lnTo>
                      <a:pt x="193" y="16"/>
                    </a:lnTo>
                    <a:lnTo>
                      <a:pt x="191" y="16"/>
                    </a:lnTo>
                    <a:lnTo>
                      <a:pt x="181" y="15"/>
                    </a:lnTo>
                    <a:lnTo>
                      <a:pt x="178" y="12"/>
                    </a:lnTo>
                    <a:lnTo>
                      <a:pt x="177" y="9"/>
                    </a:lnTo>
                    <a:lnTo>
                      <a:pt x="176" y="8"/>
                    </a:lnTo>
                    <a:lnTo>
                      <a:pt x="176" y="8"/>
                    </a:lnTo>
                    <a:lnTo>
                      <a:pt x="173" y="12"/>
                    </a:lnTo>
                    <a:lnTo>
                      <a:pt x="166" y="13"/>
                    </a:lnTo>
                    <a:lnTo>
                      <a:pt x="161" y="12"/>
                    </a:lnTo>
                    <a:lnTo>
                      <a:pt x="158" y="11"/>
                    </a:lnTo>
                    <a:lnTo>
                      <a:pt x="154" y="13"/>
                    </a:lnTo>
                    <a:lnTo>
                      <a:pt x="148" y="14"/>
                    </a:lnTo>
                    <a:lnTo>
                      <a:pt x="144" y="13"/>
                    </a:lnTo>
                    <a:lnTo>
                      <a:pt x="140" y="8"/>
                    </a:lnTo>
                    <a:lnTo>
                      <a:pt x="138" y="6"/>
                    </a:lnTo>
                    <a:lnTo>
                      <a:pt x="137" y="4"/>
                    </a:lnTo>
                    <a:lnTo>
                      <a:pt x="137" y="1"/>
                    </a:lnTo>
                    <a:lnTo>
                      <a:pt x="137" y="1"/>
                    </a:lnTo>
                    <a:lnTo>
                      <a:pt x="136" y="0"/>
                    </a:lnTo>
                    <a:lnTo>
                      <a:pt x="133" y="1"/>
                    </a:lnTo>
                    <a:lnTo>
                      <a:pt x="131" y="2"/>
                    </a:lnTo>
                    <a:lnTo>
                      <a:pt x="128" y="1"/>
                    </a:lnTo>
                    <a:lnTo>
                      <a:pt x="124" y="5"/>
                    </a:lnTo>
                    <a:lnTo>
                      <a:pt x="123" y="15"/>
                    </a:lnTo>
                    <a:lnTo>
                      <a:pt x="120" y="21"/>
                    </a:lnTo>
                    <a:lnTo>
                      <a:pt x="119" y="27"/>
                    </a:lnTo>
                    <a:lnTo>
                      <a:pt x="117" y="32"/>
                    </a:lnTo>
                    <a:lnTo>
                      <a:pt x="108" y="40"/>
                    </a:lnTo>
                    <a:lnTo>
                      <a:pt x="106" y="40"/>
                    </a:lnTo>
                    <a:lnTo>
                      <a:pt x="102" y="43"/>
                    </a:lnTo>
                    <a:lnTo>
                      <a:pt x="96" y="44"/>
                    </a:lnTo>
                    <a:lnTo>
                      <a:pt x="90" y="50"/>
                    </a:lnTo>
                    <a:lnTo>
                      <a:pt x="88" y="50"/>
                    </a:lnTo>
                    <a:lnTo>
                      <a:pt x="81" y="55"/>
                    </a:lnTo>
                    <a:lnTo>
                      <a:pt x="77" y="56"/>
                    </a:lnTo>
                    <a:lnTo>
                      <a:pt x="74" y="60"/>
                    </a:lnTo>
                    <a:lnTo>
                      <a:pt x="66" y="66"/>
                    </a:lnTo>
                    <a:lnTo>
                      <a:pt x="69" y="72"/>
                    </a:lnTo>
                    <a:lnTo>
                      <a:pt x="68" y="76"/>
                    </a:lnTo>
                    <a:lnTo>
                      <a:pt x="60" y="83"/>
                    </a:lnTo>
                    <a:lnTo>
                      <a:pt x="56" y="92"/>
                    </a:lnTo>
                    <a:lnTo>
                      <a:pt x="56" y="96"/>
                    </a:lnTo>
                    <a:lnTo>
                      <a:pt x="58" y="102"/>
                    </a:lnTo>
                    <a:lnTo>
                      <a:pt x="56" y="109"/>
                    </a:lnTo>
                    <a:lnTo>
                      <a:pt x="58" y="109"/>
                    </a:lnTo>
                    <a:lnTo>
                      <a:pt x="60" y="112"/>
                    </a:lnTo>
                    <a:lnTo>
                      <a:pt x="58" y="117"/>
                    </a:lnTo>
                    <a:lnTo>
                      <a:pt x="47" y="130"/>
                    </a:lnTo>
                    <a:lnTo>
                      <a:pt x="46" y="135"/>
                    </a:lnTo>
                    <a:lnTo>
                      <a:pt x="41" y="140"/>
                    </a:lnTo>
                    <a:lnTo>
                      <a:pt x="34" y="141"/>
                    </a:lnTo>
                    <a:lnTo>
                      <a:pt x="22" y="153"/>
                    </a:lnTo>
                    <a:lnTo>
                      <a:pt x="4" y="155"/>
                    </a:lnTo>
                    <a:lnTo>
                      <a:pt x="0" y="161"/>
                    </a:lnTo>
                    <a:lnTo>
                      <a:pt x="74" y="162"/>
                    </a:lnTo>
                    <a:lnTo>
                      <a:pt x="74" y="162"/>
                    </a:lnTo>
                    <a:lnTo>
                      <a:pt x="74" y="162"/>
                    </a:lnTo>
                    <a:lnTo>
                      <a:pt x="74" y="162"/>
                    </a:lnTo>
                    <a:close/>
                  </a:path>
                </a:pathLst>
              </a:custGeom>
              <a:solidFill>
                <a:srgbClr val="65625E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625" name="Freeform 429"/>
              <p:cNvSpPr>
                <a:spLocks/>
              </p:cNvSpPr>
              <p:nvPr userDrawn="1"/>
            </p:nvSpPr>
            <p:spPr bwMode="auto">
              <a:xfrm>
                <a:off x="3248" y="2472"/>
                <a:ext cx="300" cy="269"/>
              </a:xfrm>
              <a:custGeom>
                <a:avLst/>
                <a:gdLst>
                  <a:gd name="T0" fmla="*/ 10 w 300"/>
                  <a:gd name="T1" fmla="*/ 184 h 269"/>
                  <a:gd name="T2" fmla="*/ 12 w 300"/>
                  <a:gd name="T3" fmla="*/ 170 h 269"/>
                  <a:gd name="T4" fmla="*/ 23 w 300"/>
                  <a:gd name="T5" fmla="*/ 173 h 269"/>
                  <a:gd name="T6" fmla="*/ 32 w 300"/>
                  <a:gd name="T7" fmla="*/ 172 h 269"/>
                  <a:gd name="T8" fmla="*/ 46 w 300"/>
                  <a:gd name="T9" fmla="*/ 175 h 269"/>
                  <a:gd name="T10" fmla="*/ 53 w 300"/>
                  <a:gd name="T11" fmla="*/ 173 h 269"/>
                  <a:gd name="T12" fmla="*/ 123 w 300"/>
                  <a:gd name="T13" fmla="*/ 177 h 269"/>
                  <a:gd name="T14" fmla="*/ 109 w 300"/>
                  <a:gd name="T15" fmla="*/ 1 h 269"/>
                  <a:gd name="T16" fmla="*/ 254 w 300"/>
                  <a:gd name="T17" fmla="*/ 86 h 269"/>
                  <a:gd name="T18" fmla="*/ 270 w 300"/>
                  <a:gd name="T19" fmla="*/ 91 h 269"/>
                  <a:gd name="T20" fmla="*/ 281 w 300"/>
                  <a:gd name="T21" fmla="*/ 98 h 269"/>
                  <a:gd name="T22" fmla="*/ 281 w 300"/>
                  <a:gd name="T23" fmla="*/ 110 h 269"/>
                  <a:gd name="T24" fmla="*/ 300 w 300"/>
                  <a:gd name="T25" fmla="*/ 108 h 269"/>
                  <a:gd name="T26" fmla="*/ 298 w 300"/>
                  <a:gd name="T27" fmla="*/ 159 h 269"/>
                  <a:gd name="T28" fmla="*/ 293 w 300"/>
                  <a:gd name="T29" fmla="*/ 170 h 269"/>
                  <a:gd name="T30" fmla="*/ 273 w 300"/>
                  <a:gd name="T31" fmla="*/ 179 h 269"/>
                  <a:gd name="T32" fmla="*/ 256 w 300"/>
                  <a:gd name="T33" fmla="*/ 181 h 269"/>
                  <a:gd name="T34" fmla="*/ 235 w 300"/>
                  <a:gd name="T35" fmla="*/ 184 h 269"/>
                  <a:gd name="T36" fmla="*/ 228 w 300"/>
                  <a:gd name="T37" fmla="*/ 183 h 269"/>
                  <a:gd name="T38" fmla="*/ 215 w 300"/>
                  <a:gd name="T39" fmla="*/ 181 h 269"/>
                  <a:gd name="T40" fmla="*/ 197 w 300"/>
                  <a:gd name="T41" fmla="*/ 190 h 269"/>
                  <a:gd name="T42" fmla="*/ 171 w 300"/>
                  <a:gd name="T43" fmla="*/ 207 h 269"/>
                  <a:gd name="T44" fmla="*/ 154 w 300"/>
                  <a:gd name="T45" fmla="*/ 210 h 269"/>
                  <a:gd name="T46" fmla="*/ 146 w 300"/>
                  <a:gd name="T47" fmla="*/ 221 h 269"/>
                  <a:gd name="T48" fmla="*/ 136 w 300"/>
                  <a:gd name="T49" fmla="*/ 237 h 269"/>
                  <a:gd name="T50" fmla="*/ 130 w 300"/>
                  <a:gd name="T51" fmla="*/ 246 h 269"/>
                  <a:gd name="T52" fmla="*/ 127 w 300"/>
                  <a:gd name="T53" fmla="*/ 256 h 269"/>
                  <a:gd name="T54" fmla="*/ 125 w 300"/>
                  <a:gd name="T55" fmla="*/ 265 h 269"/>
                  <a:gd name="T56" fmla="*/ 114 w 300"/>
                  <a:gd name="T57" fmla="*/ 266 h 269"/>
                  <a:gd name="T58" fmla="*/ 104 w 300"/>
                  <a:gd name="T59" fmla="*/ 265 h 269"/>
                  <a:gd name="T60" fmla="*/ 95 w 300"/>
                  <a:gd name="T61" fmla="*/ 267 h 269"/>
                  <a:gd name="T62" fmla="*/ 83 w 300"/>
                  <a:gd name="T63" fmla="*/ 268 h 269"/>
                  <a:gd name="T64" fmla="*/ 76 w 300"/>
                  <a:gd name="T65" fmla="*/ 264 h 269"/>
                  <a:gd name="T66" fmla="*/ 75 w 300"/>
                  <a:gd name="T67" fmla="*/ 256 h 269"/>
                  <a:gd name="T68" fmla="*/ 68 w 300"/>
                  <a:gd name="T69" fmla="*/ 259 h 269"/>
                  <a:gd name="T70" fmla="*/ 72 w 300"/>
                  <a:gd name="T71" fmla="*/ 248 h 269"/>
                  <a:gd name="T72" fmla="*/ 68 w 300"/>
                  <a:gd name="T73" fmla="*/ 241 h 269"/>
                  <a:gd name="T74" fmla="*/ 62 w 300"/>
                  <a:gd name="T75" fmla="*/ 232 h 269"/>
                  <a:gd name="T76" fmla="*/ 51 w 300"/>
                  <a:gd name="T77" fmla="*/ 232 h 269"/>
                  <a:gd name="T78" fmla="*/ 42 w 300"/>
                  <a:gd name="T79" fmla="*/ 237 h 269"/>
                  <a:gd name="T80" fmla="*/ 29 w 300"/>
                  <a:gd name="T81" fmla="*/ 237 h 269"/>
                  <a:gd name="T82" fmla="*/ 21 w 300"/>
                  <a:gd name="T83" fmla="*/ 237 h 269"/>
                  <a:gd name="T84" fmla="*/ 22 w 300"/>
                  <a:gd name="T85" fmla="*/ 231 h 269"/>
                  <a:gd name="T86" fmla="*/ 18 w 300"/>
                  <a:gd name="T87" fmla="*/ 224 h 269"/>
                  <a:gd name="T88" fmla="*/ 15 w 300"/>
                  <a:gd name="T89" fmla="*/ 217 h 269"/>
                  <a:gd name="T90" fmla="*/ 8 w 300"/>
                  <a:gd name="T91" fmla="*/ 214 h 269"/>
                  <a:gd name="T92" fmla="*/ 2 w 300"/>
                  <a:gd name="T93" fmla="*/ 203 h 269"/>
                  <a:gd name="T94" fmla="*/ 3 w 300"/>
                  <a:gd name="T95" fmla="*/ 190 h 2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300" h="269">
                    <a:moveTo>
                      <a:pt x="0" y="188"/>
                    </a:moveTo>
                    <a:lnTo>
                      <a:pt x="4" y="184"/>
                    </a:lnTo>
                    <a:lnTo>
                      <a:pt x="10" y="184"/>
                    </a:lnTo>
                    <a:lnTo>
                      <a:pt x="12" y="180"/>
                    </a:lnTo>
                    <a:lnTo>
                      <a:pt x="12" y="177"/>
                    </a:lnTo>
                    <a:lnTo>
                      <a:pt x="12" y="170"/>
                    </a:lnTo>
                    <a:lnTo>
                      <a:pt x="18" y="169"/>
                    </a:lnTo>
                    <a:lnTo>
                      <a:pt x="22" y="169"/>
                    </a:lnTo>
                    <a:lnTo>
                      <a:pt x="23" y="173"/>
                    </a:lnTo>
                    <a:lnTo>
                      <a:pt x="25" y="179"/>
                    </a:lnTo>
                    <a:lnTo>
                      <a:pt x="27" y="181"/>
                    </a:lnTo>
                    <a:lnTo>
                      <a:pt x="32" y="172"/>
                    </a:lnTo>
                    <a:lnTo>
                      <a:pt x="42" y="168"/>
                    </a:lnTo>
                    <a:lnTo>
                      <a:pt x="46" y="169"/>
                    </a:lnTo>
                    <a:lnTo>
                      <a:pt x="46" y="175"/>
                    </a:lnTo>
                    <a:lnTo>
                      <a:pt x="47" y="177"/>
                    </a:lnTo>
                    <a:lnTo>
                      <a:pt x="51" y="173"/>
                    </a:lnTo>
                    <a:lnTo>
                      <a:pt x="53" y="173"/>
                    </a:lnTo>
                    <a:lnTo>
                      <a:pt x="55" y="176"/>
                    </a:lnTo>
                    <a:lnTo>
                      <a:pt x="57" y="177"/>
                    </a:lnTo>
                    <a:lnTo>
                      <a:pt x="123" y="177"/>
                    </a:lnTo>
                    <a:lnTo>
                      <a:pt x="129" y="160"/>
                    </a:lnTo>
                    <a:lnTo>
                      <a:pt x="123" y="157"/>
                    </a:lnTo>
                    <a:lnTo>
                      <a:pt x="109" y="1"/>
                    </a:lnTo>
                    <a:lnTo>
                      <a:pt x="132" y="0"/>
                    </a:lnTo>
                    <a:lnTo>
                      <a:pt x="252" y="77"/>
                    </a:lnTo>
                    <a:lnTo>
                      <a:pt x="254" y="86"/>
                    </a:lnTo>
                    <a:lnTo>
                      <a:pt x="258" y="90"/>
                    </a:lnTo>
                    <a:lnTo>
                      <a:pt x="264" y="89"/>
                    </a:lnTo>
                    <a:lnTo>
                      <a:pt x="270" y="91"/>
                    </a:lnTo>
                    <a:lnTo>
                      <a:pt x="273" y="94"/>
                    </a:lnTo>
                    <a:lnTo>
                      <a:pt x="278" y="95"/>
                    </a:lnTo>
                    <a:lnTo>
                      <a:pt x="281" y="98"/>
                    </a:lnTo>
                    <a:lnTo>
                      <a:pt x="281" y="101"/>
                    </a:lnTo>
                    <a:lnTo>
                      <a:pt x="279" y="107"/>
                    </a:lnTo>
                    <a:lnTo>
                      <a:pt x="281" y="110"/>
                    </a:lnTo>
                    <a:lnTo>
                      <a:pt x="284" y="112"/>
                    </a:lnTo>
                    <a:lnTo>
                      <a:pt x="293" y="110"/>
                    </a:lnTo>
                    <a:lnTo>
                      <a:pt x="300" y="108"/>
                    </a:lnTo>
                    <a:lnTo>
                      <a:pt x="300" y="108"/>
                    </a:lnTo>
                    <a:lnTo>
                      <a:pt x="299" y="142"/>
                    </a:lnTo>
                    <a:lnTo>
                      <a:pt x="298" y="159"/>
                    </a:lnTo>
                    <a:lnTo>
                      <a:pt x="295" y="160"/>
                    </a:lnTo>
                    <a:lnTo>
                      <a:pt x="294" y="166"/>
                    </a:lnTo>
                    <a:lnTo>
                      <a:pt x="293" y="170"/>
                    </a:lnTo>
                    <a:lnTo>
                      <a:pt x="284" y="175"/>
                    </a:lnTo>
                    <a:lnTo>
                      <a:pt x="279" y="178"/>
                    </a:lnTo>
                    <a:lnTo>
                      <a:pt x="273" y="179"/>
                    </a:lnTo>
                    <a:lnTo>
                      <a:pt x="268" y="181"/>
                    </a:lnTo>
                    <a:lnTo>
                      <a:pt x="264" y="181"/>
                    </a:lnTo>
                    <a:lnTo>
                      <a:pt x="256" y="181"/>
                    </a:lnTo>
                    <a:lnTo>
                      <a:pt x="251" y="183"/>
                    </a:lnTo>
                    <a:lnTo>
                      <a:pt x="247" y="183"/>
                    </a:lnTo>
                    <a:lnTo>
                      <a:pt x="235" y="184"/>
                    </a:lnTo>
                    <a:lnTo>
                      <a:pt x="230" y="183"/>
                    </a:lnTo>
                    <a:lnTo>
                      <a:pt x="230" y="184"/>
                    </a:lnTo>
                    <a:lnTo>
                      <a:pt x="228" y="183"/>
                    </a:lnTo>
                    <a:lnTo>
                      <a:pt x="225" y="183"/>
                    </a:lnTo>
                    <a:lnTo>
                      <a:pt x="219" y="181"/>
                    </a:lnTo>
                    <a:lnTo>
                      <a:pt x="215" y="181"/>
                    </a:lnTo>
                    <a:lnTo>
                      <a:pt x="206" y="183"/>
                    </a:lnTo>
                    <a:lnTo>
                      <a:pt x="200" y="186"/>
                    </a:lnTo>
                    <a:lnTo>
                      <a:pt x="197" y="190"/>
                    </a:lnTo>
                    <a:lnTo>
                      <a:pt x="182" y="198"/>
                    </a:lnTo>
                    <a:lnTo>
                      <a:pt x="172" y="204"/>
                    </a:lnTo>
                    <a:lnTo>
                      <a:pt x="171" y="207"/>
                    </a:lnTo>
                    <a:lnTo>
                      <a:pt x="161" y="210"/>
                    </a:lnTo>
                    <a:lnTo>
                      <a:pt x="158" y="210"/>
                    </a:lnTo>
                    <a:lnTo>
                      <a:pt x="154" y="210"/>
                    </a:lnTo>
                    <a:lnTo>
                      <a:pt x="153" y="212"/>
                    </a:lnTo>
                    <a:lnTo>
                      <a:pt x="150" y="213"/>
                    </a:lnTo>
                    <a:lnTo>
                      <a:pt x="146" y="221"/>
                    </a:lnTo>
                    <a:lnTo>
                      <a:pt x="146" y="223"/>
                    </a:lnTo>
                    <a:lnTo>
                      <a:pt x="142" y="228"/>
                    </a:lnTo>
                    <a:lnTo>
                      <a:pt x="136" y="237"/>
                    </a:lnTo>
                    <a:lnTo>
                      <a:pt x="132" y="241"/>
                    </a:lnTo>
                    <a:lnTo>
                      <a:pt x="129" y="244"/>
                    </a:lnTo>
                    <a:lnTo>
                      <a:pt x="130" y="246"/>
                    </a:lnTo>
                    <a:lnTo>
                      <a:pt x="131" y="251"/>
                    </a:lnTo>
                    <a:lnTo>
                      <a:pt x="127" y="252"/>
                    </a:lnTo>
                    <a:lnTo>
                      <a:pt x="127" y="256"/>
                    </a:lnTo>
                    <a:lnTo>
                      <a:pt x="128" y="259"/>
                    </a:lnTo>
                    <a:lnTo>
                      <a:pt x="127" y="263"/>
                    </a:lnTo>
                    <a:lnTo>
                      <a:pt x="125" y="265"/>
                    </a:lnTo>
                    <a:lnTo>
                      <a:pt x="121" y="269"/>
                    </a:lnTo>
                    <a:lnTo>
                      <a:pt x="115" y="267"/>
                    </a:lnTo>
                    <a:lnTo>
                      <a:pt x="114" y="266"/>
                    </a:lnTo>
                    <a:lnTo>
                      <a:pt x="115" y="265"/>
                    </a:lnTo>
                    <a:lnTo>
                      <a:pt x="111" y="264"/>
                    </a:lnTo>
                    <a:lnTo>
                      <a:pt x="104" y="265"/>
                    </a:lnTo>
                    <a:lnTo>
                      <a:pt x="104" y="267"/>
                    </a:lnTo>
                    <a:lnTo>
                      <a:pt x="103" y="267"/>
                    </a:lnTo>
                    <a:lnTo>
                      <a:pt x="95" y="267"/>
                    </a:lnTo>
                    <a:lnTo>
                      <a:pt x="90" y="266"/>
                    </a:lnTo>
                    <a:lnTo>
                      <a:pt x="89" y="266"/>
                    </a:lnTo>
                    <a:lnTo>
                      <a:pt x="83" y="268"/>
                    </a:lnTo>
                    <a:lnTo>
                      <a:pt x="83" y="266"/>
                    </a:lnTo>
                    <a:lnTo>
                      <a:pt x="81" y="264"/>
                    </a:lnTo>
                    <a:lnTo>
                      <a:pt x="76" y="264"/>
                    </a:lnTo>
                    <a:lnTo>
                      <a:pt x="76" y="262"/>
                    </a:lnTo>
                    <a:lnTo>
                      <a:pt x="75" y="260"/>
                    </a:lnTo>
                    <a:lnTo>
                      <a:pt x="75" y="256"/>
                    </a:lnTo>
                    <a:lnTo>
                      <a:pt x="72" y="256"/>
                    </a:lnTo>
                    <a:lnTo>
                      <a:pt x="70" y="259"/>
                    </a:lnTo>
                    <a:lnTo>
                      <a:pt x="68" y="259"/>
                    </a:lnTo>
                    <a:lnTo>
                      <a:pt x="69" y="254"/>
                    </a:lnTo>
                    <a:lnTo>
                      <a:pt x="72" y="250"/>
                    </a:lnTo>
                    <a:lnTo>
                      <a:pt x="72" y="248"/>
                    </a:lnTo>
                    <a:lnTo>
                      <a:pt x="68" y="246"/>
                    </a:lnTo>
                    <a:lnTo>
                      <a:pt x="67" y="246"/>
                    </a:lnTo>
                    <a:lnTo>
                      <a:pt x="68" y="241"/>
                    </a:lnTo>
                    <a:lnTo>
                      <a:pt x="66" y="237"/>
                    </a:lnTo>
                    <a:lnTo>
                      <a:pt x="62" y="234"/>
                    </a:lnTo>
                    <a:lnTo>
                      <a:pt x="62" y="232"/>
                    </a:lnTo>
                    <a:lnTo>
                      <a:pt x="58" y="233"/>
                    </a:lnTo>
                    <a:lnTo>
                      <a:pt x="56" y="234"/>
                    </a:lnTo>
                    <a:lnTo>
                      <a:pt x="51" y="232"/>
                    </a:lnTo>
                    <a:lnTo>
                      <a:pt x="48" y="232"/>
                    </a:lnTo>
                    <a:lnTo>
                      <a:pt x="45" y="237"/>
                    </a:lnTo>
                    <a:lnTo>
                      <a:pt x="42" y="237"/>
                    </a:lnTo>
                    <a:lnTo>
                      <a:pt x="38" y="240"/>
                    </a:lnTo>
                    <a:lnTo>
                      <a:pt x="34" y="240"/>
                    </a:lnTo>
                    <a:lnTo>
                      <a:pt x="29" y="237"/>
                    </a:lnTo>
                    <a:lnTo>
                      <a:pt x="27" y="236"/>
                    </a:lnTo>
                    <a:lnTo>
                      <a:pt x="23" y="238"/>
                    </a:lnTo>
                    <a:lnTo>
                      <a:pt x="21" y="237"/>
                    </a:lnTo>
                    <a:lnTo>
                      <a:pt x="21" y="237"/>
                    </a:lnTo>
                    <a:lnTo>
                      <a:pt x="22" y="234"/>
                    </a:lnTo>
                    <a:lnTo>
                      <a:pt x="22" y="231"/>
                    </a:lnTo>
                    <a:lnTo>
                      <a:pt x="17" y="229"/>
                    </a:lnTo>
                    <a:lnTo>
                      <a:pt x="17" y="226"/>
                    </a:lnTo>
                    <a:lnTo>
                      <a:pt x="18" y="224"/>
                    </a:lnTo>
                    <a:lnTo>
                      <a:pt x="19" y="222"/>
                    </a:lnTo>
                    <a:lnTo>
                      <a:pt x="16" y="220"/>
                    </a:lnTo>
                    <a:lnTo>
                      <a:pt x="15" y="217"/>
                    </a:lnTo>
                    <a:lnTo>
                      <a:pt x="13" y="215"/>
                    </a:lnTo>
                    <a:lnTo>
                      <a:pt x="11" y="216"/>
                    </a:lnTo>
                    <a:lnTo>
                      <a:pt x="8" y="214"/>
                    </a:lnTo>
                    <a:lnTo>
                      <a:pt x="6" y="209"/>
                    </a:lnTo>
                    <a:lnTo>
                      <a:pt x="3" y="205"/>
                    </a:lnTo>
                    <a:lnTo>
                      <a:pt x="2" y="203"/>
                    </a:lnTo>
                    <a:lnTo>
                      <a:pt x="4" y="196"/>
                    </a:lnTo>
                    <a:lnTo>
                      <a:pt x="3" y="193"/>
                    </a:lnTo>
                    <a:lnTo>
                      <a:pt x="3" y="190"/>
                    </a:lnTo>
                    <a:lnTo>
                      <a:pt x="0" y="188"/>
                    </a:lnTo>
                    <a:lnTo>
                      <a:pt x="0" y="188"/>
                    </a:lnTo>
                    <a:close/>
                  </a:path>
                </a:pathLst>
              </a:custGeom>
              <a:solidFill>
                <a:srgbClr val="65625E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626" name="Freeform 430"/>
              <p:cNvSpPr>
                <a:spLocks/>
              </p:cNvSpPr>
              <p:nvPr userDrawn="1"/>
            </p:nvSpPr>
            <p:spPr bwMode="auto">
              <a:xfrm>
                <a:off x="3314" y="2735"/>
                <a:ext cx="114" cy="115"/>
              </a:xfrm>
              <a:custGeom>
                <a:avLst/>
                <a:gdLst>
                  <a:gd name="T0" fmla="*/ 21 w 114"/>
                  <a:gd name="T1" fmla="*/ 111 h 115"/>
                  <a:gd name="T2" fmla="*/ 20 w 114"/>
                  <a:gd name="T3" fmla="*/ 103 h 115"/>
                  <a:gd name="T4" fmla="*/ 20 w 114"/>
                  <a:gd name="T5" fmla="*/ 97 h 115"/>
                  <a:gd name="T6" fmla="*/ 20 w 114"/>
                  <a:gd name="T7" fmla="*/ 93 h 115"/>
                  <a:gd name="T8" fmla="*/ 22 w 114"/>
                  <a:gd name="T9" fmla="*/ 88 h 115"/>
                  <a:gd name="T10" fmla="*/ 17 w 114"/>
                  <a:gd name="T11" fmla="*/ 86 h 115"/>
                  <a:gd name="T12" fmla="*/ 13 w 114"/>
                  <a:gd name="T13" fmla="*/ 81 h 115"/>
                  <a:gd name="T14" fmla="*/ 8 w 114"/>
                  <a:gd name="T15" fmla="*/ 79 h 115"/>
                  <a:gd name="T16" fmla="*/ 3 w 114"/>
                  <a:gd name="T17" fmla="*/ 80 h 115"/>
                  <a:gd name="T18" fmla="*/ 0 w 114"/>
                  <a:gd name="T19" fmla="*/ 75 h 115"/>
                  <a:gd name="T20" fmla="*/ 5 w 114"/>
                  <a:gd name="T21" fmla="*/ 67 h 115"/>
                  <a:gd name="T22" fmla="*/ 5 w 114"/>
                  <a:gd name="T23" fmla="*/ 61 h 115"/>
                  <a:gd name="T24" fmla="*/ 13 w 114"/>
                  <a:gd name="T25" fmla="*/ 49 h 115"/>
                  <a:gd name="T26" fmla="*/ 12 w 114"/>
                  <a:gd name="T27" fmla="*/ 45 h 115"/>
                  <a:gd name="T28" fmla="*/ 9 w 114"/>
                  <a:gd name="T29" fmla="*/ 38 h 115"/>
                  <a:gd name="T30" fmla="*/ 14 w 114"/>
                  <a:gd name="T31" fmla="*/ 37 h 115"/>
                  <a:gd name="T32" fmla="*/ 12 w 114"/>
                  <a:gd name="T33" fmla="*/ 31 h 115"/>
                  <a:gd name="T34" fmla="*/ 10 w 114"/>
                  <a:gd name="T35" fmla="*/ 24 h 115"/>
                  <a:gd name="T36" fmla="*/ 10 w 114"/>
                  <a:gd name="T37" fmla="*/ 13 h 115"/>
                  <a:gd name="T38" fmla="*/ 8 w 114"/>
                  <a:gd name="T39" fmla="*/ 8 h 115"/>
                  <a:gd name="T40" fmla="*/ 23 w 114"/>
                  <a:gd name="T41" fmla="*/ 3 h 115"/>
                  <a:gd name="T42" fmla="*/ 29 w 114"/>
                  <a:gd name="T43" fmla="*/ 4 h 115"/>
                  <a:gd name="T44" fmla="*/ 38 w 114"/>
                  <a:gd name="T45" fmla="*/ 4 h 115"/>
                  <a:gd name="T46" fmla="*/ 45 w 114"/>
                  <a:gd name="T47" fmla="*/ 1 h 115"/>
                  <a:gd name="T48" fmla="*/ 48 w 114"/>
                  <a:gd name="T49" fmla="*/ 3 h 115"/>
                  <a:gd name="T50" fmla="*/ 55 w 114"/>
                  <a:gd name="T51" fmla="*/ 6 h 115"/>
                  <a:gd name="T52" fmla="*/ 62 w 114"/>
                  <a:gd name="T53" fmla="*/ 0 h 115"/>
                  <a:gd name="T54" fmla="*/ 74 w 114"/>
                  <a:gd name="T55" fmla="*/ 7 h 115"/>
                  <a:gd name="T56" fmla="*/ 79 w 114"/>
                  <a:gd name="T57" fmla="*/ 8 h 115"/>
                  <a:gd name="T58" fmla="*/ 86 w 114"/>
                  <a:gd name="T59" fmla="*/ 10 h 115"/>
                  <a:gd name="T60" fmla="*/ 93 w 114"/>
                  <a:gd name="T61" fmla="*/ 16 h 115"/>
                  <a:gd name="T62" fmla="*/ 101 w 114"/>
                  <a:gd name="T63" fmla="*/ 12 h 115"/>
                  <a:gd name="T64" fmla="*/ 106 w 114"/>
                  <a:gd name="T65" fmla="*/ 14 h 115"/>
                  <a:gd name="T66" fmla="*/ 110 w 114"/>
                  <a:gd name="T67" fmla="*/ 16 h 115"/>
                  <a:gd name="T68" fmla="*/ 110 w 114"/>
                  <a:gd name="T69" fmla="*/ 26 h 115"/>
                  <a:gd name="T70" fmla="*/ 112 w 114"/>
                  <a:gd name="T71" fmla="*/ 31 h 115"/>
                  <a:gd name="T72" fmla="*/ 112 w 114"/>
                  <a:gd name="T73" fmla="*/ 40 h 115"/>
                  <a:gd name="T74" fmla="*/ 110 w 114"/>
                  <a:gd name="T75" fmla="*/ 46 h 115"/>
                  <a:gd name="T76" fmla="*/ 104 w 114"/>
                  <a:gd name="T77" fmla="*/ 57 h 115"/>
                  <a:gd name="T78" fmla="*/ 102 w 114"/>
                  <a:gd name="T79" fmla="*/ 64 h 115"/>
                  <a:gd name="T80" fmla="*/ 101 w 114"/>
                  <a:gd name="T81" fmla="*/ 74 h 115"/>
                  <a:gd name="T82" fmla="*/ 99 w 114"/>
                  <a:gd name="T83" fmla="*/ 77 h 115"/>
                  <a:gd name="T84" fmla="*/ 104 w 114"/>
                  <a:gd name="T85" fmla="*/ 86 h 115"/>
                  <a:gd name="T86" fmla="*/ 109 w 114"/>
                  <a:gd name="T87" fmla="*/ 91 h 115"/>
                  <a:gd name="T88" fmla="*/ 110 w 114"/>
                  <a:gd name="T89" fmla="*/ 99 h 115"/>
                  <a:gd name="T90" fmla="*/ 104 w 114"/>
                  <a:gd name="T91" fmla="*/ 100 h 115"/>
                  <a:gd name="T92" fmla="*/ 100 w 114"/>
                  <a:gd name="T93" fmla="*/ 96 h 115"/>
                  <a:gd name="T94" fmla="*/ 96 w 114"/>
                  <a:gd name="T95" fmla="*/ 102 h 115"/>
                  <a:gd name="T96" fmla="*/ 78 w 114"/>
                  <a:gd name="T97" fmla="*/ 101 h 115"/>
                  <a:gd name="T98" fmla="*/ 46 w 114"/>
                  <a:gd name="T99" fmla="*/ 102 h 115"/>
                  <a:gd name="T100" fmla="*/ 34 w 114"/>
                  <a:gd name="T101" fmla="*/ 108 h 115"/>
                  <a:gd name="T102" fmla="*/ 28 w 114"/>
                  <a:gd name="T103" fmla="*/ 110 h 115"/>
                  <a:gd name="T104" fmla="*/ 21 w 114"/>
                  <a:gd name="T105" fmla="*/ 114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14" h="115">
                    <a:moveTo>
                      <a:pt x="21" y="114"/>
                    </a:moveTo>
                    <a:lnTo>
                      <a:pt x="21" y="111"/>
                    </a:lnTo>
                    <a:lnTo>
                      <a:pt x="19" y="108"/>
                    </a:lnTo>
                    <a:lnTo>
                      <a:pt x="20" y="103"/>
                    </a:lnTo>
                    <a:lnTo>
                      <a:pt x="19" y="101"/>
                    </a:lnTo>
                    <a:lnTo>
                      <a:pt x="20" y="97"/>
                    </a:lnTo>
                    <a:lnTo>
                      <a:pt x="22" y="95"/>
                    </a:lnTo>
                    <a:lnTo>
                      <a:pt x="20" y="93"/>
                    </a:lnTo>
                    <a:lnTo>
                      <a:pt x="23" y="91"/>
                    </a:lnTo>
                    <a:lnTo>
                      <a:pt x="22" y="88"/>
                    </a:lnTo>
                    <a:lnTo>
                      <a:pt x="19" y="88"/>
                    </a:lnTo>
                    <a:lnTo>
                      <a:pt x="17" y="86"/>
                    </a:lnTo>
                    <a:lnTo>
                      <a:pt x="15" y="82"/>
                    </a:lnTo>
                    <a:lnTo>
                      <a:pt x="13" y="81"/>
                    </a:lnTo>
                    <a:lnTo>
                      <a:pt x="10" y="82"/>
                    </a:lnTo>
                    <a:lnTo>
                      <a:pt x="8" y="79"/>
                    </a:lnTo>
                    <a:lnTo>
                      <a:pt x="5" y="79"/>
                    </a:lnTo>
                    <a:lnTo>
                      <a:pt x="3" y="80"/>
                    </a:lnTo>
                    <a:lnTo>
                      <a:pt x="1" y="79"/>
                    </a:lnTo>
                    <a:lnTo>
                      <a:pt x="0" y="75"/>
                    </a:lnTo>
                    <a:lnTo>
                      <a:pt x="2" y="73"/>
                    </a:lnTo>
                    <a:lnTo>
                      <a:pt x="5" y="67"/>
                    </a:lnTo>
                    <a:lnTo>
                      <a:pt x="4" y="63"/>
                    </a:lnTo>
                    <a:lnTo>
                      <a:pt x="5" y="61"/>
                    </a:lnTo>
                    <a:lnTo>
                      <a:pt x="8" y="60"/>
                    </a:lnTo>
                    <a:lnTo>
                      <a:pt x="13" y="49"/>
                    </a:lnTo>
                    <a:lnTo>
                      <a:pt x="14" y="46"/>
                    </a:lnTo>
                    <a:lnTo>
                      <a:pt x="12" y="45"/>
                    </a:lnTo>
                    <a:lnTo>
                      <a:pt x="9" y="41"/>
                    </a:lnTo>
                    <a:lnTo>
                      <a:pt x="9" y="38"/>
                    </a:lnTo>
                    <a:lnTo>
                      <a:pt x="11" y="37"/>
                    </a:lnTo>
                    <a:lnTo>
                      <a:pt x="14" y="37"/>
                    </a:lnTo>
                    <a:lnTo>
                      <a:pt x="15" y="35"/>
                    </a:lnTo>
                    <a:lnTo>
                      <a:pt x="12" y="31"/>
                    </a:lnTo>
                    <a:lnTo>
                      <a:pt x="10" y="30"/>
                    </a:lnTo>
                    <a:lnTo>
                      <a:pt x="10" y="24"/>
                    </a:lnTo>
                    <a:lnTo>
                      <a:pt x="11" y="21"/>
                    </a:lnTo>
                    <a:lnTo>
                      <a:pt x="10" y="13"/>
                    </a:lnTo>
                    <a:lnTo>
                      <a:pt x="8" y="11"/>
                    </a:lnTo>
                    <a:lnTo>
                      <a:pt x="8" y="8"/>
                    </a:lnTo>
                    <a:lnTo>
                      <a:pt x="16" y="6"/>
                    </a:lnTo>
                    <a:lnTo>
                      <a:pt x="23" y="3"/>
                    </a:lnTo>
                    <a:lnTo>
                      <a:pt x="24" y="3"/>
                    </a:lnTo>
                    <a:lnTo>
                      <a:pt x="29" y="4"/>
                    </a:lnTo>
                    <a:lnTo>
                      <a:pt x="37" y="4"/>
                    </a:lnTo>
                    <a:lnTo>
                      <a:pt x="38" y="4"/>
                    </a:lnTo>
                    <a:lnTo>
                      <a:pt x="38" y="2"/>
                    </a:lnTo>
                    <a:lnTo>
                      <a:pt x="45" y="1"/>
                    </a:lnTo>
                    <a:lnTo>
                      <a:pt x="49" y="2"/>
                    </a:lnTo>
                    <a:lnTo>
                      <a:pt x="48" y="3"/>
                    </a:lnTo>
                    <a:lnTo>
                      <a:pt x="49" y="4"/>
                    </a:lnTo>
                    <a:lnTo>
                      <a:pt x="55" y="6"/>
                    </a:lnTo>
                    <a:lnTo>
                      <a:pt x="59" y="2"/>
                    </a:lnTo>
                    <a:lnTo>
                      <a:pt x="62" y="0"/>
                    </a:lnTo>
                    <a:lnTo>
                      <a:pt x="67" y="4"/>
                    </a:lnTo>
                    <a:lnTo>
                      <a:pt x="74" y="7"/>
                    </a:lnTo>
                    <a:lnTo>
                      <a:pt x="76" y="7"/>
                    </a:lnTo>
                    <a:lnTo>
                      <a:pt x="79" y="8"/>
                    </a:lnTo>
                    <a:lnTo>
                      <a:pt x="82" y="8"/>
                    </a:lnTo>
                    <a:lnTo>
                      <a:pt x="86" y="10"/>
                    </a:lnTo>
                    <a:lnTo>
                      <a:pt x="88" y="13"/>
                    </a:lnTo>
                    <a:lnTo>
                      <a:pt x="93" y="16"/>
                    </a:lnTo>
                    <a:lnTo>
                      <a:pt x="97" y="15"/>
                    </a:lnTo>
                    <a:lnTo>
                      <a:pt x="101" y="12"/>
                    </a:lnTo>
                    <a:lnTo>
                      <a:pt x="103" y="13"/>
                    </a:lnTo>
                    <a:lnTo>
                      <a:pt x="106" y="14"/>
                    </a:lnTo>
                    <a:lnTo>
                      <a:pt x="110" y="15"/>
                    </a:lnTo>
                    <a:lnTo>
                      <a:pt x="110" y="16"/>
                    </a:lnTo>
                    <a:lnTo>
                      <a:pt x="109" y="22"/>
                    </a:lnTo>
                    <a:lnTo>
                      <a:pt x="110" y="26"/>
                    </a:lnTo>
                    <a:lnTo>
                      <a:pt x="110" y="28"/>
                    </a:lnTo>
                    <a:lnTo>
                      <a:pt x="112" y="31"/>
                    </a:lnTo>
                    <a:lnTo>
                      <a:pt x="114" y="36"/>
                    </a:lnTo>
                    <a:lnTo>
                      <a:pt x="112" y="40"/>
                    </a:lnTo>
                    <a:lnTo>
                      <a:pt x="112" y="43"/>
                    </a:lnTo>
                    <a:lnTo>
                      <a:pt x="110" y="46"/>
                    </a:lnTo>
                    <a:lnTo>
                      <a:pt x="103" y="53"/>
                    </a:lnTo>
                    <a:lnTo>
                      <a:pt x="104" y="57"/>
                    </a:lnTo>
                    <a:lnTo>
                      <a:pt x="102" y="60"/>
                    </a:lnTo>
                    <a:lnTo>
                      <a:pt x="102" y="64"/>
                    </a:lnTo>
                    <a:lnTo>
                      <a:pt x="100" y="67"/>
                    </a:lnTo>
                    <a:lnTo>
                      <a:pt x="101" y="74"/>
                    </a:lnTo>
                    <a:lnTo>
                      <a:pt x="99" y="75"/>
                    </a:lnTo>
                    <a:lnTo>
                      <a:pt x="99" y="77"/>
                    </a:lnTo>
                    <a:lnTo>
                      <a:pt x="101" y="79"/>
                    </a:lnTo>
                    <a:lnTo>
                      <a:pt x="104" y="86"/>
                    </a:lnTo>
                    <a:lnTo>
                      <a:pt x="104" y="91"/>
                    </a:lnTo>
                    <a:lnTo>
                      <a:pt x="109" y="91"/>
                    </a:lnTo>
                    <a:lnTo>
                      <a:pt x="110" y="94"/>
                    </a:lnTo>
                    <a:lnTo>
                      <a:pt x="110" y="99"/>
                    </a:lnTo>
                    <a:lnTo>
                      <a:pt x="107" y="100"/>
                    </a:lnTo>
                    <a:lnTo>
                      <a:pt x="104" y="100"/>
                    </a:lnTo>
                    <a:lnTo>
                      <a:pt x="103" y="101"/>
                    </a:lnTo>
                    <a:lnTo>
                      <a:pt x="100" y="96"/>
                    </a:lnTo>
                    <a:lnTo>
                      <a:pt x="96" y="97"/>
                    </a:lnTo>
                    <a:lnTo>
                      <a:pt x="96" y="102"/>
                    </a:lnTo>
                    <a:lnTo>
                      <a:pt x="88" y="98"/>
                    </a:lnTo>
                    <a:lnTo>
                      <a:pt x="78" y="101"/>
                    </a:lnTo>
                    <a:lnTo>
                      <a:pt x="54" y="101"/>
                    </a:lnTo>
                    <a:lnTo>
                      <a:pt x="46" y="102"/>
                    </a:lnTo>
                    <a:lnTo>
                      <a:pt x="46" y="104"/>
                    </a:lnTo>
                    <a:lnTo>
                      <a:pt x="34" y="108"/>
                    </a:lnTo>
                    <a:lnTo>
                      <a:pt x="32" y="110"/>
                    </a:lnTo>
                    <a:lnTo>
                      <a:pt x="28" y="110"/>
                    </a:lnTo>
                    <a:lnTo>
                      <a:pt x="23" y="115"/>
                    </a:lnTo>
                    <a:lnTo>
                      <a:pt x="21" y="114"/>
                    </a:lnTo>
                    <a:lnTo>
                      <a:pt x="21" y="114"/>
                    </a:lnTo>
                    <a:close/>
                  </a:path>
                </a:pathLst>
              </a:custGeom>
              <a:solidFill>
                <a:srgbClr val="65625E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627" name="Freeform 431"/>
              <p:cNvSpPr>
                <a:spLocks/>
              </p:cNvSpPr>
              <p:nvPr userDrawn="1"/>
            </p:nvSpPr>
            <p:spPr bwMode="auto">
              <a:xfrm>
                <a:off x="3675" y="3034"/>
                <a:ext cx="230" cy="219"/>
              </a:xfrm>
              <a:custGeom>
                <a:avLst/>
                <a:gdLst>
                  <a:gd name="T0" fmla="*/ 208 w 230"/>
                  <a:gd name="T1" fmla="*/ 206 h 219"/>
                  <a:gd name="T2" fmla="*/ 198 w 230"/>
                  <a:gd name="T3" fmla="*/ 197 h 219"/>
                  <a:gd name="T4" fmla="*/ 189 w 230"/>
                  <a:gd name="T5" fmla="*/ 189 h 219"/>
                  <a:gd name="T6" fmla="*/ 228 w 230"/>
                  <a:gd name="T7" fmla="*/ 126 h 219"/>
                  <a:gd name="T8" fmla="*/ 228 w 230"/>
                  <a:gd name="T9" fmla="*/ 114 h 219"/>
                  <a:gd name="T10" fmla="*/ 228 w 230"/>
                  <a:gd name="T11" fmla="*/ 95 h 219"/>
                  <a:gd name="T12" fmla="*/ 223 w 230"/>
                  <a:gd name="T13" fmla="*/ 94 h 219"/>
                  <a:gd name="T14" fmla="*/ 214 w 230"/>
                  <a:gd name="T15" fmla="*/ 95 h 219"/>
                  <a:gd name="T16" fmla="*/ 202 w 230"/>
                  <a:gd name="T17" fmla="*/ 93 h 219"/>
                  <a:gd name="T18" fmla="*/ 197 w 230"/>
                  <a:gd name="T19" fmla="*/ 95 h 219"/>
                  <a:gd name="T20" fmla="*/ 198 w 230"/>
                  <a:gd name="T21" fmla="*/ 89 h 219"/>
                  <a:gd name="T22" fmla="*/ 197 w 230"/>
                  <a:gd name="T23" fmla="*/ 80 h 219"/>
                  <a:gd name="T24" fmla="*/ 195 w 230"/>
                  <a:gd name="T25" fmla="*/ 72 h 219"/>
                  <a:gd name="T26" fmla="*/ 191 w 230"/>
                  <a:gd name="T27" fmla="*/ 66 h 219"/>
                  <a:gd name="T28" fmla="*/ 188 w 230"/>
                  <a:gd name="T29" fmla="*/ 59 h 219"/>
                  <a:gd name="T30" fmla="*/ 188 w 230"/>
                  <a:gd name="T31" fmla="*/ 46 h 219"/>
                  <a:gd name="T32" fmla="*/ 188 w 230"/>
                  <a:gd name="T33" fmla="*/ 36 h 219"/>
                  <a:gd name="T34" fmla="*/ 190 w 230"/>
                  <a:gd name="T35" fmla="*/ 26 h 219"/>
                  <a:gd name="T36" fmla="*/ 169 w 230"/>
                  <a:gd name="T37" fmla="*/ 18 h 219"/>
                  <a:gd name="T38" fmla="*/ 145 w 230"/>
                  <a:gd name="T39" fmla="*/ 25 h 219"/>
                  <a:gd name="T40" fmla="*/ 142 w 230"/>
                  <a:gd name="T41" fmla="*/ 36 h 219"/>
                  <a:gd name="T42" fmla="*/ 118 w 230"/>
                  <a:gd name="T43" fmla="*/ 38 h 219"/>
                  <a:gd name="T44" fmla="*/ 107 w 230"/>
                  <a:gd name="T45" fmla="*/ 31 h 219"/>
                  <a:gd name="T46" fmla="*/ 101 w 230"/>
                  <a:gd name="T47" fmla="*/ 23 h 219"/>
                  <a:gd name="T48" fmla="*/ 97 w 230"/>
                  <a:gd name="T49" fmla="*/ 11 h 219"/>
                  <a:gd name="T50" fmla="*/ 95 w 230"/>
                  <a:gd name="T51" fmla="*/ 3 h 219"/>
                  <a:gd name="T52" fmla="*/ 64 w 230"/>
                  <a:gd name="T53" fmla="*/ 0 h 219"/>
                  <a:gd name="T54" fmla="*/ 44 w 230"/>
                  <a:gd name="T55" fmla="*/ 0 h 219"/>
                  <a:gd name="T56" fmla="*/ 30 w 230"/>
                  <a:gd name="T57" fmla="*/ 0 h 219"/>
                  <a:gd name="T58" fmla="*/ 22 w 230"/>
                  <a:gd name="T59" fmla="*/ 2 h 219"/>
                  <a:gd name="T60" fmla="*/ 15 w 230"/>
                  <a:gd name="T61" fmla="*/ 6 h 219"/>
                  <a:gd name="T62" fmla="*/ 28 w 230"/>
                  <a:gd name="T63" fmla="*/ 35 h 219"/>
                  <a:gd name="T64" fmla="*/ 29 w 230"/>
                  <a:gd name="T65" fmla="*/ 58 h 219"/>
                  <a:gd name="T66" fmla="*/ 39 w 230"/>
                  <a:gd name="T67" fmla="*/ 85 h 219"/>
                  <a:gd name="T68" fmla="*/ 34 w 230"/>
                  <a:gd name="T69" fmla="*/ 119 h 219"/>
                  <a:gd name="T70" fmla="*/ 13 w 230"/>
                  <a:gd name="T71" fmla="*/ 138 h 219"/>
                  <a:gd name="T72" fmla="*/ 8 w 230"/>
                  <a:gd name="T73" fmla="*/ 165 h 219"/>
                  <a:gd name="T74" fmla="*/ 0 w 230"/>
                  <a:gd name="T75" fmla="*/ 190 h 219"/>
                  <a:gd name="T76" fmla="*/ 0 w 230"/>
                  <a:gd name="T77" fmla="*/ 205 h 219"/>
                  <a:gd name="T78" fmla="*/ 6 w 230"/>
                  <a:gd name="T79" fmla="*/ 204 h 219"/>
                  <a:gd name="T80" fmla="*/ 15 w 230"/>
                  <a:gd name="T81" fmla="*/ 204 h 219"/>
                  <a:gd name="T82" fmla="*/ 27 w 230"/>
                  <a:gd name="T83" fmla="*/ 200 h 219"/>
                  <a:gd name="T84" fmla="*/ 32 w 230"/>
                  <a:gd name="T85" fmla="*/ 200 h 219"/>
                  <a:gd name="T86" fmla="*/ 35 w 230"/>
                  <a:gd name="T87" fmla="*/ 204 h 219"/>
                  <a:gd name="T88" fmla="*/ 48 w 230"/>
                  <a:gd name="T89" fmla="*/ 207 h 219"/>
                  <a:gd name="T90" fmla="*/ 121 w 230"/>
                  <a:gd name="T91" fmla="*/ 206 h 219"/>
                  <a:gd name="T92" fmla="*/ 130 w 230"/>
                  <a:gd name="T93" fmla="*/ 213 h 219"/>
                  <a:gd name="T94" fmla="*/ 139 w 230"/>
                  <a:gd name="T95" fmla="*/ 216 h 219"/>
                  <a:gd name="T96" fmla="*/ 152 w 230"/>
                  <a:gd name="T97" fmla="*/ 216 h 219"/>
                  <a:gd name="T98" fmla="*/ 159 w 230"/>
                  <a:gd name="T99" fmla="*/ 214 h 219"/>
                  <a:gd name="T100" fmla="*/ 170 w 230"/>
                  <a:gd name="T101" fmla="*/ 218 h 219"/>
                  <a:gd name="T102" fmla="*/ 176 w 230"/>
                  <a:gd name="T103" fmla="*/ 218 h 219"/>
                  <a:gd name="T104" fmla="*/ 180 w 230"/>
                  <a:gd name="T105" fmla="*/ 219 h 219"/>
                  <a:gd name="T106" fmla="*/ 214 w 230"/>
                  <a:gd name="T107" fmla="*/ 213 h 2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30" h="219">
                    <a:moveTo>
                      <a:pt x="214" y="213"/>
                    </a:moveTo>
                    <a:lnTo>
                      <a:pt x="213" y="210"/>
                    </a:lnTo>
                    <a:lnTo>
                      <a:pt x="210" y="209"/>
                    </a:lnTo>
                    <a:lnTo>
                      <a:pt x="208" y="206"/>
                    </a:lnTo>
                    <a:lnTo>
                      <a:pt x="207" y="204"/>
                    </a:lnTo>
                    <a:lnTo>
                      <a:pt x="204" y="203"/>
                    </a:lnTo>
                    <a:lnTo>
                      <a:pt x="202" y="202"/>
                    </a:lnTo>
                    <a:lnTo>
                      <a:pt x="198" y="197"/>
                    </a:lnTo>
                    <a:lnTo>
                      <a:pt x="196" y="196"/>
                    </a:lnTo>
                    <a:lnTo>
                      <a:pt x="194" y="194"/>
                    </a:lnTo>
                    <a:lnTo>
                      <a:pt x="192" y="192"/>
                    </a:lnTo>
                    <a:lnTo>
                      <a:pt x="189" y="189"/>
                    </a:lnTo>
                    <a:lnTo>
                      <a:pt x="189" y="186"/>
                    </a:lnTo>
                    <a:lnTo>
                      <a:pt x="190" y="128"/>
                    </a:lnTo>
                    <a:lnTo>
                      <a:pt x="229" y="128"/>
                    </a:lnTo>
                    <a:lnTo>
                      <a:pt x="228" y="126"/>
                    </a:lnTo>
                    <a:lnTo>
                      <a:pt x="229" y="121"/>
                    </a:lnTo>
                    <a:lnTo>
                      <a:pt x="230" y="119"/>
                    </a:lnTo>
                    <a:lnTo>
                      <a:pt x="230" y="116"/>
                    </a:lnTo>
                    <a:lnTo>
                      <a:pt x="228" y="114"/>
                    </a:lnTo>
                    <a:lnTo>
                      <a:pt x="228" y="110"/>
                    </a:lnTo>
                    <a:lnTo>
                      <a:pt x="228" y="103"/>
                    </a:lnTo>
                    <a:lnTo>
                      <a:pt x="227" y="95"/>
                    </a:lnTo>
                    <a:lnTo>
                      <a:pt x="228" y="95"/>
                    </a:lnTo>
                    <a:lnTo>
                      <a:pt x="228" y="93"/>
                    </a:lnTo>
                    <a:lnTo>
                      <a:pt x="228" y="92"/>
                    </a:lnTo>
                    <a:lnTo>
                      <a:pt x="225" y="93"/>
                    </a:lnTo>
                    <a:lnTo>
                      <a:pt x="223" y="94"/>
                    </a:lnTo>
                    <a:lnTo>
                      <a:pt x="219" y="95"/>
                    </a:lnTo>
                    <a:lnTo>
                      <a:pt x="217" y="95"/>
                    </a:lnTo>
                    <a:lnTo>
                      <a:pt x="215" y="95"/>
                    </a:lnTo>
                    <a:lnTo>
                      <a:pt x="214" y="95"/>
                    </a:lnTo>
                    <a:lnTo>
                      <a:pt x="209" y="95"/>
                    </a:lnTo>
                    <a:lnTo>
                      <a:pt x="207" y="95"/>
                    </a:lnTo>
                    <a:lnTo>
                      <a:pt x="204" y="93"/>
                    </a:lnTo>
                    <a:lnTo>
                      <a:pt x="202" y="93"/>
                    </a:lnTo>
                    <a:lnTo>
                      <a:pt x="202" y="94"/>
                    </a:lnTo>
                    <a:lnTo>
                      <a:pt x="200" y="95"/>
                    </a:lnTo>
                    <a:lnTo>
                      <a:pt x="199" y="95"/>
                    </a:lnTo>
                    <a:lnTo>
                      <a:pt x="197" y="95"/>
                    </a:lnTo>
                    <a:lnTo>
                      <a:pt x="196" y="95"/>
                    </a:lnTo>
                    <a:lnTo>
                      <a:pt x="196" y="91"/>
                    </a:lnTo>
                    <a:lnTo>
                      <a:pt x="198" y="90"/>
                    </a:lnTo>
                    <a:lnTo>
                      <a:pt x="198" y="89"/>
                    </a:lnTo>
                    <a:lnTo>
                      <a:pt x="199" y="86"/>
                    </a:lnTo>
                    <a:lnTo>
                      <a:pt x="197" y="85"/>
                    </a:lnTo>
                    <a:lnTo>
                      <a:pt x="196" y="81"/>
                    </a:lnTo>
                    <a:lnTo>
                      <a:pt x="197" y="80"/>
                    </a:lnTo>
                    <a:lnTo>
                      <a:pt x="197" y="78"/>
                    </a:lnTo>
                    <a:lnTo>
                      <a:pt x="194" y="75"/>
                    </a:lnTo>
                    <a:lnTo>
                      <a:pt x="194" y="73"/>
                    </a:lnTo>
                    <a:lnTo>
                      <a:pt x="195" y="72"/>
                    </a:lnTo>
                    <a:lnTo>
                      <a:pt x="195" y="70"/>
                    </a:lnTo>
                    <a:lnTo>
                      <a:pt x="193" y="69"/>
                    </a:lnTo>
                    <a:lnTo>
                      <a:pt x="192" y="67"/>
                    </a:lnTo>
                    <a:lnTo>
                      <a:pt x="191" y="66"/>
                    </a:lnTo>
                    <a:lnTo>
                      <a:pt x="191" y="64"/>
                    </a:lnTo>
                    <a:lnTo>
                      <a:pt x="189" y="62"/>
                    </a:lnTo>
                    <a:lnTo>
                      <a:pt x="189" y="60"/>
                    </a:lnTo>
                    <a:lnTo>
                      <a:pt x="188" y="59"/>
                    </a:lnTo>
                    <a:lnTo>
                      <a:pt x="189" y="55"/>
                    </a:lnTo>
                    <a:lnTo>
                      <a:pt x="189" y="49"/>
                    </a:lnTo>
                    <a:lnTo>
                      <a:pt x="188" y="47"/>
                    </a:lnTo>
                    <a:lnTo>
                      <a:pt x="188" y="46"/>
                    </a:lnTo>
                    <a:lnTo>
                      <a:pt x="189" y="44"/>
                    </a:lnTo>
                    <a:lnTo>
                      <a:pt x="189" y="42"/>
                    </a:lnTo>
                    <a:lnTo>
                      <a:pt x="187" y="39"/>
                    </a:lnTo>
                    <a:lnTo>
                      <a:pt x="188" y="36"/>
                    </a:lnTo>
                    <a:lnTo>
                      <a:pt x="190" y="33"/>
                    </a:lnTo>
                    <a:lnTo>
                      <a:pt x="190" y="30"/>
                    </a:lnTo>
                    <a:lnTo>
                      <a:pt x="190" y="28"/>
                    </a:lnTo>
                    <a:lnTo>
                      <a:pt x="190" y="26"/>
                    </a:lnTo>
                    <a:lnTo>
                      <a:pt x="168" y="24"/>
                    </a:lnTo>
                    <a:lnTo>
                      <a:pt x="168" y="22"/>
                    </a:lnTo>
                    <a:lnTo>
                      <a:pt x="169" y="20"/>
                    </a:lnTo>
                    <a:lnTo>
                      <a:pt x="169" y="18"/>
                    </a:lnTo>
                    <a:lnTo>
                      <a:pt x="163" y="18"/>
                    </a:lnTo>
                    <a:lnTo>
                      <a:pt x="163" y="19"/>
                    </a:lnTo>
                    <a:lnTo>
                      <a:pt x="145" y="20"/>
                    </a:lnTo>
                    <a:lnTo>
                      <a:pt x="145" y="25"/>
                    </a:lnTo>
                    <a:lnTo>
                      <a:pt x="143" y="28"/>
                    </a:lnTo>
                    <a:lnTo>
                      <a:pt x="142" y="29"/>
                    </a:lnTo>
                    <a:lnTo>
                      <a:pt x="142" y="31"/>
                    </a:lnTo>
                    <a:lnTo>
                      <a:pt x="142" y="36"/>
                    </a:lnTo>
                    <a:lnTo>
                      <a:pt x="129" y="37"/>
                    </a:lnTo>
                    <a:lnTo>
                      <a:pt x="126" y="39"/>
                    </a:lnTo>
                    <a:lnTo>
                      <a:pt x="120" y="38"/>
                    </a:lnTo>
                    <a:lnTo>
                      <a:pt x="118" y="38"/>
                    </a:lnTo>
                    <a:lnTo>
                      <a:pt x="115" y="38"/>
                    </a:lnTo>
                    <a:lnTo>
                      <a:pt x="110" y="39"/>
                    </a:lnTo>
                    <a:lnTo>
                      <a:pt x="108" y="37"/>
                    </a:lnTo>
                    <a:lnTo>
                      <a:pt x="107" y="31"/>
                    </a:lnTo>
                    <a:lnTo>
                      <a:pt x="104" y="28"/>
                    </a:lnTo>
                    <a:lnTo>
                      <a:pt x="103" y="26"/>
                    </a:lnTo>
                    <a:lnTo>
                      <a:pt x="101" y="25"/>
                    </a:lnTo>
                    <a:lnTo>
                      <a:pt x="101" y="23"/>
                    </a:lnTo>
                    <a:lnTo>
                      <a:pt x="100" y="21"/>
                    </a:lnTo>
                    <a:lnTo>
                      <a:pt x="99" y="17"/>
                    </a:lnTo>
                    <a:lnTo>
                      <a:pt x="97" y="13"/>
                    </a:lnTo>
                    <a:lnTo>
                      <a:pt x="97" y="11"/>
                    </a:lnTo>
                    <a:lnTo>
                      <a:pt x="98" y="9"/>
                    </a:lnTo>
                    <a:lnTo>
                      <a:pt x="97" y="8"/>
                    </a:lnTo>
                    <a:lnTo>
                      <a:pt x="96" y="6"/>
                    </a:lnTo>
                    <a:lnTo>
                      <a:pt x="95" y="3"/>
                    </a:lnTo>
                    <a:lnTo>
                      <a:pt x="96" y="3"/>
                    </a:lnTo>
                    <a:lnTo>
                      <a:pt x="96" y="0"/>
                    </a:lnTo>
                    <a:lnTo>
                      <a:pt x="77" y="0"/>
                    </a:lnTo>
                    <a:lnTo>
                      <a:pt x="64" y="0"/>
                    </a:lnTo>
                    <a:lnTo>
                      <a:pt x="57" y="0"/>
                    </a:lnTo>
                    <a:lnTo>
                      <a:pt x="51" y="0"/>
                    </a:lnTo>
                    <a:lnTo>
                      <a:pt x="49" y="0"/>
                    </a:lnTo>
                    <a:lnTo>
                      <a:pt x="44" y="0"/>
                    </a:lnTo>
                    <a:lnTo>
                      <a:pt x="39" y="0"/>
                    </a:lnTo>
                    <a:lnTo>
                      <a:pt x="35" y="0"/>
                    </a:lnTo>
                    <a:lnTo>
                      <a:pt x="33" y="0"/>
                    </a:lnTo>
                    <a:lnTo>
                      <a:pt x="30" y="0"/>
                    </a:lnTo>
                    <a:lnTo>
                      <a:pt x="28" y="0"/>
                    </a:lnTo>
                    <a:lnTo>
                      <a:pt x="24" y="1"/>
                    </a:lnTo>
                    <a:lnTo>
                      <a:pt x="23" y="2"/>
                    </a:lnTo>
                    <a:lnTo>
                      <a:pt x="22" y="2"/>
                    </a:lnTo>
                    <a:lnTo>
                      <a:pt x="21" y="3"/>
                    </a:lnTo>
                    <a:lnTo>
                      <a:pt x="21" y="3"/>
                    </a:lnTo>
                    <a:lnTo>
                      <a:pt x="20" y="3"/>
                    </a:lnTo>
                    <a:lnTo>
                      <a:pt x="15" y="6"/>
                    </a:lnTo>
                    <a:lnTo>
                      <a:pt x="17" y="8"/>
                    </a:lnTo>
                    <a:lnTo>
                      <a:pt x="17" y="10"/>
                    </a:lnTo>
                    <a:lnTo>
                      <a:pt x="27" y="21"/>
                    </a:lnTo>
                    <a:lnTo>
                      <a:pt x="28" y="35"/>
                    </a:lnTo>
                    <a:lnTo>
                      <a:pt x="33" y="43"/>
                    </a:lnTo>
                    <a:lnTo>
                      <a:pt x="32" y="50"/>
                    </a:lnTo>
                    <a:lnTo>
                      <a:pt x="27" y="57"/>
                    </a:lnTo>
                    <a:lnTo>
                      <a:pt x="29" y="58"/>
                    </a:lnTo>
                    <a:lnTo>
                      <a:pt x="29" y="65"/>
                    </a:lnTo>
                    <a:lnTo>
                      <a:pt x="32" y="69"/>
                    </a:lnTo>
                    <a:lnTo>
                      <a:pt x="32" y="73"/>
                    </a:lnTo>
                    <a:lnTo>
                      <a:pt x="39" y="85"/>
                    </a:lnTo>
                    <a:lnTo>
                      <a:pt x="39" y="88"/>
                    </a:lnTo>
                    <a:lnTo>
                      <a:pt x="41" y="91"/>
                    </a:lnTo>
                    <a:lnTo>
                      <a:pt x="41" y="106"/>
                    </a:lnTo>
                    <a:lnTo>
                      <a:pt x="34" y="119"/>
                    </a:lnTo>
                    <a:lnTo>
                      <a:pt x="31" y="119"/>
                    </a:lnTo>
                    <a:lnTo>
                      <a:pt x="24" y="125"/>
                    </a:lnTo>
                    <a:lnTo>
                      <a:pt x="24" y="129"/>
                    </a:lnTo>
                    <a:lnTo>
                      <a:pt x="13" y="138"/>
                    </a:lnTo>
                    <a:lnTo>
                      <a:pt x="13" y="144"/>
                    </a:lnTo>
                    <a:lnTo>
                      <a:pt x="11" y="145"/>
                    </a:lnTo>
                    <a:lnTo>
                      <a:pt x="11" y="160"/>
                    </a:lnTo>
                    <a:lnTo>
                      <a:pt x="8" y="165"/>
                    </a:lnTo>
                    <a:lnTo>
                      <a:pt x="6" y="172"/>
                    </a:lnTo>
                    <a:lnTo>
                      <a:pt x="1" y="178"/>
                    </a:lnTo>
                    <a:lnTo>
                      <a:pt x="1" y="184"/>
                    </a:lnTo>
                    <a:lnTo>
                      <a:pt x="0" y="190"/>
                    </a:lnTo>
                    <a:lnTo>
                      <a:pt x="1" y="199"/>
                    </a:lnTo>
                    <a:lnTo>
                      <a:pt x="0" y="203"/>
                    </a:lnTo>
                    <a:lnTo>
                      <a:pt x="0" y="205"/>
                    </a:lnTo>
                    <a:lnTo>
                      <a:pt x="0" y="205"/>
                    </a:lnTo>
                    <a:lnTo>
                      <a:pt x="3" y="206"/>
                    </a:lnTo>
                    <a:lnTo>
                      <a:pt x="4" y="207"/>
                    </a:lnTo>
                    <a:lnTo>
                      <a:pt x="6" y="206"/>
                    </a:lnTo>
                    <a:lnTo>
                      <a:pt x="6" y="204"/>
                    </a:lnTo>
                    <a:lnTo>
                      <a:pt x="7" y="203"/>
                    </a:lnTo>
                    <a:lnTo>
                      <a:pt x="11" y="204"/>
                    </a:lnTo>
                    <a:lnTo>
                      <a:pt x="14" y="205"/>
                    </a:lnTo>
                    <a:lnTo>
                      <a:pt x="15" y="204"/>
                    </a:lnTo>
                    <a:lnTo>
                      <a:pt x="16" y="202"/>
                    </a:lnTo>
                    <a:lnTo>
                      <a:pt x="21" y="199"/>
                    </a:lnTo>
                    <a:lnTo>
                      <a:pt x="24" y="199"/>
                    </a:lnTo>
                    <a:lnTo>
                      <a:pt x="27" y="200"/>
                    </a:lnTo>
                    <a:lnTo>
                      <a:pt x="28" y="201"/>
                    </a:lnTo>
                    <a:lnTo>
                      <a:pt x="29" y="199"/>
                    </a:lnTo>
                    <a:lnTo>
                      <a:pt x="30" y="199"/>
                    </a:lnTo>
                    <a:lnTo>
                      <a:pt x="32" y="200"/>
                    </a:lnTo>
                    <a:lnTo>
                      <a:pt x="32" y="201"/>
                    </a:lnTo>
                    <a:lnTo>
                      <a:pt x="35" y="202"/>
                    </a:lnTo>
                    <a:lnTo>
                      <a:pt x="34" y="203"/>
                    </a:lnTo>
                    <a:lnTo>
                      <a:pt x="35" y="204"/>
                    </a:lnTo>
                    <a:lnTo>
                      <a:pt x="40" y="207"/>
                    </a:lnTo>
                    <a:lnTo>
                      <a:pt x="44" y="209"/>
                    </a:lnTo>
                    <a:lnTo>
                      <a:pt x="47" y="207"/>
                    </a:lnTo>
                    <a:lnTo>
                      <a:pt x="48" y="207"/>
                    </a:lnTo>
                    <a:lnTo>
                      <a:pt x="50" y="205"/>
                    </a:lnTo>
                    <a:lnTo>
                      <a:pt x="51" y="205"/>
                    </a:lnTo>
                    <a:lnTo>
                      <a:pt x="52" y="206"/>
                    </a:lnTo>
                    <a:lnTo>
                      <a:pt x="121" y="206"/>
                    </a:lnTo>
                    <a:lnTo>
                      <a:pt x="123" y="207"/>
                    </a:lnTo>
                    <a:lnTo>
                      <a:pt x="125" y="210"/>
                    </a:lnTo>
                    <a:lnTo>
                      <a:pt x="126" y="212"/>
                    </a:lnTo>
                    <a:lnTo>
                      <a:pt x="130" y="213"/>
                    </a:lnTo>
                    <a:lnTo>
                      <a:pt x="134" y="214"/>
                    </a:lnTo>
                    <a:lnTo>
                      <a:pt x="137" y="214"/>
                    </a:lnTo>
                    <a:lnTo>
                      <a:pt x="138" y="215"/>
                    </a:lnTo>
                    <a:lnTo>
                      <a:pt x="139" y="216"/>
                    </a:lnTo>
                    <a:lnTo>
                      <a:pt x="141" y="217"/>
                    </a:lnTo>
                    <a:lnTo>
                      <a:pt x="144" y="215"/>
                    </a:lnTo>
                    <a:lnTo>
                      <a:pt x="147" y="214"/>
                    </a:lnTo>
                    <a:lnTo>
                      <a:pt x="152" y="216"/>
                    </a:lnTo>
                    <a:lnTo>
                      <a:pt x="155" y="215"/>
                    </a:lnTo>
                    <a:lnTo>
                      <a:pt x="155" y="213"/>
                    </a:lnTo>
                    <a:lnTo>
                      <a:pt x="156" y="214"/>
                    </a:lnTo>
                    <a:lnTo>
                      <a:pt x="159" y="214"/>
                    </a:lnTo>
                    <a:lnTo>
                      <a:pt x="162" y="217"/>
                    </a:lnTo>
                    <a:lnTo>
                      <a:pt x="165" y="219"/>
                    </a:lnTo>
                    <a:lnTo>
                      <a:pt x="169" y="219"/>
                    </a:lnTo>
                    <a:lnTo>
                      <a:pt x="170" y="218"/>
                    </a:lnTo>
                    <a:lnTo>
                      <a:pt x="171" y="217"/>
                    </a:lnTo>
                    <a:lnTo>
                      <a:pt x="173" y="216"/>
                    </a:lnTo>
                    <a:lnTo>
                      <a:pt x="175" y="217"/>
                    </a:lnTo>
                    <a:lnTo>
                      <a:pt x="176" y="218"/>
                    </a:lnTo>
                    <a:lnTo>
                      <a:pt x="178" y="217"/>
                    </a:lnTo>
                    <a:lnTo>
                      <a:pt x="179" y="219"/>
                    </a:lnTo>
                    <a:lnTo>
                      <a:pt x="180" y="219"/>
                    </a:lnTo>
                    <a:lnTo>
                      <a:pt x="180" y="219"/>
                    </a:lnTo>
                    <a:lnTo>
                      <a:pt x="182" y="219"/>
                    </a:lnTo>
                    <a:lnTo>
                      <a:pt x="184" y="219"/>
                    </a:lnTo>
                    <a:lnTo>
                      <a:pt x="185" y="219"/>
                    </a:lnTo>
                    <a:lnTo>
                      <a:pt x="214" y="213"/>
                    </a:lnTo>
                    <a:lnTo>
                      <a:pt x="214" y="213"/>
                    </a:lnTo>
                    <a:close/>
                  </a:path>
                </a:pathLst>
              </a:custGeom>
              <a:solidFill>
                <a:schemeClr val="accent4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628" name="Freeform 432"/>
              <p:cNvSpPr>
                <a:spLocks/>
              </p:cNvSpPr>
              <p:nvPr userDrawn="1"/>
            </p:nvSpPr>
            <p:spPr bwMode="auto">
              <a:xfrm>
                <a:off x="3922" y="3209"/>
                <a:ext cx="145" cy="126"/>
              </a:xfrm>
              <a:custGeom>
                <a:avLst/>
                <a:gdLst>
                  <a:gd name="T0" fmla="*/ 6 w 145"/>
                  <a:gd name="T1" fmla="*/ 39 h 126"/>
                  <a:gd name="T2" fmla="*/ 13 w 145"/>
                  <a:gd name="T3" fmla="*/ 43 h 126"/>
                  <a:gd name="T4" fmla="*/ 22 w 145"/>
                  <a:gd name="T5" fmla="*/ 41 h 126"/>
                  <a:gd name="T6" fmla="*/ 25 w 145"/>
                  <a:gd name="T7" fmla="*/ 41 h 126"/>
                  <a:gd name="T8" fmla="*/ 36 w 145"/>
                  <a:gd name="T9" fmla="*/ 43 h 126"/>
                  <a:gd name="T10" fmla="*/ 61 w 145"/>
                  <a:gd name="T11" fmla="*/ 17 h 126"/>
                  <a:gd name="T12" fmla="*/ 69 w 145"/>
                  <a:gd name="T13" fmla="*/ 13 h 126"/>
                  <a:gd name="T14" fmla="*/ 69 w 145"/>
                  <a:gd name="T15" fmla="*/ 7 h 126"/>
                  <a:gd name="T16" fmla="*/ 79 w 145"/>
                  <a:gd name="T17" fmla="*/ 2 h 126"/>
                  <a:gd name="T18" fmla="*/ 90 w 145"/>
                  <a:gd name="T19" fmla="*/ 0 h 126"/>
                  <a:gd name="T20" fmla="*/ 96 w 145"/>
                  <a:gd name="T21" fmla="*/ 1 h 126"/>
                  <a:gd name="T22" fmla="*/ 99 w 145"/>
                  <a:gd name="T23" fmla="*/ 6 h 126"/>
                  <a:gd name="T24" fmla="*/ 109 w 145"/>
                  <a:gd name="T25" fmla="*/ 9 h 126"/>
                  <a:gd name="T26" fmla="*/ 117 w 145"/>
                  <a:gd name="T27" fmla="*/ 8 h 126"/>
                  <a:gd name="T28" fmla="*/ 129 w 145"/>
                  <a:gd name="T29" fmla="*/ 16 h 126"/>
                  <a:gd name="T30" fmla="*/ 140 w 145"/>
                  <a:gd name="T31" fmla="*/ 21 h 126"/>
                  <a:gd name="T32" fmla="*/ 143 w 145"/>
                  <a:gd name="T33" fmla="*/ 28 h 126"/>
                  <a:gd name="T34" fmla="*/ 143 w 145"/>
                  <a:gd name="T35" fmla="*/ 34 h 126"/>
                  <a:gd name="T36" fmla="*/ 141 w 145"/>
                  <a:gd name="T37" fmla="*/ 45 h 126"/>
                  <a:gd name="T38" fmla="*/ 144 w 145"/>
                  <a:gd name="T39" fmla="*/ 49 h 126"/>
                  <a:gd name="T40" fmla="*/ 140 w 145"/>
                  <a:gd name="T41" fmla="*/ 56 h 126"/>
                  <a:gd name="T42" fmla="*/ 137 w 145"/>
                  <a:gd name="T43" fmla="*/ 63 h 126"/>
                  <a:gd name="T44" fmla="*/ 139 w 145"/>
                  <a:gd name="T45" fmla="*/ 70 h 126"/>
                  <a:gd name="T46" fmla="*/ 142 w 145"/>
                  <a:gd name="T47" fmla="*/ 77 h 126"/>
                  <a:gd name="T48" fmla="*/ 134 w 145"/>
                  <a:gd name="T49" fmla="*/ 85 h 126"/>
                  <a:gd name="T50" fmla="*/ 132 w 145"/>
                  <a:gd name="T51" fmla="*/ 91 h 126"/>
                  <a:gd name="T52" fmla="*/ 130 w 145"/>
                  <a:gd name="T53" fmla="*/ 100 h 126"/>
                  <a:gd name="T54" fmla="*/ 106 w 145"/>
                  <a:gd name="T55" fmla="*/ 123 h 126"/>
                  <a:gd name="T56" fmla="*/ 93 w 145"/>
                  <a:gd name="T57" fmla="*/ 124 h 126"/>
                  <a:gd name="T58" fmla="*/ 84 w 145"/>
                  <a:gd name="T59" fmla="*/ 121 h 126"/>
                  <a:gd name="T60" fmla="*/ 73 w 145"/>
                  <a:gd name="T61" fmla="*/ 119 h 126"/>
                  <a:gd name="T62" fmla="*/ 70 w 145"/>
                  <a:gd name="T63" fmla="*/ 114 h 126"/>
                  <a:gd name="T64" fmla="*/ 62 w 145"/>
                  <a:gd name="T65" fmla="*/ 110 h 126"/>
                  <a:gd name="T66" fmla="*/ 53 w 145"/>
                  <a:gd name="T67" fmla="*/ 110 h 126"/>
                  <a:gd name="T68" fmla="*/ 44 w 145"/>
                  <a:gd name="T69" fmla="*/ 103 h 126"/>
                  <a:gd name="T70" fmla="*/ 41 w 145"/>
                  <a:gd name="T71" fmla="*/ 93 h 126"/>
                  <a:gd name="T72" fmla="*/ 37 w 145"/>
                  <a:gd name="T73" fmla="*/ 88 h 126"/>
                  <a:gd name="T74" fmla="*/ 36 w 145"/>
                  <a:gd name="T75" fmla="*/ 84 h 126"/>
                  <a:gd name="T76" fmla="*/ 28 w 145"/>
                  <a:gd name="T77" fmla="*/ 78 h 126"/>
                  <a:gd name="T78" fmla="*/ 19 w 145"/>
                  <a:gd name="T79" fmla="*/ 66 h 126"/>
                  <a:gd name="T80" fmla="*/ 15 w 145"/>
                  <a:gd name="T81" fmla="*/ 62 h 126"/>
                  <a:gd name="T82" fmla="*/ 10 w 145"/>
                  <a:gd name="T83" fmla="*/ 54 h 126"/>
                  <a:gd name="T84" fmla="*/ 7 w 145"/>
                  <a:gd name="T85" fmla="*/ 50 h 126"/>
                  <a:gd name="T86" fmla="*/ 1 w 145"/>
                  <a:gd name="T87" fmla="*/ 45 h 126"/>
                  <a:gd name="T88" fmla="*/ 1 w 145"/>
                  <a:gd name="T89" fmla="*/ 40 h 126"/>
                  <a:gd name="T90" fmla="*/ 0 w 145"/>
                  <a:gd name="T91" fmla="*/ 39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45" h="126">
                    <a:moveTo>
                      <a:pt x="0" y="39"/>
                    </a:moveTo>
                    <a:lnTo>
                      <a:pt x="2" y="39"/>
                    </a:lnTo>
                    <a:lnTo>
                      <a:pt x="6" y="39"/>
                    </a:lnTo>
                    <a:lnTo>
                      <a:pt x="10" y="41"/>
                    </a:lnTo>
                    <a:lnTo>
                      <a:pt x="12" y="43"/>
                    </a:lnTo>
                    <a:lnTo>
                      <a:pt x="13" y="43"/>
                    </a:lnTo>
                    <a:lnTo>
                      <a:pt x="17" y="40"/>
                    </a:lnTo>
                    <a:lnTo>
                      <a:pt x="20" y="40"/>
                    </a:lnTo>
                    <a:lnTo>
                      <a:pt x="22" y="41"/>
                    </a:lnTo>
                    <a:lnTo>
                      <a:pt x="23" y="41"/>
                    </a:lnTo>
                    <a:lnTo>
                      <a:pt x="24" y="41"/>
                    </a:lnTo>
                    <a:lnTo>
                      <a:pt x="25" y="41"/>
                    </a:lnTo>
                    <a:lnTo>
                      <a:pt x="27" y="43"/>
                    </a:lnTo>
                    <a:lnTo>
                      <a:pt x="31" y="44"/>
                    </a:lnTo>
                    <a:lnTo>
                      <a:pt x="36" y="43"/>
                    </a:lnTo>
                    <a:lnTo>
                      <a:pt x="41" y="35"/>
                    </a:lnTo>
                    <a:lnTo>
                      <a:pt x="50" y="25"/>
                    </a:lnTo>
                    <a:lnTo>
                      <a:pt x="61" y="17"/>
                    </a:lnTo>
                    <a:lnTo>
                      <a:pt x="67" y="15"/>
                    </a:lnTo>
                    <a:lnTo>
                      <a:pt x="68" y="14"/>
                    </a:lnTo>
                    <a:lnTo>
                      <a:pt x="69" y="13"/>
                    </a:lnTo>
                    <a:lnTo>
                      <a:pt x="68" y="11"/>
                    </a:lnTo>
                    <a:lnTo>
                      <a:pt x="69" y="9"/>
                    </a:lnTo>
                    <a:lnTo>
                      <a:pt x="69" y="7"/>
                    </a:lnTo>
                    <a:lnTo>
                      <a:pt x="70" y="6"/>
                    </a:lnTo>
                    <a:lnTo>
                      <a:pt x="76" y="3"/>
                    </a:lnTo>
                    <a:lnTo>
                      <a:pt x="79" y="2"/>
                    </a:lnTo>
                    <a:lnTo>
                      <a:pt x="81" y="1"/>
                    </a:lnTo>
                    <a:lnTo>
                      <a:pt x="84" y="0"/>
                    </a:lnTo>
                    <a:lnTo>
                      <a:pt x="90" y="0"/>
                    </a:lnTo>
                    <a:lnTo>
                      <a:pt x="90" y="1"/>
                    </a:lnTo>
                    <a:lnTo>
                      <a:pt x="92" y="0"/>
                    </a:lnTo>
                    <a:lnTo>
                      <a:pt x="96" y="1"/>
                    </a:lnTo>
                    <a:lnTo>
                      <a:pt x="98" y="1"/>
                    </a:lnTo>
                    <a:lnTo>
                      <a:pt x="99" y="1"/>
                    </a:lnTo>
                    <a:lnTo>
                      <a:pt x="99" y="6"/>
                    </a:lnTo>
                    <a:lnTo>
                      <a:pt x="105" y="7"/>
                    </a:lnTo>
                    <a:lnTo>
                      <a:pt x="108" y="7"/>
                    </a:lnTo>
                    <a:lnTo>
                      <a:pt x="109" y="9"/>
                    </a:lnTo>
                    <a:lnTo>
                      <a:pt x="111" y="9"/>
                    </a:lnTo>
                    <a:lnTo>
                      <a:pt x="112" y="7"/>
                    </a:lnTo>
                    <a:lnTo>
                      <a:pt x="117" y="8"/>
                    </a:lnTo>
                    <a:lnTo>
                      <a:pt x="123" y="11"/>
                    </a:lnTo>
                    <a:lnTo>
                      <a:pt x="126" y="15"/>
                    </a:lnTo>
                    <a:lnTo>
                      <a:pt x="129" y="16"/>
                    </a:lnTo>
                    <a:lnTo>
                      <a:pt x="135" y="16"/>
                    </a:lnTo>
                    <a:lnTo>
                      <a:pt x="138" y="19"/>
                    </a:lnTo>
                    <a:lnTo>
                      <a:pt x="140" y="21"/>
                    </a:lnTo>
                    <a:lnTo>
                      <a:pt x="144" y="22"/>
                    </a:lnTo>
                    <a:lnTo>
                      <a:pt x="145" y="25"/>
                    </a:lnTo>
                    <a:lnTo>
                      <a:pt x="143" y="28"/>
                    </a:lnTo>
                    <a:lnTo>
                      <a:pt x="143" y="29"/>
                    </a:lnTo>
                    <a:lnTo>
                      <a:pt x="143" y="32"/>
                    </a:lnTo>
                    <a:lnTo>
                      <a:pt x="143" y="34"/>
                    </a:lnTo>
                    <a:lnTo>
                      <a:pt x="143" y="37"/>
                    </a:lnTo>
                    <a:lnTo>
                      <a:pt x="142" y="39"/>
                    </a:lnTo>
                    <a:lnTo>
                      <a:pt x="141" y="45"/>
                    </a:lnTo>
                    <a:lnTo>
                      <a:pt x="139" y="48"/>
                    </a:lnTo>
                    <a:lnTo>
                      <a:pt x="141" y="50"/>
                    </a:lnTo>
                    <a:lnTo>
                      <a:pt x="144" y="49"/>
                    </a:lnTo>
                    <a:lnTo>
                      <a:pt x="142" y="51"/>
                    </a:lnTo>
                    <a:lnTo>
                      <a:pt x="140" y="53"/>
                    </a:lnTo>
                    <a:lnTo>
                      <a:pt x="140" y="56"/>
                    </a:lnTo>
                    <a:lnTo>
                      <a:pt x="139" y="60"/>
                    </a:lnTo>
                    <a:lnTo>
                      <a:pt x="137" y="61"/>
                    </a:lnTo>
                    <a:lnTo>
                      <a:pt x="137" y="63"/>
                    </a:lnTo>
                    <a:lnTo>
                      <a:pt x="140" y="66"/>
                    </a:lnTo>
                    <a:lnTo>
                      <a:pt x="141" y="69"/>
                    </a:lnTo>
                    <a:lnTo>
                      <a:pt x="139" y="70"/>
                    </a:lnTo>
                    <a:lnTo>
                      <a:pt x="139" y="73"/>
                    </a:lnTo>
                    <a:lnTo>
                      <a:pt x="141" y="74"/>
                    </a:lnTo>
                    <a:lnTo>
                      <a:pt x="142" y="77"/>
                    </a:lnTo>
                    <a:lnTo>
                      <a:pt x="139" y="80"/>
                    </a:lnTo>
                    <a:lnTo>
                      <a:pt x="136" y="83"/>
                    </a:lnTo>
                    <a:lnTo>
                      <a:pt x="134" y="85"/>
                    </a:lnTo>
                    <a:lnTo>
                      <a:pt x="132" y="86"/>
                    </a:lnTo>
                    <a:lnTo>
                      <a:pt x="131" y="88"/>
                    </a:lnTo>
                    <a:lnTo>
                      <a:pt x="132" y="91"/>
                    </a:lnTo>
                    <a:lnTo>
                      <a:pt x="131" y="93"/>
                    </a:lnTo>
                    <a:lnTo>
                      <a:pt x="131" y="98"/>
                    </a:lnTo>
                    <a:lnTo>
                      <a:pt x="130" y="100"/>
                    </a:lnTo>
                    <a:lnTo>
                      <a:pt x="130" y="107"/>
                    </a:lnTo>
                    <a:lnTo>
                      <a:pt x="109" y="126"/>
                    </a:lnTo>
                    <a:lnTo>
                      <a:pt x="106" y="123"/>
                    </a:lnTo>
                    <a:lnTo>
                      <a:pt x="101" y="122"/>
                    </a:lnTo>
                    <a:lnTo>
                      <a:pt x="96" y="123"/>
                    </a:lnTo>
                    <a:lnTo>
                      <a:pt x="93" y="124"/>
                    </a:lnTo>
                    <a:lnTo>
                      <a:pt x="91" y="123"/>
                    </a:lnTo>
                    <a:lnTo>
                      <a:pt x="87" y="121"/>
                    </a:lnTo>
                    <a:lnTo>
                      <a:pt x="84" y="121"/>
                    </a:lnTo>
                    <a:lnTo>
                      <a:pt x="84" y="119"/>
                    </a:lnTo>
                    <a:lnTo>
                      <a:pt x="80" y="118"/>
                    </a:lnTo>
                    <a:lnTo>
                      <a:pt x="73" y="119"/>
                    </a:lnTo>
                    <a:lnTo>
                      <a:pt x="72" y="117"/>
                    </a:lnTo>
                    <a:lnTo>
                      <a:pt x="70" y="115"/>
                    </a:lnTo>
                    <a:lnTo>
                      <a:pt x="70" y="114"/>
                    </a:lnTo>
                    <a:lnTo>
                      <a:pt x="68" y="113"/>
                    </a:lnTo>
                    <a:lnTo>
                      <a:pt x="66" y="113"/>
                    </a:lnTo>
                    <a:lnTo>
                      <a:pt x="62" y="110"/>
                    </a:lnTo>
                    <a:lnTo>
                      <a:pt x="61" y="110"/>
                    </a:lnTo>
                    <a:lnTo>
                      <a:pt x="56" y="109"/>
                    </a:lnTo>
                    <a:lnTo>
                      <a:pt x="53" y="110"/>
                    </a:lnTo>
                    <a:lnTo>
                      <a:pt x="49" y="109"/>
                    </a:lnTo>
                    <a:lnTo>
                      <a:pt x="47" y="106"/>
                    </a:lnTo>
                    <a:lnTo>
                      <a:pt x="44" y="103"/>
                    </a:lnTo>
                    <a:lnTo>
                      <a:pt x="42" y="100"/>
                    </a:lnTo>
                    <a:lnTo>
                      <a:pt x="42" y="97"/>
                    </a:lnTo>
                    <a:lnTo>
                      <a:pt x="41" y="93"/>
                    </a:lnTo>
                    <a:lnTo>
                      <a:pt x="42" y="91"/>
                    </a:lnTo>
                    <a:lnTo>
                      <a:pt x="40" y="89"/>
                    </a:lnTo>
                    <a:lnTo>
                      <a:pt x="37" y="88"/>
                    </a:lnTo>
                    <a:lnTo>
                      <a:pt x="36" y="86"/>
                    </a:lnTo>
                    <a:lnTo>
                      <a:pt x="36" y="85"/>
                    </a:lnTo>
                    <a:lnTo>
                      <a:pt x="36" y="84"/>
                    </a:lnTo>
                    <a:lnTo>
                      <a:pt x="34" y="82"/>
                    </a:lnTo>
                    <a:lnTo>
                      <a:pt x="32" y="81"/>
                    </a:lnTo>
                    <a:lnTo>
                      <a:pt x="28" y="78"/>
                    </a:lnTo>
                    <a:lnTo>
                      <a:pt x="25" y="76"/>
                    </a:lnTo>
                    <a:lnTo>
                      <a:pt x="19" y="69"/>
                    </a:lnTo>
                    <a:lnTo>
                      <a:pt x="19" y="66"/>
                    </a:lnTo>
                    <a:lnTo>
                      <a:pt x="18" y="67"/>
                    </a:lnTo>
                    <a:lnTo>
                      <a:pt x="16" y="65"/>
                    </a:lnTo>
                    <a:lnTo>
                      <a:pt x="15" y="62"/>
                    </a:lnTo>
                    <a:lnTo>
                      <a:pt x="13" y="60"/>
                    </a:lnTo>
                    <a:lnTo>
                      <a:pt x="12" y="57"/>
                    </a:lnTo>
                    <a:lnTo>
                      <a:pt x="10" y="54"/>
                    </a:lnTo>
                    <a:lnTo>
                      <a:pt x="9" y="53"/>
                    </a:lnTo>
                    <a:lnTo>
                      <a:pt x="9" y="51"/>
                    </a:lnTo>
                    <a:lnTo>
                      <a:pt x="7" y="50"/>
                    </a:lnTo>
                    <a:lnTo>
                      <a:pt x="5" y="49"/>
                    </a:lnTo>
                    <a:lnTo>
                      <a:pt x="3" y="47"/>
                    </a:lnTo>
                    <a:lnTo>
                      <a:pt x="1" y="45"/>
                    </a:lnTo>
                    <a:lnTo>
                      <a:pt x="0" y="43"/>
                    </a:lnTo>
                    <a:lnTo>
                      <a:pt x="0" y="42"/>
                    </a:lnTo>
                    <a:lnTo>
                      <a:pt x="1" y="40"/>
                    </a:lnTo>
                    <a:lnTo>
                      <a:pt x="0" y="39"/>
                    </a:lnTo>
                    <a:lnTo>
                      <a:pt x="0" y="39"/>
                    </a:lnTo>
                    <a:lnTo>
                      <a:pt x="0" y="39"/>
                    </a:lnTo>
                    <a:lnTo>
                      <a:pt x="0" y="39"/>
                    </a:lnTo>
                    <a:close/>
                  </a:path>
                </a:pathLst>
              </a:custGeom>
              <a:solidFill>
                <a:schemeClr val="accent4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629" name="Freeform 433"/>
              <p:cNvSpPr>
                <a:spLocks/>
              </p:cNvSpPr>
              <p:nvPr userDrawn="1"/>
            </p:nvSpPr>
            <p:spPr bwMode="auto">
              <a:xfrm>
                <a:off x="3823" y="3248"/>
                <a:ext cx="172" cy="165"/>
              </a:xfrm>
              <a:custGeom>
                <a:avLst/>
                <a:gdLst>
                  <a:gd name="T0" fmla="*/ 99 w 172"/>
                  <a:gd name="T1" fmla="*/ 3 h 165"/>
                  <a:gd name="T2" fmla="*/ 102 w 172"/>
                  <a:gd name="T3" fmla="*/ 8 h 165"/>
                  <a:gd name="T4" fmla="*/ 108 w 172"/>
                  <a:gd name="T5" fmla="*/ 12 h 165"/>
                  <a:gd name="T6" fmla="*/ 111 w 172"/>
                  <a:gd name="T7" fmla="*/ 18 h 165"/>
                  <a:gd name="T8" fmla="*/ 115 w 172"/>
                  <a:gd name="T9" fmla="*/ 26 h 165"/>
                  <a:gd name="T10" fmla="*/ 118 w 172"/>
                  <a:gd name="T11" fmla="*/ 30 h 165"/>
                  <a:gd name="T12" fmla="*/ 131 w 172"/>
                  <a:gd name="T13" fmla="*/ 42 h 165"/>
                  <a:gd name="T14" fmla="*/ 135 w 172"/>
                  <a:gd name="T15" fmla="*/ 46 h 165"/>
                  <a:gd name="T16" fmla="*/ 139 w 172"/>
                  <a:gd name="T17" fmla="*/ 50 h 165"/>
                  <a:gd name="T18" fmla="*/ 141 w 172"/>
                  <a:gd name="T19" fmla="*/ 58 h 165"/>
                  <a:gd name="T20" fmla="*/ 146 w 172"/>
                  <a:gd name="T21" fmla="*/ 67 h 165"/>
                  <a:gd name="T22" fmla="*/ 155 w 172"/>
                  <a:gd name="T23" fmla="*/ 70 h 165"/>
                  <a:gd name="T24" fmla="*/ 165 w 172"/>
                  <a:gd name="T25" fmla="*/ 74 h 165"/>
                  <a:gd name="T26" fmla="*/ 169 w 172"/>
                  <a:gd name="T27" fmla="*/ 76 h 165"/>
                  <a:gd name="T28" fmla="*/ 170 w 172"/>
                  <a:gd name="T29" fmla="*/ 80 h 165"/>
                  <a:gd name="T30" fmla="*/ 163 w 172"/>
                  <a:gd name="T31" fmla="*/ 83 h 165"/>
                  <a:gd name="T32" fmla="*/ 160 w 172"/>
                  <a:gd name="T33" fmla="*/ 89 h 165"/>
                  <a:gd name="T34" fmla="*/ 153 w 172"/>
                  <a:gd name="T35" fmla="*/ 91 h 165"/>
                  <a:gd name="T36" fmla="*/ 143 w 172"/>
                  <a:gd name="T37" fmla="*/ 95 h 165"/>
                  <a:gd name="T38" fmla="*/ 139 w 172"/>
                  <a:gd name="T39" fmla="*/ 99 h 165"/>
                  <a:gd name="T40" fmla="*/ 133 w 172"/>
                  <a:gd name="T41" fmla="*/ 102 h 165"/>
                  <a:gd name="T42" fmla="*/ 124 w 172"/>
                  <a:gd name="T43" fmla="*/ 114 h 165"/>
                  <a:gd name="T44" fmla="*/ 123 w 172"/>
                  <a:gd name="T45" fmla="*/ 119 h 165"/>
                  <a:gd name="T46" fmla="*/ 118 w 172"/>
                  <a:gd name="T47" fmla="*/ 122 h 165"/>
                  <a:gd name="T48" fmla="*/ 114 w 172"/>
                  <a:gd name="T49" fmla="*/ 127 h 165"/>
                  <a:gd name="T50" fmla="*/ 105 w 172"/>
                  <a:gd name="T51" fmla="*/ 130 h 165"/>
                  <a:gd name="T52" fmla="*/ 102 w 172"/>
                  <a:gd name="T53" fmla="*/ 140 h 165"/>
                  <a:gd name="T54" fmla="*/ 102 w 172"/>
                  <a:gd name="T55" fmla="*/ 146 h 165"/>
                  <a:gd name="T56" fmla="*/ 95 w 172"/>
                  <a:gd name="T57" fmla="*/ 146 h 165"/>
                  <a:gd name="T58" fmla="*/ 83 w 172"/>
                  <a:gd name="T59" fmla="*/ 147 h 165"/>
                  <a:gd name="T60" fmla="*/ 71 w 172"/>
                  <a:gd name="T61" fmla="*/ 143 h 165"/>
                  <a:gd name="T62" fmla="*/ 60 w 172"/>
                  <a:gd name="T63" fmla="*/ 140 h 165"/>
                  <a:gd name="T64" fmla="*/ 48 w 172"/>
                  <a:gd name="T65" fmla="*/ 152 h 165"/>
                  <a:gd name="T66" fmla="*/ 37 w 172"/>
                  <a:gd name="T67" fmla="*/ 160 h 165"/>
                  <a:gd name="T68" fmla="*/ 27 w 172"/>
                  <a:gd name="T69" fmla="*/ 165 h 165"/>
                  <a:gd name="T70" fmla="*/ 14 w 172"/>
                  <a:gd name="T71" fmla="*/ 164 h 165"/>
                  <a:gd name="T72" fmla="*/ 12 w 172"/>
                  <a:gd name="T73" fmla="*/ 157 h 165"/>
                  <a:gd name="T74" fmla="*/ 6 w 172"/>
                  <a:gd name="T75" fmla="*/ 137 h 165"/>
                  <a:gd name="T76" fmla="*/ 0 w 172"/>
                  <a:gd name="T77" fmla="*/ 132 h 165"/>
                  <a:gd name="T78" fmla="*/ 19 w 172"/>
                  <a:gd name="T79" fmla="*/ 76 h 165"/>
                  <a:gd name="T80" fmla="*/ 54 w 172"/>
                  <a:gd name="T81" fmla="*/ 9 h 165"/>
                  <a:gd name="T82" fmla="*/ 63 w 172"/>
                  <a:gd name="T83" fmla="*/ 7 h 165"/>
                  <a:gd name="T84" fmla="*/ 66 w 172"/>
                  <a:gd name="T85" fmla="*/ 11 h 165"/>
                  <a:gd name="T86" fmla="*/ 67 w 172"/>
                  <a:gd name="T87" fmla="*/ 15 h 165"/>
                  <a:gd name="T88" fmla="*/ 79 w 172"/>
                  <a:gd name="T89" fmla="*/ 3 h 165"/>
                  <a:gd name="T90" fmla="*/ 87 w 172"/>
                  <a:gd name="T91" fmla="*/ 5 h 165"/>
                  <a:gd name="T92" fmla="*/ 99 w 172"/>
                  <a:gd name="T93" fmla="*/ 0 h 165"/>
                  <a:gd name="T94" fmla="*/ 99 w 172"/>
                  <a:gd name="T95" fmla="*/ 0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72" h="165">
                    <a:moveTo>
                      <a:pt x="99" y="0"/>
                    </a:moveTo>
                    <a:lnTo>
                      <a:pt x="100" y="1"/>
                    </a:lnTo>
                    <a:lnTo>
                      <a:pt x="99" y="3"/>
                    </a:lnTo>
                    <a:lnTo>
                      <a:pt x="99" y="4"/>
                    </a:lnTo>
                    <a:lnTo>
                      <a:pt x="100" y="6"/>
                    </a:lnTo>
                    <a:lnTo>
                      <a:pt x="102" y="8"/>
                    </a:lnTo>
                    <a:lnTo>
                      <a:pt x="104" y="10"/>
                    </a:lnTo>
                    <a:lnTo>
                      <a:pt x="106" y="11"/>
                    </a:lnTo>
                    <a:lnTo>
                      <a:pt x="108" y="12"/>
                    </a:lnTo>
                    <a:lnTo>
                      <a:pt x="108" y="14"/>
                    </a:lnTo>
                    <a:lnTo>
                      <a:pt x="109" y="15"/>
                    </a:lnTo>
                    <a:lnTo>
                      <a:pt x="111" y="18"/>
                    </a:lnTo>
                    <a:lnTo>
                      <a:pt x="112" y="21"/>
                    </a:lnTo>
                    <a:lnTo>
                      <a:pt x="114" y="23"/>
                    </a:lnTo>
                    <a:lnTo>
                      <a:pt x="115" y="26"/>
                    </a:lnTo>
                    <a:lnTo>
                      <a:pt x="117" y="28"/>
                    </a:lnTo>
                    <a:lnTo>
                      <a:pt x="118" y="27"/>
                    </a:lnTo>
                    <a:lnTo>
                      <a:pt x="118" y="30"/>
                    </a:lnTo>
                    <a:lnTo>
                      <a:pt x="124" y="37"/>
                    </a:lnTo>
                    <a:lnTo>
                      <a:pt x="127" y="39"/>
                    </a:lnTo>
                    <a:lnTo>
                      <a:pt x="131" y="42"/>
                    </a:lnTo>
                    <a:lnTo>
                      <a:pt x="133" y="43"/>
                    </a:lnTo>
                    <a:lnTo>
                      <a:pt x="135" y="45"/>
                    </a:lnTo>
                    <a:lnTo>
                      <a:pt x="135" y="46"/>
                    </a:lnTo>
                    <a:lnTo>
                      <a:pt x="135" y="47"/>
                    </a:lnTo>
                    <a:lnTo>
                      <a:pt x="136" y="49"/>
                    </a:lnTo>
                    <a:lnTo>
                      <a:pt x="139" y="50"/>
                    </a:lnTo>
                    <a:lnTo>
                      <a:pt x="141" y="52"/>
                    </a:lnTo>
                    <a:lnTo>
                      <a:pt x="140" y="54"/>
                    </a:lnTo>
                    <a:lnTo>
                      <a:pt x="141" y="58"/>
                    </a:lnTo>
                    <a:lnTo>
                      <a:pt x="141" y="61"/>
                    </a:lnTo>
                    <a:lnTo>
                      <a:pt x="143" y="64"/>
                    </a:lnTo>
                    <a:lnTo>
                      <a:pt x="146" y="67"/>
                    </a:lnTo>
                    <a:lnTo>
                      <a:pt x="148" y="70"/>
                    </a:lnTo>
                    <a:lnTo>
                      <a:pt x="152" y="71"/>
                    </a:lnTo>
                    <a:lnTo>
                      <a:pt x="155" y="70"/>
                    </a:lnTo>
                    <a:lnTo>
                      <a:pt x="160" y="71"/>
                    </a:lnTo>
                    <a:lnTo>
                      <a:pt x="161" y="71"/>
                    </a:lnTo>
                    <a:lnTo>
                      <a:pt x="165" y="74"/>
                    </a:lnTo>
                    <a:lnTo>
                      <a:pt x="167" y="74"/>
                    </a:lnTo>
                    <a:lnTo>
                      <a:pt x="169" y="75"/>
                    </a:lnTo>
                    <a:lnTo>
                      <a:pt x="169" y="76"/>
                    </a:lnTo>
                    <a:lnTo>
                      <a:pt x="171" y="78"/>
                    </a:lnTo>
                    <a:lnTo>
                      <a:pt x="172" y="80"/>
                    </a:lnTo>
                    <a:lnTo>
                      <a:pt x="170" y="80"/>
                    </a:lnTo>
                    <a:lnTo>
                      <a:pt x="168" y="81"/>
                    </a:lnTo>
                    <a:lnTo>
                      <a:pt x="165" y="82"/>
                    </a:lnTo>
                    <a:lnTo>
                      <a:pt x="163" y="83"/>
                    </a:lnTo>
                    <a:lnTo>
                      <a:pt x="163" y="85"/>
                    </a:lnTo>
                    <a:lnTo>
                      <a:pt x="162" y="88"/>
                    </a:lnTo>
                    <a:lnTo>
                      <a:pt x="160" y="89"/>
                    </a:lnTo>
                    <a:lnTo>
                      <a:pt x="158" y="91"/>
                    </a:lnTo>
                    <a:lnTo>
                      <a:pt x="154" y="91"/>
                    </a:lnTo>
                    <a:lnTo>
                      <a:pt x="153" y="91"/>
                    </a:lnTo>
                    <a:lnTo>
                      <a:pt x="151" y="91"/>
                    </a:lnTo>
                    <a:lnTo>
                      <a:pt x="147" y="91"/>
                    </a:lnTo>
                    <a:lnTo>
                      <a:pt x="143" y="95"/>
                    </a:lnTo>
                    <a:lnTo>
                      <a:pt x="141" y="97"/>
                    </a:lnTo>
                    <a:lnTo>
                      <a:pt x="140" y="97"/>
                    </a:lnTo>
                    <a:lnTo>
                      <a:pt x="139" y="99"/>
                    </a:lnTo>
                    <a:lnTo>
                      <a:pt x="136" y="100"/>
                    </a:lnTo>
                    <a:lnTo>
                      <a:pt x="135" y="101"/>
                    </a:lnTo>
                    <a:lnTo>
                      <a:pt x="133" y="102"/>
                    </a:lnTo>
                    <a:lnTo>
                      <a:pt x="130" y="103"/>
                    </a:lnTo>
                    <a:lnTo>
                      <a:pt x="125" y="110"/>
                    </a:lnTo>
                    <a:lnTo>
                      <a:pt x="124" y="114"/>
                    </a:lnTo>
                    <a:lnTo>
                      <a:pt x="125" y="116"/>
                    </a:lnTo>
                    <a:lnTo>
                      <a:pt x="125" y="119"/>
                    </a:lnTo>
                    <a:lnTo>
                      <a:pt x="123" y="119"/>
                    </a:lnTo>
                    <a:lnTo>
                      <a:pt x="122" y="120"/>
                    </a:lnTo>
                    <a:lnTo>
                      <a:pt x="119" y="120"/>
                    </a:lnTo>
                    <a:lnTo>
                      <a:pt x="118" y="122"/>
                    </a:lnTo>
                    <a:lnTo>
                      <a:pt x="117" y="125"/>
                    </a:lnTo>
                    <a:lnTo>
                      <a:pt x="116" y="126"/>
                    </a:lnTo>
                    <a:lnTo>
                      <a:pt x="114" y="127"/>
                    </a:lnTo>
                    <a:lnTo>
                      <a:pt x="112" y="128"/>
                    </a:lnTo>
                    <a:lnTo>
                      <a:pt x="109" y="129"/>
                    </a:lnTo>
                    <a:lnTo>
                      <a:pt x="105" y="130"/>
                    </a:lnTo>
                    <a:lnTo>
                      <a:pt x="103" y="133"/>
                    </a:lnTo>
                    <a:lnTo>
                      <a:pt x="104" y="138"/>
                    </a:lnTo>
                    <a:lnTo>
                      <a:pt x="102" y="140"/>
                    </a:lnTo>
                    <a:lnTo>
                      <a:pt x="102" y="141"/>
                    </a:lnTo>
                    <a:lnTo>
                      <a:pt x="101" y="145"/>
                    </a:lnTo>
                    <a:lnTo>
                      <a:pt x="102" y="146"/>
                    </a:lnTo>
                    <a:lnTo>
                      <a:pt x="98" y="149"/>
                    </a:lnTo>
                    <a:lnTo>
                      <a:pt x="96" y="148"/>
                    </a:lnTo>
                    <a:lnTo>
                      <a:pt x="95" y="146"/>
                    </a:lnTo>
                    <a:lnTo>
                      <a:pt x="92" y="146"/>
                    </a:lnTo>
                    <a:lnTo>
                      <a:pt x="87" y="146"/>
                    </a:lnTo>
                    <a:lnTo>
                      <a:pt x="83" y="147"/>
                    </a:lnTo>
                    <a:lnTo>
                      <a:pt x="80" y="146"/>
                    </a:lnTo>
                    <a:lnTo>
                      <a:pt x="77" y="147"/>
                    </a:lnTo>
                    <a:lnTo>
                      <a:pt x="71" y="143"/>
                    </a:lnTo>
                    <a:lnTo>
                      <a:pt x="68" y="143"/>
                    </a:lnTo>
                    <a:lnTo>
                      <a:pt x="66" y="140"/>
                    </a:lnTo>
                    <a:lnTo>
                      <a:pt x="60" y="140"/>
                    </a:lnTo>
                    <a:lnTo>
                      <a:pt x="55" y="140"/>
                    </a:lnTo>
                    <a:lnTo>
                      <a:pt x="51" y="144"/>
                    </a:lnTo>
                    <a:lnTo>
                      <a:pt x="48" y="152"/>
                    </a:lnTo>
                    <a:lnTo>
                      <a:pt x="45" y="155"/>
                    </a:lnTo>
                    <a:lnTo>
                      <a:pt x="38" y="158"/>
                    </a:lnTo>
                    <a:lnTo>
                      <a:pt x="37" y="160"/>
                    </a:lnTo>
                    <a:lnTo>
                      <a:pt x="33" y="162"/>
                    </a:lnTo>
                    <a:lnTo>
                      <a:pt x="30" y="163"/>
                    </a:lnTo>
                    <a:lnTo>
                      <a:pt x="27" y="165"/>
                    </a:lnTo>
                    <a:lnTo>
                      <a:pt x="23" y="164"/>
                    </a:lnTo>
                    <a:lnTo>
                      <a:pt x="19" y="165"/>
                    </a:lnTo>
                    <a:lnTo>
                      <a:pt x="14" y="164"/>
                    </a:lnTo>
                    <a:lnTo>
                      <a:pt x="10" y="165"/>
                    </a:lnTo>
                    <a:lnTo>
                      <a:pt x="10" y="162"/>
                    </a:lnTo>
                    <a:lnTo>
                      <a:pt x="12" y="157"/>
                    </a:lnTo>
                    <a:lnTo>
                      <a:pt x="12" y="151"/>
                    </a:lnTo>
                    <a:lnTo>
                      <a:pt x="8" y="141"/>
                    </a:lnTo>
                    <a:lnTo>
                      <a:pt x="6" y="137"/>
                    </a:lnTo>
                    <a:lnTo>
                      <a:pt x="0" y="132"/>
                    </a:lnTo>
                    <a:lnTo>
                      <a:pt x="0" y="133"/>
                    </a:lnTo>
                    <a:lnTo>
                      <a:pt x="0" y="132"/>
                    </a:lnTo>
                    <a:lnTo>
                      <a:pt x="0" y="132"/>
                    </a:lnTo>
                    <a:lnTo>
                      <a:pt x="3" y="76"/>
                    </a:lnTo>
                    <a:lnTo>
                      <a:pt x="19" y="76"/>
                    </a:lnTo>
                    <a:lnTo>
                      <a:pt x="23" y="12"/>
                    </a:lnTo>
                    <a:lnTo>
                      <a:pt x="36" y="12"/>
                    </a:lnTo>
                    <a:lnTo>
                      <a:pt x="54" y="9"/>
                    </a:lnTo>
                    <a:lnTo>
                      <a:pt x="59" y="8"/>
                    </a:lnTo>
                    <a:lnTo>
                      <a:pt x="62" y="7"/>
                    </a:lnTo>
                    <a:lnTo>
                      <a:pt x="63" y="7"/>
                    </a:lnTo>
                    <a:lnTo>
                      <a:pt x="64" y="8"/>
                    </a:lnTo>
                    <a:lnTo>
                      <a:pt x="65" y="10"/>
                    </a:lnTo>
                    <a:lnTo>
                      <a:pt x="66" y="11"/>
                    </a:lnTo>
                    <a:lnTo>
                      <a:pt x="65" y="12"/>
                    </a:lnTo>
                    <a:lnTo>
                      <a:pt x="65" y="14"/>
                    </a:lnTo>
                    <a:lnTo>
                      <a:pt x="67" y="15"/>
                    </a:lnTo>
                    <a:lnTo>
                      <a:pt x="73" y="11"/>
                    </a:lnTo>
                    <a:lnTo>
                      <a:pt x="76" y="7"/>
                    </a:lnTo>
                    <a:lnTo>
                      <a:pt x="79" y="3"/>
                    </a:lnTo>
                    <a:lnTo>
                      <a:pt x="84" y="3"/>
                    </a:lnTo>
                    <a:lnTo>
                      <a:pt x="85" y="4"/>
                    </a:lnTo>
                    <a:lnTo>
                      <a:pt x="87" y="5"/>
                    </a:lnTo>
                    <a:lnTo>
                      <a:pt x="89" y="3"/>
                    </a:lnTo>
                    <a:lnTo>
                      <a:pt x="96" y="1"/>
                    </a:lnTo>
                    <a:lnTo>
                      <a:pt x="99" y="0"/>
                    </a:lnTo>
                    <a:lnTo>
                      <a:pt x="99" y="0"/>
                    </a:lnTo>
                    <a:lnTo>
                      <a:pt x="99" y="0"/>
                    </a:lnTo>
                    <a:lnTo>
                      <a:pt x="99" y="0"/>
                    </a:lnTo>
                    <a:close/>
                  </a:path>
                </a:pathLst>
              </a:custGeom>
              <a:solidFill>
                <a:schemeClr val="accent4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630" name="Freeform 434"/>
              <p:cNvSpPr>
                <a:spLocks/>
              </p:cNvSpPr>
              <p:nvPr userDrawn="1"/>
            </p:nvSpPr>
            <p:spPr bwMode="auto">
              <a:xfrm>
                <a:off x="3675" y="3233"/>
                <a:ext cx="247" cy="223"/>
              </a:xfrm>
              <a:custGeom>
                <a:avLst/>
                <a:gdLst>
                  <a:gd name="T0" fmla="*/ 151 w 247"/>
                  <a:gd name="T1" fmla="*/ 91 h 223"/>
                  <a:gd name="T2" fmla="*/ 184 w 247"/>
                  <a:gd name="T3" fmla="*/ 27 h 223"/>
                  <a:gd name="T4" fmla="*/ 210 w 247"/>
                  <a:gd name="T5" fmla="*/ 22 h 223"/>
                  <a:gd name="T6" fmla="*/ 213 w 247"/>
                  <a:gd name="T7" fmla="*/ 25 h 223"/>
                  <a:gd name="T8" fmla="*/ 213 w 247"/>
                  <a:gd name="T9" fmla="*/ 29 h 223"/>
                  <a:gd name="T10" fmla="*/ 224 w 247"/>
                  <a:gd name="T11" fmla="*/ 22 h 223"/>
                  <a:gd name="T12" fmla="*/ 233 w 247"/>
                  <a:gd name="T13" fmla="*/ 19 h 223"/>
                  <a:gd name="T14" fmla="*/ 244 w 247"/>
                  <a:gd name="T15" fmla="*/ 16 h 223"/>
                  <a:gd name="T16" fmla="*/ 244 w 247"/>
                  <a:gd name="T17" fmla="*/ 11 h 223"/>
                  <a:gd name="T18" fmla="*/ 240 w 247"/>
                  <a:gd name="T19" fmla="*/ 10 h 223"/>
                  <a:gd name="T20" fmla="*/ 233 w 247"/>
                  <a:gd name="T21" fmla="*/ 10 h 223"/>
                  <a:gd name="T22" fmla="*/ 184 w 247"/>
                  <a:gd name="T23" fmla="*/ 20 h 223"/>
                  <a:gd name="T24" fmla="*/ 180 w 247"/>
                  <a:gd name="T25" fmla="*/ 20 h 223"/>
                  <a:gd name="T26" fmla="*/ 176 w 247"/>
                  <a:gd name="T27" fmla="*/ 19 h 223"/>
                  <a:gd name="T28" fmla="*/ 171 w 247"/>
                  <a:gd name="T29" fmla="*/ 18 h 223"/>
                  <a:gd name="T30" fmla="*/ 165 w 247"/>
                  <a:gd name="T31" fmla="*/ 20 h 223"/>
                  <a:gd name="T32" fmla="*/ 156 w 247"/>
                  <a:gd name="T33" fmla="*/ 15 h 223"/>
                  <a:gd name="T34" fmla="*/ 152 w 247"/>
                  <a:gd name="T35" fmla="*/ 17 h 223"/>
                  <a:gd name="T36" fmla="*/ 141 w 247"/>
                  <a:gd name="T37" fmla="*/ 18 h 223"/>
                  <a:gd name="T38" fmla="*/ 137 w 247"/>
                  <a:gd name="T39" fmla="*/ 15 h 223"/>
                  <a:gd name="T40" fmla="*/ 126 w 247"/>
                  <a:gd name="T41" fmla="*/ 13 h 223"/>
                  <a:gd name="T42" fmla="*/ 121 w 247"/>
                  <a:gd name="T43" fmla="*/ 7 h 223"/>
                  <a:gd name="T44" fmla="*/ 50 w 247"/>
                  <a:gd name="T45" fmla="*/ 6 h 223"/>
                  <a:gd name="T46" fmla="*/ 44 w 247"/>
                  <a:gd name="T47" fmla="*/ 10 h 223"/>
                  <a:gd name="T48" fmla="*/ 34 w 247"/>
                  <a:gd name="T49" fmla="*/ 4 h 223"/>
                  <a:gd name="T50" fmla="*/ 32 w 247"/>
                  <a:gd name="T51" fmla="*/ 1 h 223"/>
                  <a:gd name="T52" fmla="*/ 28 w 247"/>
                  <a:gd name="T53" fmla="*/ 2 h 223"/>
                  <a:gd name="T54" fmla="*/ 21 w 247"/>
                  <a:gd name="T55" fmla="*/ 0 h 223"/>
                  <a:gd name="T56" fmla="*/ 14 w 247"/>
                  <a:gd name="T57" fmla="*/ 6 h 223"/>
                  <a:gd name="T58" fmla="*/ 6 w 247"/>
                  <a:gd name="T59" fmla="*/ 5 h 223"/>
                  <a:gd name="T60" fmla="*/ 3 w 247"/>
                  <a:gd name="T61" fmla="*/ 7 h 223"/>
                  <a:gd name="T62" fmla="*/ 1 w 247"/>
                  <a:gd name="T63" fmla="*/ 22 h 223"/>
                  <a:gd name="T64" fmla="*/ 27 w 247"/>
                  <a:gd name="T65" fmla="*/ 62 h 223"/>
                  <a:gd name="T66" fmla="*/ 37 w 247"/>
                  <a:gd name="T67" fmla="*/ 88 h 223"/>
                  <a:gd name="T68" fmla="*/ 45 w 247"/>
                  <a:gd name="T69" fmla="*/ 110 h 223"/>
                  <a:gd name="T70" fmla="*/ 53 w 247"/>
                  <a:gd name="T71" fmla="*/ 146 h 223"/>
                  <a:gd name="T72" fmla="*/ 51 w 247"/>
                  <a:gd name="T73" fmla="*/ 160 h 223"/>
                  <a:gd name="T74" fmla="*/ 57 w 247"/>
                  <a:gd name="T75" fmla="*/ 174 h 223"/>
                  <a:gd name="T76" fmla="*/ 57 w 247"/>
                  <a:gd name="T77" fmla="*/ 181 h 223"/>
                  <a:gd name="T78" fmla="*/ 64 w 247"/>
                  <a:gd name="T79" fmla="*/ 196 h 223"/>
                  <a:gd name="T80" fmla="*/ 73 w 247"/>
                  <a:gd name="T81" fmla="*/ 211 h 223"/>
                  <a:gd name="T82" fmla="*/ 87 w 247"/>
                  <a:gd name="T83" fmla="*/ 213 h 223"/>
                  <a:gd name="T84" fmla="*/ 87 w 247"/>
                  <a:gd name="T85" fmla="*/ 207 h 223"/>
                  <a:gd name="T86" fmla="*/ 97 w 247"/>
                  <a:gd name="T87" fmla="*/ 209 h 223"/>
                  <a:gd name="T88" fmla="*/ 105 w 247"/>
                  <a:gd name="T89" fmla="*/ 220 h 223"/>
                  <a:gd name="T90" fmla="*/ 114 w 247"/>
                  <a:gd name="T91" fmla="*/ 221 h 223"/>
                  <a:gd name="T92" fmla="*/ 121 w 247"/>
                  <a:gd name="T93" fmla="*/ 220 h 223"/>
                  <a:gd name="T94" fmla="*/ 127 w 247"/>
                  <a:gd name="T95" fmla="*/ 223 h 223"/>
                  <a:gd name="T96" fmla="*/ 131 w 247"/>
                  <a:gd name="T97" fmla="*/ 217 h 223"/>
                  <a:gd name="T98" fmla="*/ 143 w 247"/>
                  <a:gd name="T99" fmla="*/ 212 h 223"/>
                  <a:gd name="T100" fmla="*/ 148 w 247"/>
                  <a:gd name="T101" fmla="*/ 147 h 2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247" h="223">
                    <a:moveTo>
                      <a:pt x="148" y="147"/>
                    </a:moveTo>
                    <a:lnTo>
                      <a:pt x="148" y="147"/>
                    </a:lnTo>
                    <a:lnTo>
                      <a:pt x="151" y="91"/>
                    </a:lnTo>
                    <a:lnTo>
                      <a:pt x="167" y="91"/>
                    </a:lnTo>
                    <a:lnTo>
                      <a:pt x="171" y="27"/>
                    </a:lnTo>
                    <a:lnTo>
                      <a:pt x="184" y="27"/>
                    </a:lnTo>
                    <a:lnTo>
                      <a:pt x="202" y="24"/>
                    </a:lnTo>
                    <a:lnTo>
                      <a:pt x="207" y="23"/>
                    </a:lnTo>
                    <a:lnTo>
                      <a:pt x="210" y="22"/>
                    </a:lnTo>
                    <a:lnTo>
                      <a:pt x="211" y="22"/>
                    </a:lnTo>
                    <a:lnTo>
                      <a:pt x="212" y="23"/>
                    </a:lnTo>
                    <a:lnTo>
                      <a:pt x="213" y="25"/>
                    </a:lnTo>
                    <a:lnTo>
                      <a:pt x="214" y="26"/>
                    </a:lnTo>
                    <a:lnTo>
                      <a:pt x="213" y="27"/>
                    </a:lnTo>
                    <a:lnTo>
                      <a:pt x="213" y="29"/>
                    </a:lnTo>
                    <a:lnTo>
                      <a:pt x="215" y="30"/>
                    </a:lnTo>
                    <a:lnTo>
                      <a:pt x="221" y="26"/>
                    </a:lnTo>
                    <a:lnTo>
                      <a:pt x="224" y="22"/>
                    </a:lnTo>
                    <a:lnTo>
                      <a:pt x="227" y="18"/>
                    </a:lnTo>
                    <a:lnTo>
                      <a:pt x="232" y="18"/>
                    </a:lnTo>
                    <a:lnTo>
                      <a:pt x="233" y="19"/>
                    </a:lnTo>
                    <a:lnTo>
                      <a:pt x="235" y="20"/>
                    </a:lnTo>
                    <a:lnTo>
                      <a:pt x="237" y="18"/>
                    </a:lnTo>
                    <a:lnTo>
                      <a:pt x="244" y="16"/>
                    </a:lnTo>
                    <a:lnTo>
                      <a:pt x="247" y="15"/>
                    </a:lnTo>
                    <a:lnTo>
                      <a:pt x="245" y="11"/>
                    </a:lnTo>
                    <a:lnTo>
                      <a:pt x="244" y="11"/>
                    </a:lnTo>
                    <a:lnTo>
                      <a:pt x="243" y="10"/>
                    </a:lnTo>
                    <a:lnTo>
                      <a:pt x="241" y="11"/>
                    </a:lnTo>
                    <a:lnTo>
                      <a:pt x="240" y="10"/>
                    </a:lnTo>
                    <a:lnTo>
                      <a:pt x="239" y="10"/>
                    </a:lnTo>
                    <a:lnTo>
                      <a:pt x="237" y="9"/>
                    </a:lnTo>
                    <a:lnTo>
                      <a:pt x="233" y="10"/>
                    </a:lnTo>
                    <a:lnTo>
                      <a:pt x="231" y="10"/>
                    </a:lnTo>
                    <a:lnTo>
                      <a:pt x="185" y="20"/>
                    </a:lnTo>
                    <a:lnTo>
                      <a:pt x="184" y="20"/>
                    </a:lnTo>
                    <a:lnTo>
                      <a:pt x="182" y="20"/>
                    </a:lnTo>
                    <a:lnTo>
                      <a:pt x="180" y="20"/>
                    </a:lnTo>
                    <a:lnTo>
                      <a:pt x="180" y="20"/>
                    </a:lnTo>
                    <a:lnTo>
                      <a:pt x="179" y="20"/>
                    </a:lnTo>
                    <a:lnTo>
                      <a:pt x="178" y="18"/>
                    </a:lnTo>
                    <a:lnTo>
                      <a:pt x="176" y="19"/>
                    </a:lnTo>
                    <a:lnTo>
                      <a:pt x="175" y="18"/>
                    </a:lnTo>
                    <a:lnTo>
                      <a:pt x="173" y="17"/>
                    </a:lnTo>
                    <a:lnTo>
                      <a:pt x="171" y="18"/>
                    </a:lnTo>
                    <a:lnTo>
                      <a:pt x="170" y="19"/>
                    </a:lnTo>
                    <a:lnTo>
                      <a:pt x="169" y="20"/>
                    </a:lnTo>
                    <a:lnTo>
                      <a:pt x="165" y="20"/>
                    </a:lnTo>
                    <a:lnTo>
                      <a:pt x="162" y="18"/>
                    </a:lnTo>
                    <a:lnTo>
                      <a:pt x="159" y="15"/>
                    </a:lnTo>
                    <a:lnTo>
                      <a:pt x="156" y="15"/>
                    </a:lnTo>
                    <a:lnTo>
                      <a:pt x="155" y="14"/>
                    </a:lnTo>
                    <a:lnTo>
                      <a:pt x="155" y="16"/>
                    </a:lnTo>
                    <a:lnTo>
                      <a:pt x="152" y="17"/>
                    </a:lnTo>
                    <a:lnTo>
                      <a:pt x="147" y="15"/>
                    </a:lnTo>
                    <a:lnTo>
                      <a:pt x="144" y="16"/>
                    </a:lnTo>
                    <a:lnTo>
                      <a:pt x="141" y="18"/>
                    </a:lnTo>
                    <a:lnTo>
                      <a:pt x="139" y="17"/>
                    </a:lnTo>
                    <a:lnTo>
                      <a:pt x="138" y="16"/>
                    </a:lnTo>
                    <a:lnTo>
                      <a:pt x="137" y="15"/>
                    </a:lnTo>
                    <a:lnTo>
                      <a:pt x="134" y="15"/>
                    </a:lnTo>
                    <a:lnTo>
                      <a:pt x="130" y="14"/>
                    </a:lnTo>
                    <a:lnTo>
                      <a:pt x="126" y="13"/>
                    </a:lnTo>
                    <a:lnTo>
                      <a:pt x="125" y="11"/>
                    </a:lnTo>
                    <a:lnTo>
                      <a:pt x="123" y="8"/>
                    </a:lnTo>
                    <a:lnTo>
                      <a:pt x="121" y="7"/>
                    </a:lnTo>
                    <a:lnTo>
                      <a:pt x="52" y="7"/>
                    </a:lnTo>
                    <a:lnTo>
                      <a:pt x="51" y="6"/>
                    </a:lnTo>
                    <a:lnTo>
                      <a:pt x="50" y="6"/>
                    </a:lnTo>
                    <a:lnTo>
                      <a:pt x="48" y="8"/>
                    </a:lnTo>
                    <a:lnTo>
                      <a:pt x="47" y="8"/>
                    </a:lnTo>
                    <a:lnTo>
                      <a:pt x="44" y="10"/>
                    </a:lnTo>
                    <a:lnTo>
                      <a:pt x="40" y="8"/>
                    </a:lnTo>
                    <a:lnTo>
                      <a:pt x="35" y="5"/>
                    </a:lnTo>
                    <a:lnTo>
                      <a:pt x="34" y="4"/>
                    </a:lnTo>
                    <a:lnTo>
                      <a:pt x="35" y="3"/>
                    </a:lnTo>
                    <a:lnTo>
                      <a:pt x="32" y="2"/>
                    </a:lnTo>
                    <a:lnTo>
                      <a:pt x="32" y="1"/>
                    </a:lnTo>
                    <a:lnTo>
                      <a:pt x="30" y="0"/>
                    </a:lnTo>
                    <a:lnTo>
                      <a:pt x="29" y="0"/>
                    </a:lnTo>
                    <a:lnTo>
                      <a:pt x="28" y="2"/>
                    </a:lnTo>
                    <a:lnTo>
                      <a:pt x="27" y="1"/>
                    </a:lnTo>
                    <a:lnTo>
                      <a:pt x="24" y="0"/>
                    </a:lnTo>
                    <a:lnTo>
                      <a:pt x="21" y="0"/>
                    </a:lnTo>
                    <a:lnTo>
                      <a:pt x="16" y="3"/>
                    </a:lnTo>
                    <a:lnTo>
                      <a:pt x="15" y="5"/>
                    </a:lnTo>
                    <a:lnTo>
                      <a:pt x="14" y="6"/>
                    </a:lnTo>
                    <a:lnTo>
                      <a:pt x="11" y="5"/>
                    </a:lnTo>
                    <a:lnTo>
                      <a:pt x="7" y="4"/>
                    </a:lnTo>
                    <a:lnTo>
                      <a:pt x="6" y="5"/>
                    </a:lnTo>
                    <a:lnTo>
                      <a:pt x="6" y="7"/>
                    </a:lnTo>
                    <a:lnTo>
                      <a:pt x="4" y="8"/>
                    </a:lnTo>
                    <a:lnTo>
                      <a:pt x="3" y="7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1" y="22"/>
                    </a:lnTo>
                    <a:lnTo>
                      <a:pt x="11" y="32"/>
                    </a:lnTo>
                    <a:lnTo>
                      <a:pt x="17" y="42"/>
                    </a:lnTo>
                    <a:lnTo>
                      <a:pt x="27" y="62"/>
                    </a:lnTo>
                    <a:lnTo>
                      <a:pt x="28" y="69"/>
                    </a:lnTo>
                    <a:lnTo>
                      <a:pt x="37" y="83"/>
                    </a:lnTo>
                    <a:lnTo>
                      <a:pt x="37" y="88"/>
                    </a:lnTo>
                    <a:lnTo>
                      <a:pt x="47" y="101"/>
                    </a:lnTo>
                    <a:lnTo>
                      <a:pt x="47" y="109"/>
                    </a:lnTo>
                    <a:lnTo>
                      <a:pt x="45" y="110"/>
                    </a:lnTo>
                    <a:lnTo>
                      <a:pt x="47" y="118"/>
                    </a:lnTo>
                    <a:lnTo>
                      <a:pt x="48" y="132"/>
                    </a:lnTo>
                    <a:lnTo>
                      <a:pt x="53" y="146"/>
                    </a:lnTo>
                    <a:lnTo>
                      <a:pt x="52" y="154"/>
                    </a:lnTo>
                    <a:lnTo>
                      <a:pt x="54" y="158"/>
                    </a:lnTo>
                    <a:lnTo>
                      <a:pt x="51" y="160"/>
                    </a:lnTo>
                    <a:lnTo>
                      <a:pt x="53" y="163"/>
                    </a:lnTo>
                    <a:lnTo>
                      <a:pt x="55" y="172"/>
                    </a:lnTo>
                    <a:lnTo>
                      <a:pt x="57" y="174"/>
                    </a:lnTo>
                    <a:lnTo>
                      <a:pt x="59" y="177"/>
                    </a:lnTo>
                    <a:lnTo>
                      <a:pt x="57" y="177"/>
                    </a:lnTo>
                    <a:lnTo>
                      <a:pt x="57" y="181"/>
                    </a:lnTo>
                    <a:lnTo>
                      <a:pt x="60" y="184"/>
                    </a:lnTo>
                    <a:lnTo>
                      <a:pt x="60" y="192"/>
                    </a:lnTo>
                    <a:lnTo>
                      <a:pt x="64" y="196"/>
                    </a:lnTo>
                    <a:lnTo>
                      <a:pt x="69" y="204"/>
                    </a:lnTo>
                    <a:lnTo>
                      <a:pt x="72" y="209"/>
                    </a:lnTo>
                    <a:lnTo>
                      <a:pt x="73" y="211"/>
                    </a:lnTo>
                    <a:lnTo>
                      <a:pt x="80" y="216"/>
                    </a:lnTo>
                    <a:lnTo>
                      <a:pt x="83" y="214"/>
                    </a:lnTo>
                    <a:lnTo>
                      <a:pt x="87" y="213"/>
                    </a:lnTo>
                    <a:lnTo>
                      <a:pt x="87" y="211"/>
                    </a:lnTo>
                    <a:lnTo>
                      <a:pt x="85" y="210"/>
                    </a:lnTo>
                    <a:lnTo>
                      <a:pt x="87" y="207"/>
                    </a:lnTo>
                    <a:lnTo>
                      <a:pt x="92" y="205"/>
                    </a:lnTo>
                    <a:lnTo>
                      <a:pt x="94" y="209"/>
                    </a:lnTo>
                    <a:lnTo>
                      <a:pt x="97" y="209"/>
                    </a:lnTo>
                    <a:lnTo>
                      <a:pt x="95" y="213"/>
                    </a:lnTo>
                    <a:lnTo>
                      <a:pt x="98" y="218"/>
                    </a:lnTo>
                    <a:lnTo>
                      <a:pt x="105" y="220"/>
                    </a:lnTo>
                    <a:lnTo>
                      <a:pt x="109" y="221"/>
                    </a:lnTo>
                    <a:lnTo>
                      <a:pt x="112" y="220"/>
                    </a:lnTo>
                    <a:lnTo>
                      <a:pt x="114" y="221"/>
                    </a:lnTo>
                    <a:lnTo>
                      <a:pt x="116" y="221"/>
                    </a:lnTo>
                    <a:lnTo>
                      <a:pt x="118" y="220"/>
                    </a:lnTo>
                    <a:lnTo>
                      <a:pt x="121" y="220"/>
                    </a:lnTo>
                    <a:lnTo>
                      <a:pt x="122" y="223"/>
                    </a:lnTo>
                    <a:lnTo>
                      <a:pt x="125" y="222"/>
                    </a:lnTo>
                    <a:lnTo>
                      <a:pt x="127" y="223"/>
                    </a:lnTo>
                    <a:lnTo>
                      <a:pt x="127" y="220"/>
                    </a:lnTo>
                    <a:lnTo>
                      <a:pt x="129" y="218"/>
                    </a:lnTo>
                    <a:lnTo>
                      <a:pt x="131" y="217"/>
                    </a:lnTo>
                    <a:lnTo>
                      <a:pt x="133" y="214"/>
                    </a:lnTo>
                    <a:lnTo>
                      <a:pt x="137" y="211"/>
                    </a:lnTo>
                    <a:lnTo>
                      <a:pt x="143" y="212"/>
                    </a:lnTo>
                    <a:lnTo>
                      <a:pt x="145" y="212"/>
                    </a:lnTo>
                    <a:lnTo>
                      <a:pt x="148" y="148"/>
                    </a:lnTo>
                    <a:lnTo>
                      <a:pt x="148" y="147"/>
                    </a:lnTo>
                    <a:lnTo>
                      <a:pt x="148" y="147"/>
                    </a:lnTo>
                    <a:close/>
                  </a:path>
                </a:pathLst>
              </a:custGeom>
              <a:solidFill>
                <a:schemeClr val="accent4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631" name="Freeform 435"/>
              <p:cNvSpPr>
                <a:spLocks noEditPoints="1"/>
              </p:cNvSpPr>
              <p:nvPr userDrawn="1"/>
            </p:nvSpPr>
            <p:spPr bwMode="auto">
              <a:xfrm>
                <a:off x="3755" y="3327"/>
                <a:ext cx="298" cy="245"/>
              </a:xfrm>
              <a:custGeom>
                <a:avLst/>
                <a:gdLst>
                  <a:gd name="T0" fmla="*/ 5 w 298"/>
                  <a:gd name="T1" fmla="*/ 116 h 245"/>
                  <a:gd name="T2" fmla="*/ 15 w 298"/>
                  <a:gd name="T3" fmla="*/ 119 h 245"/>
                  <a:gd name="T4" fmla="*/ 34 w 298"/>
                  <a:gd name="T5" fmla="*/ 127 h 245"/>
                  <a:gd name="T6" fmla="*/ 45 w 298"/>
                  <a:gd name="T7" fmla="*/ 128 h 245"/>
                  <a:gd name="T8" fmla="*/ 53 w 298"/>
                  <a:gd name="T9" fmla="*/ 120 h 245"/>
                  <a:gd name="T10" fmla="*/ 74 w 298"/>
                  <a:gd name="T11" fmla="*/ 58 h 245"/>
                  <a:gd name="T12" fmla="*/ 78 w 298"/>
                  <a:gd name="T13" fmla="*/ 86 h 245"/>
                  <a:gd name="T14" fmla="*/ 98 w 298"/>
                  <a:gd name="T15" fmla="*/ 84 h 245"/>
                  <a:gd name="T16" fmla="*/ 116 w 298"/>
                  <a:gd name="T17" fmla="*/ 73 h 245"/>
                  <a:gd name="T18" fmla="*/ 136 w 298"/>
                  <a:gd name="T19" fmla="*/ 64 h 245"/>
                  <a:gd name="T20" fmla="*/ 155 w 298"/>
                  <a:gd name="T21" fmla="*/ 67 h 245"/>
                  <a:gd name="T22" fmla="*/ 170 w 298"/>
                  <a:gd name="T23" fmla="*/ 67 h 245"/>
                  <a:gd name="T24" fmla="*/ 171 w 298"/>
                  <a:gd name="T25" fmla="*/ 54 h 245"/>
                  <a:gd name="T26" fmla="*/ 184 w 298"/>
                  <a:gd name="T27" fmla="*/ 47 h 245"/>
                  <a:gd name="T28" fmla="*/ 191 w 298"/>
                  <a:gd name="T29" fmla="*/ 40 h 245"/>
                  <a:gd name="T30" fmla="*/ 198 w 298"/>
                  <a:gd name="T31" fmla="*/ 24 h 245"/>
                  <a:gd name="T32" fmla="*/ 208 w 298"/>
                  <a:gd name="T33" fmla="*/ 18 h 245"/>
                  <a:gd name="T34" fmla="*/ 221 w 298"/>
                  <a:gd name="T35" fmla="*/ 12 h 245"/>
                  <a:gd name="T36" fmla="*/ 231 w 298"/>
                  <a:gd name="T37" fmla="*/ 6 h 245"/>
                  <a:gd name="T38" fmla="*/ 247 w 298"/>
                  <a:gd name="T39" fmla="*/ 0 h 245"/>
                  <a:gd name="T40" fmla="*/ 260 w 298"/>
                  <a:gd name="T41" fmla="*/ 6 h 245"/>
                  <a:gd name="T42" fmla="*/ 278 w 298"/>
                  <a:gd name="T43" fmla="*/ 14 h 245"/>
                  <a:gd name="T44" fmla="*/ 281 w 298"/>
                  <a:gd name="T45" fmla="*/ 35 h 245"/>
                  <a:gd name="T46" fmla="*/ 282 w 298"/>
                  <a:gd name="T47" fmla="*/ 66 h 245"/>
                  <a:gd name="T48" fmla="*/ 268 w 298"/>
                  <a:gd name="T49" fmla="*/ 68 h 245"/>
                  <a:gd name="T50" fmla="*/ 264 w 298"/>
                  <a:gd name="T51" fmla="*/ 87 h 245"/>
                  <a:gd name="T52" fmla="*/ 283 w 298"/>
                  <a:gd name="T53" fmla="*/ 91 h 245"/>
                  <a:gd name="T54" fmla="*/ 298 w 298"/>
                  <a:gd name="T55" fmla="*/ 87 h 245"/>
                  <a:gd name="T56" fmla="*/ 294 w 298"/>
                  <a:gd name="T57" fmla="*/ 104 h 245"/>
                  <a:gd name="T58" fmla="*/ 281 w 298"/>
                  <a:gd name="T59" fmla="*/ 127 h 245"/>
                  <a:gd name="T60" fmla="*/ 269 w 298"/>
                  <a:gd name="T61" fmla="*/ 136 h 245"/>
                  <a:gd name="T62" fmla="*/ 257 w 298"/>
                  <a:gd name="T63" fmla="*/ 149 h 245"/>
                  <a:gd name="T64" fmla="*/ 236 w 298"/>
                  <a:gd name="T65" fmla="*/ 179 h 245"/>
                  <a:gd name="T66" fmla="*/ 208 w 298"/>
                  <a:gd name="T67" fmla="*/ 203 h 245"/>
                  <a:gd name="T68" fmla="*/ 186 w 298"/>
                  <a:gd name="T69" fmla="*/ 219 h 245"/>
                  <a:gd name="T70" fmla="*/ 169 w 298"/>
                  <a:gd name="T71" fmla="*/ 223 h 245"/>
                  <a:gd name="T72" fmla="*/ 159 w 298"/>
                  <a:gd name="T73" fmla="*/ 231 h 245"/>
                  <a:gd name="T74" fmla="*/ 144 w 298"/>
                  <a:gd name="T75" fmla="*/ 234 h 245"/>
                  <a:gd name="T76" fmla="*/ 118 w 298"/>
                  <a:gd name="T77" fmla="*/ 231 h 245"/>
                  <a:gd name="T78" fmla="*/ 98 w 298"/>
                  <a:gd name="T79" fmla="*/ 232 h 245"/>
                  <a:gd name="T80" fmla="*/ 90 w 298"/>
                  <a:gd name="T81" fmla="*/ 237 h 245"/>
                  <a:gd name="T82" fmla="*/ 72 w 298"/>
                  <a:gd name="T83" fmla="*/ 238 h 245"/>
                  <a:gd name="T84" fmla="*/ 57 w 298"/>
                  <a:gd name="T85" fmla="*/ 244 h 245"/>
                  <a:gd name="T86" fmla="*/ 40 w 298"/>
                  <a:gd name="T87" fmla="*/ 235 h 245"/>
                  <a:gd name="T88" fmla="*/ 33 w 298"/>
                  <a:gd name="T89" fmla="*/ 231 h 245"/>
                  <a:gd name="T90" fmla="*/ 28 w 298"/>
                  <a:gd name="T91" fmla="*/ 229 h 245"/>
                  <a:gd name="T92" fmla="*/ 20 w 298"/>
                  <a:gd name="T93" fmla="*/ 207 h 245"/>
                  <a:gd name="T94" fmla="*/ 28 w 298"/>
                  <a:gd name="T95" fmla="*/ 200 h 245"/>
                  <a:gd name="T96" fmla="*/ 22 w 298"/>
                  <a:gd name="T97" fmla="*/ 173 h 245"/>
                  <a:gd name="T98" fmla="*/ 7 w 298"/>
                  <a:gd name="T99" fmla="*/ 131 h 245"/>
                  <a:gd name="T100" fmla="*/ 0 w 298"/>
                  <a:gd name="T101" fmla="*/ 122 h 245"/>
                  <a:gd name="T102" fmla="*/ 208 w 298"/>
                  <a:gd name="T103" fmla="*/ 162 h 245"/>
                  <a:gd name="T104" fmla="*/ 218 w 298"/>
                  <a:gd name="T105" fmla="*/ 152 h 245"/>
                  <a:gd name="T106" fmla="*/ 226 w 298"/>
                  <a:gd name="T107" fmla="*/ 146 h 245"/>
                  <a:gd name="T108" fmla="*/ 229 w 298"/>
                  <a:gd name="T109" fmla="*/ 128 h 245"/>
                  <a:gd name="T110" fmla="*/ 217 w 298"/>
                  <a:gd name="T111" fmla="*/ 124 h 245"/>
                  <a:gd name="T112" fmla="*/ 203 w 298"/>
                  <a:gd name="T113" fmla="*/ 129 h 245"/>
                  <a:gd name="T114" fmla="*/ 191 w 298"/>
                  <a:gd name="T115" fmla="*/ 146 h 245"/>
                  <a:gd name="T116" fmla="*/ 196 w 298"/>
                  <a:gd name="T117" fmla="*/ 156 h 2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8" h="245">
                    <a:moveTo>
                      <a:pt x="0" y="122"/>
                    </a:moveTo>
                    <a:lnTo>
                      <a:pt x="3" y="120"/>
                    </a:lnTo>
                    <a:lnTo>
                      <a:pt x="7" y="119"/>
                    </a:lnTo>
                    <a:lnTo>
                      <a:pt x="7" y="117"/>
                    </a:lnTo>
                    <a:lnTo>
                      <a:pt x="5" y="116"/>
                    </a:lnTo>
                    <a:lnTo>
                      <a:pt x="7" y="113"/>
                    </a:lnTo>
                    <a:lnTo>
                      <a:pt x="12" y="111"/>
                    </a:lnTo>
                    <a:lnTo>
                      <a:pt x="14" y="115"/>
                    </a:lnTo>
                    <a:lnTo>
                      <a:pt x="17" y="115"/>
                    </a:lnTo>
                    <a:lnTo>
                      <a:pt x="15" y="119"/>
                    </a:lnTo>
                    <a:lnTo>
                      <a:pt x="18" y="124"/>
                    </a:lnTo>
                    <a:lnTo>
                      <a:pt x="25" y="126"/>
                    </a:lnTo>
                    <a:lnTo>
                      <a:pt x="29" y="127"/>
                    </a:lnTo>
                    <a:lnTo>
                      <a:pt x="32" y="126"/>
                    </a:lnTo>
                    <a:lnTo>
                      <a:pt x="34" y="127"/>
                    </a:lnTo>
                    <a:lnTo>
                      <a:pt x="36" y="127"/>
                    </a:lnTo>
                    <a:lnTo>
                      <a:pt x="38" y="126"/>
                    </a:lnTo>
                    <a:lnTo>
                      <a:pt x="41" y="126"/>
                    </a:lnTo>
                    <a:lnTo>
                      <a:pt x="42" y="129"/>
                    </a:lnTo>
                    <a:lnTo>
                      <a:pt x="45" y="128"/>
                    </a:lnTo>
                    <a:lnTo>
                      <a:pt x="47" y="129"/>
                    </a:lnTo>
                    <a:lnTo>
                      <a:pt x="47" y="126"/>
                    </a:lnTo>
                    <a:lnTo>
                      <a:pt x="49" y="124"/>
                    </a:lnTo>
                    <a:lnTo>
                      <a:pt x="51" y="123"/>
                    </a:lnTo>
                    <a:lnTo>
                      <a:pt x="53" y="120"/>
                    </a:lnTo>
                    <a:lnTo>
                      <a:pt x="57" y="117"/>
                    </a:lnTo>
                    <a:lnTo>
                      <a:pt x="63" y="118"/>
                    </a:lnTo>
                    <a:lnTo>
                      <a:pt x="65" y="118"/>
                    </a:lnTo>
                    <a:lnTo>
                      <a:pt x="68" y="53"/>
                    </a:lnTo>
                    <a:lnTo>
                      <a:pt x="74" y="58"/>
                    </a:lnTo>
                    <a:lnTo>
                      <a:pt x="76" y="62"/>
                    </a:lnTo>
                    <a:lnTo>
                      <a:pt x="80" y="72"/>
                    </a:lnTo>
                    <a:lnTo>
                      <a:pt x="80" y="78"/>
                    </a:lnTo>
                    <a:lnTo>
                      <a:pt x="78" y="83"/>
                    </a:lnTo>
                    <a:lnTo>
                      <a:pt x="78" y="86"/>
                    </a:lnTo>
                    <a:lnTo>
                      <a:pt x="82" y="85"/>
                    </a:lnTo>
                    <a:lnTo>
                      <a:pt x="87" y="86"/>
                    </a:lnTo>
                    <a:lnTo>
                      <a:pt x="91" y="85"/>
                    </a:lnTo>
                    <a:lnTo>
                      <a:pt x="95" y="86"/>
                    </a:lnTo>
                    <a:lnTo>
                      <a:pt x="98" y="84"/>
                    </a:lnTo>
                    <a:lnTo>
                      <a:pt x="101" y="83"/>
                    </a:lnTo>
                    <a:lnTo>
                      <a:pt x="105" y="81"/>
                    </a:lnTo>
                    <a:lnTo>
                      <a:pt x="106" y="79"/>
                    </a:lnTo>
                    <a:lnTo>
                      <a:pt x="113" y="76"/>
                    </a:lnTo>
                    <a:lnTo>
                      <a:pt x="116" y="73"/>
                    </a:lnTo>
                    <a:lnTo>
                      <a:pt x="119" y="65"/>
                    </a:lnTo>
                    <a:lnTo>
                      <a:pt x="123" y="61"/>
                    </a:lnTo>
                    <a:lnTo>
                      <a:pt x="128" y="61"/>
                    </a:lnTo>
                    <a:lnTo>
                      <a:pt x="134" y="61"/>
                    </a:lnTo>
                    <a:lnTo>
                      <a:pt x="136" y="64"/>
                    </a:lnTo>
                    <a:lnTo>
                      <a:pt x="139" y="64"/>
                    </a:lnTo>
                    <a:lnTo>
                      <a:pt x="145" y="68"/>
                    </a:lnTo>
                    <a:lnTo>
                      <a:pt x="148" y="67"/>
                    </a:lnTo>
                    <a:lnTo>
                      <a:pt x="151" y="68"/>
                    </a:lnTo>
                    <a:lnTo>
                      <a:pt x="155" y="67"/>
                    </a:lnTo>
                    <a:lnTo>
                      <a:pt x="160" y="67"/>
                    </a:lnTo>
                    <a:lnTo>
                      <a:pt x="163" y="67"/>
                    </a:lnTo>
                    <a:lnTo>
                      <a:pt x="164" y="69"/>
                    </a:lnTo>
                    <a:lnTo>
                      <a:pt x="166" y="70"/>
                    </a:lnTo>
                    <a:lnTo>
                      <a:pt x="170" y="67"/>
                    </a:lnTo>
                    <a:lnTo>
                      <a:pt x="169" y="66"/>
                    </a:lnTo>
                    <a:lnTo>
                      <a:pt x="170" y="62"/>
                    </a:lnTo>
                    <a:lnTo>
                      <a:pt x="170" y="61"/>
                    </a:lnTo>
                    <a:lnTo>
                      <a:pt x="172" y="59"/>
                    </a:lnTo>
                    <a:lnTo>
                      <a:pt x="171" y="54"/>
                    </a:lnTo>
                    <a:lnTo>
                      <a:pt x="173" y="51"/>
                    </a:lnTo>
                    <a:lnTo>
                      <a:pt x="177" y="50"/>
                    </a:lnTo>
                    <a:lnTo>
                      <a:pt x="180" y="49"/>
                    </a:lnTo>
                    <a:lnTo>
                      <a:pt x="182" y="48"/>
                    </a:lnTo>
                    <a:lnTo>
                      <a:pt x="184" y="47"/>
                    </a:lnTo>
                    <a:lnTo>
                      <a:pt x="185" y="46"/>
                    </a:lnTo>
                    <a:lnTo>
                      <a:pt x="186" y="43"/>
                    </a:lnTo>
                    <a:lnTo>
                      <a:pt x="187" y="41"/>
                    </a:lnTo>
                    <a:lnTo>
                      <a:pt x="190" y="41"/>
                    </a:lnTo>
                    <a:lnTo>
                      <a:pt x="191" y="40"/>
                    </a:lnTo>
                    <a:lnTo>
                      <a:pt x="193" y="40"/>
                    </a:lnTo>
                    <a:lnTo>
                      <a:pt x="193" y="37"/>
                    </a:lnTo>
                    <a:lnTo>
                      <a:pt x="192" y="35"/>
                    </a:lnTo>
                    <a:lnTo>
                      <a:pt x="193" y="31"/>
                    </a:lnTo>
                    <a:lnTo>
                      <a:pt x="198" y="24"/>
                    </a:lnTo>
                    <a:lnTo>
                      <a:pt x="201" y="23"/>
                    </a:lnTo>
                    <a:lnTo>
                      <a:pt x="203" y="22"/>
                    </a:lnTo>
                    <a:lnTo>
                      <a:pt x="204" y="21"/>
                    </a:lnTo>
                    <a:lnTo>
                      <a:pt x="207" y="20"/>
                    </a:lnTo>
                    <a:lnTo>
                      <a:pt x="208" y="18"/>
                    </a:lnTo>
                    <a:lnTo>
                      <a:pt x="209" y="18"/>
                    </a:lnTo>
                    <a:lnTo>
                      <a:pt x="211" y="16"/>
                    </a:lnTo>
                    <a:lnTo>
                      <a:pt x="215" y="12"/>
                    </a:lnTo>
                    <a:lnTo>
                      <a:pt x="219" y="12"/>
                    </a:lnTo>
                    <a:lnTo>
                      <a:pt x="221" y="12"/>
                    </a:lnTo>
                    <a:lnTo>
                      <a:pt x="222" y="12"/>
                    </a:lnTo>
                    <a:lnTo>
                      <a:pt x="226" y="12"/>
                    </a:lnTo>
                    <a:lnTo>
                      <a:pt x="228" y="10"/>
                    </a:lnTo>
                    <a:lnTo>
                      <a:pt x="230" y="9"/>
                    </a:lnTo>
                    <a:lnTo>
                      <a:pt x="231" y="6"/>
                    </a:lnTo>
                    <a:lnTo>
                      <a:pt x="231" y="4"/>
                    </a:lnTo>
                    <a:lnTo>
                      <a:pt x="233" y="3"/>
                    </a:lnTo>
                    <a:lnTo>
                      <a:pt x="236" y="2"/>
                    </a:lnTo>
                    <a:lnTo>
                      <a:pt x="238" y="1"/>
                    </a:lnTo>
                    <a:lnTo>
                      <a:pt x="247" y="0"/>
                    </a:lnTo>
                    <a:lnTo>
                      <a:pt x="251" y="1"/>
                    </a:lnTo>
                    <a:lnTo>
                      <a:pt x="251" y="3"/>
                    </a:lnTo>
                    <a:lnTo>
                      <a:pt x="254" y="3"/>
                    </a:lnTo>
                    <a:lnTo>
                      <a:pt x="258" y="5"/>
                    </a:lnTo>
                    <a:lnTo>
                      <a:pt x="260" y="6"/>
                    </a:lnTo>
                    <a:lnTo>
                      <a:pt x="263" y="5"/>
                    </a:lnTo>
                    <a:lnTo>
                      <a:pt x="268" y="4"/>
                    </a:lnTo>
                    <a:lnTo>
                      <a:pt x="273" y="5"/>
                    </a:lnTo>
                    <a:lnTo>
                      <a:pt x="277" y="8"/>
                    </a:lnTo>
                    <a:lnTo>
                      <a:pt x="278" y="14"/>
                    </a:lnTo>
                    <a:lnTo>
                      <a:pt x="279" y="18"/>
                    </a:lnTo>
                    <a:lnTo>
                      <a:pt x="281" y="22"/>
                    </a:lnTo>
                    <a:lnTo>
                      <a:pt x="282" y="31"/>
                    </a:lnTo>
                    <a:lnTo>
                      <a:pt x="281" y="32"/>
                    </a:lnTo>
                    <a:lnTo>
                      <a:pt x="281" y="35"/>
                    </a:lnTo>
                    <a:lnTo>
                      <a:pt x="283" y="39"/>
                    </a:lnTo>
                    <a:lnTo>
                      <a:pt x="284" y="42"/>
                    </a:lnTo>
                    <a:lnTo>
                      <a:pt x="284" y="56"/>
                    </a:lnTo>
                    <a:lnTo>
                      <a:pt x="282" y="61"/>
                    </a:lnTo>
                    <a:lnTo>
                      <a:pt x="282" y="66"/>
                    </a:lnTo>
                    <a:lnTo>
                      <a:pt x="282" y="73"/>
                    </a:lnTo>
                    <a:lnTo>
                      <a:pt x="279" y="71"/>
                    </a:lnTo>
                    <a:lnTo>
                      <a:pt x="276" y="69"/>
                    </a:lnTo>
                    <a:lnTo>
                      <a:pt x="272" y="66"/>
                    </a:lnTo>
                    <a:lnTo>
                      <a:pt x="268" y="68"/>
                    </a:lnTo>
                    <a:lnTo>
                      <a:pt x="268" y="71"/>
                    </a:lnTo>
                    <a:lnTo>
                      <a:pt x="263" y="80"/>
                    </a:lnTo>
                    <a:lnTo>
                      <a:pt x="261" y="83"/>
                    </a:lnTo>
                    <a:lnTo>
                      <a:pt x="262" y="86"/>
                    </a:lnTo>
                    <a:lnTo>
                      <a:pt x="264" y="87"/>
                    </a:lnTo>
                    <a:lnTo>
                      <a:pt x="267" y="91"/>
                    </a:lnTo>
                    <a:lnTo>
                      <a:pt x="272" y="95"/>
                    </a:lnTo>
                    <a:lnTo>
                      <a:pt x="279" y="95"/>
                    </a:lnTo>
                    <a:lnTo>
                      <a:pt x="282" y="94"/>
                    </a:lnTo>
                    <a:lnTo>
                      <a:pt x="283" y="91"/>
                    </a:lnTo>
                    <a:lnTo>
                      <a:pt x="283" y="88"/>
                    </a:lnTo>
                    <a:lnTo>
                      <a:pt x="285" y="86"/>
                    </a:lnTo>
                    <a:lnTo>
                      <a:pt x="288" y="86"/>
                    </a:lnTo>
                    <a:lnTo>
                      <a:pt x="294" y="87"/>
                    </a:lnTo>
                    <a:lnTo>
                      <a:pt x="298" y="87"/>
                    </a:lnTo>
                    <a:lnTo>
                      <a:pt x="298" y="88"/>
                    </a:lnTo>
                    <a:lnTo>
                      <a:pt x="295" y="91"/>
                    </a:lnTo>
                    <a:lnTo>
                      <a:pt x="297" y="91"/>
                    </a:lnTo>
                    <a:lnTo>
                      <a:pt x="294" y="98"/>
                    </a:lnTo>
                    <a:lnTo>
                      <a:pt x="294" y="104"/>
                    </a:lnTo>
                    <a:lnTo>
                      <a:pt x="292" y="108"/>
                    </a:lnTo>
                    <a:lnTo>
                      <a:pt x="290" y="116"/>
                    </a:lnTo>
                    <a:lnTo>
                      <a:pt x="287" y="119"/>
                    </a:lnTo>
                    <a:lnTo>
                      <a:pt x="286" y="122"/>
                    </a:lnTo>
                    <a:lnTo>
                      <a:pt x="281" y="127"/>
                    </a:lnTo>
                    <a:lnTo>
                      <a:pt x="279" y="127"/>
                    </a:lnTo>
                    <a:lnTo>
                      <a:pt x="278" y="129"/>
                    </a:lnTo>
                    <a:lnTo>
                      <a:pt x="274" y="131"/>
                    </a:lnTo>
                    <a:lnTo>
                      <a:pt x="272" y="133"/>
                    </a:lnTo>
                    <a:lnTo>
                      <a:pt x="269" y="136"/>
                    </a:lnTo>
                    <a:lnTo>
                      <a:pt x="266" y="140"/>
                    </a:lnTo>
                    <a:lnTo>
                      <a:pt x="263" y="144"/>
                    </a:lnTo>
                    <a:lnTo>
                      <a:pt x="263" y="146"/>
                    </a:lnTo>
                    <a:lnTo>
                      <a:pt x="261" y="149"/>
                    </a:lnTo>
                    <a:lnTo>
                      <a:pt x="257" y="149"/>
                    </a:lnTo>
                    <a:lnTo>
                      <a:pt x="254" y="155"/>
                    </a:lnTo>
                    <a:lnTo>
                      <a:pt x="247" y="167"/>
                    </a:lnTo>
                    <a:lnTo>
                      <a:pt x="241" y="172"/>
                    </a:lnTo>
                    <a:lnTo>
                      <a:pt x="240" y="177"/>
                    </a:lnTo>
                    <a:lnTo>
                      <a:pt x="236" y="179"/>
                    </a:lnTo>
                    <a:lnTo>
                      <a:pt x="233" y="183"/>
                    </a:lnTo>
                    <a:lnTo>
                      <a:pt x="231" y="183"/>
                    </a:lnTo>
                    <a:lnTo>
                      <a:pt x="230" y="184"/>
                    </a:lnTo>
                    <a:lnTo>
                      <a:pt x="211" y="202"/>
                    </a:lnTo>
                    <a:lnTo>
                      <a:pt x="208" y="203"/>
                    </a:lnTo>
                    <a:lnTo>
                      <a:pt x="209" y="204"/>
                    </a:lnTo>
                    <a:lnTo>
                      <a:pt x="206" y="207"/>
                    </a:lnTo>
                    <a:lnTo>
                      <a:pt x="193" y="214"/>
                    </a:lnTo>
                    <a:lnTo>
                      <a:pt x="190" y="217"/>
                    </a:lnTo>
                    <a:lnTo>
                      <a:pt x="186" y="219"/>
                    </a:lnTo>
                    <a:lnTo>
                      <a:pt x="186" y="220"/>
                    </a:lnTo>
                    <a:lnTo>
                      <a:pt x="179" y="222"/>
                    </a:lnTo>
                    <a:lnTo>
                      <a:pt x="175" y="224"/>
                    </a:lnTo>
                    <a:lnTo>
                      <a:pt x="171" y="225"/>
                    </a:lnTo>
                    <a:lnTo>
                      <a:pt x="169" y="223"/>
                    </a:lnTo>
                    <a:lnTo>
                      <a:pt x="164" y="223"/>
                    </a:lnTo>
                    <a:lnTo>
                      <a:pt x="159" y="225"/>
                    </a:lnTo>
                    <a:lnTo>
                      <a:pt x="157" y="228"/>
                    </a:lnTo>
                    <a:lnTo>
                      <a:pt x="160" y="230"/>
                    </a:lnTo>
                    <a:lnTo>
                      <a:pt x="159" y="231"/>
                    </a:lnTo>
                    <a:lnTo>
                      <a:pt x="153" y="232"/>
                    </a:lnTo>
                    <a:lnTo>
                      <a:pt x="149" y="230"/>
                    </a:lnTo>
                    <a:lnTo>
                      <a:pt x="146" y="229"/>
                    </a:lnTo>
                    <a:lnTo>
                      <a:pt x="143" y="232"/>
                    </a:lnTo>
                    <a:lnTo>
                      <a:pt x="144" y="234"/>
                    </a:lnTo>
                    <a:lnTo>
                      <a:pt x="143" y="235"/>
                    </a:lnTo>
                    <a:lnTo>
                      <a:pt x="135" y="233"/>
                    </a:lnTo>
                    <a:lnTo>
                      <a:pt x="132" y="232"/>
                    </a:lnTo>
                    <a:lnTo>
                      <a:pt x="123" y="229"/>
                    </a:lnTo>
                    <a:lnTo>
                      <a:pt x="118" y="231"/>
                    </a:lnTo>
                    <a:lnTo>
                      <a:pt x="118" y="232"/>
                    </a:lnTo>
                    <a:lnTo>
                      <a:pt x="115" y="233"/>
                    </a:lnTo>
                    <a:lnTo>
                      <a:pt x="111" y="231"/>
                    </a:lnTo>
                    <a:lnTo>
                      <a:pt x="101" y="231"/>
                    </a:lnTo>
                    <a:lnTo>
                      <a:pt x="98" y="232"/>
                    </a:lnTo>
                    <a:lnTo>
                      <a:pt x="98" y="235"/>
                    </a:lnTo>
                    <a:lnTo>
                      <a:pt x="95" y="234"/>
                    </a:lnTo>
                    <a:lnTo>
                      <a:pt x="93" y="235"/>
                    </a:lnTo>
                    <a:lnTo>
                      <a:pt x="91" y="235"/>
                    </a:lnTo>
                    <a:lnTo>
                      <a:pt x="90" y="237"/>
                    </a:lnTo>
                    <a:lnTo>
                      <a:pt x="85" y="237"/>
                    </a:lnTo>
                    <a:lnTo>
                      <a:pt x="82" y="238"/>
                    </a:lnTo>
                    <a:lnTo>
                      <a:pt x="78" y="236"/>
                    </a:lnTo>
                    <a:lnTo>
                      <a:pt x="73" y="237"/>
                    </a:lnTo>
                    <a:lnTo>
                      <a:pt x="72" y="238"/>
                    </a:lnTo>
                    <a:lnTo>
                      <a:pt x="67" y="237"/>
                    </a:lnTo>
                    <a:lnTo>
                      <a:pt x="63" y="242"/>
                    </a:lnTo>
                    <a:lnTo>
                      <a:pt x="60" y="242"/>
                    </a:lnTo>
                    <a:lnTo>
                      <a:pt x="58" y="245"/>
                    </a:lnTo>
                    <a:lnTo>
                      <a:pt x="57" y="244"/>
                    </a:lnTo>
                    <a:lnTo>
                      <a:pt x="56" y="245"/>
                    </a:lnTo>
                    <a:lnTo>
                      <a:pt x="46" y="241"/>
                    </a:lnTo>
                    <a:lnTo>
                      <a:pt x="44" y="242"/>
                    </a:lnTo>
                    <a:lnTo>
                      <a:pt x="44" y="237"/>
                    </a:lnTo>
                    <a:lnTo>
                      <a:pt x="40" y="235"/>
                    </a:lnTo>
                    <a:lnTo>
                      <a:pt x="37" y="237"/>
                    </a:lnTo>
                    <a:lnTo>
                      <a:pt x="36" y="236"/>
                    </a:lnTo>
                    <a:lnTo>
                      <a:pt x="37" y="235"/>
                    </a:lnTo>
                    <a:lnTo>
                      <a:pt x="36" y="232"/>
                    </a:lnTo>
                    <a:lnTo>
                      <a:pt x="33" y="231"/>
                    </a:lnTo>
                    <a:lnTo>
                      <a:pt x="30" y="234"/>
                    </a:lnTo>
                    <a:lnTo>
                      <a:pt x="30" y="236"/>
                    </a:lnTo>
                    <a:lnTo>
                      <a:pt x="27" y="235"/>
                    </a:lnTo>
                    <a:lnTo>
                      <a:pt x="27" y="232"/>
                    </a:lnTo>
                    <a:lnTo>
                      <a:pt x="28" y="229"/>
                    </a:lnTo>
                    <a:lnTo>
                      <a:pt x="28" y="224"/>
                    </a:lnTo>
                    <a:lnTo>
                      <a:pt x="30" y="220"/>
                    </a:lnTo>
                    <a:lnTo>
                      <a:pt x="27" y="214"/>
                    </a:lnTo>
                    <a:lnTo>
                      <a:pt x="23" y="212"/>
                    </a:lnTo>
                    <a:lnTo>
                      <a:pt x="20" y="207"/>
                    </a:lnTo>
                    <a:lnTo>
                      <a:pt x="20" y="202"/>
                    </a:lnTo>
                    <a:lnTo>
                      <a:pt x="22" y="201"/>
                    </a:lnTo>
                    <a:lnTo>
                      <a:pt x="24" y="202"/>
                    </a:lnTo>
                    <a:lnTo>
                      <a:pt x="26" y="202"/>
                    </a:lnTo>
                    <a:lnTo>
                      <a:pt x="28" y="200"/>
                    </a:lnTo>
                    <a:lnTo>
                      <a:pt x="30" y="194"/>
                    </a:lnTo>
                    <a:lnTo>
                      <a:pt x="27" y="189"/>
                    </a:lnTo>
                    <a:lnTo>
                      <a:pt x="28" y="186"/>
                    </a:lnTo>
                    <a:lnTo>
                      <a:pt x="22" y="177"/>
                    </a:lnTo>
                    <a:lnTo>
                      <a:pt x="22" y="173"/>
                    </a:lnTo>
                    <a:lnTo>
                      <a:pt x="17" y="168"/>
                    </a:lnTo>
                    <a:lnTo>
                      <a:pt x="14" y="157"/>
                    </a:lnTo>
                    <a:lnTo>
                      <a:pt x="11" y="148"/>
                    </a:lnTo>
                    <a:lnTo>
                      <a:pt x="11" y="142"/>
                    </a:lnTo>
                    <a:lnTo>
                      <a:pt x="7" y="131"/>
                    </a:lnTo>
                    <a:lnTo>
                      <a:pt x="1" y="127"/>
                    </a:lnTo>
                    <a:lnTo>
                      <a:pt x="0" y="122"/>
                    </a:lnTo>
                    <a:lnTo>
                      <a:pt x="0" y="122"/>
                    </a:lnTo>
                    <a:lnTo>
                      <a:pt x="0" y="122"/>
                    </a:lnTo>
                    <a:lnTo>
                      <a:pt x="0" y="122"/>
                    </a:lnTo>
                    <a:close/>
                    <a:moveTo>
                      <a:pt x="196" y="156"/>
                    </a:moveTo>
                    <a:lnTo>
                      <a:pt x="199" y="158"/>
                    </a:lnTo>
                    <a:lnTo>
                      <a:pt x="201" y="161"/>
                    </a:lnTo>
                    <a:lnTo>
                      <a:pt x="205" y="162"/>
                    </a:lnTo>
                    <a:lnTo>
                      <a:pt x="208" y="162"/>
                    </a:lnTo>
                    <a:lnTo>
                      <a:pt x="209" y="160"/>
                    </a:lnTo>
                    <a:lnTo>
                      <a:pt x="210" y="159"/>
                    </a:lnTo>
                    <a:lnTo>
                      <a:pt x="212" y="154"/>
                    </a:lnTo>
                    <a:lnTo>
                      <a:pt x="215" y="153"/>
                    </a:lnTo>
                    <a:lnTo>
                      <a:pt x="218" y="152"/>
                    </a:lnTo>
                    <a:lnTo>
                      <a:pt x="221" y="151"/>
                    </a:lnTo>
                    <a:lnTo>
                      <a:pt x="223" y="152"/>
                    </a:lnTo>
                    <a:lnTo>
                      <a:pt x="227" y="150"/>
                    </a:lnTo>
                    <a:lnTo>
                      <a:pt x="228" y="148"/>
                    </a:lnTo>
                    <a:lnTo>
                      <a:pt x="226" y="146"/>
                    </a:lnTo>
                    <a:lnTo>
                      <a:pt x="226" y="144"/>
                    </a:lnTo>
                    <a:lnTo>
                      <a:pt x="229" y="142"/>
                    </a:lnTo>
                    <a:lnTo>
                      <a:pt x="232" y="139"/>
                    </a:lnTo>
                    <a:lnTo>
                      <a:pt x="232" y="135"/>
                    </a:lnTo>
                    <a:lnTo>
                      <a:pt x="229" y="128"/>
                    </a:lnTo>
                    <a:lnTo>
                      <a:pt x="225" y="126"/>
                    </a:lnTo>
                    <a:lnTo>
                      <a:pt x="222" y="126"/>
                    </a:lnTo>
                    <a:lnTo>
                      <a:pt x="220" y="125"/>
                    </a:lnTo>
                    <a:lnTo>
                      <a:pt x="219" y="125"/>
                    </a:lnTo>
                    <a:lnTo>
                      <a:pt x="217" y="124"/>
                    </a:lnTo>
                    <a:lnTo>
                      <a:pt x="214" y="124"/>
                    </a:lnTo>
                    <a:lnTo>
                      <a:pt x="213" y="125"/>
                    </a:lnTo>
                    <a:lnTo>
                      <a:pt x="211" y="126"/>
                    </a:lnTo>
                    <a:lnTo>
                      <a:pt x="209" y="128"/>
                    </a:lnTo>
                    <a:lnTo>
                      <a:pt x="203" y="129"/>
                    </a:lnTo>
                    <a:lnTo>
                      <a:pt x="199" y="132"/>
                    </a:lnTo>
                    <a:lnTo>
                      <a:pt x="197" y="137"/>
                    </a:lnTo>
                    <a:lnTo>
                      <a:pt x="192" y="141"/>
                    </a:lnTo>
                    <a:lnTo>
                      <a:pt x="189" y="143"/>
                    </a:lnTo>
                    <a:lnTo>
                      <a:pt x="191" y="146"/>
                    </a:lnTo>
                    <a:lnTo>
                      <a:pt x="193" y="148"/>
                    </a:lnTo>
                    <a:lnTo>
                      <a:pt x="194" y="149"/>
                    </a:lnTo>
                    <a:lnTo>
                      <a:pt x="196" y="152"/>
                    </a:lnTo>
                    <a:lnTo>
                      <a:pt x="196" y="156"/>
                    </a:lnTo>
                    <a:lnTo>
                      <a:pt x="196" y="156"/>
                    </a:lnTo>
                    <a:close/>
                  </a:path>
                </a:pathLst>
              </a:custGeom>
              <a:solidFill>
                <a:schemeClr val="accent4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632" name="Freeform 436"/>
              <p:cNvSpPr>
                <a:spLocks noEditPoints="1"/>
              </p:cNvSpPr>
              <p:nvPr userDrawn="1"/>
            </p:nvSpPr>
            <p:spPr bwMode="auto">
              <a:xfrm>
                <a:off x="3097" y="1506"/>
                <a:ext cx="162" cy="100"/>
              </a:xfrm>
              <a:custGeom>
                <a:avLst/>
                <a:gdLst>
                  <a:gd name="T0" fmla="*/ 59 w 162"/>
                  <a:gd name="T1" fmla="*/ 98 h 100"/>
                  <a:gd name="T2" fmla="*/ 52 w 162"/>
                  <a:gd name="T3" fmla="*/ 84 h 100"/>
                  <a:gd name="T4" fmla="*/ 66 w 162"/>
                  <a:gd name="T5" fmla="*/ 90 h 100"/>
                  <a:gd name="T6" fmla="*/ 86 w 162"/>
                  <a:gd name="T7" fmla="*/ 91 h 100"/>
                  <a:gd name="T8" fmla="*/ 96 w 162"/>
                  <a:gd name="T9" fmla="*/ 85 h 100"/>
                  <a:gd name="T10" fmla="*/ 105 w 162"/>
                  <a:gd name="T11" fmla="*/ 86 h 100"/>
                  <a:gd name="T12" fmla="*/ 114 w 162"/>
                  <a:gd name="T13" fmla="*/ 84 h 100"/>
                  <a:gd name="T14" fmla="*/ 137 w 162"/>
                  <a:gd name="T15" fmla="*/ 68 h 100"/>
                  <a:gd name="T16" fmla="*/ 144 w 162"/>
                  <a:gd name="T17" fmla="*/ 68 h 100"/>
                  <a:gd name="T18" fmla="*/ 149 w 162"/>
                  <a:gd name="T19" fmla="*/ 60 h 100"/>
                  <a:gd name="T20" fmla="*/ 155 w 162"/>
                  <a:gd name="T21" fmla="*/ 58 h 100"/>
                  <a:gd name="T22" fmla="*/ 155 w 162"/>
                  <a:gd name="T23" fmla="*/ 43 h 100"/>
                  <a:gd name="T24" fmla="*/ 159 w 162"/>
                  <a:gd name="T25" fmla="*/ 32 h 100"/>
                  <a:gd name="T26" fmla="*/ 147 w 162"/>
                  <a:gd name="T27" fmla="*/ 27 h 100"/>
                  <a:gd name="T28" fmla="*/ 150 w 162"/>
                  <a:gd name="T29" fmla="*/ 17 h 100"/>
                  <a:gd name="T30" fmla="*/ 144 w 162"/>
                  <a:gd name="T31" fmla="*/ 11 h 100"/>
                  <a:gd name="T32" fmla="*/ 143 w 162"/>
                  <a:gd name="T33" fmla="*/ 5 h 100"/>
                  <a:gd name="T34" fmla="*/ 133 w 162"/>
                  <a:gd name="T35" fmla="*/ 8 h 100"/>
                  <a:gd name="T36" fmla="*/ 122 w 162"/>
                  <a:gd name="T37" fmla="*/ 3 h 100"/>
                  <a:gd name="T38" fmla="*/ 113 w 162"/>
                  <a:gd name="T39" fmla="*/ 14 h 100"/>
                  <a:gd name="T40" fmla="*/ 104 w 162"/>
                  <a:gd name="T41" fmla="*/ 18 h 100"/>
                  <a:gd name="T42" fmla="*/ 92 w 162"/>
                  <a:gd name="T43" fmla="*/ 18 h 100"/>
                  <a:gd name="T44" fmla="*/ 90 w 162"/>
                  <a:gd name="T45" fmla="*/ 17 h 100"/>
                  <a:gd name="T46" fmla="*/ 76 w 162"/>
                  <a:gd name="T47" fmla="*/ 18 h 100"/>
                  <a:gd name="T48" fmla="*/ 69 w 162"/>
                  <a:gd name="T49" fmla="*/ 20 h 100"/>
                  <a:gd name="T50" fmla="*/ 64 w 162"/>
                  <a:gd name="T51" fmla="*/ 24 h 100"/>
                  <a:gd name="T52" fmla="*/ 54 w 162"/>
                  <a:gd name="T53" fmla="*/ 30 h 100"/>
                  <a:gd name="T54" fmla="*/ 46 w 162"/>
                  <a:gd name="T55" fmla="*/ 36 h 100"/>
                  <a:gd name="T56" fmla="*/ 47 w 162"/>
                  <a:gd name="T57" fmla="*/ 25 h 100"/>
                  <a:gd name="T58" fmla="*/ 46 w 162"/>
                  <a:gd name="T59" fmla="*/ 16 h 100"/>
                  <a:gd name="T60" fmla="*/ 38 w 162"/>
                  <a:gd name="T61" fmla="*/ 7 h 100"/>
                  <a:gd name="T62" fmla="*/ 23 w 162"/>
                  <a:gd name="T63" fmla="*/ 1 h 100"/>
                  <a:gd name="T64" fmla="*/ 29 w 162"/>
                  <a:gd name="T65" fmla="*/ 3 h 100"/>
                  <a:gd name="T66" fmla="*/ 26 w 162"/>
                  <a:gd name="T67" fmla="*/ 6 h 100"/>
                  <a:gd name="T68" fmla="*/ 32 w 162"/>
                  <a:gd name="T69" fmla="*/ 18 h 100"/>
                  <a:gd name="T70" fmla="*/ 25 w 162"/>
                  <a:gd name="T71" fmla="*/ 12 h 100"/>
                  <a:gd name="T72" fmla="*/ 18 w 162"/>
                  <a:gd name="T73" fmla="*/ 14 h 100"/>
                  <a:gd name="T74" fmla="*/ 16 w 162"/>
                  <a:gd name="T75" fmla="*/ 16 h 100"/>
                  <a:gd name="T76" fmla="*/ 18 w 162"/>
                  <a:gd name="T77" fmla="*/ 21 h 100"/>
                  <a:gd name="T78" fmla="*/ 9 w 162"/>
                  <a:gd name="T79" fmla="*/ 21 h 100"/>
                  <a:gd name="T80" fmla="*/ 8 w 162"/>
                  <a:gd name="T81" fmla="*/ 29 h 100"/>
                  <a:gd name="T82" fmla="*/ 6 w 162"/>
                  <a:gd name="T83" fmla="*/ 32 h 100"/>
                  <a:gd name="T84" fmla="*/ 20 w 162"/>
                  <a:gd name="T85" fmla="*/ 27 h 100"/>
                  <a:gd name="T86" fmla="*/ 26 w 162"/>
                  <a:gd name="T87" fmla="*/ 31 h 100"/>
                  <a:gd name="T88" fmla="*/ 36 w 162"/>
                  <a:gd name="T89" fmla="*/ 27 h 100"/>
                  <a:gd name="T90" fmla="*/ 43 w 162"/>
                  <a:gd name="T91" fmla="*/ 33 h 100"/>
                  <a:gd name="T92" fmla="*/ 27 w 162"/>
                  <a:gd name="T93" fmla="*/ 38 h 100"/>
                  <a:gd name="T94" fmla="*/ 41 w 162"/>
                  <a:gd name="T95" fmla="*/ 38 h 100"/>
                  <a:gd name="T96" fmla="*/ 26 w 162"/>
                  <a:gd name="T97" fmla="*/ 46 h 100"/>
                  <a:gd name="T98" fmla="*/ 22 w 162"/>
                  <a:gd name="T99" fmla="*/ 43 h 100"/>
                  <a:gd name="T100" fmla="*/ 11 w 162"/>
                  <a:gd name="T101" fmla="*/ 46 h 100"/>
                  <a:gd name="T102" fmla="*/ 7 w 162"/>
                  <a:gd name="T103" fmla="*/ 52 h 100"/>
                  <a:gd name="T104" fmla="*/ 28 w 162"/>
                  <a:gd name="T105" fmla="*/ 53 h 100"/>
                  <a:gd name="T106" fmla="*/ 30 w 162"/>
                  <a:gd name="T107" fmla="*/ 63 h 100"/>
                  <a:gd name="T108" fmla="*/ 31 w 162"/>
                  <a:gd name="T109" fmla="*/ 66 h 100"/>
                  <a:gd name="T110" fmla="*/ 41 w 162"/>
                  <a:gd name="T111" fmla="*/ 66 h 100"/>
                  <a:gd name="T112" fmla="*/ 29 w 162"/>
                  <a:gd name="T113" fmla="*/ 74 h 100"/>
                  <a:gd name="T114" fmla="*/ 21 w 162"/>
                  <a:gd name="T115" fmla="*/ 72 h 100"/>
                  <a:gd name="T116" fmla="*/ 21 w 162"/>
                  <a:gd name="T117" fmla="*/ 84 h 100"/>
                  <a:gd name="T118" fmla="*/ 39 w 162"/>
                  <a:gd name="T119" fmla="*/ 82 h 100"/>
                  <a:gd name="T120" fmla="*/ 48 w 162"/>
                  <a:gd name="T121" fmla="*/ 85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62" h="100">
                    <a:moveTo>
                      <a:pt x="57" y="100"/>
                    </a:moveTo>
                    <a:lnTo>
                      <a:pt x="56" y="98"/>
                    </a:lnTo>
                    <a:lnTo>
                      <a:pt x="57" y="95"/>
                    </a:lnTo>
                    <a:lnTo>
                      <a:pt x="59" y="94"/>
                    </a:lnTo>
                    <a:lnTo>
                      <a:pt x="59" y="98"/>
                    </a:lnTo>
                    <a:lnTo>
                      <a:pt x="57" y="100"/>
                    </a:lnTo>
                    <a:lnTo>
                      <a:pt x="57" y="100"/>
                    </a:lnTo>
                    <a:lnTo>
                      <a:pt x="57" y="100"/>
                    </a:lnTo>
                    <a:close/>
                    <a:moveTo>
                      <a:pt x="48" y="85"/>
                    </a:moveTo>
                    <a:lnTo>
                      <a:pt x="52" y="84"/>
                    </a:lnTo>
                    <a:lnTo>
                      <a:pt x="52" y="86"/>
                    </a:lnTo>
                    <a:lnTo>
                      <a:pt x="56" y="91"/>
                    </a:lnTo>
                    <a:lnTo>
                      <a:pt x="59" y="92"/>
                    </a:lnTo>
                    <a:lnTo>
                      <a:pt x="62" y="89"/>
                    </a:lnTo>
                    <a:lnTo>
                      <a:pt x="66" y="90"/>
                    </a:lnTo>
                    <a:lnTo>
                      <a:pt x="71" y="95"/>
                    </a:lnTo>
                    <a:lnTo>
                      <a:pt x="79" y="95"/>
                    </a:lnTo>
                    <a:lnTo>
                      <a:pt x="82" y="96"/>
                    </a:lnTo>
                    <a:lnTo>
                      <a:pt x="87" y="95"/>
                    </a:lnTo>
                    <a:lnTo>
                      <a:pt x="86" y="91"/>
                    </a:lnTo>
                    <a:lnTo>
                      <a:pt x="88" y="89"/>
                    </a:lnTo>
                    <a:lnTo>
                      <a:pt x="88" y="91"/>
                    </a:lnTo>
                    <a:lnTo>
                      <a:pt x="92" y="92"/>
                    </a:lnTo>
                    <a:lnTo>
                      <a:pt x="96" y="89"/>
                    </a:lnTo>
                    <a:lnTo>
                      <a:pt x="96" y="85"/>
                    </a:lnTo>
                    <a:lnTo>
                      <a:pt x="101" y="84"/>
                    </a:lnTo>
                    <a:lnTo>
                      <a:pt x="99" y="86"/>
                    </a:lnTo>
                    <a:lnTo>
                      <a:pt x="101" y="87"/>
                    </a:lnTo>
                    <a:lnTo>
                      <a:pt x="102" y="86"/>
                    </a:lnTo>
                    <a:lnTo>
                      <a:pt x="105" y="86"/>
                    </a:lnTo>
                    <a:lnTo>
                      <a:pt x="109" y="82"/>
                    </a:lnTo>
                    <a:lnTo>
                      <a:pt x="111" y="83"/>
                    </a:lnTo>
                    <a:lnTo>
                      <a:pt x="112" y="82"/>
                    </a:lnTo>
                    <a:lnTo>
                      <a:pt x="114" y="83"/>
                    </a:lnTo>
                    <a:lnTo>
                      <a:pt x="114" y="84"/>
                    </a:lnTo>
                    <a:lnTo>
                      <a:pt x="116" y="83"/>
                    </a:lnTo>
                    <a:lnTo>
                      <a:pt x="124" y="76"/>
                    </a:lnTo>
                    <a:lnTo>
                      <a:pt x="127" y="72"/>
                    </a:lnTo>
                    <a:lnTo>
                      <a:pt x="135" y="70"/>
                    </a:lnTo>
                    <a:lnTo>
                      <a:pt x="137" y="68"/>
                    </a:lnTo>
                    <a:lnTo>
                      <a:pt x="136" y="66"/>
                    </a:lnTo>
                    <a:lnTo>
                      <a:pt x="137" y="65"/>
                    </a:lnTo>
                    <a:lnTo>
                      <a:pt x="138" y="65"/>
                    </a:lnTo>
                    <a:lnTo>
                      <a:pt x="139" y="67"/>
                    </a:lnTo>
                    <a:lnTo>
                      <a:pt x="144" y="68"/>
                    </a:lnTo>
                    <a:lnTo>
                      <a:pt x="147" y="65"/>
                    </a:lnTo>
                    <a:lnTo>
                      <a:pt x="147" y="64"/>
                    </a:lnTo>
                    <a:lnTo>
                      <a:pt x="146" y="63"/>
                    </a:lnTo>
                    <a:lnTo>
                      <a:pt x="147" y="60"/>
                    </a:lnTo>
                    <a:lnTo>
                      <a:pt x="149" y="60"/>
                    </a:lnTo>
                    <a:lnTo>
                      <a:pt x="147" y="55"/>
                    </a:lnTo>
                    <a:lnTo>
                      <a:pt x="149" y="53"/>
                    </a:lnTo>
                    <a:lnTo>
                      <a:pt x="152" y="55"/>
                    </a:lnTo>
                    <a:lnTo>
                      <a:pt x="153" y="58"/>
                    </a:lnTo>
                    <a:lnTo>
                      <a:pt x="155" y="58"/>
                    </a:lnTo>
                    <a:lnTo>
                      <a:pt x="157" y="54"/>
                    </a:lnTo>
                    <a:lnTo>
                      <a:pt x="156" y="51"/>
                    </a:lnTo>
                    <a:lnTo>
                      <a:pt x="153" y="47"/>
                    </a:lnTo>
                    <a:lnTo>
                      <a:pt x="153" y="44"/>
                    </a:lnTo>
                    <a:lnTo>
                      <a:pt x="155" y="43"/>
                    </a:lnTo>
                    <a:lnTo>
                      <a:pt x="155" y="39"/>
                    </a:lnTo>
                    <a:lnTo>
                      <a:pt x="157" y="38"/>
                    </a:lnTo>
                    <a:lnTo>
                      <a:pt x="160" y="38"/>
                    </a:lnTo>
                    <a:lnTo>
                      <a:pt x="162" y="35"/>
                    </a:lnTo>
                    <a:lnTo>
                      <a:pt x="159" y="32"/>
                    </a:lnTo>
                    <a:lnTo>
                      <a:pt x="152" y="31"/>
                    </a:lnTo>
                    <a:lnTo>
                      <a:pt x="150" y="33"/>
                    </a:lnTo>
                    <a:lnTo>
                      <a:pt x="152" y="30"/>
                    </a:lnTo>
                    <a:lnTo>
                      <a:pt x="151" y="27"/>
                    </a:lnTo>
                    <a:lnTo>
                      <a:pt x="147" y="27"/>
                    </a:lnTo>
                    <a:lnTo>
                      <a:pt x="146" y="28"/>
                    </a:lnTo>
                    <a:lnTo>
                      <a:pt x="145" y="24"/>
                    </a:lnTo>
                    <a:lnTo>
                      <a:pt x="147" y="21"/>
                    </a:lnTo>
                    <a:lnTo>
                      <a:pt x="150" y="21"/>
                    </a:lnTo>
                    <a:lnTo>
                      <a:pt x="150" y="17"/>
                    </a:lnTo>
                    <a:lnTo>
                      <a:pt x="148" y="15"/>
                    </a:lnTo>
                    <a:lnTo>
                      <a:pt x="145" y="17"/>
                    </a:lnTo>
                    <a:lnTo>
                      <a:pt x="142" y="16"/>
                    </a:lnTo>
                    <a:lnTo>
                      <a:pt x="140" y="13"/>
                    </a:lnTo>
                    <a:lnTo>
                      <a:pt x="144" y="11"/>
                    </a:lnTo>
                    <a:lnTo>
                      <a:pt x="144" y="8"/>
                    </a:lnTo>
                    <a:lnTo>
                      <a:pt x="146" y="7"/>
                    </a:lnTo>
                    <a:lnTo>
                      <a:pt x="150" y="6"/>
                    </a:lnTo>
                    <a:lnTo>
                      <a:pt x="146" y="4"/>
                    </a:lnTo>
                    <a:lnTo>
                      <a:pt x="143" y="5"/>
                    </a:lnTo>
                    <a:lnTo>
                      <a:pt x="137" y="11"/>
                    </a:lnTo>
                    <a:lnTo>
                      <a:pt x="136" y="14"/>
                    </a:lnTo>
                    <a:lnTo>
                      <a:pt x="133" y="14"/>
                    </a:lnTo>
                    <a:lnTo>
                      <a:pt x="132" y="11"/>
                    </a:lnTo>
                    <a:lnTo>
                      <a:pt x="133" y="8"/>
                    </a:lnTo>
                    <a:lnTo>
                      <a:pt x="132" y="7"/>
                    </a:lnTo>
                    <a:lnTo>
                      <a:pt x="131" y="3"/>
                    </a:lnTo>
                    <a:lnTo>
                      <a:pt x="127" y="2"/>
                    </a:lnTo>
                    <a:lnTo>
                      <a:pt x="124" y="4"/>
                    </a:lnTo>
                    <a:lnTo>
                      <a:pt x="122" y="3"/>
                    </a:lnTo>
                    <a:lnTo>
                      <a:pt x="120" y="6"/>
                    </a:lnTo>
                    <a:lnTo>
                      <a:pt x="122" y="10"/>
                    </a:lnTo>
                    <a:lnTo>
                      <a:pt x="120" y="12"/>
                    </a:lnTo>
                    <a:lnTo>
                      <a:pt x="117" y="13"/>
                    </a:lnTo>
                    <a:lnTo>
                      <a:pt x="113" y="14"/>
                    </a:lnTo>
                    <a:lnTo>
                      <a:pt x="113" y="11"/>
                    </a:lnTo>
                    <a:lnTo>
                      <a:pt x="112" y="10"/>
                    </a:lnTo>
                    <a:lnTo>
                      <a:pt x="110" y="13"/>
                    </a:lnTo>
                    <a:lnTo>
                      <a:pt x="107" y="18"/>
                    </a:lnTo>
                    <a:lnTo>
                      <a:pt x="104" y="18"/>
                    </a:lnTo>
                    <a:lnTo>
                      <a:pt x="100" y="12"/>
                    </a:lnTo>
                    <a:lnTo>
                      <a:pt x="97" y="12"/>
                    </a:lnTo>
                    <a:lnTo>
                      <a:pt x="96" y="11"/>
                    </a:lnTo>
                    <a:lnTo>
                      <a:pt x="93" y="12"/>
                    </a:lnTo>
                    <a:lnTo>
                      <a:pt x="92" y="18"/>
                    </a:lnTo>
                    <a:lnTo>
                      <a:pt x="95" y="23"/>
                    </a:lnTo>
                    <a:lnTo>
                      <a:pt x="91" y="33"/>
                    </a:lnTo>
                    <a:lnTo>
                      <a:pt x="93" y="25"/>
                    </a:lnTo>
                    <a:lnTo>
                      <a:pt x="90" y="20"/>
                    </a:lnTo>
                    <a:lnTo>
                      <a:pt x="90" y="17"/>
                    </a:lnTo>
                    <a:lnTo>
                      <a:pt x="88" y="16"/>
                    </a:lnTo>
                    <a:lnTo>
                      <a:pt x="89" y="12"/>
                    </a:lnTo>
                    <a:lnTo>
                      <a:pt x="85" y="10"/>
                    </a:lnTo>
                    <a:lnTo>
                      <a:pt x="78" y="14"/>
                    </a:lnTo>
                    <a:lnTo>
                      <a:pt x="76" y="18"/>
                    </a:lnTo>
                    <a:lnTo>
                      <a:pt x="78" y="21"/>
                    </a:lnTo>
                    <a:lnTo>
                      <a:pt x="75" y="25"/>
                    </a:lnTo>
                    <a:lnTo>
                      <a:pt x="72" y="25"/>
                    </a:lnTo>
                    <a:lnTo>
                      <a:pt x="71" y="21"/>
                    </a:lnTo>
                    <a:lnTo>
                      <a:pt x="69" y="20"/>
                    </a:lnTo>
                    <a:lnTo>
                      <a:pt x="69" y="12"/>
                    </a:lnTo>
                    <a:lnTo>
                      <a:pt x="66" y="10"/>
                    </a:lnTo>
                    <a:lnTo>
                      <a:pt x="62" y="14"/>
                    </a:lnTo>
                    <a:lnTo>
                      <a:pt x="62" y="22"/>
                    </a:lnTo>
                    <a:lnTo>
                      <a:pt x="64" y="24"/>
                    </a:lnTo>
                    <a:lnTo>
                      <a:pt x="64" y="30"/>
                    </a:lnTo>
                    <a:lnTo>
                      <a:pt x="62" y="33"/>
                    </a:lnTo>
                    <a:lnTo>
                      <a:pt x="58" y="33"/>
                    </a:lnTo>
                    <a:lnTo>
                      <a:pt x="58" y="29"/>
                    </a:lnTo>
                    <a:lnTo>
                      <a:pt x="54" y="30"/>
                    </a:lnTo>
                    <a:lnTo>
                      <a:pt x="53" y="35"/>
                    </a:lnTo>
                    <a:lnTo>
                      <a:pt x="50" y="36"/>
                    </a:lnTo>
                    <a:lnTo>
                      <a:pt x="50" y="42"/>
                    </a:lnTo>
                    <a:lnTo>
                      <a:pt x="48" y="37"/>
                    </a:lnTo>
                    <a:lnTo>
                      <a:pt x="46" y="36"/>
                    </a:lnTo>
                    <a:lnTo>
                      <a:pt x="46" y="33"/>
                    </a:lnTo>
                    <a:lnTo>
                      <a:pt x="48" y="30"/>
                    </a:lnTo>
                    <a:lnTo>
                      <a:pt x="48" y="27"/>
                    </a:lnTo>
                    <a:lnTo>
                      <a:pt x="45" y="27"/>
                    </a:lnTo>
                    <a:lnTo>
                      <a:pt x="47" y="25"/>
                    </a:lnTo>
                    <a:lnTo>
                      <a:pt x="44" y="21"/>
                    </a:lnTo>
                    <a:lnTo>
                      <a:pt x="47" y="22"/>
                    </a:lnTo>
                    <a:lnTo>
                      <a:pt x="49" y="20"/>
                    </a:lnTo>
                    <a:lnTo>
                      <a:pt x="48" y="18"/>
                    </a:lnTo>
                    <a:lnTo>
                      <a:pt x="46" y="16"/>
                    </a:lnTo>
                    <a:lnTo>
                      <a:pt x="48" y="14"/>
                    </a:lnTo>
                    <a:lnTo>
                      <a:pt x="46" y="11"/>
                    </a:lnTo>
                    <a:lnTo>
                      <a:pt x="44" y="13"/>
                    </a:lnTo>
                    <a:lnTo>
                      <a:pt x="42" y="10"/>
                    </a:lnTo>
                    <a:lnTo>
                      <a:pt x="38" y="7"/>
                    </a:lnTo>
                    <a:lnTo>
                      <a:pt x="37" y="4"/>
                    </a:lnTo>
                    <a:lnTo>
                      <a:pt x="36" y="1"/>
                    </a:lnTo>
                    <a:lnTo>
                      <a:pt x="32" y="2"/>
                    </a:lnTo>
                    <a:lnTo>
                      <a:pt x="28" y="0"/>
                    </a:lnTo>
                    <a:lnTo>
                      <a:pt x="23" y="1"/>
                    </a:lnTo>
                    <a:lnTo>
                      <a:pt x="23" y="2"/>
                    </a:lnTo>
                    <a:lnTo>
                      <a:pt x="24" y="4"/>
                    </a:lnTo>
                    <a:lnTo>
                      <a:pt x="26" y="4"/>
                    </a:lnTo>
                    <a:lnTo>
                      <a:pt x="26" y="3"/>
                    </a:lnTo>
                    <a:lnTo>
                      <a:pt x="29" y="3"/>
                    </a:lnTo>
                    <a:lnTo>
                      <a:pt x="31" y="4"/>
                    </a:lnTo>
                    <a:lnTo>
                      <a:pt x="34" y="5"/>
                    </a:lnTo>
                    <a:lnTo>
                      <a:pt x="33" y="7"/>
                    </a:lnTo>
                    <a:lnTo>
                      <a:pt x="29" y="6"/>
                    </a:lnTo>
                    <a:lnTo>
                      <a:pt x="26" y="6"/>
                    </a:lnTo>
                    <a:lnTo>
                      <a:pt x="26" y="7"/>
                    </a:lnTo>
                    <a:lnTo>
                      <a:pt x="32" y="11"/>
                    </a:lnTo>
                    <a:lnTo>
                      <a:pt x="35" y="15"/>
                    </a:lnTo>
                    <a:lnTo>
                      <a:pt x="34" y="17"/>
                    </a:lnTo>
                    <a:lnTo>
                      <a:pt x="32" y="18"/>
                    </a:lnTo>
                    <a:lnTo>
                      <a:pt x="32" y="15"/>
                    </a:lnTo>
                    <a:lnTo>
                      <a:pt x="29" y="13"/>
                    </a:lnTo>
                    <a:lnTo>
                      <a:pt x="26" y="15"/>
                    </a:lnTo>
                    <a:lnTo>
                      <a:pt x="25" y="14"/>
                    </a:lnTo>
                    <a:lnTo>
                      <a:pt x="25" y="12"/>
                    </a:lnTo>
                    <a:lnTo>
                      <a:pt x="23" y="8"/>
                    </a:lnTo>
                    <a:lnTo>
                      <a:pt x="19" y="7"/>
                    </a:lnTo>
                    <a:lnTo>
                      <a:pt x="16" y="8"/>
                    </a:lnTo>
                    <a:lnTo>
                      <a:pt x="19" y="12"/>
                    </a:lnTo>
                    <a:lnTo>
                      <a:pt x="18" y="14"/>
                    </a:lnTo>
                    <a:lnTo>
                      <a:pt x="16" y="11"/>
                    </a:lnTo>
                    <a:lnTo>
                      <a:pt x="13" y="10"/>
                    </a:lnTo>
                    <a:lnTo>
                      <a:pt x="12" y="12"/>
                    </a:lnTo>
                    <a:lnTo>
                      <a:pt x="14" y="15"/>
                    </a:lnTo>
                    <a:lnTo>
                      <a:pt x="16" y="16"/>
                    </a:lnTo>
                    <a:lnTo>
                      <a:pt x="18" y="18"/>
                    </a:lnTo>
                    <a:lnTo>
                      <a:pt x="14" y="16"/>
                    </a:lnTo>
                    <a:lnTo>
                      <a:pt x="11" y="18"/>
                    </a:lnTo>
                    <a:lnTo>
                      <a:pt x="13" y="21"/>
                    </a:lnTo>
                    <a:lnTo>
                      <a:pt x="18" y="21"/>
                    </a:lnTo>
                    <a:lnTo>
                      <a:pt x="15" y="21"/>
                    </a:lnTo>
                    <a:lnTo>
                      <a:pt x="14" y="22"/>
                    </a:lnTo>
                    <a:lnTo>
                      <a:pt x="15" y="24"/>
                    </a:lnTo>
                    <a:lnTo>
                      <a:pt x="14" y="25"/>
                    </a:lnTo>
                    <a:lnTo>
                      <a:pt x="9" y="21"/>
                    </a:lnTo>
                    <a:lnTo>
                      <a:pt x="7" y="21"/>
                    </a:lnTo>
                    <a:lnTo>
                      <a:pt x="5" y="21"/>
                    </a:lnTo>
                    <a:lnTo>
                      <a:pt x="8" y="26"/>
                    </a:lnTo>
                    <a:lnTo>
                      <a:pt x="9" y="28"/>
                    </a:lnTo>
                    <a:lnTo>
                      <a:pt x="8" y="29"/>
                    </a:lnTo>
                    <a:lnTo>
                      <a:pt x="4" y="25"/>
                    </a:lnTo>
                    <a:lnTo>
                      <a:pt x="2" y="24"/>
                    </a:lnTo>
                    <a:lnTo>
                      <a:pt x="0" y="27"/>
                    </a:lnTo>
                    <a:lnTo>
                      <a:pt x="4" y="29"/>
                    </a:lnTo>
                    <a:lnTo>
                      <a:pt x="6" y="32"/>
                    </a:lnTo>
                    <a:lnTo>
                      <a:pt x="11" y="33"/>
                    </a:lnTo>
                    <a:lnTo>
                      <a:pt x="13" y="29"/>
                    </a:lnTo>
                    <a:lnTo>
                      <a:pt x="17" y="28"/>
                    </a:lnTo>
                    <a:lnTo>
                      <a:pt x="19" y="25"/>
                    </a:lnTo>
                    <a:lnTo>
                      <a:pt x="20" y="27"/>
                    </a:lnTo>
                    <a:lnTo>
                      <a:pt x="21" y="29"/>
                    </a:lnTo>
                    <a:lnTo>
                      <a:pt x="23" y="29"/>
                    </a:lnTo>
                    <a:lnTo>
                      <a:pt x="25" y="27"/>
                    </a:lnTo>
                    <a:lnTo>
                      <a:pt x="25" y="31"/>
                    </a:lnTo>
                    <a:lnTo>
                      <a:pt x="26" y="31"/>
                    </a:lnTo>
                    <a:lnTo>
                      <a:pt x="29" y="29"/>
                    </a:lnTo>
                    <a:lnTo>
                      <a:pt x="30" y="27"/>
                    </a:lnTo>
                    <a:lnTo>
                      <a:pt x="31" y="30"/>
                    </a:lnTo>
                    <a:lnTo>
                      <a:pt x="32" y="30"/>
                    </a:lnTo>
                    <a:lnTo>
                      <a:pt x="36" y="27"/>
                    </a:lnTo>
                    <a:lnTo>
                      <a:pt x="36" y="29"/>
                    </a:lnTo>
                    <a:lnTo>
                      <a:pt x="34" y="32"/>
                    </a:lnTo>
                    <a:lnTo>
                      <a:pt x="36" y="33"/>
                    </a:lnTo>
                    <a:lnTo>
                      <a:pt x="39" y="31"/>
                    </a:lnTo>
                    <a:lnTo>
                      <a:pt x="43" y="33"/>
                    </a:lnTo>
                    <a:lnTo>
                      <a:pt x="40" y="34"/>
                    </a:lnTo>
                    <a:lnTo>
                      <a:pt x="38" y="34"/>
                    </a:lnTo>
                    <a:lnTo>
                      <a:pt x="36" y="36"/>
                    </a:lnTo>
                    <a:lnTo>
                      <a:pt x="32" y="36"/>
                    </a:lnTo>
                    <a:lnTo>
                      <a:pt x="27" y="38"/>
                    </a:lnTo>
                    <a:lnTo>
                      <a:pt x="27" y="40"/>
                    </a:lnTo>
                    <a:lnTo>
                      <a:pt x="33" y="42"/>
                    </a:lnTo>
                    <a:lnTo>
                      <a:pt x="37" y="41"/>
                    </a:lnTo>
                    <a:lnTo>
                      <a:pt x="38" y="39"/>
                    </a:lnTo>
                    <a:lnTo>
                      <a:pt x="41" y="38"/>
                    </a:lnTo>
                    <a:lnTo>
                      <a:pt x="40" y="41"/>
                    </a:lnTo>
                    <a:lnTo>
                      <a:pt x="38" y="43"/>
                    </a:lnTo>
                    <a:lnTo>
                      <a:pt x="32" y="44"/>
                    </a:lnTo>
                    <a:lnTo>
                      <a:pt x="29" y="43"/>
                    </a:lnTo>
                    <a:lnTo>
                      <a:pt x="26" y="46"/>
                    </a:lnTo>
                    <a:lnTo>
                      <a:pt x="25" y="44"/>
                    </a:lnTo>
                    <a:lnTo>
                      <a:pt x="25" y="43"/>
                    </a:lnTo>
                    <a:lnTo>
                      <a:pt x="25" y="42"/>
                    </a:lnTo>
                    <a:lnTo>
                      <a:pt x="23" y="42"/>
                    </a:lnTo>
                    <a:lnTo>
                      <a:pt x="22" y="43"/>
                    </a:lnTo>
                    <a:lnTo>
                      <a:pt x="23" y="43"/>
                    </a:lnTo>
                    <a:lnTo>
                      <a:pt x="20" y="45"/>
                    </a:lnTo>
                    <a:lnTo>
                      <a:pt x="17" y="44"/>
                    </a:lnTo>
                    <a:lnTo>
                      <a:pt x="14" y="44"/>
                    </a:lnTo>
                    <a:lnTo>
                      <a:pt x="11" y="46"/>
                    </a:lnTo>
                    <a:lnTo>
                      <a:pt x="7" y="44"/>
                    </a:lnTo>
                    <a:lnTo>
                      <a:pt x="4" y="45"/>
                    </a:lnTo>
                    <a:lnTo>
                      <a:pt x="4" y="45"/>
                    </a:lnTo>
                    <a:lnTo>
                      <a:pt x="5" y="49"/>
                    </a:lnTo>
                    <a:lnTo>
                      <a:pt x="7" y="52"/>
                    </a:lnTo>
                    <a:lnTo>
                      <a:pt x="12" y="53"/>
                    </a:lnTo>
                    <a:lnTo>
                      <a:pt x="12" y="51"/>
                    </a:lnTo>
                    <a:lnTo>
                      <a:pt x="18" y="53"/>
                    </a:lnTo>
                    <a:lnTo>
                      <a:pt x="25" y="53"/>
                    </a:lnTo>
                    <a:lnTo>
                      <a:pt x="28" y="53"/>
                    </a:lnTo>
                    <a:lnTo>
                      <a:pt x="28" y="55"/>
                    </a:lnTo>
                    <a:lnTo>
                      <a:pt x="25" y="56"/>
                    </a:lnTo>
                    <a:lnTo>
                      <a:pt x="25" y="58"/>
                    </a:lnTo>
                    <a:lnTo>
                      <a:pt x="29" y="61"/>
                    </a:lnTo>
                    <a:lnTo>
                      <a:pt x="30" y="63"/>
                    </a:lnTo>
                    <a:lnTo>
                      <a:pt x="32" y="63"/>
                    </a:lnTo>
                    <a:lnTo>
                      <a:pt x="37" y="59"/>
                    </a:lnTo>
                    <a:lnTo>
                      <a:pt x="36" y="62"/>
                    </a:lnTo>
                    <a:lnTo>
                      <a:pt x="32" y="64"/>
                    </a:lnTo>
                    <a:lnTo>
                      <a:pt x="31" y="66"/>
                    </a:lnTo>
                    <a:lnTo>
                      <a:pt x="34" y="68"/>
                    </a:lnTo>
                    <a:lnTo>
                      <a:pt x="39" y="65"/>
                    </a:lnTo>
                    <a:lnTo>
                      <a:pt x="43" y="65"/>
                    </a:lnTo>
                    <a:lnTo>
                      <a:pt x="44" y="67"/>
                    </a:lnTo>
                    <a:lnTo>
                      <a:pt x="41" y="66"/>
                    </a:lnTo>
                    <a:lnTo>
                      <a:pt x="38" y="67"/>
                    </a:lnTo>
                    <a:lnTo>
                      <a:pt x="35" y="69"/>
                    </a:lnTo>
                    <a:lnTo>
                      <a:pt x="31" y="69"/>
                    </a:lnTo>
                    <a:lnTo>
                      <a:pt x="31" y="72"/>
                    </a:lnTo>
                    <a:lnTo>
                      <a:pt x="29" y="74"/>
                    </a:lnTo>
                    <a:lnTo>
                      <a:pt x="27" y="74"/>
                    </a:lnTo>
                    <a:lnTo>
                      <a:pt x="25" y="75"/>
                    </a:lnTo>
                    <a:lnTo>
                      <a:pt x="25" y="73"/>
                    </a:lnTo>
                    <a:lnTo>
                      <a:pt x="21" y="70"/>
                    </a:lnTo>
                    <a:lnTo>
                      <a:pt x="21" y="72"/>
                    </a:lnTo>
                    <a:lnTo>
                      <a:pt x="20" y="72"/>
                    </a:lnTo>
                    <a:lnTo>
                      <a:pt x="21" y="76"/>
                    </a:lnTo>
                    <a:lnTo>
                      <a:pt x="22" y="77"/>
                    </a:lnTo>
                    <a:lnTo>
                      <a:pt x="21" y="78"/>
                    </a:lnTo>
                    <a:lnTo>
                      <a:pt x="21" y="84"/>
                    </a:lnTo>
                    <a:lnTo>
                      <a:pt x="25" y="84"/>
                    </a:lnTo>
                    <a:lnTo>
                      <a:pt x="25" y="83"/>
                    </a:lnTo>
                    <a:lnTo>
                      <a:pt x="28" y="84"/>
                    </a:lnTo>
                    <a:lnTo>
                      <a:pt x="35" y="85"/>
                    </a:lnTo>
                    <a:lnTo>
                      <a:pt x="39" y="82"/>
                    </a:lnTo>
                    <a:lnTo>
                      <a:pt x="43" y="84"/>
                    </a:lnTo>
                    <a:lnTo>
                      <a:pt x="46" y="82"/>
                    </a:lnTo>
                    <a:lnTo>
                      <a:pt x="47" y="84"/>
                    </a:lnTo>
                    <a:lnTo>
                      <a:pt x="48" y="85"/>
                    </a:lnTo>
                    <a:lnTo>
                      <a:pt x="48" y="85"/>
                    </a:lnTo>
                    <a:close/>
                  </a:path>
                </a:pathLst>
              </a:custGeom>
              <a:solidFill>
                <a:schemeClr val="accent4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633" name="Freeform 437"/>
              <p:cNvSpPr>
                <a:spLocks/>
              </p:cNvSpPr>
              <p:nvPr userDrawn="1"/>
            </p:nvSpPr>
            <p:spPr bwMode="auto">
              <a:xfrm>
                <a:off x="3867" y="2528"/>
                <a:ext cx="304" cy="337"/>
              </a:xfrm>
              <a:custGeom>
                <a:avLst/>
                <a:gdLst>
                  <a:gd name="T0" fmla="*/ 271 w 304"/>
                  <a:gd name="T1" fmla="*/ 5 h 337"/>
                  <a:gd name="T2" fmla="*/ 273 w 304"/>
                  <a:gd name="T3" fmla="*/ 14 h 337"/>
                  <a:gd name="T4" fmla="*/ 274 w 304"/>
                  <a:gd name="T5" fmla="*/ 16 h 337"/>
                  <a:gd name="T6" fmla="*/ 278 w 304"/>
                  <a:gd name="T7" fmla="*/ 46 h 337"/>
                  <a:gd name="T8" fmla="*/ 295 w 304"/>
                  <a:gd name="T9" fmla="*/ 69 h 337"/>
                  <a:gd name="T10" fmla="*/ 301 w 304"/>
                  <a:gd name="T11" fmla="*/ 78 h 337"/>
                  <a:gd name="T12" fmla="*/ 288 w 304"/>
                  <a:gd name="T13" fmla="*/ 83 h 337"/>
                  <a:gd name="T14" fmla="*/ 279 w 304"/>
                  <a:gd name="T15" fmla="*/ 89 h 337"/>
                  <a:gd name="T16" fmla="*/ 278 w 304"/>
                  <a:gd name="T17" fmla="*/ 102 h 337"/>
                  <a:gd name="T18" fmla="*/ 269 w 304"/>
                  <a:gd name="T19" fmla="*/ 125 h 337"/>
                  <a:gd name="T20" fmla="*/ 271 w 304"/>
                  <a:gd name="T21" fmla="*/ 143 h 337"/>
                  <a:gd name="T22" fmla="*/ 262 w 304"/>
                  <a:gd name="T23" fmla="*/ 168 h 337"/>
                  <a:gd name="T24" fmla="*/ 251 w 304"/>
                  <a:gd name="T25" fmla="*/ 182 h 337"/>
                  <a:gd name="T26" fmla="*/ 237 w 304"/>
                  <a:gd name="T27" fmla="*/ 204 h 337"/>
                  <a:gd name="T28" fmla="*/ 232 w 304"/>
                  <a:gd name="T29" fmla="*/ 221 h 337"/>
                  <a:gd name="T30" fmla="*/ 225 w 304"/>
                  <a:gd name="T31" fmla="*/ 247 h 337"/>
                  <a:gd name="T32" fmla="*/ 212 w 304"/>
                  <a:gd name="T33" fmla="*/ 248 h 337"/>
                  <a:gd name="T34" fmla="*/ 212 w 304"/>
                  <a:gd name="T35" fmla="*/ 260 h 337"/>
                  <a:gd name="T36" fmla="*/ 226 w 304"/>
                  <a:gd name="T37" fmla="*/ 268 h 337"/>
                  <a:gd name="T38" fmla="*/ 238 w 304"/>
                  <a:gd name="T39" fmla="*/ 278 h 337"/>
                  <a:gd name="T40" fmla="*/ 247 w 304"/>
                  <a:gd name="T41" fmla="*/ 296 h 337"/>
                  <a:gd name="T42" fmla="*/ 233 w 304"/>
                  <a:gd name="T43" fmla="*/ 318 h 337"/>
                  <a:gd name="T44" fmla="*/ 224 w 304"/>
                  <a:gd name="T45" fmla="*/ 326 h 337"/>
                  <a:gd name="T46" fmla="*/ 203 w 304"/>
                  <a:gd name="T47" fmla="*/ 332 h 337"/>
                  <a:gd name="T48" fmla="*/ 193 w 304"/>
                  <a:gd name="T49" fmla="*/ 337 h 337"/>
                  <a:gd name="T50" fmla="*/ 181 w 304"/>
                  <a:gd name="T51" fmla="*/ 333 h 337"/>
                  <a:gd name="T52" fmla="*/ 170 w 304"/>
                  <a:gd name="T53" fmla="*/ 336 h 337"/>
                  <a:gd name="T54" fmla="*/ 163 w 304"/>
                  <a:gd name="T55" fmla="*/ 334 h 337"/>
                  <a:gd name="T56" fmla="*/ 153 w 304"/>
                  <a:gd name="T57" fmla="*/ 323 h 337"/>
                  <a:gd name="T58" fmla="*/ 142 w 304"/>
                  <a:gd name="T59" fmla="*/ 315 h 337"/>
                  <a:gd name="T60" fmla="*/ 133 w 304"/>
                  <a:gd name="T61" fmla="*/ 319 h 337"/>
                  <a:gd name="T62" fmla="*/ 120 w 304"/>
                  <a:gd name="T63" fmla="*/ 322 h 337"/>
                  <a:gd name="T64" fmla="*/ 107 w 304"/>
                  <a:gd name="T65" fmla="*/ 313 h 337"/>
                  <a:gd name="T66" fmla="*/ 100 w 304"/>
                  <a:gd name="T67" fmla="*/ 305 h 337"/>
                  <a:gd name="T68" fmla="*/ 90 w 304"/>
                  <a:gd name="T69" fmla="*/ 293 h 337"/>
                  <a:gd name="T70" fmla="*/ 81 w 304"/>
                  <a:gd name="T71" fmla="*/ 283 h 337"/>
                  <a:gd name="T72" fmla="*/ 70 w 304"/>
                  <a:gd name="T73" fmla="*/ 272 h 337"/>
                  <a:gd name="T74" fmla="*/ 63 w 304"/>
                  <a:gd name="T75" fmla="*/ 265 h 337"/>
                  <a:gd name="T76" fmla="*/ 58 w 304"/>
                  <a:gd name="T77" fmla="*/ 257 h 337"/>
                  <a:gd name="T78" fmla="*/ 44 w 304"/>
                  <a:gd name="T79" fmla="*/ 249 h 337"/>
                  <a:gd name="T80" fmla="*/ 36 w 304"/>
                  <a:gd name="T81" fmla="*/ 243 h 337"/>
                  <a:gd name="T82" fmla="*/ 31 w 304"/>
                  <a:gd name="T83" fmla="*/ 231 h 337"/>
                  <a:gd name="T84" fmla="*/ 22 w 304"/>
                  <a:gd name="T85" fmla="*/ 210 h 337"/>
                  <a:gd name="T86" fmla="*/ 17 w 304"/>
                  <a:gd name="T87" fmla="*/ 199 h 337"/>
                  <a:gd name="T88" fmla="*/ 10 w 304"/>
                  <a:gd name="T89" fmla="*/ 187 h 337"/>
                  <a:gd name="T90" fmla="*/ 9 w 304"/>
                  <a:gd name="T91" fmla="*/ 173 h 337"/>
                  <a:gd name="T92" fmla="*/ 0 w 304"/>
                  <a:gd name="T93" fmla="*/ 168 h 337"/>
                  <a:gd name="T94" fmla="*/ 5 w 304"/>
                  <a:gd name="T95" fmla="*/ 150 h 337"/>
                  <a:gd name="T96" fmla="*/ 10 w 304"/>
                  <a:gd name="T97" fmla="*/ 137 h 337"/>
                  <a:gd name="T98" fmla="*/ 19 w 304"/>
                  <a:gd name="T99" fmla="*/ 119 h 337"/>
                  <a:gd name="T100" fmla="*/ 36 w 304"/>
                  <a:gd name="T101" fmla="*/ 115 h 337"/>
                  <a:gd name="T102" fmla="*/ 51 w 304"/>
                  <a:gd name="T103" fmla="*/ 2 h 3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304" h="337">
                    <a:moveTo>
                      <a:pt x="51" y="2"/>
                    </a:moveTo>
                    <a:lnTo>
                      <a:pt x="270" y="0"/>
                    </a:lnTo>
                    <a:lnTo>
                      <a:pt x="270" y="2"/>
                    </a:lnTo>
                    <a:lnTo>
                      <a:pt x="270" y="3"/>
                    </a:lnTo>
                    <a:lnTo>
                      <a:pt x="271" y="5"/>
                    </a:lnTo>
                    <a:lnTo>
                      <a:pt x="270" y="6"/>
                    </a:lnTo>
                    <a:lnTo>
                      <a:pt x="271" y="7"/>
                    </a:lnTo>
                    <a:lnTo>
                      <a:pt x="271" y="7"/>
                    </a:lnTo>
                    <a:lnTo>
                      <a:pt x="272" y="8"/>
                    </a:lnTo>
                    <a:lnTo>
                      <a:pt x="273" y="14"/>
                    </a:lnTo>
                    <a:lnTo>
                      <a:pt x="277" y="17"/>
                    </a:lnTo>
                    <a:lnTo>
                      <a:pt x="276" y="19"/>
                    </a:lnTo>
                    <a:lnTo>
                      <a:pt x="276" y="19"/>
                    </a:lnTo>
                    <a:lnTo>
                      <a:pt x="275" y="17"/>
                    </a:lnTo>
                    <a:lnTo>
                      <a:pt x="274" y="16"/>
                    </a:lnTo>
                    <a:lnTo>
                      <a:pt x="273" y="16"/>
                    </a:lnTo>
                    <a:lnTo>
                      <a:pt x="273" y="20"/>
                    </a:lnTo>
                    <a:lnTo>
                      <a:pt x="278" y="33"/>
                    </a:lnTo>
                    <a:lnTo>
                      <a:pt x="279" y="39"/>
                    </a:lnTo>
                    <a:lnTo>
                      <a:pt x="278" y="46"/>
                    </a:lnTo>
                    <a:lnTo>
                      <a:pt x="281" y="54"/>
                    </a:lnTo>
                    <a:lnTo>
                      <a:pt x="284" y="60"/>
                    </a:lnTo>
                    <a:lnTo>
                      <a:pt x="287" y="60"/>
                    </a:lnTo>
                    <a:lnTo>
                      <a:pt x="295" y="66"/>
                    </a:lnTo>
                    <a:lnTo>
                      <a:pt x="295" y="69"/>
                    </a:lnTo>
                    <a:lnTo>
                      <a:pt x="299" y="69"/>
                    </a:lnTo>
                    <a:lnTo>
                      <a:pt x="303" y="71"/>
                    </a:lnTo>
                    <a:lnTo>
                      <a:pt x="303" y="74"/>
                    </a:lnTo>
                    <a:lnTo>
                      <a:pt x="304" y="74"/>
                    </a:lnTo>
                    <a:lnTo>
                      <a:pt x="301" y="78"/>
                    </a:lnTo>
                    <a:lnTo>
                      <a:pt x="298" y="79"/>
                    </a:lnTo>
                    <a:lnTo>
                      <a:pt x="295" y="80"/>
                    </a:lnTo>
                    <a:lnTo>
                      <a:pt x="294" y="81"/>
                    </a:lnTo>
                    <a:lnTo>
                      <a:pt x="290" y="81"/>
                    </a:lnTo>
                    <a:lnTo>
                      <a:pt x="288" y="83"/>
                    </a:lnTo>
                    <a:lnTo>
                      <a:pt x="284" y="84"/>
                    </a:lnTo>
                    <a:lnTo>
                      <a:pt x="284" y="86"/>
                    </a:lnTo>
                    <a:lnTo>
                      <a:pt x="285" y="87"/>
                    </a:lnTo>
                    <a:lnTo>
                      <a:pt x="284" y="89"/>
                    </a:lnTo>
                    <a:lnTo>
                      <a:pt x="279" y="89"/>
                    </a:lnTo>
                    <a:lnTo>
                      <a:pt x="277" y="91"/>
                    </a:lnTo>
                    <a:lnTo>
                      <a:pt x="277" y="95"/>
                    </a:lnTo>
                    <a:lnTo>
                      <a:pt x="275" y="99"/>
                    </a:lnTo>
                    <a:lnTo>
                      <a:pt x="277" y="100"/>
                    </a:lnTo>
                    <a:lnTo>
                      <a:pt x="278" y="102"/>
                    </a:lnTo>
                    <a:lnTo>
                      <a:pt x="277" y="103"/>
                    </a:lnTo>
                    <a:lnTo>
                      <a:pt x="274" y="108"/>
                    </a:lnTo>
                    <a:lnTo>
                      <a:pt x="273" y="117"/>
                    </a:lnTo>
                    <a:lnTo>
                      <a:pt x="270" y="122"/>
                    </a:lnTo>
                    <a:lnTo>
                      <a:pt x="269" y="125"/>
                    </a:lnTo>
                    <a:lnTo>
                      <a:pt x="268" y="126"/>
                    </a:lnTo>
                    <a:lnTo>
                      <a:pt x="268" y="131"/>
                    </a:lnTo>
                    <a:lnTo>
                      <a:pt x="269" y="138"/>
                    </a:lnTo>
                    <a:lnTo>
                      <a:pt x="270" y="142"/>
                    </a:lnTo>
                    <a:lnTo>
                      <a:pt x="271" y="143"/>
                    </a:lnTo>
                    <a:lnTo>
                      <a:pt x="270" y="144"/>
                    </a:lnTo>
                    <a:lnTo>
                      <a:pt x="268" y="149"/>
                    </a:lnTo>
                    <a:lnTo>
                      <a:pt x="268" y="155"/>
                    </a:lnTo>
                    <a:lnTo>
                      <a:pt x="264" y="164"/>
                    </a:lnTo>
                    <a:lnTo>
                      <a:pt x="262" y="168"/>
                    </a:lnTo>
                    <a:lnTo>
                      <a:pt x="260" y="168"/>
                    </a:lnTo>
                    <a:lnTo>
                      <a:pt x="256" y="169"/>
                    </a:lnTo>
                    <a:lnTo>
                      <a:pt x="256" y="172"/>
                    </a:lnTo>
                    <a:lnTo>
                      <a:pt x="251" y="180"/>
                    </a:lnTo>
                    <a:lnTo>
                      <a:pt x="251" y="182"/>
                    </a:lnTo>
                    <a:lnTo>
                      <a:pt x="247" y="186"/>
                    </a:lnTo>
                    <a:lnTo>
                      <a:pt x="244" y="191"/>
                    </a:lnTo>
                    <a:lnTo>
                      <a:pt x="241" y="205"/>
                    </a:lnTo>
                    <a:lnTo>
                      <a:pt x="238" y="204"/>
                    </a:lnTo>
                    <a:lnTo>
                      <a:pt x="237" y="204"/>
                    </a:lnTo>
                    <a:lnTo>
                      <a:pt x="236" y="207"/>
                    </a:lnTo>
                    <a:lnTo>
                      <a:pt x="232" y="211"/>
                    </a:lnTo>
                    <a:lnTo>
                      <a:pt x="231" y="215"/>
                    </a:lnTo>
                    <a:lnTo>
                      <a:pt x="232" y="217"/>
                    </a:lnTo>
                    <a:lnTo>
                      <a:pt x="232" y="221"/>
                    </a:lnTo>
                    <a:lnTo>
                      <a:pt x="229" y="225"/>
                    </a:lnTo>
                    <a:lnTo>
                      <a:pt x="227" y="231"/>
                    </a:lnTo>
                    <a:lnTo>
                      <a:pt x="228" y="237"/>
                    </a:lnTo>
                    <a:lnTo>
                      <a:pt x="227" y="246"/>
                    </a:lnTo>
                    <a:lnTo>
                      <a:pt x="225" y="247"/>
                    </a:lnTo>
                    <a:lnTo>
                      <a:pt x="224" y="249"/>
                    </a:lnTo>
                    <a:lnTo>
                      <a:pt x="222" y="249"/>
                    </a:lnTo>
                    <a:lnTo>
                      <a:pt x="220" y="248"/>
                    </a:lnTo>
                    <a:lnTo>
                      <a:pt x="216" y="249"/>
                    </a:lnTo>
                    <a:lnTo>
                      <a:pt x="212" y="248"/>
                    </a:lnTo>
                    <a:lnTo>
                      <a:pt x="212" y="252"/>
                    </a:lnTo>
                    <a:lnTo>
                      <a:pt x="210" y="253"/>
                    </a:lnTo>
                    <a:lnTo>
                      <a:pt x="207" y="256"/>
                    </a:lnTo>
                    <a:lnTo>
                      <a:pt x="208" y="258"/>
                    </a:lnTo>
                    <a:lnTo>
                      <a:pt x="212" y="260"/>
                    </a:lnTo>
                    <a:lnTo>
                      <a:pt x="220" y="259"/>
                    </a:lnTo>
                    <a:lnTo>
                      <a:pt x="222" y="262"/>
                    </a:lnTo>
                    <a:lnTo>
                      <a:pt x="225" y="265"/>
                    </a:lnTo>
                    <a:lnTo>
                      <a:pt x="225" y="268"/>
                    </a:lnTo>
                    <a:lnTo>
                      <a:pt x="226" y="268"/>
                    </a:lnTo>
                    <a:lnTo>
                      <a:pt x="230" y="275"/>
                    </a:lnTo>
                    <a:lnTo>
                      <a:pt x="233" y="276"/>
                    </a:lnTo>
                    <a:lnTo>
                      <a:pt x="233" y="277"/>
                    </a:lnTo>
                    <a:lnTo>
                      <a:pt x="235" y="278"/>
                    </a:lnTo>
                    <a:lnTo>
                      <a:pt x="238" y="278"/>
                    </a:lnTo>
                    <a:lnTo>
                      <a:pt x="241" y="281"/>
                    </a:lnTo>
                    <a:lnTo>
                      <a:pt x="242" y="284"/>
                    </a:lnTo>
                    <a:lnTo>
                      <a:pt x="246" y="287"/>
                    </a:lnTo>
                    <a:lnTo>
                      <a:pt x="246" y="294"/>
                    </a:lnTo>
                    <a:lnTo>
                      <a:pt x="247" y="296"/>
                    </a:lnTo>
                    <a:lnTo>
                      <a:pt x="249" y="302"/>
                    </a:lnTo>
                    <a:lnTo>
                      <a:pt x="243" y="309"/>
                    </a:lnTo>
                    <a:lnTo>
                      <a:pt x="238" y="316"/>
                    </a:lnTo>
                    <a:lnTo>
                      <a:pt x="236" y="315"/>
                    </a:lnTo>
                    <a:lnTo>
                      <a:pt x="233" y="318"/>
                    </a:lnTo>
                    <a:lnTo>
                      <a:pt x="231" y="320"/>
                    </a:lnTo>
                    <a:lnTo>
                      <a:pt x="230" y="320"/>
                    </a:lnTo>
                    <a:lnTo>
                      <a:pt x="227" y="323"/>
                    </a:lnTo>
                    <a:lnTo>
                      <a:pt x="227" y="323"/>
                    </a:lnTo>
                    <a:lnTo>
                      <a:pt x="224" y="326"/>
                    </a:lnTo>
                    <a:lnTo>
                      <a:pt x="222" y="329"/>
                    </a:lnTo>
                    <a:lnTo>
                      <a:pt x="217" y="331"/>
                    </a:lnTo>
                    <a:lnTo>
                      <a:pt x="213" y="330"/>
                    </a:lnTo>
                    <a:lnTo>
                      <a:pt x="206" y="330"/>
                    </a:lnTo>
                    <a:lnTo>
                      <a:pt x="203" y="332"/>
                    </a:lnTo>
                    <a:lnTo>
                      <a:pt x="200" y="332"/>
                    </a:lnTo>
                    <a:lnTo>
                      <a:pt x="198" y="333"/>
                    </a:lnTo>
                    <a:lnTo>
                      <a:pt x="196" y="332"/>
                    </a:lnTo>
                    <a:lnTo>
                      <a:pt x="193" y="334"/>
                    </a:lnTo>
                    <a:lnTo>
                      <a:pt x="193" y="337"/>
                    </a:lnTo>
                    <a:lnTo>
                      <a:pt x="191" y="337"/>
                    </a:lnTo>
                    <a:lnTo>
                      <a:pt x="187" y="336"/>
                    </a:lnTo>
                    <a:lnTo>
                      <a:pt x="186" y="333"/>
                    </a:lnTo>
                    <a:lnTo>
                      <a:pt x="183" y="332"/>
                    </a:lnTo>
                    <a:lnTo>
                      <a:pt x="181" y="333"/>
                    </a:lnTo>
                    <a:lnTo>
                      <a:pt x="176" y="331"/>
                    </a:lnTo>
                    <a:lnTo>
                      <a:pt x="172" y="330"/>
                    </a:lnTo>
                    <a:lnTo>
                      <a:pt x="170" y="332"/>
                    </a:lnTo>
                    <a:lnTo>
                      <a:pt x="170" y="335"/>
                    </a:lnTo>
                    <a:lnTo>
                      <a:pt x="170" y="336"/>
                    </a:lnTo>
                    <a:lnTo>
                      <a:pt x="170" y="337"/>
                    </a:lnTo>
                    <a:lnTo>
                      <a:pt x="169" y="336"/>
                    </a:lnTo>
                    <a:lnTo>
                      <a:pt x="164" y="336"/>
                    </a:lnTo>
                    <a:lnTo>
                      <a:pt x="163" y="336"/>
                    </a:lnTo>
                    <a:lnTo>
                      <a:pt x="163" y="334"/>
                    </a:lnTo>
                    <a:lnTo>
                      <a:pt x="162" y="331"/>
                    </a:lnTo>
                    <a:lnTo>
                      <a:pt x="161" y="330"/>
                    </a:lnTo>
                    <a:lnTo>
                      <a:pt x="160" y="327"/>
                    </a:lnTo>
                    <a:lnTo>
                      <a:pt x="158" y="325"/>
                    </a:lnTo>
                    <a:lnTo>
                      <a:pt x="153" y="323"/>
                    </a:lnTo>
                    <a:lnTo>
                      <a:pt x="152" y="322"/>
                    </a:lnTo>
                    <a:lnTo>
                      <a:pt x="150" y="319"/>
                    </a:lnTo>
                    <a:lnTo>
                      <a:pt x="147" y="316"/>
                    </a:lnTo>
                    <a:lnTo>
                      <a:pt x="146" y="315"/>
                    </a:lnTo>
                    <a:lnTo>
                      <a:pt x="142" y="315"/>
                    </a:lnTo>
                    <a:lnTo>
                      <a:pt x="140" y="317"/>
                    </a:lnTo>
                    <a:lnTo>
                      <a:pt x="139" y="319"/>
                    </a:lnTo>
                    <a:lnTo>
                      <a:pt x="135" y="319"/>
                    </a:lnTo>
                    <a:lnTo>
                      <a:pt x="133" y="319"/>
                    </a:lnTo>
                    <a:lnTo>
                      <a:pt x="133" y="319"/>
                    </a:lnTo>
                    <a:lnTo>
                      <a:pt x="130" y="319"/>
                    </a:lnTo>
                    <a:lnTo>
                      <a:pt x="126" y="319"/>
                    </a:lnTo>
                    <a:lnTo>
                      <a:pt x="123" y="319"/>
                    </a:lnTo>
                    <a:lnTo>
                      <a:pt x="122" y="321"/>
                    </a:lnTo>
                    <a:lnTo>
                      <a:pt x="120" y="322"/>
                    </a:lnTo>
                    <a:lnTo>
                      <a:pt x="117" y="321"/>
                    </a:lnTo>
                    <a:lnTo>
                      <a:pt x="113" y="319"/>
                    </a:lnTo>
                    <a:lnTo>
                      <a:pt x="111" y="316"/>
                    </a:lnTo>
                    <a:lnTo>
                      <a:pt x="109" y="316"/>
                    </a:lnTo>
                    <a:lnTo>
                      <a:pt x="107" y="313"/>
                    </a:lnTo>
                    <a:lnTo>
                      <a:pt x="106" y="310"/>
                    </a:lnTo>
                    <a:lnTo>
                      <a:pt x="105" y="310"/>
                    </a:lnTo>
                    <a:lnTo>
                      <a:pt x="105" y="309"/>
                    </a:lnTo>
                    <a:lnTo>
                      <a:pt x="104" y="307"/>
                    </a:lnTo>
                    <a:lnTo>
                      <a:pt x="100" y="305"/>
                    </a:lnTo>
                    <a:lnTo>
                      <a:pt x="98" y="304"/>
                    </a:lnTo>
                    <a:lnTo>
                      <a:pt x="97" y="298"/>
                    </a:lnTo>
                    <a:lnTo>
                      <a:pt x="98" y="297"/>
                    </a:lnTo>
                    <a:lnTo>
                      <a:pt x="96" y="295"/>
                    </a:lnTo>
                    <a:lnTo>
                      <a:pt x="90" y="293"/>
                    </a:lnTo>
                    <a:lnTo>
                      <a:pt x="88" y="292"/>
                    </a:lnTo>
                    <a:lnTo>
                      <a:pt x="88" y="288"/>
                    </a:lnTo>
                    <a:lnTo>
                      <a:pt x="87" y="287"/>
                    </a:lnTo>
                    <a:lnTo>
                      <a:pt x="83" y="285"/>
                    </a:lnTo>
                    <a:lnTo>
                      <a:pt x="81" y="283"/>
                    </a:lnTo>
                    <a:lnTo>
                      <a:pt x="81" y="278"/>
                    </a:lnTo>
                    <a:lnTo>
                      <a:pt x="79" y="276"/>
                    </a:lnTo>
                    <a:lnTo>
                      <a:pt x="74" y="273"/>
                    </a:lnTo>
                    <a:lnTo>
                      <a:pt x="73" y="273"/>
                    </a:lnTo>
                    <a:lnTo>
                      <a:pt x="70" y="272"/>
                    </a:lnTo>
                    <a:lnTo>
                      <a:pt x="68" y="273"/>
                    </a:lnTo>
                    <a:lnTo>
                      <a:pt x="65" y="272"/>
                    </a:lnTo>
                    <a:lnTo>
                      <a:pt x="61" y="268"/>
                    </a:lnTo>
                    <a:lnTo>
                      <a:pt x="62" y="267"/>
                    </a:lnTo>
                    <a:lnTo>
                      <a:pt x="63" y="265"/>
                    </a:lnTo>
                    <a:lnTo>
                      <a:pt x="65" y="263"/>
                    </a:lnTo>
                    <a:lnTo>
                      <a:pt x="66" y="261"/>
                    </a:lnTo>
                    <a:lnTo>
                      <a:pt x="65" y="259"/>
                    </a:lnTo>
                    <a:lnTo>
                      <a:pt x="61" y="258"/>
                    </a:lnTo>
                    <a:lnTo>
                      <a:pt x="58" y="257"/>
                    </a:lnTo>
                    <a:lnTo>
                      <a:pt x="57" y="255"/>
                    </a:lnTo>
                    <a:lnTo>
                      <a:pt x="54" y="253"/>
                    </a:lnTo>
                    <a:lnTo>
                      <a:pt x="51" y="253"/>
                    </a:lnTo>
                    <a:lnTo>
                      <a:pt x="47" y="252"/>
                    </a:lnTo>
                    <a:lnTo>
                      <a:pt x="44" y="249"/>
                    </a:lnTo>
                    <a:lnTo>
                      <a:pt x="43" y="246"/>
                    </a:lnTo>
                    <a:lnTo>
                      <a:pt x="45" y="243"/>
                    </a:lnTo>
                    <a:lnTo>
                      <a:pt x="43" y="242"/>
                    </a:lnTo>
                    <a:lnTo>
                      <a:pt x="37" y="242"/>
                    </a:lnTo>
                    <a:lnTo>
                      <a:pt x="36" y="243"/>
                    </a:lnTo>
                    <a:lnTo>
                      <a:pt x="31" y="243"/>
                    </a:lnTo>
                    <a:lnTo>
                      <a:pt x="29" y="241"/>
                    </a:lnTo>
                    <a:lnTo>
                      <a:pt x="29" y="235"/>
                    </a:lnTo>
                    <a:lnTo>
                      <a:pt x="30" y="233"/>
                    </a:lnTo>
                    <a:lnTo>
                      <a:pt x="31" y="231"/>
                    </a:lnTo>
                    <a:lnTo>
                      <a:pt x="31" y="227"/>
                    </a:lnTo>
                    <a:lnTo>
                      <a:pt x="31" y="224"/>
                    </a:lnTo>
                    <a:lnTo>
                      <a:pt x="28" y="217"/>
                    </a:lnTo>
                    <a:lnTo>
                      <a:pt x="22" y="211"/>
                    </a:lnTo>
                    <a:lnTo>
                      <a:pt x="22" y="210"/>
                    </a:lnTo>
                    <a:lnTo>
                      <a:pt x="18" y="206"/>
                    </a:lnTo>
                    <a:lnTo>
                      <a:pt x="19" y="205"/>
                    </a:lnTo>
                    <a:lnTo>
                      <a:pt x="19" y="202"/>
                    </a:lnTo>
                    <a:lnTo>
                      <a:pt x="17" y="200"/>
                    </a:lnTo>
                    <a:lnTo>
                      <a:pt x="17" y="199"/>
                    </a:lnTo>
                    <a:lnTo>
                      <a:pt x="17" y="197"/>
                    </a:lnTo>
                    <a:lnTo>
                      <a:pt x="19" y="194"/>
                    </a:lnTo>
                    <a:lnTo>
                      <a:pt x="17" y="191"/>
                    </a:lnTo>
                    <a:lnTo>
                      <a:pt x="10" y="190"/>
                    </a:lnTo>
                    <a:lnTo>
                      <a:pt x="10" y="187"/>
                    </a:lnTo>
                    <a:lnTo>
                      <a:pt x="10" y="182"/>
                    </a:lnTo>
                    <a:lnTo>
                      <a:pt x="8" y="179"/>
                    </a:lnTo>
                    <a:lnTo>
                      <a:pt x="9" y="177"/>
                    </a:lnTo>
                    <a:lnTo>
                      <a:pt x="7" y="175"/>
                    </a:lnTo>
                    <a:lnTo>
                      <a:pt x="9" y="173"/>
                    </a:lnTo>
                    <a:lnTo>
                      <a:pt x="9" y="171"/>
                    </a:lnTo>
                    <a:lnTo>
                      <a:pt x="7" y="170"/>
                    </a:lnTo>
                    <a:lnTo>
                      <a:pt x="2" y="173"/>
                    </a:lnTo>
                    <a:lnTo>
                      <a:pt x="0" y="171"/>
                    </a:lnTo>
                    <a:lnTo>
                      <a:pt x="0" y="168"/>
                    </a:lnTo>
                    <a:lnTo>
                      <a:pt x="6" y="162"/>
                    </a:lnTo>
                    <a:lnTo>
                      <a:pt x="8" y="159"/>
                    </a:lnTo>
                    <a:lnTo>
                      <a:pt x="7" y="155"/>
                    </a:lnTo>
                    <a:lnTo>
                      <a:pt x="4" y="153"/>
                    </a:lnTo>
                    <a:lnTo>
                      <a:pt x="5" y="150"/>
                    </a:lnTo>
                    <a:lnTo>
                      <a:pt x="8" y="148"/>
                    </a:lnTo>
                    <a:lnTo>
                      <a:pt x="10" y="145"/>
                    </a:lnTo>
                    <a:lnTo>
                      <a:pt x="8" y="143"/>
                    </a:lnTo>
                    <a:lnTo>
                      <a:pt x="8" y="140"/>
                    </a:lnTo>
                    <a:lnTo>
                      <a:pt x="10" y="137"/>
                    </a:lnTo>
                    <a:lnTo>
                      <a:pt x="12" y="137"/>
                    </a:lnTo>
                    <a:lnTo>
                      <a:pt x="19" y="129"/>
                    </a:lnTo>
                    <a:lnTo>
                      <a:pt x="21" y="125"/>
                    </a:lnTo>
                    <a:lnTo>
                      <a:pt x="19" y="124"/>
                    </a:lnTo>
                    <a:lnTo>
                      <a:pt x="19" y="119"/>
                    </a:lnTo>
                    <a:lnTo>
                      <a:pt x="22" y="116"/>
                    </a:lnTo>
                    <a:lnTo>
                      <a:pt x="27" y="116"/>
                    </a:lnTo>
                    <a:lnTo>
                      <a:pt x="30" y="118"/>
                    </a:lnTo>
                    <a:lnTo>
                      <a:pt x="33" y="116"/>
                    </a:lnTo>
                    <a:lnTo>
                      <a:pt x="36" y="115"/>
                    </a:lnTo>
                    <a:lnTo>
                      <a:pt x="35" y="45"/>
                    </a:lnTo>
                    <a:lnTo>
                      <a:pt x="35" y="45"/>
                    </a:lnTo>
                    <a:lnTo>
                      <a:pt x="35" y="38"/>
                    </a:lnTo>
                    <a:lnTo>
                      <a:pt x="53" y="37"/>
                    </a:lnTo>
                    <a:lnTo>
                      <a:pt x="51" y="2"/>
                    </a:lnTo>
                    <a:lnTo>
                      <a:pt x="51" y="2"/>
                    </a:lnTo>
                    <a:close/>
                  </a:path>
                </a:pathLst>
              </a:custGeom>
              <a:solidFill>
                <a:srgbClr val="65625E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634" name="Freeform 438"/>
              <p:cNvSpPr>
                <a:spLocks/>
              </p:cNvSpPr>
              <p:nvPr userDrawn="1"/>
            </p:nvSpPr>
            <p:spPr bwMode="auto">
              <a:xfrm>
                <a:off x="3375" y="2653"/>
                <a:ext cx="138" cy="98"/>
              </a:xfrm>
              <a:custGeom>
                <a:avLst/>
                <a:gdLst>
                  <a:gd name="T0" fmla="*/ 1 w 138"/>
                  <a:gd name="T1" fmla="*/ 78 h 98"/>
                  <a:gd name="T2" fmla="*/ 0 w 138"/>
                  <a:gd name="T3" fmla="*/ 71 h 98"/>
                  <a:gd name="T4" fmla="*/ 3 w 138"/>
                  <a:gd name="T5" fmla="*/ 65 h 98"/>
                  <a:gd name="T6" fmla="*/ 5 w 138"/>
                  <a:gd name="T7" fmla="*/ 60 h 98"/>
                  <a:gd name="T8" fmla="*/ 15 w 138"/>
                  <a:gd name="T9" fmla="*/ 47 h 98"/>
                  <a:gd name="T10" fmla="*/ 19 w 138"/>
                  <a:gd name="T11" fmla="*/ 40 h 98"/>
                  <a:gd name="T12" fmla="*/ 26 w 138"/>
                  <a:gd name="T13" fmla="*/ 31 h 98"/>
                  <a:gd name="T14" fmla="*/ 31 w 138"/>
                  <a:gd name="T15" fmla="*/ 29 h 98"/>
                  <a:gd name="T16" fmla="*/ 44 w 138"/>
                  <a:gd name="T17" fmla="*/ 26 h 98"/>
                  <a:gd name="T18" fmla="*/ 55 w 138"/>
                  <a:gd name="T19" fmla="*/ 17 h 98"/>
                  <a:gd name="T20" fmla="*/ 73 w 138"/>
                  <a:gd name="T21" fmla="*/ 5 h 98"/>
                  <a:gd name="T22" fmla="*/ 88 w 138"/>
                  <a:gd name="T23" fmla="*/ 0 h 98"/>
                  <a:gd name="T24" fmla="*/ 98 w 138"/>
                  <a:gd name="T25" fmla="*/ 2 h 98"/>
                  <a:gd name="T26" fmla="*/ 103 w 138"/>
                  <a:gd name="T27" fmla="*/ 3 h 98"/>
                  <a:gd name="T28" fmla="*/ 101 w 138"/>
                  <a:gd name="T29" fmla="*/ 10 h 98"/>
                  <a:gd name="T30" fmla="*/ 99 w 138"/>
                  <a:gd name="T31" fmla="*/ 19 h 98"/>
                  <a:gd name="T32" fmla="*/ 116 w 138"/>
                  <a:gd name="T33" fmla="*/ 37 h 98"/>
                  <a:gd name="T34" fmla="*/ 131 w 138"/>
                  <a:gd name="T35" fmla="*/ 38 h 98"/>
                  <a:gd name="T36" fmla="*/ 134 w 138"/>
                  <a:gd name="T37" fmla="*/ 41 h 98"/>
                  <a:gd name="T38" fmla="*/ 135 w 138"/>
                  <a:gd name="T39" fmla="*/ 45 h 98"/>
                  <a:gd name="T40" fmla="*/ 137 w 138"/>
                  <a:gd name="T41" fmla="*/ 53 h 98"/>
                  <a:gd name="T42" fmla="*/ 138 w 138"/>
                  <a:gd name="T43" fmla="*/ 56 h 98"/>
                  <a:gd name="T44" fmla="*/ 132 w 138"/>
                  <a:gd name="T45" fmla="*/ 61 h 98"/>
                  <a:gd name="T46" fmla="*/ 123 w 138"/>
                  <a:gd name="T47" fmla="*/ 63 h 98"/>
                  <a:gd name="T48" fmla="*/ 120 w 138"/>
                  <a:gd name="T49" fmla="*/ 68 h 98"/>
                  <a:gd name="T50" fmla="*/ 117 w 138"/>
                  <a:gd name="T51" fmla="*/ 74 h 98"/>
                  <a:gd name="T52" fmla="*/ 113 w 138"/>
                  <a:gd name="T53" fmla="*/ 76 h 98"/>
                  <a:gd name="T54" fmla="*/ 92 w 138"/>
                  <a:gd name="T55" fmla="*/ 72 h 98"/>
                  <a:gd name="T56" fmla="*/ 91 w 138"/>
                  <a:gd name="T57" fmla="*/ 72 h 98"/>
                  <a:gd name="T58" fmla="*/ 82 w 138"/>
                  <a:gd name="T59" fmla="*/ 74 h 98"/>
                  <a:gd name="T60" fmla="*/ 66 w 138"/>
                  <a:gd name="T61" fmla="*/ 75 h 98"/>
                  <a:gd name="T62" fmla="*/ 50 w 138"/>
                  <a:gd name="T63" fmla="*/ 75 h 98"/>
                  <a:gd name="T64" fmla="*/ 44 w 138"/>
                  <a:gd name="T65" fmla="*/ 80 h 98"/>
                  <a:gd name="T66" fmla="*/ 47 w 138"/>
                  <a:gd name="T67" fmla="*/ 86 h 98"/>
                  <a:gd name="T68" fmla="*/ 49 w 138"/>
                  <a:gd name="T69" fmla="*/ 97 h 98"/>
                  <a:gd name="T70" fmla="*/ 42 w 138"/>
                  <a:gd name="T71" fmla="*/ 95 h 98"/>
                  <a:gd name="T72" fmla="*/ 36 w 138"/>
                  <a:gd name="T73" fmla="*/ 97 h 98"/>
                  <a:gd name="T74" fmla="*/ 27 w 138"/>
                  <a:gd name="T75" fmla="*/ 95 h 98"/>
                  <a:gd name="T76" fmla="*/ 21 w 138"/>
                  <a:gd name="T77" fmla="*/ 90 h 98"/>
                  <a:gd name="T78" fmla="*/ 15 w 138"/>
                  <a:gd name="T79" fmla="*/ 89 h 98"/>
                  <a:gd name="T80" fmla="*/ 6 w 138"/>
                  <a:gd name="T81" fmla="*/ 86 h 98"/>
                  <a:gd name="T82" fmla="*/ 0 w 138"/>
                  <a:gd name="T83" fmla="*/ 82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38" h="98">
                    <a:moveTo>
                      <a:pt x="0" y="82"/>
                    </a:moveTo>
                    <a:lnTo>
                      <a:pt x="1" y="78"/>
                    </a:lnTo>
                    <a:lnTo>
                      <a:pt x="0" y="75"/>
                    </a:lnTo>
                    <a:lnTo>
                      <a:pt x="0" y="71"/>
                    </a:lnTo>
                    <a:lnTo>
                      <a:pt x="4" y="70"/>
                    </a:lnTo>
                    <a:lnTo>
                      <a:pt x="3" y="65"/>
                    </a:lnTo>
                    <a:lnTo>
                      <a:pt x="2" y="63"/>
                    </a:lnTo>
                    <a:lnTo>
                      <a:pt x="5" y="60"/>
                    </a:lnTo>
                    <a:lnTo>
                      <a:pt x="9" y="56"/>
                    </a:lnTo>
                    <a:lnTo>
                      <a:pt x="15" y="47"/>
                    </a:lnTo>
                    <a:lnTo>
                      <a:pt x="19" y="42"/>
                    </a:lnTo>
                    <a:lnTo>
                      <a:pt x="19" y="40"/>
                    </a:lnTo>
                    <a:lnTo>
                      <a:pt x="23" y="32"/>
                    </a:lnTo>
                    <a:lnTo>
                      <a:pt x="26" y="31"/>
                    </a:lnTo>
                    <a:lnTo>
                      <a:pt x="27" y="29"/>
                    </a:lnTo>
                    <a:lnTo>
                      <a:pt x="31" y="29"/>
                    </a:lnTo>
                    <a:lnTo>
                      <a:pt x="34" y="29"/>
                    </a:lnTo>
                    <a:lnTo>
                      <a:pt x="44" y="26"/>
                    </a:lnTo>
                    <a:lnTo>
                      <a:pt x="45" y="23"/>
                    </a:lnTo>
                    <a:lnTo>
                      <a:pt x="55" y="17"/>
                    </a:lnTo>
                    <a:lnTo>
                      <a:pt x="70" y="9"/>
                    </a:lnTo>
                    <a:lnTo>
                      <a:pt x="73" y="5"/>
                    </a:lnTo>
                    <a:lnTo>
                      <a:pt x="79" y="2"/>
                    </a:lnTo>
                    <a:lnTo>
                      <a:pt x="88" y="0"/>
                    </a:lnTo>
                    <a:lnTo>
                      <a:pt x="92" y="0"/>
                    </a:lnTo>
                    <a:lnTo>
                      <a:pt x="98" y="2"/>
                    </a:lnTo>
                    <a:lnTo>
                      <a:pt x="101" y="2"/>
                    </a:lnTo>
                    <a:lnTo>
                      <a:pt x="103" y="3"/>
                    </a:lnTo>
                    <a:lnTo>
                      <a:pt x="102" y="5"/>
                    </a:lnTo>
                    <a:lnTo>
                      <a:pt x="101" y="10"/>
                    </a:lnTo>
                    <a:lnTo>
                      <a:pt x="99" y="14"/>
                    </a:lnTo>
                    <a:lnTo>
                      <a:pt x="99" y="19"/>
                    </a:lnTo>
                    <a:lnTo>
                      <a:pt x="116" y="30"/>
                    </a:lnTo>
                    <a:lnTo>
                      <a:pt x="116" y="37"/>
                    </a:lnTo>
                    <a:lnTo>
                      <a:pt x="123" y="42"/>
                    </a:lnTo>
                    <a:lnTo>
                      <a:pt x="131" y="38"/>
                    </a:lnTo>
                    <a:lnTo>
                      <a:pt x="133" y="39"/>
                    </a:lnTo>
                    <a:lnTo>
                      <a:pt x="134" y="41"/>
                    </a:lnTo>
                    <a:lnTo>
                      <a:pt x="135" y="43"/>
                    </a:lnTo>
                    <a:lnTo>
                      <a:pt x="135" y="45"/>
                    </a:lnTo>
                    <a:lnTo>
                      <a:pt x="134" y="48"/>
                    </a:lnTo>
                    <a:lnTo>
                      <a:pt x="137" y="53"/>
                    </a:lnTo>
                    <a:lnTo>
                      <a:pt x="138" y="53"/>
                    </a:lnTo>
                    <a:lnTo>
                      <a:pt x="138" y="56"/>
                    </a:lnTo>
                    <a:lnTo>
                      <a:pt x="135" y="61"/>
                    </a:lnTo>
                    <a:lnTo>
                      <a:pt x="132" y="61"/>
                    </a:lnTo>
                    <a:lnTo>
                      <a:pt x="125" y="64"/>
                    </a:lnTo>
                    <a:lnTo>
                      <a:pt x="123" y="63"/>
                    </a:lnTo>
                    <a:lnTo>
                      <a:pt x="120" y="65"/>
                    </a:lnTo>
                    <a:lnTo>
                      <a:pt x="120" y="68"/>
                    </a:lnTo>
                    <a:lnTo>
                      <a:pt x="117" y="70"/>
                    </a:lnTo>
                    <a:lnTo>
                      <a:pt x="117" y="74"/>
                    </a:lnTo>
                    <a:lnTo>
                      <a:pt x="114" y="75"/>
                    </a:lnTo>
                    <a:lnTo>
                      <a:pt x="113" y="76"/>
                    </a:lnTo>
                    <a:lnTo>
                      <a:pt x="93" y="72"/>
                    </a:lnTo>
                    <a:lnTo>
                      <a:pt x="92" y="72"/>
                    </a:lnTo>
                    <a:lnTo>
                      <a:pt x="92" y="72"/>
                    </a:lnTo>
                    <a:lnTo>
                      <a:pt x="91" y="72"/>
                    </a:lnTo>
                    <a:lnTo>
                      <a:pt x="86" y="73"/>
                    </a:lnTo>
                    <a:lnTo>
                      <a:pt x="82" y="74"/>
                    </a:lnTo>
                    <a:lnTo>
                      <a:pt x="75" y="75"/>
                    </a:lnTo>
                    <a:lnTo>
                      <a:pt x="66" y="75"/>
                    </a:lnTo>
                    <a:lnTo>
                      <a:pt x="64" y="75"/>
                    </a:lnTo>
                    <a:lnTo>
                      <a:pt x="50" y="75"/>
                    </a:lnTo>
                    <a:lnTo>
                      <a:pt x="44" y="76"/>
                    </a:lnTo>
                    <a:lnTo>
                      <a:pt x="44" y="80"/>
                    </a:lnTo>
                    <a:lnTo>
                      <a:pt x="45" y="86"/>
                    </a:lnTo>
                    <a:lnTo>
                      <a:pt x="47" y="86"/>
                    </a:lnTo>
                    <a:lnTo>
                      <a:pt x="49" y="92"/>
                    </a:lnTo>
                    <a:lnTo>
                      <a:pt x="49" y="97"/>
                    </a:lnTo>
                    <a:lnTo>
                      <a:pt x="45" y="96"/>
                    </a:lnTo>
                    <a:lnTo>
                      <a:pt x="42" y="95"/>
                    </a:lnTo>
                    <a:lnTo>
                      <a:pt x="40" y="94"/>
                    </a:lnTo>
                    <a:lnTo>
                      <a:pt x="36" y="97"/>
                    </a:lnTo>
                    <a:lnTo>
                      <a:pt x="32" y="98"/>
                    </a:lnTo>
                    <a:lnTo>
                      <a:pt x="27" y="95"/>
                    </a:lnTo>
                    <a:lnTo>
                      <a:pt x="25" y="92"/>
                    </a:lnTo>
                    <a:lnTo>
                      <a:pt x="21" y="90"/>
                    </a:lnTo>
                    <a:lnTo>
                      <a:pt x="18" y="90"/>
                    </a:lnTo>
                    <a:lnTo>
                      <a:pt x="15" y="89"/>
                    </a:lnTo>
                    <a:lnTo>
                      <a:pt x="13" y="89"/>
                    </a:lnTo>
                    <a:lnTo>
                      <a:pt x="6" y="86"/>
                    </a:lnTo>
                    <a:lnTo>
                      <a:pt x="1" y="82"/>
                    </a:lnTo>
                    <a:lnTo>
                      <a:pt x="0" y="82"/>
                    </a:lnTo>
                    <a:lnTo>
                      <a:pt x="0" y="82"/>
                    </a:lnTo>
                    <a:close/>
                  </a:path>
                </a:pathLst>
              </a:custGeom>
              <a:solidFill>
                <a:schemeClr val="accent4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635" name="Freeform 439"/>
              <p:cNvSpPr>
                <a:spLocks/>
              </p:cNvSpPr>
              <p:nvPr userDrawn="1"/>
            </p:nvSpPr>
            <p:spPr bwMode="auto">
              <a:xfrm>
                <a:off x="3413" y="2725"/>
                <a:ext cx="77" cy="118"/>
              </a:xfrm>
              <a:custGeom>
                <a:avLst/>
                <a:gdLst>
                  <a:gd name="T0" fmla="*/ 5 w 77"/>
                  <a:gd name="T1" fmla="*/ 110 h 118"/>
                  <a:gd name="T2" fmla="*/ 11 w 77"/>
                  <a:gd name="T3" fmla="*/ 109 h 118"/>
                  <a:gd name="T4" fmla="*/ 10 w 77"/>
                  <a:gd name="T5" fmla="*/ 101 h 118"/>
                  <a:gd name="T6" fmla="*/ 5 w 77"/>
                  <a:gd name="T7" fmla="*/ 96 h 118"/>
                  <a:gd name="T8" fmla="*/ 0 w 77"/>
                  <a:gd name="T9" fmla="*/ 87 h 118"/>
                  <a:gd name="T10" fmla="*/ 2 w 77"/>
                  <a:gd name="T11" fmla="*/ 84 h 118"/>
                  <a:gd name="T12" fmla="*/ 3 w 77"/>
                  <a:gd name="T13" fmla="*/ 74 h 118"/>
                  <a:gd name="T14" fmla="*/ 5 w 77"/>
                  <a:gd name="T15" fmla="*/ 67 h 118"/>
                  <a:gd name="T16" fmla="*/ 11 w 77"/>
                  <a:gd name="T17" fmla="*/ 56 h 118"/>
                  <a:gd name="T18" fmla="*/ 13 w 77"/>
                  <a:gd name="T19" fmla="*/ 50 h 118"/>
                  <a:gd name="T20" fmla="*/ 13 w 77"/>
                  <a:gd name="T21" fmla="*/ 41 h 118"/>
                  <a:gd name="T22" fmla="*/ 11 w 77"/>
                  <a:gd name="T23" fmla="*/ 36 h 118"/>
                  <a:gd name="T24" fmla="*/ 11 w 77"/>
                  <a:gd name="T25" fmla="*/ 26 h 118"/>
                  <a:gd name="T26" fmla="*/ 9 w 77"/>
                  <a:gd name="T27" fmla="*/ 14 h 118"/>
                  <a:gd name="T28" fmla="*/ 6 w 77"/>
                  <a:gd name="T29" fmla="*/ 8 h 118"/>
                  <a:gd name="T30" fmla="*/ 12 w 77"/>
                  <a:gd name="T31" fmla="*/ 3 h 118"/>
                  <a:gd name="T32" fmla="*/ 28 w 77"/>
                  <a:gd name="T33" fmla="*/ 3 h 118"/>
                  <a:gd name="T34" fmla="*/ 44 w 77"/>
                  <a:gd name="T35" fmla="*/ 2 h 118"/>
                  <a:gd name="T36" fmla="*/ 53 w 77"/>
                  <a:gd name="T37" fmla="*/ 0 h 118"/>
                  <a:gd name="T38" fmla="*/ 55 w 77"/>
                  <a:gd name="T39" fmla="*/ 5 h 118"/>
                  <a:gd name="T40" fmla="*/ 57 w 77"/>
                  <a:gd name="T41" fmla="*/ 9 h 118"/>
                  <a:gd name="T42" fmla="*/ 63 w 77"/>
                  <a:gd name="T43" fmla="*/ 14 h 118"/>
                  <a:gd name="T44" fmla="*/ 66 w 77"/>
                  <a:gd name="T45" fmla="*/ 22 h 118"/>
                  <a:gd name="T46" fmla="*/ 68 w 77"/>
                  <a:gd name="T47" fmla="*/ 30 h 118"/>
                  <a:gd name="T48" fmla="*/ 70 w 77"/>
                  <a:gd name="T49" fmla="*/ 36 h 118"/>
                  <a:gd name="T50" fmla="*/ 68 w 77"/>
                  <a:gd name="T51" fmla="*/ 42 h 118"/>
                  <a:gd name="T52" fmla="*/ 70 w 77"/>
                  <a:gd name="T53" fmla="*/ 47 h 118"/>
                  <a:gd name="T54" fmla="*/ 70 w 77"/>
                  <a:gd name="T55" fmla="*/ 52 h 118"/>
                  <a:gd name="T56" fmla="*/ 71 w 77"/>
                  <a:gd name="T57" fmla="*/ 60 h 118"/>
                  <a:gd name="T58" fmla="*/ 70 w 77"/>
                  <a:gd name="T59" fmla="*/ 75 h 118"/>
                  <a:gd name="T60" fmla="*/ 68 w 77"/>
                  <a:gd name="T61" fmla="*/ 81 h 118"/>
                  <a:gd name="T62" fmla="*/ 71 w 77"/>
                  <a:gd name="T63" fmla="*/ 90 h 118"/>
                  <a:gd name="T64" fmla="*/ 75 w 77"/>
                  <a:gd name="T65" fmla="*/ 93 h 118"/>
                  <a:gd name="T66" fmla="*/ 67 w 77"/>
                  <a:gd name="T67" fmla="*/ 98 h 118"/>
                  <a:gd name="T68" fmla="*/ 49 w 77"/>
                  <a:gd name="T69" fmla="*/ 109 h 118"/>
                  <a:gd name="T70" fmla="*/ 22 w 77"/>
                  <a:gd name="T71" fmla="*/ 118 h 118"/>
                  <a:gd name="T72" fmla="*/ 5 w 77"/>
                  <a:gd name="T73" fmla="*/ 113 h 118"/>
                  <a:gd name="T74" fmla="*/ 4 w 77"/>
                  <a:gd name="T75" fmla="*/ 111 h 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77" h="118">
                    <a:moveTo>
                      <a:pt x="4" y="111"/>
                    </a:moveTo>
                    <a:lnTo>
                      <a:pt x="5" y="110"/>
                    </a:lnTo>
                    <a:lnTo>
                      <a:pt x="8" y="110"/>
                    </a:lnTo>
                    <a:lnTo>
                      <a:pt x="11" y="109"/>
                    </a:lnTo>
                    <a:lnTo>
                      <a:pt x="11" y="104"/>
                    </a:lnTo>
                    <a:lnTo>
                      <a:pt x="10" y="101"/>
                    </a:lnTo>
                    <a:lnTo>
                      <a:pt x="5" y="101"/>
                    </a:lnTo>
                    <a:lnTo>
                      <a:pt x="5" y="96"/>
                    </a:lnTo>
                    <a:lnTo>
                      <a:pt x="2" y="89"/>
                    </a:lnTo>
                    <a:lnTo>
                      <a:pt x="0" y="87"/>
                    </a:lnTo>
                    <a:lnTo>
                      <a:pt x="0" y="85"/>
                    </a:lnTo>
                    <a:lnTo>
                      <a:pt x="2" y="84"/>
                    </a:lnTo>
                    <a:lnTo>
                      <a:pt x="1" y="77"/>
                    </a:lnTo>
                    <a:lnTo>
                      <a:pt x="3" y="74"/>
                    </a:lnTo>
                    <a:lnTo>
                      <a:pt x="3" y="70"/>
                    </a:lnTo>
                    <a:lnTo>
                      <a:pt x="5" y="67"/>
                    </a:lnTo>
                    <a:lnTo>
                      <a:pt x="4" y="63"/>
                    </a:lnTo>
                    <a:lnTo>
                      <a:pt x="11" y="56"/>
                    </a:lnTo>
                    <a:lnTo>
                      <a:pt x="13" y="53"/>
                    </a:lnTo>
                    <a:lnTo>
                      <a:pt x="13" y="50"/>
                    </a:lnTo>
                    <a:lnTo>
                      <a:pt x="15" y="46"/>
                    </a:lnTo>
                    <a:lnTo>
                      <a:pt x="13" y="41"/>
                    </a:lnTo>
                    <a:lnTo>
                      <a:pt x="11" y="38"/>
                    </a:lnTo>
                    <a:lnTo>
                      <a:pt x="11" y="36"/>
                    </a:lnTo>
                    <a:lnTo>
                      <a:pt x="10" y="32"/>
                    </a:lnTo>
                    <a:lnTo>
                      <a:pt x="11" y="26"/>
                    </a:lnTo>
                    <a:lnTo>
                      <a:pt x="11" y="20"/>
                    </a:lnTo>
                    <a:lnTo>
                      <a:pt x="9" y="14"/>
                    </a:lnTo>
                    <a:lnTo>
                      <a:pt x="7" y="14"/>
                    </a:lnTo>
                    <a:lnTo>
                      <a:pt x="6" y="8"/>
                    </a:lnTo>
                    <a:lnTo>
                      <a:pt x="6" y="4"/>
                    </a:lnTo>
                    <a:lnTo>
                      <a:pt x="12" y="3"/>
                    </a:lnTo>
                    <a:lnTo>
                      <a:pt x="26" y="3"/>
                    </a:lnTo>
                    <a:lnTo>
                      <a:pt x="28" y="3"/>
                    </a:lnTo>
                    <a:lnTo>
                      <a:pt x="37" y="3"/>
                    </a:lnTo>
                    <a:lnTo>
                      <a:pt x="44" y="2"/>
                    </a:lnTo>
                    <a:lnTo>
                      <a:pt x="48" y="1"/>
                    </a:lnTo>
                    <a:lnTo>
                      <a:pt x="53" y="0"/>
                    </a:lnTo>
                    <a:lnTo>
                      <a:pt x="54" y="0"/>
                    </a:lnTo>
                    <a:lnTo>
                      <a:pt x="55" y="5"/>
                    </a:lnTo>
                    <a:lnTo>
                      <a:pt x="57" y="7"/>
                    </a:lnTo>
                    <a:lnTo>
                      <a:pt x="57" y="9"/>
                    </a:lnTo>
                    <a:lnTo>
                      <a:pt x="61" y="13"/>
                    </a:lnTo>
                    <a:lnTo>
                      <a:pt x="63" y="14"/>
                    </a:lnTo>
                    <a:lnTo>
                      <a:pt x="67" y="17"/>
                    </a:lnTo>
                    <a:lnTo>
                      <a:pt x="66" y="22"/>
                    </a:lnTo>
                    <a:lnTo>
                      <a:pt x="66" y="29"/>
                    </a:lnTo>
                    <a:lnTo>
                      <a:pt x="68" y="30"/>
                    </a:lnTo>
                    <a:lnTo>
                      <a:pt x="70" y="31"/>
                    </a:lnTo>
                    <a:lnTo>
                      <a:pt x="70" y="36"/>
                    </a:lnTo>
                    <a:lnTo>
                      <a:pt x="68" y="39"/>
                    </a:lnTo>
                    <a:lnTo>
                      <a:pt x="68" y="42"/>
                    </a:lnTo>
                    <a:lnTo>
                      <a:pt x="70" y="43"/>
                    </a:lnTo>
                    <a:lnTo>
                      <a:pt x="70" y="47"/>
                    </a:lnTo>
                    <a:lnTo>
                      <a:pt x="69" y="49"/>
                    </a:lnTo>
                    <a:lnTo>
                      <a:pt x="70" y="52"/>
                    </a:lnTo>
                    <a:lnTo>
                      <a:pt x="70" y="58"/>
                    </a:lnTo>
                    <a:lnTo>
                      <a:pt x="71" y="60"/>
                    </a:lnTo>
                    <a:lnTo>
                      <a:pt x="72" y="71"/>
                    </a:lnTo>
                    <a:lnTo>
                      <a:pt x="70" y="75"/>
                    </a:lnTo>
                    <a:lnTo>
                      <a:pt x="69" y="77"/>
                    </a:lnTo>
                    <a:lnTo>
                      <a:pt x="68" y="81"/>
                    </a:lnTo>
                    <a:lnTo>
                      <a:pt x="70" y="85"/>
                    </a:lnTo>
                    <a:lnTo>
                      <a:pt x="71" y="90"/>
                    </a:lnTo>
                    <a:lnTo>
                      <a:pt x="73" y="91"/>
                    </a:lnTo>
                    <a:lnTo>
                      <a:pt x="75" y="93"/>
                    </a:lnTo>
                    <a:lnTo>
                      <a:pt x="77" y="96"/>
                    </a:lnTo>
                    <a:lnTo>
                      <a:pt x="67" y="98"/>
                    </a:lnTo>
                    <a:lnTo>
                      <a:pt x="58" y="101"/>
                    </a:lnTo>
                    <a:lnTo>
                      <a:pt x="49" y="109"/>
                    </a:lnTo>
                    <a:lnTo>
                      <a:pt x="37" y="110"/>
                    </a:lnTo>
                    <a:lnTo>
                      <a:pt x="22" y="118"/>
                    </a:lnTo>
                    <a:lnTo>
                      <a:pt x="14" y="114"/>
                    </a:lnTo>
                    <a:lnTo>
                      <a:pt x="5" y="113"/>
                    </a:lnTo>
                    <a:lnTo>
                      <a:pt x="4" y="111"/>
                    </a:lnTo>
                    <a:lnTo>
                      <a:pt x="4" y="111"/>
                    </a:lnTo>
                    <a:close/>
                  </a:path>
                </a:pathLst>
              </a:custGeom>
              <a:solidFill>
                <a:srgbClr val="65625E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636" name="Freeform 440"/>
              <p:cNvSpPr>
                <a:spLocks/>
              </p:cNvSpPr>
              <p:nvPr userDrawn="1"/>
            </p:nvSpPr>
            <p:spPr bwMode="auto">
              <a:xfrm>
                <a:off x="3487" y="2700"/>
                <a:ext cx="57" cy="116"/>
              </a:xfrm>
              <a:custGeom>
                <a:avLst/>
                <a:gdLst>
                  <a:gd name="T0" fmla="*/ 26 w 57"/>
                  <a:gd name="T1" fmla="*/ 9 h 116"/>
                  <a:gd name="T2" fmla="*/ 20 w 57"/>
                  <a:gd name="T3" fmla="*/ 14 h 116"/>
                  <a:gd name="T4" fmla="*/ 11 w 57"/>
                  <a:gd name="T5" fmla="*/ 16 h 116"/>
                  <a:gd name="T6" fmla="*/ 8 w 57"/>
                  <a:gd name="T7" fmla="*/ 21 h 116"/>
                  <a:gd name="T8" fmla="*/ 5 w 57"/>
                  <a:gd name="T9" fmla="*/ 27 h 116"/>
                  <a:gd name="T10" fmla="*/ 0 w 57"/>
                  <a:gd name="T11" fmla="*/ 32 h 116"/>
                  <a:gd name="T12" fmla="*/ 5 w 57"/>
                  <a:gd name="T13" fmla="*/ 39 h 116"/>
                  <a:gd name="T14" fmla="*/ 9 w 57"/>
                  <a:gd name="T15" fmla="*/ 42 h 116"/>
                  <a:gd name="T16" fmla="*/ 15 w 57"/>
                  <a:gd name="T17" fmla="*/ 60 h 116"/>
                  <a:gd name="T18" fmla="*/ 16 w 57"/>
                  <a:gd name="T19" fmla="*/ 67 h 116"/>
                  <a:gd name="T20" fmla="*/ 14 w 57"/>
                  <a:gd name="T21" fmla="*/ 74 h 116"/>
                  <a:gd name="T22" fmla="*/ 13 w 57"/>
                  <a:gd name="T23" fmla="*/ 98 h 116"/>
                  <a:gd name="T24" fmla="*/ 15 w 57"/>
                  <a:gd name="T25" fmla="*/ 107 h 116"/>
                  <a:gd name="T26" fmla="*/ 16 w 57"/>
                  <a:gd name="T27" fmla="*/ 115 h 116"/>
                  <a:gd name="T28" fmla="*/ 36 w 57"/>
                  <a:gd name="T29" fmla="*/ 112 h 116"/>
                  <a:gd name="T30" fmla="*/ 36 w 57"/>
                  <a:gd name="T31" fmla="*/ 108 h 116"/>
                  <a:gd name="T32" fmla="*/ 36 w 57"/>
                  <a:gd name="T33" fmla="*/ 97 h 116"/>
                  <a:gd name="T34" fmla="*/ 35 w 57"/>
                  <a:gd name="T35" fmla="*/ 86 h 116"/>
                  <a:gd name="T36" fmla="*/ 36 w 57"/>
                  <a:gd name="T37" fmla="*/ 82 h 116"/>
                  <a:gd name="T38" fmla="*/ 35 w 57"/>
                  <a:gd name="T39" fmla="*/ 80 h 116"/>
                  <a:gd name="T40" fmla="*/ 35 w 57"/>
                  <a:gd name="T41" fmla="*/ 75 h 116"/>
                  <a:gd name="T42" fmla="*/ 35 w 57"/>
                  <a:gd name="T43" fmla="*/ 68 h 116"/>
                  <a:gd name="T44" fmla="*/ 37 w 57"/>
                  <a:gd name="T45" fmla="*/ 63 h 116"/>
                  <a:gd name="T46" fmla="*/ 42 w 57"/>
                  <a:gd name="T47" fmla="*/ 61 h 116"/>
                  <a:gd name="T48" fmla="*/ 45 w 57"/>
                  <a:gd name="T49" fmla="*/ 57 h 116"/>
                  <a:gd name="T50" fmla="*/ 48 w 57"/>
                  <a:gd name="T51" fmla="*/ 50 h 116"/>
                  <a:gd name="T52" fmla="*/ 53 w 57"/>
                  <a:gd name="T53" fmla="*/ 48 h 116"/>
                  <a:gd name="T54" fmla="*/ 50 w 57"/>
                  <a:gd name="T55" fmla="*/ 42 h 116"/>
                  <a:gd name="T56" fmla="*/ 52 w 57"/>
                  <a:gd name="T57" fmla="*/ 39 h 116"/>
                  <a:gd name="T58" fmla="*/ 57 w 57"/>
                  <a:gd name="T59" fmla="*/ 37 h 116"/>
                  <a:gd name="T60" fmla="*/ 55 w 57"/>
                  <a:gd name="T61" fmla="*/ 25 h 116"/>
                  <a:gd name="T62" fmla="*/ 49 w 57"/>
                  <a:gd name="T63" fmla="*/ 18 h 116"/>
                  <a:gd name="T64" fmla="*/ 50 w 57"/>
                  <a:gd name="T65" fmla="*/ 15 h 116"/>
                  <a:gd name="T66" fmla="*/ 43 w 57"/>
                  <a:gd name="T67" fmla="*/ 9 h 116"/>
                  <a:gd name="T68" fmla="*/ 33 w 57"/>
                  <a:gd name="T69" fmla="*/ 0 h 116"/>
                  <a:gd name="T70" fmla="*/ 32 w 57"/>
                  <a:gd name="T71" fmla="*/ 5 h 116"/>
                  <a:gd name="T72" fmla="*/ 26 w 57"/>
                  <a:gd name="T73" fmla="*/ 6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57" h="116">
                    <a:moveTo>
                      <a:pt x="26" y="6"/>
                    </a:moveTo>
                    <a:lnTo>
                      <a:pt x="26" y="9"/>
                    </a:lnTo>
                    <a:lnTo>
                      <a:pt x="23" y="14"/>
                    </a:lnTo>
                    <a:lnTo>
                      <a:pt x="20" y="14"/>
                    </a:lnTo>
                    <a:lnTo>
                      <a:pt x="13" y="17"/>
                    </a:lnTo>
                    <a:lnTo>
                      <a:pt x="11" y="16"/>
                    </a:lnTo>
                    <a:lnTo>
                      <a:pt x="8" y="18"/>
                    </a:lnTo>
                    <a:lnTo>
                      <a:pt x="8" y="21"/>
                    </a:lnTo>
                    <a:lnTo>
                      <a:pt x="5" y="23"/>
                    </a:lnTo>
                    <a:lnTo>
                      <a:pt x="5" y="27"/>
                    </a:lnTo>
                    <a:lnTo>
                      <a:pt x="2" y="28"/>
                    </a:lnTo>
                    <a:lnTo>
                      <a:pt x="0" y="32"/>
                    </a:lnTo>
                    <a:lnTo>
                      <a:pt x="1" y="38"/>
                    </a:lnTo>
                    <a:lnTo>
                      <a:pt x="5" y="39"/>
                    </a:lnTo>
                    <a:lnTo>
                      <a:pt x="7" y="41"/>
                    </a:lnTo>
                    <a:lnTo>
                      <a:pt x="9" y="42"/>
                    </a:lnTo>
                    <a:lnTo>
                      <a:pt x="13" y="52"/>
                    </a:lnTo>
                    <a:lnTo>
                      <a:pt x="15" y="60"/>
                    </a:lnTo>
                    <a:lnTo>
                      <a:pt x="14" y="64"/>
                    </a:lnTo>
                    <a:lnTo>
                      <a:pt x="16" y="67"/>
                    </a:lnTo>
                    <a:lnTo>
                      <a:pt x="16" y="71"/>
                    </a:lnTo>
                    <a:lnTo>
                      <a:pt x="14" y="74"/>
                    </a:lnTo>
                    <a:lnTo>
                      <a:pt x="14" y="77"/>
                    </a:lnTo>
                    <a:lnTo>
                      <a:pt x="13" y="98"/>
                    </a:lnTo>
                    <a:lnTo>
                      <a:pt x="14" y="103"/>
                    </a:lnTo>
                    <a:lnTo>
                      <a:pt x="15" y="107"/>
                    </a:lnTo>
                    <a:lnTo>
                      <a:pt x="17" y="112"/>
                    </a:lnTo>
                    <a:lnTo>
                      <a:pt x="16" y="115"/>
                    </a:lnTo>
                    <a:lnTo>
                      <a:pt x="23" y="116"/>
                    </a:lnTo>
                    <a:lnTo>
                      <a:pt x="36" y="112"/>
                    </a:lnTo>
                    <a:lnTo>
                      <a:pt x="36" y="112"/>
                    </a:lnTo>
                    <a:lnTo>
                      <a:pt x="36" y="108"/>
                    </a:lnTo>
                    <a:lnTo>
                      <a:pt x="36" y="100"/>
                    </a:lnTo>
                    <a:lnTo>
                      <a:pt x="36" y="97"/>
                    </a:lnTo>
                    <a:lnTo>
                      <a:pt x="36" y="94"/>
                    </a:lnTo>
                    <a:lnTo>
                      <a:pt x="35" y="86"/>
                    </a:lnTo>
                    <a:lnTo>
                      <a:pt x="36" y="83"/>
                    </a:lnTo>
                    <a:lnTo>
                      <a:pt x="36" y="82"/>
                    </a:lnTo>
                    <a:lnTo>
                      <a:pt x="35" y="81"/>
                    </a:lnTo>
                    <a:lnTo>
                      <a:pt x="35" y="80"/>
                    </a:lnTo>
                    <a:lnTo>
                      <a:pt x="35" y="76"/>
                    </a:lnTo>
                    <a:lnTo>
                      <a:pt x="35" y="75"/>
                    </a:lnTo>
                    <a:lnTo>
                      <a:pt x="35" y="71"/>
                    </a:lnTo>
                    <a:lnTo>
                      <a:pt x="35" y="68"/>
                    </a:lnTo>
                    <a:lnTo>
                      <a:pt x="35" y="65"/>
                    </a:lnTo>
                    <a:lnTo>
                      <a:pt x="37" y="63"/>
                    </a:lnTo>
                    <a:lnTo>
                      <a:pt x="40" y="62"/>
                    </a:lnTo>
                    <a:lnTo>
                      <a:pt x="42" y="61"/>
                    </a:lnTo>
                    <a:lnTo>
                      <a:pt x="44" y="61"/>
                    </a:lnTo>
                    <a:lnTo>
                      <a:pt x="45" y="57"/>
                    </a:lnTo>
                    <a:lnTo>
                      <a:pt x="47" y="53"/>
                    </a:lnTo>
                    <a:lnTo>
                      <a:pt x="48" y="50"/>
                    </a:lnTo>
                    <a:lnTo>
                      <a:pt x="51" y="48"/>
                    </a:lnTo>
                    <a:lnTo>
                      <a:pt x="53" y="48"/>
                    </a:lnTo>
                    <a:lnTo>
                      <a:pt x="54" y="46"/>
                    </a:lnTo>
                    <a:lnTo>
                      <a:pt x="50" y="42"/>
                    </a:lnTo>
                    <a:lnTo>
                      <a:pt x="51" y="40"/>
                    </a:lnTo>
                    <a:lnTo>
                      <a:pt x="52" y="39"/>
                    </a:lnTo>
                    <a:lnTo>
                      <a:pt x="56" y="39"/>
                    </a:lnTo>
                    <a:lnTo>
                      <a:pt x="57" y="37"/>
                    </a:lnTo>
                    <a:lnTo>
                      <a:pt x="55" y="30"/>
                    </a:lnTo>
                    <a:lnTo>
                      <a:pt x="55" y="25"/>
                    </a:lnTo>
                    <a:lnTo>
                      <a:pt x="50" y="21"/>
                    </a:lnTo>
                    <a:lnTo>
                      <a:pt x="49" y="18"/>
                    </a:lnTo>
                    <a:lnTo>
                      <a:pt x="50" y="16"/>
                    </a:lnTo>
                    <a:lnTo>
                      <a:pt x="50" y="15"/>
                    </a:lnTo>
                    <a:lnTo>
                      <a:pt x="46" y="10"/>
                    </a:lnTo>
                    <a:lnTo>
                      <a:pt x="43" y="9"/>
                    </a:lnTo>
                    <a:lnTo>
                      <a:pt x="39" y="5"/>
                    </a:lnTo>
                    <a:lnTo>
                      <a:pt x="33" y="0"/>
                    </a:lnTo>
                    <a:lnTo>
                      <a:pt x="31" y="3"/>
                    </a:lnTo>
                    <a:lnTo>
                      <a:pt x="32" y="5"/>
                    </a:lnTo>
                    <a:lnTo>
                      <a:pt x="28" y="6"/>
                    </a:lnTo>
                    <a:lnTo>
                      <a:pt x="26" y="6"/>
                    </a:lnTo>
                    <a:lnTo>
                      <a:pt x="26" y="6"/>
                    </a:lnTo>
                    <a:close/>
                  </a:path>
                </a:pathLst>
              </a:custGeom>
              <a:solidFill>
                <a:schemeClr val="accent4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637" name="Freeform 441"/>
              <p:cNvSpPr>
                <a:spLocks/>
              </p:cNvSpPr>
              <p:nvPr userDrawn="1"/>
            </p:nvSpPr>
            <p:spPr bwMode="auto">
              <a:xfrm>
                <a:off x="3599" y="2689"/>
                <a:ext cx="5" cy="1"/>
              </a:xfrm>
              <a:custGeom>
                <a:avLst/>
                <a:gdLst>
                  <a:gd name="T0" fmla="*/ 5 w 5"/>
                  <a:gd name="T1" fmla="*/ 0 h 1"/>
                  <a:gd name="T2" fmla="*/ 2 w 5"/>
                  <a:gd name="T3" fmla="*/ 1 h 1"/>
                  <a:gd name="T4" fmla="*/ 0 w 5"/>
                  <a:gd name="T5" fmla="*/ 1 h 1"/>
                  <a:gd name="T6" fmla="*/ 5 w 5"/>
                  <a:gd name="T7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" h="1">
                    <a:moveTo>
                      <a:pt x="5" y="0"/>
                    </a:moveTo>
                    <a:lnTo>
                      <a:pt x="2" y="1"/>
                    </a:lnTo>
                    <a:lnTo>
                      <a:pt x="0" y="1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65625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638" name="Freeform 442"/>
              <p:cNvSpPr>
                <a:spLocks/>
              </p:cNvSpPr>
              <p:nvPr userDrawn="1"/>
            </p:nvSpPr>
            <p:spPr bwMode="auto">
              <a:xfrm>
                <a:off x="3599" y="2689"/>
                <a:ext cx="5" cy="1"/>
              </a:xfrm>
              <a:custGeom>
                <a:avLst/>
                <a:gdLst>
                  <a:gd name="T0" fmla="*/ 5 w 5"/>
                  <a:gd name="T1" fmla="*/ 0 h 1"/>
                  <a:gd name="T2" fmla="*/ 2 w 5"/>
                  <a:gd name="T3" fmla="*/ 1 h 1"/>
                  <a:gd name="T4" fmla="*/ 0 w 5"/>
                  <a:gd name="T5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" h="1">
                    <a:moveTo>
                      <a:pt x="5" y="0"/>
                    </a:moveTo>
                    <a:lnTo>
                      <a:pt x="2" y="1"/>
                    </a:lnTo>
                    <a:lnTo>
                      <a:pt x="0" y="1"/>
                    </a:lnTo>
                  </a:path>
                </a:pathLst>
              </a:custGeom>
              <a:noFill/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639" name="Freeform 443"/>
              <p:cNvSpPr>
                <a:spLocks/>
              </p:cNvSpPr>
              <p:nvPr userDrawn="1"/>
            </p:nvSpPr>
            <p:spPr bwMode="auto">
              <a:xfrm>
                <a:off x="3745" y="2775"/>
                <a:ext cx="4" cy="7"/>
              </a:xfrm>
              <a:custGeom>
                <a:avLst/>
                <a:gdLst>
                  <a:gd name="T0" fmla="*/ 0 w 4"/>
                  <a:gd name="T1" fmla="*/ 0 h 7"/>
                  <a:gd name="T2" fmla="*/ 2 w 4"/>
                  <a:gd name="T3" fmla="*/ 3 h 7"/>
                  <a:gd name="T4" fmla="*/ 4 w 4"/>
                  <a:gd name="T5" fmla="*/ 7 h 7"/>
                  <a:gd name="T6" fmla="*/ 0 w 4"/>
                  <a:gd name="T7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" h="7">
                    <a:moveTo>
                      <a:pt x="0" y="0"/>
                    </a:moveTo>
                    <a:lnTo>
                      <a:pt x="2" y="3"/>
                    </a:lnTo>
                    <a:lnTo>
                      <a:pt x="4" y="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65625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640" name="Freeform 444"/>
              <p:cNvSpPr>
                <a:spLocks/>
              </p:cNvSpPr>
              <p:nvPr userDrawn="1"/>
            </p:nvSpPr>
            <p:spPr bwMode="auto">
              <a:xfrm>
                <a:off x="3745" y="2775"/>
                <a:ext cx="4" cy="7"/>
              </a:xfrm>
              <a:custGeom>
                <a:avLst/>
                <a:gdLst>
                  <a:gd name="T0" fmla="*/ 0 w 4"/>
                  <a:gd name="T1" fmla="*/ 0 h 7"/>
                  <a:gd name="T2" fmla="*/ 2 w 4"/>
                  <a:gd name="T3" fmla="*/ 3 h 7"/>
                  <a:gd name="T4" fmla="*/ 4 w 4"/>
                  <a:gd name="T5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7">
                    <a:moveTo>
                      <a:pt x="0" y="0"/>
                    </a:moveTo>
                    <a:lnTo>
                      <a:pt x="2" y="3"/>
                    </a:lnTo>
                    <a:lnTo>
                      <a:pt x="4" y="7"/>
                    </a:lnTo>
                  </a:path>
                </a:pathLst>
              </a:custGeom>
              <a:noFill/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641" name="Freeform 445"/>
              <p:cNvSpPr>
                <a:spLocks/>
              </p:cNvSpPr>
              <p:nvPr userDrawn="1"/>
            </p:nvSpPr>
            <p:spPr bwMode="auto">
              <a:xfrm>
                <a:off x="3772" y="2866"/>
                <a:ext cx="8" cy="4"/>
              </a:xfrm>
              <a:custGeom>
                <a:avLst/>
                <a:gdLst>
                  <a:gd name="T0" fmla="*/ 0 w 8"/>
                  <a:gd name="T1" fmla="*/ 4 h 4"/>
                  <a:gd name="T2" fmla="*/ 5 w 8"/>
                  <a:gd name="T3" fmla="*/ 1 h 4"/>
                  <a:gd name="T4" fmla="*/ 8 w 8"/>
                  <a:gd name="T5" fmla="*/ 0 h 4"/>
                  <a:gd name="T6" fmla="*/ 0 w 8"/>
                  <a:gd name="T7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" h="4">
                    <a:moveTo>
                      <a:pt x="0" y="4"/>
                    </a:moveTo>
                    <a:lnTo>
                      <a:pt x="5" y="1"/>
                    </a:lnTo>
                    <a:lnTo>
                      <a:pt x="8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65625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642" name="Freeform 446"/>
              <p:cNvSpPr>
                <a:spLocks/>
              </p:cNvSpPr>
              <p:nvPr userDrawn="1"/>
            </p:nvSpPr>
            <p:spPr bwMode="auto">
              <a:xfrm>
                <a:off x="3772" y="2866"/>
                <a:ext cx="8" cy="4"/>
              </a:xfrm>
              <a:custGeom>
                <a:avLst/>
                <a:gdLst>
                  <a:gd name="T0" fmla="*/ 0 w 8"/>
                  <a:gd name="T1" fmla="*/ 4 h 4"/>
                  <a:gd name="T2" fmla="*/ 5 w 8"/>
                  <a:gd name="T3" fmla="*/ 1 h 4"/>
                  <a:gd name="T4" fmla="*/ 8 w 8"/>
                  <a:gd name="T5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8" h="4">
                    <a:moveTo>
                      <a:pt x="0" y="4"/>
                    </a:moveTo>
                    <a:lnTo>
                      <a:pt x="5" y="1"/>
                    </a:lnTo>
                    <a:lnTo>
                      <a:pt x="8" y="0"/>
                    </a:lnTo>
                  </a:path>
                </a:pathLst>
              </a:custGeom>
              <a:noFill/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643" name="Freeform 447"/>
              <p:cNvSpPr>
                <a:spLocks/>
              </p:cNvSpPr>
              <p:nvPr userDrawn="1"/>
            </p:nvSpPr>
            <p:spPr bwMode="auto">
              <a:xfrm>
                <a:off x="3779" y="3062"/>
                <a:ext cx="4" cy="9"/>
              </a:xfrm>
              <a:custGeom>
                <a:avLst/>
                <a:gdLst>
                  <a:gd name="T0" fmla="*/ 4 w 4"/>
                  <a:gd name="T1" fmla="*/ 9 h 9"/>
                  <a:gd name="T2" fmla="*/ 3 w 4"/>
                  <a:gd name="T3" fmla="*/ 3 h 9"/>
                  <a:gd name="T4" fmla="*/ 0 w 4"/>
                  <a:gd name="T5" fmla="*/ 0 h 9"/>
                  <a:gd name="T6" fmla="*/ 4 w 4"/>
                  <a:gd name="T7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" h="9">
                    <a:moveTo>
                      <a:pt x="4" y="9"/>
                    </a:moveTo>
                    <a:lnTo>
                      <a:pt x="3" y="3"/>
                    </a:lnTo>
                    <a:lnTo>
                      <a:pt x="0" y="0"/>
                    </a:lnTo>
                    <a:lnTo>
                      <a:pt x="4" y="9"/>
                    </a:lnTo>
                    <a:close/>
                  </a:path>
                </a:pathLst>
              </a:custGeom>
              <a:solidFill>
                <a:srgbClr val="65625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644" name="Freeform 448"/>
              <p:cNvSpPr>
                <a:spLocks/>
              </p:cNvSpPr>
              <p:nvPr userDrawn="1"/>
            </p:nvSpPr>
            <p:spPr bwMode="auto">
              <a:xfrm>
                <a:off x="3779" y="3062"/>
                <a:ext cx="4" cy="9"/>
              </a:xfrm>
              <a:custGeom>
                <a:avLst/>
                <a:gdLst>
                  <a:gd name="T0" fmla="*/ 4 w 4"/>
                  <a:gd name="T1" fmla="*/ 9 h 9"/>
                  <a:gd name="T2" fmla="*/ 3 w 4"/>
                  <a:gd name="T3" fmla="*/ 3 h 9"/>
                  <a:gd name="T4" fmla="*/ 0 w 4"/>
                  <a:gd name="T5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9">
                    <a:moveTo>
                      <a:pt x="4" y="9"/>
                    </a:moveTo>
                    <a:lnTo>
                      <a:pt x="3" y="3"/>
                    </a:lnTo>
                    <a:lnTo>
                      <a:pt x="0" y="0"/>
                    </a:lnTo>
                  </a:path>
                </a:pathLst>
              </a:custGeom>
              <a:noFill/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645" name="Freeform 449"/>
              <p:cNvSpPr>
                <a:spLocks noEditPoints="1"/>
              </p:cNvSpPr>
              <p:nvPr userDrawn="1"/>
            </p:nvSpPr>
            <p:spPr bwMode="auto">
              <a:xfrm>
                <a:off x="1376" y="2290"/>
                <a:ext cx="526" cy="375"/>
              </a:xfrm>
              <a:custGeom>
                <a:avLst/>
                <a:gdLst>
                  <a:gd name="T0" fmla="*/ 197 w 526"/>
                  <a:gd name="T1" fmla="*/ 35 h 375"/>
                  <a:gd name="T2" fmla="*/ 212 w 526"/>
                  <a:gd name="T3" fmla="*/ 51 h 375"/>
                  <a:gd name="T4" fmla="*/ 219 w 526"/>
                  <a:gd name="T5" fmla="*/ 72 h 375"/>
                  <a:gd name="T6" fmla="*/ 234 w 526"/>
                  <a:gd name="T7" fmla="*/ 82 h 375"/>
                  <a:gd name="T8" fmla="*/ 250 w 526"/>
                  <a:gd name="T9" fmla="*/ 81 h 375"/>
                  <a:gd name="T10" fmla="*/ 273 w 526"/>
                  <a:gd name="T11" fmla="*/ 71 h 375"/>
                  <a:gd name="T12" fmla="*/ 291 w 526"/>
                  <a:gd name="T13" fmla="*/ 95 h 375"/>
                  <a:gd name="T14" fmla="*/ 306 w 526"/>
                  <a:gd name="T15" fmla="*/ 125 h 375"/>
                  <a:gd name="T16" fmla="*/ 328 w 526"/>
                  <a:gd name="T17" fmla="*/ 151 h 375"/>
                  <a:gd name="T18" fmla="*/ 341 w 526"/>
                  <a:gd name="T19" fmla="*/ 158 h 375"/>
                  <a:gd name="T20" fmla="*/ 331 w 526"/>
                  <a:gd name="T21" fmla="*/ 175 h 375"/>
                  <a:gd name="T22" fmla="*/ 324 w 526"/>
                  <a:gd name="T23" fmla="*/ 222 h 375"/>
                  <a:gd name="T24" fmla="*/ 329 w 526"/>
                  <a:gd name="T25" fmla="*/ 251 h 375"/>
                  <a:gd name="T26" fmla="*/ 359 w 526"/>
                  <a:gd name="T27" fmla="*/ 295 h 375"/>
                  <a:gd name="T28" fmla="*/ 399 w 526"/>
                  <a:gd name="T29" fmla="*/ 301 h 375"/>
                  <a:gd name="T30" fmla="*/ 431 w 526"/>
                  <a:gd name="T31" fmla="*/ 306 h 375"/>
                  <a:gd name="T32" fmla="*/ 449 w 526"/>
                  <a:gd name="T33" fmla="*/ 278 h 375"/>
                  <a:gd name="T34" fmla="*/ 496 w 526"/>
                  <a:gd name="T35" fmla="*/ 244 h 375"/>
                  <a:gd name="T36" fmla="*/ 518 w 526"/>
                  <a:gd name="T37" fmla="*/ 260 h 375"/>
                  <a:gd name="T38" fmla="*/ 506 w 526"/>
                  <a:gd name="T39" fmla="*/ 289 h 375"/>
                  <a:gd name="T40" fmla="*/ 497 w 526"/>
                  <a:gd name="T41" fmla="*/ 296 h 375"/>
                  <a:gd name="T42" fmla="*/ 479 w 526"/>
                  <a:gd name="T43" fmla="*/ 313 h 375"/>
                  <a:gd name="T44" fmla="*/ 435 w 526"/>
                  <a:gd name="T45" fmla="*/ 329 h 375"/>
                  <a:gd name="T46" fmla="*/ 427 w 526"/>
                  <a:gd name="T47" fmla="*/ 346 h 375"/>
                  <a:gd name="T48" fmla="*/ 411 w 526"/>
                  <a:gd name="T49" fmla="*/ 372 h 375"/>
                  <a:gd name="T50" fmla="*/ 375 w 526"/>
                  <a:gd name="T51" fmla="*/ 343 h 375"/>
                  <a:gd name="T52" fmla="*/ 373 w 526"/>
                  <a:gd name="T53" fmla="*/ 344 h 375"/>
                  <a:gd name="T54" fmla="*/ 367 w 526"/>
                  <a:gd name="T55" fmla="*/ 346 h 375"/>
                  <a:gd name="T56" fmla="*/ 306 w 526"/>
                  <a:gd name="T57" fmla="*/ 344 h 375"/>
                  <a:gd name="T58" fmla="*/ 265 w 526"/>
                  <a:gd name="T59" fmla="*/ 329 h 375"/>
                  <a:gd name="T60" fmla="*/ 220 w 526"/>
                  <a:gd name="T61" fmla="*/ 307 h 375"/>
                  <a:gd name="T62" fmla="*/ 190 w 526"/>
                  <a:gd name="T63" fmla="*/ 287 h 375"/>
                  <a:gd name="T64" fmla="*/ 181 w 526"/>
                  <a:gd name="T65" fmla="*/ 261 h 375"/>
                  <a:gd name="T66" fmla="*/ 179 w 526"/>
                  <a:gd name="T67" fmla="*/ 224 h 375"/>
                  <a:gd name="T68" fmla="*/ 141 w 526"/>
                  <a:gd name="T69" fmla="*/ 177 h 375"/>
                  <a:gd name="T70" fmla="*/ 121 w 526"/>
                  <a:gd name="T71" fmla="*/ 156 h 375"/>
                  <a:gd name="T72" fmla="*/ 123 w 526"/>
                  <a:gd name="T73" fmla="*/ 138 h 375"/>
                  <a:gd name="T74" fmla="*/ 103 w 526"/>
                  <a:gd name="T75" fmla="*/ 112 h 375"/>
                  <a:gd name="T76" fmla="*/ 85 w 526"/>
                  <a:gd name="T77" fmla="*/ 93 h 375"/>
                  <a:gd name="T78" fmla="*/ 70 w 526"/>
                  <a:gd name="T79" fmla="*/ 62 h 375"/>
                  <a:gd name="T80" fmla="*/ 60 w 526"/>
                  <a:gd name="T81" fmla="*/ 31 h 375"/>
                  <a:gd name="T82" fmla="*/ 38 w 526"/>
                  <a:gd name="T83" fmla="*/ 35 h 375"/>
                  <a:gd name="T84" fmla="*/ 51 w 526"/>
                  <a:gd name="T85" fmla="*/ 81 h 375"/>
                  <a:gd name="T86" fmla="*/ 69 w 526"/>
                  <a:gd name="T87" fmla="*/ 110 h 375"/>
                  <a:gd name="T88" fmla="*/ 82 w 526"/>
                  <a:gd name="T89" fmla="*/ 129 h 375"/>
                  <a:gd name="T90" fmla="*/ 90 w 526"/>
                  <a:gd name="T91" fmla="*/ 163 h 375"/>
                  <a:gd name="T92" fmla="*/ 100 w 526"/>
                  <a:gd name="T93" fmla="*/ 183 h 375"/>
                  <a:gd name="T94" fmla="*/ 105 w 526"/>
                  <a:gd name="T95" fmla="*/ 211 h 375"/>
                  <a:gd name="T96" fmla="*/ 78 w 526"/>
                  <a:gd name="T97" fmla="*/ 180 h 375"/>
                  <a:gd name="T98" fmla="*/ 66 w 526"/>
                  <a:gd name="T99" fmla="*/ 141 h 375"/>
                  <a:gd name="T100" fmla="*/ 44 w 526"/>
                  <a:gd name="T101" fmla="*/ 125 h 375"/>
                  <a:gd name="T102" fmla="*/ 29 w 526"/>
                  <a:gd name="T103" fmla="*/ 106 h 375"/>
                  <a:gd name="T104" fmla="*/ 41 w 526"/>
                  <a:gd name="T105" fmla="*/ 99 h 375"/>
                  <a:gd name="T106" fmla="*/ 19 w 526"/>
                  <a:gd name="T107" fmla="*/ 65 h 375"/>
                  <a:gd name="T108" fmla="*/ 11 w 526"/>
                  <a:gd name="T109" fmla="*/ 34 h 375"/>
                  <a:gd name="T110" fmla="*/ 95 w 526"/>
                  <a:gd name="T111" fmla="*/ 170 h 375"/>
                  <a:gd name="T112" fmla="*/ 100 w 526"/>
                  <a:gd name="T113" fmla="*/ 181 h 375"/>
                  <a:gd name="T114" fmla="*/ 333 w 526"/>
                  <a:gd name="T115" fmla="*/ 173 h 375"/>
                  <a:gd name="T116" fmla="*/ 330 w 526"/>
                  <a:gd name="T117" fmla="*/ 186 h 3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526" h="375">
                    <a:moveTo>
                      <a:pt x="0" y="0"/>
                    </a:moveTo>
                    <a:lnTo>
                      <a:pt x="44" y="0"/>
                    </a:lnTo>
                    <a:lnTo>
                      <a:pt x="44" y="1"/>
                    </a:lnTo>
                    <a:lnTo>
                      <a:pt x="44" y="3"/>
                    </a:lnTo>
                    <a:lnTo>
                      <a:pt x="107" y="31"/>
                    </a:lnTo>
                    <a:lnTo>
                      <a:pt x="159" y="32"/>
                    </a:lnTo>
                    <a:lnTo>
                      <a:pt x="159" y="25"/>
                    </a:lnTo>
                    <a:lnTo>
                      <a:pt x="189" y="26"/>
                    </a:lnTo>
                    <a:lnTo>
                      <a:pt x="193" y="28"/>
                    </a:lnTo>
                    <a:lnTo>
                      <a:pt x="195" y="33"/>
                    </a:lnTo>
                    <a:lnTo>
                      <a:pt x="197" y="35"/>
                    </a:lnTo>
                    <a:lnTo>
                      <a:pt x="197" y="36"/>
                    </a:lnTo>
                    <a:lnTo>
                      <a:pt x="199" y="36"/>
                    </a:lnTo>
                    <a:lnTo>
                      <a:pt x="201" y="38"/>
                    </a:lnTo>
                    <a:lnTo>
                      <a:pt x="200" y="40"/>
                    </a:lnTo>
                    <a:lnTo>
                      <a:pt x="203" y="41"/>
                    </a:lnTo>
                    <a:lnTo>
                      <a:pt x="206" y="43"/>
                    </a:lnTo>
                    <a:lnTo>
                      <a:pt x="206" y="45"/>
                    </a:lnTo>
                    <a:lnTo>
                      <a:pt x="205" y="46"/>
                    </a:lnTo>
                    <a:lnTo>
                      <a:pt x="207" y="47"/>
                    </a:lnTo>
                    <a:lnTo>
                      <a:pt x="210" y="49"/>
                    </a:lnTo>
                    <a:lnTo>
                      <a:pt x="212" y="51"/>
                    </a:lnTo>
                    <a:lnTo>
                      <a:pt x="212" y="55"/>
                    </a:lnTo>
                    <a:lnTo>
                      <a:pt x="213" y="57"/>
                    </a:lnTo>
                    <a:lnTo>
                      <a:pt x="215" y="57"/>
                    </a:lnTo>
                    <a:lnTo>
                      <a:pt x="215" y="58"/>
                    </a:lnTo>
                    <a:lnTo>
                      <a:pt x="217" y="60"/>
                    </a:lnTo>
                    <a:lnTo>
                      <a:pt x="217" y="62"/>
                    </a:lnTo>
                    <a:lnTo>
                      <a:pt x="216" y="63"/>
                    </a:lnTo>
                    <a:lnTo>
                      <a:pt x="214" y="64"/>
                    </a:lnTo>
                    <a:lnTo>
                      <a:pt x="214" y="65"/>
                    </a:lnTo>
                    <a:lnTo>
                      <a:pt x="217" y="69"/>
                    </a:lnTo>
                    <a:lnTo>
                      <a:pt x="219" y="72"/>
                    </a:lnTo>
                    <a:lnTo>
                      <a:pt x="220" y="74"/>
                    </a:lnTo>
                    <a:lnTo>
                      <a:pt x="220" y="75"/>
                    </a:lnTo>
                    <a:lnTo>
                      <a:pt x="221" y="75"/>
                    </a:lnTo>
                    <a:lnTo>
                      <a:pt x="223" y="77"/>
                    </a:lnTo>
                    <a:lnTo>
                      <a:pt x="224" y="77"/>
                    </a:lnTo>
                    <a:lnTo>
                      <a:pt x="226" y="78"/>
                    </a:lnTo>
                    <a:lnTo>
                      <a:pt x="226" y="79"/>
                    </a:lnTo>
                    <a:lnTo>
                      <a:pt x="227" y="80"/>
                    </a:lnTo>
                    <a:lnTo>
                      <a:pt x="228" y="81"/>
                    </a:lnTo>
                    <a:lnTo>
                      <a:pt x="230" y="81"/>
                    </a:lnTo>
                    <a:lnTo>
                      <a:pt x="234" y="82"/>
                    </a:lnTo>
                    <a:lnTo>
                      <a:pt x="235" y="84"/>
                    </a:lnTo>
                    <a:lnTo>
                      <a:pt x="238" y="85"/>
                    </a:lnTo>
                    <a:lnTo>
                      <a:pt x="241" y="86"/>
                    </a:lnTo>
                    <a:lnTo>
                      <a:pt x="242" y="88"/>
                    </a:lnTo>
                    <a:lnTo>
                      <a:pt x="243" y="88"/>
                    </a:lnTo>
                    <a:lnTo>
                      <a:pt x="245" y="87"/>
                    </a:lnTo>
                    <a:lnTo>
                      <a:pt x="246" y="86"/>
                    </a:lnTo>
                    <a:lnTo>
                      <a:pt x="248" y="84"/>
                    </a:lnTo>
                    <a:lnTo>
                      <a:pt x="250" y="84"/>
                    </a:lnTo>
                    <a:lnTo>
                      <a:pt x="251" y="82"/>
                    </a:lnTo>
                    <a:lnTo>
                      <a:pt x="250" y="81"/>
                    </a:lnTo>
                    <a:lnTo>
                      <a:pt x="252" y="80"/>
                    </a:lnTo>
                    <a:lnTo>
                      <a:pt x="255" y="75"/>
                    </a:lnTo>
                    <a:lnTo>
                      <a:pt x="257" y="73"/>
                    </a:lnTo>
                    <a:lnTo>
                      <a:pt x="259" y="72"/>
                    </a:lnTo>
                    <a:lnTo>
                      <a:pt x="260" y="73"/>
                    </a:lnTo>
                    <a:lnTo>
                      <a:pt x="260" y="73"/>
                    </a:lnTo>
                    <a:lnTo>
                      <a:pt x="261" y="73"/>
                    </a:lnTo>
                    <a:lnTo>
                      <a:pt x="262" y="71"/>
                    </a:lnTo>
                    <a:lnTo>
                      <a:pt x="266" y="71"/>
                    </a:lnTo>
                    <a:lnTo>
                      <a:pt x="269" y="71"/>
                    </a:lnTo>
                    <a:lnTo>
                      <a:pt x="273" y="71"/>
                    </a:lnTo>
                    <a:lnTo>
                      <a:pt x="274" y="72"/>
                    </a:lnTo>
                    <a:lnTo>
                      <a:pt x="275" y="73"/>
                    </a:lnTo>
                    <a:lnTo>
                      <a:pt x="278" y="72"/>
                    </a:lnTo>
                    <a:lnTo>
                      <a:pt x="280" y="73"/>
                    </a:lnTo>
                    <a:lnTo>
                      <a:pt x="281" y="76"/>
                    </a:lnTo>
                    <a:lnTo>
                      <a:pt x="284" y="79"/>
                    </a:lnTo>
                    <a:lnTo>
                      <a:pt x="287" y="83"/>
                    </a:lnTo>
                    <a:lnTo>
                      <a:pt x="289" y="87"/>
                    </a:lnTo>
                    <a:lnTo>
                      <a:pt x="290" y="88"/>
                    </a:lnTo>
                    <a:lnTo>
                      <a:pt x="290" y="91"/>
                    </a:lnTo>
                    <a:lnTo>
                      <a:pt x="291" y="95"/>
                    </a:lnTo>
                    <a:lnTo>
                      <a:pt x="293" y="96"/>
                    </a:lnTo>
                    <a:lnTo>
                      <a:pt x="294" y="99"/>
                    </a:lnTo>
                    <a:lnTo>
                      <a:pt x="296" y="105"/>
                    </a:lnTo>
                    <a:lnTo>
                      <a:pt x="298" y="106"/>
                    </a:lnTo>
                    <a:lnTo>
                      <a:pt x="299" y="108"/>
                    </a:lnTo>
                    <a:lnTo>
                      <a:pt x="302" y="110"/>
                    </a:lnTo>
                    <a:lnTo>
                      <a:pt x="303" y="113"/>
                    </a:lnTo>
                    <a:lnTo>
                      <a:pt x="303" y="116"/>
                    </a:lnTo>
                    <a:lnTo>
                      <a:pt x="307" y="119"/>
                    </a:lnTo>
                    <a:lnTo>
                      <a:pt x="306" y="123"/>
                    </a:lnTo>
                    <a:lnTo>
                      <a:pt x="306" y="125"/>
                    </a:lnTo>
                    <a:lnTo>
                      <a:pt x="306" y="126"/>
                    </a:lnTo>
                    <a:lnTo>
                      <a:pt x="306" y="127"/>
                    </a:lnTo>
                    <a:lnTo>
                      <a:pt x="310" y="138"/>
                    </a:lnTo>
                    <a:lnTo>
                      <a:pt x="310" y="143"/>
                    </a:lnTo>
                    <a:lnTo>
                      <a:pt x="311" y="145"/>
                    </a:lnTo>
                    <a:lnTo>
                      <a:pt x="312" y="145"/>
                    </a:lnTo>
                    <a:lnTo>
                      <a:pt x="314" y="146"/>
                    </a:lnTo>
                    <a:lnTo>
                      <a:pt x="317" y="146"/>
                    </a:lnTo>
                    <a:lnTo>
                      <a:pt x="319" y="146"/>
                    </a:lnTo>
                    <a:lnTo>
                      <a:pt x="322" y="149"/>
                    </a:lnTo>
                    <a:lnTo>
                      <a:pt x="328" y="151"/>
                    </a:lnTo>
                    <a:lnTo>
                      <a:pt x="331" y="153"/>
                    </a:lnTo>
                    <a:lnTo>
                      <a:pt x="335" y="154"/>
                    </a:lnTo>
                    <a:lnTo>
                      <a:pt x="336" y="156"/>
                    </a:lnTo>
                    <a:lnTo>
                      <a:pt x="337" y="157"/>
                    </a:lnTo>
                    <a:lnTo>
                      <a:pt x="337" y="159"/>
                    </a:lnTo>
                    <a:lnTo>
                      <a:pt x="340" y="157"/>
                    </a:lnTo>
                    <a:lnTo>
                      <a:pt x="341" y="152"/>
                    </a:lnTo>
                    <a:lnTo>
                      <a:pt x="344" y="150"/>
                    </a:lnTo>
                    <a:lnTo>
                      <a:pt x="343" y="152"/>
                    </a:lnTo>
                    <a:lnTo>
                      <a:pt x="342" y="156"/>
                    </a:lnTo>
                    <a:lnTo>
                      <a:pt x="341" y="158"/>
                    </a:lnTo>
                    <a:lnTo>
                      <a:pt x="340" y="162"/>
                    </a:lnTo>
                    <a:lnTo>
                      <a:pt x="337" y="166"/>
                    </a:lnTo>
                    <a:lnTo>
                      <a:pt x="336" y="168"/>
                    </a:lnTo>
                    <a:lnTo>
                      <a:pt x="334" y="169"/>
                    </a:lnTo>
                    <a:lnTo>
                      <a:pt x="335" y="168"/>
                    </a:lnTo>
                    <a:lnTo>
                      <a:pt x="335" y="164"/>
                    </a:lnTo>
                    <a:lnTo>
                      <a:pt x="332" y="164"/>
                    </a:lnTo>
                    <a:lnTo>
                      <a:pt x="332" y="168"/>
                    </a:lnTo>
                    <a:lnTo>
                      <a:pt x="330" y="171"/>
                    </a:lnTo>
                    <a:lnTo>
                      <a:pt x="332" y="173"/>
                    </a:lnTo>
                    <a:lnTo>
                      <a:pt x="331" y="175"/>
                    </a:lnTo>
                    <a:lnTo>
                      <a:pt x="330" y="180"/>
                    </a:lnTo>
                    <a:lnTo>
                      <a:pt x="328" y="182"/>
                    </a:lnTo>
                    <a:lnTo>
                      <a:pt x="328" y="186"/>
                    </a:lnTo>
                    <a:lnTo>
                      <a:pt x="329" y="188"/>
                    </a:lnTo>
                    <a:lnTo>
                      <a:pt x="328" y="190"/>
                    </a:lnTo>
                    <a:lnTo>
                      <a:pt x="328" y="192"/>
                    </a:lnTo>
                    <a:lnTo>
                      <a:pt x="326" y="201"/>
                    </a:lnTo>
                    <a:lnTo>
                      <a:pt x="327" y="207"/>
                    </a:lnTo>
                    <a:lnTo>
                      <a:pt x="326" y="215"/>
                    </a:lnTo>
                    <a:lnTo>
                      <a:pt x="324" y="219"/>
                    </a:lnTo>
                    <a:lnTo>
                      <a:pt x="324" y="222"/>
                    </a:lnTo>
                    <a:lnTo>
                      <a:pt x="325" y="229"/>
                    </a:lnTo>
                    <a:lnTo>
                      <a:pt x="325" y="233"/>
                    </a:lnTo>
                    <a:lnTo>
                      <a:pt x="330" y="239"/>
                    </a:lnTo>
                    <a:lnTo>
                      <a:pt x="330" y="245"/>
                    </a:lnTo>
                    <a:lnTo>
                      <a:pt x="329" y="246"/>
                    </a:lnTo>
                    <a:lnTo>
                      <a:pt x="328" y="239"/>
                    </a:lnTo>
                    <a:lnTo>
                      <a:pt x="324" y="234"/>
                    </a:lnTo>
                    <a:lnTo>
                      <a:pt x="324" y="238"/>
                    </a:lnTo>
                    <a:lnTo>
                      <a:pt x="326" y="241"/>
                    </a:lnTo>
                    <a:lnTo>
                      <a:pt x="328" y="248"/>
                    </a:lnTo>
                    <a:lnTo>
                      <a:pt x="329" y="251"/>
                    </a:lnTo>
                    <a:lnTo>
                      <a:pt x="328" y="253"/>
                    </a:lnTo>
                    <a:lnTo>
                      <a:pt x="330" y="256"/>
                    </a:lnTo>
                    <a:lnTo>
                      <a:pt x="331" y="259"/>
                    </a:lnTo>
                    <a:lnTo>
                      <a:pt x="342" y="270"/>
                    </a:lnTo>
                    <a:lnTo>
                      <a:pt x="343" y="274"/>
                    </a:lnTo>
                    <a:lnTo>
                      <a:pt x="346" y="278"/>
                    </a:lnTo>
                    <a:lnTo>
                      <a:pt x="346" y="281"/>
                    </a:lnTo>
                    <a:lnTo>
                      <a:pt x="347" y="284"/>
                    </a:lnTo>
                    <a:lnTo>
                      <a:pt x="355" y="293"/>
                    </a:lnTo>
                    <a:lnTo>
                      <a:pt x="357" y="296"/>
                    </a:lnTo>
                    <a:lnTo>
                      <a:pt x="359" y="295"/>
                    </a:lnTo>
                    <a:lnTo>
                      <a:pt x="364" y="296"/>
                    </a:lnTo>
                    <a:lnTo>
                      <a:pt x="366" y="297"/>
                    </a:lnTo>
                    <a:lnTo>
                      <a:pt x="370" y="298"/>
                    </a:lnTo>
                    <a:lnTo>
                      <a:pt x="375" y="304"/>
                    </a:lnTo>
                    <a:lnTo>
                      <a:pt x="376" y="309"/>
                    </a:lnTo>
                    <a:lnTo>
                      <a:pt x="381" y="307"/>
                    </a:lnTo>
                    <a:lnTo>
                      <a:pt x="387" y="305"/>
                    </a:lnTo>
                    <a:lnTo>
                      <a:pt x="389" y="307"/>
                    </a:lnTo>
                    <a:lnTo>
                      <a:pt x="390" y="307"/>
                    </a:lnTo>
                    <a:lnTo>
                      <a:pt x="398" y="303"/>
                    </a:lnTo>
                    <a:lnTo>
                      <a:pt x="399" y="301"/>
                    </a:lnTo>
                    <a:lnTo>
                      <a:pt x="406" y="301"/>
                    </a:lnTo>
                    <a:lnTo>
                      <a:pt x="410" y="301"/>
                    </a:lnTo>
                    <a:lnTo>
                      <a:pt x="413" y="298"/>
                    </a:lnTo>
                    <a:lnTo>
                      <a:pt x="418" y="298"/>
                    </a:lnTo>
                    <a:lnTo>
                      <a:pt x="422" y="299"/>
                    </a:lnTo>
                    <a:lnTo>
                      <a:pt x="424" y="298"/>
                    </a:lnTo>
                    <a:lnTo>
                      <a:pt x="429" y="298"/>
                    </a:lnTo>
                    <a:lnTo>
                      <a:pt x="425" y="300"/>
                    </a:lnTo>
                    <a:lnTo>
                      <a:pt x="425" y="302"/>
                    </a:lnTo>
                    <a:lnTo>
                      <a:pt x="429" y="304"/>
                    </a:lnTo>
                    <a:lnTo>
                      <a:pt x="431" y="306"/>
                    </a:lnTo>
                    <a:lnTo>
                      <a:pt x="432" y="304"/>
                    </a:lnTo>
                    <a:lnTo>
                      <a:pt x="433" y="304"/>
                    </a:lnTo>
                    <a:lnTo>
                      <a:pt x="437" y="300"/>
                    </a:lnTo>
                    <a:lnTo>
                      <a:pt x="437" y="296"/>
                    </a:lnTo>
                    <a:lnTo>
                      <a:pt x="438" y="292"/>
                    </a:lnTo>
                    <a:lnTo>
                      <a:pt x="434" y="295"/>
                    </a:lnTo>
                    <a:lnTo>
                      <a:pt x="434" y="294"/>
                    </a:lnTo>
                    <a:lnTo>
                      <a:pt x="442" y="290"/>
                    </a:lnTo>
                    <a:lnTo>
                      <a:pt x="445" y="289"/>
                    </a:lnTo>
                    <a:lnTo>
                      <a:pt x="449" y="285"/>
                    </a:lnTo>
                    <a:lnTo>
                      <a:pt x="449" y="278"/>
                    </a:lnTo>
                    <a:lnTo>
                      <a:pt x="455" y="272"/>
                    </a:lnTo>
                    <a:lnTo>
                      <a:pt x="454" y="271"/>
                    </a:lnTo>
                    <a:lnTo>
                      <a:pt x="455" y="259"/>
                    </a:lnTo>
                    <a:lnTo>
                      <a:pt x="462" y="252"/>
                    </a:lnTo>
                    <a:lnTo>
                      <a:pt x="459" y="252"/>
                    </a:lnTo>
                    <a:lnTo>
                      <a:pt x="459" y="250"/>
                    </a:lnTo>
                    <a:lnTo>
                      <a:pt x="471" y="247"/>
                    </a:lnTo>
                    <a:lnTo>
                      <a:pt x="487" y="247"/>
                    </a:lnTo>
                    <a:lnTo>
                      <a:pt x="490" y="243"/>
                    </a:lnTo>
                    <a:lnTo>
                      <a:pt x="494" y="243"/>
                    </a:lnTo>
                    <a:lnTo>
                      <a:pt x="496" y="244"/>
                    </a:lnTo>
                    <a:lnTo>
                      <a:pt x="500" y="242"/>
                    </a:lnTo>
                    <a:lnTo>
                      <a:pt x="499" y="240"/>
                    </a:lnTo>
                    <a:lnTo>
                      <a:pt x="507" y="240"/>
                    </a:lnTo>
                    <a:lnTo>
                      <a:pt x="516" y="242"/>
                    </a:lnTo>
                    <a:lnTo>
                      <a:pt x="518" y="241"/>
                    </a:lnTo>
                    <a:lnTo>
                      <a:pt x="517" y="239"/>
                    </a:lnTo>
                    <a:lnTo>
                      <a:pt x="520" y="239"/>
                    </a:lnTo>
                    <a:lnTo>
                      <a:pt x="525" y="246"/>
                    </a:lnTo>
                    <a:lnTo>
                      <a:pt x="526" y="250"/>
                    </a:lnTo>
                    <a:lnTo>
                      <a:pt x="523" y="254"/>
                    </a:lnTo>
                    <a:lnTo>
                      <a:pt x="518" y="260"/>
                    </a:lnTo>
                    <a:lnTo>
                      <a:pt x="511" y="268"/>
                    </a:lnTo>
                    <a:lnTo>
                      <a:pt x="509" y="270"/>
                    </a:lnTo>
                    <a:lnTo>
                      <a:pt x="509" y="275"/>
                    </a:lnTo>
                    <a:lnTo>
                      <a:pt x="505" y="277"/>
                    </a:lnTo>
                    <a:lnTo>
                      <a:pt x="504" y="278"/>
                    </a:lnTo>
                    <a:lnTo>
                      <a:pt x="506" y="280"/>
                    </a:lnTo>
                    <a:lnTo>
                      <a:pt x="509" y="280"/>
                    </a:lnTo>
                    <a:lnTo>
                      <a:pt x="509" y="283"/>
                    </a:lnTo>
                    <a:lnTo>
                      <a:pt x="504" y="287"/>
                    </a:lnTo>
                    <a:lnTo>
                      <a:pt x="504" y="288"/>
                    </a:lnTo>
                    <a:lnTo>
                      <a:pt x="506" y="289"/>
                    </a:lnTo>
                    <a:lnTo>
                      <a:pt x="508" y="287"/>
                    </a:lnTo>
                    <a:lnTo>
                      <a:pt x="510" y="287"/>
                    </a:lnTo>
                    <a:lnTo>
                      <a:pt x="508" y="290"/>
                    </a:lnTo>
                    <a:lnTo>
                      <a:pt x="505" y="301"/>
                    </a:lnTo>
                    <a:lnTo>
                      <a:pt x="501" y="307"/>
                    </a:lnTo>
                    <a:lnTo>
                      <a:pt x="500" y="308"/>
                    </a:lnTo>
                    <a:lnTo>
                      <a:pt x="499" y="304"/>
                    </a:lnTo>
                    <a:lnTo>
                      <a:pt x="496" y="302"/>
                    </a:lnTo>
                    <a:lnTo>
                      <a:pt x="495" y="301"/>
                    </a:lnTo>
                    <a:lnTo>
                      <a:pt x="497" y="299"/>
                    </a:lnTo>
                    <a:lnTo>
                      <a:pt x="497" y="296"/>
                    </a:lnTo>
                    <a:lnTo>
                      <a:pt x="495" y="297"/>
                    </a:lnTo>
                    <a:lnTo>
                      <a:pt x="491" y="300"/>
                    </a:lnTo>
                    <a:lnTo>
                      <a:pt x="488" y="303"/>
                    </a:lnTo>
                    <a:lnTo>
                      <a:pt x="488" y="303"/>
                    </a:lnTo>
                    <a:lnTo>
                      <a:pt x="487" y="303"/>
                    </a:lnTo>
                    <a:lnTo>
                      <a:pt x="484" y="304"/>
                    </a:lnTo>
                    <a:lnTo>
                      <a:pt x="484" y="305"/>
                    </a:lnTo>
                    <a:lnTo>
                      <a:pt x="483" y="308"/>
                    </a:lnTo>
                    <a:lnTo>
                      <a:pt x="480" y="311"/>
                    </a:lnTo>
                    <a:lnTo>
                      <a:pt x="480" y="312"/>
                    </a:lnTo>
                    <a:lnTo>
                      <a:pt x="479" y="313"/>
                    </a:lnTo>
                    <a:lnTo>
                      <a:pt x="478" y="314"/>
                    </a:lnTo>
                    <a:lnTo>
                      <a:pt x="477" y="313"/>
                    </a:lnTo>
                    <a:lnTo>
                      <a:pt x="477" y="312"/>
                    </a:lnTo>
                    <a:lnTo>
                      <a:pt x="475" y="311"/>
                    </a:lnTo>
                    <a:lnTo>
                      <a:pt x="473" y="313"/>
                    </a:lnTo>
                    <a:lnTo>
                      <a:pt x="473" y="315"/>
                    </a:lnTo>
                    <a:lnTo>
                      <a:pt x="440" y="315"/>
                    </a:lnTo>
                    <a:lnTo>
                      <a:pt x="440" y="324"/>
                    </a:lnTo>
                    <a:lnTo>
                      <a:pt x="432" y="324"/>
                    </a:lnTo>
                    <a:lnTo>
                      <a:pt x="434" y="327"/>
                    </a:lnTo>
                    <a:lnTo>
                      <a:pt x="435" y="329"/>
                    </a:lnTo>
                    <a:lnTo>
                      <a:pt x="439" y="332"/>
                    </a:lnTo>
                    <a:lnTo>
                      <a:pt x="442" y="334"/>
                    </a:lnTo>
                    <a:lnTo>
                      <a:pt x="444" y="334"/>
                    </a:lnTo>
                    <a:lnTo>
                      <a:pt x="445" y="337"/>
                    </a:lnTo>
                    <a:lnTo>
                      <a:pt x="446" y="339"/>
                    </a:lnTo>
                    <a:lnTo>
                      <a:pt x="447" y="341"/>
                    </a:lnTo>
                    <a:lnTo>
                      <a:pt x="450" y="341"/>
                    </a:lnTo>
                    <a:lnTo>
                      <a:pt x="452" y="341"/>
                    </a:lnTo>
                    <a:lnTo>
                      <a:pt x="452" y="343"/>
                    </a:lnTo>
                    <a:lnTo>
                      <a:pt x="450" y="346"/>
                    </a:lnTo>
                    <a:lnTo>
                      <a:pt x="427" y="346"/>
                    </a:lnTo>
                    <a:lnTo>
                      <a:pt x="415" y="363"/>
                    </a:lnTo>
                    <a:lnTo>
                      <a:pt x="416" y="365"/>
                    </a:lnTo>
                    <a:lnTo>
                      <a:pt x="416" y="366"/>
                    </a:lnTo>
                    <a:lnTo>
                      <a:pt x="416" y="368"/>
                    </a:lnTo>
                    <a:lnTo>
                      <a:pt x="416" y="370"/>
                    </a:lnTo>
                    <a:lnTo>
                      <a:pt x="417" y="370"/>
                    </a:lnTo>
                    <a:lnTo>
                      <a:pt x="417" y="372"/>
                    </a:lnTo>
                    <a:lnTo>
                      <a:pt x="415" y="373"/>
                    </a:lnTo>
                    <a:lnTo>
                      <a:pt x="414" y="375"/>
                    </a:lnTo>
                    <a:lnTo>
                      <a:pt x="414" y="375"/>
                    </a:lnTo>
                    <a:lnTo>
                      <a:pt x="411" y="372"/>
                    </a:lnTo>
                    <a:lnTo>
                      <a:pt x="406" y="368"/>
                    </a:lnTo>
                    <a:lnTo>
                      <a:pt x="406" y="366"/>
                    </a:lnTo>
                    <a:lnTo>
                      <a:pt x="402" y="365"/>
                    </a:lnTo>
                    <a:lnTo>
                      <a:pt x="389" y="355"/>
                    </a:lnTo>
                    <a:lnTo>
                      <a:pt x="388" y="353"/>
                    </a:lnTo>
                    <a:lnTo>
                      <a:pt x="388" y="351"/>
                    </a:lnTo>
                    <a:lnTo>
                      <a:pt x="384" y="347"/>
                    </a:lnTo>
                    <a:lnTo>
                      <a:pt x="381" y="344"/>
                    </a:lnTo>
                    <a:lnTo>
                      <a:pt x="377" y="344"/>
                    </a:lnTo>
                    <a:lnTo>
                      <a:pt x="377" y="343"/>
                    </a:lnTo>
                    <a:lnTo>
                      <a:pt x="375" y="343"/>
                    </a:lnTo>
                    <a:lnTo>
                      <a:pt x="375" y="344"/>
                    </a:lnTo>
                    <a:lnTo>
                      <a:pt x="382" y="347"/>
                    </a:lnTo>
                    <a:lnTo>
                      <a:pt x="386" y="351"/>
                    </a:lnTo>
                    <a:lnTo>
                      <a:pt x="386" y="352"/>
                    </a:lnTo>
                    <a:lnTo>
                      <a:pt x="383" y="350"/>
                    </a:lnTo>
                    <a:lnTo>
                      <a:pt x="378" y="346"/>
                    </a:lnTo>
                    <a:lnTo>
                      <a:pt x="374" y="345"/>
                    </a:lnTo>
                    <a:lnTo>
                      <a:pt x="371" y="345"/>
                    </a:lnTo>
                    <a:lnTo>
                      <a:pt x="370" y="345"/>
                    </a:lnTo>
                    <a:lnTo>
                      <a:pt x="371" y="344"/>
                    </a:lnTo>
                    <a:lnTo>
                      <a:pt x="373" y="344"/>
                    </a:lnTo>
                    <a:lnTo>
                      <a:pt x="373" y="342"/>
                    </a:lnTo>
                    <a:lnTo>
                      <a:pt x="370" y="342"/>
                    </a:lnTo>
                    <a:lnTo>
                      <a:pt x="368" y="343"/>
                    </a:lnTo>
                    <a:lnTo>
                      <a:pt x="368" y="341"/>
                    </a:lnTo>
                    <a:lnTo>
                      <a:pt x="367" y="341"/>
                    </a:lnTo>
                    <a:lnTo>
                      <a:pt x="363" y="343"/>
                    </a:lnTo>
                    <a:lnTo>
                      <a:pt x="363" y="345"/>
                    </a:lnTo>
                    <a:lnTo>
                      <a:pt x="366" y="345"/>
                    </a:lnTo>
                    <a:lnTo>
                      <a:pt x="369" y="345"/>
                    </a:lnTo>
                    <a:lnTo>
                      <a:pt x="369" y="346"/>
                    </a:lnTo>
                    <a:lnTo>
                      <a:pt x="367" y="346"/>
                    </a:lnTo>
                    <a:lnTo>
                      <a:pt x="363" y="347"/>
                    </a:lnTo>
                    <a:lnTo>
                      <a:pt x="359" y="347"/>
                    </a:lnTo>
                    <a:lnTo>
                      <a:pt x="354" y="351"/>
                    </a:lnTo>
                    <a:lnTo>
                      <a:pt x="350" y="351"/>
                    </a:lnTo>
                    <a:lnTo>
                      <a:pt x="341" y="355"/>
                    </a:lnTo>
                    <a:lnTo>
                      <a:pt x="337" y="355"/>
                    </a:lnTo>
                    <a:lnTo>
                      <a:pt x="328" y="352"/>
                    </a:lnTo>
                    <a:lnTo>
                      <a:pt x="324" y="349"/>
                    </a:lnTo>
                    <a:lnTo>
                      <a:pt x="317" y="349"/>
                    </a:lnTo>
                    <a:lnTo>
                      <a:pt x="310" y="346"/>
                    </a:lnTo>
                    <a:lnTo>
                      <a:pt x="306" y="344"/>
                    </a:lnTo>
                    <a:lnTo>
                      <a:pt x="305" y="345"/>
                    </a:lnTo>
                    <a:lnTo>
                      <a:pt x="303" y="344"/>
                    </a:lnTo>
                    <a:lnTo>
                      <a:pt x="298" y="342"/>
                    </a:lnTo>
                    <a:lnTo>
                      <a:pt x="295" y="339"/>
                    </a:lnTo>
                    <a:lnTo>
                      <a:pt x="294" y="338"/>
                    </a:lnTo>
                    <a:lnTo>
                      <a:pt x="291" y="339"/>
                    </a:lnTo>
                    <a:lnTo>
                      <a:pt x="286" y="337"/>
                    </a:lnTo>
                    <a:lnTo>
                      <a:pt x="281" y="337"/>
                    </a:lnTo>
                    <a:lnTo>
                      <a:pt x="279" y="333"/>
                    </a:lnTo>
                    <a:lnTo>
                      <a:pt x="275" y="331"/>
                    </a:lnTo>
                    <a:lnTo>
                      <a:pt x="265" y="329"/>
                    </a:lnTo>
                    <a:lnTo>
                      <a:pt x="258" y="326"/>
                    </a:lnTo>
                    <a:lnTo>
                      <a:pt x="252" y="321"/>
                    </a:lnTo>
                    <a:lnTo>
                      <a:pt x="250" y="320"/>
                    </a:lnTo>
                    <a:lnTo>
                      <a:pt x="241" y="312"/>
                    </a:lnTo>
                    <a:lnTo>
                      <a:pt x="239" y="310"/>
                    </a:lnTo>
                    <a:lnTo>
                      <a:pt x="238" y="310"/>
                    </a:lnTo>
                    <a:lnTo>
                      <a:pt x="237" y="312"/>
                    </a:lnTo>
                    <a:lnTo>
                      <a:pt x="234" y="312"/>
                    </a:lnTo>
                    <a:lnTo>
                      <a:pt x="226" y="309"/>
                    </a:lnTo>
                    <a:lnTo>
                      <a:pt x="224" y="309"/>
                    </a:lnTo>
                    <a:lnTo>
                      <a:pt x="220" y="307"/>
                    </a:lnTo>
                    <a:lnTo>
                      <a:pt x="218" y="308"/>
                    </a:lnTo>
                    <a:lnTo>
                      <a:pt x="216" y="306"/>
                    </a:lnTo>
                    <a:lnTo>
                      <a:pt x="213" y="302"/>
                    </a:lnTo>
                    <a:lnTo>
                      <a:pt x="210" y="298"/>
                    </a:lnTo>
                    <a:lnTo>
                      <a:pt x="205" y="294"/>
                    </a:lnTo>
                    <a:lnTo>
                      <a:pt x="200" y="292"/>
                    </a:lnTo>
                    <a:lnTo>
                      <a:pt x="200" y="290"/>
                    </a:lnTo>
                    <a:lnTo>
                      <a:pt x="202" y="288"/>
                    </a:lnTo>
                    <a:lnTo>
                      <a:pt x="199" y="288"/>
                    </a:lnTo>
                    <a:lnTo>
                      <a:pt x="195" y="289"/>
                    </a:lnTo>
                    <a:lnTo>
                      <a:pt x="190" y="287"/>
                    </a:lnTo>
                    <a:lnTo>
                      <a:pt x="189" y="285"/>
                    </a:lnTo>
                    <a:lnTo>
                      <a:pt x="186" y="285"/>
                    </a:lnTo>
                    <a:lnTo>
                      <a:pt x="184" y="284"/>
                    </a:lnTo>
                    <a:lnTo>
                      <a:pt x="183" y="279"/>
                    </a:lnTo>
                    <a:lnTo>
                      <a:pt x="179" y="275"/>
                    </a:lnTo>
                    <a:lnTo>
                      <a:pt x="179" y="273"/>
                    </a:lnTo>
                    <a:lnTo>
                      <a:pt x="177" y="270"/>
                    </a:lnTo>
                    <a:lnTo>
                      <a:pt x="174" y="264"/>
                    </a:lnTo>
                    <a:lnTo>
                      <a:pt x="174" y="262"/>
                    </a:lnTo>
                    <a:lnTo>
                      <a:pt x="177" y="261"/>
                    </a:lnTo>
                    <a:lnTo>
                      <a:pt x="181" y="261"/>
                    </a:lnTo>
                    <a:lnTo>
                      <a:pt x="183" y="259"/>
                    </a:lnTo>
                    <a:lnTo>
                      <a:pt x="180" y="257"/>
                    </a:lnTo>
                    <a:lnTo>
                      <a:pt x="179" y="257"/>
                    </a:lnTo>
                    <a:lnTo>
                      <a:pt x="179" y="255"/>
                    </a:lnTo>
                    <a:lnTo>
                      <a:pt x="184" y="252"/>
                    </a:lnTo>
                    <a:lnTo>
                      <a:pt x="186" y="249"/>
                    </a:lnTo>
                    <a:lnTo>
                      <a:pt x="185" y="244"/>
                    </a:lnTo>
                    <a:lnTo>
                      <a:pt x="181" y="234"/>
                    </a:lnTo>
                    <a:lnTo>
                      <a:pt x="179" y="230"/>
                    </a:lnTo>
                    <a:lnTo>
                      <a:pt x="178" y="227"/>
                    </a:lnTo>
                    <a:lnTo>
                      <a:pt x="179" y="224"/>
                    </a:lnTo>
                    <a:lnTo>
                      <a:pt x="178" y="220"/>
                    </a:lnTo>
                    <a:lnTo>
                      <a:pt x="172" y="212"/>
                    </a:lnTo>
                    <a:lnTo>
                      <a:pt x="172" y="209"/>
                    </a:lnTo>
                    <a:lnTo>
                      <a:pt x="166" y="203"/>
                    </a:lnTo>
                    <a:lnTo>
                      <a:pt x="162" y="195"/>
                    </a:lnTo>
                    <a:lnTo>
                      <a:pt x="156" y="189"/>
                    </a:lnTo>
                    <a:lnTo>
                      <a:pt x="152" y="185"/>
                    </a:lnTo>
                    <a:lnTo>
                      <a:pt x="150" y="183"/>
                    </a:lnTo>
                    <a:lnTo>
                      <a:pt x="150" y="181"/>
                    </a:lnTo>
                    <a:lnTo>
                      <a:pt x="144" y="179"/>
                    </a:lnTo>
                    <a:lnTo>
                      <a:pt x="141" y="177"/>
                    </a:lnTo>
                    <a:lnTo>
                      <a:pt x="141" y="176"/>
                    </a:lnTo>
                    <a:lnTo>
                      <a:pt x="143" y="175"/>
                    </a:lnTo>
                    <a:lnTo>
                      <a:pt x="144" y="172"/>
                    </a:lnTo>
                    <a:lnTo>
                      <a:pt x="143" y="169"/>
                    </a:lnTo>
                    <a:lnTo>
                      <a:pt x="141" y="167"/>
                    </a:lnTo>
                    <a:lnTo>
                      <a:pt x="141" y="165"/>
                    </a:lnTo>
                    <a:lnTo>
                      <a:pt x="138" y="165"/>
                    </a:lnTo>
                    <a:lnTo>
                      <a:pt x="134" y="164"/>
                    </a:lnTo>
                    <a:lnTo>
                      <a:pt x="127" y="158"/>
                    </a:lnTo>
                    <a:lnTo>
                      <a:pt x="125" y="156"/>
                    </a:lnTo>
                    <a:lnTo>
                      <a:pt x="121" y="156"/>
                    </a:lnTo>
                    <a:lnTo>
                      <a:pt x="118" y="154"/>
                    </a:lnTo>
                    <a:lnTo>
                      <a:pt x="118" y="150"/>
                    </a:lnTo>
                    <a:lnTo>
                      <a:pt x="120" y="146"/>
                    </a:lnTo>
                    <a:lnTo>
                      <a:pt x="123" y="142"/>
                    </a:lnTo>
                    <a:lnTo>
                      <a:pt x="125" y="141"/>
                    </a:lnTo>
                    <a:lnTo>
                      <a:pt x="127" y="143"/>
                    </a:lnTo>
                    <a:lnTo>
                      <a:pt x="129" y="142"/>
                    </a:lnTo>
                    <a:lnTo>
                      <a:pt x="128" y="139"/>
                    </a:lnTo>
                    <a:lnTo>
                      <a:pt x="127" y="138"/>
                    </a:lnTo>
                    <a:lnTo>
                      <a:pt x="126" y="139"/>
                    </a:lnTo>
                    <a:lnTo>
                      <a:pt x="123" y="138"/>
                    </a:lnTo>
                    <a:lnTo>
                      <a:pt x="123" y="135"/>
                    </a:lnTo>
                    <a:lnTo>
                      <a:pt x="120" y="131"/>
                    </a:lnTo>
                    <a:lnTo>
                      <a:pt x="117" y="132"/>
                    </a:lnTo>
                    <a:lnTo>
                      <a:pt x="113" y="131"/>
                    </a:lnTo>
                    <a:lnTo>
                      <a:pt x="112" y="128"/>
                    </a:lnTo>
                    <a:lnTo>
                      <a:pt x="112" y="125"/>
                    </a:lnTo>
                    <a:lnTo>
                      <a:pt x="110" y="125"/>
                    </a:lnTo>
                    <a:lnTo>
                      <a:pt x="109" y="125"/>
                    </a:lnTo>
                    <a:lnTo>
                      <a:pt x="102" y="119"/>
                    </a:lnTo>
                    <a:lnTo>
                      <a:pt x="101" y="114"/>
                    </a:lnTo>
                    <a:lnTo>
                      <a:pt x="103" y="112"/>
                    </a:lnTo>
                    <a:lnTo>
                      <a:pt x="103" y="107"/>
                    </a:lnTo>
                    <a:lnTo>
                      <a:pt x="101" y="106"/>
                    </a:lnTo>
                    <a:lnTo>
                      <a:pt x="98" y="107"/>
                    </a:lnTo>
                    <a:lnTo>
                      <a:pt x="97" y="106"/>
                    </a:lnTo>
                    <a:lnTo>
                      <a:pt x="94" y="106"/>
                    </a:lnTo>
                    <a:lnTo>
                      <a:pt x="94" y="104"/>
                    </a:lnTo>
                    <a:lnTo>
                      <a:pt x="91" y="103"/>
                    </a:lnTo>
                    <a:lnTo>
                      <a:pt x="90" y="100"/>
                    </a:lnTo>
                    <a:lnTo>
                      <a:pt x="88" y="95"/>
                    </a:lnTo>
                    <a:lnTo>
                      <a:pt x="86" y="95"/>
                    </a:lnTo>
                    <a:lnTo>
                      <a:pt x="85" y="93"/>
                    </a:lnTo>
                    <a:lnTo>
                      <a:pt x="84" y="89"/>
                    </a:lnTo>
                    <a:lnTo>
                      <a:pt x="83" y="86"/>
                    </a:lnTo>
                    <a:lnTo>
                      <a:pt x="81" y="85"/>
                    </a:lnTo>
                    <a:lnTo>
                      <a:pt x="79" y="80"/>
                    </a:lnTo>
                    <a:lnTo>
                      <a:pt x="77" y="78"/>
                    </a:lnTo>
                    <a:lnTo>
                      <a:pt x="76" y="78"/>
                    </a:lnTo>
                    <a:lnTo>
                      <a:pt x="75" y="75"/>
                    </a:lnTo>
                    <a:lnTo>
                      <a:pt x="76" y="74"/>
                    </a:lnTo>
                    <a:lnTo>
                      <a:pt x="76" y="72"/>
                    </a:lnTo>
                    <a:lnTo>
                      <a:pt x="71" y="65"/>
                    </a:lnTo>
                    <a:lnTo>
                      <a:pt x="70" y="62"/>
                    </a:lnTo>
                    <a:lnTo>
                      <a:pt x="71" y="60"/>
                    </a:lnTo>
                    <a:lnTo>
                      <a:pt x="70" y="56"/>
                    </a:lnTo>
                    <a:lnTo>
                      <a:pt x="68" y="53"/>
                    </a:lnTo>
                    <a:lnTo>
                      <a:pt x="67" y="47"/>
                    </a:lnTo>
                    <a:lnTo>
                      <a:pt x="66" y="42"/>
                    </a:lnTo>
                    <a:lnTo>
                      <a:pt x="66" y="39"/>
                    </a:lnTo>
                    <a:lnTo>
                      <a:pt x="68" y="37"/>
                    </a:lnTo>
                    <a:lnTo>
                      <a:pt x="68" y="35"/>
                    </a:lnTo>
                    <a:lnTo>
                      <a:pt x="65" y="33"/>
                    </a:lnTo>
                    <a:lnTo>
                      <a:pt x="61" y="33"/>
                    </a:lnTo>
                    <a:lnTo>
                      <a:pt x="60" y="31"/>
                    </a:lnTo>
                    <a:lnTo>
                      <a:pt x="57" y="28"/>
                    </a:lnTo>
                    <a:lnTo>
                      <a:pt x="55" y="29"/>
                    </a:lnTo>
                    <a:lnTo>
                      <a:pt x="52" y="30"/>
                    </a:lnTo>
                    <a:lnTo>
                      <a:pt x="50" y="28"/>
                    </a:lnTo>
                    <a:lnTo>
                      <a:pt x="46" y="23"/>
                    </a:lnTo>
                    <a:lnTo>
                      <a:pt x="42" y="21"/>
                    </a:lnTo>
                    <a:lnTo>
                      <a:pt x="40" y="16"/>
                    </a:lnTo>
                    <a:lnTo>
                      <a:pt x="41" y="21"/>
                    </a:lnTo>
                    <a:lnTo>
                      <a:pt x="42" y="24"/>
                    </a:lnTo>
                    <a:lnTo>
                      <a:pt x="40" y="30"/>
                    </a:lnTo>
                    <a:lnTo>
                      <a:pt x="38" y="35"/>
                    </a:lnTo>
                    <a:lnTo>
                      <a:pt x="39" y="42"/>
                    </a:lnTo>
                    <a:lnTo>
                      <a:pt x="40" y="54"/>
                    </a:lnTo>
                    <a:lnTo>
                      <a:pt x="38" y="58"/>
                    </a:lnTo>
                    <a:lnTo>
                      <a:pt x="40" y="60"/>
                    </a:lnTo>
                    <a:lnTo>
                      <a:pt x="43" y="64"/>
                    </a:lnTo>
                    <a:lnTo>
                      <a:pt x="43" y="68"/>
                    </a:lnTo>
                    <a:lnTo>
                      <a:pt x="44" y="68"/>
                    </a:lnTo>
                    <a:lnTo>
                      <a:pt x="45" y="70"/>
                    </a:lnTo>
                    <a:lnTo>
                      <a:pt x="51" y="74"/>
                    </a:lnTo>
                    <a:lnTo>
                      <a:pt x="52" y="79"/>
                    </a:lnTo>
                    <a:lnTo>
                      <a:pt x="51" y="81"/>
                    </a:lnTo>
                    <a:lnTo>
                      <a:pt x="52" y="84"/>
                    </a:lnTo>
                    <a:lnTo>
                      <a:pt x="55" y="85"/>
                    </a:lnTo>
                    <a:lnTo>
                      <a:pt x="58" y="88"/>
                    </a:lnTo>
                    <a:lnTo>
                      <a:pt x="58" y="92"/>
                    </a:lnTo>
                    <a:lnTo>
                      <a:pt x="60" y="93"/>
                    </a:lnTo>
                    <a:lnTo>
                      <a:pt x="62" y="94"/>
                    </a:lnTo>
                    <a:lnTo>
                      <a:pt x="65" y="99"/>
                    </a:lnTo>
                    <a:lnTo>
                      <a:pt x="65" y="102"/>
                    </a:lnTo>
                    <a:lnTo>
                      <a:pt x="65" y="106"/>
                    </a:lnTo>
                    <a:lnTo>
                      <a:pt x="68" y="109"/>
                    </a:lnTo>
                    <a:lnTo>
                      <a:pt x="69" y="110"/>
                    </a:lnTo>
                    <a:lnTo>
                      <a:pt x="72" y="115"/>
                    </a:lnTo>
                    <a:lnTo>
                      <a:pt x="74" y="122"/>
                    </a:lnTo>
                    <a:lnTo>
                      <a:pt x="75" y="122"/>
                    </a:lnTo>
                    <a:lnTo>
                      <a:pt x="76" y="124"/>
                    </a:lnTo>
                    <a:lnTo>
                      <a:pt x="75" y="126"/>
                    </a:lnTo>
                    <a:lnTo>
                      <a:pt x="75" y="128"/>
                    </a:lnTo>
                    <a:lnTo>
                      <a:pt x="79" y="133"/>
                    </a:lnTo>
                    <a:lnTo>
                      <a:pt x="80" y="132"/>
                    </a:lnTo>
                    <a:lnTo>
                      <a:pt x="80" y="130"/>
                    </a:lnTo>
                    <a:lnTo>
                      <a:pt x="80" y="128"/>
                    </a:lnTo>
                    <a:lnTo>
                      <a:pt x="82" y="129"/>
                    </a:lnTo>
                    <a:lnTo>
                      <a:pt x="83" y="131"/>
                    </a:lnTo>
                    <a:lnTo>
                      <a:pt x="85" y="135"/>
                    </a:lnTo>
                    <a:lnTo>
                      <a:pt x="86" y="142"/>
                    </a:lnTo>
                    <a:lnTo>
                      <a:pt x="85" y="145"/>
                    </a:lnTo>
                    <a:lnTo>
                      <a:pt x="86" y="148"/>
                    </a:lnTo>
                    <a:lnTo>
                      <a:pt x="87" y="150"/>
                    </a:lnTo>
                    <a:lnTo>
                      <a:pt x="87" y="154"/>
                    </a:lnTo>
                    <a:lnTo>
                      <a:pt x="88" y="156"/>
                    </a:lnTo>
                    <a:lnTo>
                      <a:pt x="88" y="159"/>
                    </a:lnTo>
                    <a:lnTo>
                      <a:pt x="90" y="161"/>
                    </a:lnTo>
                    <a:lnTo>
                      <a:pt x="90" y="163"/>
                    </a:lnTo>
                    <a:lnTo>
                      <a:pt x="89" y="165"/>
                    </a:lnTo>
                    <a:lnTo>
                      <a:pt x="92" y="168"/>
                    </a:lnTo>
                    <a:lnTo>
                      <a:pt x="92" y="172"/>
                    </a:lnTo>
                    <a:lnTo>
                      <a:pt x="90" y="176"/>
                    </a:lnTo>
                    <a:lnTo>
                      <a:pt x="91" y="178"/>
                    </a:lnTo>
                    <a:lnTo>
                      <a:pt x="94" y="182"/>
                    </a:lnTo>
                    <a:lnTo>
                      <a:pt x="97" y="184"/>
                    </a:lnTo>
                    <a:lnTo>
                      <a:pt x="97" y="187"/>
                    </a:lnTo>
                    <a:lnTo>
                      <a:pt x="99" y="186"/>
                    </a:lnTo>
                    <a:lnTo>
                      <a:pt x="99" y="183"/>
                    </a:lnTo>
                    <a:lnTo>
                      <a:pt x="100" y="183"/>
                    </a:lnTo>
                    <a:lnTo>
                      <a:pt x="102" y="184"/>
                    </a:lnTo>
                    <a:lnTo>
                      <a:pt x="104" y="186"/>
                    </a:lnTo>
                    <a:lnTo>
                      <a:pt x="105" y="188"/>
                    </a:lnTo>
                    <a:lnTo>
                      <a:pt x="108" y="190"/>
                    </a:lnTo>
                    <a:lnTo>
                      <a:pt x="109" y="192"/>
                    </a:lnTo>
                    <a:lnTo>
                      <a:pt x="110" y="194"/>
                    </a:lnTo>
                    <a:lnTo>
                      <a:pt x="111" y="197"/>
                    </a:lnTo>
                    <a:lnTo>
                      <a:pt x="113" y="199"/>
                    </a:lnTo>
                    <a:lnTo>
                      <a:pt x="113" y="204"/>
                    </a:lnTo>
                    <a:lnTo>
                      <a:pt x="110" y="209"/>
                    </a:lnTo>
                    <a:lnTo>
                      <a:pt x="105" y="211"/>
                    </a:lnTo>
                    <a:lnTo>
                      <a:pt x="102" y="211"/>
                    </a:lnTo>
                    <a:lnTo>
                      <a:pt x="101" y="207"/>
                    </a:lnTo>
                    <a:lnTo>
                      <a:pt x="100" y="204"/>
                    </a:lnTo>
                    <a:lnTo>
                      <a:pt x="98" y="202"/>
                    </a:lnTo>
                    <a:lnTo>
                      <a:pt x="98" y="197"/>
                    </a:lnTo>
                    <a:lnTo>
                      <a:pt x="96" y="195"/>
                    </a:lnTo>
                    <a:lnTo>
                      <a:pt x="92" y="194"/>
                    </a:lnTo>
                    <a:lnTo>
                      <a:pt x="89" y="191"/>
                    </a:lnTo>
                    <a:lnTo>
                      <a:pt x="88" y="190"/>
                    </a:lnTo>
                    <a:lnTo>
                      <a:pt x="86" y="188"/>
                    </a:lnTo>
                    <a:lnTo>
                      <a:pt x="78" y="180"/>
                    </a:lnTo>
                    <a:lnTo>
                      <a:pt x="76" y="176"/>
                    </a:lnTo>
                    <a:lnTo>
                      <a:pt x="72" y="175"/>
                    </a:lnTo>
                    <a:lnTo>
                      <a:pt x="71" y="173"/>
                    </a:lnTo>
                    <a:lnTo>
                      <a:pt x="69" y="173"/>
                    </a:lnTo>
                    <a:lnTo>
                      <a:pt x="66" y="170"/>
                    </a:lnTo>
                    <a:lnTo>
                      <a:pt x="66" y="168"/>
                    </a:lnTo>
                    <a:lnTo>
                      <a:pt x="68" y="163"/>
                    </a:lnTo>
                    <a:lnTo>
                      <a:pt x="70" y="157"/>
                    </a:lnTo>
                    <a:lnTo>
                      <a:pt x="69" y="150"/>
                    </a:lnTo>
                    <a:lnTo>
                      <a:pt x="67" y="143"/>
                    </a:lnTo>
                    <a:lnTo>
                      <a:pt x="66" y="141"/>
                    </a:lnTo>
                    <a:lnTo>
                      <a:pt x="64" y="141"/>
                    </a:lnTo>
                    <a:lnTo>
                      <a:pt x="61" y="140"/>
                    </a:lnTo>
                    <a:lnTo>
                      <a:pt x="54" y="134"/>
                    </a:lnTo>
                    <a:lnTo>
                      <a:pt x="53" y="128"/>
                    </a:lnTo>
                    <a:lnTo>
                      <a:pt x="55" y="125"/>
                    </a:lnTo>
                    <a:lnTo>
                      <a:pt x="53" y="125"/>
                    </a:lnTo>
                    <a:lnTo>
                      <a:pt x="50" y="128"/>
                    </a:lnTo>
                    <a:lnTo>
                      <a:pt x="47" y="128"/>
                    </a:lnTo>
                    <a:lnTo>
                      <a:pt x="45" y="129"/>
                    </a:lnTo>
                    <a:lnTo>
                      <a:pt x="44" y="127"/>
                    </a:lnTo>
                    <a:lnTo>
                      <a:pt x="44" y="125"/>
                    </a:lnTo>
                    <a:lnTo>
                      <a:pt x="42" y="125"/>
                    </a:lnTo>
                    <a:lnTo>
                      <a:pt x="40" y="125"/>
                    </a:lnTo>
                    <a:lnTo>
                      <a:pt x="40" y="124"/>
                    </a:lnTo>
                    <a:lnTo>
                      <a:pt x="36" y="122"/>
                    </a:lnTo>
                    <a:lnTo>
                      <a:pt x="32" y="121"/>
                    </a:lnTo>
                    <a:lnTo>
                      <a:pt x="30" y="117"/>
                    </a:lnTo>
                    <a:lnTo>
                      <a:pt x="30" y="114"/>
                    </a:lnTo>
                    <a:lnTo>
                      <a:pt x="27" y="112"/>
                    </a:lnTo>
                    <a:lnTo>
                      <a:pt x="23" y="107"/>
                    </a:lnTo>
                    <a:lnTo>
                      <a:pt x="24" y="106"/>
                    </a:lnTo>
                    <a:lnTo>
                      <a:pt x="29" y="106"/>
                    </a:lnTo>
                    <a:lnTo>
                      <a:pt x="31" y="107"/>
                    </a:lnTo>
                    <a:lnTo>
                      <a:pt x="36" y="108"/>
                    </a:lnTo>
                    <a:lnTo>
                      <a:pt x="39" y="109"/>
                    </a:lnTo>
                    <a:lnTo>
                      <a:pt x="40" y="107"/>
                    </a:lnTo>
                    <a:lnTo>
                      <a:pt x="41" y="105"/>
                    </a:lnTo>
                    <a:lnTo>
                      <a:pt x="38" y="105"/>
                    </a:lnTo>
                    <a:lnTo>
                      <a:pt x="37" y="104"/>
                    </a:lnTo>
                    <a:lnTo>
                      <a:pt x="39" y="103"/>
                    </a:lnTo>
                    <a:lnTo>
                      <a:pt x="41" y="103"/>
                    </a:lnTo>
                    <a:lnTo>
                      <a:pt x="42" y="101"/>
                    </a:lnTo>
                    <a:lnTo>
                      <a:pt x="41" y="99"/>
                    </a:lnTo>
                    <a:lnTo>
                      <a:pt x="41" y="97"/>
                    </a:lnTo>
                    <a:lnTo>
                      <a:pt x="43" y="94"/>
                    </a:lnTo>
                    <a:lnTo>
                      <a:pt x="41" y="90"/>
                    </a:lnTo>
                    <a:lnTo>
                      <a:pt x="39" y="89"/>
                    </a:lnTo>
                    <a:lnTo>
                      <a:pt x="37" y="83"/>
                    </a:lnTo>
                    <a:lnTo>
                      <a:pt x="32" y="80"/>
                    </a:lnTo>
                    <a:lnTo>
                      <a:pt x="32" y="77"/>
                    </a:lnTo>
                    <a:lnTo>
                      <a:pt x="29" y="73"/>
                    </a:lnTo>
                    <a:lnTo>
                      <a:pt x="23" y="68"/>
                    </a:lnTo>
                    <a:lnTo>
                      <a:pt x="22" y="68"/>
                    </a:lnTo>
                    <a:lnTo>
                      <a:pt x="19" y="65"/>
                    </a:lnTo>
                    <a:lnTo>
                      <a:pt x="17" y="60"/>
                    </a:lnTo>
                    <a:lnTo>
                      <a:pt x="17" y="55"/>
                    </a:lnTo>
                    <a:lnTo>
                      <a:pt x="16" y="53"/>
                    </a:lnTo>
                    <a:lnTo>
                      <a:pt x="14" y="51"/>
                    </a:lnTo>
                    <a:lnTo>
                      <a:pt x="14" y="47"/>
                    </a:lnTo>
                    <a:lnTo>
                      <a:pt x="15" y="45"/>
                    </a:lnTo>
                    <a:lnTo>
                      <a:pt x="14" y="42"/>
                    </a:lnTo>
                    <a:lnTo>
                      <a:pt x="10" y="38"/>
                    </a:lnTo>
                    <a:lnTo>
                      <a:pt x="10" y="37"/>
                    </a:lnTo>
                    <a:lnTo>
                      <a:pt x="11" y="36"/>
                    </a:lnTo>
                    <a:lnTo>
                      <a:pt x="11" y="34"/>
                    </a:lnTo>
                    <a:lnTo>
                      <a:pt x="6" y="28"/>
                    </a:lnTo>
                    <a:lnTo>
                      <a:pt x="5" y="24"/>
                    </a:lnTo>
                    <a:lnTo>
                      <a:pt x="5" y="21"/>
                    </a:lnTo>
                    <a:lnTo>
                      <a:pt x="7" y="20"/>
                    </a:lnTo>
                    <a:lnTo>
                      <a:pt x="5" y="17"/>
                    </a:lnTo>
                    <a:lnTo>
                      <a:pt x="2" y="14"/>
                    </a:lnTo>
                    <a:lnTo>
                      <a:pt x="1" y="5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  <a:moveTo>
                      <a:pt x="95" y="170"/>
                    </a:moveTo>
                    <a:lnTo>
                      <a:pt x="97" y="169"/>
                    </a:lnTo>
                    <a:lnTo>
                      <a:pt x="96" y="167"/>
                    </a:lnTo>
                    <a:lnTo>
                      <a:pt x="94" y="164"/>
                    </a:lnTo>
                    <a:lnTo>
                      <a:pt x="93" y="166"/>
                    </a:lnTo>
                    <a:lnTo>
                      <a:pt x="94" y="168"/>
                    </a:lnTo>
                    <a:lnTo>
                      <a:pt x="95" y="170"/>
                    </a:lnTo>
                    <a:lnTo>
                      <a:pt x="95" y="170"/>
                    </a:lnTo>
                    <a:lnTo>
                      <a:pt x="95" y="170"/>
                    </a:lnTo>
                    <a:close/>
                    <a:moveTo>
                      <a:pt x="98" y="179"/>
                    </a:moveTo>
                    <a:lnTo>
                      <a:pt x="98" y="181"/>
                    </a:lnTo>
                    <a:lnTo>
                      <a:pt x="100" y="181"/>
                    </a:lnTo>
                    <a:lnTo>
                      <a:pt x="100" y="179"/>
                    </a:lnTo>
                    <a:lnTo>
                      <a:pt x="98" y="179"/>
                    </a:lnTo>
                    <a:lnTo>
                      <a:pt x="98" y="179"/>
                    </a:lnTo>
                    <a:lnTo>
                      <a:pt x="98" y="179"/>
                    </a:lnTo>
                    <a:close/>
                    <a:moveTo>
                      <a:pt x="333" y="173"/>
                    </a:moveTo>
                    <a:lnTo>
                      <a:pt x="334" y="173"/>
                    </a:lnTo>
                    <a:lnTo>
                      <a:pt x="335" y="171"/>
                    </a:lnTo>
                    <a:lnTo>
                      <a:pt x="334" y="171"/>
                    </a:lnTo>
                    <a:lnTo>
                      <a:pt x="333" y="173"/>
                    </a:lnTo>
                    <a:lnTo>
                      <a:pt x="333" y="173"/>
                    </a:lnTo>
                    <a:lnTo>
                      <a:pt x="333" y="173"/>
                    </a:lnTo>
                    <a:close/>
                    <a:moveTo>
                      <a:pt x="333" y="178"/>
                    </a:moveTo>
                    <a:lnTo>
                      <a:pt x="333" y="178"/>
                    </a:lnTo>
                    <a:lnTo>
                      <a:pt x="334" y="175"/>
                    </a:lnTo>
                    <a:lnTo>
                      <a:pt x="333" y="175"/>
                    </a:lnTo>
                    <a:lnTo>
                      <a:pt x="333" y="178"/>
                    </a:lnTo>
                    <a:lnTo>
                      <a:pt x="333" y="178"/>
                    </a:lnTo>
                    <a:lnTo>
                      <a:pt x="333" y="178"/>
                    </a:lnTo>
                    <a:close/>
                    <a:moveTo>
                      <a:pt x="330" y="186"/>
                    </a:moveTo>
                    <a:lnTo>
                      <a:pt x="332" y="183"/>
                    </a:lnTo>
                    <a:lnTo>
                      <a:pt x="332" y="180"/>
                    </a:lnTo>
                    <a:lnTo>
                      <a:pt x="330" y="186"/>
                    </a:lnTo>
                    <a:lnTo>
                      <a:pt x="330" y="186"/>
                    </a:lnTo>
                    <a:close/>
                  </a:path>
                </a:pathLst>
              </a:custGeom>
              <a:solidFill>
                <a:schemeClr val="accent4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646" name="Freeform 450"/>
              <p:cNvSpPr>
                <a:spLocks/>
              </p:cNvSpPr>
              <p:nvPr userDrawn="1"/>
            </p:nvSpPr>
            <p:spPr bwMode="auto">
              <a:xfrm>
                <a:off x="2353" y="2775"/>
                <a:ext cx="93" cy="135"/>
              </a:xfrm>
              <a:custGeom>
                <a:avLst/>
                <a:gdLst>
                  <a:gd name="T0" fmla="*/ 15 w 93"/>
                  <a:gd name="T1" fmla="*/ 59 h 135"/>
                  <a:gd name="T2" fmla="*/ 18 w 93"/>
                  <a:gd name="T3" fmla="*/ 59 h 135"/>
                  <a:gd name="T4" fmla="*/ 26 w 93"/>
                  <a:gd name="T5" fmla="*/ 64 h 135"/>
                  <a:gd name="T6" fmla="*/ 24 w 93"/>
                  <a:gd name="T7" fmla="*/ 72 h 135"/>
                  <a:gd name="T8" fmla="*/ 25 w 93"/>
                  <a:gd name="T9" fmla="*/ 75 h 135"/>
                  <a:gd name="T10" fmla="*/ 31 w 93"/>
                  <a:gd name="T11" fmla="*/ 77 h 135"/>
                  <a:gd name="T12" fmla="*/ 36 w 93"/>
                  <a:gd name="T13" fmla="*/ 80 h 135"/>
                  <a:gd name="T14" fmla="*/ 33 w 93"/>
                  <a:gd name="T15" fmla="*/ 86 h 135"/>
                  <a:gd name="T16" fmla="*/ 28 w 93"/>
                  <a:gd name="T17" fmla="*/ 96 h 135"/>
                  <a:gd name="T18" fmla="*/ 27 w 93"/>
                  <a:gd name="T19" fmla="*/ 103 h 135"/>
                  <a:gd name="T20" fmla="*/ 27 w 93"/>
                  <a:gd name="T21" fmla="*/ 108 h 135"/>
                  <a:gd name="T22" fmla="*/ 27 w 93"/>
                  <a:gd name="T23" fmla="*/ 115 h 135"/>
                  <a:gd name="T24" fmla="*/ 34 w 93"/>
                  <a:gd name="T25" fmla="*/ 121 h 135"/>
                  <a:gd name="T26" fmla="*/ 37 w 93"/>
                  <a:gd name="T27" fmla="*/ 127 h 135"/>
                  <a:gd name="T28" fmla="*/ 47 w 93"/>
                  <a:gd name="T29" fmla="*/ 135 h 135"/>
                  <a:gd name="T30" fmla="*/ 52 w 93"/>
                  <a:gd name="T31" fmla="*/ 131 h 135"/>
                  <a:gd name="T32" fmla="*/ 57 w 93"/>
                  <a:gd name="T33" fmla="*/ 132 h 135"/>
                  <a:gd name="T34" fmla="*/ 59 w 93"/>
                  <a:gd name="T35" fmla="*/ 127 h 135"/>
                  <a:gd name="T36" fmla="*/ 71 w 93"/>
                  <a:gd name="T37" fmla="*/ 126 h 135"/>
                  <a:gd name="T38" fmla="*/ 77 w 93"/>
                  <a:gd name="T39" fmla="*/ 119 h 135"/>
                  <a:gd name="T40" fmla="*/ 83 w 93"/>
                  <a:gd name="T41" fmla="*/ 120 h 135"/>
                  <a:gd name="T42" fmla="*/ 93 w 93"/>
                  <a:gd name="T43" fmla="*/ 119 h 135"/>
                  <a:gd name="T44" fmla="*/ 89 w 93"/>
                  <a:gd name="T45" fmla="*/ 116 h 135"/>
                  <a:gd name="T46" fmla="*/ 85 w 93"/>
                  <a:gd name="T47" fmla="*/ 113 h 135"/>
                  <a:gd name="T48" fmla="*/ 81 w 93"/>
                  <a:gd name="T49" fmla="*/ 106 h 135"/>
                  <a:gd name="T50" fmla="*/ 80 w 93"/>
                  <a:gd name="T51" fmla="*/ 101 h 135"/>
                  <a:gd name="T52" fmla="*/ 78 w 93"/>
                  <a:gd name="T53" fmla="*/ 94 h 135"/>
                  <a:gd name="T54" fmla="*/ 74 w 93"/>
                  <a:gd name="T55" fmla="*/ 93 h 135"/>
                  <a:gd name="T56" fmla="*/ 72 w 93"/>
                  <a:gd name="T57" fmla="*/ 88 h 135"/>
                  <a:gd name="T58" fmla="*/ 69 w 93"/>
                  <a:gd name="T59" fmla="*/ 83 h 135"/>
                  <a:gd name="T60" fmla="*/ 63 w 93"/>
                  <a:gd name="T61" fmla="*/ 79 h 135"/>
                  <a:gd name="T62" fmla="*/ 66 w 93"/>
                  <a:gd name="T63" fmla="*/ 70 h 135"/>
                  <a:gd name="T64" fmla="*/ 69 w 93"/>
                  <a:gd name="T65" fmla="*/ 62 h 135"/>
                  <a:gd name="T66" fmla="*/ 77 w 93"/>
                  <a:gd name="T67" fmla="*/ 60 h 135"/>
                  <a:gd name="T68" fmla="*/ 80 w 93"/>
                  <a:gd name="T69" fmla="*/ 54 h 135"/>
                  <a:gd name="T70" fmla="*/ 80 w 93"/>
                  <a:gd name="T71" fmla="*/ 51 h 135"/>
                  <a:gd name="T72" fmla="*/ 80 w 93"/>
                  <a:gd name="T73" fmla="*/ 47 h 135"/>
                  <a:gd name="T74" fmla="*/ 78 w 93"/>
                  <a:gd name="T75" fmla="*/ 40 h 135"/>
                  <a:gd name="T76" fmla="*/ 65 w 93"/>
                  <a:gd name="T77" fmla="*/ 32 h 135"/>
                  <a:gd name="T78" fmla="*/ 59 w 93"/>
                  <a:gd name="T79" fmla="*/ 30 h 135"/>
                  <a:gd name="T80" fmla="*/ 53 w 93"/>
                  <a:gd name="T81" fmla="*/ 34 h 135"/>
                  <a:gd name="T82" fmla="*/ 52 w 93"/>
                  <a:gd name="T83" fmla="*/ 33 h 135"/>
                  <a:gd name="T84" fmla="*/ 54 w 93"/>
                  <a:gd name="T85" fmla="*/ 25 h 135"/>
                  <a:gd name="T86" fmla="*/ 49 w 93"/>
                  <a:gd name="T87" fmla="*/ 17 h 135"/>
                  <a:gd name="T88" fmla="*/ 37 w 93"/>
                  <a:gd name="T89" fmla="*/ 8 h 135"/>
                  <a:gd name="T90" fmla="*/ 33 w 93"/>
                  <a:gd name="T91" fmla="*/ 2 h 135"/>
                  <a:gd name="T92" fmla="*/ 29 w 93"/>
                  <a:gd name="T93" fmla="*/ 0 h 135"/>
                  <a:gd name="T94" fmla="*/ 22 w 93"/>
                  <a:gd name="T95" fmla="*/ 8 h 135"/>
                  <a:gd name="T96" fmla="*/ 16 w 93"/>
                  <a:gd name="T97" fmla="*/ 10 h 135"/>
                  <a:gd name="T98" fmla="*/ 13 w 93"/>
                  <a:gd name="T99" fmla="*/ 19 h 135"/>
                  <a:gd name="T100" fmla="*/ 18 w 93"/>
                  <a:gd name="T101" fmla="*/ 23 h 135"/>
                  <a:gd name="T102" fmla="*/ 22 w 93"/>
                  <a:gd name="T103" fmla="*/ 29 h 135"/>
                  <a:gd name="T104" fmla="*/ 13 w 93"/>
                  <a:gd name="T105" fmla="*/ 30 h 135"/>
                  <a:gd name="T106" fmla="*/ 7 w 93"/>
                  <a:gd name="T107" fmla="*/ 30 h 135"/>
                  <a:gd name="T108" fmla="*/ 4 w 93"/>
                  <a:gd name="T109" fmla="*/ 39 h 135"/>
                  <a:gd name="T110" fmla="*/ 2 w 93"/>
                  <a:gd name="T111" fmla="*/ 47 h 135"/>
                  <a:gd name="T112" fmla="*/ 14 w 93"/>
                  <a:gd name="T113" fmla="*/ 58 h 135"/>
                  <a:gd name="T114" fmla="*/ 14 w 93"/>
                  <a:gd name="T115" fmla="*/ 59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93" h="135">
                    <a:moveTo>
                      <a:pt x="14" y="59"/>
                    </a:moveTo>
                    <a:lnTo>
                      <a:pt x="15" y="59"/>
                    </a:lnTo>
                    <a:lnTo>
                      <a:pt x="16" y="61"/>
                    </a:lnTo>
                    <a:lnTo>
                      <a:pt x="18" y="59"/>
                    </a:lnTo>
                    <a:lnTo>
                      <a:pt x="23" y="60"/>
                    </a:lnTo>
                    <a:lnTo>
                      <a:pt x="26" y="64"/>
                    </a:lnTo>
                    <a:lnTo>
                      <a:pt x="26" y="69"/>
                    </a:lnTo>
                    <a:lnTo>
                      <a:pt x="24" y="72"/>
                    </a:lnTo>
                    <a:lnTo>
                      <a:pt x="22" y="73"/>
                    </a:lnTo>
                    <a:lnTo>
                      <a:pt x="25" y="75"/>
                    </a:lnTo>
                    <a:lnTo>
                      <a:pt x="29" y="75"/>
                    </a:lnTo>
                    <a:lnTo>
                      <a:pt x="31" y="77"/>
                    </a:lnTo>
                    <a:lnTo>
                      <a:pt x="32" y="80"/>
                    </a:lnTo>
                    <a:lnTo>
                      <a:pt x="36" y="80"/>
                    </a:lnTo>
                    <a:lnTo>
                      <a:pt x="36" y="82"/>
                    </a:lnTo>
                    <a:lnTo>
                      <a:pt x="33" y="86"/>
                    </a:lnTo>
                    <a:lnTo>
                      <a:pt x="31" y="91"/>
                    </a:lnTo>
                    <a:lnTo>
                      <a:pt x="28" y="96"/>
                    </a:lnTo>
                    <a:lnTo>
                      <a:pt x="28" y="100"/>
                    </a:lnTo>
                    <a:lnTo>
                      <a:pt x="27" y="103"/>
                    </a:lnTo>
                    <a:lnTo>
                      <a:pt x="26" y="106"/>
                    </a:lnTo>
                    <a:lnTo>
                      <a:pt x="27" y="108"/>
                    </a:lnTo>
                    <a:lnTo>
                      <a:pt x="26" y="111"/>
                    </a:lnTo>
                    <a:lnTo>
                      <a:pt x="27" y="115"/>
                    </a:lnTo>
                    <a:lnTo>
                      <a:pt x="30" y="117"/>
                    </a:lnTo>
                    <a:lnTo>
                      <a:pt x="34" y="121"/>
                    </a:lnTo>
                    <a:lnTo>
                      <a:pt x="34" y="124"/>
                    </a:lnTo>
                    <a:lnTo>
                      <a:pt x="37" y="127"/>
                    </a:lnTo>
                    <a:lnTo>
                      <a:pt x="44" y="133"/>
                    </a:lnTo>
                    <a:lnTo>
                      <a:pt x="47" y="135"/>
                    </a:lnTo>
                    <a:lnTo>
                      <a:pt x="49" y="132"/>
                    </a:lnTo>
                    <a:lnTo>
                      <a:pt x="52" y="131"/>
                    </a:lnTo>
                    <a:lnTo>
                      <a:pt x="52" y="132"/>
                    </a:lnTo>
                    <a:lnTo>
                      <a:pt x="57" y="132"/>
                    </a:lnTo>
                    <a:lnTo>
                      <a:pt x="58" y="129"/>
                    </a:lnTo>
                    <a:lnTo>
                      <a:pt x="59" y="127"/>
                    </a:lnTo>
                    <a:lnTo>
                      <a:pt x="63" y="126"/>
                    </a:lnTo>
                    <a:lnTo>
                      <a:pt x="71" y="126"/>
                    </a:lnTo>
                    <a:lnTo>
                      <a:pt x="73" y="120"/>
                    </a:lnTo>
                    <a:lnTo>
                      <a:pt x="77" y="119"/>
                    </a:lnTo>
                    <a:lnTo>
                      <a:pt x="82" y="118"/>
                    </a:lnTo>
                    <a:lnTo>
                      <a:pt x="83" y="120"/>
                    </a:lnTo>
                    <a:lnTo>
                      <a:pt x="87" y="119"/>
                    </a:lnTo>
                    <a:lnTo>
                      <a:pt x="93" y="119"/>
                    </a:lnTo>
                    <a:lnTo>
                      <a:pt x="90" y="117"/>
                    </a:lnTo>
                    <a:lnTo>
                      <a:pt x="89" y="116"/>
                    </a:lnTo>
                    <a:lnTo>
                      <a:pt x="89" y="115"/>
                    </a:lnTo>
                    <a:lnTo>
                      <a:pt x="85" y="113"/>
                    </a:lnTo>
                    <a:lnTo>
                      <a:pt x="85" y="110"/>
                    </a:lnTo>
                    <a:lnTo>
                      <a:pt x="81" y="106"/>
                    </a:lnTo>
                    <a:lnTo>
                      <a:pt x="80" y="105"/>
                    </a:lnTo>
                    <a:lnTo>
                      <a:pt x="80" y="101"/>
                    </a:lnTo>
                    <a:lnTo>
                      <a:pt x="79" y="96"/>
                    </a:lnTo>
                    <a:lnTo>
                      <a:pt x="78" y="94"/>
                    </a:lnTo>
                    <a:lnTo>
                      <a:pt x="77" y="93"/>
                    </a:lnTo>
                    <a:lnTo>
                      <a:pt x="74" y="93"/>
                    </a:lnTo>
                    <a:lnTo>
                      <a:pt x="72" y="91"/>
                    </a:lnTo>
                    <a:lnTo>
                      <a:pt x="72" y="88"/>
                    </a:lnTo>
                    <a:lnTo>
                      <a:pt x="70" y="85"/>
                    </a:lnTo>
                    <a:lnTo>
                      <a:pt x="69" y="83"/>
                    </a:lnTo>
                    <a:lnTo>
                      <a:pt x="67" y="81"/>
                    </a:lnTo>
                    <a:lnTo>
                      <a:pt x="63" y="79"/>
                    </a:lnTo>
                    <a:lnTo>
                      <a:pt x="63" y="77"/>
                    </a:lnTo>
                    <a:lnTo>
                      <a:pt x="66" y="70"/>
                    </a:lnTo>
                    <a:lnTo>
                      <a:pt x="66" y="66"/>
                    </a:lnTo>
                    <a:lnTo>
                      <a:pt x="69" y="62"/>
                    </a:lnTo>
                    <a:lnTo>
                      <a:pt x="74" y="61"/>
                    </a:lnTo>
                    <a:lnTo>
                      <a:pt x="77" y="60"/>
                    </a:lnTo>
                    <a:lnTo>
                      <a:pt x="80" y="57"/>
                    </a:lnTo>
                    <a:lnTo>
                      <a:pt x="80" y="54"/>
                    </a:lnTo>
                    <a:lnTo>
                      <a:pt x="80" y="51"/>
                    </a:lnTo>
                    <a:lnTo>
                      <a:pt x="80" y="51"/>
                    </a:lnTo>
                    <a:lnTo>
                      <a:pt x="80" y="51"/>
                    </a:lnTo>
                    <a:lnTo>
                      <a:pt x="80" y="47"/>
                    </a:lnTo>
                    <a:lnTo>
                      <a:pt x="80" y="43"/>
                    </a:lnTo>
                    <a:lnTo>
                      <a:pt x="78" y="40"/>
                    </a:lnTo>
                    <a:lnTo>
                      <a:pt x="71" y="38"/>
                    </a:lnTo>
                    <a:lnTo>
                      <a:pt x="65" y="32"/>
                    </a:lnTo>
                    <a:lnTo>
                      <a:pt x="61" y="29"/>
                    </a:lnTo>
                    <a:lnTo>
                      <a:pt x="59" y="30"/>
                    </a:lnTo>
                    <a:lnTo>
                      <a:pt x="56" y="31"/>
                    </a:lnTo>
                    <a:lnTo>
                      <a:pt x="53" y="34"/>
                    </a:lnTo>
                    <a:lnTo>
                      <a:pt x="53" y="38"/>
                    </a:lnTo>
                    <a:lnTo>
                      <a:pt x="52" y="33"/>
                    </a:lnTo>
                    <a:lnTo>
                      <a:pt x="53" y="29"/>
                    </a:lnTo>
                    <a:lnTo>
                      <a:pt x="54" y="25"/>
                    </a:lnTo>
                    <a:lnTo>
                      <a:pt x="52" y="19"/>
                    </a:lnTo>
                    <a:lnTo>
                      <a:pt x="49" y="17"/>
                    </a:lnTo>
                    <a:lnTo>
                      <a:pt x="42" y="13"/>
                    </a:lnTo>
                    <a:lnTo>
                      <a:pt x="37" y="8"/>
                    </a:lnTo>
                    <a:lnTo>
                      <a:pt x="37" y="5"/>
                    </a:lnTo>
                    <a:lnTo>
                      <a:pt x="33" y="2"/>
                    </a:lnTo>
                    <a:lnTo>
                      <a:pt x="30" y="1"/>
                    </a:lnTo>
                    <a:lnTo>
                      <a:pt x="29" y="0"/>
                    </a:lnTo>
                    <a:lnTo>
                      <a:pt x="28" y="2"/>
                    </a:lnTo>
                    <a:lnTo>
                      <a:pt x="22" y="8"/>
                    </a:lnTo>
                    <a:lnTo>
                      <a:pt x="18" y="11"/>
                    </a:lnTo>
                    <a:lnTo>
                      <a:pt x="16" y="10"/>
                    </a:lnTo>
                    <a:lnTo>
                      <a:pt x="11" y="16"/>
                    </a:lnTo>
                    <a:lnTo>
                      <a:pt x="13" y="19"/>
                    </a:lnTo>
                    <a:lnTo>
                      <a:pt x="14" y="23"/>
                    </a:lnTo>
                    <a:lnTo>
                      <a:pt x="18" y="23"/>
                    </a:lnTo>
                    <a:lnTo>
                      <a:pt x="22" y="25"/>
                    </a:lnTo>
                    <a:lnTo>
                      <a:pt x="22" y="29"/>
                    </a:lnTo>
                    <a:lnTo>
                      <a:pt x="15" y="32"/>
                    </a:lnTo>
                    <a:lnTo>
                      <a:pt x="13" y="30"/>
                    </a:lnTo>
                    <a:lnTo>
                      <a:pt x="10" y="32"/>
                    </a:lnTo>
                    <a:lnTo>
                      <a:pt x="7" y="30"/>
                    </a:lnTo>
                    <a:lnTo>
                      <a:pt x="5" y="33"/>
                    </a:lnTo>
                    <a:lnTo>
                      <a:pt x="4" y="39"/>
                    </a:lnTo>
                    <a:lnTo>
                      <a:pt x="0" y="42"/>
                    </a:lnTo>
                    <a:lnTo>
                      <a:pt x="2" y="47"/>
                    </a:lnTo>
                    <a:lnTo>
                      <a:pt x="7" y="53"/>
                    </a:lnTo>
                    <a:lnTo>
                      <a:pt x="14" y="58"/>
                    </a:lnTo>
                    <a:lnTo>
                      <a:pt x="14" y="59"/>
                    </a:lnTo>
                    <a:lnTo>
                      <a:pt x="14" y="59"/>
                    </a:lnTo>
                    <a:close/>
                  </a:path>
                </a:pathLst>
              </a:custGeom>
              <a:solidFill>
                <a:schemeClr val="accent4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647" name="Freeform 451"/>
              <p:cNvSpPr>
                <a:spLocks noEditPoints="1"/>
              </p:cNvSpPr>
              <p:nvPr userDrawn="1"/>
            </p:nvSpPr>
            <p:spPr bwMode="auto">
              <a:xfrm>
                <a:off x="1990" y="2905"/>
                <a:ext cx="109" cy="116"/>
              </a:xfrm>
              <a:custGeom>
                <a:avLst/>
                <a:gdLst>
                  <a:gd name="T0" fmla="*/ 104 w 109"/>
                  <a:gd name="T1" fmla="*/ 26 h 116"/>
                  <a:gd name="T2" fmla="*/ 100 w 109"/>
                  <a:gd name="T3" fmla="*/ 22 h 116"/>
                  <a:gd name="T4" fmla="*/ 92 w 109"/>
                  <a:gd name="T5" fmla="*/ 19 h 116"/>
                  <a:gd name="T6" fmla="*/ 88 w 109"/>
                  <a:gd name="T7" fmla="*/ 21 h 116"/>
                  <a:gd name="T8" fmla="*/ 86 w 109"/>
                  <a:gd name="T9" fmla="*/ 27 h 116"/>
                  <a:gd name="T10" fmla="*/ 78 w 109"/>
                  <a:gd name="T11" fmla="*/ 24 h 116"/>
                  <a:gd name="T12" fmla="*/ 66 w 109"/>
                  <a:gd name="T13" fmla="*/ 20 h 116"/>
                  <a:gd name="T14" fmla="*/ 66 w 109"/>
                  <a:gd name="T15" fmla="*/ 15 h 116"/>
                  <a:gd name="T16" fmla="*/ 58 w 109"/>
                  <a:gd name="T17" fmla="*/ 10 h 116"/>
                  <a:gd name="T18" fmla="*/ 44 w 109"/>
                  <a:gd name="T19" fmla="*/ 2 h 116"/>
                  <a:gd name="T20" fmla="*/ 37 w 109"/>
                  <a:gd name="T21" fmla="*/ 4 h 116"/>
                  <a:gd name="T22" fmla="*/ 24 w 109"/>
                  <a:gd name="T23" fmla="*/ 10 h 116"/>
                  <a:gd name="T24" fmla="*/ 14 w 109"/>
                  <a:gd name="T25" fmla="*/ 12 h 116"/>
                  <a:gd name="T26" fmla="*/ 17 w 109"/>
                  <a:gd name="T27" fmla="*/ 19 h 116"/>
                  <a:gd name="T28" fmla="*/ 17 w 109"/>
                  <a:gd name="T29" fmla="*/ 27 h 116"/>
                  <a:gd name="T30" fmla="*/ 10 w 109"/>
                  <a:gd name="T31" fmla="*/ 37 h 116"/>
                  <a:gd name="T32" fmla="*/ 9 w 109"/>
                  <a:gd name="T33" fmla="*/ 44 h 116"/>
                  <a:gd name="T34" fmla="*/ 1 w 109"/>
                  <a:gd name="T35" fmla="*/ 49 h 116"/>
                  <a:gd name="T36" fmla="*/ 4 w 109"/>
                  <a:gd name="T37" fmla="*/ 55 h 116"/>
                  <a:gd name="T38" fmla="*/ 4 w 109"/>
                  <a:gd name="T39" fmla="*/ 63 h 116"/>
                  <a:gd name="T40" fmla="*/ 0 w 109"/>
                  <a:gd name="T41" fmla="*/ 68 h 116"/>
                  <a:gd name="T42" fmla="*/ 7 w 109"/>
                  <a:gd name="T43" fmla="*/ 72 h 116"/>
                  <a:gd name="T44" fmla="*/ 13 w 109"/>
                  <a:gd name="T45" fmla="*/ 78 h 116"/>
                  <a:gd name="T46" fmla="*/ 16 w 109"/>
                  <a:gd name="T47" fmla="*/ 72 h 116"/>
                  <a:gd name="T48" fmla="*/ 20 w 109"/>
                  <a:gd name="T49" fmla="*/ 68 h 116"/>
                  <a:gd name="T50" fmla="*/ 20 w 109"/>
                  <a:gd name="T51" fmla="*/ 73 h 116"/>
                  <a:gd name="T52" fmla="*/ 21 w 109"/>
                  <a:gd name="T53" fmla="*/ 70 h 116"/>
                  <a:gd name="T54" fmla="*/ 23 w 109"/>
                  <a:gd name="T55" fmla="*/ 74 h 116"/>
                  <a:gd name="T56" fmla="*/ 23 w 109"/>
                  <a:gd name="T57" fmla="*/ 82 h 116"/>
                  <a:gd name="T58" fmla="*/ 16 w 109"/>
                  <a:gd name="T59" fmla="*/ 90 h 116"/>
                  <a:gd name="T60" fmla="*/ 19 w 109"/>
                  <a:gd name="T61" fmla="*/ 95 h 116"/>
                  <a:gd name="T62" fmla="*/ 12 w 109"/>
                  <a:gd name="T63" fmla="*/ 101 h 116"/>
                  <a:gd name="T64" fmla="*/ 17 w 109"/>
                  <a:gd name="T65" fmla="*/ 105 h 116"/>
                  <a:gd name="T66" fmla="*/ 23 w 109"/>
                  <a:gd name="T67" fmla="*/ 105 h 116"/>
                  <a:gd name="T68" fmla="*/ 32 w 109"/>
                  <a:gd name="T69" fmla="*/ 108 h 116"/>
                  <a:gd name="T70" fmla="*/ 39 w 109"/>
                  <a:gd name="T71" fmla="*/ 116 h 116"/>
                  <a:gd name="T72" fmla="*/ 57 w 109"/>
                  <a:gd name="T73" fmla="*/ 83 h 116"/>
                  <a:gd name="T74" fmla="*/ 78 w 109"/>
                  <a:gd name="T75" fmla="*/ 74 h 116"/>
                  <a:gd name="T76" fmla="*/ 99 w 109"/>
                  <a:gd name="T77" fmla="*/ 58 h 116"/>
                  <a:gd name="T78" fmla="*/ 107 w 109"/>
                  <a:gd name="T79" fmla="*/ 47 h 116"/>
                  <a:gd name="T80" fmla="*/ 109 w 109"/>
                  <a:gd name="T81" fmla="*/ 41 h 116"/>
                  <a:gd name="T82" fmla="*/ 105 w 109"/>
                  <a:gd name="T83" fmla="*/ 30 h 116"/>
                  <a:gd name="T84" fmla="*/ 104 w 109"/>
                  <a:gd name="T85" fmla="*/ 26 h 116"/>
                  <a:gd name="T86" fmla="*/ 104 w 109"/>
                  <a:gd name="T87" fmla="*/ 26 h 116"/>
                  <a:gd name="T88" fmla="*/ 13 w 109"/>
                  <a:gd name="T89" fmla="*/ 83 h 116"/>
                  <a:gd name="T90" fmla="*/ 15 w 109"/>
                  <a:gd name="T91" fmla="*/ 79 h 116"/>
                  <a:gd name="T92" fmla="*/ 18 w 109"/>
                  <a:gd name="T93" fmla="*/ 77 h 116"/>
                  <a:gd name="T94" fmla="*/ 18 w 109"/>
                  <a:gd name="T95" fmla="*/ 81 h 116"/>
                  <a:gd name="T96" fmla="*/ 14 w 109"/>
                  <a:gd name="T97" fmla="*/ 85 h 116"/>
                  <a:gd name="T98" fmla="*/ 13 w 109"/>
                  <a:gd name="T99" fmla="*/ 83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09" h="116">
                    <a:moveTo>
                      <a:pt x="104" y="26"/>
                    </a:moveTo>
                    <a:lnTo>
                      <a:pt x="104" y="26"/>
                    </a:lnTo>
                    <a:lnTo>
                      <a:pt x="101" y="25"/>
                    </a:lnTo>
                    <a:lnTo>
                      <a:pt x="100" y="22"/>
                    </a:lnTo>
                    <a:lnTo>
                      <a:pt x="98" y="21"/>
                    </a:lnTo>
                    <a:lnTo>
                      <a:pt x="92" y="19"/>
                    </a:lnTo>
                    <a:lnTo>
                      <a:pt x="91" y="19"/>
                    </a:lnTo>
                    <a:lnTo>
                      <a:pt x="88" y="21"/>
                    </a:lnTo>
                    <a:lnTo>
                      <a:pt x="88" y="25"/>
                    </a:lnTo>
                    <a:lnTo>
                      <a:pt x="86" y="27"/>
                    </a:lnTo>
                    <a:lnTo>
                      <a:pt x="80" y="25"/>
                    </a:lnTo>
                    <a:lnTo>
                      <a:pt x="78" y="24"/>
                    </a:lnTo>
                    <a:lnTo>
                      <a:pt x="72" y="21"/>
                    </a:lnTo>
                    <a:lnTo>
                      <a:pt x="66" y="20"/>
                    </a:lnTo>
                    <a:lnTo>
                      <a:pt x="65" y="18"/>
                    </a:lnTo>
                    <a:lnTo>
                      <a:pt x="66" y="15"/>
                    </a:lnTo>
                    <a:lnTo>
                      <a:pt x="61" y="10"/>
                    </a:lnTo>
                    <a:lnTo>
                      <a:pt x="58" y="10"/>
                    </a:lnTo>
                    <a:lnTo>
                      <a:pt x="50" y="6"/>
                    </a:lnTo>
                    <a:lnTo>
                      <a:pt x="44" y="2"/>
                    </a:lnTo>
                    <a:lnTo>
                      <a:pt x="38" y="0"/>
                    </a:lnTo>
                    <a:lnTo>
                      <a:pt x="37" y="4"/>
                    </a:lnTo>
                    <a:lnTo>
                      <a:pt x="33" y="4"/>
                    </a:lnTo>
                    <a:lnTo>
                      <a:pt x="24" y="10"/>
                    </a:lnTo>
                    <a:lnTo>
                      <a:pt x="19" y="10"/>
                    </a:lnTo>
                    <a:lnTo>
                      <a:pt x="14" y="12"/>
                    </a:lnTo>
                    <a:lnTo>
                      <a:pt x="16" y="16"/>
                    </a:lnTo>
                    <a:lnTo>
                      <a:pt x="17" y="19"/>
                    </a:lnTo>
                    <a:lnTo>
                      <a:pt x="18" y="22"/>
                    </a:lnTo>
                    <a:lnTo>
                      <a:pt x="17" y="27"/>
                    </a:lnTo>
                    <a:lnTo>
                      <a:pt x="11" y="33"/>
                    </a:lnTo>
                    <a:lnTo>
                      <a:pt x="10" y="37"/>
                    </a:lnTo>
                    <a:lnTo>
                      <a:pt x="12" y="39"/>
                    </a:lnTo>
                    <a:lnTo>
                      <a:pt x="9" y="44"/>
                    </a:lnTo>
                    <a:lnTo>
                      <a:pt x="4" y="44"/>
                    </a:lnTo>
                    <a:lnTo>
                      <a:pt x="1" y="49"/>
                    </a:lnTo>
                    <a:lnTo>
                      <a:pt x="2" y="51"/>
                    </a:lnTo>
                    <a:lnTo>
                      <a:pt x="4" y="55"/>
                    </a:lnTo>
                    <a:lnTo>
                      <a:pt x="3" y="58"/>
                    </a:lnTo>
                    <a:lnTo>
                      <a:pt x="4" y="63"/>
                    </a:lnTo>
                    <a:lnTo>
                      <a:pt x="2" y="67"/>
                    </a:lnTo>
                    <a:lnTo>
                      <a:pt x="0" y="68"/>
                    </a:lnTo>
                    <a:lnTo>
                      <a:pt x="2" y="71"/>
                    </a:lnTo>
                    <a:lnTo>
                      <a:pt x="7" y="72"/>
                    </a:lnTo>
                    <a:lnTo>
                      <a:pt x="10" y="76"/>
                    </a:lnTo>
                    <a:lnTo>
                      <a:pt x="13" y="78"/>
                    </a:lnTo>
                    <a:lnTo>
                      <a:pt x="14" y="77"/>
                    </a:lnTo>
                    <a:lnTo>
                      <a:pt x="16" y="72"/>
                    </a:lnTo>
                    <a:lnTo>
                      <a:pt x="17" y="71"/>
                    </a:lnTo>
                    <a:lnTo>
                      <a:pt x="20" y="68"/>
                    </a:lnTo>
                    <a:lnTo>
                      <a:pt x="20" y="71"/>
                    </a:lnTo>
                    <a:lnTo>
                      <a:pt x="20" y="73"/>
                    </a:lnTo>
                    <a:lnTo>
                      <a:pt x="21" y="72"/>
                    </a:lnTo>
                    <a:lnTo>
                      <a:pt x="21" y="70"/>
                    </a:lnTo>
                    <a:lnTo>
                      <a:pt x="22" y="70"/>
                    </a:lnTo>
                    <a:lnTo>
                      <a:pt x="23" y="74"/>
                    </a:lnTo>
                    <a:lnTo>
                      <a:pt x="22" y="79"/>
                    </a:lnTo>
                    <a:lnTo>
                      <a:pt x="23" y="82"/>
                    </a:lnTo>
                    <a:lnTo>
                      <a:pt x="21" y="86"/>
                    </a:lnTo>
                    <a:lnTo>
                      <a:pt x="16" y="90"/>
                    </a:lnTo>
                    <a:lnTo>
                      <a:pt x="18" y="91"/>
                    </a:lnTo>
                    <a:lnTo>
                      <a:pt x="19" y="95"/>
                    </a:lnTo>
                    <a:lnTo>
                      <a:pt x="15" y="97"/>
                    </a:lnTo>
                    <a:lnTo>
                      <a:pt x="12" y="101"/>
                    </a:lnTo>
                    <a:lnTo>
                      <a:pt x="13" y="104"/>
                    </a:lnTo>
                    <a:lnTo>
                      <a:pt x="17" y="105"/>
                    </a:lnTo>
                    <a:lnTo>
                      <a:pt x="21" y="103"/>
                    </a:lnTo>
                    <a:lnTo>
                      <a:pt x="23" y="105"/>
                    </a:lnTo>
                    <a:lnTo>
                      <a:pt x="28" y="107"/>
                    </a:lnTo>
                    <a:lnTo>
                      <a:pt x="32" y="108"/>
                    </a:lnTo>
                    <a:lnTo>
                      <a:pt x="36" y="116"/>
                    </a:lnTo>
                    <a:lnTo>
                      <a:pt x="39" y="116"/>
                    </a:lnTo>
                    <a:lnTo>
                      <a:pt x="43" y="112"/>
                    </a:lnTo>
                    <a:lnTo>
                      <a:pt x="57" y="83"/>
                    </a:lnTo>
                    <a:lnTo>
                      <a:pt x="59" y="81"/>
                    </a:lnTo>
                    <a:lnTo>
                      <a:pt x="78" y="74"/>
                    </a:lnTo>
                    <a:lnTo>
                      <a:pt x="86" y="70"/>
                    </a:lnTo>
                    <a:lnTo>
                      <a:pt x="99" y="58"/>
                    </a:lnTo>
                    <a:lnTo>
                      <a:pt x="104" y="47"/>
                    </a:lnTo>
                    <a:lnTo>
                      <a:pt x="107" y="47"/>
                    </a:lnTo>
                    <a:lnTo>
                      <a:pt x="108" y="45"/>
                    </a:lnTo>
                    <a:lnTo>
                      <a:pt x="109" y="41"/>
                    </a:lnTo>
                    <a:lnTo>
                      <a:pt x="109" y="37"/>
                    </a:lnTo>
                    <a:lnTo>
                      <a:pt x="105" y="30"/>
                    </a:lnTo>
                    <a:lnTo>
                      <a:pt x="105" y="29"/>
                    </a:lnTo>
                    <a:lnTo>
                      <a:pt x="104" y="26"/>
                    </a:lnTo>
                    <a:lnTo>
                      <a:pt x="104" y="26"/>
                    </a:lnTo>
                    <a:lnTo>
                      <a:pt x="104" y="26"/>
                    </a:lnTo>
                    <a:lnTo>
                      <a:pt x="104" y="26"/>
                    </a:lnTo>
                    <a:close/>
                    <a:moveTo>
                      <a:pt x="13" y="83"/>
                    </a:moveTo>
                    <a:lnTo>
                      <a:pt x="12" y="82"/>
                    </a:lnTo>
                    <a:lnTo>
                      <a:pt x="15" y="79"/>
                    </a:lnTo>
                    <a:lnTo>
                      <a:pt x="18" y="76"/>
                    </a:lnTo>
                    <a:lnTo>
                      <a:pt x="18" y="77"/>
                    </a:lnTo>
                    <a:lnTo>
                      <a:pt x="17" y="79"/>
                    </a:lnTo>
                    <a:lnTo>
                      <a:pt x="18" y="81"/>
                    </a:lnTo>
                    <a:lnTo>
                      <a:pt x="16" y="84"/>
                    </a:lnTo>
                    <a:lnTo>
                      <a:pt x="14" y="85"/>
                    </a:lnTo>
                    <a:lnTo>
                      <a:pt x="13" y="83"/>
                    </a:lnTo>
                    <a:lnTo>
                      <a:pt x="13" y="83"/>
                    </a:lnTo>
                    <a:close/>
                  </a:path>
                </a:pathLst>
              </a:custGeom>
              <a:solidFill>
                <a:schemeClr val="accent4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648" name="Freeform 452"/>
              <p:cNvSpPr>
                <a:spLocks/>
              </p:cNvSpPr>
              <p:nvPr userDrawn="1"/>
            </p:nvSpPr>
            <p:spPr bwMode="auto">
              <a:xfrm>
                <a:off x="2344" y="3281"/>
                <a:ext cx="156" cy="160"/>
              </a:xfrm>
              <a:custGeom>
                <a:avLst/>
                <a:gdLst>
                  <a:gd name="T0" fmla="*/ 1 w 156"/>
                  <a:gd name="T1" fmla="*/ 49 h 160"/>
                  <a:gd name="T2" fmla="*/ 6 w 156"/>
                  <a:gd name="T3" fmla="*/ 35 h 160"/>
                  <a:gd name="T4" fmla="*/ 3 w 156"/>
                  <a:gd name="T5" fmla="*/ 27 h 160"/>
                  <a:gd name="T6" fmla="*/ 12 w 156"/>
                  <a:gd name="T7" fmla="*/ 13 h 160"/>
                  <a:gd name="T8" fmla="*/ 16 w 156"/>
                  <a:gd name="T9" fmla="*/ 7 h 160"/>
                  <a:gd name="T10" fmla="*/ 62 w 156"/>
                  <a:gd name="T11" fmla="*/ 0 h 160"/>
                  <a:gd name="T12" fmla="*/ 77 w 156"/>
                  <a:gd name="T13" fmla="*/ 10 h 160"/>
                  <a:gd name="T14" fmla="*/ 80 w 156"/>
                  <a:gd name="T15" fmla="*/ 18 h 160"/>
                  <a:gd name="T16" fmla="*/ 85 w 156"/>
                  <a:gd name="T17" fmla="*/ 26 h 160"/>
                  <a:gd name="T18" fmla="*/ 87 w 156"/>
                  <a:gd name="T19" fmla="*/ 43 h 160"/>
                  <a:gd name="T20" fmla="*/ 86 w 156"/>
                  <a:gd name="T21" fmla="*/ 50 h 160"/>
                  <a:gd name="T22" fmla="*/ 94 w 156"/>
                  <a:gd name="T23" fmla="*/ 54 h 160"/>
                  <a:gd name="T24" fmla="*/ 106 w 156"/>
                  <a:gd name="T25" fmla="*/ 55 h 160"/>
                  <a:gd name="T26" fmla="*/ 119 w 156"/>
                  <a:gd name="T27" fmla="*/ 53 h 160"/>
                  <a:gd name="T28" fmla="*/ 128 w 156"/>
                  <a:gd name="T29" fmla="*/ 57 h 160"/>
                  <a:gd name="T30" fmla="*/ 133 w 156"/>
                  <a:gd name="T31" fmla="*/ 81 h 160"/>
                  <a:gd name="T32" fmla="*/ 140 w 156"/>
                  <a:gd name="T33" fmla="*/ 88 h 160"/>
                  <a:gd name="T34" fmla="*/ 152 w 156"/>
                  <a:gd name="T35" fmla="*/ 86 h 160"/>
                  <a:gd name="T36" fmla="*/ 156 w 156"/>
                  <a:gd name="T37" fmla="*/ 88 h 160"/>
                  <a:gd name="T38" fmla="*/ 154 w 156"/>
                  <a:gd name="T39" fmla="*/ 108 h 160"/>
                  <a:gd name="T40" fmla="*/ 154 w 156"/>
                  <a:gd name="T41" fmla="*/ 111 h 160"/>
                  <a:gd name="T42" fmla="*/ 153 w 156"/>
                  <a:gd name="T43" fmla="*/ 115 h 160"/>
                  <a:gd name="T44" fmla="*/ 152 w 156"/>
                  <a:gd name="T45" fmla="*/ 118 h 160"/>
                  <a:gd name="T46" fmla="*/ 152 w 156"/>
                  <a:gd name="T47" fmla="*/ 125 h 160"/>
                  <a:gd name="T48" fmla="*/ 148 w 156"/>
                  <a:gd name="T49" fmla="*/ 133 h 160"/>
                  <a:gd name="T50" fmla="*/ 145 w 156"/>
                  <a:gd name="T51" fmla="*/ 142 h 160"/>
                  <a:gd name="T52" fmla="*/ 134 w 156"/>
                  <a:gd name="T53" fmla="*/ 152 h 160"/>
                  <a:gd name="T54" fmla="*/ 128 w 156"/>
                  <a:gd name="T55" fmla="*/ 155 h 160"/>
                  <a:gd name="T56" fmla="*/ 122 w 156"/>
                  <a:gd name="T57" fmla="*/ 160 h 160"/>
                  <a:gd name="T58" fmla="*/ 118 w 156"/>
                  <a:gd name="T59" fmla="*/ 158 h 160"/>
                  <a:gd name="T60" fmla="*/ 106 w 156"/>
                  <a:gd name="T61" fmla="*/ 156 h 160"/>
                  <a:gd name="T62" fmla="*/ 82 w 156"/>
                  <a:gd name="T63" fmla="*/ 154 h 160"/>
                  <a:gd name="T64" fmla="*/ 80 w 156"/>
                  <a:gd name="T65" fmla="*/ 151 h 160"/>
                  <a:gd name="T66" fmla="*/ 89 w 156"/>
                  <a:gd name="T67" fmla="*/ 138 h 160"/>
                  <a:gd name="T68" fmla="*/ 89 w 156"/>
                  <a:gd name="T69" fmla="*/ 131 h 160"/>
                  <a:gd name="T70" fmla="*/ 95 w 156"/>
                  <a:gd name="T71" fmla="*/ 125 h 160"/>
                  <a:gd name="T72" fmla="*/ 94 w 156"/>
                  <a:gd name="T73" fmla="*/ 117 h 160"/>
                  <a:gd name="T74" fmla="*/ 84 w 156"/>
                  <a:gd name="T75" fmla="*/ 107 h 160"/>
                  <a:gd name="T76" fmla="*/ 65 w 156"/>
                  <a:gd name="T77" fmla="*/ 103 h 160"/>
                  <a:gd name="T78" fmla="*/ 53 w 156"/>
                  <a:gd name="T79" fmla="*/ 95 h 160"/>
                  <a:gd name="T80" fmla="*/ 35 w 156"/>
                  <a:gd name="T81" fmla="*/ 88 h 160"/>
                  <a:gd name="T82" fmla="*/ 27 w 156"/>
                  <a:gd name="T83" fmla="*/ 81 h 160"/>
                  <a:gd name="T84" fmla="*/ 12 w 156"/>
                  <a:gd name="T85" fmla="*/ 69 h 160"/>
                  <a:gd name="T86" fmla="*/ 3 w 156"/>
                  <a:gd name="T87" fmla="*/ 60 h 160"/>
                  <a:gd name="T88" fmla="*/ 0 w 156"/>
                  <a:gd name="T89" fmla="*/ 55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56" h="160">
                    <a:moveTo>
                      <a:pt x="0" y="55"/>
                    </a:moveTo>
                    <a:lnTo>
                      <a:pt x="1" y="49"/>
                    </a:lnTo>
                    <a:lnTo>
                      <a:pt x="5" y="40"/>
                    </a:lnTo>
                    <a:lnTo>
                      <a:pt x="6" y="35"/>
                    </a:lnTo>
                    <a:lnTo>
                      <a:pt x="5" y="30"/>
                    </a:lnTo>
                    <a:lnTo>
                      <a:pt x="3" y="27"/>
                    </a:lnTo>
                    <a:lnTo>
                      <a:pt x="9" y="19"/>
                    </a:lnTo>
                    <a:lnTo>
                      <a:pt x="12" y="13"/>
                    </a:lnTo>
                    <a:lnTo>
                      <a:pt x="12" y="9"/>
                    </a:lnTo>
                    <a:lnTo>
                      <a:pt x="16" y="7"/>
                    </a:lnTo>
                    <a:lnTo>
                      <a:pt x="41" y="0"/>
                    </a:lnTo>
                    <a:lnTo>
                      <a:pt x="62" y="0"/>
                    </a:lnTo>
                    <a:lnTo>
                      <a:pt x="74" y="9"/>
                    </a:lnTo>
                    <a:lnTo>
                      <a:pt x="77" y="10"/>
                    </a:lnTo>
                    <a:lnTo>
                      <a:pt x="81" y="14"/>
                    </a:lnTo>
                    <a:lnTo>
                      <a:pt x="80" y="18"/>
                    </a:lnTo>
                    <a:lnTo>
                      <a:pt x="85" y="21"/>
                    </a:lnTo>
                    <a:lnTo>
                      <a:pt x="85" y="26"/>
                    </a:lnTo>
                    <a:lnTo>
                      <a:pt x="89" y="32"/>
                    </a:lnTo>
                    <a:lnTo>
                      <a:pt x="87" y="43"/>
                    </a:lnTo>
                    <a:lnTo>
                      <a:pt x="88" y="46"/>
                    </a:lnTo>
                    <a:lnTo>
                      <a:pt x="86" y="50"/>
                    </a:lnTo>
                    <a:lnTo>
                      <a:pt x="88" y="54"/>
                    </a:lnTo>
                    <a:lnTo>
                      <a:pt x="94" y="54"/>
                    </a:lnTo>
                    <a:lnTo>
                      <a:pt x="97" y="55"/>
                    </a:lnTo>
                    <a:lnTo>
                      <a:pt x="106" y="55"/>
                    </a:lnTo>
                    <a:lnTo>
                      <a:pt x="111" y="56"/>
                    </a:lnTo>
                    <a:lnTo>
                      <a:pt x="119" y="53"/>
                    </a:lnTo>
                    <a:lnTo>
                      <a:pt x="124" y="56"/>
                    </a:lnTo>
                    <a:lnTo>
                      <a:pt x="128" y="57"/>
                    </a:lnTo>
                    <a:lnTo>
                      <a:pt x="129" y="62"/>
                    </a:lnTo>
                    <a:lnTo>
                      <a:pt x="133" y="81"/>
                    </a:lnTo>
                    <a:lnTo>
                      <a:pt x="136" y="87"/>
                    </a:lnTo>
                    <a:lnTo>
                      <a:pt x="140" y="88"/>
                    </a:lnTo>
                    <a:lnTo>
                      <a:pt x="147" y="85"/>
                    </a:lnTo>
                    <a:lnTo>
                      <a:pt x="152" y="86"/>
                    </a:lnTo>
                    <a:lnTo>
                      <a:pt x="154" y="88"/>
                    </a:lnTo>
                    <a:lnTo>
                      <a:pt x="156" y="88"/>
                    </a:lnTo>
                    <a:lnTo>
                      <a:pt x="155" y="91"/>
                    </a:lnTo>
                    <a:lnTo>
                      <a:pt x="154" y="108"/>
                    </a:lnTo>
                    <a:lnTo>
                      <a:pt x="154" y="110"/>
                    </a:lnTo>
                    <a:lnTo>
                      <a:pt x="154" y="111"/>
                    </a:lnTo>
                    <a:lnTo>
                      <a:pt x="154" y="113"/>
                    </a:lnTo>
                    <a:lnTo>
                      <a:pt x="153" y="115"/>
                    </a:lnTo>
                    <a:lnTo>
                      <a:pt x="153" y="117"/>
                    </a:lnTo>
                    <a:lnTo>
                      <a:pt x="152" y="118"/>
                    </a:lnTo>
                    <a:lnTo>
                      <a:pt x="152" y="123"/>
                    </a:lnTo>
                    <a:lnTo>
                      <a:pt x="152" y="125"/>
                    </a:lnTo>
                    <a:lnTo>
                      <a:pt x="152" y="131"/>
                    </a:lnTo>
                    <a:lnTo>
                      <a:pt x="148" y="133"/>
                    </a:lnTo>
                    <a:lnTo>
                      <a:pt x="146" y="138"/>
                    </a:lnTo>
                    <a:lnTo>
                      <a:pt x="145" y="142"/>
                    </a:lnTo>
                    <a:lnTo>
                      <a:pt x="136" y="148"/>
                    </a:lnTo>
                    <a:lnTo>
                      <a:pt x="134" y="152"/>
                    </a:lnTo>
                    <a:lnTo>
                      <a:pt x="132" y="156"/>
                    </a:lnTo>
                    <a:lnTo>
                      <a:pt x="128" y="155"/>
                    </a:lnTo>
                    <a:lnTo>
                      <a:pt x="126" y="156"/>
                    </a:lnTo>
                    <a:lnTo>
                      <a:pt x="122" y="160"/>
                    </a:lnTo>
                    <a:lnTo>
                      <a:pt x="120" y="158"/>
                    </a:lnTo>
                    <a:lnTo>
                      <a:pt x="118" y="158"/>
                    </a:lnTo>
                    <a:lnTo>
                      <a:pt x="113" y="160"/>
                    </a:lnTo>
                    <a:lnTo>
                      <a:pt x="106" y="156"/>
                    </a:lnTo>
                    <a:lnTo>
                      <a:pt x="95" y="152"/>
                    </a:lnTo>
                    <a:lnTo>
                      <a:pt x="82" y="154"/>
                    </a:lnTo>
                    <a:lnTo>
                      <a:pt x="79" y="154"/>
                    </a:lnTo>
                    <a:lnTo>
                      <a:pt x="80" y="151"/>
                    </a:lnTo>
                    <a:lnTo>
                      <a:pt x="86" y="145"/>
                    </a:lnTo>
                    <a:lnTo>
                      <a:pt x="89" y="138"/>
                    </a:lnTo>
                    <a:lnTo>
                      <a:pt x="87" y="134"/>
                    </a:lnTo>
                    <a:lnTo>
                      <a:pt x="89" y="131"/>
                    </a:lnTo>
                    <a:lnTo>
                      <a:pt x="92" y="129"/>
                    </a:lnTo>
                    <a:lnTo>
                      <a:pt x="95" y="125"/>
                    </a:lnTo>
                    <a:lnTo>
                      <a:pt x="96" y="121"/>
                    </a:lnTo>
                    <a:lnTo>
                      <a:pt x="94" y="117"/>
                    </a:lnTo>
                    <a:lnTo>
                      <a:pt x="89" y="112"/>
                    </a:lnTo>
                    <a:lnTo>
                      <a:pt x="84" y="107"/>
                    </a:lnTo>
                    <a:lnTo>
                      <a:pt x="73" y="107"/>
                    </a:lnTo>
                    <a:lnTo>
                      <a:pt x="65" y="103"/>
                    </a:lnTo>
                    <a:lnTo>
                      <a:pt x="57" y="96"/>
                    </a:lnTo>
                    <a:lnTo>
                      <a:pt x="53" y="95"/>
                    </a:lnTo>
                    <a:lnTo>
                      <a:pt x="46" y="91"/>
                    </a:lnTo>
                    <a:lnTo>
                      <a:pt x="35" y="88"/>
                    </a:lnTo>
                    <a:lnTo>
                      <a:pt x="32" y="85"/>
                    </a:lnTo>
                    <a:lnTo>
                      <a:pt x="27" y="81"/>
                    </a:lnTo>
                    <a:lnTo>
                      <a:pt x="24" y="80"/>
                    </a:lnTo>
                    <a:lnTo>
                      <a:pt x="12" y="69"/>
                    </a:lnTo>
                    <a:lnTo>
                      <a:pt x="7" y="61"/>
                    </a:lnTo>
                    <a:lnTo>
                      <a:pt x="3" y="60"/>
                    </a:lnTo>
                    <a:lnTo>
                      <a:pt x="0" y="56"/>
                    </a:lnTo>
                    <a:lnTo>
                      <a:pt x="0" y="55"/>
                    </a:lnTo>
                    <a:lnTo>
                      <a:pt x="0" y="55"/>
                    </a:lnTo>
                    <a:close/>
                  </a:path>
                </a:pathLst>
              </a:custGeom>
              <a:solidFill>
                <a:schemeClr val="accent4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649" name="Freeform 453"/>
              <p:cNvSpPr>
                <a:spLocks/>
              </p:cNvSpPr>
              <p:nvPr userDrawn="1"/>
            </p:nvSpPr>
            <p:spPr bwMode="auto">
              <a:xfrm>
                <a:off x="4131" y="2147"/>
                <a:ext cx="14" cy="3"/>
              </a:xfrm>
              <a:custGeom>
                <a:avLst/>
                <a:gdLst>
                  <a:gd name="T0" fmla="*/ 14 w 14"/>
                  <a:gd name="T1" fmla="*/ 0 h 3"/>
                  <a:gd name="T2" fmla="*/ 7 w 14"/>
                  <a:gd name="T3" fmla="*/ 0 h 3"/>
                  <a:gd name="T4" fmla="*/ 0 w 14"/>
                  <a:gd name="T5" fmla="*/ 3 h 3"/>
                  <a:gd name="T6" fmla="*/ 14 w 14"/>
                  <a:gd name="T7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" h="3">
                    <a:moveTo>
                      <a:pt x="14" y="0"/>
                    </a:moveTo>
                    <a:lnTo>
                      <a:pt x="7" y="0"/>
                    </a:lnTo>
                    <a:lnTo>
                      <a:pt x="0" y="3"/>
                    </a:lnTo>
                    <a:lnTo>
                      <a:pt x="14" y="0"/>
                    </a:lnTo>
                    <a:close/>
                  </a:path>
                </a:pathLst>
              </a:custGeom>
              <a:solidFill>
                <a:srgbClr val="65625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650" name="Freeform 454"/>
              <p:cNvSpPr>
                <a:spLocks/>
              </p:cNvSpPr>
              <p:nvPr userDrawn="1"/>
            </p:nvSpPr>
            <p:spPr bwMode="auto">
              <a:xfrm>
                <a:off x="4131" y="2147"/>
                <a:ext cx="14" cy="3"/>
              </a:xfrm>
              <a:custGeom>
                <a:avLst/>
                <a:gdLst>
                  <a:gd name="T0" fmla="*/ 14 w 14"/>
                  <a:gd name="T1" fmla="*/ 0 h 3"/>
                  <a:gd name="T2" fmla="*/ 7 w 14"/>
                  <a:gd name="T3" fmla="*/ 0 h 3"/>
                  <a:gd name="T4" fmla="*/ 0 w 14"/>
                  <a:gd name="T5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4" h="3">
                    <a:moveTo>
                      <a:pt x="14" y="0"/>
                    </a:moveTo>
                    <a:lnTo>
                      <a:pt x="7" y="0"/>
                    </a:lnTo>
                    <a:lnTo>
                      <a:pt x="0" y="3"/>
                    </a:lnTo>
                  </a:path>
                </a:pathLst>
              </a:custGeom>
              <a:noFill/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651" name="Freeform 455"/>
              <p:cNvSpPr>
                <a:spLocks/>
              </p:cNvSpPr>
              <p:nvPr userDrawn="1"/>
            </p:nvSpPr>
            <p:spPr bwMode="auto">
              <a:xfrm>
                <a:off x="4308" y="2123"/>
                <a:ext cx="10" cy="10"/>
              </a:xfrm>
              <a:custGeom>
                <a:avLst/>
                <a:gdLst>
                  <a:gd name="T0" fmla="*/ 0 w 10"/>
                  <a:gd name="T1" fmla="*/ 0 h 10"/>
                  <a:gd name="T2" fmla="*/ 4 w 10"/>
                  <a:gd name="T3" fmla="*/ 3 h 10"/>
                  <a:gd name="T4" fmla="*/ 10 w 10"/>
                  <a:gd name="T5" fmla="*/ 10 h 10"/>
                  <a:gd name="T6" fmla="*/ 0 w 10"/>
                  <a:gd name="T7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" h="10">
                    <a:moveTo>
                      <a:pt x="0" y="0"/>
                    </a:moveTo>
                    <a:lnTo>
                      <a:pt x="4" y="3"/>
                    </a:lnTo>
                    <a:lnTo>
                      <a:pt x="10" y="1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65625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652" name="Freeform 456"/>
              <p:cNvSpPr>
                <a:spLocks/>
              </p:cNvSpPr>
              <p:nvPr userDrawn="1"/>
            </p:nvSpPr>
            <p:spPr bwMode="auto">
              <a:xfrm>
                <a:off x="4308" y="2123"/>
                <a:ext cx="10" cy="10"/>
              </a:xfrm>
              <a:custGeom>
                <a:avLst/>
                <a:gdLst>
                  <a:gd name="T0" fmla="*/ 0 w 10"/>
                  <a:gd name="T1" fmla="*/ 0 h 10"/>
                  <a:gd name="T2" fmla="*/ 4 w 10"/>
                  <a:gd name="T3" fmla="*/ 3 h 10"/>
                  <a:gd name="T4" fmla="*/ 10 w 10"/>
                  <a:gd name="T5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10">
                    <a:moveTo>
                      <a:pt x="0" y="0"/>
                    </a:moveTo>
                    <a:lnTo>
                      <a:pt x="4" y="3"/>
                    </a:lnTo>
                    <a:lnTo>
                      <a:pt x="10" y="10"/>
                    </a:lnTo>
                  </a:path>
                </a:pathLst>
              </a:custGeom>
              <a:noFill/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653" name="Freeform 457"/>
              <p:cNvSpPr>
                <a:spLocks/>
              </p:cNvSpPr>
              <p:nvPr userDrawn="1"/>
            </p:nvSpPr>
            <p:spPr bwMode="auto">
              <a:xfrm>
                <a:off x="4157" y="2226"/>
                <a:ext cx="178" cy="165"/>
              </a:xfrm>
              <a:custGeom>
                <a:avLst/>
                <a:gdLst>
                  <a:gd name="T0" fmla="*/ 177 w 178"/>
                  <a:gd name="T1" fmla="*/ 141 h 165"/>
                  <a:gd name="T2" fmla="*/ 170 w 178"/>
                  <a:gd name="T3" fmla="*/ 137 h 165"/>
                  <a:gd name="T4" fmla="*/ 163 w 178"/>
                  <a:gd name="T5" fmla="*/ 126 h 165"/>
                  <a:gd name="T6" fmla="*/ 162 w 178"/>
                  <a:gd name="T7" fmla="*/ 116 h 165"/>
                  <a:gd name="T8" fmla="*/ 162 w 178"/>
                  <a:gd name="T9" fmla="*/ 105 h 165"/>
                  <a:gd name="T10" fmla="*/ 155 w 178"/>
                  <a:gd name="T11" fmla="*/ 97 h 165"/>
                  <a:gd name="T12" fmla="*/ 151 w 178"/>
                  <a:gd name="T13" fmla="*/ 96 h 165"/>
                  <a:gd name="T14" fmla="*/ 134 w 178"/>
                  <a:gd name="T15" fmla="*/ 88 h 165"/>
                  <a:gd name="T16" fmla="*/ 129 w 178"/>
                  <a:gd name="T17" fmla="*/ 86 h 165"/>
                  <a:gd name="T18" fmla="*/ 128 w 178"/>
                  <a:gd name="T19" fmla="*/ 82 h 165"/>
                  <a:gd name="T20" fmla="*/ 126 w 178"/>
                  <a:gd name="T21" fmla="*/ 76 h 165"/>
                  <a:gd name="T22" fmla="*/ 121 w 178"/>
                  <a:gd name="T23" fmla="*/ 73 h 165"/>
                  <a:gd name="T24" fmla="*/ 116 w 178"/>
                  <a:gd name="T25" fmla="*/ 70 h 165"/>
                  <a:gd name="T26" fmla="*/ 117 w 178"/>
                  <a:gd name="T27" fmla="*/ 65 h 165"/>
                  <a:gd name="T28" fmla="*/ 117 w 178"/>
                  <a:gd name="T29" fmla="*/ 61 h 165"/>
                  <a:gd name="T30" fmla="*/ 120 w 178"/>
                  <a:gd name="T31" fmla="*/ 53 h 165"/>
                  <a:gd name="T32" fmla="*/ 123 w 178"/>
                  <a:gd name="T33" fmla="*/ 48 h 165"/>
                  <a:gd name="T34" fmla="*/ 125 w 178"/>
                  <a:gd name="T35" fmla="*/ 40 h 165"/>
                  <a:gd name="T36" fmla="*/ 123 w 178"/>
                  <a:gd name="T37" fmla="*/ 35 h 165"/>
                  <a:gd name="T38" fmla="*/ 129 w 178"/>
                  <a:gd name="T39" fmla="*/ 34 h 165"/>
                  <a:gd name="T40" fmla="*/ 129 w 178"/>
                  <a:gd name="T41" fmla="*/ 32 h 165"/>
                  <a:gd name="T42" fmla="*/ 122 w 178"/>
                  <a:gd name="T43" fmla="*/ 31 h 165"/>
                  <a:gd name="T44" fmla="*/ 113 w 178"/>
                  <a:gd name="T45" fmla="*/ 27 h 165"/>
                  <a:gd name="T46" fmla="*/ 107 w 178"/>
                  <a:gd name="T47" fmla="*/ 24 h 165"/>
                  <a:gd name="T48" fmla="*/ 104 w 178"/>
                  <a:gd name="T49" fmla="*/ 17 h 165"/>
                  <a:gd name="T50" fmla="*/ 99 w 178"/>
                  <a:gd name="T51" fmla="*/ 14 h 165"/>
                  <a:gd name="T52" fmla="*/ 97 w 178"/>
                  <a:gd name="T53" fmla="*/ 6 h 165"/>
                  <a:gd name="T54" fmla="*/ 89 w 178"/>
                  <a:gd name="T55" fmla="*/ 7 h 165"/>
                  <a:gd name="T56" fmla="*/ 86 w 178"/>
                  <a:gd name="T57" fmla="*/ 2 h 165"/>
                  <a:gd name="T58" fmla="*/ 79 w 178"/>
                  <a:gd name="T59" fmla="*/ 1 h 165"/>
                  <a:gd name="T60" fmla="*/ 65 w 178"/>
                  <a:gd name="T61" fmla="*/ 0 h 165"/>
                  <a:gd name="T62" fmla="*/ 59 w 178"/>
                  <a:gd name="T63" fmla="*/ 1 h 165"/>
                  <a:gd name="T64" fmla="*/ 55 w 178"/>
                  <a:gd name="T65" fmla="*/ 6 h 165"/>
                  <a:gd name="T66" fmla="*/ 50 w 178"/>
                  <a:gd name="T67" fmla="*/ 10 h 165"/>
                  <a:gd name="T68" fmla="*/ 40 w 178"/>
                  <a:gd name="T69" fmla="*/ 15 h 165"/>
                  <a:gd name="T70" fmla="*/ 36 w 178"/>
                  <a:gd name="T71" fmla="*/ 26 h 165"/>
                  <a:gd name="T72" fmla="*/ 40 w 178"/>
                  <a:gd name="T73" fmla="*/ 38 h 165"/>
                  <a:gd name="T74" fmla="*/ 37 w 178"/>
                  <a:gd name="T75" fmla="*/ 47 h 165"/>
                  <a:gd name="T76" fmla="*/ 34 w 178"/>
                  <a:gd name="T77" fmla="*/ 57 h 165"/>
                  <a:gd name="T78" fmla="*/ 0 w 178"/>
                  <a:gd name="T79" fmla="*/ 81 h 165"/>
                  <a:gd name="T80" fmla="*/ 0 w 178"/>
                  <a:gd name="T81" fmla="*/ 81 h 165"/>
                  <a:gd name="T82" fmla="*/ 25 w 178"/>
                  <a:gd name="T83" fmla="*/ 107 h 165"/>
                  <a:gd name="T84" fmla="*/ 146 w 178"/>
                  <a:gd name="T85" fmla="*/ 165 h 165"/>
                  <a:gd name="T86" fmla="*/ 154 w 178"/>
                  <a:gd name="T87" fmla="*/ 148 h 165"/>
                  <a:gd name="T88" fmla="*/ 169 w 178"/>
                  <a:gd name="T89" fmla="*/ 147 h 165"/>
                  <a:gd name="T90" fmla="*/ 174 w 178"/>
                  <a:gd name="T91" fmla="*/ 146 h 165"/>
                  <a:gd name="T92" fmla="*/ 178 w 178"/>
                  <a:gd name="T93" fmla="*/ 142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78" h="165">
                    <a:moveTo>
                      <a:pt x="178" y="142"/>
                    </a:moveTo>
                    <a:lnTo>
                      <a:pt x="177" y="141"/>
                    </a:lnTo>
                    <a:lnTo>
                      <a:pt x="173" y="140"/>
                    </a:lnTo>
                    <a:lnTo>
                      <a:pt x="170" y="137"/>
                    </a:lnTo>
                    <a:lnTo>
                      <a:pt x="169" y="126"/>
                    </a:lnTo>
                    <a:lnTo>
                      <a:pt x="163" y="126"/>
                    </a:lnTo>
                    <a:lnTo>
                      <a:pt x="161" y="122"/>
                    </a:lnTo>
                    <a:lnTo>
                      <a:pt x="162" y="116"/>
                    </a:lnTo>
                    <a:lnTo>
                      <a:pt x="166" y="113"/>
                    </a:lnTo>
                    <a:lnTo>
                      <a:pt x="162" y="105"/>
                    </a:lnTo>
                    <a:lnTo>
                      <a:pt x="158" y="103"/>
                    </a:lnTo>
                    <a:lnTo>
                      <a:pt x="155" y="97"/>
                    </a:lnTo>
                    <a:lnTo>
                      <a:pt x="152" y="96"/>
                    </a:lnTo>
                    <a:lnTo>
                      <a:pt x="151" y="96"/>
                    </a:lnTo>
                    <a:lnTo>
                      <a:pt x="137" y="87"/>
                    </a:lnTo>
                    <a:lnTo>
                      <a:pt x="134" y="88"/>
                    </a:lnTo>
                    <a:lnTo>
                      <a:pt x="132" y="89"/>
                    </a:lnTo>
                    <a:lnTo>
                      <a:pt x="129" y="86"/>
                    </a:lnTo>
                    <a:lnTo>
                      <a:pt x="129" y="84"/>
                    </a:lnTo>
                    <a:lnTo>
                      <a:pt x="128" y="82"/>
                    </a:lnTo>
                    <a:lnTo>
                      <a:pt x="129" y="80"/>
                    </a:lnTo>
                    <a:lnTo>
                      <a:pt x="126" y="76"/>
                    </a:lnTo>
                    <a:lnTo>
                      <a:pt x="125" y="73"/>
                    </a:lnTo>
                    <a:lnTo>
                      <a:pt x="121" y="73"/>
                    </a:lnTo>
                    <a:lnTo>
                      <a:pt x="119" y="70"/>
                    </a:lnTo>
                    <a:lnTo>
                      <a:pt x="116" y="70"/>
                    </a:lnTo>
                    <a:lnTo>
                      <a:pt x="116" y="67"/>
                    </a:lnTo>
                    <a:lnTo>
                      <a:pt x="117" y="65"/>
                    </a:lnTo>
                    <a:lnTo>
                      <a:pt x="116" y="63"/>
                    </a:lnTo>
                    <a:lnTo>
                      <a:pt x="117" y="61"/>
                    </a:lnTo>
                    <a:lnTo>
                      <a:pt x="117" y="55"/>
                    </a:lnTo>
                    <a:lnTo>
                      <a:pt x="120" y="53"/>
                    </a:lnTo>
                    <a:lnTo>
                      <a:pt x="120" y="48"/>
                    </a:lnTo>
                    <a:lnTo>
                      <a:pt x="123" y="48"/>
                    </a:lnTo>
                    <a:lnTo>
                      <a:pt x="125" y="47"/>
                    </a:lnTo>
                    <a:lnTo>
                      <a:pt x="125" y="40"/>
                    </a:lnTo>
                    <a:lnTo>
                      <a:pt x="124" y="39"/>
                    </a:lnTo>
                    <a:lnTo>
                      <a:pt x="123" y="35"/>
                    </a:lnTo>
                    <a:lnTo>
                      <a:pt x="125" y="35"/>
                    </a:lnTo>
                    <a:lnTo>
                      <a:pt x="129" y="34"/>
                    </a:lnTo>
                    <a:lnTo>
                      <a:pt x="129" y="33"/>
                    </a:lnTo>
                    <a:lnTo>
                      <a:pt x="129" y="32"/>
                    </a:lnTo>
                    <a:lnTo>
                      <a:pt x="126" y="31"/>
                    </a:lnTo>
                    <a:lnTo>
                      <a:pt x="122" y="31"/>
                    </a:lnTo>
                    <a:lnTo>
                      <a:pt x="119" y="30"/>
                    </a:lnTo>
                    <a:lnTo>
                      <a:pt x="113" y="27"/>
                    </a:lnTo>
                    <a:lnTo>
                      <a:pt x="110" y="26"/>
                    </a:lnTo>
                    <a:lnTo>
                      <a:pt x="107" y="24"/>
                    </a:lnTo>
                    <a:lnTo>
                      <a:pt x="105" y="20"/>
                    </a:lnTo>
                    <a:lnTo>
                      <a:pt x="104" y="17"/>
                    </a:lnTo>
                    <a:lnTo>
                      <a:pt x="101" y="16"/>
                    </a:lnTo>
                    <a:lnTo>
                      <a:pt x="99" y="14"/>
                    </a:lnTo>
                    <a:lnTo>
                      <a:pt x="99" y="10"/>
                    </a:lnTo>
                    <a:lnTo>
                      <a:pt x="97" y="6"/>
                    </a:lnTo>
                    <a:lnTo>
                      <a:pt x="94" y="5"/>
                    </a:lnTo>
                    <a:lnTo>
                      <a:pt x="89" y="7"/>
                    </a:lnTo>
                    <a:lnTo>
                      <a:pt x="86" y="5"/>
                    </a:lnTo>
                    <a:lnTo>
                      <a:pt x="86" y="2"/>
                    </a:lnTo>
                    <a:lnTo>
                      <a:pt x="84" y="0"/>
                    </a:lnTo>
                    <a:lnTo>
                      <a:pt x="79" y="1"/>
                    </a:lnTo>
                    <a:lnTo>
                      <a:pt x="73" y="0"/>
                    </a:lnTo>
                    <a:lnTo>
                      <a:pt x="65" y="0"/>
                    </a:lnTo>
                    <a:lnTo>
                      <a:pt x="64" y="1"/>
                    </a:lnTo>
                    <a:lnTo>
                      <a:pt x="59" y="1"/>
                    </a:lnTo>
                    <a:lnTo>
                      <a:pt x="54" y="6"/>
                    </a:lnTo>
                    <a:lnTo>
                      <a:pt x="55" y="6"/>
                    </a:lnTo>
                    <a:lnTo>
                      <a:pt x="52" y="10"/>
                    </a:lnTo>
                    <a:lnTo>
                      <a:pt x="50" y="10"/>
                    </a:lnTo>
                    <a:lnTo>
                      <a:pt x="46" y="13"/>
                    </a:lnTo>
                    <a:lnTo>
                      <a:pt x="40" y="15"/>
                    </a:lnTo>
                    <a:lnTo>
                      <a:pt x="36" y="20"/>
                    </a:lnTo>
                    <a:lnTo>
                      <a:pt x="36" y="26"/>
                    </a:lnTo>
                    <a:lnTo>
                      <a:pt x="40" y="33"/>
                    </a:lnTo>
                    <a:lnTo>
                      <a:pt x="40" y="38"/>
                    </a:lnTo>
                    <a:lnTo>
                      <a:pt x="36" y="44"/>
                    </a:lnTo>
                    <a:lnTo>
                      <a:pt x="37" y="47"/>
                    </a:lnTo>
                    <a:lnTo>
                      <a:pt x="37" y="53"/>
                    </a:lnTo>
                    <a:lnTo>
                      <a:pt x="34" y="57"/>
                    </a:lnTo>
                    <a:lnTo>
                      <a:pt x="32" y="59"/>
                    </a:lnTo>
                    <a:lnTo>
                      <a:pt x="0" y="81"/>
                    </a:lnTo>
                    <a:lnTo>
                      <a:pt x="0" y="81"/>
                    </a:lnTo>
                    <a:lnTo>
                      <a:pt x="0" y="81"/>
                    </a:lnTo>
                    <a:lnTo>
                      <a:pt x="9" y="104"/>
                    </a:lnTo>
                    <a:lnTo>
                      <a:pt x="25" y="107"/>
                    </a:lnTo>
                    <a:lnTo>
                      <a:pt x="111" y="165"/>
                    </a:lnTo>
                    <a:lnTo>
                      <a:pt x="146" y="165"/>
                    </a:lnTo>
                    <a:lnTo>
                      <a:pt x="150" y="157"/>
                    </a:lnTo>
                    <a:lnTo>
                      <a:pt x="154" y="148"/>
                    </a:lnTo>
                    <a:lnTo>
                      <a:pt x="162" y="145"/>
                    </a:lnTo>
                    <a:lnTo>
                      <a:pt x="169" y="147"/>
                    </a:lnTo>
                    <a:lnTo>
                      <a:pt x="172" y="146"/>
                    </a:lnTo>
                    <a:lnTo>
                      <a:pt x="174" y="146"/>
                    </a:lnTo>
                    <a:lnTo>
                      <a:pt x="176" y="143"/>
                    </a:lnTo>
                    <a:lnTo>
                      <a:pt x="178" y="142"/>
                    </a:lnTo>
                    <a:lnTo>
                      <a:pt x="178" y="142"/>
                    </a:lnTo>
                    <a:close/>
                  </a:path>
                </a:pathLst>
              </a:custGeom>
              <a:solidFill>
                <a:schemeClr val="accent4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654" name="Freeform 458"/>
              <p:cNvSpPr>
                <a:spLocks/>
              </p:cNvSpPr>
              <p:nvPr userDrawn="1"/>
            </p:nvSpPr>
            <p:spPr bwMode="auto">
              <a:xfrm>
                <a:off x="4090" y="2330"/>
                <a:ext cx="382" cy="312"/>
              </a:xfrm>
              <a:custGeom>
                <a:avLst/>
                <a:gdLst>
                  <a:gd name="T0" fmla="*/ 232 w 382"/>
                  <a:gd name="T1" fmla="*/ 66 h 312"/>
                  <a:gd name="T2" fmla="*/ 92 w 382"/>
                  <a:gd name="T3" fmla="*/ 3 h 312"/>
                  <a:gd name="T4" fmla="*/ 41 w 382"/>
                  <a:gd name="T5" fmla="*/ 16 h 312"/>
                  <a:gd name="T6" fmla="*/ 54 w 382"/>
                  <a:gd name="T7" fmla="*/ 51 h 312"/>
                  <a:gd name="T8" fmla="*/ 8 w 382"/>
                  <a:gd name="T9" fmla="*/ 61 h 312"/>
                  <a:gd name="T10" fmla="*/ 2 w 382"/>
                  <a:gd name="T11" fmla="*/ 75 h 312"/>
                  <a:gd name="T12" fmla="*/ 2 w 382"/>
                  <a:gd name="T13" fmla="*/ 81 h 312"/>
                  <a:gd name="T14" fmla="*/ 10 w 382"/>
                  <a:gd name="T15" fmla="*/ 84 h 312"/>
                  <a:gd name="T16" fmla="*/ 18 w 382"/>
                  <a:gd name="T17" fmla="*/ 96 h 312"/>
                  <a:gd name="T18" fmla="*/ 24 w 382"/>
                  <a:gd name="T19" fmla="*/ 105 h 312"/>
                  <a:gd name="T20" fmla="*/ 32 w 382"/>
                  <a:gd name="T21" fmla="*/ 116 h 312"/>
                  <a:gd name="T22" fmla="*/ 37 w 382"/>
                  <a:gd name="T23" fmla="*/ 124 h 312"/>
                  <a:gd name="T24" fmla="*/ 46 w 382"/>
                  <a:gd name="T25" fmla="*/ 136 h 312"/>
                  <a:gd name="T26" fmla="*/ 49 w 382"/>
                  <a:gd name="T27" fmla="*/ 146 h 312"/>
                  <a:gd name="T28" fmla="*/ 53 w 382"/>
                  <a:gd name="T29" fmla="*/ 154 h 312"/>
                  <a:gd name="T30" fmla="*/ 63 w 382"/>
                  <a:gd name="T31" fmla="*/ 156 h 312"/>
                  <a:gd name="T32" fmla="*/ 74 w 382"/>
                  <a:gd name="T33" fmla="*/ 167 h 312"/>
                  <a:gd name="T34" fmla="*/ 78 w 382"/>
                  <a:gd name="T35" fmla="*/ 173 h 312"/>
                  <a:gd name="T36" fmla="*/ 84 w 382"/>
                  <a:gd name="T37" fmla="*/ 189 h 312"/>
                  <a:gd name="T38" fmla="*/ 83 w 382"/>
                  <a:gd name="T39" fmla="*/ 197 h 312"/>
                  <a:gd name="T40" fmla="*/ 87 w 382"/>
                  <a:gd name="T41" fmla="*/ 214 h 312"/>
                  <a:gd name="T42" fmla="*/ 100 w 382"/>
                  <a:gd name="T43" fmla="*/ 228 h 312"/>
                  <a:gd name="T44" fmla="*/ 109 w 382"/>
                  <a:gd name="T45" fmla="*/ 234 h 312"/>
                  <a:gd name="T46" fmla="*/ 116 w 382"/>
                  <a:gd name="T47" fmla="*/ 240 h 312"/>
                  <a:gd name="T48" fmla="*/ 123 w 382"/>
                  <a:gd name="T49" fmla="*/ 245 h 312"/>
                  <a:gd name="T50" fmla="*/ 131 w 382"/>
                  <a:gd name="T51" fmla="*/ 267 h 312"/>
                  <a:gd name="T52" fmla="*/ 149 w 382"/>
                  <a:gd name="T53" fmla="*/ 288 h 312"/>
                  <a:gd name="T54" fmla="*/ 161 w 382"/>
                  <a:gd name="T55" fmla="*/ 299 h 312"/>
                  <a:gd name="T56" fmla="*/ 171 w 382"/>
                  <a:gd name="T57" fmla="*/ 294 h 312"/>
                  <a:gd name="T58" fmla="*/ 175 w 382"/>
                  <a:gd name="T59" fmla="*/ 277 h 312"/>
                  <a:gd name="T60" fmla="*/ 207 w 382"/>
                  <a:gd name="T61" fmla="*/ 288 h 312"/>
                  <a:gd name="T62" fmla="*/ 258 w 382"/>
                  <a:gd name="T63" fmla="*/ 268 h 312"/>
                  <a:gd name="T64" fmla="*/ 378 w 382"/>
                  <a:gd name="T65" fmla="*/ 180 h 312"/>
                  <a:gd name="T66" fmla="*/ 318 w 382"/>
                  <a:gd name="T67" fmla="*/ 177 h 312"/>
                  <a:gd name="T68" fmla="*/ 310 w 382"/>
                  <a:gd name="T69" fmla="*/ 152 h 312"/>
                  <a:gd name="T70" fmla="*/ 307 w 382"/>
                  <a:gd name="T71" fmla="*/ 150 h 312"/>
                  <a:gd name="T72" fmla="*/ 305 w 382"/>
                  <a:gd name="T73" fmla="*/ 147 h 312"/>
                  <a:gd name="T74" fmla="*/ 296 w 382"/>
                  <a:gd name="T75" fmla="*/ 143 h 312"/>
                  <a:gd name="T76" fmla="*/ 291 w 382"/>
                  <a:gd name="T77" fmla="*/ 137 h 312"/>
                  <a:gd name="T78" fmla="*/ 279 w 382"/>
                  <a:gd name="T79" fmla="*/ 117 h 312"/>
                  <a:gd name="T80" fmla="*/ 278 w 382"/>
                  <a:gd name="T81" fmla="*/ 107 h 312"/>
                  <a:gd name="T82" fmla="*/ 274 w 382"/>
                  <a:gd name="T83" fmla="*/ 102 h 312"/>
                  <a:gd name="T84" fmla="*/ 262 w 382"/>
                  <a:gd name="T85" fmla="*/ 90 h 312"/>
                  <a:gd name="T86" fmla="*/ 265 w 382"/>
                  <a:gd name="T87" fmla="*/ 90 h 312"/>
                  <a:gd name="T88" fmla="*/ 255 w 382"/>
                  <a:gd name="T89" fmla="*/ 85 h 312"/>
                  <a:gd name="T90" fmla="*/ 247 w 382"/>
                  <a:gd name="T91" fmla="*/ 71 h 312"/>
                  <a:gd name="T92" fmla="*/ 244 w 382"/>
                  <a:gd name="T93" fmla="*/ 67 h 3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382" h="312">
                    <a:moveTo>
                      <a:pt x="244" y="67"/>
                    </a:moveTo>
                    <a:lnTo>
                      <a:pt x="233" y="72"/>
                    </a:lnTo>
                    <a:lnTo>
                      <a:pt x="232" y="66"/>
                    </a:lnTo>
                    <a:lnTo>
                      <a:pt x="216" y="61"/>
                    </a:lnTo>
                    <a:lnTo>
                      <a:pt x="178" y="61"/>
                    </a:lnTo>
                    <a:lnTo>
                      <a:pt x="92" y="3"/>
                    </a:lnTo>
                    <a:lnTo>
                      <a:pt x="75" y="0"/>
                    </a:lnTo>
                    <a:lnTo>
                      <a:pt x="68" y="7"/>
                    </a:lnTo>
                    <a:lnTo>
                      <a:pt x="41" y="16"/>
                    </a:lnTo>
                    <a:lnTo>
                      <a:pt x="62" y="38"/>
                    </a:lnTo>
                    <a:lnTo>
                      <a:pt x="54" y="46"/>
                    </a:lnTo>
                    <a:lnTo>
                      <a:pt x="54" y="51"/>
                    </a:lnTo>
                    <a:lnTo>
                      <a:pt x="40" y="53"/>
                    </a:lnTo>
                    <a:lnTo>
                      <a:pt x="26" y="66"/>
                    </a:lnTo>
                    <a:lnTo>
                      <a:pt x="8" y="61"/>
                    </a:lnTo>
                    <a:lnTo>
                      <a:pt x="2" y="61"/>
                    </a:lnTo>
                    <a:lnTo>
                      <a:pt x="2" y="67"/>
                    </a:lnTo>
                    <a:lnTo>
                      <a:pt x="2" y="75"/>
                    </a:lnTo>
                    <a:lnTo>
                      <a:pt x="0" y="80"/>
                    </a:lnTo>
                    <a:lnTo>
                      <a:pt x="1" y="82"/>
                    </a:lnTo>
                    <a:lnTo>
                      <a:pt x="2" y="81"/>
                    </a:lnTo>
                    <a:lnTo>
                      <a:pt x="3" y="83"/>
                    </a:lnTo>
                    <a:lnTo>
                      <a:pt x="6" y="81"/>
                    </a:lnTo>
                    <a:lnTo>
                      <a:pt x="10" y="84"/>
                    </a:lnTo>
                    <a:lnTo>
                      <a:pt x="9" y="84"/>
                    </a:lnTo>
                    <a:lnTo>
                      <a:pt x="17" y="92"/>
                    </a:lnTo>
                    <a:lnTo>
                      <a:pt x="18" y="96"/>
                    </a:lnTo>
                    <a:lnTo>
                      <a:pt x="20" y="97"/>
                    </a:lnTo>
                    <a:lnTo>
                      <a:pt x="21" y="101"/>
                    </a:lnTo>
                    <a:lnTo>
                      <a:pt x="24" y="105"/>
                    </a:lnTo>
                    <a:lnTo>
                      <a:pt x="26" y="105"/>
                    </a:lnTo>
                    <a:lnTo>
                      <a:pt x="32" y="113"/>
                    </a:lnTo>
                    <a:lnTo>
                      <a:pt x="32" y="116"/>
                    </a:lnTo>
                    <a:lnTo>
                      <a:pt x="33" y="119"/>
                    </a:lnTo>
                    <a:lnTo>
                      <a:pt x="36" y="120"/>
                    </a:lnTo>
                    <a:lnTo>
                      <a:pt x="37" y="124"/>
                    </a:lnTo>
                    <a:lnTo>
                      <a:pt x="39" y="127"/>
                    </a:lnTo>
                    <a:lnTo>
                      <a:pt x="44" y="128"/>
                    </a:lnTo>
                    <a:lnTo>
                      <a:pt x="46" y="136"/>
                    </a:lnTo>
                    <a:lnTo>
                      <a:pt x="49" y="138"/>
                    </a:lnTo>
                    <a:lnTo>
                      <a:pt x="50" y="144"/>
                    </a:lnTo>
                    <a:lnTo>
                      <a:pt x="49" y="146"/>
                    </a:lnTo>
                    <a:lnTo>
                      <a:pt x="49" y="149"/>
                    </a:lnTo>
                    <a:lnTo>
                      <a:pt x="53" y="151"/>
                    </a:lnTo>
                    <a:lnTo>
                      <a:pt x="53" y="154"/>
                    </a:lnTo>
                    <a:lnTo>
                      <a:pt x="56" y="155"/>
                    </a:lnTo>
                    <a:lnTo>
                      <a:pt x="59" y="152"/>
                    </a:lnTo>
                    <a:lnTo>
                      <a:pt x="63" y="156"/>
                    </a:lnTo>
                    <a:lnTo>
                      <a:pt x="68" y="158"/>
                    </a:lnTo>
                    <a:lnTo>
                      <a:pt x="72" y="163"/>
                    </a:lnTo>
                    <a:lnTo>
                      <a:pt x="74" y="167"/>
                    </a:lnTo>
                    <a:lnTo>
                      <a:pt x="75" y="167"/>
                    </a:lnTo>
                    <a:lnTo>
                      <a:pt x="76" y="171"/>
                    </a:lnTo>
                    <a:lnTo>
                      <a:pt x="78" y="173"/>
                    </a:lnTo>
                    <a:lnTo>
                      <a:pt x="79" y="179"/>
                    </a:lnTo>
                    <a:lnTo>
                      <a:pt x="83" y="182"/>
                    </a:lnTo>
                    <a:lnTo>
                      <a:pt x="84" y="189"/>
                    </a:lnTo>
                    <a:lnTo>
                      <a:pt x="86" y="191"/>
                    </a:lnTo>
                    <a:lnTo>
                      <a:pt x="84" y="196"/>
                    </a:lnTo>
                    <a:lnTo>
                      <a:pt x="83" y="197"/>
                    </a:lnTo>
                    <a:lnTo>
                      <a:pt x="84" y="200"/>
                    </a:lnTo>
                    <a:lnTo>
                      <a:pt x="86" y="207"/>
                    </a:lnTo>
                    <a:lnTo>
                      <a:pt x="87" y="214"/>
                    </a:lnTo>
                    <a:lnTo>
                      <a:pt x="89" y="216"/>
                    </a:lnTo>
                    <a:lnTo>
                      <a:pt x="90" y="218"/>
                    </a:lnTo>
                    <a:lnTo>
                      <a:pt x="100" y="228"/>
                    </a:lnTo>
                    <a:lnTo>
                      <a:pt x="103" y="230"/>
                    </a:lnTo>
                    <a:lnTo>
                      <a:pt x="107" y="230"/>
                    </a:lnTo>
                    <a:lnTo>
                      <a:pt x="109" y="234"/>
                    </a:lnTo>
                    <a:lnTo>
                      <a:pt x="110" y="234"/>
                    </a:lnTo>
                    <a:lnTo>
                      <a:pt x="116" y="237"/>
                    </a:lnTo>
                    <a:lnTo>
                      <a:pt x="116" y="240"/>
                    </a:lnTo>
                    <a:lnTo>
                      <a:pt x="121" y="241"/>
                    </a:lnTo>
                    <a:lnTo>
                      <a:pt x="120" y="244"/>
                    </a:lnTo>
                    <a:lnTo>
                      <a:pt x="123" y="245"/>
                    </a:lnTo>
                    <a:lnTo>
                      <a:pt x="127" y="260"/>
                    </a:lnTo>
                    <a:lnTo>
                      <a:pt x="131" y="262"/>
                    </a:lnTo>
                    <a:lnTo>
                      <a:pt x="131" y="267"/>
                    </a:lnTo>
                    <a:lnTo>
                      <a:pt x="145" y="280"/>
                    </a:lnTo>
                    <a:lnTo>
                      <a:pt x="147" y="280"/>
                    </a:lnTo>
                    <a:lnTo>
                      <a:pt x="149" y="288"/>
                    </a:lnTo>
                    <a:lnTo>
                      <a:pt x="154" y="290"/>
                    </a:lnTo>
                    <a:lnTo>
                      <a:pt x="157" y="299"/>
                    </a:lnTo>
                    <a:lnTo>
                      <a:pt x="161" y="299"/>
                    </a:lnTo>
                    <a:lnTo>
                      <a:pt x="164" y="301"/>
                    </a:lnTo>
                    <a:lnTo>
                      <a:pt x="166" y="297"/>
                    </a:lnTo>
                    <a:lnTo>
                      <a:pt x="171" y="294"/>
                    </a:lnTo>
                    <a:lnTo>
                      <a:pt x="167" y="287"/>
                    </a:lnTo>
                    <a:lnTo>
                      <a:pt x="170" y="279"/>
                    </a:lnTo>
                    <a:lnTo>
                      <a:pt x="175" y="277"/>
                    </a:lnTo>
                    <a:lnTo>
                      <a:pt x="180" y="281"/>
                    </a:lnTo>
                    <a:lnTo>
                      <a:pt x="192" y="281"/>
                    </a:lnTo>
                    <a:lnTo>
                      <a:pt x="207" y="288"/>
                    </a:lnTo>
                    <a:lnTo>
                      <a:pt x="223" y="296"/>
                    </a:lnTo>
                    <a:lnTo>
                      <a:pt x="224" y="312"/>
                    </a:lnTo>
                    <a:lnTo>
                      <a:pt x="258" y="268"/>
                    </a:lnTo>
                    <a:lnTo>
                      <a:pt x="380" y="233"/>
                    </a:lnTo>
                    <a:lnTo>
                      <a:pt x="382" y="194"/>
                    </a:lnTo>
                    <a:lnTo>
                      <a:pt x="378" y="180"/>
                    </a:lnTo>
                    <a:lnTo>
                      <a:pt x="378" y="180"/>
                    </a:lnTo>
                    <a:lnTo>
                      <a:pt x="372" y="186"/>
                    </a:lnTo>
                    <a:lnTo>
                      <a:pt x="318" y="177"/>
                    </a:lnTo>
                    <a:lnTo>
                      <a:pt x="314" y="164"/>
                    </a:lnTo>
                    <a:lnTo>
                      <a:pt x="309" y="159"/>
                    </a:lnTo>
                    <a:lnTo>
                      <a:pt x="310" y="152"/>
                    </a:lnTo>
                    <a:lnTo>
                      <a:pt x="309" y="152"/>
                    </a:lnTo>
                    <a:lnTo>
                      <a:pt x="308" y="152"/>
                    </a:lnTo>
                    <a:lnTo>
                      <a:pt x="307" y="150"/>
                    </a:lnTo>
                    <a:lnTo>
                      <a:pt x="307" y="149"/>
                    </a:lnTo>
                    <a:lnTo>
                      <a:pt x="309" y="147"/>
                    </a:lnTo>
                    <a:lnTo>
                      <a:pt x="305" y="147"/>
                    </a:lnTo>
                    <a:lnTo>
                      <a:pt x="305" y="146"/>
                    </a:lnTo>
                    <a:lnTo>
                      <a:pt x="303" y="146"/>
                    </a:lnTo>
                    <a:lnTo>
                      <a:pt x="296" y="143"/>
                    </a:lnTo>
                    <a:lnTo>
                      <a:pt x="296" y="141"/>
                    </a:lnTo>
                    <a:lnTo>
                      <a:pt x="295" y="142"/>
                    </a:lnTo>
                    <a:lnTo>
                      <a:pt x="291" y="137"/>
                    </a:lnTo>
                    <a:lnTo>
                      <a:pt x="290" y="133"/>
                    </a:lnTo>
                    <a:lnTo>
                      <a:pt x="282" y="122"/>
                    </a:lnTo>
                    <a:lnTo>
                      <a:pt x="279" y="117"/>
                    </a:lnTo>
                    <a:lnTo>
                      <a:pt x="281" y="118"/>
                    </a:lnTo>
                    <a:lnTo>
                      <a:pt x="281" y="116"/>
                    </a:lnTo>
                    <a:lnTo>
                      <a:pt x="278" y="107"/>
                    </a:lnTo>
                    <a:lnTo>
                      <a:pt x="278" y="106"/>
                    </a:lnTo>
                    <a:lnTo>
                      <a:pt x="276" y="102"/>
                    </a:lnTo>
                    <a:lnTo>
                      <a:pt x="274" y="102"/>
                    </a:lnTo>
                    <a:lnTo>
                      <a:pt x="268" y="93"/>
                    </a:lnTo>
                    <a:lnTo>
                      <a:pt x="265" y="93"/>
                    </a:lnTo>
                    <a:lnTo>
                      <a:pt x="262" y="90"/>
                    </a:lnTo>
                    <a:lnTo>
                      <a:pt x="263" y="89"/>
                    </a:lnTo>
                    <a:lnTo>
                      <a:pt x="264" y="89"/>
                    </a:lnTo>
                    <a:lnTo>
                      <a:pt x="265" y="90"/>
                    </a:lnTo>
                    <a:lnTo>
                      <a:pt x="264" y="87"/>
                    </a:lnTo>
                    <a:lnTo>
                      <a:pt x="261" y="87"/>
                    </a:lnTo>
                    <a:lnTo>
                      <a:pt x="255" y="85"/>
                    </a:lnTo>
                    <a:lnTo>
                      <a:pt x="251" y="77"/>
                    </a:lnTo>
                    <a:lnTo>
                      <a:pt x="249" y="73"/>
                    </a:lnTo>
                    <a:lnTo>
                      <a:pt x="247" y="71"/>
                    </a:lnTo>
                    <a:lnTo>
                      <a:pt x="247" y="68"/>
                    </a:lnTo>
                    <a:lnTo>
                      <a:pt x="246" y="69"/>
                    </a:lnTo>
                    <a:lnTo>
                      <a:pt x="244" y="67"/>
                    </a:lnTo>
                    <a:lnTo>
                      <a:pt x="244" y="67"/>
                    </a:lnTo>
                    <a:close/>
                  </a:path>
                </a:pathLst>
              </a:custGeom>
              <a:solidFill>
                <a:schemeClr val="accent4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655" name="Freeform 459"/>
              <p:cNvSpPr>
                <a:spLocks noEditPoints="1"/>
              </p:cNvSpPr>
              <p:nvPr userDrawn="1"/>
            </p:nvSpPr>
            <p:spPr bwMode="auto">
              <a:xfrm>
                <a:off x="4416" y="2439"/>
                <a:ext cx="137" cy="188"/>
              </a:xfrm>
              <a:custGeom>
                <a:avLst/>
                <a:gdLst>
                  <a:gd name="T0" fmla="*/ 54 w 137"/>
                  <a:gd name="T1" fmla="*/ 124 h 188"/>
                  <a:gd name="T2" fmla="*/ 52 w 137"/>
                  <a:gd name="T3" fmla="*/ 71 h 188"/>
                  <a:gd name="T4" fmla="*/ 71 w 137"/>
                  <a:gd name="T5" fmla="*/ 23 h 188"/>
                  <a:gd name="T6" fmla="*/ 78 w 137"/>
                  <a:gd name="T7" fmla="*/ 41 h 188"/>
                  <a:gd name="T8" fmla="*/ 89 w 137"/>
                  <a:gd name="T9" fmla="*/ 52 h 188"/>
                  <a:gd name="T10" fmla="*/ 96 w 137"/>
                  <a:gd name="T11" fmla="*/ 52 h 188"/>
                  <a:gd name="T12" fmla="*/ 107 w 137"/>
                  <a:gd name="T13" fmla="*/ 54 h 188"/>
                  <a:gd name="T14" fmla="*/ 115 w 137"/>
                  <a:gd name="T15" fmla="*/ 53 h 188"/>
                  <a:gd name="T16" fmla="*/ 122 w 137"/>
                  <a:gd name="T17" fmla="*/ 64 h 188"/>
                  <a:gd name="T18" fmla="*/ 127 w 137"/>
                  <a:gd name="T19" fmla="*/ 70 h 188"/>
                  <a:gd name="T20" fmla="*/ 136 w 137"/>
                  <a:gd name="T21" fmla="*/ 76 h 188"/>
                  <a:gd name="T22" fmla="*/ 137 w 137"/>
                  <a:gd name="T23" fmla="*/ 81 h 188"/>
                  <a:gd name="T24" fmla="*/ 135 w 137"/>
                  <a:gd name="T25" fmla="*/ 87 h 188"/>
                  <a:gd name="T26" fmla="*/ 129 w 137"/>
                  <a:gd name="T27" fmla="*/ 100 h 188"/>
                  <a:gd name="T28" fmla="*/ 122 w 137"/>
                  <a:gd name="T29" fmla="*/ 108 h 188"/>
                  <a:gd name="T30" fmla="*/ 117 w 137"/>
                  <a:gd name="T31" fmla="*/ 117 h 188"/>
                  <a:gd name="T32" fmla="*/ 113 w 137"/>
                  <a:gd name="T33" fmla="*/ 115 h 188"/>
                  <a:gd name="T34" fmla="*/ 114 w 137"/>
                  <a:gd name="T35" fmla="*/ 111 h 188"/>
                  <a:gd name="T36" fmla="*/ 111 w 137"/>
                  <a:gd name="T37" fmla="*/ 112 h 188"/>
                  <a:gd name="T38" fmla="*/ 108 w 137"/>
                  <a:gd name="T39" fmla="*/ 117 h 188"/>
                  <a:gd name="T40" fmla="*/ 107 w 137"/>
                  <a:gd name="T41" fmla="*/ 119 h 188"/>
                  <a:gd name="T42" fmla="*/ 104 w 137"/>
                  <a:gd name="T43" fmla="*/ 128 h 188"/>
                  <a:gd name="T44" fmla="*/ 104 w 137"/>
                  <a:gd name="T45" fmla="*/ 131 h 188"/>
                  <a:gd name="T46" fmla="*/ 105 w 137"/>
                  <a:gd name="T47" fmla="*/ 134 h 188"/>
                  <a:gd name="T48" fmla="*/ 108 w 137"/>
                  <a:gd name="T49" fmla="*/ 142 h 188"/>
                  <a:gd name="T50" fmla="*/ 98 w 137"/>
                  <a:gd name="T51" fmla="*/ 145 h 188"/>
                  <a:gd name="T52" fmla="*/ 94 w 137"/>
                  <a:gd name="T53" fmla="*/ 145 h 188"/>
                  <a:gd name="T54" fmla="*/ 83 w 137"/>
                  <a:gd name="T55" fmla="*/ 153 h 188"/>
                  <a:gd name="T56" fmla="*/ 82 w 137"/>
                  <a:gd name="T57" fmla="*/ 161 h 188"/>
                  <a:gd name="T58" fmla="*/ 76 w 137"/>
                  <a:gd name="T59" fmla="*/ 163 h 188"/>
                  <a:gd name="T60" fmla="*/ 64 w 137"/>
                  <a:gd name="T61" fmla="*/ 164 h 188"/>
                  <a:gd name="T62" fmla="*/ 61 w 137"/>
                  <a:gd name="T63" fmla="*/ 168 h 188"/>
                  <a:gd name="T64" fmla="*/ 61 w 137"/>
                  <a:gd name="T65" fmla="*/ 172 h 188"/>
                  <a:gd name="T66" fmla="*/ 63 w 137"/>
                  <a:gd name="T67" fmla="*/ 175 h 188"/>
                  <a:gd name="T68" fmla="*/ 62 w 137"/>
                  <a:gd name="T69" fmla="*/ 176 h 188"/>
                  <a:gd name="T70" fmla="*/ 55 w 137"/>
                  <a:gd name="T71" fmla="*/ 182 h 188"/>
                  <a:gd name="T72" fmla="*/ 49 w 137"/>
                  <a:gd name="T73" fmla="*/ 181 h 188"/>
                  <a:gd name="T74" fmla="*/ 39 w 137"/>
                  <a:gd name="T75" fmla="*/ 185 h 188"/>
                  <a:gd name="T76" fmla="*/ 32 w 137"/>
                  <a:gd name="T77" fmla="*/ 188 h 188"/>
                  <a:gd name="T78" fmla="*/ 27 w 137"/>
                  <a:gd name="T79" fmla="*/ 188 h 188"/>
                  <a:gd name="T80" fmla="*/ 15 w 137"/>
                  <a:gd name="T81" fmla="*/ 176 h 188"/>
                  <a:gd name="T82" fmla="*/ 0 w 137"/>
                  <a:gd name="T83" fmla="*/ 148 h 188"/>
                  <a:gd name="T84" fmla="*/ 1 w 137"/>
                  <a:gd name="T85" fmla="*/ 139 h 188"/>
                  <a:gd name="T86" fmla="*/ 67 w 137"/>
                  <a:gd name="T87" fmla="*/ 16 h 188"/>
                  <a:gd name="T88" fmla="*/ 69 w 137"/>
                  <a:gd name="T89" fmla="*/ 11 h 188"/>
                  <a:gd name="T90" fmla="*/ 69 w 137"/>
                  <a:gd name="T91" fmla="*/ 6 h 188"/>
                  <a:gd name="T92" fmla="*/ 68 w 137"/>
                  <a:gd name="T93" fmla="*/ 2 h 188"/>
                  <a:gd name="T94" fmla="*/ 70 w 137"/>
                  <a:gd name="T95" fmla="*/ 2 h 188"/>
                  <a:gd name="T96" fmla="*/ 68 w 137"/>
                  <a:gd name="T97" fmla="*/ 1 h 188"/>
                  <a:gd name="T98" fmla="*/ 65 w 137"/>
                  <a:gd name="T99" fmla="*/ 6 h 188"/>
                  <a:gd name="T100" fmla="*/ 64 w 137"/>
                  <a:gd name="T101" fmla="*/ 6 h 188"/>
                  <a:gd name="T102" fmla="*/ 64 w 137"/>
                  <a:gd name="T103" fmla="*/ 9 h 188"/>
                  <a:gd name="T104" fmla="*/ 66 w 137"/>
                  <a:gd name="T105" fmla="*/ 16 h 188"/>
                  <a:gd name="T106" fmla="*/ 67 w 137"/>
                  <a:gd name="T107" fmla="*/ 16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37" h="188">
                    <a:moveTo>
                      <a:pt x="1" y="139"/>
                    </a:moveTo>
                    <a:lnTo>
                      <a:pt x="54" y="124"/>
                    </a:lnTo>
                    <a:lnTo>
                      <a:pt x="56" y="85"/>
                    </a:lnTo>
                    <a:lnTo>
                      <a:pt x="52" y="71"/>
                    </a:lnTo>
                    <a:lnTo>
                      <a:pt x="67" y="24"/>
                    </a:lnTo>
                    <a:lnTo>
                      <a:pt x="71" y="23"/>
                    </a:lnTo>
                    <a:lnTo>
                      <a:pt x="72" y="35"/>
                    </a:lnTo>
                    <a:lnTo>
                      <a:pt x="78" y="41"/>
                    </a:lnTo>
                    <a:lnTo>
                      <a:pt x="79" y="44"/>
                    </a:lnTo>
                    <a:lnTo>
                      <a:pt x="89" y="52"/>
                    </a:lnTo>
                    <a:lnTo>
                      <a:pt x="94" y="54"/>
                    </a:lnTo>
                    <a:lnTo>
                      <a:pt x="96" y="52"/>
                    </a:lnTo>
                    <a:lnTo>
                      <a:pt x="100" y="52"/>
                    </a:lnTo>
                    <a:lnTo>
                      <a:pt x="107" y="54"/>
                    </a:lnTo>
                    <a:lnTo>
                      <a:pt x="112" y="53"/>
                    </a:lnTo>
                    <a:lnTo>
                      <a:pt x="115" y="53"/>
                    </a:lnTo>
                    <a:lnTo>
                      <a:pt x="120" y="60"/>
                    </a:lnTo>
                    <a:lnTo>
                      <a:pt x="122" y="64"/>
                    </a:lnTo>
                    <a:lnTo>
                      <a:pt x="125" y="67"/>
                    </a:lnTo>
                    <a:lnTo>
                      <a:pt x="127" y="70"/>
                    </a:lnTo>
                    <a:lnTo>
                      <a:pt x="133" y="76"/>
                    </a:lnTo>
                    <a:lnTo>
                      <a:pt x="136" y="76"/>
                    </a:lnTo>
                    <a:lnTo>
                      <a:pt x="137" y="78"/>
                    </a:lnTo>
                    <a:lnTo>
                      <a:pt x="137" y="81"/>
                    </a:lnTo>
                    <a:lnTo>
                      <a:pt x="135" y="84"/>
                    </a:lnTo>
                    <a:lnTo>
                      <a:pt x="135" y="87"/>
                    </a:lnTo>
                    <a:lnTo>
                      <a:pt x="135" y="89"/>
                    </a:lnTo>
                    <a:lnTo>
                      <a:pt x="129" y="100"/>
                    </a:lnTo>
                    <a:lnTo>
                      <a:pt x="124" y="104"/>
                    </a:lnTo>
                    <a:lnTo>
                      <a:pt x="122" y="108"/>
                    </a:lnTo>
                    <a:lnTo>
                      <a:pt x="119" y="109"/>
                    </a:lnTo>
                    <a:lnTo>
                      <a:pt x="117" y="117"/>
                    </a:lnTo>
                    <a:lnTo>
                      <a:pt x="115" y="116"/>
                    </a:lnTo>
                    <a:lnTo>
                      <a:pt x="113" y="115"/>
                    </a:lnTo>
                    <a:lnTo>
                      <a:pt x="113" y="113"/>
                    </a:lnTo>
                    <a:lnTo>
                      <a:pt x="114" y="111"/>
                    </a:lnTo>
                    <a:lnTo>
                      <a:pt x="113" y="111"/>
                    </a:lnTo>
                    <a:lnTo>
                      <a:pt x="111" y="112"/>
                    </a:lnTo>
                    <a:lnTo>
                      <a:pt x="108" y="116"/>
                    </a:lnTo>
                    <a:lnTo>
                      <a:pt x="108" y="117"/>
                    </a:lnTo>
                    <a:lnTo>
                      <a:pt x="109" y="119"/>
                    </a:lnTo>
                    <a:lnTo>
                      <a:pt x="107" y="119"/>
                    </a:lnTo>
                    <a:lnTo>
                      <a:pt x="104" y="125"/>
                    </a:lnTo>
                    <a:lnTo>
                      <a:pt x="104" y="128"/>
                    </a:lnTo>
                    <a:lnTo>
                      <a:pt x="103" y="131"/>
                    </a:lnTo>
                    <a:lnTo>
                      <a:pt x="104" y="131"/>
                    </a:lnTo>
                    <a:lnTo>
                      <a:pt x="106" y="134"/>
                    </a:lnTo>
                    <a:lnTo>
                      <a:pt x="105" y="134"/>
                    </a:lnTo>
                    <a:lnTo>
                      <a:pt x="107" y="141"/>
                    </a:lnTo>
                    <a:lnTo>
                      <a:pt x="108" y="142"/>
                    </a:lnTo>
                    <a:lnTo>
                      <a:pt x="107" y="144"/>
                    </a:lnTo>
                    <a:lnTo>
                      <a:pt x="98" y="145"/>
                    </a:lnTo>
                    <a:lnTo>
                      <a:pt x="96" y="146"/>
                    </a:lnTo>
                    <a:lnTo>
                      <a:pt x="94" y="145"/>
                    </a:lnTo>
                    <a:lnTo>
                      <a:pt x="89" y="146"/>
                    </a:lnTo>
                    <a:lnTo>
                      <a:pt x="83" y="153"/>
                    </a:lnTo>
                    <a:lnTo>
                      <a:pt x="83" y="159"/>
                    </a:lnTo>
                    <a:lnTo>
                      <a:pt x="82" y="161"/>
                    </a:lnTo>
                    <a:lnTo>
                      <a:pt x="78" y="164"/>
                    </a:lnTo>
                    <a:lnTo>
                      <a:pt x="76" y="163"/>
                    </a:lnTo>
                    <a:lnTo>
                      <a:pt x="71" y="164"/>
                    </a:lnTo>
                    <a:lnTo>
                      <a:pt x="64" y="164"/>
                    </a:lnTo>
                    <a:lnTo>
                      <a:pt x="63" y="166"/>
                    </a:lnTo>
                    <a:lnTo>
                      <a:pt x="61" y="168"/>
                    </a:lnTo>
                    <a:lnTo>
                      <a:pt x="61" y="170"/>
                    </a:lnTo>
                    <a:lnTo>
                      <a:pt x="61" y="172"/>
                    </a:lnTo>
                    <a:lnTo>
                      <a:pt x="63" y="172"/>
                    </a:lnTo>
                    <a:lnTo>
                      <a:pt x="63" y="175"/>
                    </a:lnTo>
                    <a:lnTo>
                      <a:pt x="62" y="175"/>
                    </a:lnTo>
                    <a:lnTo>
                      <a:pt x="62" y="176"/>
                    </a:lnTo>
                    <a:lnTo>
                      <a:pt x="57" y="182"/>
                    </a:lnTo>
                    <a:lnTo>
                      <a:pt x="55" y="182"/>
                    </a:lnTo>
                    <a:lnTo>
                      <a:pt x="52" y="181"/>
                    </a:lnTo>
                    <a:lnTo>
                      <a:pt x="49" y="181"/>
                    </a:lnTo>
                    <a:lnTo>
                      <a:pt x="45" y="181"/>
                    </a:lnTo>
                    <a:lnTo>
                      <a:pt x="39" y="185"/>
                    </a:lnTo>
                    <a:lnTo>
                      <a:pt x="35" y="184"/>
                    </a:lnTo>
                    <a:lnTo>
                      <a:pt x="32" y="188"/>
                    </a:lnTo>
                    <a:lnTo>
                      <a:pt x="28" y="188"/>
                    </a:lnTo>
                    <a:lnTo>
                      <a:pt x="27" y="188"/>
                    </a:lnTo>
                    <a:lnTo>
                      <a:pt x="25" y="188"/>
                    </a:lnTo>
                    <a:lnTo>
                      <a:pt x="15" y="176"/>
                    </a:lnTo>
                    <a:lnTo>
                      <a:pt x="17" y="169"/>
                    </a:lnTo>
                    <a:lnTo>
                      <a:pt x="0" y="148"/>
                    </a:lnTo>
                    <a:lnTo>
                      <a:pt x="1" y="139"/>
                    </a:lnTo>
                    <a:lnTo>
                      <a:pt x="1" y="139"/>
                    </a:lnTo>
                    <a:lnTo>
                      <a:pt x="1" y="139"/>
                    </a:lnTo>
                    <a:close/>
                    <a:moveTo>
                      <a:pt x="67" y="16"/>
                    </a:moveTo>
                    <a:lnTo>
                      <a:pt x="67" y="14"/>
                    </a:lnTo>
                    <a:lnTo>
                      <a:pt x="69" y="11"/>
                    </a:lnTo>
                    <a:lnTo>
                      <a:pt x="69" y="6"/>
                    </a:lnTo>
                    <a:lnTo>
                      <a:pt x="69" y="6"/>
                    </a:lnTo>
                    <a:lnTo>
                      <a:pt x="69" y="3"/>
                    </a:lnTo>
                    <a:lnTo>
                      <a:pt x="68" y="2"/>
                    </a:lnTo>
                    <a:lnTo>
                      <a:pt x="69" y="2"/>
                    </a:lnTo>
                    <a:lnTo>
                      <a:pt x="70" y="2"/>
                    </a:lnTo>
                    <a:lnTo>
                      <a:pt x="69" y="0"/>
                    </a:lnTo>
                    <a:lnTo>
                      <a:pt x="68" y="1"/>
                    </a:lnTo>
                    <a:lnTo>
                      <a:pt x="66" y="1"/>
                    </a:lnTo>
                    <a:lnTo>
                      <a:pt x="65" y="6"/>
                    </a:lnTo>
                    <a:lnTo>
                      <a:pt x="64" y="7"/>
                    </a:lnTo>
                    <a:lnTo>
                      <a:pt x="64" y="6"/>
                    </a:lnTo>
                    <a:lnTo>
                      <a:pt x="64" y="7"/>
                    </a:lnTo>
                    <a:lnTo>
                      <a:pt x="64" y="9"/>
                    </a:lnTo>
                    <a:lnTo>
                      <a:pt x="65" y="10"/>
                    </a:lnTo>
                    <a:lnTo>
                      <a:pt x="66" y="16"/>
                    </a:lnTo>
                    <a:lnTo>
                      <a:pt x="67" y="16"/>
                    </a:lnTo>
                    <a:lnTo>
                      <a:pt x="67" y="16"/>
                    </a:lnTo>
                    <a:close/>
                  </a:path>
                </a:pathLst>
              </a:custGeom>
              <a:solidFill>
                <a:schemeClr val="accent4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656" name="Freeform 460"/>
              <p:cNvSpPr>
                <a:spLocks/>
              </p:cNvSpPr>
              <p:nvPr userDrawn="1"/>
            </p:nvSpPr>
            <p:spPr bwMode="auto">
              <a:xfrm>
                <a:off x="3907" y="2344"/>
                <a:ext cx="230" cy="186"/>
              </a:xfrm>
              <a:custGeom>
                <a:avLst/>
                <a:gdLst>
                  <a:gd name="T0" fmla="*/ 184 w 230"/>
                  <a:gd name="T1" fmla="*/ 33 h 186"/>
                  <a:gd name="T2" fmla="*/ 172 w 230"/>
                  <a:gd name="T3" fmla="*/ 10 h 186"/>
                  <a:gd name="T4" fmla="*/ 164 w 230"/>
                  <a:gd name="T5" fmla="*/ 7 h 186"/>
                  <a:gd name="T6" fmla="*/ 139 w 230"/>
                  <a:gd name="T7" fmla="*/ 9 h 186"/>
                  <a:gd name="T8" fmla="*/ 134 w 230"/>
                  <a:gd name="T9" fmla="*/ 11 h 186"/>
                  <a:gd name="T10" fmla="*/ 127 w 230"/>
                  <a:gd name="T11" fmla="*/ 8 h 186"/>
                  <a:gd name="T12" fmla="*/ 126 w 230"/>
                  <a:gd name="T13" fmla="*/ 3 h 186"/>
                  <a:gd name="T14" fmla="*/ 114 w 230"/>
                  <a:gd name="T15" fmla="*/ 1 h 186"/>
                  <a:gd name="T16" fmla="*/ 116 w 230"/>
                  <a:gd name="T17" fmla="*/ 4 h 186"/>
                  <a:gd name="T18" fmla="*/ 104 w 230"/>
                  <a:gd name="T19" fmla="*/ 5 h 186"/>
                  <a:gd name="T20" fmla="*/ 107 w 230"/>
                  <a:gd name="T21" fmla="*/ 3 h 186"/>
                  <a:gd name="T22" fmla="*/ 101 w 230"/>
                  <a:gd name="T23" fmla="*/ 2 h 186"/>
                  <a:gd name="T24" fmla="*/ 92 w 230"/>
                  <a:gd name="T25" fmla="*/ 7 h 186"/>
                  <a:gd name="T26" fmla="*/ 82 w 230"/>
                  <a:gd name="T27" fmla="*/ 14 h 186"/>
                  <a:gd name="T28" fmla="*/ 65 w 230"/>
                  <a:gd name="T29" fmla="*/ 9 h 186"/>
                  <a:gd name="T30" fmla="*/ 52 w 230"/>
                  <a:gd name="T31" fmla="*/ 6 h 186"/>
                  <a:gd name="T32" fmla="*/ 38 w 230"/>
                  <a:gd name="T33" fmla="*/ 4 h 186"/>
                  <a:gd name="T34" fmla="*/ 8 w 230"/>
                  <a:gd name="T35" fmla="*/ 1 h 186"/>
                  <a:gd name="T36" fmla="*/ 5 w 230"/>
                  <a:gd name="T37" fmla="*/ 4 h 186"/>
                  <a:gd name="T38" fmla="*/ 5 w 230"/>
                  <a:gd name="T39" fmla="*/ 20 h 186"/>
                  <a:gd name="T40" fmla="*/ 3 w 230"/>
                  <a:gd name="T41" fmla="*/ 36 h 186"/>
                  <a:gd name="T42" fmla="*/ 230 w 230"/>
                  <a:gd name="T43" fmla="*/ 184 h 186"/>
                  <a:gd name="T44" fmla="*/ 223 w 230"/>
                  <a:gd name="T45" fmla="*/ 179 h 186"/>
                  <a:gd name="T46" fmla="*/ 216 w 230"/>
                  <a:gd name="T47" fmla="*/ 171 h 186"/>
                  <a:gd name="T48" fmla="*/ 205 w 230"/>
                  <a:gd name="T49" fmla="*/ 168 h 186"/>
                  <a:gd name="T50" fmla="*/ 202 w 230"/>
                  <a:gd name="T51" fmla="*/ 152 h 186"/>
                  <a:gd name="T52" fmla="*/ 203 w 230"/>
                  <a:gd name="T53" fmla="*/ 149 h 186"/>
                  <a:gd name="T54" fmla="*/ 205 w 230"/>
                  <a:gd name="T55" fmla="*/ 147 h 186"/>
                  <a:gd name="T56" fmla="*/ 200 w 230"/>
                  <a:gd name="T57" fmla="*/ 143 h 186"/>
                  <a:gd name="T58" fmla="*/ 189 w 230"/>
                  <a:gd name="T59" fmla="*/ 125 h 186"/>
                  <a:gd name="T60" fmla="*/ 173 w 230"/>
                  <a:gd name="T61" fmla="*/ 102 h 186"/>
                  <a:gd name="T62" fmla="*/ 171 w 230"/>
                  <a:gd name="T63" fmla="*/ 89 h 186"/>
                  <a:gd name="T64" fmla="*/ 163 w 230"/>
                  <a:gd name="T65" fmla="*/ 78 h 186"/>
                  <a:gd name="T66" fmla="*/ 162 w 230"/>
                  <a:gd name="T67" fmla="*/ 70 h 186"/>
                  <a:gd name="T68" fmla="*/ 143 w 230"/>
                  <a:gd name="T69" fmla="*/ 50 h 186"/>
                  <a:gd name="T70" fmla="*/ 140 w 230"/>
                  <a:gd name="T71" fmla="*/ 39 h 186"/>
                  <a:gd name="T72" fmla="*/ 142 w 230"/>
                  <a:gd name="T73" fmla="*/ 36 h 186"/>
                  <a:gd name="T74" fmla="*/ 145 w 230"/>
                  <a:gd name="T75" fmla="*/ 43 h 186"/>
                  <a:gd name="T76" fmla="*/ 153 w 230"/>
                  <a:gd name="T77" fmla="*/ 54 h 186"/>
                  <a:gd name="T78" fmla="*/ 161 w 230"/>
                  <a:gd name="T79" fmla="*/ 64 h 186"/>
                  <a:gd name="T80" fmla="*/ 175 w 230"/>
                  <a:gd name="T81" fmla="*/ 76 h 186"/>
                  <a:gd name="T82" fmla="*/ 180 w 230"/>
                  <a:gd name="T83" fmla="*/ 66 h 186"/>
                  <a:gd name="T84" fmla="*/ 181 w 230"/>
                  <a:gd name="T85" fmla="*/ 54 h 186"/>
                  <a:gd name="T86" fmla="*/ 185 w 230"/>
                  <a:gd name="T87" fmla="*/ 44 h 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230" h="186">
                    <a:moveTo>
                      <a:pt x="185" y="44"/>
                    </a:moveTo>
                    <a:lnTo>
                      <a:pt x="182" y="38"/>
                    </a:lnTo>
                    <a:lnTo>
                      <a:pt x="184" y="33"/>
                    </a:lnTo>
                    <a:lnTo>
                      <a:pt x="180" y="24"/>
                    </a:lnTo>
                    <a:lnTo>
                      <a:pt x="174" y="17"/>
                    </a:lnTo>
                    <a:lnTo>
                      <a:pt x="172" y="10"/>
                    </a:lnTo>
                    <a:lnTo>
                      <a:pt x="168" y="5"/>
                    </a:lnTo>
                    <a:lnTo>
                      <a:pt x="166" y="4"/>
                    </a:lnTo>
                    <a:lnTo>
                      <a:pt x="164" y="7"/>
                    </a:lnTo>
                    <a:lnTo>
                      <a:pt x="160" y="9"/>
                    </a:lnTo>
                    <a:lnTo>
                      <a:pt x="147" y="7"/>
                    </a:lnTo>
                    <a:lnTo>
                      <a:pt x="139" y="9"/>
                    </a:lnTo>
                    <a:lnTo>
                      <a:pt x="132" y="5"/>
                    </a:lnTo>
                    <a:lnTo>
                      <a:pt x="131" y="8"/>
                    </a:lnTo>
                    <a:lnTo>
                      <a:pt x="134" y="11"/>
                    </a:lnTo>
                    <a:lnTo>
                      <a:pt x="133" y="14"/>
                    </a:lnTo>
                    <a:lnTo>
                      <a:pt x="131" y="10"/>
                    </a:lnTo>
                    <a:lnTo>
                      <a:pt x="127" y="8"/>
                    </a:lnTo>
                    <a:lnTo>
                      <a:pt x="126" y="6"/>
                    </a:lnTo>
                    <a:lnTo>
                      <a:pt x="128" y="5"/>
                    </a:lnTo>
                    <a:lnTo>
                      <a:pt x="126" y="3"/>
                    </a:lnTo>
                    <a:lnTo>
                      <a:pt x="123" y="4"/>
                    </a:lnTo>
                    <a:lnTo>
                      <a:pt x="120" y="2"/>
                    </a:lnTo>
                    <a:lnTo>
                      <a:pt x="114" y="1"/>
                    </a:lnTo>
                    <a:lnTo>
                      <a:pt x="113" y="2"/>
                    </a:lnTo>
                    <a:lnTo>
                      <a:pt x="115" y="2"/>
                    </a:lnTo>
                    <a:lnTo>
                      <a:pt x="116" y="4"/>
                    </a:lnTo>
                    <a:lnTo>
                      <a:pt x="112" y="4"/>
                    </a:lnTo>
                    <a:lnTo>
                      <a:pt x="109" y="4"/>
                    </a:lnTo>
                    <a:lnTo>
                      <a:pt x="104" y="5"/>
                    </a:lnTo>
                    <a:lnTo>
                      <a:pt x="103" y="4"/>
                    </a:lnTo>
                    <a:lnTo>
                      <a:pt x="103" y="3"/>
                    </a:lnTo>
                    <a:lnTo>
                      <a:pt x="107" y="3"/>
                    </a:lnTo>
                    <a:lnTo>
                      <a:pt x="110" y="2"/>
                    </a:lnTo>
                    <a:lnTo>
                      <a:pt x="106" y="2"/>
                    </a:lnTo>
                    <a:lnTo>
                      <a:pt x="101" y="2"/>
                    </a:lnTo>
                    <a:lnTo>
                      <a:pt x="99" y="4"/>
                    </a:lnTo>
                    <a:lnTo>
                      <a:pt x="94" y="6"/>
                    </a:lnTo>
                    <a:lnTo>
                      <a:pt x="92" y="7"/>
                    </a:lnTo>
                    <a:lnTo>
                      <a:pt x="87" y="8"/>
                    </a:lnTo>
                    <a:lnTo>
                      <a:pt x="83" y="12"/>
                    </a:lnTo>
                    <a:lnTo>
                      <a:pt x="82" y="14"/>
                    </a:lnTo>
                    <a:lnTo>
                      <a:pt x="77" y="14"/>
                    </a:lnTo>
                    <a:lnTo>
                      <a:pt x="70" y="10"/>
                    </a:lnTo>
                    <a:lnTo>
                      <a:pt x="65" y="9"/>
                    </a:lnTo>
                    <a:lnTo>
                      <a:pt x="59" y="10"/>
                    </a:lnTo>
                    <a:lnTo>
                      <a:pt x="54" y="6"/>
                    </a:lnTo>
                    <a:lnTo>
                      <a:pt x="52" y="6"/>
                    </a:lnTo>
                    <a:lnTo>
                      <a:pt x="50" y="8"/>
                    </a:lnTo>
                    <a:lnTo>
                      <a:pt x="44" y="5"/>
                    </a:lnTo>
                    <a:lnTo>
                      <a:pt x="38" y="4"/>
                    </a:lnTo>
                    <a:lnTo>
                      <a:pt x="24" y="3"/>
                    </a:lnTo>
                    <a:lnTo>
                      <a:pt x="17" y="0"/>
                    </a:lnTo>
                    <a:lnTo>
                      <a:pt x="8" y="1"/>
                    </a:lnTo>
                    <a:lnTo>
                      <a:pt x="6" y="1"/>
                    </a:lnTo>
                    <a:lnTo>
                      <a:pt x="6" y="1"/>
                    </a:lnTo>
                    <a:lnTo>
                      <a:pt x="5" y="4"/>
                    </a:lnTo>
                    <a:lnTo>
                      <a:pt x="3" y="11"/>
                    </a:lnTo>
                    <a:lnTo>
                      <a:pt x="5" y="16"/>
                    </a:lnTo>
                    <a:lnTo>
                      <a:pt x="5" y="20"/>
                    </a:lnTo>
                    <a:lnTo>
                      <a:pt x="3" y="27"/>
                    </a:lnTo>
                    <a:lnTo>
                      <a:pt x="0" y="31"/>
                    </a:lnTo>
                    <a:lnTo>
                      <a:pt x="3" y="36"/>
                    </a:lnTo>
                    <a:lnTo>
                      <a:pt x="5" y="46"/>
                    </a:lnTo>
                    <a:lnTo>
                      <a:pt x="11" y="186"/>
                    </a:lnTo>
                    <a:lnTo>
                      <a:pt x="230" y="184"/>
                    </a:lnTo>
                    <a:lnTo>
                      <a:pt x="230" y="184"/>
                    </a:lnTo>
                    <a:lnTo>
                      <a:pt x="228" y="182"/>
                    </a:lnTo>
                    <a:lnTo>
                      <a:pt x="223" y="179"/>
                    </a:lnTo>
                    <a:lnTo>
                      <a:pt x="222" y="177"/>
                    </a:lnTo>
                    <a:lnTo>
                      <a:pt x="218" y="176"/>
                    </a:lnTo>
                    <a:lnTo>
                      <a:pt x="216" y="171"/>
                    </a:lnTo>
                    <a:lnTo>
                      <a:pt x="214" y="172"/>
                    </a:lnTo>
                    <a:lnTo>
                      <a:pt x="210" y="172"/>
                    </a:lnTo>
                    <a:lnTo>
                      <a:pt x="205" y="168"/>
                    </a:lnTo>
                    <a:lnTo>
                      <a:pt x="202" y="158"/>
                    </a:lnTo>
                    <a:lnTo>
                      <a:pt x="203" y="157"/>
                    </a:lnTo>
                    <a:lnTo>
                      <a:pt x="202" y="152"/>
                    </a:lnTo>
                    <a:lnTo>
                      <a:pt x="201" y="150"/>
                    </a:lnTo>
                    <a:lnTo>
                      <a:pt x="202" y="148"/>
                    </a:lnTo>
                    <a:lnTo>
                      <a:pt x="203" y="149"/>
                    </a:lnTo>
                    <a:lnTo>
                      <a:pt x="208" y="150"/>
                    </a:lnTo>
                    <a:lnTo>
                      <a:pt x="206" y="147"/>
                    </a:lnTo>
                    <a:lnTo>
                      <a:pt x="205" y="147"/>
                    </a:lnTo>
                    <a:lnTo>
                      <a:pt x="202" y="142"/>
                    </a:lnTo>
                    <a:lnTo>
                      <a:pt x="200" y="141"/>
                    </a:lnTo>
                    <a:lnTo>
                      <a:pt x="200" y="143"/>
                    </a:lnTo>
                    <a:lnTo>
                      <a:pt x="198" y="140"/>
                    </a:lnTo>
                    <a:lnTo>
                      <a:pt x="196" y="136"/>
                    </a:lnTo>
                    <a:lnTo>
                      <a:pt x="189" y="125"/>
                    </a:lnTo>
                    <a:lnTo>
                      <a:pt x="185" y="123"/>
                    </a:lnTo>
                    <a:lnTo>
                      <a:pt x="185" y="118"/>
                    </a:lnTo>
                    <a:lnTo>
                      <a:pt x="173" y="102"/>
                    </a:lnTo>
                    <a:lnTo>
                      <a:pt x="174" y="98"/>
                    </a:lnTo>
                    <a:lnTo>
                      <a:pt x="172" y="95"/>
                    </a:lnTo>
                    <a:lnTo>
                      <a:pt x="171" y="89"/>
                    </a:lnTo>
                    <a:lnTo>
                      <a:pt x="169" y="87"/>
                    </a:lnTo>
                    <a:lnTo>
                      <a:pt x="169" y="84"/>
                    </a:lnTo>
                    <a:lnTo>
                      <a:pt x="163" y="78"/>
                    </a:lnTo>
                    <a:lnTo>
                      <a:pt x="163" y="75"/>
                    </a:lnTo>
                    <a:lnTo>
                      <a:pt x="164" y="72"/>
                    </a:lnTo>
                    <a:lnTo>
                      <a:pt x="162" y="70"/>
                    </a:lnTo>
                    <a:lnTo>
                      <a:pt x="151" y="61"/>
                    </a:lnTo>
                    <a:lnTo>
                      <a:pt x="150" y="58"/>
                    </a:lnTo>
                    <a:lnTo>
                      <a:pt x="143" y="50"/>
                    </a:lnTo>
                    <a:lnTo>
                      <a:pt x="143" y="47"/>
                    </a:lnTo>
                    <a:lnTo>
                      <a:pt x="140" y="42"/>
                    </a:lnTo>
                    <a:lnTo>
                      <a:pt x="140" y="39"/>
                    </a:lnTo>
                    <a:lnTo>
                      <a:pt x="140" y="37"/>
                    </a:lnTo>
                    <a:lnTo>
                      <a:pt x="141" y="35"/>
                    </a:lnTo>
                    <a:lnTo>
                      <a:pt x="142" y="36"/>
                    </a:lnTo>
                    <a:lnTo>
                      <a:pt x="142" y="36"/>
                    </a:lnTo>
                    <a:lnTo>
                      <a:pt x="144" y="41"/>
                    </a:lnTo>
                    <a:lnTo>
                      <a:pt x="145" y="43"/>
                    </a:lnTo>
                    <a:lnTo>
                      <a:pt x="146" y="45"/>
                    </a:lnTo>
                    <a:lnTo>
                      <a:pt x="153" y="51"/>
                    </a:lnTo>
                    <a:lnTo>
                      <a:pt x="153" y="54"/>
                    </a:lnTo>
                    <a:lnTo>
                      <a:pt x="155" y="58"/>
                    </a:lnTo>
                    <a:lnTo>
                      <a:pt x="160" y="60"/>
                    </a:lnTo>
                    <a:lnTo>
                      <a:pt x="161" y="64"/>
                    </a:lnTo>
                    <a:lnTo>
                      <a:pt x="170" y="72"/>
                    </a:lnTo>
                    <a:lnTo>
                      <a:pt x="175" y="75"/>
                    </a:lnTo>
                    <a:lnTo>
                      <a:pt x="175" y="76"/>
                    </a:lnTo>
                    <a:lnTo>
                      <a:pt x="176" y="73"/>
                    </a:lnTo>
                    <a:lnTo>
                      <a:pt x="179" y="71"/>
                    </a:lnTo>
                    <a:lnTo>
                      <a:pt x="180" y="66"/>
                    </a:lnTo>
                    <a:lnTo>
                      <a:pt x="178" y="64"/>
                    </a:lnTo>
                    <a:lnTo>
                      <a:pt x="181" y="58"/>
                    </a:lnTo>
                    <a:lnTo>
                      <a:pt x="181" y="54"/>
                    </a:lnTo>
                    <a:lnTo>
                      <a:pt x="184" y="45"/>
                    </a:lnTo>
                    <a:lnTo>
                      <a:pt x="185" y="44"/>
                    </a:lnTo>
                    <a:lnTo>
                      <a:pt x="185" y="44"/>
                    </a:lnTo>
                    <a:close/>
                  </a:path>
                </a:pathLst>
              </a:custGeom>
              <a:solidFill>
                <a:schemeClr val="accent4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657" name="Freeform 461"/>
              <p:cNvSpPr>
                <a:spLocks/>
              </p:cNvSpPr>
              <p:nvPr userDrawn="1"/>
            </p:nvSpPr>
            <p:spPr bwMode="auto">
              <a:xfrm>
                <a:off x="3867" y="2528"/>
                <a:ext cx="304" cy="337"/>
              </a:xfrm>
              <a:custGeom>
                <a:avLst/>
                <a:gdLst>
                  <a:gd name="T0" fmla="*/ 271 w 304"/>
                  <a:gd name="T1" fmla="*/ 5 h 337"/>
                  <a:gd name="T2" fmla="*/ 273 w 304"/>
                  <a:gd name="T3" fmla="*/ 14 h 337"/>
                  <a:gd name="T4" fmla="*/ 274 w 304"/>
                  <a:gd name="T5" fmla="*/ 16 h 337"/>
                  <a:gd name="T6" fmla="*/ 278 w 304"/>
                  <a:gd name="T7" fmla="*/ 46 h 337"/>
                  <a:gd name="T8" fmla="*/ 295 w 304"/>
                  <a:gd name="T9" fmla="*/ 69 h 337"/>
                  <a:gd name="T10" fmla="*/ 301 w 304"/>
                  <a:gd name="T11" fmla="*/ 78 h 337"/>
                  <a:gd name="T12" fmla="*/ 288 w 304"/>
                  <a:gd name="T13" fmla="*/ 83 h 337"/>
                  <a:gd name="T14" fmla="*/ 279 w 304"/>
                  <a:gd name="T15" fmla="*/ 89 h 337"/>
                  <a:gd name="T16" fmla="*/ 278 w 304"/>
                  <a:gd name="T17" fmla="*/ 102 h 337"/>
                  <a:gd name="T18" fmla="*/ 269 w 304"/>
                  <a:gd name="T19" fmla="*/ 125 h 337"/>
                  <a:gd name="T20" fmla="*/ 271 w 304"/>
                  <a:gd name="T21" fmla="*/ 143 h 337"/>
                  <a:gd name="T22" fmla="*/ 262 w 304"/>
                  <a:gd name="T23" fmla="*/ 168 h 337"/>
                  <a:gd name="T24" fmla="*/ 251 w 304"/>
                  <a:gd name="T25" fmla="*/ 182 h 337"/>
                  <a:gd name="T26" fmla="*/ 237 w 304"/>
                  <a:gd name="T27" fmla="*/ 204 h 337"/>
                  <a:gd name="T28" fmla="*/ 232 w 304"/>
                  <a:gd name="T29" fmla="*/ 221 h 337"/>
                  <a:gd name="T30" fmla="*/ 225 w 304"/>
                  <a:gd name="T31" fmla="*/ 247 h 337"/>
                  <a:gd name="T32" fmla="*/ 212 w 304"/>
                  <a:gd name="T33" fmla="*/ 248 h 337"/>
                  <a:gd name="T34" fmla="*/ 212 w 304"/>
                  <a:gd name="T35" fmla="*/ 260 h 337"/>
                  <a:gd name="T36" fmla="*/ 226 w 304"/>
                  <a:gd name="T37" fmla="*/ 268 h 337"/>
                  <a:gd name="T38" fmla="*/ 238 w 304"/>
                  <a:gd name="T39" fmla="*/ 278 h 337"/>
                  <a:gd name="T40" fmla="*/ 247 w 304"/>
                  <a:gd name="T41" fmla="*/ 296 h 337"/>
                  <a:gd name="T42" fmla="*/ 233 w 304"/>
                  <a:gd name="T43" fmla="*/ 318 h 337"/>
                  <a:gd name="T44" fmla="*/ 224 w 304"/>
                  <a:gd name="T45" fmla="*/ 326 h 337"/>
                  <a:gd name="T46" fmla="*/ 203 w 304"/>
                  <a:gd name="T47" fmla="*/ 332 h 337"/>
                  <a:gd name="T48" fmla="*/ 193 w 304"/>
                  <a:gd name="T49" fmla="*/ 337 h 337"/>
                  <a:gd name="T50" fmla="*/ 181 w 304"/>
                  <a:gd name="T51" fmla="*/ 333 h 337"/>
                  <a:gd name="T52" fmla="*/ 170 w 304"/>
                  <a:gd name="T53" fmla="*/ 336 h 337"/>
                  <a:gd name="T54" fmla="*/ 163 w 304"/>
                  <a:gd name="T55" fmla="*/ 334 h 337"/>
                  <a:gd name="T56" fmla="*/ 153 w 304"/>
                  <a:gd name="T57" fmla="*/ 323 h 337"/>
                  <a:gd name="T58" fmla="*/ 142 w 304"/>
                  <a:gd name="T59" fmla="*/ 315 h 337"/>
                  <a:gd name="T60" fmla="*/ 133 w 304"/>
                  <a:gd name="T61" fmla="*/ 319 h 337"/>
                  <a:gd name="T62" fmla="*/ 120 w 304"/>
                  <a:gd name="T63" fmla="*/ 322 h 337"/>
                  <a:gd name="T64" fmla="*/ 107 w 304"/>
                  <a:gd name="T65" fmla="*/ 313 h 337"/>
                  <a:gd name="T66" fmla="*/ 100 w 304"/>
                  <a:gd name="T67" fmla="*/ 305 h 337"/>
                  <a:gd name="T68" fmla="*/ 90 w 304"/>
                  <a:gd name="T69" fmla="*/ 293 h 337"/>
                  <a:gd name="T70" fmla="*/ 81 w 304"/>
                  <a:gd name="T71" fmla="*/ 283 h 337"/>
                  <a:gd name="T72" fmla="*/ 70 w 304"/>
                  <a:gd name="T73" fmla="*/ 272 h 337"/>
                  <a:gd name="T74" fmla="*/ 63 w 304"/>
                  <a:gd name="T75" fmla="*/ 265 h 337"/>
                  <a:gd name="T76" fmla="*/ 58 w 304"/>
                  <a:gd name="T77" fmla="*/ 257 h 337"/>
                  <a:gd name="T78" fmla="*/ 44 w 304"/>
                  <a:gd name="T79" fmla="*/ 249 h 337"/>
                  <a:gd name="T80" fmla="*/ 36 w 304"/>
                  <a:gd name="T81" fmla="*/ 243 h 337"/>
                  <a:gd name="T82" fmla="*/ 31 w 304"/>
                  <a:gd name="T83" fmla="*/ 231 h 337"/>
                  <a:gd name="T84" fmla="*/ 22 w 304"/>
                  <a:gd name="T85" fmla="*/ 210 h 337"/>
                  <a:gd name="T86" fmla="*/ 17 w 304"/>
                  <a:gd name="T87" fmla="*/ 199 h 337"/>
                  <a:gd name="T88" fmla="*/ 10 w 304"/>
                  <a:gd name="T89" fmla="*/ 187 h 337"/>
                  <a:gd name="T90" fmla="*/ 9 w 304"/>
                  <a:gd name="T91" fmla="*/ 173 h 337"/>
                  <a:gd name="T92" fmla="*/ 0 w 304"/>
                  <a:gd name="T93" fmla="*/ 168 h 337"/>
                  <a:gd name="T94" fmla="*/ 5 w 304"/>
                  <a:gd name="T95" fmla="*/ 150 h 337"/>
                  <a:gd name="T96" fmla="*/ 10 w 304"/>
                  <a:gd name="T97" fmla="*/ 137 h 337"/>
                  <a:gd name="T98" fmla="*/ 19 w 304"/>
                  <a:gd name="T99" fmla="*/ 119 h 337"/>
                  <a:gd name="T100" fmla="*/ 36 w 304"/>
                  <a:gd name="T101" fmla="*/ 115 h 337"/>
                  <a:gd name="T102" fmla="*/ 51 w 304"/>
                  <a:gd name="T103" fmla="*/ 2 h 3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304" h="337">
                    <a:moveTo>
                      <a:pt x="51" y="2"/>
                    </a:moveTo>
                    <a:lnTo>
                      <a:pt x="270" y="0"/>
                    </a:lnTo>
                    <a:lnTo>
                      <a:pt x="270" y="2"/>
                    </a:lnTo>
                    <a:lnTo>
                      <a:pt x="270" y="3"/>
                    </a:lnTo>
                    <a:lnTo>
                      <a:pt x="271" y="5"/>
                    </a:lnTo>
                    <a:lnTo>
                      <a:pt x="270" y="6"/>
                    </a:lnTo>
                    <a:lnTo>
                      <a:pt x="271" y="7"/>
                    </a:lnTo>
                    <a:lnTo>
                      <a:pt x="271" y="7"/>
                    </a:lnTo>
                    <a:lnTo>
                      <a:pt x="272" y="8"/>
                    </a:lnTo>
                    <a:lnTo>
                      <a:pt x="273" y="14"/>
                    </a:lnTo>
                    <a:lnTo>
                      <a:pt x="277" y="17"/>
                    </a:lnTo>
                    <a:lnTo>
                      <a:pt x="276" y="19"/>
                    </a:lnTo>
                    <a:lnTo>
                      <a:pt x="276" y="19"/>
                    </a:lnTo>
                    <a:lnTo>
                      <a:pt x="275" y="17"/>
                    </a:lnTo>
                    <a:lnTo>
                      <a:pt x="274" y="16"/>
                    </a:lnTo>
                    <a:lnTo>
                      <a:pt x="273" y="16"/>
                    </a:lnTo>
                    <a:lnTo>
                      <a:pt x="273" y="20"/>
                    </a:lnTo>
                    <a:lnTo>
                      <a:pt x="278" y="33"/>
                    </a:lnTo>
                    <a:lnTo>
                      <a:pt x="279" y="39"/>
                    </a:lnTo>
                    <a:lnTo>
                      <a:pt x="278" y="46"/>
                    </a:lnTo>
                    <a:lnTo>
                      <a:pt x="281" y="54"/>
                    </a:lnTo>
                    <a:lnTo>
                      <a:pt x="284" y="60"/>
                    </a:lnTo>
                    <a:lnTo>
                      <a:pt x="287" y="60"/>
                    </a:lnTo>
                    <a:lnTo>
                      <a:pt x="295" y="66"/>
                    </a:lnTo>
                    <a:lnTo>
                      <a:pt x="295" y="69"/>
                    </a:lnTo>
                    <a:lnTo>
                      <a:pt x="299" y="69"/>
                    </a:lnTo>
                    <a:lnTo>
                      <a:pt x="303" y="71"/>
                    </a:lnTo>
                    <a:lnTo>
                      <a:pt x="303" y="74"/>
                    </a:lnTo>
                    <a:lnTo>
                      <a:pt x="304" y="74"/>
                    </a:lnTo>
                    <a:lnTo>
                      <a:pt x="301" y="78"/>
                    </a:lnTo>
                    <a:lnTo>
                      <a:pt x="298" y="79"/>
                    </a:lnTo>
                    <a:lnTo>
                      <a:pt x="295" y="80"/>
                    </a:lnTo>
                    <a:lnTo>
                      <a:pt x="294" y="81"/>
                    </a:lnTo>
                    <a:lnTo>
                      <a:pt x="290" y="81"/>
                    </a:lnTo>
                    <a:lnTo>
                      <a:pt x="288" y="83"/>
                    </a:lnTo>
                    <a:lnTo>
                      <a:pt x="284" y="84"/>
                    </a:lnTo>
                    <a:lnTo>
                      <a:pt x="284" y="86"/>
                    </a:lnTo>
                    <a:lnTo>
                      <a:pt x="285" y="87"/>
                    </a:lnTo>
                    <a:lnTo>
                      <a:pt x="284" y="89"/>
                    </a:lnTo>
                    <a:lnTo>
                      <a:pt x="279" y="89"/>
                    </a:lnTo>
                    <a:lnTo>
                      <a:pt x="277" y="91"/>
                    </a:lnTo>
                    <a:lnTo>
                      <a:pt x="277" y="95"/>
                    </a:lnTo>
                    <a:lnTo>
                      <a:pt x="275" y="99"/>
                    </a:lnTo>
                    <a:lnTo>
                      <a:pt x="277" y="100"/>
                    </a:lnTo>
                    <a:lnTo>
                      <a:pt x="278" y="102"/>
                    </a:lnTo>
                    <a:lnTo>
                      <a:pt x="277" y="103"/>
                    </a:lnTo>
                    <a:lnTo>
                      <a:pt x="274" y="108"/>
                    </a:lnTo>
                    <a:lnTo>
                      <a:pt x="273" y="117"/>
                    </a:lnTo>
                    <a:lnTo>
                      <a:pt x="270" y="122"/>
                    </a:lnTo>
                    <a:lnTo>
                      <a:pt x="269" y="125"/>
                    </a:lnTo>
                    <a:lnTo>
                      <a:pt x="268" y="126"/>
                    </a:lnTo>
                    <a:lnTo>
                      <a:pt x="268" y="131"/>
                    </a:lnTo>
                    <a:lnTo>
                      <a:pt x="269" y="138"/>
                    </a:lnTo>
                    <a:lnTo>
                      <a:pt x="270" y="142"/>
                    </a:lnTo>
                    <a:lnTo>
                      <a:pt x="271" y="143"/>
                    </a:lnTo>
                    <a:lnTo>
                      <a:pt x="270" y="144"/>
                    </a:lnTo>
                    <a:lnTo>
                      <a:pt x="268" y="149"/>
                    </a:lnTo>
                    <a:lnTo>
                      <a:pt x="268" y="155"/>
                    </a:lnTo>
                    <a:lnTo>
                      <a:pt x="264" y="164"/>
                    </a:lnTo>
                    <a:lnTo>
                      <a:pt x="262" y="168"/>
                    </a:lnTo>
                    <a:lnTo>
                      <a:pt x="260" y="168"/>
                    </a:lnTo>
                    <a:lnTo>
                      <a:pt x="256" y="169"/>
                    </a:lnTo>
                    <a:lnTo>
                      <a:pt x="256" y="172"/>
                    </a:lnTo>
                    <a:lnTo>
                      <a:pt x="251" y="180"/>
                    </a:lnTo>
                    <a:lnTo>
                      <a:pt x="251" y="182"/>
                    </a:lnTo>
                    <a:lnTo>
                      <a:pt x="247" y="186"/>
                    </a:lnTo>
                    <a:lnTo>
                      <a:pt x="244" y="191"/>
                    </a:lnTo>
                    <a:lnTo>
                      <a:pt x="241" y="205"/>
                    </a:lnTo>
                    <a:lnTo>
                      <a:pt x="238" y="204"/>
                    </a:lnTo>
                    <a:lnTo>
                      <a:pt x="237" y="204"/>
                    </a:lnTo>
                    <a:lnTo>
                      <a:pt x="236" y="207"/>
                    </a:lnTo>
                    <a:lnTo>
                      <a:pt x="232" y="211"/>
                    </a:lnTo>
                    <a:lnTo>
                      <a:pt x="231" y="215"/>
                    </a:lnTo>
                    <a:lnTo>
                      <a:pt x="232" y="217"/>
                    </a:lnTo>
                    <a:lnTo>
                      <a:pt x="232" y="221"/>
                    </a:lnTo>
                    <a:lnTo>
                      <a:pt x="229" y="225"/>
                    </a:lnTo>
                    <a:lnTo>
                      <a:pt x="227" y="231"/>
                    </a:lnTo>
                    <a:lnTo>
                      <a:pt x="228" y="237"/>
                    </a:lnTo>
                    <a:lnTo>
                      <a:pt x="227" y="246"/>
                    </a:lnTo>
                    <a:lnTo>
                      <a:pt x="225" y="247"/>
                    </a:lnTo>
                    <a:lnTo>
                      <a:pt x="224" y="249"/>
                    </a:lnTo>
                    <a:lnTo>
                      <a:pt x="222" y="249"/>
                    </a:lnTo>
                    <a:lnTo>
                      <a:pt x="220" y="248"/>
                    </a:lnTo>
                    <a:lnTo>
                      <a:pt x="216" y="249"/>
                    </a:lnTo>
                    <a:lnTo>
                      <a:pt x="212" y="248"/>
                    </a:lnTo>
                    <a:lnTo>
                      <a:pt x="212" y="252"/>
                    </a:lnTo>
                    <a:lnTo>
                      <a:pt x="210" y="253"/>
                    </a:lnTo>
                    <a:lnTo>
                      <a:pt x="207" y="256"/>
                    </a:lnTo>
                    <a:lnTo>
                      <a:pt x="208" y="258"/>
                    </a:lnTo>
                    <a:lnTo>
                      <a:pt x="212" y="260"/>
                    </a:lnTo>
                    <a:lnTo>
                      <a:pt x="220" y="259"/>
                    </a:lnTo>
                    <a:lnTo>
                      <a:pt x="222" y="262"/>
                    </a:lnTo>
                    <a:lnTo>
                      <a:pt x="225" y="265"/>
                    </a:lnTo>
                    <a:lnTo>
                      <a:pt x="225" y="268"/>
                    </a:lnTo>
                    <a:lnTo>
                      <a:pt x="226" y="268"/>
                    </a:lnTo>
                    <a:lnTo>
                      <a:pt x="230" y="275"/>
                    </a:lnTo>
                    <a:lnTo>
                      <a:pt x="233" y="276"/>
                    </a:lnTo>
                    <a:lnTo>
                      <a:pt x="233" y="277"/>
                    </a:lnTo>
                    <a:lnTo>
                      <a:pt x="235" y="278"/>
                    </a:lnTo>
                    <a:lnTo>
                      <a:pt x="238" y="278"/>
                    </a:lnTo>
                    <a:lnTo>
                      <a:pt x="241" y="281"/>
                    </a:lnTo>
                    <a:lnTo>
                      <a:pt x="242" y="284"/>
                    </a:lnTo>
                    <a:lnTo>
                      <a:pt x="246" y="287"/>
                    </a:lnTo>
                    <a:lnTo>
                      <a:pt x="246" y="294"/>
                    </a:lnTo>
                    <a:lnTo>
                      <a:pt x="247" y="296"/>
                    </a:lnTo>
                    <a:lnTo>
                      <a:pt x="249" y="302"/>
                    </a:lnTo>
                    <a:lnTo>
                      <a:pt x="243" y="309"/>
                    </a:lnTo>
                    <a:lnTo>
                      <a:pt x="238" y="316"/>
                    </a:lnTo>
                    <a:lnTo>
                      <a:pt x="236" y="315"/>
                    </a:lnTo>
                    <a:lnTo>
                      <a:pt x="233" y="318"/>
                    </a:lnTo>
                    <a:lnTo>
                      <a:pt x="231" y="320"/>
                    </a:lnTo>
                    <a:lnTo>
                      <a:pt x="230" y="320"/>
                    </a:lnTo>
                    <a:lnTo>
                      <a:pt x="227" y="323"/>
                    </a:lnTo>
                    <a:lnTo>
                      <a:pt x="227" y="323"/>
                    </a:lnTo>
                    <a:lnTo>
                      <a:pt x="224" y="326"/>
                    </a:lnTo>
                    <a:lnTo>
                      <a:pt x="222" y="329"/>
                    </a:lnTo>
                    <a:lnTo>
                      <a:pt x="217" y="331"/>
                    </a:lnTo>
                    <a:lnTo>
                      <a:pt x="213" y="330"/>
                    </a:lnTo>
                    <a:lnTo>
                      <a:pt x="206" y="330"/>
                    </a:lnTo>
                    <a:lnTo>
                      <a:pt x="203" y="332"/>
                    </a:lnTo>
                    <a:lnTo>
                      <a:pt x="200" y="332"/>
                    </a:lnTo>
                    <a:lnTo>
                      <a:pt x="198" y="333"/>
                    </a:lnTo>
                    <a:lnTo>
                      <a:pt x="196" y="332"/>
                    </a:lnTo>
                    <a:lnTo>
                      <a:pt x="193" y="334"/>
                    </a:lnTo>
                    <a:lnTo>
                      <a:pt x="193" y="337"/>
                    </a:lnTo>
                    <a:lnTo>
                      <a:pt x="191" y="337"/>
                    </a:lnTo>
                    <a:lnTo>
                      <a:pt x="187" y="336"/>
                    </a:lnTo>
                    <a:lnTo>
                      <a:pt x="186" y="333"/>
                    </a:lnTo>
                    <a:lnTo>
                      <a:pt x="183" y="332"/>
                    </a:lnTo>
                    <a:lnTo>
                      <a:pt x="181" y="333"/>
                    </a:lnTo>
                    <a:lnTo>
                      <a:pt x="176" y="331"/>
                    </a:lnTo>
                    <a:lnTo>
                      <a:pt x="172" y="330"/>
                    </a:lnTo>
                    <a:lnTo>
                      <a:pt x="170" y="332"/>
                    </a:lnTo>
                    <a:lnTo>
                      <a:pt x="170" y="335"/>
                    </a:lnTo>
                    <a:lnTo>
                      <a:pt x="170" y="336"/>
                    </a:lnTo>
                    <a:lnTo>
                      <a:pt x="170" y="337"/>
                    </a:lnTo>
                    <a:lnTo>
                      <a:pt x="169" y="336"/>
                    </a:lnTo>
                    <a:lnTo>
                      <a:pt x="164" y="336"/>
                    </a:lnTo>
                    <a:lnTo>
                      <a:pt x="163" y="336"/>
                    </a:lnTo>
                    <a:lnTo>
                      <a:pt x="163" y="334"/>
                    </a:lnTo>
                    <a:lnTo>
                      <a:pt x="162" y="331"/>
                    </a:lnTo>
                    <a:lnTo>
                      <a:pt x="161" y="330"/>
                    </a:lnTo>
                    <a:lnTo>
                      <a:pt x="160" y="327"/>
                    </a:lnTo>
                    <a:lnTo>
                      <a:pt x="158" y="325"/>
                    </a:lnTo>
                    <a:lnTo>
                      <a:pt x="153" y="323"/>
                    </a:lnTo>
                    <a:lnTo>
                      <a:pt x="152" y="322"/>
                    </a:lnTo>
                    <a:lnTo>
                      <a:pt x="150" y="319"/>
                    </a:lnTo>
                    <a:lnTo>
                      <a:pt x="147" y="316"/>
                    </a:lnTo>
                    <a:lnTo>
                      <a:pt x="146" y="315"/>
                    </a:lnTo>
                    <a:lnTo>
                      <a:pt x="142" y="315"/>
                    </a:lnTo>
                    <a:lnTo>
                      <a:pt x="140" y="317"/>
                    </a:lnTo>
                    <a:lnTo>
                      <a:pt x="139" y="319"/>
                    </a:lnTo>
                    <a:lnTo>
                      <a:pt x="135" y="319"/>
                    </a:lnTo>
                    <a:lnTo>
                      <a:pt x="133" y="319"/>
                    </a:lnTo>
                    <a:lnTo>
                      <a:pt x="133" y="319"/>
                    </a:lnTo>
                    <a:lnTo>
                      <a:pt x="130" y="319"/>
                    </a:lnTo>
                    <a:lnTo>
                      <a:pt x="126" y="319"/>
                    </a:lnTo>
                    <a:lnTo>
                      <a:pt x="123" y="319"/>
                    </a:lnTo>
                    <a:lnTo>
                      <a:pt x="122" y="321"/>
                    </a:lnTo>
                    <a:lnTo>
                      <a:pt x="120" y="322"/>
                    </a:lnTo>
                    <a:lnTo>
                      <a:pt x="117" y="321"/>
                    </a:lnTo>
                    <a:lnTo>
                      <a:pt x="113" y="319"/>
                    </a:lnTo>
                    <a:lnTo>
                      <a:pt x="111" y="316"/>
                    </a:lnTo>
                    <a:lnTo>
                      <a:pt x="109" y="316"/>
                    </a:lnTo>
                    <a:lnTo>
                      <a:pt x="107" y="313"/>
                    </a:lnTo>
                    <a:lnTo>
                      <a:pt x="106" y="310"/>
                    </a:lnTo>
                    <a:lnTo>
                      <a:pt x="105" y="310"/>
                    </a:lnTo>
                    <a:lnTo>
                      <a:pt x="105" y="309"/>
                    </a:lnTo>
                    <a:lnTo>
                      <a:pt x="104" y="307"/>
                    </a:lnTo>
                    <a:lnTo>
                      <a:pt x="100" y="305"/>
                    </a:lnTo>
                    <a:lnTo>
                      <a:pt x="98" y="304"/>
                    </a:lnTo>
                    <a:lnTo>
                      <a:pt x="97" y="298"/>
                    </a:lnTo>
                    <a:lnTo>
                      <a:pt x="98" y="297"/>
                    </a:lnTo>
                    <a:lnTo>
                      <a:pt x="96" y="295"/>
                    </a:lnTo>
                    <a:lnTo>
                      <a:pt x="90" y="293"/>
                    </a:lnTo>
                    <a:lnTo>
                      <a:pt x="88" y="292"/>
                    </a:lnTo>
                    <a:lnTo>
                      <a:pt x="88" y="288"/>
                    </a:lnTo>
                    <a:lnTo>
                      <a:pt x="87" y="287"/>
                    </a:lnTo>
                    <a:lnTo>
                      <a:pt x="83" y="285"/>
                    </a:lnTo>
                    <a:lnTo>
                      <a:pt x="81" y="283"/>
                    </a:lnTo>
                    <a:lnTo>
                      <a:pt x="81" y="278"/>
                    </a:lnTo>
                    <a:lnTo>
                      <a:pt x="79" y="276"/>
                    </a:lnTo>
                    <a:lnTo>
                      <a:pt x="74" y="273"/>
                    </a:lnTo>
                    <a:lnTo>
                      <a:pt x="73" y="273"/>
                    </a:lnTo>
                    <a:lnTo>
                      <a:pt x="70" y="272"/>
                    </a:lnTo>
                    <a:lnTo>
                      <a:pt x="68" y="273"/>
                    </a:lnTo>
                    <a:lnTo>
                      <a:pt x="65" y="272"/>
                    </a:lnTo>
                    <a:lnTo>
                      <a:pt x="61" y="268"/>
                    </a:lnTo>
                    <a:lnTo>
                      <a:pt x="62" y="267"/>
                    </a:lnTo>
                    <a:lnTo>
                      <a:pt x="63" y="265"/>
                    </a:lnTo>
                    <a:lnTo>
                      <a:pt x="65" y="263"/>
                    </a:lnTo>
                    <a:lnTo>
                      <a:pt x="66" y="261"/>
                    </a:lnTo>
                    <a:lnTo>
                      <a:pt x="65" y="259"/>
                    </a:lnTo>
                    <a:lnTo>
                      <a:pt x="61" y="258"/>
                    </a:lnTo>
                    <a:lnTo>
                      <a:pt x="58" y="257"/>
                    </a:lnTo>
                    <a:lnTo>
                      <a:pt x="57" y="255"/>
                    </a:lnTo>
                    <a:lnTo>
                      <a:pt x="54" y="253"/>
                    </a:lnTo>
                    <a:lnTo>
                      <a:pt x="51" y="253"/>
                    </a:lnTo>
                    <a:lnTo>
                      <a:pt x="47" y="252"/>
                    </a:lnTo>
                    <a:lnTo>
                      <a:pt x="44" y="249"/>
                    </a:lnTo>
                    <a:lnTo>
                      <a:pt x="43" y="246"/>
                    </a:lnTo>
                    <a:lnTo>
                      <a:pt x="45" y="243"/>
                    </a:lnTo>
                    <a:lnTo>
                      <a:pt x="43" y="242"/>
                    </a:lnTo>
                    <a:lnTo>
                      <a:pt x="37" y="242"/>
                    </a:lnTo>
                    <a:lnTo>
                      <a:pt x="36" y="243"/>
                    </a:lnTo>
                    <a:lnTo>
                      <a:pt x="31" y="243"/>
                    </a:lnTo>
                    <a:lnTo>
                      <a:pt x="29" y="241"/>
                    </a:lnTo>
                    <a:lnTo>
                      <a:pt x="29" y="235"/>
                    </a:lnTo>
                    <a:lnTo>
                      <a:pt x="30" y="233"/>
                    </a:lnTo>
                    <a:lnTo>
                      <a:pt x="31" y="231"/>
                    </a:lnTo>
                    <a:lnTo>
                      <a:pt x="31" y="227"/>
                    </a:lnTo>
                    <a:lnTo>
                      <a:pt x="31" y="224"/>
                    </a:lnTo>
                    <a:lnTo>
                      <a:pt x="28" y="217"/>
                    </a:lnTo>
                    <a:lnTo>
                      <a:pt x="22" y="211"/>
                    </a:lnTo>
                    <a:lnTo>
                      <a:pt x="22" y="210"/>
                    </a:lnTo>
                    <a:lnTo>
                      <a:pt x="18" y="206"/>
                    </a:lnTo>
                    <a:lnTo>
                      <a:pt x="19" y="205"/>
                    </a:lnTo>
                    <a:lnTo>
                      <a:pt x="19" y="202"/>
                    </a:lnTo>
                    <a:lnTo>
                      <a:pt x="17" y="200"/>
                    </a:lnTo>
                    <a:lnTo>
                      <a:pt x="17" y="199"/>
                    </a:lnTo>
                    <a:lnTo>
                      <a:pt x="17" y="197"/>
                    </a:lnTo>
                    <a:lnTo>
                      <a:pt x="19" y="194"/>
                    </a:lnTo>
                    <a:lnTo>
                      <a:pt x="17" y="191"/>
                    </a:lnTo>
                    <a:lnTo>
                      <a:pt x="10" y="190"/>
                    </a:lnTo>
                    <a:lnTo>
                      <a:pt x="10" y="187"/>
                    </a:lnTo>
                    <a:lnTo>
                      <a:pt x="10" y="182"/>
                    </a:lnTo>
                    <a:lnTo>
                      <a:pt x="8" y="179"/>
                    </a:lnTo>
                    <a:lnTo>
                      <a:pt x="9" y="177"/>
                    </a:lnTo>
                    <a:lnTo>
                      <a:pt x="7" y="175"/>
                    </a:lnTo>
                    <a:lnTo>
                      <a:pt x="9" y="173"/>
                    </a:lnTo>
                    <a:lnTo>
                      <a:pt x="9" y="171"/>
                    </a:lnTo>
                    <a:lnTo>
                      <a:pt x="7" y="170"/>
                    </a:lnTo>
                    <a:lnTo>
                      <a:pt x="2" y="173"/>
                    </a:lnTo>
                    <a:lnTo>
                      <a:pt x="0" y="171"/>
                    </a:lnTo>
                    <a:lnTo>
                      <a:pt x="0" y="168"/>
                    </a:lnTo>
                    <a:lnTo>
                      <a:pt x="6" y="162"/>
                    </a:lnTo>
                    <a:lnTo>
                      <a:pt x="8" y="159"/>
                    </a:lnTo>
                    <a:lnTo>
                      <a:pt x="7" y="155"/>
                    </a:lnTo>
                    <a:lnTo>
                      <a:pt x="4" y="153"/>
                    </a:lnTo>
                    <a:lnTo>
                      <a:pt x="5" y="150"/>
                    </a:lnTo>
                    <a:lnTo>
                      <a:pt x="8" y="148"/>
                    </a:lnTo>
                    <a:lnTo>
                      <a:pt x="10" y="145"/>
                    </a:lnTo>
                    <a:lnTo>
                      <a:pt x="8" y="143"/>
                    </a:lnTo>
                    <a:lnTo>
                      <a:pt x="8" y="140"/>
                    </a:lnTo>
                    <a:lnTo>
                      <a:pt x="10" y="137"/>
                    </a:lnTo>
                    <a:lnTo>
                      <a:pt x="12" y="137"/>
                    </a:lnTo>
                    <a:lnTo>
                      <a:pt x="19" y="129"/>
                    </a:lnTo>
                    <a:lnTo>
                      <a:pt x="21" y="125"/>
                    </a:lnTo>
                    <a:lnTo>
                      <a:pt x="19" y="124"/>
                    </a:lnTo>
                    <a:lnTo>
                      <a:pt x="19" y="119"/>
                    </a:lnTo>
                    <a:lnTo>
                      <a:pt x="22" y="116"/>
                    </a:lnTo>
                    <a:lnTo>
                      <a:pt x="27" y="116"/>
                    </a:lnTo>
                    <a:lnTo>
                      <a:pt x="30" y="118"/>
                    </a:lnTo>
                    <a:lnTo>
                      <a:pt x="33" y="116"/>
                    </a:lnTo>
                    <a:lnTo>
                      <a:pt x="36" y="115"/>
                    </a:lnTo>
                    <a:lnTo>
                      <a:pt x="35" y="45"/>
                    </a:lnTo>
                    <a:lnTo>
                      <a:pt x="35" y="45"/>
                    </a:lnTo>
                    <a:lnTo>
                      <a:pt x="35" y="38"/>
                    </a:lnTo>
                    <a:lnTo>
                      <a:pt x="53" y="37"/>
                    </a:lnTo>
                    <a:lnTo>
                      <a:pt x="51" y="2"/>
                    </a:lnTo>
                    <a:lnTo>
                      <a:pt x="51" y="2"/>
                    </a:lnTo>
                    <a:close/>
                  </a:path>
                </a:pathLst>
              </a:custGeom>
              <a:solidFill>
                <a:schemeClr val="accent4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658" name="Freeform 462"/>
              <p:cNvSpPr>
                <a:spLocks/>
              </p:cNvSpPr>
              <p:nvPr userDrawn="1"/>
            </p:nvSpPr>
            <p:spPr bwMode="auto">
              <a:xfrm>
                <a:off x="4223" y="2713"/>
                <a:ext cx="189" cy="241"/>
              </a:xfrm>
              <a:custGeom>
                <a:avLst/>
                <a:gdLst>
                  <a:gd name="T0" fmla="*/ 20 w 189"/>
                  <a:gd name="T1" fmla="*/ 141 h 241"/>
                  <a:gd name="T2" fmla="*/ 36 w 189"/>
                  <a:gd name="T3" fmla="*/ 134 h 241"/>
                  <a:gd name="T4" fmla="*/ 45 w 189"/>
                  <a:gd name="T5" fmla="*/ 127 h 241"/>
                  <a:gd name="T6" fmla="*/ 63 w 189"/>
                  <a:gd name="T7" fmla="*/ 124 h 241"/>
                  <a:gd name="T8" fmla="*/ 108 w 189"/>
                  <a:gd name="T9" fmla="*/ 70 h 241"/>
                  <a:gd name="T10" fmla="*/ 43 w 189"/>
                  <a:gd name="T11" fmla="*/ 48 h 241"/>
                  <a:gd name="T12" fmla="*/ 36 w 189"/>
                  <a:gd name="T13" fmla="*/ 36 h 241"/>
                  <a:gd name="T14" fmla="*/ 34 w 189"/>
                  <a:gd name="T15" fmla="*/ 17 h 241"/>
                  <a:gd name="T16" fmla="*/ 41 w 189"/>
                  <a:gd name="T17" fmla="*/ 11 h 241"/>
                  <a:gd name="T18" fmla="*/ 54 w 189"/>
                  <a:gd name="T19" fmla="*/ 26 h 241"/>
                  <a:gd name="T20" fmla="*/ 69 w 189"/>
                  <a:gd name="T21" fmla="*/ 31 h 241"/>
                  <a:gd name="T22" fmla="*/ 78 w 189"/>
                  <a:gd name="T23" fmla="*/ 26 h 241"/>
                  <a:gd name="T24" fmla="*/ 87 w 189"/>
                  <a:gd name="T25" fmla="*/ 23 h 241"/>
                  <a:gd name="T26" fmla="*/ 98 w 189"/>
                  <a:gd name="T27" fmla="*/ 24 h 241"/>
                  <a:gd name="T28" fmla="*/ 118 w 189"/>
                  <a:gd name="T29" fmla="*/ 15 h 241"/>
                  <a:gd name="T30" fmla="*/ 129 w 189"/>
                  <a:gd name="T31" fmla="*/ 16 h 241"/>
                  <a:gd name="T32" fmla="*/ 142 w 189"/>
                  <a:gd name="T33" fmla="*/ 14 h 241"/>
                  <a:gd name="T34" fmla="*/ 156 w 189"/>
                  <a:gd name="T35" fmla="*/ 10 h 241"/>
                  <a:gd name="T36" fmla="*/ 164 w 189"/>
                  <a:gd name="T37" fmla="*/ 9 h 241"/>
                  <a:gd name="T38" fmla="*/ 173 w 189"/>
                  <a:gd name="T39" fmla="*/ 5 h 241"/>
                  <a:gd name="T40" fmla="*/ 176 w 189"/>
                  <a:gd name="T41" fmla="*/ 1 h 241"/>
                  <a:gd name="T42" fmla="*/ 180 w 189"/>
                  <a:gd name="T43" fmla="*/ 2 h 241"/>
                  <a:gd name="T44" fmla="*/ 188 w 189"/>
                  <a:gd name="T45" fmla="*/ 4 h 241"/>
                  <a:gd name="T46" fmla="*/ 184 w 189"/>
                  <a:gd name="T47" fmla="*/ 12 h 241"/>
                  <a:gd name="T48" fmla="*/ 187 w 189"/>
                  <a:gd name="T49" fmla="*/ 15 h 241"/>
                  <a:gd name="T50" fmla="*/ 183 w 189"/>
                  <a:gd name="T51" fmla="*/ 22 h 241"/>
                  <a:gd name="T52" fmla="*/ 184 w 189"/>
                  <a:gd name="T53" fmla="*/ 29 h 241"/>
                  <a:gd name="T54" fmla="*/ 187 w 189"/>
                  <a:gd name="T55" fmla="*/ 28 h 241"/>
                  <a:gd name="T56" fmla="*/ 187 w 189"/>
                  <a:gd name="T57" fmla="*/ 30 h 241"/>
                  <a:gd name="T58" fmla="*/ 180 w 189"/>
                  <a:gd name="T59" fmla="*/ 36 h 241"/>
                  <a:gd name="T60" fmla="*/ 180 w 189"/>
                  <a:gd name="T61" fmla="*/ 44 h 241"/>
                  <a:gd name="T62" fmla="*/ 170 w 189"/>
                  <a:gd name="T63" fmla="*/ 66 h 241"/>
                  <a:gd name="T64" fmla="*/ 161 w 189"/>
                  <a:gd name="T65" fmla="*/ 73 h 241"/>
                  <a:gd name="T66" fmla="*/ 160 w 189"/>
                  <a:gd name="T67" fmla="*/ 80 h 241"/>
                  <a:gd name="T68" fmla="*/ 143 w 189"/>
                  <a:gd name="T69" fmla="*/ 113 h 241"/>
                  <a:gd name="T70" fmla="*/ 128 w 189"/>
                  <a:gd name="T71" fmla="*/ 136 h 241"/>
                  <a:gd name="T72" fmla="*/ 93 w 189"/>
                  <a:gd name="T73" fmla="*/ 171 h 241"/>
                  <a:gd name="T74" fmla="*/ 73 w 189"/>
                  <a:gd name="T75" fmla="*/ 182 h 241"/>
                  <a:gd name="T76" fmla="*/ 51 w 189"/>
                  <a:gd name="T77" fmla="*/ 201 h 241"/>
                  <a:gd name="T78" fmla="*/ 38 w 189"/>
                  <a:gd name="T79" fmla="*/ 216 h 241"/>
                  <a:gd name="T80" fmla="*/ 28 w 189"/>
                  <a:gd name="T81" fmla="*/ 223 h 241"/>
                  <a:gd name="T82" fmla="*/ 0 w 189"/>
                  <a:gd name="T83" fmla="*/ 229 h 241"/>
                  <a:gd name="T84" fmla="*/ 18 w 189"/>
                  <a:gd name="T85" fmla="*/ 144 h 2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89" h="241">
                    <a:moveTo>
                      <a:pt x="18" y="144"/>
                    </a:moveTo>
                    <a:lnTo>
                      <a:pt x="18" y="143"/>
                    </a:lnTo>
                    <a:lnTo>
                      <a:pt x="20" y="141"/>
                    </a:lnTo>
                    <a:lnTo>
                      <a:pt x="25" y="138"/>
                    </a:lnTo>
                    <a:lnTo>
                      <a:pt x="31" y="137"/>
                    </a:lnTo>
                    <a:lnTo>
                      <a:pt x="36" y="134"/>
                    </a:lnTo>
                    <a:lnTo>
                      <a:pt x="39" y="133"/>
                    </a:lnTo>
                    <a:lnTo>
                      <a:pt x="41" y="129"/>
                    </a:lnTo>
                    <a:lnTo>
                      <a:pt x="45" y="127"/>
                    </a:lnTo>
                    <a:lnTo>
                      <a:pt x="48" y="127"/>
                    </a:lnTo>
                    <a:lnTo>
                      <a:pt x="52" y="125"/>
                    </a:lnTo>
                    <a:lnTo>
                      <a:pt x="63" y="124"/>
                    </a:lnTo>
                    <a:lnTo>
                      <a:pt x="75" y="124"/>
                    </a:lnTo>
                    <a:lnTo>
                      <a:pt x="132" y="70"/>
                    </a:lnTo>
                    <a:lnTo>
                      <a:pt x="108" y="70"/>
                    </a:lnTo>
                    <a:lnTo>
                      <a:pt x="54" y="54"/>
                    </a:lnTo>
                    <a:lnTo>
                      <a:pt x="50" y="50"/>
                    </a:lnTo>
                    <a:lnTo>
                      <a:pt x="43" y="48"/>
                    </a:lnTo>
                    <a:lnTo>
                      <a:pt x="41" y="43"/>
                    </a:lnTo>
                    <a:lnTo>
                      <a:pt x="42" y="38"/>
                    </a:lnTo>
                    <a:lnTo>
                      <a:pt x="36" y="36"/>
                    </a:lnTo>
                    <a:lnTo>
                      <a:pt x="33" y="26"/>
                    </a:lnTo>
                    <a:lnTo>
                      <a:pt x="32" y="20"/>
                    </a:lnTo>
                    <a:lnTo>
                      <a:pt x="34" y="17"/>
                    </a:lnTo>
                    <a:lnTo>
                      <a:pt x="38" y="9"/>
                    </a:lnTo>
                    <a:lnTo>
                      <a:pt x="39" y="11"/>
                    </a:lnTo>
                    <a:lnTo>
                      <a:pt x="41" y="11"/>
                    </a:lnTo>
                    <a:lnTo>
                      <a:pt x="51" y="24"/>
                    </a:lnTo>
                    <a:lnTo>
                      <a:pt x="53" y="26"/>
                    </a:lnTo>
                    <a:lnTo>
                      <a:pt x="54" y="26"/>
                    </a:lnTo>
                    <a:lnTo>
                      <a:pt x="59" y="30"/>
                    </a:lnTo>
                    <a:lnTo>
                      <a:pt x="63" y="31"/>
                    </a:lnTo>
                    <a:lnTo>
                      <a:pt x="69" y="31"/>
                    </a:lnTo>
                    <a:lnTo>
                      <a:pt x="70" y="29"/>
                    </a:lnTo>
                    <a:lnTo>
                      <a:pt x="75" y="26"/>
                    </a:lnTo>
                    <a:lnTo>
                      <a:pt x="78" y="26"/>
                    </a:lnTo>
                    <a:lnTo>
                      <a:pt x="85" y="22"/>
                    </a:lnTo>
                    <a:lnTo>
                      <a:pt x="86" y="22"/>
                    </a:lnTo>
                    <a:lnTo>
                      <a:pt x="87" y="23"/>
                    </a:lnTo>
                    <a:lnTo>
                      <a:pt x="92" y="22"/>
                    </a:lnTo>
                    <a:lnTo>
                      <a:pt x="94" y="22"/>
                    </a:lnTo>
                    <a:lnTo>
                      <a:pt x="98" y="24"/>
                    </a:lnTo>
                    <a:lnTo>
                      <a:pt x="103" y="23"/>
                    </a:lnTo>
                    <a:lnTo>
                      <a:pt x="114" y="16"/>
                    </a:lnTo>
                    <a:lnTo>
                      <a:pt x="118" y="15"/>
                    </a:lnTo>
                    <a:lnTo>
                      <a:pt x="122" y="17"/>
                    </a:lnTo>
                    <a:lnTo>
                      <a:pt x="124" y="16"/>
                    </a:lnTo>
                    <a:lnTo>
                      <a:pt x="129" y="16"/>
                    </a:lnTo>
                    <a:lnTo>
                      <a:pt x="134" y="14"/>
                    </a:lnTo>
                    <a:lnTo>
                      <a:pt x="140" y="13"/>
                    </a:lnTo>
                    <a:lnTo>
                      <a:pt x="142" y="14"/>
                    </a:lnTo>
                    <a:lnTo>
                      <a:pt x="144" y="14"/>
                    </a:lnTo>
                    <a:lnTo>
                      <a:pt x="152" y="13"/>
                    </a:lnTo>
                    <a:lnTo>
                      <a:pt x="156" y="10"/>
                    </a:lnTo>
                    <a:lnTo>
                      <a:pt x="161" y="9"/>
                    </a:lnTo>
                    <a:lnTo>
                      <a:pt x="163" y="10"/>
                    </a:lnTo>
                    <a:lnTo>
                      <a:pt x="164" y="9"/>
                    </a:lnTo>
                    <a:lnTo>
                      <a:pt x="170" y="8"/>
                    </a:lnTo>
                    <a:lnTo>
                      <a:pt x="172" y="5"/>
                    </a:lnTo>
                    <a:lnTo>
                      <a:pt x="173" y="5"/>
                    </a:lnTo>
                    <a:lnTo>
                      <a:pt x="174" y="4"/>
                    </a:lnTo>
                    <a:lnTo>
                      <a:pt x="174" y="3"/>
                    </a:lnTo>
                    <a:lnTo>
                      <a:pt x="176" y="1"/>
                    </a:lnTo>
                    <a:lnTo>
                      <a:pt x="178" y="1"/>
                    </a:lnTo>
                    <a:lnTo>
                      <a:pt x="177" y="0"/>
                    </a:lnTo>
                    <a:lnTo>
                      <a:pt x="180" y="2"/>
                    </a:lnTo>
                    <a:lnTo>
                      <a:pt x="185" y="4"/>
                    </a:lnTo>
                    <a:lnTo>
                      <a:pt x="187" y="4"/>
                    </a:lnTo>
                    <a:lnTo>
                      <a:pt x="188" y="4"/>
                    </a:lnTo>
                    <a:lnTo>
                      <a:pt x="186" y="6"/>
                    </a:lnTo>
                    <a:lnTo>
                      <a:pt x="184" y="9"/>
                    </a:lnTo>
                    <a:lnTo>
                      <a:pt x="184" y="12"/>
                    </a:lnTo>
                    <a:lnTo>
                      <a:pt x="183" y="14"/>
                    </a:lnTo>
                    <a:lnTo>
                      <a:pt x="184" y="15"/>
                    </a:lnTo>
                    <a:lnTo>
                      <a:pt x="187" y="15"/>
                    </a:lnTo>
                    <a:lnTo>
                      <a:pt x="187" y="16"/>
                    </a:lnTo>
                    <a:lnTo>
                      <a:pt x="185" y="18"/>
                    </a:lnTo>
                    <a:lnTo>
                      <a:pt x="183" y="22"/>
                    </a:lnTo>
                    <a:lnTo>
                      <a:pt x="185" y="24"/>
                    </a:lnTo>
                    <a:lnTo>
                      <a:pt x="185" y="26"/>
                    </a:lnTo>
                    <a:lnTo>
                      <a:pt x="184" y="29"/>
                    </a:lnTo>
                    <a:lnTo>
                      <a:pt x="187" y="29"/>
                    </a:lnTo>
                    <a:lnTo>
                      <a:pt x="186" y="28"/>
                    </a:lnTo>
                    <a:lnTo>
                      <a:pt x="187" y="28"/>
                    </a:lnTo>
                    <a:lnTo>
                      <a:pt x="189" y="31"/>
                    </a:lnTo>
                    <a:lnTo>
                      <a:pt x="187" y="31"/>
                    </a:lnTo>
                    <a:lnTo>
                      <a:pt x="187" y="30"/>
                    </a:lnTo>
                    <a:lnTo>
                      <a:pt x="184" y="30"/>
                    </a:lnTo>
                    <a:lnTo>
                      <a:pt x="183" y="31"/>
                    </a:lnTo>
                    <a:lnTo>
                      <a:pt x="180" y="36"/>
                    </a:lnTo>
                    <a:lnTo>
                      <a:pt x="182" y="38"/>
                    </a:lnTo>
                    <a:lnTo>
                      <a:pt x="181" y="42"/>
                    </a:lnTo>
                    <a:lnTo>
                      <a:pt x="180" y="44"/>
                    </a:lnTo>
                    <a:lnTo>
                      <a:pt x="180" y="48"/>
                    </a:lnTo>
                    <a:lnTo>
                      <a:pt x="173" y="57"/>
                    </a:lnTo>
                    <a:lnTo>
                      <a:pt x="170" y="66"/>
                    </a:lnTo>
                    <a:lnTo>
                      <a:pt x="167" y="70"/>
                    </a:lnTo>
                    <a:lnTo>
                      <a:pt x="165" y="69"/>
                    </a:lnTo>
                    <a:lnTo>
                      <a:pt x="161" y="73"/>
                    </a:lnTo>
                    <a:lnTo>
                      <a:pt x="161" y="75"/>
                    </a:lnTo>
                    <a:lnTo>
                      <a:pt x="163" y="78"/>
                    </a:lnTo>
                    <a:lnTo>
                      <a:pt x="160" y="80"/>
                    </a:lnTo>
                    <a:lnTo>
                      <a:pt x="149" y="99"/>
                    </a:lnTo>
                    <a:lnTo>
                      <a:pt x="149" y="105"/>
                    </a:lnTo>
                    <a:lnTo>
                      <a:pt x="143" y="113"/>
                    </a:lnTo>
                    <a:lnTo>
                      <a:pt x="143" y="116"/>
                    </a:lnTo>
                    <a:lnTo>
                      <a:pt x="130" y="133"/>
                    </a:lnTo>
                    <a:lnTo>
                      <a:pt x="128" y="136"/>
                    </a:lnTo>
                    <a:lnTo>
                      <a:pt x="123" y="142"/>
                    </a:lnTo>
                    <a:lnTo>
                      <a:pt x="113" y="154"/>
                    </a:lnTo>
                    <a:lnTo>
                      <a:pt x="93" y="171"/>
                    </a:lnTo>
                    <a:lnTo>
                      <a:pt x="85" y="178"/>
                    </a:lnTo>
                    <a:lnTo>
                      <a:pt x="78" y="179"/>
                    </a:lnTo>
                    <a:lnTo>
                      <a:pt x="73" y="182"/>
                    </a:lnTo>
                    <a:lnTo>
                      <a:pt x="66" y="187"/>
                    </a:lnTo>
                    <a:lnTo>
                      <a:pt x="54" y="200"/>
                    </a:lnTo>
                    <a:lnTo>
                      <a:pt x="51" y="201"/>
                    </a:lnTo>
                    <a:lnTo>
                      <a:pt x="41" y="212"/>
                    </a:lnTo>
                    <a:lnTo>
                      <a:pt x="39" y="213"/>
                    </a:lnTo>
                    <a:lnTo>
                      <a:pt x="38" y="216"/>
                    </a:lnTo>
                    <a:lnTo>
                      <a:pt x="34" y="217"/>
                    </a:lnTo>
                    <a:lnTo>
                      <a:pt x="30" y="220"/>
                    </a:lnTo>
                    <a:lnTo>
                      <a:pt x="28" y="223"/>
                    </a:lnTo>
                    <a:lnTo>
                      <a:pt x="13" y="240"/>
                    </a:lnTo>
                    <a:lnTo>
                      <a:pt x="13" y="241"/>
                    </a:lnTo>
                    <a:lnTo>
                      <a:pt x="0" y="229"/>
                    </a:lnTo>
                    <a:lnTo>
                      <a:pt x="0" y="159"/>
                    </a:lnTo>
                    <a:lnTo>
                      <a:pt x="18" y="144"/>
                    </a:lnTo>
                    <a:lnTo>
                      <a:pt x="18" y="144"/>
                    </a:lnTo>
                    <a:lnTo>
                      <a:pt x="18" y="144"/>
                    </a:lnTo>
                    <a:close/>
                  </a:path>
                </a:pathLst>
              </a:custGeom>
              <a:solidFill>
                <a:schemeClr val="accent4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659" name="Freeform 463"/>
              <p:cNvSpPr>
                <a:spLocks/>
              </p:cNvSpPr>
              <p:nvPr userDrawn="1"/>
            </p:nvSpPr>
            <p:spPr bwMode="auto">
              <a:xfrm>
                <a:off x="4399" y="2448"/>
                <a:ext cx="88" cy="68"/>
              </a:xfrm>
              <a:custGeom>
                <a:avLst/>
                <a:gdLst>
                  <a:gd name="T0" fmla="*/ 1 w 88"/>
                  <a:gd name="T1" fmla="*/ 34 h 68"/>
                  <a:gd name="T2" fmla="*/ 0 w 88"/>
                  <a:gd name="T3" fmla="*/ 41 h 68"/>
                  <a:gd name="T4" fmla="*/ 5 w 88"/>
                  <a:gd name="T5" fmla="*/ 46 h 68"/>
                  <a:gd name="T6" fmla="*/ 9 w 88"/>
                  <a:gd name="T7" fmla="*/ 59 h 68"/>
                  <a:gd name="T8" fmla="*/ 63 w 88"/>
                  <a:gd name="T9" fmla="*/ 68 h 68"/>
                  <a:gd name="T10" fmla="*/ 69 w 88"/>
                  <a:gd name="T11" fmla="*/ 62 h 68"/>
                  <a:gd name="T12" fmla="*/ 84 w 88"/>
                  <a:gd name="T13" fmla="*/ 15 h 68"/>
                  <a:gd name="T14" fmla="*/ 88 w 88"/>
                  <a:gd name="T15" fmla="*/ 14 h 68"/>
                  <a:gd name="T16" fmla="*/ 88 w 88"/>
                  <a:gd name="T17" fmla="*/ 10 h 68"/>
                  <a:gd name="T18" fmla="*/ 87 w 88"/>
                  <a:gd name="T19" fmla="*/ 8 h 68"/>
                  <a:gd name="T20" fmla="*/ 85 w 88"/>
                  <a:gd name="T21" fmla="*/ 9 h 68"/>
                  <a:gd name="T22" fmla="*/ 84 w 88"/>
                  <a:gd name="T23" fmla="*/ 8 h 68"/>
                  <a:gd name="T24" fmla="*/ 84 w 88"/>
                  <a:gd name="T25" fmla="*/ 7 h 68"/>
                  <a:gd name="T26" fmla="*/ 83 w 88"/>
                  <a:gd name="T27" fmla="*/ 7 h 68"/>
                  <a:gd name="T28" fmla="*/ 82 w 88"/>
                  <a:gd name="T29" fmla="*/ 1 h 68"/>
                  <a:gd name="T30" fmla="*/ 81 w 88"/>
                  <a:gd name="T31" fmla="*/ 0 h 68"/>
                  <a:gd name="T32" fmla="*/ 81 w 88"/>
                  <a:gd name="T33" fmla="*/ 3 h 68"/>
                  <a:gd name="T34" fmla="*/ 79 w 88"/>
                  <a:gd name="T35" fmla="*/ 5 h 68"/>
                  <a:gd name="T36" fmla="*/ 68 w 88"/>
                  <a:gd name="T37" fmla="*/ 11 h 68"/>
                  <a:gd name="T38" fmla="*/ 68 w 88"/>
                  <a:gd name="T39" fmla="*/ 16 h 68"/>
                  <a:gd name="T40" fmla="*/ 57 w 88"/>
                  <a:gd name="T41" fmla="*/ 25 h 68"/>
                  <a:gd name="T42" fmla="*/ 56 w 88"/>
                  <a:gd name="T43" fmla="*/ 27 h 68"/>
                  <a:gd name="T44" fmla="*/ 57 w 88"/>
                  <a:gd name="T45" fmla="*/ 28 h 68"/>
                  <a:gd name="T46" fmla="*/ 58 w 88"/>
                  <a:gd name="T47" fmla="*/ 30 h 68"/>
                  <a:gd name="T48" fmla="*/ 53 w 88"/>
                  <a:gd name="T49" fmla="*/ 34 h 68"/>
                  <a:gd name="T50" fmla="*/ 52 w 88"/>
                  <a:gd name="T51" fmla="*/ 32 h 68"/>
                  <a:gd name="T52" fmla="*/ 50 w 88"/>
                  <a:gd name="T53" fmla="*/ 33 h 68"/>
                  <a:gd name="T54" fmla="*/ 48 w 88"/>
                  <a:gd name="T55" fmla="*/ 33 h 68"/>
                  <a:gd name="T56" fmla="*/ 48 w 88"/>
                  <a:gd name="T57" fmla="*/ 36 h 68"/>
                  <a:gd name="T58" fmla="*/ 47 w 88"/>
                  <a:gd name="T59" fmla="*/ 36 h 68"/>
                  <a:gd name="T60" fmla="*/ 46 w 88"/>
                  <a:gd name="T61" fmla="*/ 38 h 68"/>
                  <a:gd name="T62" fmla="*/ 40 w 88"/>
                  <a:gd name="T63" fmla="*/ 39 h 68"/>
                  <a:gd name="T64" fmla="*/ 37 w 88"/>
                  <a:gd name="T65" fmla="*/ 39 h 68"/>
                  <a:gd name="T66" fmla="*/ 35 w 88"/>
                  <a:gd name="T67" fmla="*/ 37 h 68"/>
                  <a:gd name="T68" fmla="*/ 32 w 88"/>
                  <a:gd name="T69" fmla="*/ 37 h 68"/>
                  <a:gd name="T70" fmla="*/ 30 w 88"/>
                  <a:gd name="T71" fmla="*/ 37 h 68"/>
                  <a:gd name="T72" fmla="*/ 27 w 88"/>
                  <a:gd name="T73" fmla="*/ 37 h 68"/>
                  <a:gd name="T74" fmla="*/ 21 w 88"/>
                  <a:gd name="T75" fmla="*/ 36 h 68"/>
                  <a:gd name="T76" fmla="*/ 14 w 88"/>
                  <a:gd name="T77" fmla="*/ 42 h 68"/>
                  <a:gd name="T78" fmla="*/ 11 w 88"/>
                  <a:gd name="T79" fmla="*/ 41 h 68"/>
                  <a:gd name="T80" fmla="*/ 8 w 88"/>
                  <a:gd name="T81" fmla="*/ 41 h 68"/>
                  <a:gd name="T82" fmla="*/ 5 w 88"/>
                  <a:gd name="T83" fmla="*/ 42 h 68"/>
                  <a:gd name="T84" fmla="*/ 4 w 88"/>
                  <a:gd name="T85" fmla="*/ 33 h 68"/>
                  <a:gd name="T86" fmla="*/ 2 w 88"/>
                  <a:gd name="T87" fmla="*/ 35 h 68"/>
                  <a:gd name="T88" fmla="*/ 1 w 88"/>
                  <a:gd name="T89" fmla="*/ 34 h 68"/>
                  <a:gd name="T90" fmla="*/ 1 w 88"/>
                  <a:gd name="T91" fmla="*/ 34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88" h="68">
                    <a:moveTo>
                      <a:pt x="1" y="34"/>
                    </a:moveTo>
                    <a:lnTo>
                      <a:pt x="0" y="41"/>
                    </a:lnTo>
                    <a:lnTo>
                      <a:pt x="5" y="46"/>
                    </a:lnTo>
                    <a:lnTo>
                      <a:pt x="9" y="59"/>
                    </a:lnTo>
                    <a:lnTo>
                      <a:pt x="63" y="68"/>
                    </a:lnTo>
                    <a:lnTo>
                      <a:pt x="69" y="62"/>
                    </a:lnTo>
                    <a:lnTo>
                      <a:pt x="84" y="15"/>
                    </a:lnTo>
                    <a:lnTo>
                      <a:pt x="88" y="14"/>
                    </a:lnTo>
                    <a:lnTo>
                      <a:pt x="88" y="10"/>
                    </a:lnTo>
                    <a:lnTo>
                      <a:pt x="87" y="8"/>
                    </a:lnTo>
                    <a:lnTo>
                      <a:pt x="85" y="9"/>
                    </a:lnTo>
                    <a:lnTo>
                      <a:pt x="84" y="8"/>
                    </a:lnTo>
                    <a:lnTo>
                      <a:pt x="84" y="7"/>
                    </a:lnTo>
                    <a:lnTo>
                      <a:pt x="83" y="7"/>
                    </a:lnTo>
                    <a:lnTo>
                      <a:pt x="82" y="1"/>
                    </a:lnTo>
                    <a:lnTo>
                      <a:pt x="81" y="0"/>
                    </a:lnTo>
                    <a:lnTo>
                      <a:pt x="81" y="3"/>
                    </a:lnTo>
                    <a:lnTo>
                      <a:pt x="79" y="5"/>
                    </a:lnTo>
                    <a:lnTo>
                      <a:pt x="68" y="11"/>
                    </a:lnTo>
                    <a:lnTo>
                      <a:pt x="68" y="16"/>
                    </a:lnTo>
                    <a:lnTo>
                      <a:pt x="57" y="25"/>
                    </a:lnTo>
                    <a:lnTo>
                      <a:pt x="56" y="27"/>
                    </a:lnTo>
                    <a:lnTo>
                      <a:pt x="57" y="28"/>
                    </a:lnTo>
                    <a:lnTo>
                      <a:pt x="58" y="30"/>
                    </a:lnTo>
                    <a:lnTo>
                      <a:pt x="53" y="34"/>
                    </a:lnTo>
                    <a:lnTo>
                      <a:pt x="52" y="32"/>
                    </a:lnTo>
                    <a:lnTo>
                      <a:pt x="50" y="33"/>
                    </a:lnTo>
                    <a:lnTo>
                      <a:pt x="48" y="33"/>
                    </a:lnTo>
                    <a:lnTo>
                      <a:pt x="48" y="36"/>
                    </a:lnTo>
                    <a:lnTo>
                      <a:pt x="47" y="36"/>
                    </a:lnTo>
                    <a:lnTo>
                      <a:pt x="46" y="38"/>
                    </a:lnTo>
                    <a:lnTo>
                      <a:pt x="40" y="39"/>
                    </a:lnTo>
                    <a:lnTo>
                      <a:pt x="37" y="39"/>
                    </a:lnTo>
                    <a:lnTo>
                      <a:pt x="35" y="37"/>
                    </a:lnTo>
                    <a:lnTo>
                      <a:pt x="32" y="37"/>
                    </a:lnTo>
                    <a:lnTo>
                      <a:pt x="30" y="37"/>
                    </a:lnTo>
                    <a:lnTo>
                      <a:pt x="27" y="37"/>
                    </a:lnTo>
                    <a:lnTo>
                      <a:pt x="21" y="36"/>
                    </a:lnTo>
                    <a:lnTo>
                      <a:pt x="14" y="42"/>
                    </a:lnTo>
                    <a:lnTo>
                      <a:pt x="11" y="41"/>
                    </a:lnTo>
                    <a:lnTo>
                      <a:pt x="8" y="41"/>
                    </a:lnTo>
                    <a:lnTo>
                      <a:pt x="5" y="42"/>
                    </a:lnTo>
                    <a:lnTo>
                      <a:pt x="4" y="33"/>
                    </a:lnTo>
                    <a:lnTo>
                      <a:pt x="2" y="35"/>
                    </a:lnTo>
                    <a:lnTo>
                      <a:pt x="1" y="34"/>
                    </a:lnTo>
                    <a:lnTo>
                      <a:pt x="1" y="34"/>
                    </a:lnTo>
                    <a:close/>
                  </a:path>
                </a:pathLst>
              </a:custGeom>
              <a:solidFill>
                <a:schemeClr val="accent4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660" name="Freeform 464"/>
              <p:cNvSpPr>
                <a:spLocks/>
              </p:cNvSpPr>
              <p:nvPr userDrawn="1"/>
            </p:nvSpPr>
            <p:spPr bwMode="auto">
              <a:xfrm>
                <a:off x="3248" y="2472"/>
                <a:ext cx="300" cy="269"/>
              </a:xfrm>
              <a:custGeom>
                <a:avLst/>
                <a:gdLst>
                  <a:gd name="T0" fmla="*/ 10 w 300"/>
                  <a:gd name="T1" fmla="*/ 184 h 269"/>
                  <a:gd name="T2" fmla="*/ 12 w 300"/>
                  <a:gd name="T3" fmla="*/ 170 h 269"/>
                  <a:gd name="T4" fmla="*/ 23 w 300"/>
                  <a:gd name="T5" fmla="*/ 173 h 269"/>
                  <a:gd name="T6" fmla="*/ 32 w 300"/>
                  <a:gd name="T7" fmla="*/ 172 h 269"/>
                  <a:gd name="T8" fmla="*/ 46 w 300"/>
                  <a:gd name="T9" fmla="*/ 175 h 269"/>
                  <a:gd name="T10" fmla="*/ 53 w 300"/>
                  <a:gd name="T11" fmla="*/ 173 h 269"/>
                  <a:gd name="T12" fmla="*/ 123 w 300"/>
                  <a:gd name="T13" fmla="*/ 177 h 269"/>
                  <a:gd name="T14" fmla="*/ 109 w 300"/>
                  <a:gd name="T15" fmla="*/ 1 h 269"/>
                  <a:gd name="T16" fmla="*/ 254 w 300"/>
                  <a:gd name="T17" fmla="*/ 86 h 269"/>
                  <a:gd name="T18" fmla="*/ 270 w 300"/>
                  <a:gd name="T19" fmla="*/ 91 h 269"/>
                  <a:gd name="T20" fmla="*/ 281 w 300"/>
                  <a:gd name="T21" fmla="*/ 98 h 269"/>
                  <a:gd name="T22" fmla="*/ 281 w 300"/>
                  <a:gd name="T23" fmla="*/ 110 h 269"/>
                  <a:gd name="T24" fmla="*/ 300 w 300"/>
                  <a:gd name="T25" fmla="*/ 108 h 269"/>
                  <a:gd name="T26" fmla="*/ 298 w 300"/>
                  <a:gd name="T27" fmla="*/ 159 h 269"/>
                  <a:gd name="T28" fmla="*/ 293 w 300"/>
                  <a:gd name="T29" fmla="*/ 170 h 269"/>
                  <a:gd name="T30" fmla="*/ 273 w 300"/>
                  <a:gd name="T31" fmla="*/ 179 h 269"/>
                  <a:gd name="T32" fmla="*/ 256 w 300"/>
                  <a:gd name="T33" fmla="*/ 181 h 269"/>
                  <a:gd name="T34" fmla="*/ 235 w 300"/>
                  <a:gd name="T35" fmla="*/ 184 h 269"/>
                  <a:gd name="T36" fmla="*/ 228 w 300"/>
                  <a:gd name="T37" fmla="*/ 183 h 269"/>
                  <a:gd name="T38" fmla="*/ 215 w 300"/>
                  <a:gd name="T39" fmla="*/ 181 h 269"/>
                  <a:gd name="T40" fmla="*/ 197 w 300"/>
                  <a:gd name="T41" fmla="*/ 190 h 269"/>
                  <a:gd name="T42" fmla="*/ 171 w 300"/>
                  <a:gd name="T43" fmla="*/ 207 h 269"/>
                  <a:gd name="T44" fmla="*/ 154 w 300"/>
                  <a:gd name="T45" fmla="*/ 210 h 269"/>
                  <a:gd name="T46" fmla="*/ 146 w 300"/>
                  <a:gd name="T47" fmla="*/ 221 h 269"/>
                  <a:gd name="T48" fmla="*/ 136 w 300"/>
                  <a:gd name="T49" fmla="*/ 237 h 269"/>
                  <a:gd name="T50" fmla="*/ 130 w 300"/>
                  <a:gd name="T51" fmla="*/ 246 h 269"/>
                  <a:gd name="T52" fmla="*/ 127 w 300"/>
                  <a:gd name="T53" fmla="*/ 256 h 269"/>
                  <a:gd name="T54" fmla="*/ 125 w 300"/>
                  <a:gd name="T55" fmla="*/ 265 h 269"/>
                  <a:gd name="T56" fmla="*/ 114 w 300"/>
                  <a:gd name="T57" fmla="*/ 266 h 269"/>
                  <a:gd name="T58" fmla="*/ 104 w 300"/>
                  <a:gd name="T59" fmla="*/ 265 h 269"/>
                  <a:gd name="T60" fmla="*/ 95 w 300"/>
                  <a:gd name="T61" fmla="*/ 267 h 269"/>
                  <a:gd name="T62" fmla="*/ 83 w 300"/>
                  <a:gd name="T63" fmla="*/ 268 h 269"/>
                  <a:gd name="T64" fmla="*/ 76 w 300"/>
                  <a:gd name="T65" fmla="*/ 264 h 269"/>
                  <a:gd name="T66" fmla="*/ 75 w 300"/>
                  <a:gd name="T67" fmla="*/ 256 h 269"/>
                  <a:gd name="T68" fmla="*/ 68 w 300"/>
                  <a:gd name="T69" fmla="*/ 259 h 269"/>
                  <a:gd name="T70" fmla="*/ 72 w 300"/>
                  <a:gd name="T71" fmla="*/ 248 h 269"/>
                  <a:gd name="T72" fmla="*/ 68 w 300"/>
                  <a:gd name="T73" fmla="*/ 241 h 269"/>
                  <a:gd name="T74" fmla="*/ 62 w 300"/>
                  <a:gd name="T75" fmla="*/ 232 h 269"/>
                  <a:gd name="T76" fmla="*/ 51 w 300"/>
                  <a:gd name="T77" fmla="*/ 232 h 269"/>
                  <a:gd name="T78" fmla="*/ 42 w 300"/>
                  <a:gd name="T79" fmla="*/ 237 h 269"/>
                  <a:gd name="T80" fmla="*/ 29 w 300"/>
                  <a:gd name="T81" fmla="*/ 237 h 269"/>
                  <a:gd name="T82" fmla="*/ 21 w 300"/>
                  <a:gd name="T83" fmla="*/ 237 h 269"/>
                  <a:gd name="T84" fmla="*/ 22 w 300"/>
                  <a:gd name="T85" fmla="*/ 231 h 269"/>
                  <a:gd name="T86" fmla="*/ 18 w 300"/>
                  <a:gd name="T87" fmla="*/ 224 h 269"/>
                  <a:gd name="T88" fmla="*/ 15 w 300"/>
                  <a:gd name="T89" fmla="*/ 217 h 269"/>
                  <a:gd name="T90" fmla="*/ 8 w 300"/>
                  <a:gd name="T91" fmla="*/ 214 h 269"/>
                  <a:gd name="T92" fmla="*/ 2 w 300"/>
                  <a:gd name="T93" fmla="*/ 203 h 269"/>
                  <a:gd name="T94" fmla="*/ 3 w 300"/>
                  <a:gd name="T95" fmla="*/ 190 h 2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300" h="269">
                    <a:moveTo>
                      <a:pt x="0" y="188"/>
                    </a:moveTo>
                    <a:lnTo>
                      <a:pt x="4" y="184"/>
                    </a:lnTo>
                    <a:lnTo>
                      <a:pt x="10" y="184"/>
                    </a:lnTo>
                    <a:lnTo>
                      <a:pt x="12" y="180"/>
                    </a:lnTo>
                    <a:lnTo>
                      <a:pt x="12" y="177"/>
                    </a:lnTo>
                    <a:lnTo>
                      <a:pt x="12" y="170"/>
                    </a:lnTo>
                    <a:lnTo>
                      <a:pt x="18" y="169"/>
                    </a:lnTo>
                    <a:lnTo>
                      <a:pt x="22" y="169"/>
                    </a:lnTo>
                    <a:lnTo>
                      <a:pt x="23" y="173"/>
                    </a:lnTo>
                    <a:lnTo>
                      <a:pt x="25" y="179"/>
                    </a:lnTo>
                    <a:lnTo>
                      <a:pt x="27" y="181"/>
                    </a:lnTo>
                    <a:lnTo>
                      <a:pt x="32" y="172"/>
                    </a:lnTo>
                    <a:lnTo>
                      <a:pt x="42" y="168"/>
                    </a:lnTo>
                    <a:lnTo>
                      <a:pt x="46" y="169"/>
                    </a:lnTo>
                    <a:lnTo>
                      <a:pt x="46" y="175"/>
                    </a:lnTo>
                    <a:lnTo>
                      <a:pt x="47" y="177"/>
                    </a:lnTo>
                    <a:lnTo>
                      <a:pt x="51" y="173"/>
                    </a:lnTo>
                    <a:lnTo>
                      <a:pt x="53" y="173"/>
                    </a:lnTo>
                    <a:lnTo>
                      <a:pt x="55" y="176"/>
                    </a:lnTo>
                    <a:lnTo>
                      <a:pt x="57" y="177"/>
                    </a:lnTo>
                    <a:lnTo>
                      <a:pt x="123" y="177"/>
                    </a:lnTo>
                    <a:lnTo>
                      <a:pt x="129" y="160"/>
                    </a:lnTo>
                    <a:lnTo>
                      <a:pt x="123" y="157"/>
                    </a:lnTo>
                    <a:lnTo>
                      <a:pt x="109" y="1"/>
                    </a:lnTo>
                    <a:lnTo>
                      <a:pt x="132" y="0"/>
                    </a:lnTo>
                    <a:lnTo>
                      <a:pt x="252" y="77"/>
                    </a:lnTo>
                    <a:lnTo>
                      <a:pt x="254" y="86"/>
                    </a:lnTo>
                    <a:lnTo>
                      <a:pt x="258" y="90"/>
                    </a:lnTo>
                    <a:lnTo>
                      <a:pt x="264" y="89"/>
                    </a:lnTo>
                    <a:lnTo>
                      <a:pt x="270" y="91"/>
                    </a:lnTo>
                    <a:lnTo>
                      <a:pt x="273" y="94"/>
                    </a:lnTo>
                    <a:lnTo>
                      <a:pt x="278" y="95"/>
                    </a:lnTo>
                    <a:lnTo>
                      <a:pt x="281" y="98"/>
                    </a:lnTo>
                    <a:lnTo>
                      <a:pt x="281" y="101"/>
                    </a:lnTo>
                    <a:lnTo>
                      <a:pt x="279" y="107"/>
                    </a:lnTo>
                    <a:lnTo>
                      <a:pt x="281" y="110"/>
                    </a:lnTo>
                    <a:lnTo>
                      <a:pt x="284" y="112"/>
                    </a:lnTo>
                    <a:lnTo>
                      <a:pt x="293" y="110"/>
                    </a:lnTo>
                    <a:lnTo>
                      <a:pt x="300" y="108"/>
                    </a:lnTo>
                    <a:lnTo>
                      <a:pt x="300" y="108"/>
                    </a:lnTo>
                    <a:lnTo>
                      <a:pt x="299" y="142"/>
                    </a:lnTo>
                    <a:lnTo>
                      <a:pt x="298" y="159"/>
                    </a:lnTo>
                    <a:lnTo>
                      <a:pt x="295" y="160"/>
                    </a:lnTo>
                    <a:lnTo>
                      <a:pt x="294" y="166"/>
                    </a:lnTo>
                    <a:lnTo>
                      <a:pt x="293" y="170"/>
                    </a:lnTo>
                    <a:lnTo>
                      <a:pt x="284" y="175"/>
                    </a:lnTo>
                    <a:lnTo>
                      <a:pt x="279" y="178"/>
                    </a:lnTo>
                    <a:lnTo>
                      <a:pt x="273" y="179"/>
                    </a:lnTo>
                    <a:lnTo>
                      <a:pt x="268" y="181"/>
                    </a:lnTo>
                    <a:lnTo>
                      <a:pt x="264" y="181"/>
                    </a:lnTo>
                    <a:lnTo>
                      <a:pt x="256" y="181"/>
                    </a:lnTo>
                    <a:lnTo>
                      <a:pt x="251" y="183"/>
                    </a:lnTo>
                    <a:lnTo>
                      <a:pt x="247" y="183"/>
                    </a:lnTo>
                    <a:lnTo>
                      <a:pt x="235" y="184"/>
                    </a:lnTo>
                    <a:lnTo>
                      <a:pt x="230" y="183"/>
                    </a:lnTo>
                    <a:lnTo>
                      <a:pt x="230" y="184"/>
                    </a:lnTo>
                    <a:lnTo>
                      <a:pt x="228" y="183"/>
                    </a:lnTo>
                    <a:lnTo>
                      <a:pt x="225" y="183"/>
                    </a:lnTo>
                    <a:lnTo>
                      <a:pt x="219" y="181"/>
                    </a:lnTo>
                    <a:lnTo>
                      <a:pt x="215" y="181"/>
                    </a:lnTo>
                    <a:lnTo>
                      <a:pt x="206" y="183"/>
                    </a:lnTo>
                    <a:lnTo>
                      <a:pt x="200" y="186"/>
                    </a:lnTo>
                    <a:lnTo>
                      <a:pt x="197" y="190"/>
                    </a:lnTo>
                    <a:lnTo>
                      <a:pt x="182" y="198"/>
                    </a:lnTo>
                    <a:lnTo>
                      <a:pt x="172" y="204"/>
                    </a:lnTo>
                    <a:lnTo>
                      <a:pt x="171" y="207"/>
                    </a:lnTo>
                    <a:lnTo>
                      <a:pt x="161" y="210"/>
                    </a:lnTo>
                    <a:lnTo>
                      <a:pt x="158" y="210"/>
                    </a:lnTo>
                    <a:lnTo>
                      <a:pt x="154" y="210"/>
                    </a:lnTo>
                    <a:lnTo>
                      <a:pt x="153" y="212"/>
                    </a:lnTo>
                    <a:lnTo>
                      <a:pt x="150" y="213"/>
                    </a:lnTo>
                    <a:lnTo>
                      <a:pt x="146" y="221"/>
                    </a:lnTo>
                    <a:lnTo>
                      <a:pt x="146" y="223"/>
                    </a:lnTo>
                    <a:lnTo>
                      <a:pt x="142" y="228"/>
                    </a:lnTo>
                    <a:lnTo>
                      <a:pt x="136" y="237"/>
                    </a:lnTo>
                    <a:lnTo>
                      <a:pt x="132" y="241"/>
                    </a:lnTo>
                    <a:lnTo>
                      <a:pt x="129" y="244"/>
                    </a:lnTo>
                    <a:lnTo>
                      <a:pt x="130" y="246"/>
                    </a:lnTo>
                    <a:lnTo>
                      <a:pt x="131" y="251"/>
                    </a:lnTo>
                    <a:lnTo>
                      <a:pt x="127" y="252"/>
                    </a:lnTo>
                    <a:lnTo>
                      <a:pt x="127" y="256"/>
                    </a:lnTo>
                    <a:lnTo>
                      <a:pt x="128" y="259"/>
                    </a:lnTo>
                    <a:lnTo>
                      <a:pt x="127" y="263"/>
                    </a:lnTo>
                    <a:lnTo>
                      <a:pt x="125" y="265"/>
                    </a:lnTo>
                    <a:lnTo>
                      <a:pt x="121" y="269"/>
                    </a:lnTo>
                    <a:lnTo>
                      <a:pt x="115" y="267"/>
                    </a:lnTo>
                    <a:lnTo>
                      <a:pt x="114" y="266"/>
                    </a:lnTo>
                    <a:lnTo>
                      <a:pt x="115" y="265"/>
                    </a:lnTo>
                    <a:lnTo>
                      <a:pt x="111" y="264"/>
                    </a:lnTo>
                    <a:lnTo>
                      <a:pt x="104" y="265"/>
                    </a:lnTo>
                    <a:lnTo>
                      <a:pt x="104" y="267"/>
                    </a:lnTo>
                    <a:lnTo>
                      <a:pt x="103" y="267"/>
                    </a:lnTo>
                    <a:lnTo>
                      <a:pt x="95" y="267"/>
                    </a:lnTo>
                    <a:lnTo>
                      <a:pt x="90" y="266"/>
                    </a:lnTo>
                    <a:lnTo>
                      <a:pt x="89" y="266"/>
                    </a:lnTo>
                    <a:lnTo>
                      <a:pt x="83" y="268"/>
                    </a:lnTo>
                    <a:lnTo>
                      <a:pt x="83" y="266"/>
                    </a:lnTo>
                    <a:lnTo>
                      <a:pt x="81" y="264"/>
                    </a:lnTo>
                    <a:lnTo>
                      <a:pt x="76" y="264"/>
                    </a:lnTo>
                    <a:lnTo>
                      <a:pt x="76" y="262"/>
                    </a:lnTo>
                    <a:lnTo>
                      <a:pt x="75" y="260"/>
                    </a:lnTo>
                    <a:lnTo>
                      <a:pt x="75" y="256"/>
                    </a:lnTo>
                    <a:lnTo>
                      <a:pt x="72" y="256"/>
                    </a:lnTo>
                    <a:lnTo>
                      <a:pt x="70" y="259"/>
                    </a:lnTo>
                    <a:lnTo>
                      <a:pt x="68" y="259"/>
                    </a:lnTo>
                    <a:lnTo>
                      <a:pt x="69" y="254"/>
                    </a:lnTo>
                    <a:lnTo>
                      <a:pt x="72" y="250"/>
                    </a:lnTo>
                    <a:lnTo>
                      <a:pt x="72" y="248"/>
                    </a:lnTo>
                    <a:lnTo>
                      <a:pt x="68" y="246"/>
                    </a:lnTo>
                    <a:lnTo>
                      <a:pt x="67" y="246"/>
                    </a:lnTo>
                    <a:lnTo>
                      <a:pt x="68" y="241"/>
                    </a:lnTo>
                    <a:lnTo>
                      <a:pt x="66" y="237"/>
                    </a:lnTo>
                    <a:lnTo>
                      <a:pt x="62" y="234"/>
                    </a:lnTo>
                    <a:lnTo>
                      <a:pt x="62" y="232"/>
                    </a:lnTo>
                    <a:lnTo>
                      <a:pt x="58" y="233"/>
                    </a:lnTo>
                    <a:lnTo>
                      <a:pt x="56" y="234"/>
                    </a:lnTo>
                    <a:lnTo>
                      <a:pt x="51" y="232"/>
                    </a:lnTo>
                    <a:lnTo>
                      <a:pt x="48" y="232"/>
                    </a:lnTo>
                    <a:lnTo>
                      <a:pt x="45" y="237"/>
                    </a:lnTo>
                    <a:lnTo>
                      <a:pt x="42" y="237"/>
                    </a:lnTo>
                    <a:lnTo>
                      <a:pt x="38" y="240"/>
                    </a:lnTo>
                    <a:lnTo>
                      <a:pt x="34" y="240"/>
                    </a:lnTo>
                    <a:lnTo>
                      <a:pt x="29" y="237"/>
                    </a:lnTo>
                    <a:lnTo>
                      <a:pt x="27" y="236"/>
                    </a:lnTo>
                    <a:lnTo>
                      <a:pt x="23" y="238"/>
                    </a:lnTo>
                    <a:lnTo>
                      <a:pt x="21" y="237"/>
                    </a:lnTo>
                    <a:lnTo>
                      <a:pt x="21" y="237"/>
                    </a:lnTo>
                    <a:lnTo>
                      <a:pt x="22" y="234"/>
                    </a:lnTo>
                    <a:lnTo>
                      <a:pt x="22" y="231"/>
                    </a:lnTo>
                    <a:lnTo>
                      <a:pt x="17" y="229"/>
                    </a:lnTo>
                    <a:lnTo>
                      <a:pt x="17" y="226"/>
                    </a:lnTo>
                    <a:lnTo>
                      <a:pt x="18" y="224"/>
                    </a:lnTo>
                    <a:lnTo>
                      <a:pt x="19" y="222"/>
                    </a:lnTo>
                    <a:lnTo>
                      <a:pt x="16" y="220"/>
                    </a:lnTo>
                    <a:lnTo>
                      <a:pt x="15" y="217"/>
                    </a:lnTo>
                    <a:lnTo>
                      <a:pt x="13" y="215"/>
                    </a:lnTo>
                    <a:lnTo>
                      <a:pt x="11" y="216"/>
                    </a:lnTo>
                    <a:lnTo>
                      <a:pt x="8" y="214"/>
                    </a:lnTo>
                    <a:lnTo>
                      <a:pt x="6" y="209"/>
                    </a:lnTo>
                    <a:lnTo>
                      <a:pt x="3" y="205"/>
                    </a:lnTo>
                    <a:lnTo>
                      <a:pt x="2" y="203"/>
                    </a:lnTo>
                    <a:lnTo>
                      <a:pt x="4" y="196"/>
                    </a:lnTo>
                    <a:lnTo>
                      <a:pt x="3" y="193"/>
                    </a:lnTo>
                    <a:lnTo>
                      <a:pt x="3" y="190"/>
                    </a:lnTo>
                    <a:lnTo>
                      <a:pt x="0" y="188"/>
                    </a:lnTo>
                    <a:lnTo>
                      <a:pt x="0" y="188"/>
                    </a:lnTo>
                    <a:close/>
                  </a:path>
                </a:pathLst>
              </a:custGeom>
              <a:solidFill>
                <a:schemeClr val="accent4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661" name="Freeform 465"/>
              <p:cNvSpPr>
                <a:spLocks/>
              </p:cNvSpPr>
              <p:nvPr userDrawn="1"/>
            </p:nvSpPr>
            <p:spPr bwMode="auto">
              <a:xfrm>
                <a:off x="3201" y="2697"/>
                <a:ext cx="130" cy="125"/>
              </a:xfrm>
              <a:custGeom>
                <a:avLst/>
                <a:gdLst>
                  <a:gd name="T0" fmla="*/ 2 w 130"/>
                  <a:gd name="T1" fmla="*/ 27 h 125"/>
                  <a:gd name="T2" fmla="*/ 10 w 130"/>
                  <a:gd name="T3" fmla="*/ 23 h 125"/>
                  <a:gd name="T4" fmla="*/ 20 w 130"/>
                  <a:gd name="T5" fmla="*/ 21 h 125"/>
                  <a:gd name="T6" fmla="*/ 18 w 130"/>
                  <a:gd name="T7" fmla="*/ 15 h 125"/>
                  <a:gd name="T8" fmla="*/ 19 w 130"/>
                  <a:gd name="T9" fmla="*/ 6 h 125"/>
                  <a:gd name="T10" fmla="*/ 22 w 130"/>
                  <a:gd name="T11" fmla="*/ 0 h 125"/>
                  <a:gd name="T12" fmla="*/ 41 w 130"/>
                  <a:gd name="T13" fmla="*/ 4 h 125"/>
                  <a:gd name="T14" fmla="*/ 50 w 130"/>
                  <a:gd name="T15" fmla="*/ 6 h 125"/>
                  <a:gd name="T16" fmla="*/ 58 w 130"/>
                  <a:gd name="T17" fmla="*/ 6 h 125"/>
                  <a:gd name="T18" fmla="*/ 64 w 130"/>
                  <a:gd name="T19" fmla="*/ 9 h 125"/>
                  <a:gd name="T20" fmla="*/ 68 w 130"/>
                  <a:gd name="T21" fmla="*/ 12 h 125"/>
                  <a:gd name="T22" fmla="*/ 74 w 130"/>
                  <a:gd name="T23" fmla="*/ 11 h 125"/>
                  <a:gd name="T24" fmla="*/ 81 w 130"/>
                  <a:gd name="T25" fmla="*/ 15 h 125"/>
                  <a:gd name="T26" fmla="*/ 89 w 130"/>
                  <a:gd name="T27" fmla="*/ 12 h 125"/>
                  <a:gd name="T28" fmla="*/ 95 w 130"/>
                  <a:gd name="T29" fmla="*/ 7 h 125"/>
                  <a:gd name="T30" fmla="*/ 103 w 130"/>
                  <a:gd name="T31" fmla="*/ 9 h 125"/>
                  <a:gd name="T32" fmla="*/ 109 w 130"/>
                  <a:gd name="T33" fmla="*/ 7 h 125"/>
                  <a:gd name="T34" fmla="*/ 113 w 130"/>
                  <a:gd name="T35" fmla="*/ 12 h 125"/>
                  <a:gd name="T36" fmla="*/ 114 w 130"/>
                  <a:gd name="T37" fmla="*/ 21 h 125"/>
                  <a:gd name="T38" fmla="*/ 119 w 130"/>
                  <a:gd name="T39" fmla="*/ 23 h 125"/>
                  <a:gd name="T40" fmla="*/ 116 w 130"/>
                  <a:gd name="T41" fmla="*/ 29 h 125"/>
                  <a:gd name="T42" fmla="*/ 117 w 130"/>
                  <a:gd name="T43" fmla="*/ 34 h 125"/>
                  <a:gd name="T44" fmla="*/ 122 w 130"/>
                  <a:gd name="T45" fmla="*/ 31 h 125"/>
                  <a:gd name="T46" fmla="*/ 123 w 130"/>
                  <a:gd name="T47" fmla="*/ 37 h 125"/>
                  <a:gd name="T48" fmla="*/ 128 w 130"/>
                  <a:gd name="T49" fmla="*/ 39 h 125"/>
                  <a:gd name="T50" fmla="*/ 130 w 130"/>
                  <a:gd name="T51" fmla="*/ 43 h 125"/>
                  <a:gd name="T52" fmla="*/ 121 w 130"/>
                  <a:gd name="T53" fmla="*/ 46 h 125"/>
                  <a:gd name="T54" fmla="*/ 123 w 130"/>
                  <a:gd name="T55" fmla="*/ 51 h 125"/>
                  <a:gd name="T56" fmla="*/ 123 w 130"/>
                  <a:gd name="T57" fmla="*/ 62 h 125"/>
                  <a:gd name="T58" fmla="*/ 125 w 130"/>
                  <a:gd name="T59" fmla="*/ 69 h 125"/>
                  <a:gd name="T60" fmla="*/ 127 w 130"/>
                  <a:gd name="T61" fmla="*/ 75 h 125"/>
                  <a:gd name="T62" fmla="*/ 122 w 130"/>
                  <a:gd name="T63" fmla="*/ 76 h 125"/>
                  <a:gd name="T64" fmla="*/ 125 w 130"/>
                  <a:gd name="T65" fmla="*/ 83 h 125"/>
                  <a:gd name="T66" fmla="*/ 126 w 130"/>
                  <a:gd name="T67" fmla="*/ 87 h 125"/>
                  <a:gd name="T68" fmla="*/ 118 w 130"/>
                  <a:gd name="T69" fmla="*/ 99 h 125"/>
                  <a:gd name="T70" fmla="*/ 118 w 130"/>
                  <a:gd name="T71" fmla="*/ 105 h 125"/>
                  <a:gd name="T72" fmla="*/ 113 w 130"/>
                  <a:gd name="T73" fmla="*/ 113 h 125"/>
                  <a:gd name="T74" fmla="*/ 85 w 130"/>
                  <a:gd name="T75" fmla="*/ 125 h 125"/>
                  <a:gd name="T76" fmla="*/ 75 w 130"/>
                  <a:gd name="T77" fmla="*/ 120 h 125"/>
                  <a:gd name="T78" fmla="*/ 68 w 130"/>
                  <a:gd name="T79" fmla="*/ 112 h 125"/>
                  <a:gd name="T80" fmla="*/ 69 w 130"/>
                  <a:gd name="T81" fmla="*/ 109 h 125"/>
                  <a:gd name="T82" fmla="*/ 77 w 130"/>
                  <a:gd name="T83" fmla="*/ 81 h 125"/>
                  <a:gd name="T84" fmla="*/ 76 w 130"/>
                  <a:gd name="T85" fmla="*/ 77 h 125"/>
                  <a:gd name="T86" fmla="*/ 79 w 130"/>
                  <a:gd name="T87" fmla="*/ 73 h 125"/>
                  <a:gd name="T88" fmla="*/ 75 w 130"/>
                  <a:gd name="T89" fmla="*/ 66 h 125"/>
                  <a:gd name="T90" fmla="*/ 72 w 130"/>
                  <a:gd name="T91" fmla="*/ 56 h 125"/>
                  <a:gd name="T92" fmla="*/ 67 w 130"/>
                  <a:gd name="T93" fmla="*/ 48 h 125"/>
                  <a:gd name="T94" fmla="*/ 47 w 130"/>
                  <a:gd name="T95" fmla="*/ 50 h 125"/>
                  <a:gd name="T96" fmla="*/ 39 w 130"/>
                  <a:gd name="T97" fmla="*/ 58 h 125"/>
                  <a:gd name="T98" fmla="*/ 33 w 130"/>
                  <a:gd name="T99" fmla="*/ 63 h 125"/>
                  <a:gd name="T100" fmla="*/ 28 w 130"/>
                  <a:gd name="T101" fmla="*/ 61 h 125"/>
                  <a:gd name="T102" fmla="*/ 21 w 130"/>
                  <a:gd name="T103" fmla="*/ 53 h 125"/>
                  <a:gd name="T104" fmla="*/ 16 w 130"/>
                  <a:gd name="T105" fmla="*/ 51 h 125"/>
                  <a:gd name="T106" fmla="*/ 17 w 130"/>
                  <a:gd name="T107" fmla="*/ 47 h 125"/>
                  <a:gd name="T108" fmla="*/ 12 w 130"/>
                  <a:gd name="T109" fmla="*/ 48 h 125"/>
                  <a:gd name="T110" fmla="*/ 6 w 130"/>
                  <a:gd name="T111" fmla="*/ 46 h 125"/>
                  <a:gd name="T112" fmla="*/ 3 w 130"/>
                  <a:gd name="T113" fmla="*/ 35 h 125"/>
                  <a:gd name="T114" fmla="*/ 0 w 130"/>
                  <a:gd name="T115" fmla="*/ 32 h 1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30" h="125">
                    <a:moveTo>
                      <a:pt x="0" y="32"/>
                    </a:moveTo>
                    <a:lnTo>
                      <a:pt x="2" y="27"/>
                    </a:lnTo>
                    <a:lnTo>
                      <a:pt x="6" y="26"/>
                    </a:lnTo>
                    <a:lnTo>
                      <a:pt x="10" y="23"/>
                    </a:lnTo>
                    <a:lnTo>
                      <a:pt x="17" y="22"/>
                    </a:lnTo>
                    <a:lnTo>
                      <a:pt x="20" y="21"/>
                    </a:lnTo>
                    <a:lnTo>
                      <a:pt x="20" y="17"/>
                    </a:lnTo>
                    <a:lnTo>
                      <a:pt x="18" y="15"/>
                    </a:lnTo>
                    <a:lnTo>
                      <a:pt x="18" y="9"/>
                    </a:lnTo>
                    <a:lnTo>
                      <a:pt x="19" y="6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33" y="0"/>
                    </a:lnTo>
                    <a:lnTo>
                      <a:pt x="41" y="4"/>
                    </a:lnTo>
                    <a:lnTo>
                      <a:pt x="44" y="6"/>
                    </a:lnTo>
                    <a:lnTo>
                      <a:pt x="50" y="6"/>
                    </a:lnTo>
                    <a:lnTo>
                      <a:pt x="55" y="8"/>
                    </a:lnTo>
                    <a:lnTo>
                      <a:pt x="58" y="6"/>
                    </a:lnTo>
                    <a:lnTo>
                      <a:pt x="62" y="7"/>
                    </a:lnTo>
                    <a:lnTo>
                      <a:pt x="64" y="9"/>
                    </a:lnTo>
                    <a:lnTo>
                      <a:pt x="68" y="9"/>
                    </a:lnTo>
                    <a:lnTo>
                      <a:pt x="68" y="12"/>
                    </a:lnTo>
                    <a:lnTo>
                      <a:pt x="70" y="13"/>
                    </a:lnTo>
                    <a:lnTo>
                      <a:pt x="74" y="11"/>
                    </a:lnTo>
                    <a:lnTo>
                      <a:pt x="76" y="12"/>
                    </a:lnTo>
                    <a:lnTo>
                      <a:pt x="81" y="15"/>
                    </a:lnTo>
                    <a:lnTo>
                      <a:pt x="85" y="15"/>
                    </a:lnTo>
                    <a:lnTo>
                      <a:pt x="89" y="12"/>
                    </a:lnTo>
                    <a:lnTo>
                      <a:pt x="92" y="12"/>
                    </a:lnTo>
                    <a:lnTo>
                      <a:pt x="95" y="7"/>
                    </a:lnTo>
                    <a:lnTo>
                      <a:pt x="98" y="7"/>
                    </a:lnTo>
                    <a:lnTo>
                      <a:pt x="103" y="9"/>
                    </a:lnTo>
                    <a:lnTo>
                      <a:pt x="105" y="8"/>
                    </a:lnTo>
                    <a:lnTo>
                      <a:pt x="109" y="7"/>
                    </a:lnTo>
                    <a:lnTo>
                      <a:pt x="109" y="9"/>
                    </a:lnTo>
                    <a:lnTo>
                      <a:pt x="113" y="12"/>
                    </a:lnTo>
                    <a:lnTo>
                      <a:pt x="115" y="16"/>
                    </a:lnTo>
                    <a:lnTo>
                      <a:pt x="114" y="21"/>
                    </a:lnTo>
                    <a:lnTo>
                      <a:pt x="115" y="21"/>
                    </a:lnTo>
                    <a:lnTo>
                      <a:pt x="119" y="23"/>
                    </a:lnTo>
                    <a:lnTo>
                      <a:pt x="119" y="25"/>
                    </a:lnTo>
                    <a:lnTo>
                      <a:pt x="116" y="29"/>
                    </a:lnTo>
                    <a:lnTo>
                      <a:pt x="115" y="34"/>
                    </a:lnTo>
                    <a:lnTo>
                      <a:pt x="117" y="34"/>
                    </a:lnTo>
                    <a:lnTo>
                      <a:pt x="119" y="31"/>
                    </a:lnTo>
                    <a:lnTo>
                      <a:pt x="122" y="31"/>
                    </a:lnTo>
                    <a:lnTo>
                      <a:pt x="122" y="35"/>
                    </a:lnTo>
                    <a:lnTo>
                      <a:pt x="123" y="37"/>
                    </a:lnTo>
                    <a:lnTo>
                      <a:pt x="123" y="39"/>
                    </a:lnTo>
                    <a:lnTo>
                      <a:pt x="128" y="39"/>
                    </a:lnTo>
                    <a:lnTo>
                      <a:pt x="130" y="41"/>
                    </a:lnTo>
                    <a:lnTo>
                      <a:pt x="130" y="43"/>
                    </a:lnTo>
                    <a:lnTo>
                      <a:pt x="129" y="44"/>
                    </a:lnTo>
                    <a:lnTo>
                      <a:pt x="121" y="46"/>
                    </a:lnTo>
                    <a:lnTo>
                      <a:pt x="121" y="49"/>
                    </a:lnTo>
                    <a:lnTo>
                      <a:pt x="123" y="51"/>
                    </a:lnTo>
                    <a:lnTo>
                      <a:pt x="124" y="59"/>
                    </a:lnTo>
                    <a:lnTo>
                      <a:pt x="123" y="62"/>
                    </a:lnTo>
                    <a:lnTo>
                      <a:pt x="123" y="68"/>
                    </a:lnTo>
                    <a:lnTo>
                      <a:pt x="125" y="69"/>
                    </a:lnTo>
                    <a:lnTo>
                      <a:pt x="128" y="73"/>
                    </a:lnTo>
                    <a:lnTo>
                      <a:pt x="127" y="75"/>
                    </a:lnTo>
                    <a:lnTo>
                      <a:pt x="124" y="75"/>
                    </a:lnTo>
                    <a:lnTo>
                      <a:pt x="122" y="76"/>
                    </a:lnTo>
                    <a:lnTo>
                      <a:pt x="122" y="79"/>
                    </a:lnTo>
                    <a:lnTo>
                      <a:pt x="125" y="83"/>
                    </a:lnTo>
                    <a:lnTo>
                      <a:pt x="127" y="84"/>
                    </a:lnTo>
                    <a:lnTo>
                      <a:pt x="126" y="87"/>
                    </a:lnTo>
                    <a:lnTo>
                      <a:pt x="121" y="98"/>
                    </a:lnTo>
                    <a:lnTo>
                      <a:pt x="118" y="99"/>
                    </a:lnTo>
                    <a:lnTo>
                      <a:pt x="117" y="101"/>
                    </a:lnTo>
                    <a:lnTo>
                      <a:pt x="118" y="105"/>
                    </a:lnTo>
                    <a:lnTo>
                      <a:pt x="115" y="111"/>
                    </a:lnTo>
                    <a:lnTo>
                      <a:pt x="113" y="113"/>
                    </a:lnTo>
                    <a:lnTo>
                      <a:pt x="114" y="115"/>
                    </a:lnTo>
                    <a:lnTo>
                      <a:pt x="85" y="125"/>
                    </a:lnTo>
                    <a:lnTo>
                      <a:pt x="78" y="120"/>
                    </a:lnTo>
                    <a:lnTo>
                      <a:pt x="75" y="120"/>
                    </a:lnTo>
                    <a:lnTo>
                      <a:pt x="71" y="113"/>
                    </a:lnTo>
                    <a:lnTo>
                      <a:pt x="68" y="112"/>
                    </a:lnTo>
                    <a:lnTo>
                      <a:pt x="70" y="109"/>
                    </a:lnTo>
                    <a:lnTo>
                      <a:pt x="69" y="109"/>
                    </a:lnTo>
                    <a:lnTo>
                      <a:pt x="76" y="104"/>
                    </a:lnTo>
                    <a:lnTo>
                      <a:pt x="77" y="81"/>
                    </a:lnTo>
                    <a:lnTo>
                      <a:pt x="78" y="78"/>
                    </a:lnTo>
                    <a:lnTo>
                      <a:pt x="76" y="77"/>
                    </a:lnTo>
                    <a:lnTo>
                      <a:pt x="76" y="74"/>
                    </a:lnTo>
                    <a:lnTo>
                      <a:pt x="79" y="73"/>
                    </a:lnTo>
                    <a:lnTo>
                      <a:pt x="79" y="70"/>
                    </a:lnTo>
                    <a:lnTo>
                      <a:pt x="75" y="66"/>
                    </a:lnTo>
                    <a:lnTo>
                      <a:pt x="76" y="64"/>
                    </a:lnTo>
                    <a:lnTo>
                      <a:pt x="72" y="56"/>
                    </a:lnTo>
                    <a:lnTo>
                      <a:pt x="70" y="53"/>
                    </a:lnTo>
                    <a:lnTo>
                      <a:pt x="67" y="48"/>
                    </a:lnTo>
                    <a:lnTo>
                      <a:pt x="51" y="48"/>
                    </a:lnTo>
                    <a:lnTo>
                      <a:pt x="47" y="50"/>
                    </a:lnTo>
                    <a:lnTo>
                      <a:pt x="44" y="53"/>
                    </a:lnTo>
                    <a:lnTo>
                      <a:pt x="39" y="58"/>
                    </a:lnTo>
                    <a:lnTo>
                      <a:pt x="39" y="60"/>
                    </a:lnTo>
                    <a:lnTo>
                      <a:pt x="33" y="63"/>
                    </a:lnTo>
                    <a:lnTo>
                      <a:pt x="30" y="63"/>
                    </a:lnTo>
                    <a:lnTo>
                      <a:pt x="28" y="61"/>
                    </a:lnTo>
                    <a:lnTo>
                      <a:pt x="23" y="59"/>
                    </a:lnTo>
                    <a:lnTo>
                      <a:pt x="21" y="53"/>
                    </a:lnTo>
                    <a:lnTo>
                      <a:pt x="17" y="53"/>
                    </a:lnTo>
                    <a:lnTo>
                      <a:pt x="16" y="51"/>
                    </a:lnTo>
                    <a:lnTo>
                      <a:pt x="16" y="48"/>
                    </a:lnTo>
                    <a:lnTo>
                      <a:pt x="17" y="47"/>
                    </a:lnTo>
                    <a:lnTo>
                      <a:pt x="14" y="45"/>
                    </a:lnTo>
                    <a:lnTo>
                      <a:pt x="12" y="48"/>
                    </a:lnTo>
                    <a:lnTo>
                      <a:pt x="9" y="47"/>
                    </a:lnTo>
                    <a:lnTo>
                      <a:pt x="6" y="46"/>
                    </a:lnTo>
                    <a:lnTo>
                      <a:pt x="2" y="42"/>
                    </a:lnTo>
                    <a:lnTo>
                      <a:pt x="3" y="35"/>
                    </a:lnTo>
                    <a:lnTo>
                      <a:pt x="0" y="31"/>
                    </a:lnTo>
                    <a:lnTo>
                      <a:pt x="0" y="32"/>
                    </a:lnTo>
                    <a:lnTo>
                      <a:pt x="0" y="32"/>
                    </a:lnTo>
                    <a:close/>
                  </a:path>
                </a:pathLst>
              </a:custGeom>
              <a:solidFill>
                <a:schemeClr val="accent4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662" name="Freeform 466"/>
              <p:cNvSpPr>
                <a:spLocks/>
              </p:cNvSpPr>
              <p:nvPr userDrawn="1"/>
            </p:nvSpPr>
            <p:spPr bwMode="auto">
              <a:xfrm>
                <a:off x="3263" y="2773"/>
                <a:ext cx="74" cy="76"/>
              </a:xfrm>
              <a:custGeom>
                <a:avLst/>
                <a:gdLst>
                  <a:gd name="T0" fmla="*/ 0 w 74"/>
                  <a:gd name="T1" fmla="*/ 31 h 76"/>
                  <a:gd name="T2" fmla="*/ 0 w 74"/>
                  <a:gd name="T3" fmla="*/ 30 h 76"/>
                  <a:gd name="T4" fmla="*/ 2 w 74"/>
                  <a:gd name="T5" fmla="*/ 25 h 76"/>
                  <a:gd name="T6" fmla="*/ 7 w 74"/>
                  <a:gd name="T7" fmla="*/ 23 h 76"/>
                  <a:gd name="T8" fmla="*/ 10 w 74"/>
                  <a:gd name="T9" fmla="*/ 18 h 76"/>
                  <a:gd name="T10" fmla="*/ 10 w 74"/>
                  <a:gd name="T11" fmla="*/ 15 h 76"/>
                  <a:gd name="T12" fmla="*/ 11 w 74"/>
                  <a:gd name="T13" fmla="*/ 10 h 76"/>
                  <a:gd name="T14" fmla="*/ 14 w 74"/>
                  <a:gd name="T15" fmla="*/ 10 h 76"/>
                  <a:gd name="T16" fmla="*/ 14 w 74"/>
                  <a:gd name="T17" fmla="*/ 7 h 76"/>
                  <a:gd name="T18" fmla="*/ 15 w 74"/>
                  <a:gd name="T19" fmla="*/ 4 h 76"/>
                  <a:gd name="T20" fmla="*/ 20 w 74"/>
                  <a:gd name="T21" fmla="*/ 2 h 76"/>
                  <a:gd name="T22" fmla="*/ 22 w 74"/>
                  <a:gd name="T23" fmla="*/ 2 h 76"/>
                  <a:gd name="T24" fmla="*/ 30 w 74"/>
                  <a:gd name="T25" fmla="*/ 0 h 76"/>
                  <a:gd name="T26" fmla="*/ 33 w 74"/>
                  <a:gd name="T27" fmla="*/ 1 h 76"/>
                  <a:gd name="T28" fmla="*/ 35 w 74"/>
                  <a:gd name="T29" fmla="*/ 5 h 76"/>
                  <a:gd name="T30" fmla="*/ 39 w 74"/>
                  <a:gd name="T31" fmla="*/ 7 h 76"/>
                  <a:gd name="T32" fmla="*/ 38 w 74"/>
                  <a:gd name="T33" fmla="*/ 14 h 76"/>
                  <a:gd name="T34" fmla="*/ 38 w 74"/>
                  <a:gd name="T35" fmla="*/ 18 h 76"/>
                  <a:gd name="T36" fmla="*/ 43 w 74"/>
                  <a:gd name="T37" fmla="*/ 23 h 76"/>
                  <a:gd name="T38" fmla="*/ 45 w 74"/>
                  <a:gd name="T39" fmla="*/ 22 h 76"/>
                  <a:gd name="T40" fmla="*/ 51 w 74"/>
                  <a:gd name="T41" fmla="*/ 18 h 76"/>
                  <a:gd name="T42" fmla="*/ 53 w 74"/>
                  <a:gd name="T43" fmla="*/ 19 h 76"/>
                  <a:gd name="T44" fmla="*/ 55 w 74"/>
                  <a:gd name="T45" fmla="*/ 22 h 76"/>
                  <a:gd name="T46" fmla="*/ 55 w 74"/>
                  <a:gd name="T47" fmla="*/ 24 h 76"/>
                  <a:gd name="T48" fmla="*/ 55 w 74"/>
                  <a:gd name="T49" fmla="*/ 25 h 76"/>
                  <a:gd name="T50" fmla="*/ 56 w 74"/>
                  <a:gd name="T51" fmla="*/ 29 h 76"/>
                  <a:gd name="T52" fmla="*/ 53 w 74"/>
                  <a:gd name="T53" fmla="*/ 35 h 76"/>
                  <a:gd name="T54" fmla="*/ 51 w 74"/>
                  <a:gd name="T55" fmla="*/ 37 h 76"/>
                  <a:gd name="T56" fmla="*/ 52 w 74"/>
                  <a:gd name="T57" fmla="*/ 41 h 76"/>
                  <a:gd name="T58" fmla="*/ 54 w 74"/>
                  <a:gd name="T59" fmla="*/ 42 h 76"/>
                  <a:gd name="T60" fmla="*/ 56 w 74"/>
                  <a:gd name="T61" fmla="*/ 41 h 76"/>
                  <a:gd name="T62" fmla="*/ 59 w 74"/>
                  <a:gd name="T63" fmla="*/ 41 h 76"/>
                  <a:gd name="T64" fmla="*/ 61 w 74"/>
                  <a:gd name="T65" fmla="*/ 44 h 76"/>
                  <a:gd name="T66" fmla="*/ 64 w 74"/>
                  <a:gd name="T67" fmla="*/ 43 h 76"/>
                  <a:gd name="T68" fmla="*/ 66 w 74"/>
                  <a:gd name="T69" fmla="*/ 44 h 76"/>
                  <a:gd name="T70" fmla="*/ 68 w 74"/>
                  <a:gd name="T71" fmla="*/ 48 h 76"/>
                  <a:gd name="T72" fmla="*/ 70 w 74"/>
                  <a:gd name="T73" fmla="*/ 50 h 76"/>
                  <a:gd name="T74" fmla="*/ 73 w 74"/>
                  <a:gd name="T75" fmla="*/ 50 h 76"/>
                  <a:gd name="T76" fmla="*/ 74 w 74"/>
                  <a:gd name="T77" fmla="*/ 53 h 76"/>
                  <a:gd name="T78" fmla="*/ 71 w 74"/>
                  <a:gd name="T79" fmla="*/ 55 h 76"/>
                  <a:gd name="T80" fmla="*/ 73 w 74"/>
                  <a:gd name="T81" fmla="*/ 57 h 76"/>
                  <a:gd name="T82" fmla="*/ 71 w 74"/>
                  <a:gd name="T83" fmla="*/ 59 h 76"/>
                  <a:gd name="T84" fmla="*/ 70 w 74"/>
                  <a:gd name="T85" fmla="*/ 63 h 76"/>
                  <a:gd name="T86" fmla="*/ 71 w 74"/>
                  <a:gd name="T87" fmla="*/ 65 h 76"/>
                  <a:gd name="T88" fmla="*/ 70 w 74"/>
                  <a:gd name="T89" fmla="*/ 70 h 76"/>
                  <a:gd name="T90" fmla="*/ 72 w 74"/>
                  <a:gd name="T91" fmla="*/ 73 h 76"/>
                  <a:gd name="T92" fmla="*/ 72 w 74"/>
                  <a:gd name="T93" fmla="*/ 76 h 76"/>
                  <a:gd name="T94" fmla="*/ 53 w 74"/>
                  <a:gd name="T95" fmla="*/ 71 h 76"/>
                  <a:gd name="T96" fmla="*/ 39 w 74"/>
                  <a:gd name="T97" fmla="*/ 60 h 76"/>
                  <a:gd name="T98" fmla="*/ 35 w 74"/>
                  <a:gd name="T99" fmla="*/ 60 h 76"/>
                  <a:gd name="T100" fmla="*/ 24 w 74"/>
                  <a:gd name="T101" fmla="*/ 49 h 76"/>
                  <a:gd name="T102" fmla="*/ 16 w 74"/>
                  <a:gd name="T103" fmla="*/ 44 h 76"/>
                  <a:gd name="T104" fmla="*/ 13 w 74"/>
                  <a:gd name="T105" fmla="*/ 44 h 76"/>
                  <a:gd name="T106" fmla="*/ 9 w 74"/>
                  <a:gd name="T107" fmla="*/ 37 h 76"/>
                  <a:gd name="T108" fmla="*/ 6 w 74"/>
                  <a:gd name="T109" fmla="*/ 36 h 76"/>
                  <a:gd name="T110" fmla="*/ 8 w 74"/>
                  <a:gd name="T111" fmla="*/ 33 h 76"/>
                  <a:gd name="T112" fmla="*/ 5 w 74"/>
                  <a:gd name="T113" fmla="*/ 31 h 76"/>
                  <a:gd name="T114" fmla="*/ 0 w 74"/>
                  <a:gd name="T115" fmla="*/ 31 h 76"/>
                  <a:gd name="T116" fmla="*/ 0 w 74"/>
                  <a:gd name="T117" fmla="*/ 31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74" h="76">
                    <a:moveTo>
                      <a:pt x="0" y="31"/>
                    </a:moveTo>
                    <a:lnTo>
                      <a:pt x="0" y="30"/>
                    </a:lnTo>
                    <a:lnTo>
                      <a:pt x="2" y="25"/>
                    </a:lnTo>
                    <a:lnTo>
                      <a:pt x="7" y="23"/>
                    </a:lnTo>
                    <a:lnTo>
                      <a:pt x="10" y="18"/>
                    </a:lnTo>
                    <a:lnTo>
                      <a:pt x="10" y="15"/>
                    </a:lnTo>
                    <a:lnTo>
                      <a:pt x="11" y="10"/>
                    </a:lnTo>
                    <a:lnTo>
                      <a:pt x="14" y="10"/>
                    </a:lnTo>
                    <a:lnTo>
                      <a:pt x="14" y="7"/>
                    </a:lnTo>
                    <a:lnTo>
                      <a:pt x="15" y="4"/>
                    </a:lnTo>
                    <a:lnTo>
                      <a:pt x="20" y="2"/>
                    </a:lnTo>
                    <a:lnTo>
                      <a:pt x="22" y="2"/>
                    </a:lnTo>
                    <a:lnTo>
                      <a:pt x="30" y="0"/>
                    </a:lnTo>
                    <a:lnTo>
                      <a:pt x="33" y="1"/>
                    </a:lnTo>
                    <a:lnTo>
                      <a:pt x="35" y="5"/>
                    </a:lnTo>
                    <a:lnTo>
                      <a:pt x="39" y="7"/>
                    </a:lnTo>
                    <a:lnTo>
                      <a:pt x="38" y="14"/>
                    </a:lnTo>
                    <a:lnTo>
                      <a:pt x="38" y="18"/>
                    </a:lnTo>
                    <a:lnTo>
                      <a:pt x="43" y="23"/>
                    </a:lnTo>
                    <a:lnTo>
                      <a:pt x="45" y="22"/>
                    </a:lnTo>
                    <a:lnTo>
                      <a:pt x="51" y="18"/>
                    </a:lnTo>
                    <a:lnTo>
                      <a:pt x="53" y="19"/>
                    </a:lnTo>
                    <a:lnTo>
                      <a:pt x="55" y="22"/>
                    </a:lnTo>
                    <a:lnTo>
                      <a:pt x="55" y="24"/>
                    </a:lnTo>
                    <a:lnTo>
                      <a:pt x="55" y="25"/>
                    </a:lnTo>
                    <a:lnTo>
                      <a:pt x="56" y="29"/>
                    </a:lnTo>
                    <a:lnTo>
                      <a:pt x="53" y="35"/>
                    </a:lnTo>
                    <a:lnTo>
                      <a:pt x="51" y="37"/>
                    </a:lnTo>
                    <a:lnTo>
                      <a:pt x="52" y="41"/>
                    </a:lnTo>
                    <a:lnTo>
                      <a:pt x="54" y="42"/>
                    </a:lnTo>
                    <a:lnTo>
                      <a:pt x="56" y="41"/>
                    </a:lnTo>
                    <a:lnTo>
                      <a:pt x="59" y="41"/>
                    </a:lnTo>
                    <a:lnTo>
                      <a:pt x="61" y="44"/>
                    </a:lnTo>
                    <a:lnTo>
                      <a:pt x="64" y="43"/>
                    </a:lnTo>
                    <a:lnTo>
                      <a:pt x="66" y="44"/>
                    </a:lnTo>
                    <a:lnTo>
                      <a:pt x="68" y="48"/>
                    </a:lnTo>
                    <a:lnTo>
                      <a:pt x="70" y="50"/>
                    </a:lnTo>
                    <a:lnTo>
                      <a:pt x="73" y="50"/>
                    </a:lnTo>
                    <a:lnTo>
                      <a:pt x="74" y="53"/>
                    </a:lnTo>
                    <a:lnTo>
                      <a:pt x="71" y="55"/>
                    </a:lnTo>
                    <a:lnTo>
                      <a:pt x="73" y="57"/>
                    </a:lnTo>
                    <a:lnTo>
                      <a:pt x="71" y="59"/>
                    </a:lnTo>
                    <a:lnTo>
                      <a:pt x="70" y="63"/>
                    </a:lnTo>
                    <a:lnTo>
                      <a:pt x="71" y="65"/>
                    </a:lnTo>
                    <a:lnTo>
                      <a:pt x="70" y="70"/>
                    </a:lnTo>
                    <a:lnTo>
                      <a:pt x="72" y="73"/>
                    </a:lnTo>
                    <a:lnTo>
                      <a:pt x="72" y="76"/>
                    </a:lnTo>
                    <a:lnTo>
                      <a:pt x="53" y="71"/>
                    </a:lnTo>
                    <a:lnTo>
                      <a:pt x="39" y="60"/>
                    </a:lnTo>
                    <a:lnTo>
                      <a:pt x="35" y="60"/>
                    </a:lnTo>
                    <a:lnTo>
                      <a:pt x="24" y="49"/>
                    </a:lnTo>
                    <a:lnTo>
                      <a:pt x="16" y="44"/>
                    </a:lnTo>
                    <a:lnTo>
                      <a:pt x="13" y="44"/>
                    </a:lnTo>
                    <a:lnTo>
                      <a:pt x="9" y="37"/>
                    </a:lnTo>
                    <a:lnTo>
                      <a:pt x="6" y="36"/>
                    </a:lnTo>
                    <a:lnTo>
                      <a:pt x="8" y="33"/>
                    </a:lnTo>
                    <a:lnTo>
                      <a:pt x="5" y="31"/>
                    </a:lnTo>
                    <a:lnTo>
                      <a:pt x="0" y="31"/>
                    </a:lnTo>
                    <a:lnTo>
                      <a:pt x="0" y="31"/>
                    </a:lnTo>
                    <a:close/>
                  </a:path>
                </a:pathLst>
              </a:custGeom>
              <a:solidFill>
                <a:srgbClr val="65625E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663" name="Freeform 467"/>
              <p:cNvSpPr>
                <a:spLocks/>
              </p:cNvSpPr>
              <p:nvPr userDrawn="1"/>
            </p:nvSpPr>
            <p:spPr bwMode="auto">
              <a:xfrm>
                <a:off x="3314" y="2735"/>
                <a:ext cx="114" cy="115"/>
              </a:xfrm>
              <a:custGeom>
                <a:avLst/>
                <a:gdLst>
                  <a:gd name="T0" fmla="*/ 21 w 114"/>
                  <a:gd name="T1" fmla="*/ 111 h 115"/>
                  <a:gd name="T2" fmla="*/ 20 w 114"/>
                  <a:gd name="T3" fmla="*/ 103 h 115"/>
                  <a:gd name="T4" fmla="*/ 20 w 114"/>
                  <a:gd name="T5" fmla="*/ 97 h 115"/>
                  <a:gd name="T6" fmla="*/ 20 w 114"/>
                  <a:gd name="T7" fmla="*/ 93 h 115"/>
                  <a:gd name="T8" fmla="*/ 22 w 114"/>
                  <a:gd name="T9" fmla="*/ 88 h 115"/>
                  <a:gd name="T10" fmla="*/ 17 w 114"/>
                  <a:gd name="T11" fmla="*/ 86 h 115"/>
                  <a:gd name="T12" fmla="*/ 13 w 114"/>
                  <a:gd name="T13" fmla="*/ 81 h 115"/>
                  <a:gd name="T14" fmla="*/ 8 w 114"/>
                  <a:gd name="T15" fmla="*/ 79 h 115"/>
                  <a:gd name="T16" fmla="*/ 3 w 114"/>
                  <a:gd name="T17" fmla="*/ 80 h 115"/>
                  <a:gd name="T18" fmla="*/ 0 w 114"/>
                  <a:gd name="T19" fmla="*/ 75 h 115"/>
                  <a:gd name="T20" fmla="*/ 5 w 114"/>
                  <a:gd name="T21" fmla="*/ 67 h 115"/>
                  <a:gd name="T22" fmla="*/ 5 w 114"/>
                  <a:gd name="T23" fmla="*/ 61 h 115"/>
                  <a:gd name="T24" fmla="*/ 13 w 114"/>
                  <a:gd name="T25" fmla="*/ 49 h 115"/>
                  <a:gd name="T26" fmla="*/ 12 w 114"/>
                  <a:gd name="T27" fmla="*/ 45 h 115"/>
                  <a:gd name="T28" fmla="*/ 9 w 114"/>
                  <a:gd name="T29" fmla="*/ 38 h 115"/>
                  <a:gd name="T30" fmla="*/ 14 w 114"/>
                  <a:gd name="T31" fmla="*/ 37 h 115"/>
                  <a:gd name="T32" fmla="*/ 12 w 114"/>
                  <a:gd name="T33" fmla="*/ 31 h 115"/>
                  <a:gd name="T34" fmla="*/ 10 w 114"/>
                  <a:gd name="T35" fmla="*/ 24 h 115"/>
                  <a:gd name="T36" fmla="*/ 10 w 114"/>
                  <a:gd name="T37" fmla="*/ 13 h 115"/>
                  <a:gd name="T38" fmla="*/ 8 w 114"/>
                  <a:gd name="T39" fmla="*/ 8 h 115"/>
                  <a:gd name="T40" fmla="*/ 23 w 114"/>
                  <a:gd name="T41" fmla="*/ 3 h 115"/>
                  <a:gd name="T42" fmla="*/ 29 w 114"/>
                  <a:gd name="T43" fmla="*/ 4 h 115"/>
                  <a:gd name="T44" fmla="*/ 38 w 114"/>
                  <a:gd name="T45" fmla="*/ 4 h 115"/>
                  <a:gd name="T46" fmla="*/ 45 w 114"/>
                  <a:gd name="T47" fmla="*/ 1 h 115"/>
                  <a:gd name="T48" fmla="*/ 48 w 114"/>
                  <a:gd name="T49" fmla="*/ 3 h 115"/>
                  <a:gd name="T50" fmla="*/ 55 w 114"/>
                  <a:gd name="T51" fmla="*/ 6 h 115"/>
                  <a:gd name="T52" fmla="*/ 62 w 114"/>
                  <a:gd name="T53" fmla="*/ 0 h 115"/>
                  <a:gd name="T54" fmla="*/ 74 w 114"/>
                  <a:gd name="T55" fmla="*/ 7 h 115"/>
                  <a:gd name="T56" fmla="*/ 79 w 114"/>
                  <a:gd name="T57" fmla="*/ 8 h 115"/>
                  <a:gd name="T58" fmla="*/ 86 w 114"/>
                  <a:gd name="T59" fmla="*/ 10 h 115"/>
                  <a:gd name="T60" fmla="*/ 93 w 114"/>
                  <a:gd name="T61" fmla="*/ 16 h 115"/>
                  <a:gd name="T62" fmla="*/ 101 w 114"/>
                  <a:gd name="T63" fmla="*/ 12 h 115"/>
                  <a:gd name="T64" fmla="*/ 106 w 114"/>
                  <a:gd name="T65" fmla="*/ 14 h 115"/>
                  <a:gd name="T66" fmla="*/ 110 w 114"/>
                  <a:gd name="T67" fmla="*/ 16 h 115"/>
                  <a:gd name="T68" fmla="*/ 110 w 114"/>
                  <a:gd name="T69" fmla="*/ 26 h 115"/>
                  <a:gd name="T70" fmla="*/ 112 w 114"/>
                  <a:gd name="T71" fmla="*/ 31 h 115"/>
                  <a:gd name="T72" fmla="*/ 112 w 114"/>
                  <a:gd name="T73" fmla="*/ 40 h 115"/>
                  <a:gd name="T74" fmla="*/ 110 w 114"/>
                  <a:gd name="T75" fmla="*/ 46 h 115"/>
                  <a:gd name="T76" fmla="*/ 104 w 114"/>
                  <a:gd name="T77" fmla="*/ 57 h 115"/>
                  <a:gd name="T78" fmla="*/ 102 w 114"/>
                  <a:gd name="T79" fmla="*/ 64 h 115"/>
                  <a:gd name="T80" fmla="*/ 101 w 114"/>
                  <a:gd name="T81" fmla="*/ 74 h 115"/>
                  <a:gd name="T82" fmla="*/ 99 w 114"/>
                  <a:gd name="T83" fmla="*/ 77 h 115"/>
                  <a:gd name="T84" fmla="*/ 104 w 114"/>
                  <a:gd name="T85" fmla="*/ 86 h 115"/>
                  <a:gd name="T86" fmla="*/ 109 w 114"/>
                  <a:gd name="T87" fmla="*/ 91 h 115"/>
                  <a:gd name="T88" fmla="*/ 110 w 114"/>
                  <a:gd name="T89" fmla="*/ 99 h 115"/>
                  <a:gd name="T90" fmla="*/ 104 w 114"/>
                  <a:gd name="T91" fmla="*/ 100 h 115"/>
                  <a:gd name="T92" fmla="*/ 100 w 114"/>
                  <a:gd name="T93" fmla="*/ 96 h 115"/>
                  <a:gd name="T94" fmla="*/ 96 w 114"/>
                  <a:gd name="T95" fmla="*/ 102 h 115"/>
                  <a:gd name="T96" fmla="*/ 78 w 114"/>
                  <a:gd name="T97" fmla="*/ 101 h 115"/>
                  <a:gd name="T98" fmla="*/ 46 w 114"/>
                  <a:gd name="T99" fmla="*/ 102 h 115"/>
                  <a:gd name="T100" fmla="*/ 34 w 114"/>
                  <a:gd name="T101" fmla="*/ 108 h 115"/>
                  <a:gd name="T102" fmla="*/ 28 w 114"/>
                  <a:gd name="T103" fmla="*/ 110 h 115"/>
                  <a:gd name="T104" fmla="*/ 21 w 114"/>
                  <a:gd name="T105" fmla="*/ 114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14" h="115">
                    <a:moveTo>
                      <a:pt x="21" y="114"/>
                    </a:moveTo>
                    <a:lnTo>
                      <a:pt x="21" y="111"/>
                    </a:lnTo>
                    <a:lnTo>
                      <a:pt x="19" y="108"/>
                    </a:lnTo>
                    <a:lnTo>
                      <a:pt x="20" y="103"/>
                    </a:lnTo>
                    <a:lnTo>
                      <a:pt x="19" y="101"/>
                    </a:lnTo>
                    <a:lnTo>
                      <a:pt x="20" y="97"/>
                    </a:lnTo>
                    <a:lnTo>
                      <a:pt x="22" y="95"/>
                    </a:lnTo>
                    <a:lnTo>
                      <a:pt x="20" y="93"/>
                    </a:lnTo>
                    <a:lnTo>
                      <a:pt x="23" y="91"/>
                    </a:lnTo>
                    <a:lnTo>
                      <a:pt x="22" y="88"/>
                    </a:lnTo>
                    <a:lnTo>
                      <a:pt x="19" y="88"/>
                    </a:lnTo>
                    <a:lnTo>
                      <a:pt x="17" y="86"/>
                    </a:lnTo>
                    <a:lnTo>
                      <a:pt x="15" y="82"/>
                    </a:lnTo>
                    <a:lnTo>
                      <a:pt x="13" y="81"/>
                    </a:lnTo>
                    <a:lnTo>
                      <a:pt x="10" y="82"/>
                    </a:lnTo>
                    <a:lnTo>
                      <a:pt x="8" y="79"/>
                    </a:lnTo>
                    <a:lnTo>
                      <a:pt x="5" y="79"/>
                    </a:lnTo>
                    <a:lnTo>
                      <a:pt x="3" y="80"/>
                    </a:lnTo>
                    <a:lnTo>
                      <a:pt x="1" y="79"/>
                    </a:lnTo>
                    <a:lnTo>
                      <a:pt x="0" y="75"/>
                    </a:lnTo>
                    <a:lnTo>
                      <a:pt x="2" y="73"/>
                    </a:lnTo>
                    <a:lnTo>
                      <a:pt x="5" y="67"/>
                    </a:lnTo>
                    <a:lnTo>
                      <a:pt x="4" y="63"/>
                    </a:lnTo>
                    <a:lnTo>
                      <a:pt x="5" y="61"/>
                    </a:lnTo>
                    <a:lnTo>
                      <a:pt x="8" y="60"/>
                    </a:lnTo>
                    <a:lnTo>
                      <a:pt x="13" y="49"/>
                    </a:lnTo>
                    <a:lnTo>
                      <a:pt x="14" y="46"/>
                    </a:lnTo>
                    <a:lnTo>
                      <a:pt x="12" y="45"/>
                    </a:lnTo>
                    <a:lnTo>
                      <a:pt x="9" y="41"/>
                    </a:lnTo>
                    <a:lnTo>
                      <a:pt x="9" y="38"/>
                    </a:lnTo>
                    <a:lnTo>
                      <a:pt x="11" y="37"/>
                    </a:lnTo>
                    <a:lnTo>
                      <a:pt x="14" y="37"/>
                    </a:lnTo>
                    <a:lnTo>
                      <a:pt x="15" y="35"/>
                    </a:lnTo>
                    <a:lnTo>
                      <a:pt x="12" y="31"/>
                    </a:lnTo>
                    <a:lnTo>
                      <a:pt x="10" y="30"/>
                    </a:lnTo>
                    <a:lnTo>
                      <a:pt x="10" y="24"/>
                    </a:lnTo>
                    <a:lnTo>
                      <a:pt x="11" y="21"/>
                    </a:lnTo>
                    <a:lnTo>
                      <a:pt x="10" y="13"/>
                    </a:lnTo>
                    <a:lnTo>
                      <a:pt x="8" y="11"/>
                    </a:lnTo>
                    <a:lnTo>
                      <a:pt x="8" y="8"/>
                    </a:lnTo>
                    <a:lnTo>
                      <a:pt x="16" y="6"/>
                    </a:lnTo>
                    <a:lnTo>
                      <a:pt x="23" y="3"/>
                    </a:lnTo>
                    <a:lnTo>
                      <a:pt x="24" y="3"/>
                    </a:lnTo>
                    <a:lnTo>
                      <a:pt x="29" y="4"/>
                    </a:lnTo>
                    <a:lnTo>
                      <a:pt x="37" y="4"/>
                    </a:lnTo>
                    <a:lnTo>
                      <a:pt x="38" y="4"/>
                    </a:lnTo>
                    <a:lnTo>
                      <a:pt x="38" y="2"/>
                    </a:lnTo>
                    <a:lnTo>
                      <a:pt x="45" y="1"/>
                    </a:lnTo>
                    <a:lnTo>
                      <a:pt x="49" y="2"/>
                    </a:lnTo>
                    <a:lnTo>
                      <a:pt x="48" y="3"/>
                    </a:lnTo>
                    <a:lnTo>
                      <a:pt x="49" y="4"/>
                    </a:lnTo>
                    <a:lnTo>
                      <a:pt x="55" y="6"/>
                    </a:lnTo>
                    <a:lnTo>
                      <a:pt x="59" y="2"/>
                    </a:lnTo>
                    <a:lnTo>
                      <a:pt x="62" y="0"/>
                    </a:lnTo>
                    <a:lnTo>
                      <a:pt x="67" y="4"/>
                    </a:lnTo>
                    <a:lnTo>
                      <a:pt x="74" y="7"/>
                    </a:lnTo>
                    <a:lnTo>
                      <a:pt x="76" y="7"/>
                    </a:lnTo>
                    <a:lnTo>
                      <a:pt x="79" y="8"/>
                    </a:lnTo>
                    <a:lnTo>
                      <a:pt x="82" y="8"/>
                    </a:lnTo>
                    <a:lnTo>
                      <a:pt x="86" y="10"/>
                    </a:lnTo>
                    <a:lnTo>
                      <a:pt x="88" y="13"/>
                    </a:lnTo>
                    <a:lnTo>
                      <a:pt x="93" y="16"/>
                    </a:lnTo>
                    <a:lnTo>
                      <a:pt x="97" y="15"/>
                    </a:lnTo>
                    <a:lnTo>
                      <a:pt x="101" y="12"/>
                    </a:lnTo>
                    <a:lnTo>
                      <a:pt x="103" y="13"/>
                    </a:lnTo>
                    <a:lnTo>
                      <a:pt x="106" y="14"/>
                    </a:lnTo>
                    <a:lnTo>
                      <a:pt x="110" y="15"/>
                    </a:lnTo>
                    <a:lnTo>
                      <a:pt x="110" y="16"/>
                    </a:lnTo>
                    <a:lnTo>
                      <a:pt x="109" y="22"/>
                    </a:lnTo>
                    <a:lnTo>
                      <a:pt x="110" y="26"/>
                    </a:lnTo>
                    <a:lnTo>
                      <a:pt x="110" y="28"/>
                    </a:lnTo>
                    <a:lnTo>
                      <a:pt x="112" y="31"/>
                    </a:lnTo>
                    <a:lnTo>
                      <a:pt x="114" y="36"/>
                    </a:lnTo>
                    <a:lnTo>
                      <a:pt x="112" y="40"/>
                    </a:lnTo>
                    <a:lnTo>
                      <a:pt x="112" y="43"/>
                    </a:lnTo>
                    <a:lnTo>
                      <a:pt x="110" y="46"/>
                    </a:lnTo>
                    <a:lnTo>
                      <a:pt x="103" y="53"/>
                    </a:lnTo>
                    <a:lnTo>
                      <a:pt x="104" y="57"/>
                    </a:lnTo>
                    <a:lnTo>
                      <a:pt x="102" y="60"/>
                    </a:lnTo>
                    <a:lnTo>
                      <a:pt x="102" y="64"/>
                    </a:lnTo>
                    <a:lnTo>
                      <a:pt x="100" y="67"/>
                    </a:lnTo>
                    <a:lnTo>
                      <a:pt x="101" y="74"/>
                    </a:lnTo>
                    <a:lnTo>
                      <a:pt x="99" y="75"/>
                    </a:lnTo>
                    <a:lnTo>
                      <a:pt x="99" y="77"/>
                    </a:lnTo>
                    <a:lnTo>
                      <a:pt x="101" y="79"/>
                    </a:lnTo>
                    <a:lnTo>
                      <a:pt x="104" y="86"/>
                    </a:lnTo>
                    <a:lnTo>
                      <a:pt x="104" y="91"/>
                    </a:lnTo>
                    <a:lnTo>
                      <a:pt x="109" y="91"/>
                    </a:lnTo>
                    <a:lnTo>
                      <a:pt x="110" y="94"/>
                    </a:lnTo>
                    <a:lnTo>
                      <a:pt x="110" y="99"/>
                    </a:lnTo>
                    <a:lnTo>
                      <a:pt x="107" y="100"/>
                    </a:lnTo>
                    <a:lnTo>
                      <a:pt x="104" y="100"/>
                    </a:lnTo>
                    <a:lnTo>
                      <a:pt x="103" y="101"/>
                    </a:lnTo>
                    <a:lnTo>
                      <a:pt x="100" y="96"/>
                    </a:lnTo>
                    <a:lnTo>
                      <a:pt x="96" y="97"/>
                    </a:lnTo>
                    <a:lnTo>
                      <a:pt x="96" y="102"/>
                    </a:lnTo>
                    <a:lnTo>
                      <a:pt x="88" y="98"/>
                    </a:lnTo>
                    <a:lnTo>
                      <a:pt x="78" y="101"/>
                    </a:lnTo>
                    <a:lnTo>
                      <a:pt x="54" y="101"/>
                    </a:lnTo>
                    <a:lnTo>
                      <a:pt x="46" y="102"/>
                    </a:lnTo>
                    <a:lnTo>
                      <a:pt x="46" y="104"/>
                    </a:lnTo>
                    <a:lnTo>
                      <a:pt x="34" y="108"/>
                    </a:lnTo>
                    <a:lnTo>
                      <a:pt x="32" y="110"/>
                    </a:lnTo>
                    <a:lnTo>
                      <a:pt x="28" y="110"/>
                    </a:lnTo>
                    <a:lnTo>
                      <a:pt x="23" y="115"/>
                    </a:lnTo>
                    <a:lnTo>
                      <a:pt x="21" y="114"/>
                    </a:lnTo>
                    <a:lnTo>
                      <a:pt x="21" y="114"/>
                    </a:lnTo>
                    <a:close/>
                  </a:path>
                </a:pathLst>
              </a:custGeom>
              <a:solidFill>
                <a:schemeClr val="accent4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664" name="Freeform 468"/>
              <p:cNvSpPr>
                <a:spLocks/>
              </p:cNvSpPr>
              <p:nvPr userDrawn="1"/>
            </p:nvSpPr>
            <p:spPr bwMode="auto">
              <a:xfrm>
                <a:off x="3522" y="2678"/>
                <a:ext cx="210" cy="174"/>
              </a:xfrm>
              <a:custGeom>
                <a:avLst/>
                <a:gdLst>
                  <a:gd name="T0" fmla="*/ 198 w 210"/>
                  <a:gd name="T1" fmla="*/ 11 h 174"/>
                  <a:gd name="T2" fmla="*/ 185 w 210"/>
                  <a:gd name="T3" fmla="*/ 6 h 174"/>
                  <a:gd name="T4" fmla="*/ 181 w 210"/>
                  <a:gd name="T5" fmla="*/ 8 h 174"/>
                  <a:gd name="T6" fmla="*/ 173 w 210"/>
                  <a:gd name="T7" fmla="*/ 12 h 174"/>
                  <a:gd name="T8" fmla="*/ 164 w 210"/>
                  <a:gd name="T9" fmla="*/ 14 h 174"/>
                  <a:gd name="T10" fmla="*/ 145 w 210"/>
                  <a:gd name="T11" fmla="*/ 10 h 174"/>
                  <a:gd name="T12" fmla="*/ 128 w 210"/>
                  <a:gd name="T13" fmla="*/ 12 h 174"/>
                  <a:gd name="T14" fmla="*/ 116 w 210"/>
                  <a:gd name="T15" fmla="*/ 20 h 174"/>
                  <a:gd name="T16" fmla="*/ 98 w 210"/>
                  <a:gd name="T17" fmla="*/ 15 h 174"/>
                  <a:gd name="T18" fmla="*/ 91 w 210"/>
                  <a:gd name="T19" fmla="*/ 9 h 174"/>
                  <a:gd name="T20" fmla="*/ 82 w 210"/>
                  <a:gd name="T21" fmla="*/ 11 h 174"/>
                  <a:gd name="T22" fmla="*/ 75 w 210"/>
                  <a:gd name="T23" fmla="*/ 15 h 174"/>
                  <a:gd name="T24" fmla="*/ 65 w 210"/>
                  <a:gd name="T25" fmla="*/ 7 h 174"/>
                  <a:gd name="T26" fmla="*/ 55 w 210"/>
                  <a:gd name="T27" fmla="*/ 3 h 174"/>
                  <a:gd name="T28" fmla="*/ 46 w 210"/>
                  <a:gd name="T29" fmla="*/ 0 h 174"/>
                  <a:gd name="T30" fmla="*/ 35 w 210"/>
                  <a:gd name="T31" fmla="*/ 1 h 174"/>
                  <a:gd name="T32" fmla="*/ 28 w 210"/>
                  <a:gd name="T33" fmla="*/ 2 h 174"/>
                  <a:gd name="T34" fmla="*/ 20 w 210"/>
                  <a:gd name="T35" fmla="*/ 7 h 174"/>
                  <a:gd name="T36" fmla="*/ 20 w 210"/>
                  <a:gd name="T37" fmla="*/ 12 h 174"/>
                  <a:gd name="T38" fmla="*/ 21 w 210"/>
                  <a:gd name="T39" fmla="*/ 18 h 174"/>
                  <a:gd name="T40" fmla="*/ 14 w 210"/>
                  <a:gd name="T41" fmla="*/ 24 h 174"/>
                  <a:gd name="T42" fmla="*/ 16 w 210"/>
                  <a:gd name="T43" fmla="*/ 33 h 174"/>
                  <a:gd name="T44" fmla="*/ 15 w 210"/>
                  <a:gd name="T45" fmla="*/ 38 h 174"/>
                  <a:gd name="T46" fmla="*/ 20 w 210"/>
                  <a:gd name="T47" fmla="*/ 47 h 174"/>
                  <a:gd name="T48" fmla="*/ 21 w 210"/>
                  <a:gd name="T49" fmla="*/ 61 h 174"/>
                  <a:gd name="T50" fmla="*/ 15 w 210"/>
                  <a:gd name="T51" fmla="*/ 64 h 174"/>
                  <a:gd name="T52" fmla="*/ 16 w 210"/>
                  <a:gd name="T53" fmla="*/ 70 h 174"/>
                  <a:gd name="T54" fmla="*/ 10 w 210"/>
                  <a:gd name="T55" fmla="*/ 79 h 174"/>
                  <a:gd name="T56" fmla="*/ 5 w 210"/>
                  <a:gd name="T57" fmla="*/ 84 h 174"/>
                  <a:gd name="T58" fmla="*/ 0 w 210"/>
                  <a:gd name="T59" fmla="*/ 90 h 174"/>
                  <a:gd name="T60" fmla="*/ 0 w 210"/>
                  <a:gd name="T61" fmla="*/ 98 h 174"/>
                  <a:gd name="T62" fmla="*/ 1 w 210"/>
                  <a:gd name="T63" fmla="*/ 104 h 174"/>
                  <a:gd name="T64" fmla="*/ 1 w 210"/>
                  <a:gd name="T65" fmla="*/ 116 h 174"/>
                  <a:gd name="T66" fmla="*/ 1 w 210"/>
                  <a:gd name="T67" fmla="*/ 130 h 174"/>
                  <a:gd name="T68" fmla="*/ 14 w 210"/>
                  <a:gd name="T69" fmla="*/ 133 h 174"/>
                  <a:gd name="T70" fmla="*/ 40 w 210"/>
                  <a:gd name="T71" fmla="*/ 155 h 174"/>
                  <a:gd name="T72" fmla="*/ 44 w 210"/>
                  <a:gd name="T73" fmla="*/ 169 h 174"/>
                  <a:gd name="T74" fmla="*/ 74 w 210"/>
                  <a:gd name="T75" fmla="*/ 173 h 174"/>
                  <a:gd name="T76" fmla="*/ 88 w 210"/>
                  <a:gd name="T77" fmla="*/ 169 h 174"/>
                  <a:gd name="T78" fmla="*/ 97 w 210"/>
                  <a:gd name="T79" fmla="*/ 165 h 174"/>
                  <a:gd name="T80" fmla="*/ 102 w 210"/>
                  <a:gd name="T81" fmla="*/ 168 h 174"/>
                  <a:gd name="T82" fmla="*/ 109 w 210"/>
                  <a:gd name="T83" fmla="*/ 155 h 174"/>
                  <a:gd name="T84" fmla="*/ 111 w 210"/>
                  <a:gd name="T85" fmla="*/ 147 h 174"/>
                  <a:gd name="T86" fmla="*/ 117 w 210"/>
                  <a:gd name="T87" fmla="*/ 139 h 174"/>
                  <a:gd name="T88" fmla="*/ 123 w 210"/>
                  <a:gd name="T89" fmla="*/ 129 h 174"/>
                  <a:gd name="T90" fmla="*/ 130 w 210"/>
                  <a:gd name="T91" fmla="*/ 126 h 174"/>
                  <a:gd name="T92" fmla="*/ 138 w 210"/>
                  <a:gd name="T93" fmla="*/ 127 h 174"/>
                  <a:gd name="T94" fmla="*/ 146 w 210"/>
                  <a:gd name="T95" fmla="*/ 135 h 174"/>
                  <a:gd name="T96" fmla="*/ 155 w 210"/>
                  <a:gd name="T97" fmla="*/ 129 h 174"/>
                  <a:gd name="T98" fmla="*/ 160 w 210"/>
                  <a:gd name="T99" fmla="*/ 126 h 174"/>
                  <a:gd name="T100" fmla="*/ 162 w 210"/>
                  <a:gd name="T101" fmla="*/ 115 h 174"/>
                  <a:gd name="T102" fmla="*/ 168 w 210"/>
                  <a:gd name="T103" fmla="*/ 105 h 174"/>
                  <a:gd name="T104" fmla="*/ 179 w 210"/>
                  <a:gd name="T105" fmla="*/ 94 h 174"/>
                  <a:gd name="T106" fmla="*/ 180 w 210"/>
                  <a:gd name="T107" fmla="*/ 83 h 174"/>
                  <a:gd name="T108" fmla="*/ 190 w 210"/>
                  <a:gd name="T109" fmla="*/ 75 h 174"/>
                  <a:gd name="T110" fmla="*/ 190 w 210"/>
                  <a:gd name="T111" fmla="*/ 63 h 174"/>
                  <a:gd name="T112" fmla="*/ 197 w 210"/>
                  <a:gd name="T113" fmla="*/ 53 h 174"/>
                  <a:gd name="T114" fmla="*/ 204 w 210"/>
                  <a:gd name="T115" fmla="*/ 48 h 174"/>
                  <a:gd name="T116" fmla="*/ 210 w 210"/>
                  <a:gd name="T117" fmla="*/ 41 h 174"/>
                  <a:gd name="T118" fmla="*/ 207 w 210"/>
                  <a:gd name="T119" fmla="*/ 32 h 174"/>
                  <a:gd name="T120" fmla="*/ 204 w 210"/>
                  <a:gd name="T121" fmla="*/ 22 h 174"/>
                  <a:gd name="T122" fmla="*/ 201 w 210"/>
                  <a:gd name="T123" fmla="*/ 16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10" h="174">
                    <a:moveTo>
                      <a:pt x="201" y="16"/>
                    </a:moveTo>
                    <a:lnTo>
                      <a:pt x="201" y="16"/>
                    </a:lnTo>
                    <a:lnTo>
                      <a:pt x="198" y="11"/>
                    </a:lnTo>
                    <a:lnTo>
                      <a:pt x="193" y="5"/>
                    </a:lnTo>
                    <a:lnTo>
                      <a:pt x="187" y="3"/>
                    </a:lnTo>
                    <a:lnTo>
                      <a:pt x="185" y="6"/>
                    </a:lnTo>
                    <a:lnTo>
                      <a:pt x="184" y="9"/>
                    </a:lnTo>
                    <a:lnTo>
                      <a:pt x="183" y="9"/>
                    </a:lnTo>
                    <a:lnTo>
                      <a:pt x="181" y="8"/>
                    </a:lnTo>
                    <a:lnTo>
                      <a:pt x="178" y="9"/>
                    </a:lnTo>
                    <a:lnTo>
                      <a:pt x="177" y="11"/>
                    </a:lnTo>
                    <a:lnTo>
                      <a:pt x="173" y="12"/>
                    </a:lnTo>
                    <a:lnTo>
                      <a:pt x="171" y="16"/>
                    </a:lnTo>
                    <a:lnTo>
                      <a:pt x="168" y="17"/>
                    </a:lnTo>
                    <a:lnTo>
                      <a:pt x="164" y="14"/>
                    </a:lnTo>
                    <a:lnTo>
                      <a:pt x="160" y="14"/>
                    </a:lnTo>
                    <a:lnTo>
                      <a:pt x="154" y="11"/>
                    </a:lnTo>
                    <a:lnTo>
                      <a:pt x="145" y="10"/>
                    </a:lnTo>
                    <a:lnTo>
                      <a:pt x="141" y="12"/>
                    </a:lnTo>
                    <a:lnTo>
                      <a:pt x="132" y="11"/>
                    </a:lnTo>
                    <a:lnTo>
                      <a:pt x="128" y="12"/>
                    </a:lnTo>
                    <a:lnTo>
                      <a:pt x="123" y="18"/>
                    </a:lnTo>
                    <a:lnTo>
                      <a:pt x="118" y="21"/>
                    </a:lnTo>
                    <a:lnTo>
                      <a:pt x="116" y="20"/>
                    </a:lnTo>
                    <a:lnTo>
                      <a:pt x="108" y="18"/>
                    </a:lnTo>
                    <a:lnTo>
                      <a:pt x="104" y="18"/>
                    </a:lnTo>
                    <a:lnTo>
                      <a:pt x="98" y="15"/>
                    </a:lnTo>
                    <a:lnTo>
                      <a:pt x="95" y="13"/>
                    </a:lnTo>
                    <a:lnTo>
                      <a:pt x="95" y="12"/>
                    </a:lnTo>
                    <a:lnTo>
                      <a:pt x="91" y="9"/>
                    </a:lnTo>
                    <a:lnTo>
                      <a:pt x="88" y="9"/>
                    </a:lnTo>
                    <a:lnTo>
                      <a:pt x="88" y="10"/>
                    </a:lnTo>
                    <a:lnTo>
                      <a:pt x="82" y="11"/>
                    </a:lnTo>
                    <a:lnTo>
                      <a:pt x="79" y="12"/>
                    </a:lnTo>
                    <a:lnTo>
                      <a:pt x="77" y="12"/>
                    </a:lnTo>
                    <a:lnTo>
                      <a:pt x="75" y="15"/>
                    </a:lnTo>
                    <a:lnTo>
                      <a:pt x="73" y="16"/>
                    </a:lnTo>
                    <a:lnTo>
                      <a:pt x="70" y="13"/>
                    </a:lnTo>
                    <a:lnTo>
                      <a:pt x="65" y="7"/>
                    </a:lnTo>
                    <a:lnTo>
                      <a:pt x="64" y="5"/>
                    </a:lnTo>
                    <a:lnTo>
                      <a:pt x="58" y="3"/>
                    </a:lnTo>
                    <a:lnTo>
                      <a:pt x="55" y="3"/>
                    </a:lnTo>
                    <a:lnTo>
                      <a:pt x="53" y="1"/>
                    </a:lnTo>
                    <a:lnTo>
                      <a:pt x="48" y="1"/>
                    </a:lnTo>
                    <a:lnTo>
                      <a:pt x="46" y="0"/>
                    </a:lnTo>
                    <a:lnTo>
                      <a:pt x="43" y="0"/>
                    </a:lnTo>
                    <a:lnTo>
                      <a:pt x="41" y="2"/>
                    </a:lnTo>
                    <a:lnTo>
                      <a:pt x="35" y="1"/>
                    </a:lnTo>
                    <a:lnTo>
                      <a:pt x="34" y="2"/>
                    </a:lnTo>
                    <a:lnTo>
                      <a:pt x="31" y="1"/>
                    </a:lnTo>
                    <a:lnTo>
                      <a:pt x="28" y="2"/>
                    </a:lnTo>
                    <a:lnTo>
                      <a:pt x="26" y="3"/>
                    </a:lnTo>
                    <a:lnTo>
                      <a:pt x="24" y="4"/>
                    </a:lnTo>
                    <a:lnTo>
                      <a:pt x="20" y="7"/>
                    </a:lnTo>
                    <a:lnTo>
                      <a:pt x="19" y="9"/>
                    </a:lnTo>
                    <a:lnTo>
                      <a:pt x="20" y="11"/>
                    </a:lnTo>
                    <a:lnTo>
                      <a:pt x="20" y="12"/>
                    </a:lnTo>
                    <a:lnTo>
                      <a:pt x="19" y="13"/>
                    </a:lnTo>
                    <a:lnTo>
                      <a:pt x="20" y="17"/>
                    </a:lnTo>
                    <a:lnTo>
                      <a:pt x="21" y="18"/>
                    </a:lnTo>
                    <a:lnTo>
                      <a:pt x="22" y="20"/>
                    </a:lnTo>
                    <a:lnTo>
                      <a:pt x="18" y="20"/>
                    </a:lnTo>
                    <a:lnTo>
                      <a:pt x="14" y="24"/>
                    </a:lnTo>
                    <a:lnTo>
                      <a:pt x="15" y="26"/>
                    </a:lnTo>
                    <a:lnTo>
                      <a:pt x="13" y="28"/>
                    </a:lnTo>
                    <a:lnTo>
                      <a:pt x="16" y="33"/>
                    </a:lnTo>
                    <a:lnTo>
                      <a:pt x="18" y="33"/>
                    </a:lnTo>
                    <a:lnTo>
                      <a:pt x="18" y="35"/>
                    </a:lnTo>
                    <a:lnTo>
                      <a:pt x="15" y="38"/>
                    </a:lnTo>
                    <a:lnTo>
                      <a:pt x="14" y="40"/>
                    </a:lnTo>
                    <a:lnTo>
                      <a:pt x="15" y="43"/>
                    </a:lnTo>
                    <a:lnTo>
                      <a:pt x="20" y="47"/>
                    </a:lnTo>
                    <a:lnTo>
                      <a:pt x="20" y="52"/>
                    </a:lnTo>
                    <a:lnTo>
                      <a:pt x="22" y="59"/>
                    </a:lnTo>
                    <a:lnTo>
                      <a:pt x="21" y="61"/>
                    </a:lnTo>
                    <a:lnTo>
                      <a:pt x="17" y="61"/>
                    </a:lnTo>
                    <a:lnTo>
                      <a:pt x="16" y="62"/>
                    </a:lnTo>
                    <a:lnTo>
                      <a:pt x="15" y="64"/>
                    </a:lnTo>
                    <a:lnTo>
                      <a:pt x="19" y="68"/>
                    </a:lnTo>
                    <a:lnTo>
                      <a:pt x="18" y="70"/>
                    </a:lnTo>
                    <a:lnTo>
                      <a:pt x="16" y="70"/>
                    </a:lnTo>
                    <a:lnTo>
                      <a:pt x="13" y="72"/>
                    </a:lnTo>
                    <a:lnTo>
                      <a:pt x="12" y="75"/>
                    </a:lnTo>
                    <a:lnTo>
                      <a:pt x="10" y="79"/>
                    </a:lnTo>
                    <a:lnTo>
                      <a:pt x="9" y="83"/>
                    </a:lnTo>
                    <a:lnTo>
                      <a:pt x="7" y="83"/>
                    </a:lnTo>
                    <a:lnTo>
                      <a:pt x="5" y="84"/>
                    </a:lnTo>
                    <a:lnTo>
                      <a:pt x="2" y="85"/>
                    </a:lnTo>
                    <a:lnTo>
                      <a:pt x="0" y="87"/>
                    </a:lnTo>
                    <a:lnTo>
                      <a:pt x="0" y="90"/>
                    </a:lnTo>
                    <a:lnTo>
                      <a:pt x="0" y="93"/>
                    </a:lnTo>
                    <a:lnTo>
                      <a:pt x="0" y="97"/>
                    </a:lnTo>
                    <a:lnTo>
                      <a:pt x="0" y="98"/>
                    </a:lnTo>
                    <a:lnTo>
                      <a:pt x="0" y="102"/>
                    </a:lnTo>
                    <a:lnTo>
                      <a:pt x="0" y="103"/>
                    </a:lnTo>
                    <a:lnTo>
                      <a:pt x="1" y="104"/>
                    </a:lnTo>
                    <a:lnTo>
                      <a:pt x="1" y="105"/>
                    </a:lnTo>
                    <a:lnTo>
                      <a:pt x="0" y="108"/>
                    </a:lnTo>
                    <a:lnTo>
                      <a:pt x="1" y="116"/>
                    </a:lnTo>
                    <a:lnTo>
                      <a:pt x="1" y="119"/>
                    </a:lnTo>
                    <a:lnTo>
                      <a:pt x="1" y="122"/>
                    </a:lnTo>
                    <a:lnTo>
                      <a:pt x="1" y="130"/>
                    </a:lnTo>
                    <a:lnTo>
                      <a:pt x="1" y="134"/>
                    </a:lnTo>
                    <a:lnTo>
                      <a:pt x="9" y="135"/>
                    </a:lnTo>
                    <a:lnTo>
                      <a:pt x="14" y="133"/>
                    </a:lnTo>
                    <a:lnTo>
                      <a:pt x="28" y="140"/>
                    </a:lnTo>
                    <a:lnTo>
                      <a:pt x="35" y="147"/>
                    </a:lnTo>
                    <a:lnTo>
                      <a:pt x="40" y="155"/>
                    </a:lnTo>
                    <a:lnTo>
                      <a:pt x="40" y="161"/>
                    </a:lnTo>
                    <a:lnTo>
                      <a:pt x="42" y="163"/>
                    </a:lnTo>
                    <a:lnTo>
                      <a:pt x="44" y="169"/>
                    </a:lnTo>
                    <a:lnTo>
                      <a:pt x="49" y="172"/>
                    </a:lnTo>
                    <a:lnTo>
                      <a:pt x="55" y="174"/>
                    </a:lnTo>
                    <a:lnTo>
                      <a:pt x="74" y="173"/>
                    </a:lnTo>
                    <a:lnTo>
                      <a:pt x="77" y="171"/>
                    </a:lnTo>
                    <a:lnTo>
                      <a:pt x="79" y="172"/>
                    </a:lnTo>
                    <a:lnTo>
                      <a:pt x="88" y="169"/>
                    </a:lnTo>
                    <a:lnTo>
                      <a:pt x="91" y="170"/>
                    </a:lnTo>
                    <a:lnTo>
                      <a:pt x="96" y="169"/>
                    </a:lnTo>
                    <a:lnTo>
                      <a:pt x="97" y="165"/>
                    </a:lnTo>
                    <a:lnTo>
                      <a:pt x="101" y="169"/>
                    </a:lnTo>
                    <a:lnTo>
                      <a:pt x="102" y="168"/>
                    </a:lnTo>
                    <a:lnTo>
                      <a:pt x="102" y="168"/>
                    </a:lnTo>
                    <a:lnTo>
                      <a:pt x="102" y="165"/>
                    </a:lnTo>
                    <a:lnTo>
                      <a:pt x="107" y="160"/>
                    </a:lnTo>
                    <a:lnTo>
                      <a:pt x="109" y="155"/>
                    </a:lnTo>
                    <a:lnTo>
                      <a:pt x="109" y="151"/>
                    </a:lnTo>
                    <a:lnTo>
                      <a:pt x="108" y="148"/>
                    </a:lnTo>
                    <a:lnTo>
                      <a:pt x="111" y="147"/>
                    </a:lnTo>
                    <a:lnTo>
                      <a:pt x="111" y="144"/>
                    </a:lnTo>
                    <a:lnTo>
                      <a:pt x="114" y="141"/>
                    </a:lnTo>
                    <a:lnTo>
                      <a:pt x="117" y="139"/>
                    </a:lnTo>
                    <a:lnTo>
                      <a:pt x="118" y="137"/>
                    </a:lnTo>
                    <a:lnTo>
                      <a:pt x="123" y="133"/>
                    </a:lnTo>
                    <a:lnTo>
                      <a:pt x="123" y="129"/>
                    </a:lnTo>
                    <a:lnTo>
                      <a:pt x="124" y="127"/>
                    </a:lnTo>
                    <a:lnTo>
                      <a:pt x="128" y="127"/>
                    </a:lnTo>
                    <a:lnTo>
                      <a:pt x="130" y="126"/>
                    </a:lnTo>
                    <a:lnTo>
                      <a:pt x="131" y="126"/>
                    </a:lnTo>
                    <a:lnTo>
                      <a:pt x="136" y="127"/>
                    </a:lnTo>
                    <a:lnTo>
                      <a:pt x="138" y="127"/>
                    </a:lnTo>
                    <a:lnTo>
                      <a:pt x="141" y="129"/>
                    </a:lnTo>
                    <a:lnTo>
                      <a:pt x="143" y="132"/>
                    </a:lnTo>
                    <a:lnTo>
                      <a:pt x="146" y="135"/>
                    </a:lnTo>
                    <a:lnTo>
                      <a:pt x="148" y="136"/>
                    </a:lnTo>
                    <a:lnTo>
                      <a:pt x="153" y="133"/>
                    </a:lnTo>
                    <a:lnTo>
                      <a:pt x="155" y="129"/>
                    </a:lnTo>
                    <a:lnTo>
                      <a:pt x="155" y="128"/>
                    </a:lnTo>
                    <a:lnTo>
                      <a:pt x="157" y="126"/>
                    </a:lnTo>
                    <a:lnTo>
                      <a:pt x="160" y="126"/>
                    </a:lnTo>
                    <a:lnTo>
                      <a:pt x="161" y="122"/>
                    </a:lnTo>
                    <a:lnTo>
                      <a:pt x="161" y="120"/>
                    </a:lnTo>
                    <a:lnTo>
                      <a:pt x="162" y="115"/>
                    </a:lnTo>
                    <a:lnTo>
                      <a:pt x="168" y="109"/>
                    </a:lnTo>
                    <a:lnTo>
                      <a:pt x="169" y="106"/>
                    </a:lnTo>
                    <a:lnTo>
                      <a:pt x="168" y="105"/>
                    </a:lnTo>
                    <a:lnTo>
                      <a:pt x="170" y="102"/>
                    </a:lnTo>
                    <a:lnTo>
                      <a:pt x="175" y="97"/>
                    </a:lnTo>
                    <a:lnTo>
                      <a:pt x="179" y="94"/>
                    </a:lnTo>
                    <a:lnTo>
                      <a:pt x="179" y="90"/>
                    </a:lnTo>
                    <a:lnTo>
                      <a:pt x="180" y="88"/>
                    </a:lnTo>
                    <a:lnTo>
                      <a:pt x="180" y="83"/>
                    </a:lnTo>
                    <a:lnTo>
                      <a:pt x="182" y="80"/>
                    </a:lnTo>
                    <a:lnTo>
                      <a:pt x="187" y="79"/>
                    </a:lnTo>
                    <a:lnTo>
                      <a:pt x="190" y="75"/>
                    </a:lnTo>
                    <a:lnTo>
                      <a:pt x="191" y="71"/>
                    </a:lnTo>
                    <a:lnTo>
                      <a:pt x="191" y="66"/>
                    </a:lnTo>
                    <a:lnTo>
                      <a:pt x="190" y="63"/>
                    </a:lnTo>
                    <a:lnTo>
                      <a:pt x="192" y="60"/>
                    </a:lnTo>
                    <a:lnTo>
                      <a:pt x="195" y="54"/>
                    </a:lnTo>
                    <a:lnTo>
                      <a:pt x="197" y="53"/>
                    </a:lnTo>
                    <a:lnTo>
                      <a:pt x="198" y="51"/>
                    </a:lnTo>
                    <a:lnTo>
                      <a:pt x="202" y="48"/>
                    </a:lnTo>
                    <a:lnTo>
                      <a:pt x="204" y="48"/>
                    </a:lnTo>
                    <a:lnTo>
                      <a:pt x="206" y="45"/>
                    </a:lnTo>
                    <a:lnTo>
                      <a:pt x="210" y="43"/>
                    </a:lnTo>
                    <a:lnTo>
                      <a:pt x="210" y="41"/>
                    </a:lnTo>
                    <a:lnTo>
                      <a:pt x="209" y="37"/>
                    </a:lnTo>
                    <a:lnTo>
                      <a:pt x="209" y="35"/>
                    </a:lnTo>
                    <a:lnTo>
                      <a:pt x="207" y="32"/>
                    </a:lnTo>
                    <a:lnTo>
                      <a:pt x="204" y="31"/>
                    </a:lnTo>
                    <a:lnTo>
                      <a:pt x="203" y="28"/>
                    </a:lnTo>
                    <a:lnTo>
                      <a:pt x="204" y="22"/>
                    </a:lnTo>
                    <a:lnTo>
                      <a:pt x="203" y="20"/>
                    </a:lnTo>
                    <a:lnTo>
                      <a:pt x="201" y="16"/>
                    </a:lnTo>
                    <a:lnTo>
                      <a:pt x="201" y="16"/>
                    </a:lnTo>
                    <a:lnTo>
                      <a:pt x="201" y="16"/>
                    </a:lnTo>
                    <a:close/>
                  </a:path>
                </a:pathLst>
              </a:custGeom>
              <a:solidFill>
                <a:schemeClr val="accent4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665" name="Freeform 469"/>
              <p:cNvSpPr>
                <a:spLocks/>
              </p:cNvSpPr>
              <p:nvPr userDrawn="1"/>
            </p:nvSpPr>
            <p:spPr bwMode="auto">
              <a:xfrm>
                <a:off x="3624" y="2694"/>
                <a:ext cx="140" cy="202"/>
              </a:xfrm>
              <a:custGeom>
                <a:avLst/>
                <a:gdLst>
                  <a:gd name="T0" fmla="*/ 135 w 140"/>
                  <a:gd name="T1" fmla="*/ 202 h 202"/>
                  <a:gd name="T2" fmla="*/ 131 w 140"/>
                  <a:gd name="T3" fmla="*/ 201 h 202"/>
                  <a:gd name="T4" fmla="*/ 124 w 140"/>
                  <a:gd name="T5" fmla="*/ 201 h 202"/>
                  <a:gd name="T6" fmla="*/ 120 w 140"/>
                  <a:gd name="T7" fmla="*/ 200 h 202"/>
                  <a:gd name="T8" fmla="*/ 114 w 140"/>
                  <a:gd name="T9" fmla="*/ 198 h 202"/>
                  <a:gd name="T10" fmla="*/ 109 w 140"/>
                  <a:gd name="T11" fmla="*/ 197 h 202"/>
                  <a:gd name="T12" fmla="*/ 82 w 140"/>
                  <a:gd name="T13" fmla="*/ 197 h 202"/>
                  <a:gd name="T14" fmla="*/ 80 w 140"/>
                  <a:gd name="T15" fmla="*/ 196 h 202"/>
                  <a:gd name="T16" fmla="*/ 72 w 140"/>
                  <a:gd name="T17" fmla="*/ 195 h 202"/>
                  <a:gd name="T18" fmla="*/ 61 w 140"/>
                  <a:gd name="T19" fmla="*/ 195 h 202"/>
                  <a:gd name="T20" fmla="*/ 53 w 140"/>
                  <a:gd name="T21" fmla="*/ 196 h 202"/>
                  <a:gd name="T22" fmla="*/ 49 w 140"/>
                  <a:gd name="T23" fmla="*/ 197 h 202"/>
                  <a:gd name="T24" fmla="*/ 26 w 140"/>
                  <a:gd name="T25" fmla="*/ 197 h 202"/>
                  <a:gd name="T26" fmla="*/ 24 w 140"/>
                  <a:gd name="T27" fmla="*/ 194 h 202"/>
                  <a:gd name="T28" fmla="*/ 23 w 140"/>
                  <a:gd name="T29" fmla="*/ 178 h 202"/>
                  <a:gd name="T30" fmla="*/ 21 w 140"/>
                  <a:gd name="T31" fmla="*/ 166 h 202"/>
                  <a:gd name="T32" fmla="*/ 12 w 140"/>
                  <a:gd name="T33" fmla="*/ 162 h 202"/>
                  <a:gd name="T34" fmla="*/ 3 w 140"/>
                  <a:gd name="T35" fmla="*/ 153 h 202"/>
                  <a:gd name="T36" fmla="*/ 0 w 140"/>
                  <a:gd name="T37" fmla="*/ 149 h 202"/>
                  <a:gd name="T38" fmla="*/ 7 w 140"/>
                  <a:gd name="T39" fmla="*/ 135 h 202"/>
                  <a:gd name="T40" fmla="*/ 9 w 140"/>
                  <a:gd name="T41" fmla="*/ 128 h 202"/>
                  <a:gd name="T42" fmla="*/ 16 w 140"/>
                  <a:gd name="T43" fmla="*/ 121 h 202"/>
                  <a:gd name="T44" fmla="*/ 22 w 140"/>
                  <a:gd name="T45" fmla="*/ 111 h 202"/>
                  <a:gd name="T46" fmla="*/ 29 w 140"/>
                  <a:gd name="T47" fmla="*/ 110 h 202"/>
                  <a:gd name="T48" fmla="*/ 39 w 140"/>
                  <a:gd name="T49" fmla="*/ 113 h 202"/>
                  <a:gd name="T50" fmla="*/ 46 w 140"/>
                  <a:gd name="T51" fmla="*/ 120 h 202"/>
                  <a:gd name="T52" fmla="*/ 53 w 140"/>
                  <a:gd name="T53" fmla="*/ 112 h 202"/>
                  <a:gd name="T54" fmla="*/ 59 w 140"/>
                  <a:gd name="T55" fmla="*/ 106 h 202"/>
                  <a:gd name="T56" fmla="*/ 66 w 140"/>
                  <a:gd name="T57" fmla="*/ 93 h 202"/>
                  <a:gd name="T58" fmla="*/ 68 w 140"/>
                  <a:gd name="T59" fmla="*/ 86 h 202"/>
                  <a:gd name="T60" fmla="*/ 77 w 140"/>
                  <a:gd name="T61" fmla="*/ 74 h 202"/>
                  <a:gd name="T62" fmla="*/ 80 w 140"/>
                  <a:gd name="T63" fmla="*/ 64 h 202"/>
                  <a:gd name="T64" fmla="*/ 89 w 140"/>
                  <a:gd name="T65" fmla="*/ 55 h 202"/>
                  <a:gd name="T66" fmla="*/ 90 w 140"/>
                  <a:gd name="T67" fmla="*/ 44 h 202"/>
                  <a:gd name="T68" fmla="*/ 96 w 140"/>
                  <a:gd name="T69" fmla="*/ 35 h 202"/>
                  <a:gd name="T70" fmla="*/ 104 w 140"/>
                  <a:gd name="T71" fmla="*/ 29 h 202"/>
                  <a:gd name="T72" fmla="*/ 107 w 140"/>
                  <a:gd name="T73" fmla="*/ 21 h 202"/>
                  <a:gd name="T74" fmla="*/ 102 w 140"/>
                  <a:gd name="T75" fmla="*/ 15 h 202"/>
                  <a:gd name="T76" fmla="*/ 101 w 140"/>
                  <a:gd name="T77" fmla="*/ 4 h 202"/>
                  <a:gd name="T78" fmla="*/ 112 w 140"/>
                  <a:gd name="T79" fmla="*/ 8 h 202"/>
                  <a:gd name="T80" fmla="*/ 115 w 140"/>
                  <a:gd name="T81" fmla="*/ 18 h 202"/>
                  <a:gd name="T82" fmla="*/ 117 w 140"/>
                  <a:gd name="T83" fmla="*/ 26 h 202"/>
                  <a:gd name="T84" fmla="*/ 117 w 140"/>
                  <a:gd name="T85" fmla="*/ 35 h 202"/>
                  <a:gd name="T86" fmla="*/ 119 w 140"/>
                  <a:gd name="T87" fmla="*/ 45 h 202"/>
                  <a:gd name="T88" fmla="*/ 127 w 140"/>
                  <a:gd name="T89" fmla="*/ 54 h 202"/>
                  <a:gd name="T90" fmla="*/ 124 w 140"/>
                  <a:gd name="T91" fmla="*/ 56 h 202"/>
                  <a:gd name="T92" fmla="*/ 116 w 140"/>
                  <a:gd name="T93" fmla="*/ 55 h 202"/>
                  <a:gd name="T94" fmla="*/ 108 w 140"/>
                  <a:gd name="T95" fmla="*/ 54 h 202"/>
                  <a:gd name="T96" fmla="*/ 102 w 140"/>
                  <a:gd name="T97" fmla="*/ 58 h 202"/>
                  <a:gd name="T98" fmla="*/ 102 w 140"/>
                  <a:gd name="T99" fmla="*/ 65 h 202"/>
                  <a:gd name="T100" fmla="*/ 107 w 140"/>
                  <a:gd name="T101" fmla="*/ 68 h 202"/>
                  <a:gd name="T102" fmla="*/ 123 w 140"/>
                  <a:gd name="T103" fmla="*/ 84 h 202"/>
                  <a:gd name="T104" fmla="*/ 129 w 140"/>
                  <a:gd name="T105" fmla="*/ 97 h 202"/>
                  <a:gd name="T106" fmla="*/ 122 w 140"/>
                  <a:gd name="T107" fmla="*/ 106 h 202"/>
                  <a:gd name="T108" fmla="*/ 112 w 140"/>
                  <a:gd name="T109" fmla="*/ 121 h 202"/>
                  <a:gd name="T110" fmla="*/ 109 w 140"/>
                  <a:gd name="T111" fmla="*/ 129 h 202"/>
                  <a:gd name="T112" fmla="*/ 111 w 140"/>
                  <a:gd name="T113" fmla="*/ 142 h 202"/>
                  <a:gd name="T114" fmla="*/ 114 w 140"/>
                  <a:gd name="T115" fmla="*/ 154 h 202"/>
                  <a:gd name="T116" fmla="*/ 123 w 140"/>
                  <a:gd name="T117" fmla="*/ 164 h 202"/>
                  <a:gd name="T118" fmla="*/ 132 w 140"/>
                  <a:gd name="T119" fmla="*/ 177 h 202"/>
                  <a:gd name="T120" fmla="*/ 139 w 140"/>
                  <a:gd name="T121" fmla="*/ 189 h 202"/>
                  <a:gd name="T122" fmla="*/ 140 w 140"/>
                  <a:gd name="T123" fmla="*/ 191 h 202"/>
                  <a:gd name="T124" fmla="*/ 136 w 140"/>
                  <a:gd name="T125" fmla="*/ 197 h 2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40" h="202">
                    <a:moveTo>
                      <a:pt x="138" y="200"/>
                    </a:moveTo>
                    <a:lnTo>
                      <a:pt x="137" y="202"/>
                    </a:lnTo>
                    <a:lnTo>
                      <a:pt x="135" y="202"/>
                    </a:lnTo>
                    <a:lnTo>
                      <a:pt x="134" y="201"/>
                    </a:lnTo>
                    <a:lnTo>
                      <a:pt x="133" y="202"/>
                    </a:lnTo>
                    <a:lnTo>
                      <a:pt x="131" y="201"/>
                    </a:lnTo>
                    <a:lnTo>
                      <a:pt x="130" y="200"/>
                    </a:lnTo>
                    <a:lnTo>
                      <a:pt x="125" y="200"/>
                    </a:lnTo>
                    <a:lnTo>
                      <a:pt x="124" y="201"/>
                    </a:lnTo>
                    <a:lnTo>
                      <a:pt x="122" y="199"/>
                    </a:lnTo>
                    <a:lnTo>
                      <a:pt x="121" y="198"/>
                    </a:lnTo>
                    <a:lnTo>
                      <a:pt x="120" y="200"/>
                    </a:lnTo>
                    <a:lnTo>
                      <a:pt x="118" y="200"/>
                    </a:lnTo>
                    <a:lnTo>
                      <a:pt x="117" y="199"/>
                    </a:lnTo>
                    <a:lnTo>
                      <a:pt x="114" y="198"/>
                    </a:lnTo>
                    <a:lnTo>
                      <a:pt x="113" y="198"/>
                    </a:lnTo>
                    <a:lnTo>
                      <a:pt x="111" y="197"/>
                    </a:lnTo>
                    <a:lnTo>
                      <a:pt x="109" y="197"/>
                    </a:lnTo>
                    <a:lnTo>
                      <a:pt x="108" y="197"/>
                    </a:lnTo>
                    <a:lnTo>
                      <a:pt x="106" y="197"/>
                    </a:lnTo>
                    <a:lnTo>
                      <a:pt x="82" y="197"/>
                    </a:lnTo>
                    <a:lnTo>
                      <a:pt x="81" y="196"/>
                    </a:lnTo>
                    <a:lnTo>
                      <a:pt x="80" y="196"/>
                    </a:lnTo>
                    <a:lnTo>
                      <a:pt x="80" y="196"/>
                    </a:lnTo>
                    <a:lnTo>
                      <a:pt x="75" y="196"/>
                    </a:lnTo>
                    <a:lnTo>
                      <a:pt x="74" y="195"/>
                    </a:lnTo>
                    <a:lnTo>
                      <a:pt x="72" y="195"/>
                    </a:lnTo>
                    <a:lnTo>
                      <a:pt x="69" y="196"/>
                    </a:lnTo>
                    <a:lnTo>
                      <a:pt x="67" y="195"/>
                    </a:lnTo>
                    <a:lnTo>
                      <a:pt x="61" y="195"/>
                    </a:lnTo>
                    <a:lnTo>
                      <a:pt x="59" y="195"/>
                    </a:lnTo>
                    <a:lnTo>
                      <a:pt x="55" y="195"/>
                    </a:lnTo>
                    <a:lnTo>
                      <a:pt x="53" y="196"/>
                    </a:lnTo>
                    <a:lnTo>
                      <a:pt x="51" y="196"/>
                    </a:lnTo>
                    <a:lnTo>
                      <a:pt x="49" y="196"/>
                    </a:lnTo>
                    <a:lnTo>
                      <a:pt x="49" y="197"/>
                    </a:lnTo>
                    <a:lnTo>
                      <a:pt x="49" y="197"/>
                    </a:lnTo>
                    <a:lnTo>
                      <a:pt x="27" y="197"/>
                    </a:lnTo>
                    <a:lnTo>
                      <a:pt x="26" y="197"/>
                    </a:lnTo>
                    <a:lnTo>
                      <a:pt x="23" y="197"/>
                    </a:lnTo>
                    <a:lnTo>
                      <a:pt x="21" y="197"/>
                    </a:lnTo>
                    <a:lnTo>
                      <a:pt x="24" y="194"/>
                    </a:lnTo>
                    <a:lnTo>
                      <a:pt x="21" y="191"/>
                    </a:lnTo>
                    <a:lnTo>
                      <a:pt x="24" y="185"/>
                    </a:lnTo>
                    <a:lnTo>
                      <a:pt x="23" y="178"/>
                    </a:lnTo>
                    <a:lnTo>
                      <a:pt x="20" y="174"/>
                    </a:lnTo>
                    <a:lnTo>
                      <a:pt x="20" y="169"/>
                    </a:lnTo>
                    <a:lnTo>
                      <a:pt x="21" y="166"/>
                    </a:lnTo>
                    <a:lnTo>
                      <a:pt x="18" y="162"/>
                    </a:lnTo>
                    <a:lnTo>
                      <a:pt x="13" y="164"/>
                    </a:lnTo>
                    <a:lnTo>
                      <a:pt x="12" y="162"/>
                    </a:lnTo>
                    <a:lnTo>
                      <a:pt x="8" y="162"/>
                    </a:lnTo>
                    <a:lnTo>
                      <a:pt x="6" y="151"/>
                    </a:lnTo>
                    <a:lnTo>
                      <a:pt x="3" y="153"/>
                    </a:lnTo>
                    <a:lnTo>
                      <a:pt x="0" y="152"/>
                    </a:lnTo>
                    <a:lnTo>
                      <a:pt x="0" y="152"/>
                    </a:lnTo>
                    <a:lnTo>
                      <a:pt x="0" y="149"/>
                    </a:lnTo>
                    <a:lnTo>
                      <a:pt x="5" y="144"/>
                    </a:lnTo>
                    <a:lnTo>
                      <a:pt x="7" y="139"/>
                    </a:lnTo>
                    <a:lnTo>
                      <a:pt x="7" y="135"/>
                    </a:lnTo>
                    <a:lnTo>
                      <a:pt x="6" y="132"/>
                    </a:lnTo>
                    <a:lnTo>
                      <a:pt x="9" y="131"/>
                    </a:lnTo>
                    <a:lnTo>
                      <a:pt x="9" y="128"/>
                    </a:lnTo>
                    <a:lnTo>
                      <a:pt x="12" y="125"/>
                    </a:lnTo>
                    <a:lnTo>
                      <a:pt x="15" y="123"/>
                    </a:lnTo>
                    <a:lnTo>
                      <a:pt x="16" y="121"/>
                    </a:lnTo>
                    <a:lnTo>
                      <a:pt x="21" y="117"/>
                    </a:lnTo>
                    <a:lnTo>
                      <a:pt x="21" y="113"/>
                    </a:lnTo>
                    <a:lnTo>
                      <a:pt x="22" y="111"/>
                    </a:lnTo>
                    <a:lnTo>
                      <a:pt x="26" y="111"/>
                    </a:lnTo>
                    <a:lnTo>
                      <a:pt x="28" y="110"/>
                    </a:lnTo>
                    <a:lnTo>
                      <a:pt x="29" y="110"/>
                    </a:lnTo>
                    <a:lnTo>
                      <a:pt x="34" y="111"/>
                    </a:lnTo>
                    <a:lnTo>
                      <a:pt x="36" y="111"/>
                    </a:lnTo>
                    <a:lnTo>
                      <a:pt x="39" y="113"/>
                    </a:lnTo>
                    <a:lnTo>
                      <a:pt x="41" y="116"/>
                    </a:lnTo>
                    <a:lnTo>
                      <a:pt x="44" y="119"/>
                    </a:lnTo>
                    <a:lnTo>
                      <a:pt x="46" y="120"/>
                    </a:lnTo>
                    <a:lnTo>
                      <a:pt x="51" y="117"/>
                    </a:lnTo>
                    <a:lnTo>
                      <a:pt x="53" y="113"/>
                    </a:lnTo>
                    <a:lnTo>
                      <a:pt x="53" y="112"/>
                    </a:lnTo>
                    <a:lnTo>
                      <a:pt x="55" y="110"/>
                    </a:lnTo>
                    <a:lnTo>
                      <a:pt x="58" y="110"/>
                    </a:lnTo>
                    <a:lnTo>
                      <a:pt x="59" y="106"/>
                    </a:lnTo>
                    <a:lnTo>
                      <a:pt x="59" y="104"/>
                    </a:lnTo>
                    <a:lnTo>
                      <a:pt x="60" y="99"/>
                    </a:lnTo>
                    <a:lnTo>
                      <a:pt x="66" y="93"/>
                    </a:lnTo>
                    <a:lnTo>
                      <a:pt x="67" y="90"/>
                    </a:lnTo>
                    <a:lnTo>
                      <a:pt x="66" y="89"/>
                    </a:lnTo>
                    <a:lnTo>
                      <a:pt x="68" y="86"/>
                    </a:lnTo>
                    <a:lnTo>
                      <a:pt x="73" y="81"/>
                    </a:lnTo>
                    <a:lnTo>
                      <a:pt x="77" y="78"/>
                    </a:lnTo>
                    <a:lnTo>
                      <a:pt x="77" y="74"/>
                    </a:lnTo>
                    <a:lnTo>
                      <a:pt x="78" y="72"/>
                    </a:lnTo>
                    <a:lnTo>
                      <a:pt x="78" y="67"/>
                    </a:lnTo>
                    <a:lnTo>
                      <a:pt x="80" y="64"/>
                    </a:lnTo>
                    <a:lnTo>
                      <a:pt x="85" y="63"/>
                    </a:lnTo>
                    <a:lnTo>
                      <a:pt x="88" y="59"/>
                    </a:lnTo>
                    <a:lnTo>
                      <a:pt x="89" y="55"/>
                    </a:lnTo>
                    <a:lnTo>
                      <a:pt x="89" y="50"/>
                    </a:lnTo>
                    <a:lnTo>
                      <a:pt x="88" y="47"/>
                    </a:lnTo>
                    <a:lnTo>
                      <a:pt x="90" y="44"/>
                    </a:lnTo>
                    <a:lnTo>
                      <a:pt x="93" y="38"/>
                    </a:lnTo>
                    <a:lnTo>
                      <a:pt x="95" y="37"/>
                    </a:lnTo>
                    <a:lnTo>
                      <a:pt x="96" y="35"/>
                    </a:lnTo>
                    <a:lnTo>
                      <a:pt x="100" y="32"/>
                    </a:lnTo>
                    <a:lnTo>
                      <a:pt x="102" y="32"/>
                    </a:lnTo>
                    <a:lnTo>
                      <a:pt x="104" y="29"/>
                    </a:lnTo>
                    <a:lnTo>
                      <a:pt x="108" y="27"/>
                    </a:lnTo>
                    <a:lnTo>
                      <a:pt x="108" y="25"/>
                    </a:lnTo>
                    <a:lnTo>
                      <a:pt x="107" y="21"/>
                    </a:lnTo>
                    <a:lnTo>
                      <a:pt x="107" y="19"/>
                    </a:lnTo>
                    <a:lnTo>
                      <a:pt x="105" y="16"/>
                    </a:lnTo>
                    <a:lnTo>
                      <a:pt x="102" y="15"/>
                    </a:lnTo>
                    <a:lnTo>
                      <a:pt x="101" y="12"/>
                    </a:lnTo>
                    <a:lnTo>
                      <a:pt x="102" y="6"/>
                    </a:lnTo>
                    <a:lnTo>
                      <a:pt x="101" y="4"/>
                    </a:lnTo>
                    <a:lnTo>
                      <a:pt x="99" y="0"/>
                    </a:lnTo>
                    <a:lnTo>
                      <a:pt x="108" y="4"/>
                    </a:lnTo>
                    <a:lnTo>
                      <a:pt x="112" y="8"/>
                    </a:lnTo>
                    <a:lnTo>
                      <a:pt x="113" y="13"/>
                    </a:lnTo>
                    <a:lnTo>
                      <a:pt x="115" y="15"/>
                    </a:lnTo>
                    <a:lnTo>
                      <a:pt x="115" y="18"/>
                    </a:lnTo>
                    <a:lnTo>
                      <a:pt x="118" y="23"/>
                    </a:lnTo>
                    <a:lnTo>
                      <a:pt x="118" y="24"/>
                    </a:lnTo>
                    <a:lnTo>
                      <a:pt x="117" y="26"/>
                    </a:lnTo>
                    <a:lnTo>
                      <a:pt x="117" y="28"/>
                    </a:lnTo>
                    <a:lnTo>
                      <a:pt x="119" y="30"/>
                    </a:lnTo>
                    <a:lnTo>
                      <a:pt x="117" y="35"/>
                    </a:lnTo>
                    <a:lnTo>
                      <a:pt x="115" y="38"/>
                    </a:lnTo>
                    <a:lnTo>
                      <a:pt x="115" y="41"/>
                    </a:lnTo>
                    <a:lnTo>
                      <a:pt x="119" y="45"/>
                    </a:lnTo>
                    <a:lnTo>
                      <a:pt x="122" y="46"/>
                    </a:lnTo>
                    <a:lnTo>
                      <a:pt x="123" y="50"/>
                    </a:lnTo>
                    <a:lnTo>
                      <a:pt x="127" y="54"/>
                    </a:lnTo>
                    <a:lnTo>
                      <a:pt x="128" y="55"/>
                    </a:lnTo>
                    <a:lnTo>
                      <a:pt x="126" y="56"/>
                    </a:lnTo>
                    <a:lnTo>
                      <a:pt x="124" y="56"/>
                    </a:lnTo>
                    <a:lnTo>
                      <a:pt x="123" y="55"/>
                    </a:lnTo>
                    <a:lnTo>
                      <a:pt x="118" y="54"/>
                    </a:lnTo>
                    <a:lnTo>
                      <a:pt x="116" y="55"/>
                    </a:lnTo>
                    <a:lnTo>
                      <a:pt x="113" y="54"/>
                    </a:lnTo>
                    <a:lnTo>
                      <a:pt x="110" y="55"/>
                    </a:lnTo>
                    <a:lnTo>
                      <a:pt x="108" y="54"/>
                    </a:lnTo>
                    <a:lnTo>
                      <a:pt x="104" y="54"/>
                    </a:lnTo>
                    <a:lnTo>
                      <a:pt x="102" y="54"/>
                    </a:lnTo>
                    <a:lnTo>
                      <a:pt x="102" y="58"/>
                    </a:lnTo>
                    <a:lnTo>
                      <a:pt x="101" y="59"/>
                    </a:lnTo>
                    <a:lnTo>
                      <a:pt x="101" y="63"/>
                    </a:lnTo>
                    <a:lnTo>
                      <a:pt x="102" y="65"/>
                    </a:lnTo>
                    <a:lnTo>
                      <a:pt x="103" y="66"/>
                    </a:lnTo>
                    <a:lnTo>
                      <a:pt x="103" y="67"/>
                    </a:lnTo>
                    <a:lnTo>
                      <a:pt x="107" y="68"/>
                    </a:lnTo>
                    <a:lnTo>
                      <a:pt x="114" y="74"/>
                    </a:lnTo>
                    <a:lnTo>
                      <a:pt x="121" y="81"/>
                    </a:lnTo>
                    <a:lnTo>
                      <a:pt x="123" y="84"/>
                    </a:lnTo>
                    <a:lnTo>
                      <a:pt x="125" y="88"/>
                    </a:lnTo>
                    <a:lnTo>
                      <a:pt x="129" y="92"/>
                    </a:lnTo>
                    <a:lnTo>
                      <a:pt x="129" y="97"/>
                    </a:lnTo>
                    <a:lnTo>
                      <a:pt x="125" y="102"/>
                    </a:lnTo>
                    <a:lnTo>
                      <a:pt x="123" y="103"/>
                    </a:lnTo>
                    <a:lnTo>
                      <a:pt x="122" y="106"/>
                    </a:lnTo>
                    <a:lnTo>
                      <a:pt x="118" y="112"/>
                    </a:lnTo>
                    <a:lnTo>
                      <a:pt x="116" y="116"/>
                    </a:lnTo>
                    <a:lnTo>
                      <a:pt x="112" y="121"/>
                    </a:lnTo>
                    <a:lnTo>
                      <a:pt x="110" y="122"/>
                    </a:lnTo>
                    <a:lnTo>
                      <a:pt x="109" y="125"/>
                    </a:lnTo>
                    <a:lnTo>
                      <a:pt x="109" y="129"/>
                    </a:lnTo>
                    <a:lnTo>
                      <a:pt x="111" y="133"/>
                    </a:lnTo>
                    <a:lnTo>
                      <a:pt x="110" y="137"/>
                    </a:lnTo>
                    <a:lnTo>
                      <a:pt x="111" y="142"/>
                    </a:lnTo>
                    <a:lnTo>
                      <a:pt x="112" y="146"/>
                    </a:lnTo>
                    <a:lnTo>
                      <a:pt x="112" y="153"/>
                    </a:lnTo>
                    <a:lnTo>
                      <a:pt x="114" y="154"/>
                    </a:lnTo>
                    <a:lnTo>
                      <a:pt x="119" y="156"/>
                    </a:lnTo>
                    <a:lnTo>
                      <a:pt x="122" y="160"/>
                    </a:lnTo>
                    <a:lnTo>
                      <a:pt x="123" y="164"/>
                    </a:lnTo>
                    <a:lnTo>
                      <a:pt x="127" y="171"/>
                    </a:lnTo>
                    <a:lnTo>
                      <a:pt x="130" y="175"/>
                    </a:lnTo>
                    <a:lnTo>
                      <a:pt x="132" y="177"/>
                    </a:lnTo>
                    <a:lnTo>
                      <a:pt x="139" y="182"/>
                    </a:lnTo>
                    <a:lnTo>
                      <a:pt x="139" y="186"/>
                    </a:lnTo>
                    <a:lnTo>
                      <a:pt x="139" y="189"/>
                    </a:lnTo>
                    <a:lnTo>
                      <a:pt x="140" y="190"/>
                    </a:lnTo>
                    <a:lnTo>
                      <a:pt x="140" y="190"/>
                    </a:lnTo>
                    <a:lnTo>
                      <a:pt x="140" y="191"/>
                    </a:lnTo>
                    <a:lnTo>
                      <a:pt x="139" y="194"/>
                    </a:lnTo>
                    <a:lnTo>
                      <a:pt x="137" y="197"/>
                    </a:lnTo>
                    <a:lnTo>
                      <a:pt x="136" y="197"/>
                    </a:lnTo>
                    <a:lnTo>
                      <a:pt x="138" y="200"/>
                    </a:lnTo>
                    <a:close/>
                  </a:path>
                </a:pathLst>
              </a:custGeom>
              <a:solidFill>
                <a:srgbClr val="65625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666" name="Freeform 470"/>
              <p:cNvSpPr>
                <a:spLocks/>
              </p:cNvSpPr>
              <p:nvPr userDrawn="1"/>
            </p:nvSpPr>
            <p:spPr bwMode="auto">
              <a:xfrm>
                <a:off x="3624" y="2694"/>
                <a:ext cx="140" cy="202"/>
              </a:xfrm>
              <a:custGeom>
                <a:avLst/>
                <a:gdLst>
                  <a:gd name="T0" fmla="*/ 135 w 140"/>
                  <a:gd name="T1" fmla="*/ 202 h 202"/>
                  <a:gd name="T2" fmla="*/ 131 w 140"/>
                  <a:gd name="T3" fmla="*/ 201 h 202"/>
                  <a:gd name="T4" fmla="*/ 124 w 140"/>
                  <a:gd name="T5" fmla="*/ 201 h 202"/>
                  <a:gd name="T6" fmla="*/ 120 w 140"/>
                  <a:gd name="T7" fmla="*/ 200 h 202"/>
                  <a:gd name="T8" fmla="*/ 114 w 140"/>
                  <a:gd name="T9" fmla="*/ 198 h 202"/>
                  <a:gd name="T10" fmla="*/ 109 w 140"/>
                  <a:gd name="T11" fmla="*/ 197 h 202"/>
                  <a:gd name="T12" fmla="*/ 82 w 140"/>
                  <a:gd name="T13" fmla="*/ 197 h 202"/>
                  <a:gd name="T14" fmla="*/ 80 w 140"/>
                  <a:gd name="T15" fmla="*/ 196 h 202"/>
                  <a:gd name="T16" fmla="*/ 72 w 140"/>
                  <a:gd name="T17" fmla="*/ 195 h 202"/>
                  <a:gd name="T18" fmla="*/ 61 w 140"/>
                  <a:gd name="T19" fmla="*/ 195 h 202"/>
                  <a:gd name="T20" fmla="*/ 53 w 140"/>
                  <a:gd name="T21" fmla="*/ 196 h 202"/>
                  <a:gd name="T22" fmla="*/ 49 w 140"/>
                  <a:gd name="T23" fmla="*/ 197 h 202"/>
                  <a:gd name="T24" fmla="*/ 26 w 140"/>
                  <a:gd name="T25" fmla="*/ 197 h 202"/>
                  <a:gd name="T26" fmla="*/ 24 w 140"/>
                  <a:gd name="T27" fmla="*/ 194 h 202"/>
                  <a:gd name="T28" fmla="*/ 23 w 140"/>
                  <a:gd name="T29" fmla="*/ 178 h 202"/>
                  <a:gd name="T30" fmla="*/ 21 w 140"/>
                  <a:gd name="T31" fmla="*/ 166 h 202"/>
                  <a:gd name="T32" fmla="*/ 12 w 140"/>
                  <a:gd name="T33" fmla="*/ 162 h 202"/>
                  <a:gd name="T34" fmla="*/ 3 w 140"/>
                  <a:gd name="T35" fmla="*/ 153 h 202"/>
                  <a:gd name="T36" fmla="*/ 0 w 140"/>
                  <a:gd name="T37" fmla="*/ 149 h 202"/>
                  <a:gd name="T38" fmla="*/ 7 w 140"/>
                  <a:gd name="T39" fmla="*/ 135 h 202"/>
                  <a:gd name="T40" fmla="*/ 9 w 140"/>
                  <a:gd name="T41" fmla="*/ 128 h 202"/>
                  <a:gd name="T42" fmla="*/ 16 w 140"/>
                  <a:gd name="T43" fmla="*/ 121 h 202"/>
                  <a:gd name="T44" fmla="*/ 22 w 140"/>
                  <a:gd name="T45" fmla="*/ 111 h 202"/>
                  <a:gd name="T46" fmla="*/ 29 w 140"/>
                  <a:gd name="T47" fmla="*/ 110 h 202"/>
                  <a:gd name="T48" fmla="*/ 39 w 140"/>
                  <a:gd name="T49" fmla="*/ 113 h 202"/>
                  <a:gd name="T50" fmla="*/ 46 w 140"/>
                  <a:gd name="T51" fmla="*/ 120 h 202"/>
                  <a:gd name="T52" fmla="*/ 53 w 140"/>
                  <a:gd name="T53" fmla="*/ 112 h 202"/>
                  <a:gd name="T54" fmla="*/ 59 w 140"/>
                  <a:gd name="T55" fmla="*/ 106 h 202"/>
                  <a:gd name="T56" fmla="*/ 66 w 140"/>
                  <a:gd name="T57" fmla="*/ 93 h 202"/>
                  <a:gd name="T58" fmla="*/ 68 w 140"/>
                  <a:gd name="T59" fmla="*/ 86 h 202"/>
                  <a:gd name="T60" fmla="*/ 77 w 140"/>
                  <a:gd name="T61" fmla="*/ 74 h 202"/>
                  <a:gd name="T62" fmla="*/ 80 w 140"/>
                  <a:gd name="T63" fmla="*/ 64 h 202"/>
                  <a:gd name="T64" fmla="*/ 89 w 140"/>
                  <a:gd name="T65" fmla="*/ 55 h 202"/>
                  <a:gd name="T66" fmla="*/ 90 w 140"/>
                  <a:gd name="T67" fmla="*/ 44 h 202"/>
                  <a:gd name="T68" fmla="*/ 96 w 140"/>
                  <a:gd name="T69" fmla="*/ 35 h 202"/>
                  <a:gd name="T70" fmla="*/ 104 w 140"/>
                  <a:gd name="T71" fmla="*/ 29 h 202"/>
                  <a:gd name="T72" fmla="*/ 107 w 140"/>
                  <a:gd name="T73" fmla="*/ 21 h 202"/>
                  <a:gd name="T74" fmla="*/ 102 w 140"/>
                  <a:gd name="T75" fmla="*/ 15 h 202"/>
                  <a:gd name="T76" fmla="*/ 101 w 140"/>
                  <a:gd name="T77" fmla="*/ 4 h 202"/>
                  <a:gd name="T78" fmla="*/ 112 w 140"/>
                  <a:gd name="T79" fmla="*/ 8 h 202"/>
                  <a:gd name="T80" fmla="*/ 115 w 140"/>
                  <a:gd name="T81" fmla="*/ 18 h 202"/>
                  <a:gd name="T82" fmla="*/ 117 w 140"/>
                  <a:gd name="T83" fmla="*/ 26 h 202"/>
                  <a:gd name="T84" fmla="*/ 117 w 140"/>
                  <a:gd name="T85" fmla="*/ 35 h 202"/>
                  <a:gd name="T86" fmla="*/ 119 w 140"/>
                  <a:gd name="T87" fmla="*/ 45 h 202"/>
                  <a:gd name="T88" fmla="*/ 127 w 140"/>
                  <a:gd name="T89" fmla="*/ 54 h 202"/>
                  <a:gd name="T90" fmla="*/ 124 w 140"/>
                  <a:gd name="T91" fmla="*/ 56 h 202"/>
                  <a:gd name="T92" fmla="*/ 116 w 140"/>
                  <a:gd name="T93" fmla="*/ 55 h 202"/>
                  <a:gd name="T94" fmla="*/ 108 w 140"/>
                  <a:gd name="T95" fmla="*/ 54 h 202"/>
                  <a:gd name="T96" fmla="*/ 102 w 140"/>
                  <a:gd name="T97" fmla="*/ 58 h 202"/>
                  <a:gd name="T98" fmla="*/ 102 w 140"/>
                  <a:gd name="T99" fmla="*/ 65 h 202"/>
                  <a:gd name="T100" fmla="*/ 107 w 140"/>
                  <a:gd name="T101" fmla="*/ 68 h 202"/>
                  <a:gd name="T102" fmla="*/ 123 w 140"/>
                  <a:gd name="T103" fmla="*/ 84 h 202"/>
                  <a:gd name="T104" fmla="*/ 129 w 140"/>
                  <a:gd name="T105" fmla="*/ 97 h 202"/>
                  <a:gd name="T106" fmla="*/ 122 w 140"/>
                  <a:gd name="T107" fmla="*/ 106 h 202"/>
                  <a:gd name="T108" fmla="*/ 112 w 140"/>
                  <a:gd name="T109" fmla="*/ 121 h 202"/>
                  <a:gd name="T110" fmla="*/ 109 w 140"/>
                  <a:gd name="T111" fmla="*/ 129 h 202"/>
                  <a:gd name="T112" fmla="*/ 111 w 140"/>
                  <a:gd name="T113" fmla="*/ 142 h 202"/>
                  <a:gd name="T114" fmla="*/ 114 w 140"/>
                  <a:gd name="T115" fmla="*/ 154 h 202"/>
                  <a:gd name="T116" fmla="*/ 123 w 140"/>
                  <a:gd name="T117" fmla="*/ 164 h 202"/>
                  <a:gd name="T118" fmla="*/ 132 w 140"/>
                  <a:gd name="T119" fmla="*/ 177 h 202"/>
                  <a:gd name="T120" fmla="*/ 139 w 140"/>
                  <a:gd name="T121" fmla="*/ 189 h 202"/>
                  <a:gd name="T122" fmla="*/ 140 w 140"/>
                  <a:gd name="T123" fmla="*/ 191 h 202"/>
                  <a:gd name="T124" fmla="*/ 136 w 140"/>
                  <a:gd name="T125" fmla="*/ 197 h 2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40" h="202">
                    <a:moveTo>
                      <a:pt x="138" y="200"/>
                    </a:moveTo>
                    <a:lnTo>
                      <a:pt x="137" y="202"/>
                    </a:lnTo>
                    <a:lnTo>
                      <a:pt x="135" y="202"/>
                    </a:lnTo>
                    <a:lnTo>
                      <a:pt x="134" y="201"/>
                    </a:lnTo>
                    <a:lnTo>
                      <a:pt x="133" y="202"/>
                    </a:lnTo>
                    <a:lnTo>
                      <a:pt x="131" y="201"/>
                    </a:lnTo>
                    <a:lnTo>
                      <a:pt x="130" y="200"/>
                    </a:lnTo>
                    <a:lnTo>
                      <a:pt x="125" y="200"/>
                    </a:lnTo>
                    <a:lnTo>
                      <a:pt x="124" y="201"/>
                    </a:lnTo>
                    <a:lnTo>
                      <a:pt x="122" y="199"/>
                    </a:lnTo>
                    <a:lnTo>
                      <a:pt x="121" y="198"/>
                    </a:lnTo>
                    <a:lnTo>
                      <a:pt x="120" y="200"/>
                    </a:lnTo>
                    <a:lnTo>
                      <a:pt x="118" y="200"/>
                    </a:lnTo>
                    <a:lnTo>
                      <a:pt x="117" y="199"/>
                    </a:lnTo>
                    <a:lnTo>
                      <a:pt x="114" y="198"/>
                    </a:lnTo>
                    <a:lnTo>
                      <a:pt x="113" y="198"/>
                    </a:lnTo>
                    <a:lnTo>
                      <a:pt x="111" y="197"/>
                    </a:lnTo>
                    <a:lnTo>
                      <a:pt x="109" y="197"/>
                    </a:lnTo>
                    <a:lnTo>
                      <a:pt x="108" y="197"/>
                    </a:lnTo>
                    <a:lnTo>
                      <a:pt x="106" y="197"/>
                    </a:lnTo>
                    <a:lnTo>
                      <a:pt x="82" y="197"/>
                    </a:lnTo>
                    <a:lnTo>
                      <a:pt x="81" y="196"/>
                    </a:lnTo>
                    <a:lnTo>
                      <a:pt x="80" y="196"/>
                    </a:lnTo>
                    <a:lnTo>
                      <a:pt x="80" y="196"/>
                    </a:lnTo>
                    <a:lnTo>
                      <a:pt x="75" y="196"/>
                    </a:lnTo>
                    <a:lnTo>
                      <a:pt x="74" y="195"/>
                    </a:lnTo>
                    <a:lnTo>
                      <a:pt x="72" y="195"/>
                    </a:lnTo>
                    <a:lnTo>
                      <a:pt x="69" y="196"/>
                    </a:lnTo>
                    <a:lnTo>
                      <a:pt x="67" y="195"/>
                    </a:lnTo>
                    <a:lnTo>
                      <a:pt x="61" y="195"/>
                    </a:lnTo>
                    <a:lnTo>
                      <a:pt x="59" y="195"/>
                    </a:lnTo>
                    <a:lnTo>
                      <a:pt x="55" y="195"/>
                    </a:lnTo>
                    <a:lnTo>
                      <a:pt x="53" y="196"/>
                    </a:lnTo>
                    <a:lnTo>
                      <a:pt x="51" y="196"/>
                    </a:lnTo>
                    <a:lnTo>
                      <a:pt x="49" y="196"/>
                    </a:lnTo>
                    <a:lnTo>
                      <a:pt x="49" y="197"/>
                    </a:lnTo>
                    <a:lnTo>
                      <a:pt x="49" y="197"/>
                    </a:lnTo>
                    <a:lnTo>
                      <a:pt x="27" y="197"/>
                    </a:lnTo>
                    <a:lnTo>
                      <a:pt x="26" y="197"/>
                    </a:lnTo>
                    <a:lnTo>
                      <a:pt x="23" y="197"/>
                    </a:lnTo>
                    <a:lnTo>
                      <a:pt x="21" y="197"/>
                    </a:lnTo>
                    <a:lnTo>
                      <a:pt x="24" y="194"/>
                    </a:lnTo>
                    <a:lnTo>
                      <a:pt x="21" y="191"/>
                    </a:lnTo>
                    <a:lnTo>
                      <a:pt x="24" y="185"/>
                    </a:lnTo>
                    <a:lnTo>
                      <a:pt x="23" y="178"/>
                    </a:lnTo>
                    <a:lnTo>
                      <a:pt x="20" y="174"/>
                    </a:lnTo>
                    <a:lnTo>
                      <a:pt x="20" y="169"/>
                    </a:lnTo>
                    <a:lnTo>
                      <a:pt x="21" y="166"/>
                    </a:lnTo>
                    <a:lnTo>
                      <a:pt x="18" y="162"/>
                    </a:lnTo>
                    <a:lnTo>
                      <a:pt x="13" y="164"/>
                    </a:lnTo>
                    <a:lnTo>
                      <a:pt x="12" y="162"/>
                    </a:lnTo>
                    <a:lnTo>
                      <a:pt x="8" y="162"/>
                    </a:lnTo>
                    <a:lnTo>
                      <a:pt x="6" y="151"/>
                    </a:lnTo>
                    <a:lnTo>
                      <a:pt x="3" y="153"/>
                    </a:lnTo>
                    <a:lnTo>
                      <a:pt x="0" y="152"/>
                    </a:lnTo>
                    <a:lnTo>
                      <a:pt x="0" y="152"/>
                    </a:lnTo>
                    <a:lnTo>
                      <a:pt x="0" y="149"/>
                    </a:lnTo>
                    <a:lnTo>
                      <a:pt x="5" y="144"/>
                    </a:lnTo>
                    <a:lnTo>
                      <a:pt x="7" y="139"/>
                    </a:lnTo>
                    <a:lnTo>
                      <a:pt x="7" y="135"/>
                    </a:lnTo>
                    <a:lnTo>
                      <a:pt x="6" y="132"/>
                    </a:lnTo>
                    <a:lnTo>
                      <a:pt x="9" y="131"/>
                    </a:lnTo>
                    <a:lnTo>
                      <a:pt x="9" y="128"/>
                    </a:lnTo>
                    <a:lnTo>
                      <a:pt x="12" y="125"/>
                    </a:lnTo>
                    <a:lnTo>
                      <a:pt x="15" y="123"/>
                    </a:lnTo>
                    <a:lnTo>
                      <a:pt x="16" y="121"/>
                    </a:lnTo>
                    <a:lnTo>
                      <a:pt x="21" y="117"/>
                    </a:lnTo>
                    <a:lnTo>
                      <a:pt x="21" y="113"/>
                    </a:lnTo>
                    <a:lnTo>
                      <a:pt x="22" y="111"/>
                    </a:lnTo>
                    <a:lnTo>
                      <a:pt x="26" y="111"/>
                    </a:lnTo>
                    <a:lnTo>
                      <a:pt x="28" y="110"/>
                    </a:lnTo>
                    <a:lnTo>
                      <a:pt x="29" y="110"/>
                    </a:lnTo>
                    <a:lnTo>
                      <a:pt x="34" y="111"/>
                    </a:lnTo>
                    <a:lnTo>
                      <a:pt x="36" y="111"/>
                    </a:lnTo>
                    <a:lnTo>
                      <a:pt x="39" y="113"/>
                    </a:lnTo>
                    <a:lnTo>
                      <a:pt x="41" y="116"/>
                    </a:lnTo>
                    <a:lnTo>
                      <a:pt x="44" y="119"/>
                    </a:lnTo>
                    <a:lnTo>
                      <a:pt x="46" y="120"/>
                    </a:lnTo>
                    <a:lnTo>
                      <a:pt x="51" y="117"/>
                    </a:lnTo>
                    <a:lnTo>
                      <a:pt x="53" y="113"/>
                    </a:lnTo>
                    <a:lnTo>
                      <a:pt x="53" y="112"/>
                    </a:lnTo>
                    <a:lnTo>
                      <a:pt x="55" y="110"/>
                    </a:lnTo>
                    <a:lnTo>
                      <a:pt x="58" y="110"/>
                    </a:lnTo>
                    <a:lnTo>
                      <a:pt x="59" y="106"/>
                    </a:lnTo>
                    <a:lnTo>
                      <a:pt x="59" y="104"/>
                    </a:lnTo>
                    <a:lnTo>
                      <a:pt x="60" y="99"/>
                    </a:lnTo>
                    <a:lnTo>
                      <a:pt x="66" y="93"/>
                    </a:lnTo>
                    <a:lnTo>
                      <a:pt x="67" y="90"/>
                    </a:lnTo>
                    <a:lnTo>
                      <a:pt x="66" y="89"/>
                    </a:lnTo>
                    <a:lnTo>
                      <a:pt x="68" y="86"/>
                    </a:lnTo>
                    <a:lnTo>
                      <a:pt x="73" y="81"/>
                    </a:lnTo>
                    <a:lnTo>
                      <a:pt x="77" y="78"/>
                    </a:lnTo>
                    <a:lnTo>
                      <a:pt x="77" y="74"/>
                    </a:lnTo>
                    <a:lnTo>
                      <a:pt x="78" y="72"/>
                    </a:lnTo>
                    <a:lnTo>
                      <a:pt x="78" y="67"/>
                    </a:lnTo>
                    <a:lnTo>
                      <a:pt x="80" y="64"/>
                    </a:lnTo>
                    <a:lnTo>
                      <a:pt x="85" y="63"/>
                    </a:lnTo>
                    <a:lnTo>
                      <a:pt x="88" y="59"/>
                    </a:lnTo>
                    <a:lnTo>
                      <a:pt x="89" y="55"/>
                    </a:lnTo>
                    <a:lnTo>
                      <a:pt x="89" y="50"/>
                    </a:lnTo>
                    <a:lnTo>
                      <a:pt x="88" y="47"/>
                    </a:lnTo>
                    <a:lnTo>
                      <a:pt x="90" y="44"/>
                    </a:lnTo>
                    <a:lnTo>
                      <a:pt x="93" y="38"/>
                    </a:lnTo>
                    <a:lnTo>
                      <a:pt x="95" y="37"/>
                    </a:lnTo>
                    <a:lnTo>
                      <a:pt x="96" y="35"/>
                    </a:lnTo>
                    <a:lnTo>
                      <a:pt x="100" y="32"/>
                    </a:lnTo>
                    <a:lnTo>
                      <a:pt x="102" y="32"/>
                    </a:lnTo>
                    <a:lnTo>
                      <a:pt x="104" y="29"/>
                    </a:lnTo>
                    <a:lnTo>
                      <a:pt x="108" y="27"/>
                    </a:lnTo>
                    <a:lnTo>
                      <a:pt x="108" y="25"/>
                    </a:lnTo>
                    <a:lnTo>
                      <a:pt x="107" y="21"/>
                    </a:lnTo>
                    <a:lnTo>
                      <a:pt x="107" y="19"/>
                    </a:lnTo>
                    <a:lnTo>
                      <a:pt x="105" y="16"/>
                    </a:lnTo>
                    <a:lnTo>
                      <a:pt x="102" y="15"/>
                    </a:lnTo>
                    <a:lnTo>
                      <a:pt x="101" y="12"/>
                    </a:lnTo>
                    <a:lnTo>
                      <a:pt x="102" y="6"/>
                    </a:lnTo>
                    <a:lnTo>
                      <a:pt x="101" y="4"/>
                    </a:lnTo>
                    <a:lnTo>
                      <a:pt x="99" y="0"/>
                    </a:lnTo>
                    <a:lnTo>
                      <a:pt x="108" y="4"/>
                    </a:lnTo>
                    <a:lnTo>
                      <a:pt x="112" y="8"/>
                    </a:lnTo>
                    <a:lnTo>
                      <a:pt x="113" y="13"/>
                    </a:lnTo>
                    <a:lnTo>
                      <a:pt x="115" y="15"/>
                    </a:lnTo>
                    <a:lnTo>
                      <a:pt x="115" y="18"/>
                    </a:lnTo>
                    <a:lnTo>
                      <a:pt x="118" y="23"/>
                    </a:lnTo>
                    <a:lnTo>
                      <a:pt x="118" y="24"/>
                    </a:lnTo>
                    <a:lnTo>
                      <a:pt x="117" y="26"/>
                    </a:lnTo>
                    <a:lnTo>
                      <a:pt x="117" y="28"/>
                    </a:lnTo>
                    <a:lnTo>
                      <a:pt x="119" y="30"/>
                    </a:lnTo>
                    <a:lnTo>
                      <a:pt x="117" y="35"/>
                    </a:lnTo>
                    <a:lnTo>
                      <a:pt x="115" y="38"/>
                    </a:lnTo>
                    <a:lnTo>
                      <a:pt x="115" y="41"/>
                    </a:lnTo>
                    <a:lnTo>
                      <a:pt x="119" y="45"/>
                    </a:lnTo>
                    <a:lnTo>
                      <a:pt x="122" y="46"/>
                    </a:lnTo>
                    <a:lnTo>
                      <a:pt x="123" y="50"/>
                    </a:lnTo>
                    <a:lnTo>
                      <a:pt x="127" y="54"/>
                    </a:lnTo>
                    <a:lnTo>
                      <a:pt x="128" y="55"/>
                    </a:lnTo>
                    <a:lnTo>
                      <a:pt x="126" y="56"/>
                    </a:lnTo>
                    <a:lnTo>
                      <a:pt x="124" y="56"/>
                    </a:lnTo>
                    <a:lnTo>
                      <a:pt x="123" y="55"/>
                    </a:lnTo>
                    <a:lnTo>
                      <a:pt x="118" y="54"/>
                    </a:lnTo>
                    <a:lnTo>
                      <a:pt x="116" y="55"/>
                    </a:lnTo>
                    <a:lnTo>
                      <a:pt x="113" y="54"/>
                    </a:lnTo>
                    <a:lnTo>
                      <a:pt x="110" y="55"/>
                    </a:lnTo>
                    <a:lnTo>
                      <a:pt x="108" y="54"/>
                    </a:lnTo>
                    <a:lnTo>
                      <a:pt x="104" y="54"/>
                    </a:lnTo>
                    <a:lnTo>
                      <a:pt x="102" y="54"/>
                    </a:lnTo>
                    <a:lnTo>
                      <a:pt x="102" y="58"/>
                    </a:lnTo>
                    <a:lnTo>
                      <a:pt x="101" y="59"/>
                    </a:lnTo>
                    <a:lnTo>
                      <a:pt x="101" y="63"/>
                    </a:lnTo>
                    <a:lnTo>
                      <a:pt x="102" y="65"/>
                    </a:lnTo>
                    <a:lnTo>
                      <a:pt x="103" y="66"/>
                    </a:lnTo>
                    <a:lnTo>
                      <a:pt x="103" y="67"/>
                    </a:lnTo>
                    <a:lnTo>
                      <a:pt x="107" y="68"/>
                    </a:lnTo>
                    <a:lnTo>
                      <a:pt x="114" y="74"/>
                    </a:lnTo>
                    <a:lnTo>
                      <a:pt x="121" y="81"/>
                    </a:lnTo>
                    <a:lnTo>
                      <a:pt x="123" y="84"/>
                    </a:lnTo>
                    <a:lnTo>
                      <a:pt x="125" y="88"/>
                    </a:lnTo>
                    <a:lnTo>
                      <a:pt x="129" y="92"/>
                    </a:lnTo>
                    <a:lnTo>
                      <a:pt x="129" y="97"/>
                    </a:lnTo>
                    <a:lnTo>
                      <a:pt x="125" y="102"/>
                    </a:lnTo>
                    <a:lnTo>
                      <a:pt x="123" y="103"/>
                    </a:lnTo>
                    <a:lnTo>
                      <a:pt x="122" y="106"/>
                    </a:lnTo>
                    <a:lnTo>
                      <a:pt x="118" y="112"/>
                    </a:lnTo>
                    <a:lnTo>
                      <a:pt x="116" y="116"/>
                    </a:lnTo>
                    <a:lnTo>
                      <a:pt x="112" y="121"/>
                    </a:lnTo>
                    <a:lnTo>
                      <a:pt x="110" y="122"/>
                    </a:lnTo>
                    <a:lnTo>
                      <a:pt x="109" y="125"/>
                    </a:lnTo>
                    <a:lnTo>
                      <a:pt x="109" y="129"/>
                    </a:lnTo>
                    <a:lnTo>
                      <a:pt x="111" y="133"/>
                    </a:lnTo>
                    <a:lnTo>
                      <a:pt x="110" y="137"/>
                    </a:lnTo>
                    <a:lnTo>
                      <a:pt x="111" y="142"/>
                    </a:lnTo>
                    <a:lnTo>
                      <a:pt x="112" y="146"/>
                    </a:lnTo>
                    <a:lnTo>
                      <a:pt x="112" y="153"/>
                    </a:lnTo>
                    <a:lnTo>
                      <a:pt x="114" y="154"/>
                    </a:lnTo>
                    <a:lnTo>
                      <a:pt x="119" y="156"/>
                    </a:lnTo>
                    <a:lnTo>
                      <a:pt x="122" y="160"/>
                    </a:lnTo>
                    <a:lnTo>
                      <a:pt x="123" y="164"/>
                    </a:lnTo>
                    <a:lnTo>
                      <a:pt x="127" y="171"/>
                    </a:lnTo>
                    <a:lnTo>
                      <a:pt x="130" y="175"/>
                    </a:lnTo>
                    <a:lnTo>
                      <a:pt x="132" y="177"/>
                    </a:lnTo>
                    <a:lnTo>
                      <a:pt x="139" y="182"/>
                    </a:lnTo>
                    <a:lnTo>
                      <a:pt x="139" y="186"/>
                    </a:lnTo>
                    <a:lnTo>
                      <a:pt x="139" y="189"/>
                    </a:lnTo>
                    <a:lnTo>
                      <a:pt x="140" y="190"/>
                    </a:lnTo>
                    <a:lnTo>
                      <a:pt x="140" y="190"/>
                    </a:lnTo>
                    <a:lnTo>
                      <a:pt x="140" y="191"/>
                    </a:lnTo>
                    <a:lnTo>
                      <a:pt x="139" y="194"/>
                    </a:lnTo>
                    <a:lnTo>
                      <a:pt x="137" y="197"/>
                    </a:lnTo>
                    <a:lnTo>
                      <a:pt x="136" y="197"/>
                    </a:lnTo>
                    <a:lnTo>
                      <a:pt x="138" y="200"/>
                    </a:lnTo>
                  </a:path>
                </a:pathLst>
              </a:custGeom>
              <a:solidFill>
                <a:schemeClr val="accent4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667" name="Freeform 471"/>
              <p:cNvSpPr>
                <a:spLocks/>
              </p:cNvSpPr>
              <p:nvPr userDrawn="1"/>
            </p:nvSpPr>
            <p:spPr bwMode="auto">
              <a:xfrm>
                <a:off x="3669" y="2860"/>
                <a:ext cx="142" cy="160"/>
              </a:xfrm>
              <a:custGeom>
                <a:avLst/>
                <a:gdLst>
                  <a:gd name="T0" fmla="*/ 3 w 142"/>
                  <a:gd name="T1" fmla="*/ 133 h 160"/>
                  <a:gd name="T2" fmla="*/ 9 w 142"/>
                  <a:gd name="T3" fmla="*/ 130 h 160"/>
                  <a:gd name="T4" fmla="*/ 15 w 142"/>
                  <a:gd name="T5" fmla="*/ 131 h 160"/>
                  <a:gd name="T6" fmla="*/ 11 w 142"/>
                  <a:gd name="T7" fmla="*/ 118 h 160"/>
                  <a:gd name="T8" fmla="*/ 6 w 142"/>
                  <a:gd name="T9" fmla="*/ 117 h 160"/>
                  <a:gd name="T10" fmla="*/ 10 w 142"/>
                  <a:gd name="T11" fmla="*/ 112 h 160"/>
                  <a:gd name="T12" fmla="*/ 15 w 142"/>
                  <a:gd name="T13" fmla="*/ 110 h 160"/>
                  <a:gd name="T14" fmla="*/ 26 w 142"/>
                  <a:gd name="T15" fmla="*/ 107 h 160"/>
                  <a:gd name="T16" fmla="*/ 31 w 142"/>
                  <a:gd name="T17" fmla="*/ 101 h 160"/>
                  <a:gd name="T18" fmla="*/ 40 w 142"/>
                  <a:gd name="T19" fmla="*/ 110 h 160"/>
                  <a:gd name="T20" fmla="*/ 49 w 142"/>
                  <a:gd name="T21" fmla="*/ 109 h 160"/>
                  <a:gd name="T22" fmla="*/ 56 w 142"/>
                  <a:gd name="T23" fmla="*/ 113 h 160"/>
                  <a:gd name="T24" fmla="*/ 59 w 142"/>
                  <a:gd name="T25" fmla="*/ 94 h 160"/>
                  <a:gd name="T26" fmla="*/ 59 w 142"/>
                  <a:gd name="T27" fmla="*/ 80 h 160"/>
                  <a:gd name="T28" fmla="*/ 55 w 142"/>
                  <a:gd name="T29" fmla="*/ 74 h 160"/>
                  <a:gd name="T30" fmla="*/ 51 w 142"/>
                  <a:gd name="T31" fmla="*/ 71 h 160"/>
                  <a:gd name="T32" fmla="*/ 54 w 142"/>
                  <a:gd name="T33" fmla="*/ 68 h 160"/>
                  <a:gd name="T34" fmla="*/ 54 w 142"/>
                  <a:gd name="T35" fmla="*/ 64 h 160"/>
                  <a:gd name="T36" fmla="*/ 60 w 142"/>
                  <a:gd name="T37" fmla="*/ 59 h 160"/>
                  <a:gd name="T38" fmla="*/ 61 w 142"/>
                  <a:gd name="T39" fmla="*/ 52 h 160"/>
                  <a:gd name="T40" fmla="*/ 54 w 142"/>
                  <a:gd name="T41" fmla="*/ 45 h 160"/>
                  <a:gd name="T42" fmla="*/ 42 w 142"/>
                  <a:gd name="T43" fmla="*/ 47 h 160"/>
                  <a:gd name="T44" fmla="*/ 38 w 142"/>
                  <a:gd name="T45" fmla="*/ 45 h 160"/>
                  <a:gd name="T46" fmla="*/ 36 w 142"/>
                  <a:gd name="T47" fmla="*/ 34 h 160"/>
                  <a:gd name="T48" fmla="*/ 63 w 142"/>
                  <a:gd name="T49" fmla="*/ 31 h 160"/>
                  <a:gd name="T50" fmla="*/ 68 w 142"/>
                  <a:gd name="T51" fmla="*/ 32 h 160"/>
                  <a:gd name="T52" fmla="*/ 73 w 142"/>
                  <a:gd name="T53" fmla="*/ 34 h 160"/>
                  <a:gd name="T54" fmla="*/ 77 w 142"/>
                  <a:gd name="T55" fmla="*/ 33 h 160"/>
                  <a:gd name="T56" fmla="*/ 85 w 142"/>
                  <a:gd name="T57" fmla="*/ 34 h 160"/>
                  <a:gd name="T58" fmla="*/ 89 w 142"/>
                  <a:gd name="T59" fmla="*/ 35 h 160"/>
                  <a:gd name="T60" fmla="*/ 93 w 142"/>
                  <a:gd name="T61" fmla="*/ 34 h 160"/>
                  <a:gd name="T62" fmla="*/ 94 w 142"/>
                  <a:gd name="T63" fmla="*/ 28 h 160"/>
                  <a:gd name="T64" fmla="*/ 108 w 142"/>
                  <a:gd name="T65" fmla="*/ 7 h 160"/>
                  <a:gd name="T66" fmla="*/ 121 w 142"/>
                  <a:gd name="T67" fmla="*/ 1 h 160"/>
                  <a:gd name="T68" fmla="*/ 128 w 142"/>
                  <a:gd name="T69" fmla="*/ 0 h 160"/>
                  <a:gd name="T70" fmla="*/ 136 w 142"/>
                  <a:gd name="T71" fmla="*/ 3 h 160"/>
                  <a:gd name="T72" fmla="*/ 140 w 142"/>
                  <a:gd name="T73" fmla="*/ 3 h 160"/>
                  <a:gd name="T74" fmla="*/ 138 w 142"/>
                  <a:gd name="T75" fmla="*/ 15 h 160"/>
                  <a:gd name="T76" fmla="*/ 130 w 142"/>
                  <a:gd name="T77" fmla="*/ 34 h 160"/>
                  <a:gd name="T78" fmla="*/ 126 w 142"/>
                  <a:gd name="T79" fmla="*/ 46 h 160"/>
                  <a:gd name="T80" fmla="*/ 125 w 142"/>
                  <a:gd name="T81" fmla="*/ 58 h 160"/>
                  <a:gd name="T82" fmla="*/ 123 w 142"/>
                  <a:gd name="T83" fmla="*/ 66 h 160"/>
                  <a:gd name="T84" fmla="*/ 116 w 142"/>
                  <a:gd name="T85" fmla="*/ 87 h 160"/>
                  <a:gd name="T86" fmla="*/ 106 w 142"/>
                  <a:gd name="T87" fmla="*/ 90 h 160"/>
                  <a:gd name="T88" fmla="*/ 99 w 142"/>
                  <a:gd name="T89" fmla="*/ 100 h 160"/>
                  <a:gd name="T90" fmla="*/ 92 w 142"/>
                  <a:gd name="T91" fmla="*/ 115 h 160"/>
                  <a:gd name="T92" fmla="*/ 91 w 142"/>
                  <a:gd name="T93" fmla="*/ 131 h 160"/>
                  <a:gd name="T94" fmla="*/ 84 w 142"/>
                  <a:gd name="T95" fmla="*/ 139 h 160"/>
                  <a:gd name="T96" fmla="*/ 73 w 142"/>
                  <a:gd name="T97" fmla="*/ 151 h 160"/>
                  <a:gd name="T98" fmla="*/ 61 w 142"/>
                  <a:gd name="T99" fmla="*/ 154 h 160"/>
                  <a:gd name="T100" fmla="*/ 61 w 142"/>
                  <a:gd name="T101" fmla="*/ 146 h 160"/>
                  <a:gd name="T102" fmla="*/ 53 w 142"/>
                  <a:gd name="T103" fmla="*/ 150 h 160"/>
                  <a:gd name="T104" fmla="*/ 47 w 142"/>
                  <a:gd name="T105" fmla="*/ 153 h 160"/>
                  <a:gd name="T106" fmla="*/ 42 w 142"/>
                  <a:gd name="T107" fmla="*/ 154 h 160"/>
                  <a:gd name="T108" fmla="*/ 35 w 142"/>
                  <a:gd name="T109" fmla="*/ 153 h 160"/>
                  <a:gd name="T110" fmla="*/ 34 w 142"/>
                  <a:gd name="T111" fmla="*/ 148 h 160"/>
                  <a:gd name="T112" fmla="*/ 27 w 142"/>
                  <a:gd name="T113" fmla="*/ 149 h 160"/>
                  <a:gd name="T114" fmla="*/ 20 w 142"/>
                  <a:gd name="T115" fmla="*/ 155 h 160"/>
                  <a:gd name="T116" fmla="*/ 15 w 142"/>
                  <a:gd name="T117" fmla="*/ 160 h 160"/>
                  <a:gd name="T118" fmla="*/ 11 w 142"/>
                  <a:gd name="T119" fmla="*/ 151 h 160"/>
                  <a:gd name="T120" fmla="*/ 4 w 142"/>
                  <a:gd name="T121" fmla="*/ 142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42" h="160">
                    <a:moveTo>
                      <a:pt x="0" y="139"/>
                    </a:moveTo>
                    <a:lnTo>
                      <a:pt x="3" y="135"/>
                    </a:lnTo>
                    <a:lnTo>
                      <a:pt x="3" y="133"/>
                    </a:lnTo>
                    <a:lnTo>
                      <a:pt x="5" y="132"/>
                    </a:lnTo>
                    <a:lnTo>
                      <a:pt x="8" y="132"/>
                    </a:lnTo>
                    <a:lnTo>
                      <a:pt x="9" y="130"/>
                    </a:lnTo>
                    <a:lnTo>
                      <a:pt x="11" y="130"/>
                    </a:lnTo>
                    <a:lnTo>
                      <a:pt x="15" y="134"/>
                    </a:lnTo>
                    <a:lnTo>
                      <a:pt x="15" y="131"/>
                    </a:lnTo>
                    <a:lnTo>
                      <a:pt x="15" y="121"/>
                    </a:lnTo>
                    <a:lnTo>
                      <a:pt x="13" y="119"/>
                    </a:lnTo>
                    <a:lnTo>
                      <a:pt x="11" y="118"/>
                    </a:lnTo>
                    <a:lnTo>
                      <a:pt x="8" y="118"/>
                    </a:lnTo>
                    <a:lnTo>
                      <a:pt x="5" y="119"/>
                    </a:lnTo>
                    <a:lnTo>
                      <a:pt x="6" y="117"/>
                    </a:lnTo>
                    <a:lnTo>
                      <a:pt x="4" y="114"/>
                    </a:lnTo>
                    <a:lnTo>
                      <a:pt x="6" y="112"/>
                    </a:lnTo>
                    <a:lnTo>
                      <a:pt x="10" y="112"/>
                    </a:lnTo>
                    <a:lnTo>
                      <a:pt x="14" y="114"/>
                    </a:lnTo>
                    <a:lnTo>
                      <a:pt x="15" y="112"/>
                    </a:lnTo>
                    <a:lnTo>
                      <a:pt x="15" y="110"/>
                    </a:lnTo>
                    <a:lnTo>
                      <a:pt x="18" y="110"/>
                    </a:lnTo>
                    <a:lnTo>
                      <a:pt x="25" y="110"/>
                    </a:lnTo>
                    <a:lnTo>
                      <a:pt x="26" y="107"/>
                    </a:lnTo>
                    <a:lnTo>
                      <a:pt x="25" y="102"/>
                    </a:lnTo>
                    <a:lnTo>
                      <a:pt x="27" y="100"/>
                    </a:lnTo>
                    <a:lnTo>
                      <a:pt x="31" y="101"/>
                    </a:lnTo>
                    <a:lnTo>
                      <a:pt x="34" y="108"/>
                    </a:lnTo>
                    <a:lnTo>
                      <a:pt x="36" y="111"/>
                    </a:lnTo>
                    <a:lnTo>
                      <a:pt x="40" y="110"/>
                    </a:lnTo>
                    <a:lnTo>
                      <a:pt x="43" y="110"/>
                    </a:lnTo>
                    <a:lnTo>
                      <a:pt x="45" y="109"/>
                    </a:lnTo>
                    <a:lnTo>
                      <a:pt x="49" y="109"/>
                    </a:lnTo>
                    <a:lnTo>
                      <a:pt x="53" y="110"/>
                    </a:lnTo>
                    <a:lnTo>
                      <a:pt x="54" y="113"/>
                    </a:lnTo>
                    <a:lnTo>
                      <a:pt x="56" y="113"/>
                    </a:lnTo>
                    <a:lnTo>
                      <a:pt x="56" y="109"/>
                    </a:lnTo>
                    <a:lnTo>
                      <a:pt x="55" y="106"/>
                    </a:lnTo>
                    <a:lnTo>
                      <a:pt x="59" y="94"/>
                    </a:lnTo>
                    <a:lnTo>
                      <a:pt x="61" y="86"/>
                    </a:lnTo>
                    <a:lnTo>
                      <a:pt x="61" y="82"/>
                    </a:lnTo>
                    <a:lnTo>
                      <a:pt x="59" y="80"/>
                    </a:lnTo>
                    <a:lnTo>
                      <a:pt x="58" y="78"/>
                    </a:lnTo>
                    <a:lnTo>
                      <a:pt x="56" y="76"/>
                    </a:lnTo>
                    <a:lnTo>
                      <a:pt x="55" y="74"/>
                    </a:lnTo>
                    <a:lnTo>
                      <a:pt x="53" y="74"/>
                    </a:lnTo>
                    <a:lnTo>
                      <a:pt x="52" y="73"/>
                    </a:lnTo>
                    <a:lnTo>
                      <a:pt x="51" y="71"/>
                    </a:lnTo>
                    <a:lnTo>
                      <a:pt x="51" y="70"/>
                    </a:lnTo>
                    <a:lnTo>
                      <a:pt x="53" y="69"/>
                    </a:lnTo>
                    <a:lnTo>
                      <a:pt x="54" y="68"/>
                    </a:lnTo>
                    <a:lnTo>
                      <a:pt x="55" y="68"/>
                    </a:lnTo>
                    <a:lnTo>
                      <a:pt x="55" y="65"/>
                    </a:lnTo>
                    <a:lnTo>
                      <a:pt x="54" y="64"/>
                    </a:lnTo>
                    <a:lnTo>
                      <a:pt x="54" y="61"/>
                    </a:lnTo>
                    <a:lnTo>
                      <a:pt x="57" y="59"/>
                    </a:lnTo>
                    <a:lnTo>
                      <a:pt x="60" y="59"/>
                    </a:lnTo>
                    <a:lnTo>
                      <a:pt x="61" y="55"/>
                    </a:lnTo>
                    <a:lnTo>
                      <a:pt x="60" y="53"/>
                    </a:lnTo>
                    <a:lnTo>
                      <a:pt x="61" y="52"/>
                    </a:lnTo>
                    <a:lnTo>
                      <a:pt x="61" y="46"/>
                    </a:lnTo>
                    <a:lnTo>
                      <a:pt x="59" y="45"/>
                    </a:lnTo>
                    <a:lnTo>
                      <a:pt x="54" y="45"/>
                    </a:lnTo>
                    <a:lnTo>
                      <a:pt x="49" y="46"/>
                    </a:lnTo>
                    <a:lnTo>
                      <a:pt x="45" y="47"/>
                    </a:lnTo>
                    <a:lnTo>
                      <a:pt x="42" y="47"/>
                    </a:lnTo>
                    <a:lnTo>
                      <a:pt x="39" y="48"/>
                    </a:lnTo>
                    <a:lnTo>
                      <a:pt x="38" y="47"/>
                    </a:lnTo>
                    <a:lnTo>
                      <a:pt x="38" y="45"/>
                    </a:lnTo>
                    <a:lnTo>
                      <a:pt x="37" y="42"/>
                    </a:lnTo>
                    <a:lnTo>
                      <a:pt x="38" y="37"/>
                    </a:lnTo>
                    <a:lnTo>
                      <a:pt x="36" y="34"/>
                    </a:lnTo>
                    <a:lnTo>
                      <a:pt x="37" y="31"/>
                    </a:lnTo>
                    <a:lnTo>
                      <a:pt x="61" y="31"/>
                    </a:lnTo>
                    <a:lnTo>
                      <a:pt x="63" y="31"/>
                    </a:lnTo>
                    <a:lnTo>
                      <a:pt x="64" y="31"/>
                    </a:lnTo>
                    <a:lnTo>
                      <a:pt x="66" y="31"/>
                    </a:lnTo>
                    <a:lnTo>
                      <a:pt x="68" y="32"/>
                    </a:lnTo>
                    <a:lnTo>
                      <a:pt x="69" y="32"/>
                    </a:lnTo>
                    <a:lnTo>
                      <a:pt x="72" y="33"/>
                    </a:lnTo>
                    <a:lnTo>
                      <a:pt x="73" y="34"/>
                    </a:lnTo>
                    <a:lnTo>
                      <a:pt x="75" y="34"/>
                    </a:lnTo>
                    <a:lnTo>
                      <a:pt x="76" y="32"/>
                    </a:lnTo>
                    <a:lnTo>
                      <a:pt x="77" y="33"/>
                    </a:lnTo>
                    <a:lnTo>
                      <a:pt x="79" y="35"/>
                    </a:lnTo>
                    <a:lnTo>
                      <a:pt x="80" y="34"/>
                    </a:lnTo>
                    <a:lnTo>
                      <a:pt x="85" y="34"/>
                    </a:lnTo>
                    <a:lnTo>
                      <a:pt x="86" y="35"/>
                    </a:lnTo>
                    <a:lnTo>
                      <a:pt x="88" y="36"/>
                    </a:lnTo>
                    <a:lnTo>
                      <a:pt x="89" y="35"/>
                    </a:lnTo>
                    <a:lnTo>
                      <a:pt x="90" y="36"/>
                    </a:lnTo>
                    <a:lnTo>
                      <a:pt x="92" y="36"/>
                    </a:lnTo>
                    <a:lnTo>
                      <a:pt x="93" y="34"/>
                    </a:lnTo>
                    <a:lnTo>
                      <a:pt x="91" y="31"/>
                    </a:lnTo>
                    <a:lnTo>
                      <a:pt x="92" y="31"/>
                    </a:lnTo>
                    <a:lnTo>
                      <a:pt x="94" y="28"/>
                    </a:lnTo>
                    <a:lnTo>
                      <a:pt x="95" y="25"/>
                    </a:lnTo>
                    <a:lnTo>
                      <a:pt x="103" y="10"/>
                    </a:lnTo>
                    <a:lnTo>
                      <a:pt x="108" y="7"/>
                    </a:lnTo>
                    <a:lnTo>
                      <a:pt x="111" y="6"/>
                    </a:lnTo>
                    <a:lnTo>
                      <a:pt x="113" y="4"/>
                    </a:lnTo>
                    <a:lnTo>
                      <a:pt x="121" y="1"/>
                    </a:lnTo>
                    <a:lnTo>
                      <a:pt x="123" y="1"/>
                    </a:lnTo>
                    <a:lnTo>
                      <a:pt x="125" y="0"/>
                    </a:lnTo>
                    <a:lnTo>
                      <a:pt x="128" y="0"/>
                    </a:lnTo>
                    <a:lnTo>
                      <a:pt x="131" y="0"/>
                    </a:lnTo>
                    <a:lnTo>
                      <a:pt x="132" y="2"/>
                    </a:lnTo>
                    <a:lnTo>
                      <a:pt x="136" y="3"/>
                    </a:lnTo>
                    <a:lnTo>
                      <a:pt x="137" y="3"/>
                    </a:lnTo>
                    <a:lnTo>
                      <a:pt x="140" y="2"/>
                    </a:lnTo>
                    <a:lnTo>
                      <a:pt x="140" y="3"/>
                    </a:lnTo>
                    <a:lnTo>
                      <a:pt x="141" y="7"/>
                    </a:lnTo>
                    <a:lnTo>
                      <a:pt x="142" y="13"/>
                    </a:lnTo>
                    <a:lnTo>
                      <a:pt x="138" y="15"/>
                    </a:lnTo>
                    <a:lnTo>
                      <a:pt x="137" y="18"/>
                    </a:lnTo>
                    <a:lnTo>
                      <a:pt x="129" y="29"/>
                    </a:lnTo>
                    <a:lnTo>
                      <a:pt x="130" y="34"/>
                    </a:lnTo>
                    <a:lnTo>
                      <a:pt x="129" y="38"/>
                    </a:lnTo>
                    <a:lnTo>
                      <a:pt x="129" y="42"/>
                    </a:lnTo>
                    <a:lnTo>
                      <a:pt x="126" y="46"/>
                    </a:lnTo>
                    <a:lnTo>
                      <a:pt x="126" y="51"/>
                    </a:lnTo>
                    <a:lnTo>
                      <a:pt x="126" y="53"/>
                    </a:lnTo>
                    <a:lnTo>
                      <a:pt x="125" y="58"/>
                    </a:lnTo>
                    <a:lnTo>
                      <a:pt x="126" y="59"/>
                    </a:lnTo>
                    <a:lnTo>
                      <a:pt x="125" y="64"/>
                    </a:lnTo>
                    <a:lnTo>
                      <a:pt x="123" y="66"/>
                    </a:lnTo>
                    <a:lnTo>
                      <a:pt x="121" y="72"/>
                    </a:lnTo>
                    <a:lnTo>
                      <a:pt x="121" y="77"/>
                    </a:lnTo>
                    <a:lnTo>
                      <a:pt x="116" y="87"/>
                    </a:lnTo>
                    <a:lnTo>
                      <a:pt x="112" y="88"/>
                    </a:lnTo>
                    <a:lnTo>
                      <a:pt x="109" y="90"/>
                    </a:lnTo>
                    <a:lnTo>
                      <a:pt x="106" y="90"/>
                    </a:lnTo>
                    <a:lnTo>
                      <a:pt x="102" y="93"/>
                    </a:lnTo>
                    <a:lnTo>
                      <a:pt x="99" y="96"/>
                    </a:lnTo>
                    <a:lnTo>
                      <a:pt x="99" y="100"/>
                    </a:lnTo>
                    <a:lnTo>
                      <a:pt x="93" y="106"/>
                    </a:lnTo>
                    <a:lnTo>
                      <a:pt x="91" y="110"/>
                    </a:lnTo>
                    <a:lnTo>
                      <a:pt x="92" y="115"/>
                    </a:lnTo>
                    <a:lnTo>
                      <a:pt x="93" y="117"/>
                    </a:lnTo>
                    <a:lnTo>
                      <a:pt x="92" y="126"/>
                    </a:lnTo>
                    <a:lnTo>
                      <a:pt x="91" y="131"/>
                    </a:lnTo>
                    <a:lnTo>
                      <a:pt x="91" y="134"/>
                    </a:lnTo>
                    <a:lnTo>
                      <a:pt x="88" y="139"/>
                    </a:lnTo>
                    <a:lnTo>
                      <a:pt x="84" y="139"/>
                    </a:lnTo>
                    <a:lnTo>
                      <a:pt x="81" y="141"/>
                    </a:lnTo>
                    <a:lnTo>
                      <a:pt x="80" y="144"/>
                    </a:lnTo>
                    <a:lnTo>
                      <a:pt x="73" y="151"/>
                    </a:lnTo>
                    <a:lnTo>
                      <a:pt x="70" y="155"/>
                    </a:lnTo>
                    <a:lnTo>
                      <a:pt x="66" y="157"/>
                    </a:lnTo>
                    <a:lnTo>
                      <a:pt x="61" y="154"/>
                    </a:lnTo>
                    <a:lnTo>
                      <a:pt x="60" y="151"/>
                    </a:lnTo>
                    <a:lnTo>
                      <a:pt x="59" y="150"/>
                    </a:lnTo>
                    <a:lnTo>
                      <a:pt x="61" y="146"/>
                    </a:lnTo>
                    <a:lnTo>
                      <a:pt x="62" y="144"/>
                    </a:lnTo>
                    <a:lnTo>
                      <a:pt x="57" y="146"/>
                    </a:lnTo>
                    <a:lnTo>
                      <a:pt x="53" y="150"/>
                    </a:lnTo>
                    <a:lnTo>
                      <a:pt x="50" y="149"/>
                    </a:lnTo>
                    <a:lnTo>
                      <a:pt x="48" y="149"/>
                    </a:lnTo>
                    <a:lnTo>
                      <a:pt x="47" y="153"/>
                    </a:lnTo>
                    <a:lnTo>
                      <a:pt x="45" y="156"/>
                    </a:lnTo>
                    <a:lnTo>
                      <a:pt x="42" y="156"/>
                    </a:lnTo>
                    <a:lnTo>
                      <a:pt x="42" y="154"/>
                    </a:lnTo>
                    <a:lnTo>
                      <a:pt x="41" y="152"/>
                    </a:lnTo>
                    <a:lnTo>
                      <a:pt x="38" y="153"/>
                    </a:lnTo>
                    <a:lnTo>
                      <a:pt x="35" y="153"/>
                    </a:lnTo>
                    <a:lnTo>
                      <a:pt x="35" y="154"/>
                    </a:lnTo>
                    <a:lnTo>
                      <a:pt x="35" y="151"/>
                    </a:lnTo>
                    <a:lnTo>
                      <a:pt x="34" y="148"/>
                    </a:lnTo>
                    <a:lnTo>
                      <a:pt x="32" y="147"/>
                    </a:lnTo>
                    <a:lnTo>
                      <a:pt x="30" y="147"/>
                    </a:lnTo>
                    <a:lnTo>
                      <a:pt x="27" y="149"/>
                    </a:lnTo>
                    <a:lnTo>
                      <a:pt x="24" y="150"/>
                    </a:lnTo>
                    <a:lnTo>
                      <a:pt x="23" y="153"/>
                    </a:lnTo>
                    <a:lnTo>
                      <a:pt x="20" y="155"/>
                    </a:lnTo>
                    <a:lnTo>
                      <a:pt x="19" y="155"/>
                    </a:lnTo>
                    <a:lnTo>
                      <a:pt x="17" y="159"/>
                    </a:lnTo>
                    <a:lnTo>
                      <a:pt x="15" y="160"/>
                    </a:lnTo>
                    <a:lnTo>
                      <a:pt x="14" y="158"/>
                    </a:lnTo>
                    <a:lnTo>
                      <a:pt x="14" y="154"/>
                    </a:lnTo>
                    <a:lnTo>
                      <a:pt x="11" y="151"/>
                    </a:lnTo>
                    <a:lnTo>
                      <a:pt x="11" y="147"/>
                    </a:lnTo>
                    <a:lnTo>
                      <a:pt x="5" y="144"/>
                    </a:lnTo>
                    <a:lnTo>
                      <a:pt x="4" y="142"/>
                    </a:lnTo>
                    <a:lnTo>
                      <a:pt x="0" y="139"/>
                    </a:lnTo>
                    <a:lnTo>
                      <a:pt x="0" y="139"/>
                    </a:lnTo>
                    <a:close/>
                  </a:path>
                </a:pathLst>
              </a:custGeom>
              <a:solidFill>
                <a:schemeClr val="accent4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668" name="Freeform 472"/>
              <p:cNvSpPr>
                <a:spLocks/>
              </p:cNvSpPr>
              <p:nvPr userDrawn="1"/>
            </p:nvSpPr>
            <p:spPr bwMode="auto">
              <a:xfrm>
                <a:off x="3263" y="2773"/>
                <a:ext cx="74" cy="76"/>
              </a:xfrm>
              <a:custGeom>
                <a:avLst/>
                <a:gdLst>
                  <a:gd name="T0" fmla="*/ 0 w 74"/>
                  <a:gd name="T1" fmla="*/ 31 h 76"/>
                  <a:gd name="T2" fmla="*/ 0 w 74"/>
                  <a:gd name="T3" fmla="*/ 30 h 76"/>
                  <a:gd name="T4" fmla="*/ 2 w 74"/>
                  <a:gd name="T5" fmla="*/ 25 h 76"/>
                  <a:gd name="T6" fmla="*/ 7 w 74"/>
                  <a:gd name="T7" fmla="*/ 23 h 76"/>
                  <a:gd name="T8" fmla="*/ 10 w 74"/>
                  <a:gd name="T9" fmla="*/ 18 h 76"/>
                  <a:gd name="T10" fmla="*/ 10 w 74"/>
                  <a:gd name="T11" fmla="*/ 15 h 76"/>
                  <a:gd name="T12" fmla="*/ 11 w 74"/>
                  <a:gd name="T13" fmla="*/ 10 h 76"/>
                  <a:gd name="T14" fmla="*/ 14 w 74"/>
                  <a:gd name="T15" fmla="*/ 10 h 76"/>
                  <a:gd name="T16" fmla="*/ 14 w 74"/>
                  <a:gd name="T17" fmla="*/ 7 h 76"/>
                  <a:gd name="T18" fmla="*/ 15 w 74"/>
                  <a:gd name="T19" fmla="*/ 4 h 76"/>
                  <a:gd name="T20" fmla="*/ 20 w 74"/>
                  <a:gd name="T21" fmla="*/ 2 h 76"/>
                  <a:gd name="T22" fmla="*/ 22 w 74"/>
                  <a:gd name="T23" fmla="*/ 2 h 76"/>
                  <a:gd name="T24" fmla="*/ 30 w 74"/>
                  <a:gd name="T25" fmla="*/ 0 h 76"/>
                  <a:gd name="T26" fmla="*/ 33 w 74"/>
                  <a:gd name="T27" fmla="*/ 1 h 76"/>
                  <a:gd name="T28" fmla="*/ 35 w 74"/>
                  <a:gd name="T29" fmla="*/ 5 h 76"/>
                  <a:gd name="T30" fmla="*/ 39 w 74"/>
                  <a:gd name="T31" fmla="*/ 7 h 76"/>
                  <a:gd name="T32" fmla="*/ 38 w 74"/>
                  <a:gd name="T33" fmla="*/ 14 h 76"/>
                  <a:gd name="T34" fmla="*/ 38 w 74"/>
                  <a:gd name="T35" fmla="*/ 18 h 76"/>
                  <a:gd name="T36" fmla="*/ 43 w 74"/>
                  <a:gd name="T37" fmla="*/ 23 h 76"/>
                  <a:gd name="T38" fmla="*/ 45 w 74"/>
                  <a:gd name="T39" fmla="*/ 22 h 76"/>
                  <a:gd name="T40" fmla="*/ 51 w 74"/>
                  <a:gd name="T41" fmla="*/ 18 h 76"/>
                  <a:gd name="T42" fmla="*/ 53 w 74"/>
                  <a:gd name="T43" fmla="*/ 19 h 76"/>
                  <a:gd name="T44" fmla="*/ 55 w 74"/>
                  <a:gd name="T45" fmla="*/ 22 h 76"/>
                  <a:gd name="T46" fmla="*/ 55 w 74"/>
                  <a:gd name="T47" fmla="*/ 24 h 76"/>
                  <a:gd name="T48" fmla="*/ 55 w 74"/>
                  <a:gd name="T49" fmla="*/ 25 h 76"/>
                  <a:gd name="T50" fmla="*/ 56 w 74"/>
                  <a:gd name="T51" fmla="*/ 29 h 76"/>
                  <a:gd name="T52" fmla="*/ 53 w 74"/>
                  <a:gd name="T53" fmla="*/ 35 h 76"/>
                  <a:gd name="T54" fmla="*/ 51 w 74"/>
                  <a:gd name="T55" fmla="*/ 37 h 76"/>
                  <a:gd name="T56" fmla="*/ 52 w 74"/>
                  <a:gd name="T57" fmla="*/ 41 h 76"/>
                  <a:gd name="T58" fmla="*/ 54 w 74"/>
                  <a:gd name="T59" fmla="*/ 42 h 76"/>
                  <a:gd name="T60" fmla="*/ 56 w 74"/>
                  <a:gd name="T61" fmla="*/ 41 h 76"/>
                  <a:gd name="T62" fmla="*/ 59 w 74"/>
                  <a:gd name="T63" fmla="*/ 41 h 76"/>
                  <a:gd name="T64" fmla="*/ 61 w 74"/>
                  <a:gd name="T65" fmla="*/ 44 h 76"/>
                  <a:gd name="T66" fmla="*/ 64 w 74"/>
                  <a:gd name="T67" fmla="*/ 43 h 76"/>
                  <a:gd name="T68" fmla="*/ 66 w 74"/>
                  <a:gd name="T69" fmla="*/ 44 h 76"/>
                  <a:gd name="T70" fmla="*/ 68 w 74"/>
                  <a:gd name="T71" fmla="*/ 48 h 76"/>
                  <a:gd name="T72" fmla="*/ 70 w 74"/>
                  <a:gd name="T73" fmla="*/ 50 h 76"/>
                  <a:gd name="T74" fmla="*/ 73 w 74"/>
                  <a:gd name="T75" fmla="*/ 50 h 76"/>
                  <a:gd name="T76" fmla="*/ 74 w 74"/>
                  <a:gd name="T77" fmla="*/ 53 h 76"/>
                  <a:gd name="T78" fmla="*/ 71 w 74"/>
                  <a:gd name="T79" fmla="*/ 55 h 76"/>
                  <a:gd name="T80" fmla="*/ 73 w 74"/>
                  <a:gd name="T81" fmla="*/ 57 h 76"/>
                  <a:gd name="T82" fmla="*/ 71 w 74"/>
                  <a:gd name="T83" fmla="*/ 59 h 76"/>
                  <a:gd name="T84" fmla="*/ 70 w 74"/>
                  <a:gd name="T85" fmla="*/ 63 h 76"/>
                  <a:gd name="T86" fmla="*/ 71 w 74"/>
                  <a:gd name="T87" fmla="*/ 65 h 76"/>
                  <a:gd name="T88" fmla="*/ 70 w 74"/>
                  <a:gd name="T89" fmla="*/ 70 h 76"/>
                  <a:gd name="T90" fmla="*/ 72 w 74"/>
                  <a:gd name="T91" fmla="*/ 73 h 76"/>
                  <a:gd name="T92" fmla="*/ 72 w 74"/>
                  <a:gd name="T93" fmla="*/ 76 h 76"/>
                  <a:gd name="T94" fmla="*/ 53 w 74"/>
                  <a:gd name="T95" fmla="*/ 71 h 76"/>
                  <a:gd name="T96" fmla="*/ 39 w 74"/>
                  <a:gd name="T97" fmla="*/ 60 h 76"/>
                  <a:gd name="T98" fmla="*/ 35 w 74"/>
                  <a:gd name="T99" fmla="*/ 60 h 76"/>
                  <a:gd name="T100" fmla="*/ 24 w 74"/>
                  <a:gd name="T101" fmla="*/ 49 h 76"/>
                  <a:gd name="T102" fmla="*/ 16 w 74"/>
                  <a:gd name="T103" fmla="*/ 44 h 76"/>
                  <a:gd name="T104" fmla="*/ 13 w 74"/>
                  <a:gd name="T105" fmla="*/ 44 h 76"/>
                  <a:gd name="T106" fmla="*/ 9 w 74"/>
                  <a:gd name="T107" fmla="*/ 37 h 76"/>
                  <a:gd name="T108" fmla="*/ 6 w 74"/>
                  <a:gd name="T109" fmla="*/ 36 h 76"/>
                  <a:gd name="T110" fmla="*/ 8 w 74"/>
                  <a:gd name="T111" fmla="*/ 33 h 76"/>
                  <a:gd name="T112" fmla="*/ 5 w 74"/>
                  <a:gd name="T113" fmla="*/ 31 h 76"/>
                  <a:gd name="T114" fmla="*/ 0 w 74"/>
                  <a:gd name="T115" fmla="*/ 31 h 76"/>
                  <a:gd name="T116" fmla="*/ 0 w 74"/>
                  <a:gd name="T117" fmla="*/ 31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74" h="76">
                    <a:moveTo>
                      <a:pt x="0" y="31"/>
                    </a:moveTo>
                    <a:lnTo>
                      <a:pt x="0" y="30"/>
                    </a:lnTo>
                    <a:lnTo>
                      <a:pt x="2" y="25"/>
                    </a:lnTo>
                    <a:lnTo>
                      <a:pt x="7" y="23"/>
                    </a:lnTo>
                    <a:lnTo>
                      <a:pt x="10" y="18"/>
                    </a:lnTo>
                    <a:lnTo>
                      <a:pt x="10" y="15"/>
                    </a:lnTo>
                    <a:lnTo>
                      <a:pt x="11" y="10"/>
                    </a:lnTo>
                    <a:lnTo>
                      <a:pt x="14" y="10"/>
                    </a:lnTo>
                    <a:lnTo>
                      <a:pt x="14" y="7"/>
                    </a:lnTo>
                    <a:lnTo>
                      <a:pt x="15" y="4"/>
                    </a:lnTo>
                    <a:lnTo>
                      <a:pt x="20" y="2"/>
                    </a:lnTo>
                    <a:lnTo>
                      <a:pt x="22" y="2"/>
                    </a:lnTo>
                    <a:lnTo>
                      <a:pt x="30" y="0"/>
                    </a:lnTo>
                    <a:lnTo>
                      <a:pt x="33" y="1"/>
                    </a:lnTo>
                    <a:lnTo>
                      <a:pt x="35" y="5"/>
                    </a:lnTo>
                    <a:lnTo>
                      <a:pt x="39" y="7"/>
                    </a:lnTo>
                    <a:lnTo>
                      <a:pt x="38" y="14"/>
                    </a:lnTo>
                    <a:lnTo>
                      <a:pt x="38" y="18"/>
                    </a:lnTo>
                    <a:lnTo>
                      <a:pt x="43" y="23"/>
                    </a:lnTo>
                    <a:lnTo>
                      <a:pt x="45" y="22"/>
                    </a:lnTo>
                    <a:lnTo>
                      <a:pt x="51" y="18"/>
                    </a:lnTo>
                    <a:lnTo>
                      <a:pt x="53" y="19"/>
                    </a:lnTo>
                    <a:lnTo>
                      <a:pt x="55" y="22"/>
                    </a:lnTo>
                    <a:lnTo>
                      <a:pt x="55" y="24"/>
                    </a:lnTo>
                    <a:lnTo>
                      <a:pt x="55" y="25"/>
                    </a:lnTo>
                    <a:lnTo>
                      <a:pt x="56" y="29"/>
                    </a:lnTo>
                    <a:lnTo>
                      <a:pt x="53" y="35"/>
                    </a:lnTo>
                    <a:lnTo>
                      <a:pt x="51" y="37"/>
                    </a:lnTo>
                    <a:lnTo>
                      <a:pt x="52" y="41"/>
                    </a:lnTo>
                    <a:lnTo>
                      <a:pt x="54" y="42"/>
                    </a:lnTo>
                    <a:lnTo>
                      <a:pt x="56" y="41"/>
                    </a:lnTo>
                    <a:lnTo>
                      <a:pt x="59" y="41"/>
                    </a:lnTo>
                    <a:lnTo>
                      <a:pt x="61" y="44"/>
                    </a:lnTo>
                    <a:lnTo>
                      <a:pt x="64" y="43"/>
                    </a:lnTo>
                    <a:lnTo>
                      <a:pt x="66" y="44"/>
                    </a:lnTo>
                    <a:lnTo>
                      <a:pt x="68" y="48"/>
                    </a:lnTo>
                    <a:lnTo>
                      <a:pt x="70" y="50"/>
                    </a:lnTo>
                    <a:lnTo>
                      <a:pt x="73" y="50"/>
                    </a:lnTo>
                    <a:lnTo>
                      <a:pt x="74" y="53"/>
                    </a:lnTo>
                    <a:lnTo>
                      <a:pt x="71" y="55"/>
                    </a:lnTo>
                    <a:lnTo>
                      <a:pt x="73" y="57"/>
                    </a:lnTo>
                    <a:lnTo>
                      <a:pt x="71" y="59"/>
                    </a:lnTo>
                    <a:lnTo>
                      <a:pt x="70" y="63"/>
                    </a:lnTo>
                    <a:lnTo>
                      <a:pt x="71" y="65"/>
                    </a:lnTo>
                    <a:lnTo>
                      <a:pt x="70" y="70"/>
                    </a:lnTo>
                    <a:lnTo>
                      <a:pt x="72" y="73"/>
                    </a:lnTo>
                    <a:lnTo>
                      <a:pt x="72" y="76"/>
                    </a:lnTo>
                    <a:lnTo>
                      <a:pt x="53" y="71"/>
                    </a:lnTo>
                    <a:lnTo>
                      <a:pt x="39" y="60"/>
                    </a:lnTo>
                    <a:lnTo>
                      <a:pt x="35" y="60"/>
                    </a:lnTo>
                    <a:lnTo>
                      <a:pt x="24" y="49"/>
                    </a:lnTo>
                    <a:lnTo>
                      <a:pt x="16" y="44"/>
                    </a:lnTo>
                    <a:lnTo>
                      <a:pt x="13" y="44"/>
                    </a:lnTo>
                    <a:lnTo>
                      <a:pt x="9" y="37"/>
                    </a:lnTo>
                    <a:lnTo>
                      <a:pt x="6" y="36"/>
                    </a:lnTo>
                    <a:lnTo>
                      <a:pt x="8" y="33"/>
                    </a:lnTo>
                    <a:lnTo>
                      <a:pt x="5" y="31"/>
                    </a:lnTo>
                    <a:lnTo>
                      <a:pt x="0" y="31"/>
                    </a:lnTo>
                    <a:lnTo>
                      <a:pt x="0" y="31"/>
                    </a:lnTo>
                    <a:close/>
                  </a:path>
                </a:pathLst>
              </a:custGeom>
              <a:solidFill>
                <a:schemeClr val="accent4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669" name="Freeform 473"/>
              <p:cNvSpPr>
                <a:spLocks/>
              </p:cNvSpPr>
              <p:nvPr userDrawn="1"/>
            </p:nvSpPr>
            <p:spPr bwMode="auto">
              <a:xfrm>
                <a:off x="3413" y="2725"/>
                <a:ext cx="77" cy="118"/>
              </a:xfrm>
              <a:custGeom>
                <a:avLst/>
                <a:gdLst>
                  <a:gd name="T0" fmla="*/ 5 w 77"/>
                  <a:gd name="T1" fmla="*/ 110 h 118"/>
                  <a:gd name="T2" fmla="*/ 11 w 77"/>
                  <a:gd name="T3" fmla="*/ 109 h 118"/>
                  <a:gd name="T4" fmla="*/ 10 w 77"/>
                  <a:gd name="T5" fmla="*/ 101 h 118"/>
                  <a:gd name="T6" fmla="*/ 5 w 77"/>
                  <a:gd name="T7" fmla="*/ 96 h 118"/>
                  <a:gd name="T8" fmla="*/ 0 w 77"/>
                  <a:gd name="T9" fmla="*/ 87 h 118"/>
                  <a:gd name="T10" fmla="*/ 2 w 77"/>
                  <a:gd name="T11" fmla="*/ 84 h 118"/>
                  <a:gd name="T12" fmla="*/ 3 w 77"/>
                  <a:gd name="T13" fmla="*/ 74 h 118"/>
                  <a:gd name="T14" fmla="*/ 5 w 77"/>
                  <a:gd name="T15" fmla="*/ 67 h 118"/>
                  <a:gd name="T16" fmla="*/ 11 w 77"/>
                  <a:gd name="T17" fmla="*/ 56 h 118"/>
                  <a:gd name="T18" fmla="*/ 13 w 77"/>
                  <a:gd name="T19" fmla="*/ 50 h 118"/>
                  <a:gd name="T20" fmla="*/ 13 w 77"/>
                  <a:gd name="T21" fmla="*/ 41 h 118"/>
                  <a:gd name="T22" fmla="*/ 11 w 77"/>
                  <a:gd name="T23" fmla="*/ 36 h 118"/>
                  <a:gd name="T24" fmla="*/ 11 w 77"/>
                  <a:gd name="T25" fmla="*/ 26 h 118"/>
                  <a:gd name="T26" fmla="*/ 9 w 77"/>
                  <a:gd name="T27" fmla="*/ 14 h 118"/>
                  <a:gd name="T28" fmla="*/ 6 w 77"/>
                  <a:gd name="T29" fmla="*/ 8 h 118"/>
                  <a:gd name="T30" fmla="*/ 12 w 77"/>
                  <a:gd name="T31" fmla="*/ 3 h 118"/>
                  <a:gd name="T32" fmla="*/ 28 w 77"/>
                  <a:gd name="T33" fmla="*/ 3 h 118"/>
                  <a:gd name="T34" fmla="*/ 44 w 77"/>
                  <a:gd name="T35" fmla="*/ 2 h 118"/>
                  <a:gd name="T36" fmla="*/ 53 w 77"/>
                  <a:gd name="T37" fmla="*/ 0 h 118"/>
                  <a:gd name="T38" fmla="*/ 55 w 77"/>
                  <a:gd name="T39" fmla="*/ 5 h 118"/>
                  <a:gd name="T40" fmla="*/ 57 w 77"/>
                  <a:gd name="T41" fmla="*/ 9 h 118"/>
                  <a:gd name="T42" fmla="*/ 63 w 77"/>
                  <a:gd name="T43" fmla="*/ 14 h 118"/>
                  <a:gd name="T44" fmla="*/ 66 w 77"/>
                  <a:gd name="T45" fmla="*/ 22 h 118"/>
                  <a:gd name="T46" fmla="*/ 68 w 77"/>
                  <a:gd name="T47" fmla="*/ 30 h 118"/>
                  <a:gd name="T48" fmla="*/ 70 w 77"/>
                  <a:gd name="T49" fmla="*/ 36 h 118"/>
                  <a:gd name="T50" fmla="*/ 68 w 77"/>
                  <a:gd name="T51" fmla="*/ 42 h 118"/>
                  <a:gd name="T52" fmla="*/ 70 w 77"/>
                  <a:gd name="T53" fmla="*/ 47 h 118"/>
                  <a:gd name="T54" fmla="*/ 70 w 77"/>
                  <a:gd name="T55" fmla="*/ 52 h 118"/>
                  <a:gd name="T56" fmla="*/ 71 w 77"/>
                  <a:gd name="T57" fmla="*/ 60 h 118"/>
                  <a:gd name="T58" fmla="*/ 70 w 77"/>
                  <a:gd name="T59" fmla="*/ 75 h 118"/>
                  <a:gd name="T60" fmla="*/ 68 w 77"/>
                  <a:gd name="T61" fmla="*/ 81 h 118"/>
                  <a:gd name="T62" fmla="*/ 71 w 77"/>
                  <a:gd name="T63" fmla="*/ 90 h 118"/>
                  <a:gd name="T64" fmla="*/ 75 w 77"/>
                  <a:gd name="T65" fmla="*/ 93 h 118"/>
                  <a:gd name="T66" fmla="*/ 67 w 77"/>
                  <a:gd name="T67" fmla="*/ 98 h 118"/>
                  <a:gd name="T68" fmla="*/ 49 w 77"/>
                  <a:gd name="T69" fmla="*/ 109 h 118"/>
                  <a:gd name="T70" fmla="*/ 22 w 77"/>
                  <a:gd name="T71" fmla="*/ 118 h 118"/>
                  <a:gd name="T72" fmla="*/ 5 w 77"/>
                  <a:gd name="T73" fmla="*/ 113 h 118"/>
                  <a:gd name="T74" fmla="*/ 4 w 77"/>
                  <a:gd name="T75" fmla="*/ 111 h 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77" h="118">
                    <a:moveTo>
                      <a:pt x="4" y="111"/>
                    </a:moveTo>
                    <a:lnTo>
                      <a:pt x="5" y="110"/>
                    </a:lnTo>
                    <a:lnTo>
                      <a:pt x="8" y="110"/>
                    </a:lnTo>
                    <a:lnTo>
                      <a:pt x="11" y="109"/>
                    </a:lnTo>
                    <a:lnTo>
                      <a:pt x="11" y="104"/>
                    </a:lnTo>
                    <a:lnTo>
                      <a:pt x="10" y="101"/>
                    </a:lnTo>
                    <a:lnTo>
                      <a:pt x="5" y="101"/>
                    </a:lnTo>
                    <a:lnTo>
                      <a:pt x="5" y="96"/>
                    </a:lnTo>
                    <a:lnTo>
                      <a:pt x="2" y="89"/>
                    </a:lnTo>
                    <a:lnTo>
                      <a:pt x="0" y="87"/>
                    </a:lnTo>
                    <a:lnTo>
                      <a:pt x="0" y="85"/>
                    </a:lnTo>
                    <a:lnTo>
                      <a:pt x="2" y="84"/>
                    </a:lnTo>
                    <a:lnTo>
                      <a:pt x="1" y="77"/>
                    </a:lnTo>
                    <a:lnTo>
                      <a:pt x="3" y="74"/>
                    </a:lnTo>
                    <a:lnTo>
                      <a:pt x="3" y="70"/>
                    </a:lnTo>
                    <a:lnTo>
                      <a:pt x="5" y="67"/>
                    </a:lnTo>
                    <a:lnTo>
                      <a:pt x="4" y="63"/>
                    </a:lnTo>
                    <a:lnTo>
                      <a:pt x="11" y="56"/>
                    </a:lnTo>
                    <a:lnTo>
                      <a:pt x="13" y="53"/>
                    </a:lnTo>
                    <a:lnTo>
                      <a:pt x="13" y="50"/>
                    </a:lnTo>
                    <a:lnTo>
                      <a:pt x="15" y="46"/>
                    </a:lnTo>
                    <a:lnTo>
                      <a:pt x="13" y="41"/>
                    </a:lnTo>
                    <a:lnTo>
                      <a:pt x="11" y="38"/>
                    </a:lnTo>
                    <a:lnTo>
                      <a:pt x="11" y="36"/>
                    </a:lnTo>
                    <a:lnTo>
                      <a:pt x="10" y="32"/>
                    </a:lnTo>
                    <a:lnTo>
                      <a:pt x="11" y="26"/>
                    </a:lnTo>
                    <a:lnTo>
                      <a:pt x="11" y="20"/>
                    </a:lnTo>
                    <a:lnTo>
                      <a:pt x="9" y="14"/>
                    </a:lnTo>
                    <a:lnTo>
                      <a:pt x="7" y="14"/>
                    </a:lnTo>
                    <a:lnTo>
                      <a:pt x="6" y="8"/>
                    </a:lnTo>
                    <a:lnTo>
                      <a:pt x="6" y="4"/>
                    </a:lnTo>
                    <a:lnTo>
                      <a:pt x="12" y="3"/>
                    </a:lnTo>
                    <a:lnTo>
                      <a:pt x="26" y="3"/>
                    </a:lnTo>
                    <a:lnTo>
                      <a:pt x="28" y="3"/>
                    </a:lnTo>
                    <a:lnTo>
                      <a:pt x="37" y="3"/>
                    </a:lnTo>
                    <a:lnTo>
                      <a:pt x="44" y="2"/>
                    </a:lnTo>
                    <a:lnTo>
                      <a:pt x="48" y="1"/>
                    </a:lnTo>
                    <a:lnTo>
                      <a:pt x="53" y="0"/>
                    </a:lnTo>
                    <a:lnTo>
                      <a:pt x="54" y="0"/>
                    </a:lnTo>
                    <a:lnTo>
                      <a:pt x="55" y="5"/>
                    </a:lnTo>
                    <a:lnTo>
                      <a:pt x="57" y="7"/>
                    </a:lnTo>
                    <a:lnTo>
                      <a:pt x="57" y="9"/>
                    </a:lnTo>
                    <a:lnTo>
                      <a:pt x="61" y="13"/>
                    </a:lnTo>
                    <a:lnTo>
                      <a:pt x="63" y="14"/>
                    </a:lnTo>
                    <a:lnTo>
                      <a:pt x="67" y="17"/>
                    </a:lnTo>
                    <a:lnTo>
                      <a:pt x="66" y="22"/>
                    </a:lnTo>
                    <a:lnTo>
                      <a:pt x="66" y="29"/>
                    </a:lnTo>
                    <a:lnTo>
                      <a:pt x="68" y="30"/>
                    </a:lnTo>
                    <a:lnTo>
                      <a:pt x="70" y="31"/>
                    </a:lnTo>
                    <a:lnTo>
                      <a:pt x="70" y="36"/>
                    </a:lnTo>
                    <a:lnTo>
                      <a:pt x="68" y="39"/>
                    </a:lnTo>
                    <a:lnTo>
                      <a:pt x="68" y="42"/>
                    </a:lnTo>
                    <a:lnTo>
                      <a:pt x="70" y="43"/>
                    </a:lnTo>
                    <a:lnTo>
                      <a:pt x="70" y="47"/>
                    </a:lnTo>
                    <a:lnTo>
                      <a:pt x="69" y="49"/>
                    </a:lnTo>
                    <a:lnTo>
                      <a:pt x="70" y="52"/>
                    </a:lnTo>
                    <a:lnTo>
                      <a:pt x="70" y="58"/>
                    </a:lnTo>
                    <a:lnTo>
                      <a:pt x="71" y="60"/>
                    </a:lnTo>
                    <a:lnTo>
                      <a:pt x="72" y="71"/>
                    </a:lnTo>
                    <a:lnTo>
                      <a:pt x="70" y="75"/>
                    </a:lnTo>
                    <a:lnTo>
                      <a:pt x="69" y="77"/>
                    </a:lnTo>
                    <a:lnTo>
                      <a:pt x="68" y="81"/>
                    </a:lnTo>
                    <a:lnTo>
                      <a:pt x="70" y="85"/>
                    </a:lnTo>
                    <a:lnTo>
                      <a:pt x="71" y="90"/>
                    </a:lnTo>
                    <a:lnTo>
                      <a:pt x="73" y="91"/>
                    </a:lnTo>
                    <a:lnTo>
                      <a:pt x="75" y="93"/>
                    </a:lnTo>
                    <a:lnTo>
                      <a:pt x="77" y="96"/>
                    </a:lnTo>
                    <a:lnTo>
                      <a:pt x="67" y="98"/>
                    </a:lnTo>
                    <a:lnTo>
                      <a:pt x="58" y="101"/>
                    </a:lnTo>
                    <a:lnTo>
                      <a:pt x="49" y="109"/>
                    </a:lnTo>
                    <a:lnTo>
                      <a:pt x="37" y="110"/>
                    </a:lnTo>
                    <a:lnTo>
                      <a:pt x="22" y="118"/>
                    </a:lnTo>
                    <a:lnTo>
                      <a:pt x="14" y="114"/>
                    </a:lnTo>
                    <a:lnTo>
                      <a:pt x="5" y="113"/>
                    </a:lnTo>
                    <a:lnTo>
                      <a:pt x="4" y="111"/>
                    </a:lnTo>
                    <a:lnTo>
                      <a:pt x="4" y="111"/>
                    </a:lnTo>
                    <a:close/>
                  </a:path>
                </a:pathLst>
              </a:custGeom>
              <a:solidFill>
                <a:schemeClr val="accent4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670" name="Freeform 474"/>
              <p:cNvSpPr>
                <a:spLocks/>
              </p:cNvSpPr>
              <p:nvPr userDrawn="1"/>
            </p:nvSpPr>
            <p:spPr bwMode="auto">
              <a:xfrm>
                <a:off x="3467" y="2725"/>
                <a:ext cx="37" cy="96"/>
              </a:xfrm>
              <a:custGeom>
                <a:avLst/>
                <a:gdLst>
                  <a:gd name="T0" fmla="*/ 21 w 37"/>
                  <a:gd name="T1" fmla="*/ 4 h 96"/>
                  <a:gd name="T2" fmla="*/ 1 w 37"/>
                  <a:gd name="T3" fmla="*/ 0 h 96"/>
                  <a:gd name="T4" fmla="*/ 0 w 37"/>
                  <a:gd name="T5" fmla="*/ 0 h 96"/>
                  <a:gd name="T6" fmla="*/ 1 w 37"/>
                  <a:gd name="T7" fmla="*/ 5 h 96"/>
                  <a:gd name="T8" fmla="*/ 3 w 37"/>
                  <a:gd name="T9" fmla="*/ 7 h 96"/>
                  <a:gd name="T10" fmla="*/ 3 w 37"/>
                  <a:gd name="T11" fmla="*/ 9 h 96"/>
                  <a:gd name="T12" fmla="*/ 7 w 37"/>
                  <a:gd name="T13" fmla="*/ 13 h 96"/>
                  <a:gd name="T14" fmla="*/ 9 w 37"/>
                  <a:gd name="T15" fmla="*/ 14 h 96"/>
                  <a:gd name="T16" fmla="*/ 13 w 37"/>
                  <a:gd name="T17" fmla="*/ 17 h 96"/>
                  <a:gd name="T18" fmla="*/ 12 w 37"/>
                  <a:gd name="T19" fmla="*/ 22 h 96"/>
                  <a:gd name="T20" fmla="*/ 12 w 37"/>
                  <a:gd name="T21" fmla="*/ 29 h 96"/>
                  <a:gd name="T22" fmla="*/ 14 w 37"/>
                  <a:gd name="T23" fmla="*/ 30 h 96"/>
                  <a:gd name="T24" fmla="*/ 16 w 37"/>
                  <a:gd name="T25" fmla="*/ 31 h 96"/>
                  <a:gd name="T26" fmla="*/ 16 w 37"/>
                  <a:gd name="T27" fmla="*/ 36 h 96"/>
                  <a:gd name="T28" fmla="*/ 14 w 37"/>
                  <a:gd name="T29" fmla="*/ 39 h 96"/>
                  <a:gd name="T30" fmla="*/ 14 w 37"/>
                  <a:gd name="T31" fmla="*/ 42 h 96"/>
                  <a:gd name="T32" fmla="*/ 16 w 37"/>
                  <a:gd name="T33" fmla="*/ 43 h 96"/>
                  <a:gd name="T34" fmla="*/ 16 w 37"/>
                  <a:gd name="T35" fmla="*/ 47 h 96"/>
                  <a:gd name="T36" fmla="*/ 15 w 37"/>
                  <a:gd name="T37" fmla="*/ 49 h 96"/>
                  <a:gd name="T38" fmla="*/ 16 w 37"/>
                  <a:gd name="T39" fmla="*/ 52 h 96"/>
                  <a:gd name="T40" fmla="*/ 16 w 37"/>
                  <a:gd name="T41" fmla="*/ 58 h 96"/>
                  <a:gd name="T42" fmla="*/ 17 w 37"/>
                  <a:gd name="T43" fmla="*/ 60 h 96"/>
                  <a:gd name="T44" fmla="*/ 18 w 37"/>
                  <a:gd name="T45" fmla="*/ 71 h 96"/>
                  <a:gd name="T46" fmla="*/ 16 w 37"/>
                  <a:gd name="T47" fmla="*/ 75 h 96"/>
                  <a:gd name="T48" fmla="*/ 15 w 37"/>
                  <a:gd name="T49" fmla="*/ 77 h 96"/>
                  <a:gd name="T50" fmla="*/ 14 w 37"/>
                  <a:gd name="T51" fmla="*/ 81 h 96"/>
                  <a:gd name="T52" fmla="*/ 16 w 37"/>
                  <a:gd name="T53" fmla="*/ 85 h 96"/>
                  <a:gd name="T54" fmla="*/ 17 w 37"/>
                  <a:gd name="T55" fmla="*/ 90 h 96"/>
                  <a:gd name="T56" fmla="*/ 19 w 37"/>
                  <a:gd name="T57" fmla="*/ 91 h 96"/>
                  <a:gd name="T58" fmla="*/ 21 w 37"/>
                  <a:gd name="T59" fmla="*/ 93 h 96"/>
                  <a:gd name="T60" fmla="*/ 23 w 37"/>
                  <a:gd name="T61" fmla="*/ 96 h 96"/>
                  <a:gd name="T62" fmla="*/ 24 w 37"/>
                  <a:gd name="T63" fmla="*/ 96 h 96"/>
                  <a:gd name="T64" fmla="*/ 34 w 37"/>
                  <a:gd name="T65" fmla="*/ 90 h 96"/>
                  <a:gd name="T66" fmla="*/ 36 w 37"/>
                  <a:gd name="T67" fmla="*/ 90 h 96"/>
                  <a:gd name="T68" fmla="*/ 37 w 37"/>
                  <a:gd name="T69" fmla="*/ 87 h 96"/>
                  <a:gd name="T70" fmla="*/ 35 w 37"/>
                  <a:gd name="T71" fmla="*/ 82 h 96"/>
                  <a:gd name="T72" fmla="*/ 34 w 37"/>
                  <a:gd name="T73" fmla="*/ 78 h 96"/>
                  <a:gd name="T74" fmla="*/ 33 w 37"/>
                  <a:gd name="T75" fmla="*/ 73 h 96"/>
                  <a:gd name="T76" fmla="*/ 34 w 37"/>
                  <a:gd name="T77" fmla="*/ 52 h 96"/>
                  <a:gd name="T78" fmla="*/ 34 w 37"/>
                  <a:gd name="T79" fmla="*/ 49 h 96"/>
                  <a:gd name="T80" fmla="*/ 36 w 37"/>
                  <a:gd name="T81" fmla="*/ 46 h 96"/>
                  <a:gd name="T82" fmla="*/ 36 w 37"/>
                  <a:gd name="T83" fmla="*/ 42 h 96"/>
                  <a:gd name="T84" fmla="*/ 34 w 37"/>
                  <a:gd name="T85" fmla="*/ 39 h 96"/>
                  <a:gd name="T86" fmla="*/ 35 w 37"/>
                  <a:gd name="T87" fmla="*/ 35 h 96"/>
                  <a:gd name="T88" fmla="*/ 33 w 37"/>
                  <a:gd name="T89" fmla="*/ 27 h 96"/>
                  <a:gd name="T90" fmla="*/ 29 w 37"/>
                  <a:gd name="T91" fmla="*/ 17 h 96"/>
                  <a:gd name="T92" fmla="*/ 27 w 37"/>
                  <a:gd name="T93" fmla="*/ 16 h 96"/>
                  <a:gd name="T94" fmla="*/ 25 w 37"/>
                  <a:gd name="T95" fmla="*/ 14 h 96"/>
                  <a:gd name="T96" fmla="*/ 21 w 37"/>
                  <a:gd name="T97" fmla="*/ 13 h 96"/>
                  <a:gd name="T98" fmla="*/ 20 w 37"/>
                  <a:gd name="T99" fmla="*/ 7 h 96"/>
                  <a:gd name="T100" fmla="*/ 21 w 37"/>
                  <a:gd name="T101" fmla="*/ 4 h 96"/>
                  <a:gd name="T102" fmla="*/ 21 w 37"/>
                  <a:gd name="T103" fmla="*/ 4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37" h="96">
                    <a:moveTo>
                      <a:pt x="21" y="4"/>
                    </a:moveTo>
                    <a:lnTo>
                      <a:pt x="1" y="0"/>
                    </a:lnTo>
                    <a:lnTo>
                      <a:pt x="0" y="0"/>
                    </a:lnTo>
                    <a:lnTo>
                      <a:pt x="1" y="5"/>
                    </a:lnTo>
                    <a:lnTo>
                      <a:pt x="3" y="7"/>
                    </a:lnTo>
                    <a:lnTo>
                      <a:pt x="3" y="9"/>
                    </a:lnTo>
                    <a:lnTo>
                      <a:pt x="7" y="13"/>
                    </a:lnTo>
                    <a:lnTo>
                      <a:pt x="9" y="14"/>
                    </a:lnTo>
                    <a:lnTo>
                      <a:pt x="13" y="17"/>
                    </a:lnTo>
                    <a:lnTo>
                      <a:pt x="12" y="22"/>
                    </a:lnTo>
                    <a:lnTo>
                      <a:pt x="12" y="29"/>
                    </a:lnTo>
                    <a:lnTo>
                      <a:pt x="14" y="30"/>
                    </a:lnTo>
                    <a:lnTo>
                      <a:pt x="16" y="31"/>
                    </a:lnTo>
                    <a:lnTo>
                      <a:pt x="16" y="36"/>
                    </a:lnTo>
                    <a:lnTo>
                      <a:pt x="14" y="39"/>
                    </a:lnTo>
                    <a:lnTo>
                      <a:pt x="14" y="42"/>
                    </a:lnTo>
                    <a:lnTo>
                      <a:pt x="16" y="43"/>
                    </a:lnTo>
                    <a:lnTo>
                      <a:pt x="16" y="47"/>
                    </a:lnTo>
                    <a:lnTo>
                      <a:pt x="15" y="49"/>
                    </a:lnTo>
                    <a:lnTo>
                      <a:pt x="16" y="52"/>
                    </a:lnTo>
                    <a:lnTo>
                      <a:pt x="16" y="58"/>
                    </a:lnTo>
                    <a:lnTo>
                      <a:pt x="17" y="60"/>
                    </a:lnTo>
                    <a:lnTo>
                      <a:pt x="18" y="71"/>
                    </a:lnTo>
                    <a:lnTo>
                      <a:pt x="16" y="75"/>
                    </a:lnTo>
                    <a:lnTo>
                      <a:pt x="15" y="77"/>
                    </a:lnTo>
                    <a:lnTo>
                      <a:pt x="14" y="81"/>
                    </a:lnTo>
                    <a:lnTo>
                      <a:pt x="16" y="85"/>
                    </a:lnTo>
                    <a:lnTo>
                      <a:pt x="17" y="90"/>
                    </a:lnTo>
                    <a:lnTo>
                      <a:pt x="19" y="91"/>
                    </a:lnTo>
                    <a:lnTo>
                      <a:pt x="21" y="93"/>
                    </a:lnTo>
                    <a:lnTo>
                      <a:pt x="23" y="96"/>
                    </a:lnTo>
                    <a:lnTo>
                      <a:pt x="24" y="96"/>
                    </a:lnTo>
                    <a:lnTo>
                      <a:pt x="34" y="90"/>
                    </a:lnTo>
                    <a:lnTo>
                      <a:pt x="36" y="90"/>
                    </a:lnTo>
                    <a:lnTo>
                      <a:pt x="37" y="87"/>
                    </a:lnTo>
                    <a:lnTo>
                      <a:pt x="35" y="82"/>
                    </a:lnTo>
                    <a:lnTo>
                      <a:pt x="34" y="78"/>
                    </a:lnTo>
                    <a:lnTo>
                      <a:pt x="33" y="73"/>
                    </a:lnTo>
                    <a:lnTo>
                      <a:pt x="34" y="52"/>
                    </a:lnTo>
                    <a:lnTo>
                      <a:pt x="34" y="49"/>
                    </a:lnTo>
                    <a:lnTo>
                      <a:pt x="36" y="46"/>
                    </a:lnTo>
                    <a:lnTo>
                      <a:pt x="36" y="42"/>
                    </a:lnTo>
                    <a:lnTo>
                      <a:pt x="34" y="39"/>
                    </a:lnTo>
                    <a:lnTo>
                      <a:pt x="35" y="35"/>
                    </a:lnTo>
                    <a:lnTo>
                      <a:pt x="33" y="27"/>
                    </a:lnTo>
                    <a:lnTo>
                      <a:pt x="29" y="17"/>
                    </a:lnTo>
                    <a:lnTo>
                      <a:pt x="27" y="16"/>
                    </a:lnTo>
                    <a:lnTo>
                      <a:pt x="25" y="14"/>
                    </a:lnTo>
                    <a:lnTo>
                      <a:pt x="21" y="13"/>
                    </a:lnTo>
                    <a:lnTo>
                      <a:pt x="20" y="7"/>
                    </a:lnTo>
                    <a:lnTo>
                      <a:pt x="21" y="4"/>
                    </a:lnTo>
                    <a:lnTo>
                      <a:pt x="21" y="4"/>
                    </a:lnTo>
                    <a:close/>
                  </a:path>
                </a:pathLst>
              </a:custGeom>
              <a:solidFill>
                <a:schemeClr val="accent4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671" name="Freeform 475"/>
              <p:cNvSpPr>
                <a:spLocks/>
              </p:cNvSpPr>
              <p:nvPr userDrawn="1"/>
            </p:nvSpPr>
            <p:spPr bwMode="auto">
              <a:xfrm>
                <a:off x="3522" y="2782"/>
                <a:ext cx="1" cy="4"/>
              </a:xfrm>
              <a:custGeom>
                <a:avLst/>
                <a:gdLst>
                  <a:gd name="T0" fmla="*/ 0 w 1"/>
                  <a:gd name="T1" fmla="*/ 4 h 4"/>
                  <a:gd name="T2" fmla="*/ 1 w 1"/>
                  <a:gd name="T3" fmla="*/ 1 h 4"/>
                  <a:gd name="T4" fmla="*/ 1 w 1"/>
                  <a:gd name="T5" fmla="*/ 0 h 4"/>
                  <a:gd name="T6" fmla="*/ 0 w 1"/>
                  <a:gd name="T7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4">
                    <a:moveTo>
                      <a:pt x="0" y="4"/>
                    </a:moveTo>
                    <a:lnTo>
                      <a:pt x="1" y="1"/>
                    </a:lnTo>
                    <a:lnTo>
                      <a:pt x="1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65625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672" name="Freeform 476"/>
              <p:cNvSpPr>
                <a:spLocks/>
              </p:cNvSpPr>
              <p:nvPr userDrawn="1"/>
            </p:nvSpPr>
            <p:spPr bwMode="auto">
              <a:xfrm>
                <a:off x="3522" y="2782"/>
                <a:ext cx="1" cy="4"/>
              </a:xfrm>
              <a:custGeom>
                <a:avLst/>
                <a:gdLst>
                  <a:gd name="T0" fmla="*/ 0 w 1"/>
                  <a:gd name="T1" fmla="*/ 4 h 4"/>
                  <a:gd name="T2" fmla="*/ 1 w 1"/>
                  <a:gd name="T3" fmla="*/ 1 h 4"/>
                  <a:gd name="T4" fmla="*/ 1 w 1"/>
                  <a:gd name="T5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4">
                    <a:moveTo>
                      <a:pt x="0" y="4"/>
                    </a:moveTo>
                    <a:lnTo>
                      <a:pt x="1" y="1"/>
                    </a:lnTo>
                    <a:lnTo>
                      <a:pt x="1" y="0"/>
                    </a:lnTo>
                  </a:path>
                </a:pathLst>
              </a:custGeom>
              <a:noFill/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673" name="Freeform 477"/>
              <p:cNvSpPr>
                <a:spLocks/>
              </p:cNvSpPr>
              <p:nvPr userDrawn="1"/>
            </p:nvSpPr>
            <p:spPr bwMode="auto">
              <a:xfrm>
                <a:off x="3740" y="1986"/>
                <a:ext cx="105" cy="66"/>
              </a:xfrm>
              <a:custGeom>
                <a:avLst/>
                <a:gdLst>
                  <a:gd name="T0" fmla="*/ 68 w 105"/>
                  <a:gd name="T1" fmla="*/ 57 h 66"/>
                  <a:gd name="T2" fmla="*/ 72 w 105"/>
                  <a:gd name="T3" fmla="*/ 53 h 66"/>
                  <a:gd name="T4" fmla="*/ 74 w 105"/>
                  <a:gd name="T5" fmla="*/ 52 h 66"/>
                  <a:gd name="T6" fmla="*/ 76 w 105"/>
                  <a:gd name="T7" fmla="*/ 49 h 66"/>
                  <a:gd name="T8" fmla="*/ 81 w 105"/>
                  <a:gd name="T9" fmla="*/ 50 h 66"/>
                  <a:gd name="T10" fmla="*/ 85 w 105"/>
                  <a:gd name="T11" fmla="*/ 46 h 66"/>
                  <a:gd name="T12" fmla="*/ 85 w 105"/>
                  <a:gd name="T13" fmla="*/ 43 h 66"/>
                  <a:gd name="T14" fmla="*/ 92 w 105"/>
                  <a:gd name="T15" fmla="*/ 34 h 66"/>
                  <a:gd name="T16" fmla="*/ 95 w 105"/>
                  <a:gd name="T17" fmla="*/ 23 h 66"/>
                  <a:gd name="T18" fmla="*/ 99 w 105"/>
                  <a:gd name="T19" fmla="*/ 16 h 66"/>
                  <a:gd name="T20" fmla="*/ 103 w 105"/>
                  <a:gd name="T21" fmla="*/ 16 h 66"/>
                  <a:gd name="T22" fmla="*/ 105 w 105"/>
                  <a:gd name="T23" fmla="*/ 11 h 66"/>
                  <a:gd name="T24" fmla="*/ 103 w 105"/>
                  <a:gd name="T25" fmla="*/ 7 h 66"/>
                  <a:gd name="T26" fmla="*/ 98 w 105"/>
                  <a:gd name="T27" fmla="*/ 4 h 66"/>
                  <a:gd name="T28" fmla="*/ 94 w 105"/>
                  <a:gd name="T29" fmla="*/ 0 h 66"/>
                  <a:gd name="T30" fmla="*/ 91 w 105"/>
                  <a:gd name="T31" fmla="*/ 2 h 66"/>
                  <a:gd name="T32" fmla="*/ 85 w 105"/>
                  <a:gd name="T33" fmla="*/ 1 h 66"/>
                  <a:gd name="T34" fmla="*/ 77 w 105"/>
                  <a:gd name="T35" fmla="*/ 2 h 66"/>
                  <a:gd name="T36" fmla="*/ 72 w 105"/>
                  <a:gd name="T37" fmla="*/ 0 h 66"/>
                  <a:gd name="T38" fmla="*/ 67 w 105"/>
                  <a:gd name="T39" fmla="*/ 1 h 66"/>
                  <a:gd name="T40" fmla="*/ 64 w 105"/>
                  <a:gd name="T41" fmla="*/ 6 h 66"/>
                  <a:gd name="T42" fmla="*/ 60 w 105"/>
                  <a:gd name="T43" fmla="*/ 9 h 66"/>
                  <a:gd name="T44" fmla="*/ 60 w 105"/>
                  <a:gd name="T45" fmla="*/ 12 h 66"/>
                  <a:gd name="T46" fmla="*/ 54 w 105"/>
                  <a:gd name="T47" fmla="*/ 7 h 66"/>
                  <a:gd name="T48" fmla="*/ 49 w 105"/>
                  <a:gd name="T49" fmla="*/ 12 h 66"/>
                  <a:gd name="T50" fmla="*/ 44 w 105"/>
                  <a:gd name="T51" fmla="*/ 13 h 66"/>
                  <a:gd name="T52" fmla="*/ 43 w 105"/>
                  <a:gd name="T53" fmla="*/ 17 h 66"/>
                  <a:gd name="T54" fmla="*/ 33 w 105"/>
                  <a:gd name="T55" fmla="*/ 17 h 66"/>
                  <a:gd name="T56" fmla="*/ 27 w 105"/>
                  <a:gd name="T57" fmla="*/ 19 h 66"/>
                  <a:gd name="T58" fmla="*/ 21 w 105"/>
                  <a:gd name="T59" fmla="*/ 18 h 66"/>
                  <a:gd name="T60" fmla="*/ 8 w 105"/>
                  <a:gd name="T61" fmla="*/ 12 h 66"/>
                  <a:gd name="T62" fmla="*/ 8 w 105"/>
                  <a:gd name="T63" fmla="*/ 14 h 66"/>
                  <a:gd name="T64" fmla="*/ 9 w 105"/>
                  <a:gd name="T65" fmla="*/ 17 h 66"/>
                  <a:gd name="T66" fmla="*/ 8 w 105"/>
                  <a:gd name="T67" fmla="*/ 21 h 66"/>
                  <a:gd name="T68" fmla="*/ 1 w 105"/>
                  <a:gd name="T69" fmla="*/ 20 h 66"/>
                  <a:gd name="T70" fmla="*/ 0 w 105"/>
                  <a:gd name="T71" fmla="*/ 22 h 66"/>
                  <a:gd name="T72" fmla="*/ 3 w 105"/>
                  <a:gd name="T73" fmla="*/ 26 h 66"/>
                  <a:gd name="T74" fmla="*/ 2 w 105"/>
                  <a:gd name="T75" fmla="*/ 30 h 66"/>
                  <a:gd name="T76" fmla="*/ 1 w 105"/>
                  <a:gd name="T77" fmla="*/ 34 h 66"/>
                  <a:gd name="T78" fmla="*/ 3 w 105"/>
                  <a:gd name="T79" fmla="*/ 37 h 66"/>
                  <a:gd name="T80" fmla="*/ 0 w 105"/>
                  <a:gd name="T81" fmla="*/ 40 h 66"/>
                  <a:gd name="T82" fmla="*/ 0 w 105"/>
                  <a:gd name="T83" fmla="*/ 40 h 66"/>
                  <a:gd name="T84" fmla="*/ 4 w 105"/>
                  <a:gd name="T85" fmla="*/ 45 h 66"/>
                  <a:gd name="T86" fmla="*/ 5 w 105"/>
                  <a:gd name="T87" fmla="*/ 51 h 66"/>
                  <a:gd name="T88" fmla="*/ 8 w 105"/>
                  <a:gd name="T89" fmla="*/ 52 h 66"/>
                  <a:gd name="T90" fmla="*/ 15 w 105"/>
                  <a:gd name="T91" fmla="*/ 59 h 66"/>
                  <a:gd name="T92" fmla="*/ 19 w 105"/>
                  <a:gd name="T93" fmla="*/ 61 h 66"/>
                  <a:gd name="T94" fmla="*/ 22 w 105"/>
                  <a:gd name="T95" fmla="*/ 62 h 66"/>
                  <a:gd name="T96" fmla="*/ 31 w 105"/>
                  <a:gd name="T97" fmla="*/ 64 h 66"/>
                  <a:gd name="T98" fmla="*/ 39 w 105"/>
                  <a:gd name="T99" fmla="*/ 66 h 66"/>
                  <a:gd name="T100" fmla="*/ 42 w 105"/>
                  <a:gd name="T101" fmla="*/ 62 h 66"/>
                  <a:gd name="T102" fmla="*/ 44 w 105"/>
                  <a:gd name="T103" fmla="*/ 63 h 66"/>
                  <a:gd name="T104" fmla="*/ 46 w 105"/>
                  <a:gd name="T105" fmla="*/ 61 h 66"/>
                  <a:gd name="T106" fmla="*/ 50 w 105"/>
                  <a:gd name="T107" fmla="*/ 59 h 66"/>
                  <a:gd name="T108" fmla="*/ 53 w 105"/>
                  <a:gd name="T109" fmla="*/ 60 h 66"/>
                  <a:gd name="T110" fmla="*/ 54 w 105"/>
                  <a:gd name="T111" fmla="*/ 58 h 66"/>
                  <a:gd name="T112" fmla="*/ 59 w 105"/>
                  <a:gd name="T113" fmla="*/ 54 h 66"/>
                  <a:gd name="T114" fmla="*/ 62 w 105"/>
                  <a:gd name="T115" fmla="*/ 55 h 66"/>
                  <a:gd name="T116" fmla="*/ 66 w 105"/>
                  <a:gd name="T117" fmla="*/ 56 h 66"/>
                  <a:gd name="T118" fmla="*/ 68 w 105"/>
                  <a:gd name="T119" fmla="*/ 57 h 66"/>
                  <a:gd name="T120" fmla="*/ 68 w 105"/>
                  <a:gd name="T121" fmla="*/ 57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05" h="66">
                    <a:moveTo>
                      <a:pt x="68" y="57"/>
                    </a:moveTo>
                    <a:lnTo>
                      <a:pt x="72" y="53"/>
                    </a:lnTo>
                    <a:lnTo>
                      <a:pt x="74" y="52"/>
                    </a:lnTo>
                    <a:lnTo>
                      <a:pt x="76" y="49"/>
                    </a:lnTo>
                    <a:lnTo>
                      <a:pt x="81" y="50"/>
                    </a:lnTo>
                    <a:lnTo>
                      <a:pt x="85" y="46"/>
                    </a:lnTo>
                    <a:lnTo>
                      <a:pt x="85" y="43"/>
                    </a:lnTo>
                    <a:lnTo>
                      <a:pt x="92" y="34"/>
                    </a:lnTo>
                    <a:lnTo>
                      <a:pt x="95" y="23"/>
                    </a:lnTo>
                    <a:lnTo>
                      <a:pt x="99" y="16"/>
                    </a:lnTo>
                    <a:lnTo>
                      <a:pt x="103" y="16"/>
                    </a:lnTo>
                    <a:lnTo>
                      <a:pt x="105" y="11"/>
                    </a:lnTo>
                    <a:lnTo>
                      <a:pt x="103" y="7"/>
                    </a:lnTo>
                    <a:lnTo>
                      <a:pt x="98" y="4"/>
                    </a:lnTo>
                    <a:lnTo>
                      <a:pt x="94" y="0"/>
                    </a:lnTo>
                    <a:lnTo>
                      <a:pt x="91" y="2"/>
                    </a:lnTo>
                    <a:lnTo>
                      <a:pt x="85" y="1"/>
                    </a:lnTo>
                    <a:lnTo>
                      <a:pt x="77" y="2"/>
                    </a:lnTo>
                    <a:lnTo>
                      <a:pt x="72" y="0"/>
                    </a:lnTo>
                    <a:lnTo>
                      <a:pt x="67" y="1"/>
                    </a:lnTo>
                    <a:lnTo>
                      <a:pt x="64" y="6"/>
                    </a:lnTo>
                    <a:lnTo>
                      <a:pt x="60" y="9"/>
                    </a:lnTo>
                    <a:lnTo>
                      <a:pt x="60" y="12"/>
                    </a:lnTo>
                    <a:lnTo>
                      <a:pt x="54" y="7"/>
                    </a:lnTo>
                    <a:lnTo>
                      <a:pt x="49" y="12"/>
                    </a:lnTo>
                    <a:lnTo>
                      <a:pt x="44" y="13"/>
                    </a:lnTo>
                    <a:lnTo>
                      <a:pt x="43" y="17"/>
                    </a:lnTo>
                    <a:lnTo>
                      <a:pt x="33" y="17"/>
                    </a:lnTo>
                    <a:lnTo>
                      <a:pt x="27" y="19"/>
                    </a:lnTo>
                    <a:lnTo>
                      <a:pt x="21" y="18"/>
                    </a:lnTo>
                    <a:lnTo>
                      <a:pt x="8" y="12"/>
                    </a:lnTo>
                    <a:lnTo>
                      <a:pt x="8" y="14"/>
                    </a:lnTo>
                    <a:lnTo>
                      <a:pt x="9" y="17"/>
                    </a:lnTo>
                    <a:lnTo>
                      <a:pt x="8" y="21"/>
                    </a:lnTo>
                    <a:lnTo>
                      <a:pt x="1" y="20"/>
                    </a:lnTo>
                    <a:lnTo>
                      <a:pt x="0" y="22"/>
                    </a:lnTo>
                    <a:lnTo>
                      <a:pt x="3" y="26"/>
                    </a:lnTo>
                    <a:lnTo>
                      <a:pt x="2" y="30"/>
                    </a:lnTo>
                    <a:lnTo>
                      <a:pt x="1" y="34"/>
                    </a:lnTo>
                    <a:lnTo>
                      <a:pt x="3" y="37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4" y="45"/>
                    </a:lnTo>
                    <a:lnTo>
                      <a:pt x="5" y="51"/>
                    </a:lnTo>
                    <a:lnTo>
                      <a:pt x="8" y="52"/>
                    </a:lnTo>
                    <a:lnTo>
                      <a:pt x="15" y="59"/>
                    </a:lnTo>
                    <a:lnTo>
                      <a:pt x="19" y="61"/>
                    </a:lnTo>
                    <a:lnTo>
                      <a:pt x="22" y="62"/>
                    </a:lnTo>
                    <a:lnTo>
                      <a:pt x="31" y="64"/>
                    </a:lnTo>
                    <a:lnTo>
                      <a:pt x="39" y="66"/>
                    </a:lnTo>
                    <a:lnTo>
                      <a:pt x="42" y="62"/>
                    </a:lnTo>
                    <a:lnTo>
                      <a:pt x="44" y="63"/>
                    </a:lnTo>
                    <a:lnTo>
                      <a:pt x="46" y="61"/>
                    </a:lnTo>
                    <a:lnTo>
                      <a:pt x="50" y="59"/>
                    </a:lnTo>
                    <a:lnTo>
                      <a:pt x="53" y="60"/>
                    </a:lnTo>
                    <a:lnTo>
                      <a:pt x="54" y="58"/>
                    </a:lnTo>
                    <a:lnTo>
                      <a:pt x="59" y="54"/>
                    </a:lnTo>
                    <a:lnTo>
                      <a:pt x="62" y="55"/>
                    </a:lnTo>
                    <a:lnTo>
                      <a:pt x="66" y="56"/>
                    </a:lnTo>
                    <a:lnTo>
                      <a:pt x="68" y="57"/>
                    </a:lnTo>
                    <a:lnTo>
                      <a:pt x="68" y="57"/>
                    </a:lnTo>
                    <a:close/>
                  </a:path>
                </a:pathLst>
              </a:custGeom>
              <a:solidFill>
                <a:schemeClr val="accent4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674" name="Freeform 478"/>
              <p:cNvSpPr>
                <a:spLocks/>
              </p:cNvSpPr>
              <p:nvPr userDrawn="1"/>
            </p:nvSpPr>
            <p:spPr bwMode="auto">
              <a:xfrm>
                <a:off x="3797" y="2140"/>
                <a:ext cx="2" cy="8"/>
              </a:xfrm>
              <a:custGeom>
                <a:avLst/>
                <a:gdLst>
                  <a:gd name="T0" fmla="*/ 0 w 2"/>
                  <a:gd name="T1" fmla="*/ 8 h 8"/>
                  <a:gd name="T2" fmla="*/ 2 w 2"/>
                  <a:gd name="T3" fmla="*/ 0 h 8"/>
                  <a:gd name="T4" fmla="*/ 0 w 2"/>
                  <a:gd name="T5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8">
                    <a:moveTo>
                      <a:pt x="0" y="8"/>
                    </a:moveTo>
                    <a:lnTo>
                      <a:pt x="2" y="0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rgbClr val="65625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675" name="Line 479"/>
              <p:cNvSpPr>
                <a:spLocks noChangeShapeType="1"/>
              </p:cNvSpPr>
              <p:nvPr userDrawn="1"/>
            </p:nvSpPr>
            <p:spPr bwMode="auto">
              <a:xfrm flipV="1">
                <a:off x="3797" y="2140"/>
                <a:ext cx="2" cy="8"/>
              </a:xfrm>
              <a:prstGeom prst="line">
                <a:avLst/>
              </a:prstGeom>
              <a:noFill/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676" name="Freeform 480"/>
              <p:cNvSpPr>
                <a:spLocks/>
              </p:cNvSpPr>
              <p:nvPr userDrawn="1"/>
            </p:nvSpPr>
            <p:spPr bwMode="auto">
              <a:xfrm>
                <a:off x="3796" y="2128"/>
                <a:ext cx="0" cy="6"/>
              </a:xfrm>
              <a:custGeom>
                <a:avLst/>
                <a:gdLst>
                  <a:gd name="T0" fmla="*/ 6 h 6"/>
                  <a:gd name="T1" fmla="*/ 6 h 6"/>
                  <a:gd name="T2" fmla="*/ 0 h 6"/>
                  <a:gd name="T3" fmla="*/ 6 h 6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6">
                    <a:moveTo>
                      <a:pt x="0" y="6"/>
                    </a:moveTo>
                    <a:lnTo>
                      <a:pt x="0" y="6"/>
                    </a:lnTo>
                    <a:lnTo>
                      <a:pt x="0" y="0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65625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677" name="Freeform 481"/>
              <p:cNvSpPr>
                <a:spLocks/>
              </p:cNvSpPr>
              <p:nvPr userDrawn="1"/>
            </p:nvSpPr>
            <p:spPr bwMode="auto">
              <a:xfrm>
                <a:off x="3796" y="2128"/>
                <a:ext cx="0" cy="6"/>
              </a:xfrm>
              <a:custGeom>
                <a:avLst/>
                <a:gdLst>
                  <a:gd name="T0" fmla="*/ 6 h 6"/>
                  <a:gd name="T1" fmla="*/ 6 h 6"/>
                  <a:gd name="T2" fmla="*/ 0 h 6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6">
                    <a:moveTo>
                      <a:pt x="0" y="6"/>
                    </a:moveTo>
                    <a:lnTo>
                      <a:pt x="0" y="6"/>
                    </a:lnTo>
                    <a:lnTo>
                      <a:pt x="0" y="0"/>
                    </a:lnTo>
                  </a:path>
                </a:pathLst>
              </a:custGeom>
              <a:noFill/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678" name="Freeform 482"/>
              <p:cNvSpPr>
                <a:spLocks/>
              </p:cNvSpPr>
              <p:nvPr userDrawn="1"/>
            </p:nvSpPr>
            <p:spPr bwMode="auto">
              <a:xfrm>
                <a:off x="3760" y="2062"/>
                <a:ext cx="4" cy="2"/>
              </a:xfrm>
              <a:custGeom>
                <a:avLst/>
                <a:gdLst>
                  <a:gd name="T0" fmla="*/ 0 w 4"/>
                  <a:gd name="T1" fmla="*/ 0 h 2"/>
                  <a:gd name="T2" fmla="*/ 4 w 4"/>
                  <a:gd name="T3" fmla="*/ 2 h 2"/>
                  <a:gd name="T4" fmla="*/ 0 w 4"/>
                  <a:gd name="T5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2">
                    <a:moveTo>
                      <a:pt x="0" y="0"/>
                    </a:moveTo>
                    <a:lnTo>
                      <a:pt x="4" y="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65625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679" name="Line 483"/>
              <p:cNvSpPr>
                <a:spLocks noChangeShapeType="1"/>
              </p:cNvSpPr>
              <p:nvPr userDrawn="1"/>
            </p:nvSpPr>
            <p:spPr bwMode="auto">
              <a:xfrm>
                <a:off x="3760" y="2062"/>
                <a:ext cx="4" cy="2"/>
              </a:xfrm>
              <a:prstGeom prst="line">
                <a:avLst/>
              </a:prstGeom>
              <a:noFill/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680" name="Freeform 484"/>
              <p:cNvSpPr>
                <a:spLocks/>
              </p:cNvSpPr>
              <p:nvPr userDrawn="1"/>
            </p:nvSpPr>
            <p:spPr bwMode="auto">
              <a:xfrm>
                <a:off x="3559" y="2003"/>
                <a:ext cx="82" cy="45"/>
              </a:xfrm>
              <a:custGeom>
                <a:avLst/>
                <a:gdLst>
                  <a:gd name="T0" fmla="*/ 35 w 82"/>
                  <a:gd name="T1" fmla="*/ 6 h 45"/>
                  <a:gd name="T2" fmla="*/ 43 w 82"/>
                  <a:gd name="T3" fmla="*/ 6 h 45"/>
                  <a:gd name="T4" fmla="*/ 44 w 82"/>
                  <a:gd name="T5" fmla="*/ 1 h 45"/>
                  <a:gd name="T6" fmla="*/ 49 w 82"/>
                  <a:gd name="T7" fmla="*/ 4 h 45"/>
                  <a:gd name="T8" fmla="*/ 53 w 82"/>
                  <a:gd name="T9" fmla="*/ 3 h 45"/>
                  <a:gd name="T10" fmla="*/ 60 w 82"/>
                  <a:gd name="T11" fmla="*/ 6 h 45"/>
                  <a:gd name="T12" fmla="*/ 64 w 82"/>
                  <a:gd name="T13" fmla="*/ 12 h 45"/>
                  <a:gd name="T14" fmla="*/ 64 w 82"/>
                  <a:gd name="T15" fmla="*/ 17 h 45"/>
                  <a:gd name="T16" fmla="*/ 72 w 82"/>
                  <a:gd name="T17" fmla="*/ 16 h 45"/>
                  <a:gd name="T18" fmla="*/ 79 w 82"/>
                  <a:gd name="T19" fmla="*/ 17 h 45"/>
                  <a:gd name="T20" fmla="*/ 82 w 82"/>
                  <a:gd name="T21" fmla="*/ 20 h 45"/>
                  <a:gd name="T22" fmla="*/ 81 w 82"/>
                  <a:gd name="T23" fmla="*/ 29 h 45"/>
                  <a:gd name="T24" fmla="*/ 73 w 82"/>
                  <a:gd name="T25" fmla="*/ 38 h 45"/>
                  <a:gd name="T26" fmla="*/ 67 w 82"/>
                  <a:gd name="T27" fmla="*/ 36 h 45"/>
                  <a:gd name="T28" fmla="*/ 59 w 82"/>
                  <a:gd name="T29" fmla="*/ 39 h 45"/>
                  <a:gd name="T30" fmla="*/ 53 w 82"/>
                  <a:gd name="T31" fmla="*/ 41 h 45"/>
                  <a:gd name="T32" fmla="*/ 48 w 82"/>
                  <a:gd name="T33" fmla="*/ 34 h 45"/>
                  <a:gd name="T34" fmla="*/ 38 w 82"/>
                  <a:gd name="T35" fmla="*/ 43 h 45"/>
                  <a:gd name="T36" fmla="*/ 25 w 82"/>
                  <a:gd name="T37" fmla="*/ 45 h 45"/>
                  <a:gd name="T38" fmla="*/ 20 w 82"/>
                  <a:gd name="T39" fmla="*/ 42 h 45"/>
                  <a:gd name="T40" fmla="*/ 17 w 82"/>
                  <a:gd name="T41" fmla="*/ 35 h 45"/>
                  <a:gd name="T42" fmla="*/ 10 w 82"/>
                  <a:gd name="T43" fmla="*/ 32 h 45"/>
                  <a:gd name="T44" fmla="*/ 9 w 82"/>
                  <a:gd name="T45" fmla="*/ 38 h 45"/>
                  <a:gd name="T46" fmla="*/ 0 w 82"/>
                  <a:gd name="T47" fmla="*/ 40 h 45"/>
                  <a:gd name="T48" fmla="*/ 2 w 82"/>
                  <a:gd name="T49" fmla="*/ 36 h 45"/>
                  <a:gd name="T50" fmla="*/ 4 w 82"/>
                  <a:gd name="T51" fmla="*/ 32 h 45"/>
                  <a:gd name="T52" fmla="*/ 10 w 82"/>
                  <a:gd name="T53" fmla="*/ 20 h 45"/>
                  <a:gd name="T54" fmla="*/ 16 w 82"/>
                  <a:gd name="T55" fmla="*/ 14 h 45"/>
                  <a:gd name="T56" fmla="*/ 19 w 82"/>
                  <a:gd name="T57" fmla="*/ 10 h 45"/>
                  <a:gd name="T58" fmla="*/ 17 w 82"/>
                  <a:gd name="T59" fmla="*/ 5 h 45"/>
                  <a:gd name="T60" fmla="*/ 23 w 82"/>
                  <a:gd name="T61" fmla="*/ 7 h 45"/>
                  <a:gd name="T62" fmla="*/ 32 w 82"/>
                  <a:gd name="T63" fmla="*/ 5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82" h="45">
                    <a:moveTo>
                      <a:pt x="32" y="5"/>
                    </a:moveTo>
                    <a:lnTo>
                      <a:pt x="35" y="6"/>
                    </a:lnTo>
                    <a:lnTo>
                      <a:pt x="38" y="4"/>
                    </a:lnTo>
                    <a:lnTo>
                      <a:pt x="43" y="6"/>
                    </a:lnTo>
                    <a:lnTo>
                      <a:pt x="44" y="4"/>
                    </a:lnTo>
                    <a:lnTo>
                      <a:pt x="44" y="1"/>
                    </a:lnTo>
                    <a:lnTo>
                      <a:pt x="47" y="0"/>
                    </a:lnTo>
                    <a:lnTo>
                      <a:pt x="49" y="4"/>
                    </a:lnTo>
                    <a:lnTo>
                      <a:pt x="51" y="4"/>
                    </a:lnTo>
                    <a:lnTo>
                      <a:pt x="53" y="3"/>
                    </a:lnTo>
                    <a:lnTo>
                      <a:pt x="56" y="3"/>
                    </a:lnTo>
                    <a:lnTo>
                      <a:pt x="60" y="6"/>
                    </a:lnTo>
                    <a:lnTo>
                      <a:pt x="64" y="9"/>
                    </a:lnTo>
                    <a:lnTo>
                      <a:pt x="64" y="12"/>
                    </a:lnTo>
                    <a:lnTo>
                      <a:pt x="63" y="15"/>
                    </a:lnTo>
                    <a:lnTo>
                      <a:pt x="64" y="17"/>
                    </a:lnTo>
                    <a:lnTo>
                      <a:pt x="69" y="17"/>
                    </a:lnTo>
                    <a:lnTo>
                      <a:pt x="72" y="16"/>
                    </a:lnTo>
                    <a:lnTo>
                      <a:pt x="76" y="20"/>
                    </a:lnTo>
                    <a:lnTo>
                      <a:pt x="79" y="17"/>
                    </a:lnTo>
                    <a:lnTo>
                      <a:pt x="81" y="17"/>
                    </a:lnTo>
                    <a:lnTo>
                      <a:pt x="82" y="20"/>
                    </a:lnTo>
                    <a:lnTo>
                      <a:pt x="80" y="24"/>
                    </a:lnTo>
                    <a:lnTo>
                      <a:pt x="81" y="29"/>
                    </a:lnTo>
                    <a:lnTo>
                      <a:pt x="74" y="31"/>
                    </a:lnTo>
                    <a:lnTo>
                      <a:pt x="73" y="38"/>
                    </a:lnTo>
                    <a:lnTo>
                      <a:pt x="70" y="35"/>
                    </a:lnTo>
                    <a:lnTo>
                      <a:pt x="67" y="36"/>
                    </a:lnTo>
                    <a:lnTo>
                      <a:pt x="59" y="33"/>
                    </a:lnTo>
                    <a:lnTo>
                      <a:pt x="59" y="39"/>
                    </a:lnTo>
                    <a:lnTo>
                      <a:pt x="55" y="44"/>
                    </a:lnTo>
                    <a:lnTo>
                      <a:pt x="53" y="41"/>
                    </a:lnTo>
                    <a:lnTo>
                      <a:pt x="47" y="39"/>
                    </a:lnTo>
                    <a:lnTo>
                      <a:pt x="48" y="34"/>
                    </a:lnTo>
                    <a:lnTo>
                      <a:pt x="43" y="32"/>
                    </a:lnTo>
                    <a:lnTo>
                      <a:pt x="38" y="43"/>
                    </a:lnTo>
                    <a:lnTo>
                      <a:pt x="33" y="41"/>
                    </a:lnTo>
                    <a:lnTo>
                      <a:pt x="25" y="45"/>
                    </a:lnTo>
                    <a:lnTo>
                      <a:pt x="21" y="44"/>
                    </a:lnTo>
                    <a:lnTo>
                      <a:pt x="20" y="42"/>
                    </a:lnTo>
                    <a:lnTo>
                      <a:pt x="18" y="40"/>
                    </a:lnTo>
                    <a:lnTo>
                      <a:pt x="17" y="35"/>
                    </a:lnTo>
                    <a:lnTo>
                      <a:pt x="16" y="32"/>
                    </a:lnTo>
                    <a:lnTo>
                      <a:pt x="10" y="32"/>
                    </a:lnTo>
                    <a:lnTo>
                      <a:pt x="7" y="34"/>
                    </a:lnTo>
                    <a:lnTo>
                      <a:pt x="9" y="38"/>
                    </a:lnTo>
                    <a:lnTo>
                      <a:pt x="5" y="40"/>
                    </a:lnTo>
                    <a:lnTo>
                      <a:pt x="0" y="40"/>
                    </a:lnTo>
                    <a:lnTo>
                      <a:pt x="0" y="37"/>
                    </a:lnTo>
                    <a:lnTo>
                      <a:pt x="2" y="36"/>
                    </a:lnTo>
                    <a:lnTo>
                      <a:pt x="4" y="36"/>
                    </a:lnTo>
                    <a:lnTo>
                      <a:pt x="4" y="32"/>
                    </a:lnTo>
                    <a:lnTo>
                      <a:pt x="5" y="27"/>
                    </a:lnTo>
                    <a:lnTo>
                      <a:pt x="10" y="20"/>
                    </a:lnTo>
                    <a:lnTo>
                      <a:pt x="13" y="19"/>
                    </a:lnTo>
                    <a:lnTo>
                      <a:pt x="16" y="14"/>
                    </a:lnTo>
                    <a:lnTo>
                      <a:pt x="19" y="13"/>
                    </a:lnTo>
                    <a:lnTo>
                      <a:pt x="19" y="10"/>
                    </a:lnTo>
                    <a:lnTo>
                      <a:pt x="16" y="8"/>
                    </a:lnTo>
                    <a:lnTo>
                      <a:pt x="17" y="5"/>
                    </a:lnTo>
                    <a:lnTo>
                      <a:pt x="22" y="4"/>
                    </a:lnTo>
                    <a:lnTo>
                      <a:pt x="23" y="7"/>
                    </a:lnTo>
                    <a:lnTo>
                      <a:pt x="26" y="7"/>
                    </a:lnTo>
                    <a:lnTo>
                      <a:pt x="32" y="5"/>
                    </a:lnTo>
                    <a:lnTo>
                      <a:pt x="32" y="5"/>
                    </a:lnTo>
                    <a:close/>
                  </a:path>
                </a:pathLst>
              </a:custGeom>
              <a:solidFill>
                <a:schemeClr val="accent4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681" name="Freeform 485"/>
              <p:cNvSpPr>
                <a:spLocks noEditPoints="1"/>
              </p:cNvSpPr>
              <p:nvPr userDrawn="1"/>
            </p:nvSpPr>
            <p:spPr bwMode="auto">
              <a:xfrm>
                <a:off x="3387" y="1930"/>
                <a:ext cx="239" cy="215"/>
              </a:xfrm>
              <a:custGeom>
                <a:avLst/>
                <a:gdLst>
                  <a:gd name="T0" fmla="*/ 188 w 239"/>
                  <a:gd name="T1" fmla="*/ 105 h 215"/>
                  <a:gd name="T2" fmla="*/ 172 w 239"/>
                  <a:gd name="T3" fmla="*/ 113 h 215"/>
                  <a:gd name="T4" fmla="*/ 177 w 239"/>
                  <a:gd name="T5" fmla="*/ 100 h 215"/>
                  <a:gd name="T6" fmla="*/ 191 w 239"/>
                  <a:gd name="T7" fmla="*/ 83 h 215"/>
                  <a:gd name="T8" fmla="*/ 198 w 239"/>
                  <a:gd name="T9" fmla="*/ 80 h 215"/>
                  <a:gd name="T10" fmla="*/ 201 w 239"/>
                  <a:gd name="T11" fmla="*/ 62 h 215"/>
                  <a:gd name="T12" fmla="*/ 206 w 239"/>
                  <a:gd name="T13" fmla="*/ 45 h 215"/>
                  <a:gd name="T14" fmla="*/ 189 w 239"/>
                  <a:gd name="T15" fmla="*/ 44 h 215"/>
                  <a:gd name="T16" fmla="*/ 177 w 239"/>
                  <a:gd name="T17" fmla="*/ 38 h 215"/>
                  <a:gd name="T18" fmla="*/ 163 w 239"/>
                  <a:gd name="T19" fmla="*/ 32 h 215"/>
                  <a:gd name="T20" fmla="*/ 148 w 239"/>
                  <a:gd name="T21" fmla="*/ 25 h 215"/>
                  <a:gd name="T22" fmla="*/ 137 w 239"/>
                  <a:gd name="T23" fmla="*/ 16 h 215"/>
                  <a:gd name="T24" fmla="*/ 124 w 239"/>
                  <a:gd name="T25" fmla="*/ 2 h 215"/>
                  <a:gd name="T26" fmla="*/ 108 w 239"/>
                  <a:gd name="T27" fmla="*/ 5 h 215"/>
                  <a:gd name="T28" fmla="*/ 102 w 239"/>
                  <a:gd name="T29" fmla="*/ 27 h 215"/>
                  <a:gd name="T30" fmla="*/ 80 w 239"/>
                  <a:gd name="T31" fmla="*/ 33 h 215"/>
                  <a:gd name="T32" fmla="*/ 68 w 239"/>
                  <a:gd name="T33" fmla="*/ 40 h 215"/>
                  <a:gd name="T34" fmla="*/ 59 w 239"/>
                  <a:gd name="T35" fmla="*/ 33 h 215"/>
                  <a:gd name="T36" fmla="*/ 49 w 239"/>
                  <a:gd name="T37" fmla="*/ 35 h 215"/>
                  <a:gd name="T38" fmla="*/ 54 w 239"/>
                  <a:gd name="T39" fmla="*/ 50 h 215"/>
                  <a:gd name="T40" fmla="*/ 44 w 239"/>
                  <a:gd name="T41" fmla="*/ 55 h 215"/>
                  <a:gd name="T42" fmla="*/ 27 w 239"/>
                  <a:gd name="T43" fmla="*/ 51 h 215"/>
                  <a:gd name="T44" fmla="*/ 14 w 239"/>
                  <a:gd name="T45" fmla="*/ 54 h 215"/>
                  <a:gd name="T46" fmla="*/ 1 w 239"/>
                  <a:gd name="T47" fmla="*/ 62 h 215"/>
                  <a:gd name="T48" fmla="*/ 3 w 239"/>
                  <a:gd name="T49" fmla="*/ 63 h 215"/>
                  <a:gd name="T50" fmla="*/ 6 w 239"/>
                  <a:gd name="T51" fmla="*/ 68 h 215"/>
                  <a:gd name="T52" fmla="*/ 7 w 239"/>
                  <a:gd name="T53" fmla="*/ 75 h 215"/>
                  <a:gd name="T54" fmla="*/ 22 w 239"/>
                  <a:gd name="T55" fmla="*/ 77 h 215"/>
                  <a:gd name="T56" fmla="*/ 33 w 239"/>
                  <a:gd name="T57" fmla="*/ 80 h 215"/>
                  <a:gd name="T58" fmla="*/ 39 w 239"/>
                  <a:gd name="T59" fmla="*/ 88 h 215"/>
                  <a:gd name="T60" fmla="*/ 48 w 239"/>
                  <a:gd name="T61" fmla="*/ 87 h 215"/>
                  <a:gd name="T62" fmla="*/ 43 w 239"/>
                  <a:gd name="T63" fmla="*/ 97 h 215"/>
                  <a:gd name="T64" fmla="*/ 60 w 239"/>
                  <a:gd name="T65" fmla="*/ 109 h 215"/>
                  <a:gd name="T66" fmla="*/ 59 w 239"/>
                  <a:gd name="T67" fmla="*/ 121 h 215"/>
                  <a:gd name="T68" fmla="*/ 66 w 239"/>
                  <a:gd name="T69" fmla="*/ 127 h 215"/>
                  <a:gd name="T70" fmla="*/ 61 w 239"/>
                  <a:gd name="T71" fmla="*/ 144 h 215"/>
                  <a:gd name="T72" fmla="*/ 54 w 239"/>
                  <a:gd name="T73" fmla="*/ 172 h 215"/>
                  <a:gd name="T74" fmla="*/ 62 w 239"/>
                  <a:gd name="T75" fmla="*/ 180 h 215"/>
                  <a:gd name="T76" fmla="*/ 86 w 239"/>
                  <a:gd name="T77" fmla="*/ 188 h 215"/>
                  <a:gd name="T78" fmla="*/ 108 w 239"/>
                  <a:gd name="T79" fmla="*/ 187 h 215"/>
                  <a:gd name="T80" fmla="*/ 130 w 239"/>
                  <a:gd name="T81" fmla="*/ 192 h 215"/>
                  <a:gd name="T82" fmla="*/ 141 w 239"/>
                  <a:gd name="T83" fmla="*/ 167 h 215"/>
                  <a:gd name="T84" fmla="*/ 157 w 239"/>
                  <a:gd name="T85" fmla="*/ 172 h 215"/>
                  <a:gd name="T86" fmla="*/ 185 w 239"/>
                  <a:gd name="T87" fmla="*/ 180 h 215"/>
                  <a:gd name="T88" fmla="*/ 203 w 239"/>
                  <a:gd name="T89" fmla="*/ 162 h 215"/>
                  <a:gd name="T90" fmla="*/ 192 w 239"/>
                  <a:gd name="T91" fmla="*/ 140 h 215"/>
                  <a:gd name="T92" fmla="*/ 192 w 239"/>
                  <a:gd name="T93" fmla="*/ 123 h 215"/>
                  <a:gd name="T94" fmla="*/ 193 w 239"/>
                  <a:gd name="T95" fmla="*/ 117 h 215"/>
                  <a:gd name="T96" fmla="*/ 228 w 239"/>
                  <a:gd name="T97" fmla="*/ 209 h 215"/>
                  <a:gd name="T98" fmla="*/ 222 w 239"/>
                  <a:gd name="T99" fmla="*/ 202 h 215"/>
                  <a:gd name="T100" fmla="*/ 222 w 239"/>
                  <a:gd name="T101" fmla="*/ 196 h 215"/>
                  <a:gd name="T102" fmla="*/ 231 w 239"/>
                  <a:gd name="T103" fmla="*/ 184 h 215"/>
                  <a:gd name="T104" fmla="*/ 234 w 239"/>
                  <a:gd name="T105" fmla="*/ 178 h 215"/>
                  <a:gd name="T106" fmla="*/ 237 w 239"/>
                  <a:gd name="T107" fmla="*/ 203 h 2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39" h="215">
                    <a:moveTo>
                      <a:pt x="193" y="117"/>
                    </a:moveTo>
                    <a:lnTo>
                      <a:pt x="192" y="115"/>
                    </a:lnTo>
                    <a:lnTo>
                      <a:pt x="190" y="113"/>
                    </a:lnTo>
                    <a:lnTo>
                      <a:pt x="189" y="108"/>
                    </a:lnTo>
                    <a:lnTo>
                      <a:pt x="188" y="105"/>
                    </a:lnTo>
                    <a:lnTo>
                      <a:pt x="182" y="105"/>
                    </a:lnTo>
                    <a:lnTo>
                      <a:pt x="179" y="107"/>
                    </a:lnTo>
                    <a:lnTo>
                      <a:pt x="181" y="111"/>
                    </a:lnTo>
                    <a:lnTo>
                      <a:pt x="177" y="113"/>
                    </a:lnTo>
                    <a:lnTo>
                      <a:pt x="172" y="113"/>
                    </a:lnTo>
                    <a:lnTo>
                      <a:pt x="172" y="110"/>
                    </a:lnTo>
                    <a:lnTo>
                      <a:pt x="174" y="109"/>
                    </a:lnTo>
                    <a:lnTo>
                      <a:pt x="176" y="109"/>
                    </a:lnTo>
                    <a:lnTo>
                      <a:pt x="176" y="105"/>
                    </a:lnTo>
                    <a:lnTo>
                      <a:pt x="177" y="100"/>
                    </a:lnTo>
                    <a:lnTo>
                      <a:pt x="182" y="93"/>
                    </a:lnTo>
                    <a:lnTo>
                      <a:pt x="185" y="92"/>
                    </a:lnTo>
                    <a:lnTo>
                      <a:pt x="188" y="87"/>
                    </a:lnTo>
                    <a:lnTo>
                      <a:pt x="191" y="86"/>
                    </a:lnTo>
                    <a:lnTo>
                      <a:pt x="191" y="83"/>
                    </a:lnTo>
                    <a:lnTo>
                      <a:pt x="188" y="81"/>
                    </a:lnTo>
                    <a:lnTo>
                      <a:pt x="189" y="78"/>
                    </a:lnTo>
                    <a:lnTo>
                      <a:pt x="194" y="77"/>
                    </a:lnTo>
                    <a:lnTo>
                      <a:pt x="195" y="80"/>
                    </a:lnTo>
                    <a:lnTo>
                      <a:pt x="198" y="80"/>
                    </a:lnTo>
                    <a:lnTo>
                      <a:pt x="204" y="78"/>
                    </a:lnTo>
                    <a:lnTo>
                      <a:pt x="203" y="75"/>
                    </a:lnTo>
                    <a:lnTo>
                      <a:pt x="199" y="73"/>
                    </a:lnTo>
                    <a:lnTo>
                      <a:pt x="199" y="68"/>
                    </a:lnTo>
                    <a:lnTo>
                      <a:pt x="201" y="62"/>
                    </a:lnTo>
                    <a:lnTo>
                      <a:pt x="204" y="59"/>
                    </a:lnTo>
                    <a:lnTo>
                      <a:pt x="204" y="57"/>
                    </a:lnTo>
                    <a:lnTo>
                      <a:pt x="206" y="52"/>
                    </a:lnTo>
                    <a:lnTo>
                      <a:pt x="210" y="48"/>
                    </a:lnTo>
                    <a:lnTo>
                      <a:pt x="206" y="45"/>
                    </a:lnTo>
                    <a:lnTo>
                      <a:pt x="203" y="45"/>
                    </a:lnTo>
                    <a:lnTo>
                      <a:pt x="198" y="43"/>
                    </a:lnTo>
                    <a:lnTo>
                      <a:pt x="195" y="44"/>
                    </a:lnTo>
                    <a:lnTo>
                      <a:pt x="192" y="44"/>
                    </a:lnTo>
                    <a:lnTo>
                      <a:pt x="189" y="44"/>
                    </a:lnTo>
                    <a:lnTo>
                      <a:pt x="187" y="45"/>
                    </a:lnTo>
                    <a:lnTo>
                      <a:pt x="183" y="42"/>
                    </a:lnTo>
                    <a:lnTo>
                      <a:pt x="183" y="40"/>
                    </a:lnTo>
                    <a:lnTo>
                      <a:pt x="180" y="37"/>
                    </a:lnTo>
                    <a:lnTo>
                      <a:pt x="177" y="38"/>
                    </a:lnTo>
                    <a:lnTo>
                      <a:pt x="172" y="37"/>
                    </a:lnTo>
                    <a:lnTo>
                      <a:pt x="170" y="33"/>
                    </a:lnTo>
                    <a:lnTo>
                      <a:pt x="167" y="33"/>
                    </a:lnTo>
                    <a:lnTo>
                      <a:pt x="166" y="34"/>
                    </a:lnTo>
                    <a:lnTo>
                      <a:pt x="163" y="32"/>
                    </a:lnTo>
                    <a:lnTo>
                      <a:pt x="159" y="32"/>
                    </a:lnTo>
                    <a:lnTo>
                      <a:pt x="154" y="27"/>
                    </a:lnTo>
                    <a:lnTo>
                      <a:pt x="152" y="27"/>
                    </a:lnTo>
                    <a:lnTo>
                      <a:pt x="150" y="25"/>
                    </a:lnTo>
                    <a:lnTo>
                      <a:pt x="148" y="25"/>
                    </a:lnTo>
                    <a:lnTo>
                      <a:pt x="146" y="26"/>
                    </a:lnTo>
                    <a:lnTo>
                      <a:pt x="143" y="24"/>
                    </a:lnTo>
                    <a:lnTo>
                      <a:pt x="142" y="19"/>
                    </a:lnTo>
                    <a:lnTo>
                      <a:pt x="140" y="18"/>
                    </a:lnTo>
                    <a:lnTo>
                      <a:pt x="137" y="16"/>
                    </a:lnTo>
                    <a:lnTo>
                      <a:pt x="135" y="16"/>
                    </a:lnTo>
                    <a:lnTo>
                      <a:pt x="130" y="12"/>
                    </a:lnTo>
                    <a:lnTo>
                      <a:pt x="129" y="9"/>
                    </a:lnTo>
                    <a:lnTo>
                      <a:pt x="125" y="8"/>
                    </a:lnTo>
                    <a:lnTo>
                      <a:pt x="124" y="2"/>
                    </a:lnTo>
                    <a:lnTo>
                      <a:pt x="122" y="0"/>
                    </a:lnTo>
                    <a:lnTo>
                      <a:pt x="122" y="1"/>
                    </a:lnTo>
                    <a:lnTo>
                      <a:pt x="115" y="4"/>
                    </a:lnTo>
                    <a:lnTo>
                      <a:pt x="113" y="2"/>
                    </a:lnTo>
                    <a:lnTo>
                      <a:pt x="108" y="5"/>
                    </a:lnTo>
                    <a:lnTo>
                      <a:pt x="107" y="9"/>
                    </a:lnTo>
                    <a:lnTo>
                      <a:pt x="108" y="12"/>
                    </a:lnTo>
                    <a:lnTo>
                      <a:pt x="106" y="19"/>
                    </a:lnTo>
                    <a:lnTo>
                      <a:pt x="102" y="24"/>
                    </a:lnTo>
                    <a:lnTo>
                      <a:pt x="102" y="27"/>
                    </a:lnTo>
                    <a:lnTo>
                      <a:pt x="96" y="28"/>
                    </a:lnTo>
                    <a:lnTo>
                      <a:pt x="93" y="28"/>
                    </a:lnTo>
                    <a:lnTo>
                      <a:pt x="89" y="27"/>
                    </a:lnTo>
                    <a:lnTo>
                      <a:pt x="82" y="30"/>
                    </a:lnTo>
                    <a:lnTo>
                      <a:pt x="80" y="33"/>
                    </a:lnTo>
                    <a:lnTo>
                      <a:pt x="81" y="36"/>
                    </a:lnTo>
                    <a:lnTo>
                      <a:pt x="85" y="37"/>
                    </a:lnTo>
                    <a:lnTo>
                      <a:pt x="80" y="40"/>
                    </a:lnTo>
                    <a:lnTo>
                      <a:pt x="76" y="41"/>
                    </a:lnTo>
                    <a:lnTo>
                      <a:pt x="68" y="40"/>
                    </a:lnTo>
                    <a:lnTo>
                      <a:pt x="65" y="38"/>
                    </a:lnTo>
                    <a:lnTo>
                      <a:pt x="62" y="40"/>
                    </a:lnTo>
                    <a:lnTo>
                      <a:pt x="61" y="37"/>
                    </a:lnTo>
                    <a:lnTo>
                      <a:pt x="59" y="35"/>
                    </a:lnTo>
                    <a:lnTo>
                      <a:pt x="59" y="33"/>
                    </a:lnTo>
                    <a:lnTo>
                      <a:pt x="57" y="31"/>
                    </a:lnTo>
                    <a:lnTo>
                      <a:pt x="54" y="32"/>
                    </a:lnTo>
                    <a:lnTo>
                      <a:pt x="50" y="32"/>
                    </a:lnTo>
                    <a:lnTo>
                      <a:pt x="48" y="31"/>
                    </a:lnTo>
                    <a:lnTo>
                      <a:pt x="49" y="35"/>
                    </a:lnTo>
                    <a:lnTo>
                      <a:pt x="48" y="37"/>
                    </a:lnTo>
                    <a:lnTo>
                      <a:pt x="55" y="43"/>
                    </a:lnTo>
                    <a:lnTo>
                      <a:pt x="54" y="45"/>
                    </a:lnTo>
                    <a:lnTo>
                      <a:pt x="54" y="48"/>
                    </a:lnTo>
                    <a:lnTo>
                      <a:pt x="54" y="50"/>
                    </a:lnTo>
                    <a:lnTo>
                      <a:pt x="56" y="52"/>
                    </a:lnTo>
                    <a:lnTo>
                      <a:pt x="56" y="55"/>
                    </a:lnTo>
                    <a:lnTo>
                      <a:pt x="49" y="54"/>
                    </a:lnTo>
                    <a:lnTo>
                      <a:pt x="47" y="55"/>
                    </a:lnTo>
                    <a:lnTo>
                      <a:pt x="44" y="55"/>
                    </a:lnTo>
                    <a:lnTo>
                      <a:pt x="40" y="55"/>
                    </a:lnTo>
                    <a:lnTo>
                      <a:pt x="39" y="54"/>
                    </a:lnTo>
                    <a:lnTo>
                      <a:pt x="36" y="58"/>
                    </a:lnTo>
                    <a:lnTo>
                      <a:pt x="31" y="52"/>
                    </a:lnTo>
                    <a:lnTo>
                      <a:pt x="27" y="51"/>
                    </a:lnTo>
                    <a:lnTo>
                      <a:pt x="23" y="52"/>
                    </a:lnTo>
                    <a:lnTo>
                      <a:pt x="19" y="54"/>
                    </a:lnTo>
                    <a:lnTo>
                      <a:pt x="17" y="53"/>
                    </a:lnTo>
                    <a:lnTo>
                      <a:pt x="16" y="55"/>
                    </a:lnTo>
                    <a:lnTo>
                      <a:pt x="14" y="54"/>
                    </a:lnTo>
                    <a:lnTo>
                      <a:pt x="10" y="54"/>
                    </a:lnTo>
                    <a:lnTo>
                      <a:pt x="8" y="56"/>
                    </a:lnTo>
                    <a:lnTo>
                      <a:pt x="2" y="57"/>
                    </a:lnTo>
                    <a:lnTo>
                      <a:pt x="0" y="60"/>
                    </a:lnTo>
                    <a:lnTo>
                      <a:pt x="1" y="62"/>
                    </a:lnTo>
                    <a:lnTo>
                      <a:pt x="4" y="61"/>
                    </a:lnTo>
                    <a:lnTo>
                      <a:pt x="8" y="62"/>
                    </a:lnTo>
                    <a:lnTo>
                      <a:pt x="9" y="63"/>
                    </a:lnTo>
                    <a:lnTo>
                      <a:pt x="5" y="63"/>
                    </a:lnTo>
                    <a:lnTo>
                      <a:pt x="3" y="63"/>
                    </a:lnTo>
                    <a:lnTo>
                      <a:pt x="4" y="66"/>
                    </a:lnTo>
                    <a:lnTo>
                      <a:pt x="5" y="64"/>
                    </a:lnTo>
                    <a:lnTo>
                      <a:pt x="8" y="65"/>
                    </a:lnTo>
                    <a:lnTo>
                      <a:pt x="8" y="67"/>
                    </a:lnTo>
                    <a:lnTo>
                      <a:pt x="6" y="68"/>
                    </a:lnTo>
                    <a:lnTo>
                      <a:pt x="2" y="69"/>
                    </a:lnTo>
                    <a:lnTo>
                      <a:pt x="3" y="70"/>
                    </a:lnTo>
                    <a:lnTo>
                      <a:pt x="6" y="70"/>
                    </a:lnTo>
                    <a:lnTo>
                      <a:pt x="7" y="73"/>
                    </a:lnTo>
                    <a:lnTo>
                      <a:pt x="7" y="75"/>
                    </a:lnTo>
                    <a:lnTo>
                      <a:pt x="11" y="73"/>
                    </a:lnTo>
                    <a:lnTo>
                      <a:pt x="14" y="73"/>
                    </a:lnTo>
                    <a:lnTo>
                      <a:pt x="16" y="73"/>
                    </a:lnTo>
                    <a:lnTo>
                      <a:pt x="21" y="75"/>
                    </a:lnTo>
                    <a:lnTo>
                      <a:pt x="22" y="77"/>
                    </a:lnTo>
                    <a:lnTo>
                      <a:pt x="25" y="77"/>
                    </a:lnTo>
                    <a:lnTo>
                      <a:pt x="29" y="80"/>
                    </a:lnTo>
                    <a:lnTo>
                      <a:pt x="32" y="77"/>
                    </a:lnTo>
                    <a:lnTo>
                      <a:pt x="34" y="78"/>
                    </a:lnTo>
                    <a:lnTo>
                      <a:pt x="33" y="80"/>
                    </a:lnTo>
                    <a:lnTo>
                      <a:pt x="34" y="81"/>
                    </a:lnTo>
                    <a:lnTo>
                      <a:pt x="37" y="79"/>
                    </a:lnTo>
                    <a:lnTo>
                      <a:pt x="38" y="81"/>
                    </a:lnTo>
                    <a:lnTo>
                      <a:pt x="37" y="85"/>
                    </a:lnTo>
                    <a:lnTo>
                      <a:pt x="39" y="88"/>
                    </a:lnTo>
                    <a:lnTo>
                      <a:pt x="41" y="88"/>
                    </a:lnTo>
                    <a:lnTo>
                      <a:pt x="45" y="85"/>
                    </a:lnTo>
                    <a:lnTo>
                      <a:pt x="49" y="86"/>
                    </a:lnTo>
                    <a:lnTo>
                      <a:pt x="51" y="89"/>
                    </a:lnTo>
                    <a:lnTo>
                      <a:pt x="48" y="87"/>
                    </a:lnTo>
                    <a:lnTo>
                      <a:pt x="44" y="88"/>
                    </a:lnTo>
                    <a:lnTo>
                      <a:pt x="42" y="91"/>
                    </a:lnTo>
                    <a:lnTo>
                      <a:pt x="44" y="91"/>
                    </a:lnTo>
                    <a:lnTo>
                      <a:pt x="45" y="95"/>
                    </a:lnTo>
                    <a:lnTo>
                      <a:pt x="43" y="97"/>
                    </a:lnTo>
                    <a:lnTo>
                      <a:pt x="44" y="99"/>
                    </a:lnTo>
                    <a:lnTo>
                      <a:pt x="47" y="100"/>
                    </a:lnTo>
                    <a:lnTo>
                      <a:pt x="52" y="106"/>
                    </a:lnTo>
                    <a:lnTo>
                      <a:pt x="57" y="106"/>
                    </a:lnTo>
                    <a:lnTo>
                      <a:pt x="60" y="109"/>
                    </a:lnTo>
                    <a:lnTo>
                      <a:pt x="60" y="112"/>
                    </a:lnTo>
                    <a:lnTo>
                      <a:pt x="62" y="115"/>
                    </a:lnTo>
                    <a:lnTo>
                      <a:pt x="60" y="117"/>
                    </a:lnTo>
                    <a:lnTo>
                      <a:pt x="59" y="118"/>
                    </a:lnTo>
                    <a:lnTo>
                      <a:pt x="59" y="121"/>
                    </a:lnTo>
                    <a:lnTo>
                      <a:pt x="62" y="122"/>
                    </a:lnTo>
                    <a:lnTo>
                      <a:pt x="68" y="126"/>
                    </a:lnTo>
                    <a:lnTo>
                      <a:pt x="72" y="137"/>
                    </a:lnTo>
                    <a:lnTo>
                      <a:pt x="67" y="132"/>
                    </a:lnTo>
                    <a:lnTo>
                      <a:pt x="66" y="127"/>
                    </a:lnTo>
                    <a:lnTo>
                      <a:pt x="62" y="126"/>
                    </a:lnTo>
                    <a:lnTo>
                      <a:pt x="60" y="127"/>
                    </a:lnTo>
                    <a:lnTo>
                      <a:pt x="59" y="136"/>
                    </a:lnTo>
                    <a:lnTo>
                      <a:pt x="59" y="142"/>
                    </a:lnTo>
                    <a:lnTo>
                      <a:pt x="61" y="144"/>
                    </a:lnTo>
                    <a:lnTo>
                      <a:pt x="59" y="146"/>
                    </a:lnTo>
                    <a:lnTo>
                      <a:pt x="59" y="158"/>
                    </a:lnTo>
                    <a:lnTo>
                      <a:pt x="55" y="168"/>
                    </a:lnTo>
                    <a:lnTo>
                      <a:pt x="51" y="171"/>
                    </a:lnTo>
                    <a:lnTo>
                      <a:pt x="54" y="172"/>
                    </a:lnTo>
                    <a:lnTo>
                      <a:pt x="55" y="173"/>
                    </a:lnTo>
                    <a:lnTo>
                      <a:pt x="57" y="174"/>
                    </a:lnTo>
                    <a:lnTo>
                      <a:pt x="58" y="178"/>
                    </a:lnTo>
                    <a:lnTo>
                      <a:pt x="57" y="181"/>
                    </a:lnTo>
                    <a:lnTo>
                      <a:pt x="62" y="180"/>
                    </a:lnTo>
                    <a:lnTo>
                      <a:pt x="69" y="182"/>
                    </a:lnTo>
                    <a:lnTo>
                      <a:pt x="73" y="186"/>
                    </a:lnTo>
                    <a:lnTo>
                      <a:pt x="77" y="184"/>
                    </a:lnTo>
                    <a:lnTo>
                      <a:pt x="80" y="188"/>
                    </a:lnTo>
                    <a:lnTo>
                      <a:pt x="86" y="188"/>
                    </a:lnTo>
                    <a:lnTo>
                      <a:pt x="88" y="189"/>
                    </a:lnTo>
                    <a:lnTo>
                      <a:pt x="91" y="186"/>
                    </a:lnTo>
                    <a:lnTo>
                      <a:pt x="100" y="186"/>
                    </a:lnTo>
                    <a:lnTo>
                      <a:pt x="103" y="187"/>
                    </a:lnTo>
                    <a:lnTo>
                      <a:pt x="108" y="187"/>
                    </a:lnTo>
                    <a:lnTo>
                      <a:pt x="113" y="190"/>
                    </a:lnTo>
                    <a:lnTo>
                      <a:pt x="122" y="189"/>
                    </a:lnTo>
                    <a:lnTo>
                      <a:pt x="128" y="193"/>
                    </a:lnTo>
                    <a:lnTo>
                      <a:pt x="130" y="194"/>
                    </a:lnTo>
                    <a:lnTo>
                      <a:pt x="130" y="192"/>
                    </a:lnTo>
                    <a:lnTo>
                      <a:pt x="128" y="186"/>
                    </a:lnTo>
                    <a:lnTo>
                      <a:pt x="130" y="181"/>
                    </a:lnTo>
                    <a:lnTo>
                      <a:pt x="130" y="178"/>
                    </a:lnTo>
                    <a:lnTo>
                      <a:pt x="135" y="174"/>
                    </a:lnTo>
                    <a:lnTo>
                      <a:pt x="141" y="167"/>
                    </a:lnTo>
                    <a:lnTo>
                      <a:pt x="144" y="167"/>
                    </a:lnTo>
                    <a:lnTo>
                      <a:pt x="145" y="169"/>
                    </a:lnTo>
                    <a:lnTo>
                      <a:pt x="149" y="169"/>
                    </a:lnTo>
                    <a:lnTo>
                      <a:pt x="154" y="172"/>
                    </a:lnTo>
                    <a:lnTo>
                      <a:pt x="157" y="172"/>
                    </a:lnTo>
                    <a:lnTo>
                      <a:pt x="160" y="170"/>
                    </a:lnTo>
                    <a:lnTo>
                      <a:pt x="163" y="170"/>
                    </a:lnTo>
                    <a:lnTo>
                      <a:pt x="173" y="177"/>
                    </a:lnTo>
                    <a:lnTo>
                      <a:pt x="176" y="179"/>
                    </a:lnTo>
                    <a:lnTo>
                      <a:pt x="185" y="180"/>
                    </a:lnTo>
                    <a:lnTo>
                      <a:pt x="188" y="177"/>
                    </a:lnTo>
                    <a:lnTo>
                      <a:pt x="188" y="175"/>
                    </a:lnTo>
                    <a:lnTo>
                      <a:pt x="190" y="171"/>
                    </a:lnTo>
                    <a:lnTo>
                      <a:pt x="202" y="162"/>
                    </a:lnTo>
                    <a:lnTo>
                      <a:pt x="203" y="162"/>
                    </a:lnTo>
                    <a:lnTo>
                      <a:pt x="202" y="159"/>
                    </a:lnTo>
                    <a:lnTo>
                      <a:pt x="204" y="153"/>
                    </a:lnTo>
                    <a:lnTo>
                      <a:pt x="198" y="153"/>
                    </a:lnTo>
                    <a:lnTo>
                      <a:pt x="192" y="149"/>
                    </a:lnTo>
                    <a:lnTo>
                      <a:pt x="192" y="140"/>
                    </a:lnTo>
                    <a:lnTo>
                      <a:pt x="188" y="136"/>
                    </a:lnTo>
                    <a:lnTo>
                      <a:pt x="190" y="133"/>
                    </a:lnTo>
                    <a:lnTo>
                      <a:pt x="194" y="132"/>
                    </a:lnTo>
                    <a:lnTo>
                      <a:pt x="195" y="126"/>
                    </a:lnTo>
                    <a:lnTo>
                      <a:pt x="192" y="123"/>
                    </a:lnTo>
                    <a:lnTo>
                      <a:pt x="191" y="119"/>
                    </a:lnTo>
                    <a:lnTo>
                      <a:pt x="193" y="117"/>
                    </a:lnTo>
                    <a:lnTo>
                      <a:pt x="193" y="117"/>
                    </a:lnTo>
                    <a:lnTo>
                      <a:pt x="193" y="117"/>
                    </a:lnTo>
                    <a:lnTo>
                      <a:pt x="193" y="117"/>
                    </a:lnTo>
                    <a:close/>
                    <a:moveTo>
                      <a:pt x="231" y="215"/>
                    </a:moveTo>
                    <a:lnTo>
                      <a:pt x="226" y="212"/>
                    </a:lnTo>
                    <a:lnTo>
                      <a:pt x="225" y="211"/>
                    </a:lnTo>
                    <a:lnTo>
                      <a:pt x="227" y="209"/>
                    </a:lnTo>
                    <a:lnTo>
                      <a:pt x="228" y="209"/>
                    </a:lnTo>
                    <a:lnTo>
                      <a:pt x="227" y="207"/>
                    </a:lnTo>
                    <a:lnTo>
                      <a:pt x="226" y="207"/>
                    </a:lnTo>
                    <a:lnTo>
                      <a:pt x="226" y="205"/>
                    </a:lnTo>
                    <a:lnTo>
                      <a:pt x="223" y="203"/>
                    </a:lnTo>
                    <a:lnTo>
                      <a:pt x="222" y="202"/>
                    </a:lnTo>
                    <a:lnTo>
                      <a:pt x="223" y="202"/>
                    </a:lnTo>
                    <a:lnTo>
                      <a:pt x="223" y="200"/>
                    </a:lnTo>
                    <a:lnTo>
                      <a:pt x="221" y="199"/>
                    </a:lnTo>
                    <a:lnTo>
                      <a:pt x="220" y="196"/>
                    </a:lnTo>
                    <a:lnTo>
                      <a:pt x="222" y="196"/>
                    </a:lnTo>
                    <a:lnTo>
                      <a:pt x="223" y="194"/>
                    </a:lnTo>
                    <a:lnTo>
                      <a:pt x="221" y="193"/>
                    </a:lnTo>
                    <a:lnTo>
                      <a:pt x="223" y="188"/>
                    </a:lnTo>
                    <a:lnTo>
                      <a:pt x="229" y="186"/>
                    </a:lnTo>
                    <a:lnTo>
                      <a:pt x="231" y="184"/>
                    </a:lnTo>
                    <a:lnTo>
                      <a:pt x="233" y="186"/>
                    </a:lnTo>
                    <a:lnTo>
                      <a:pt x="234" y="186"/>
                    </a:lnTo>
                    <a:lnTo>
                      <a:pt x="235" y="183"/>
                    </a:lnTo>
                    <a:lnTo>
                      <a:pt x="234" y="181"/>
                    </a:lnTo>
                    <a:lnTo>
                      <a:pt x="234" y="178"/>
                    </a:lnTo>
                    <a:lnTo>
                      <a:pt x="236" y="178"/>
                    </a:lnTo>
                    <a:lnTo>
                      <a:pt x="237" y="183"/>
                    </a:lnTo>
                    <a:lnTo>
                      <a:pt x="237" y="187"/>
                    </a:lnTo>
                    <a:lnTo>
                      <a:pt x="239" y="195"/>
                    </a:lnTo>
                    <a:lnTo>
                      <a:pt x="237" y="203"/>
                    </a:lnTo>
                    <a:lnTo>
                      <a:pt x="237" y="207"/>
                    </a:lnTo>
                    <a:lnTo>
                      <a:pt x="235" y="213"/>
                    </a:lnTo>
                    <a:lnTo>
                      <a:pt x="231" y="215"/>
                    </a:lnTo>
                    <a:lnTo>
                      <a:pt x="231" y="215"/>
                    </a:lnTo>
                    <a:close/>
                  </a:path>
                </a:pathLst>
              </a:custGeom>
              <a:solidFill>
                <a:schemeClr val="accent4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682" name="Freeform 486"/>
              <p:cNvSpPr>
                <a:spLocks noEditPoints="1"/>
              </p:cNvSpPr>
              <p:nvPr userDrawn="1"/>
            </p:nvSpPr>
            <p:spPr bwMode="auto">
              <a:xfrm>
                <a:off x="3309" y="2092"/>
                <a:ext cx="227" cy="166"/>
              </a:xfrm>
              <a:custGeom>
                <a:avLst/>
                <a:gdLst>
                  <a:gd name="T0" fmla="*/ 139 w 238"/>
                  <a:gd name="T1" fmla="*/ 11 h 173"/>
                  <a:gd name="T2" fmla="*/ 141 w 238"/>
                  <a:gd name="T3" fmla="*/ 19 h 173"/>
                  <a:gd name="T4" fmla="*/ 158 w 238"/>
                  <a:gd name="T5" fmla="*/ 25 h 173"/>
                  <a:gd name="T6" fmla="*/ 172 w 238"/>
                  <a:gd name="T7" fmla="*/ 27 h 173"/>
                  <a:gd name="T8" fmla="*/ 186 w 238"/>
                  <a:gd name="T9" fmla="*/ 25 h 173"/>
                  <a:gd name="T10" fmla="*/ 200 w 238"/>
                  <a:gd name="T11" fmla="*/ 29 h 173"/>
                  <a:gd name="T12" fmla="*/ 218 w 238"/>
                  <a:gd name="T13" fmla="*/ 33 h 173"/>
                  <a:gd name="T14" fmla="*/ 216 w 238"/>
                  <a:gd name="T15" fmla="*/ 42 h 173"/>
                  <a:gd name="T16" fmla="*/ 207 w 238"/>
                  <a:gd name="T17" fmla="*/ 55 h 173"/>
                  <a:gd name="T18" fmla="*/ 190 w 238"/>
                  <a:gd name="T19" fmla="*/ 61 h 173"/>
                  <a:gd name="T20" fmla="*/ 183 w 238"/>
                  <a:gd name="T21" fmla="*/ 68 h 173"/>
                  <a:gd name="T22" fmla="*/ 179 w 238"/>
                  <a:gd name="T23" fmla="*/ 73 h 173"/>
                  <a:gd name="T24" fmla="*/ 172 w 238"/>
                  <a:gd name="T25" fmla="*/ 81 h 173"/>
                  <a:gd name="T26" fmla="*/ 158 w 238"/>
                  <a:gd name="T27" fmla="*/ 98 h 173"/>
                  <a:gd name="T28" fmla="*/ 165 w 238"/>
                  <a:gd name="T29" fmla="*/ 108 h 173"/>
                  <a:gd name="T30" fmla="*/ 159 w 238"/>
                  <a:gd name="T31" fmla="*/ 120 h 173"/>
                  <a:gd name="T32" fmla="*/ 153 w 238"/>
                  <a:gd name="T33" fmla="*/ 138 h 173"/>
                  <a:gd name="T34" fmla="*/ 146 w 238"/>
                  <a:gd name="T35" fmla="*/ 142 h 173"/>
                  <a:gd name="T36" fmla="*/ 130 w 238"/>
                  <a:gd name="T37" fmla="*/ 158 h 173"/>
                  <a:gd name="T38" fmla="*/ 121 w 238"/>
                  <a:gd name="T39" fmla="*/ 157 h 173"/>
                  <a:gd name="T40" fmla="*/ 111 w 238"/>
                  <a:gd name="T41" fmla="*/ 157 h 173"/>
                  <a:gd name="T42" fmla="*/ 96 w 238"/>
                  <a:gd name="T43" fmla="*/ 156 h 173"/>
                  <a:gd name="T44" fmla="*/ 80 w 238"/>
                  <a:gd name="T45" fmla="*/ 164 h 173"/>
                  <a:gd name="T46" fmla="*/ 70 w 238"/>
                  <a:gd name="T47" fmla="*/ 170 h 173"/>
                  <a:gd name="T48" fmla="*/ 52 w 238"/>
                  <a:gd name="T49" fmla="*/ 166 h 173"/>
                  <a:gd name="T50" fmla="*/ 41 w 238"/>
                  <a:gd name="T51" fmla="*/ 149 h 173"/>
                  <a:gd name="T52" fmla="*/ 33 w 238"/>
                  <a:gd name="T53" fmla="*/ 143 h 173"/>
                  <a:gd name="T54" fmla="*/ 39 w 238"/>
                  <a:gd name="T55" fmla="*/ 127 h 173"/>
                  <a:gd name="T56" fmla="*/ 33 w 238"/>
                  <a:gd name="T57" fmla="*/ 118 h 173"/>
                  <a:gd name="T58" fmla="*/ 34 w 238"/>
                  <a:gd name="T59" fmla="*/ 102 h 173"/>
                  <a:gd name="T60" fmla="*/ 37 w 238"/>
                  <a:gd name="T61" fmla="*/ 92 h 173"/>
                  <a:gd name="T62" fmla="*/ 43 w 238"/>
                  <a:gd name="T63" fmla="*/ 78 h 173"/>
                  <a:gd name="T64" fmla="*/ 50 w 238"/>
                  <a:gd name="T65" fmla="*/ 55 h 173"/>
                  <a:gd name="T66" fmla="*/ 50 w 238"/>
                  <a:gd name="T67" fmla="*/ 46 h 173"/>
                  <a:gd name="T68" fmla="*/ 36 w 238"/>
                  <a:gd name="T69" fmla="*/ 44 h 173"/>
                  <a:gd name="T70" fmla="*/ 18 w 238"/>
                  <a:gd name="T71" fmla="*/ 42 h 173"/>
                  <a:gd name="T72" fmla="*/ 7 w 238"/>
                  <a:gd name="T73" fmla="*/ 39 h 173"/>
                  <a:gd name="T74" fmla="*/ 8 w 238"/>
                  <a:gd name="T75" fmla="*/ 33 h 173"/>
                  <a:gd name="T76" fmla="*/ 9 w 238"/>
                  <a:gd name="T77" fmla="*/ 26 h 173"/>
                  <a:gd name="T78" fmla="*/ 6 w 238"/>
                  <a:gd name="T79" fmla="*/ 23 h 173"/>
                  <a:gd name="T80" fmla="*/ 2 w 238"/>
                  <a:gd name="T81" fmla="*/ 21 h 173"/>
                  <a:gd name="T82" fmla="*/ 10 w 238"/>
                  <a:gd name="T83" fmla="*/ 10 h 173"/>
                  <a:gd name="T84" fmla="*/ 21 w 238"/>
                  <a:gd name="T85" fmla="*/ 9 h 173"/>
                  <a:gd name="T86" fmla="*/ 25 w 238"/>
                  <a:gd name="T87" fmla="*/ 1 h 173"/>
                  <a:gd name="T88" fmla="*/ 34 w 238"/>
                  <a:gd name="T89" fmla="*/ 1 h 173"/>
                  <a:gd name="T90" fmla="*/ 45 w 238"/>
                  <a:gd name="T91" fmla="*/ 3 h 173"/>
                  <a:gd name="T92" fmla="*/ 61 w 238"/>
                  <a:gd name="T93" fmla="*/ 1 h 173"/>
                  <a:gd name="T94" fmla="*/ 81 w 238"/>
                  <a:gd name="T95" fmla="*/ 8 h 173"/>
                  <a:gd name="T96" fmla="*/ 103 w 238"/>
                  <a:gd name="T97" fmla="*/ 6 h 173"/>
                  <a:gd name="T98" fmla="*/ 115 w 238"/>
                  <a:gd name="T99" fmla="*/ 7 h 173"/>
                  <a:gd name="T100" fmla="*/ 131 w 238"/>
                  <a:gd name="T101" fmla="*/ 10 h 173"/>
                  <a:gd name="T102" fmla="*/ 228 w 238"/>
                  <a:gd name="T103" fmla="*/ 90 h 173"/>
                  <a:gd name="T104" fmla="*/ 238 w 238"/>
                  <a:gd name="T105" fmla="*/ 90 h 173"/>
                  <a:gd name="T106" fmla="*/ 228 w 238"/>
                  <a:gd name="T107" fmla="*/ 90 h 173"/>
                  <a:gd name="T108" fmla="*/ 223 w 238"/>
                  <a:gd name="T109" fmla="*/ 94 h 173"/>
                  <a:gd name="T110" fmla="*/ 211 w 238"/>
                  <a:gd name="T111" fmla="*/ 95 h 173"/>
                  <a:gd name="T112" fmla="*/ 217 w 238"/>
                  <a:gd name="T113" fmla="*/ 102 h 173"/>
                  <a:gd name="T114" fmla="*/ 198 w 238"/>
                  <a:gd name="T115" fmla="*/ 110 h 173"/>
                  <a:gd name="T116" fmla="*/ 190 w 238"/>
                  <a:gd name="T117" fmla="*/ 112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38" h="173">
                    <a:moveTo>
                      <a:pt x="135" y="9"/>
                    </a:moveTo>
                    <a:cubicBezTo>
                      <a:pt x="138" y="10"/>
                      <a:pt x="138" y="10"/>
                      <a:pt x="138" y="10"/>
                    </a:cubicBezTo>
                    <a:cubicBezTo>
                      <a:pt x="139" y="11"/>
                      <a:pt x="139" y="11"/>
                      <a:pt x="139" y="11"/>
                    </a:cubicBezTo>
                    <a:cubicBezTo>
                      <a:pt x="141" y="12"/>
                      <a:pt x="141" y="12"/>
                      <a:pt x="141" y="12"/>
                    </a:cubicBezTo>
                    <a:cubicBezTo>
                      <a:pt x="142" y="16"/>
                      <a:pt x="142" y="16"/>
                      <a:pt x="142" y="16"/>
                    </a:cubicBezTo>
                    <a:cubicBezTo>
                      <a:pt x="141" y="19"/>
                      <a:pt x="141" y="19"/>
                      <a:pt x="141" y="19"/>
                    </a:cubicBezTo>
                    <a:cubicBezTo>
                      <a:pt x="147" y="18"/>
                      <a:pt x="147" y="18"/>
                      <a:pt x="147" y="18"/>
                    </a:cubicBezTo>
                    <a:cubicBezTo>
                      <a:pt x="154" y="21"/>
                      <a:pt x="154" y="21"/>
                      <a:pt x="154" y="21"/>
                    </a:cubicBezTo>
                    <a:cubicBezTo>
                      <a:pt x="158" y="25"/>
                      <a:pt x="158" y="25"/>
                      <a:pt x="158" y="25"/>
                    </a:cubicBezTo>
                    <a:cubicBezTo>
                      <a:pt x="162" y="23"/>
                      <a:pt x="162" y="23"/>
                      <a:pt x="162" y="23"/>
                    </a:cubicBezTo>
                    <a:cubicBezTo>
                      <a:pt x="166" y="27"/>
                      <a:pt x="166" y="27"/>
                      <a:pt x="166" y="27"/>
                    </a:cubicBezTo>
                    <a:cubicBezTo>
                      <a:pt x="172" y="27"/>
                      <a:pt x="172" y="27"/>
                      <a:pt x="172" y="27"/>
                    </a:cubicBezTo>
                    <a:cubicBezTo>
                      <a:pt x="174" y="28"/>
                      <a:pt x="174" y="28"/>
                      <a:pt x="174" y="28"/>
                    </a:cubicBezTo>
                    <a:cubicBezTo>
                      <a:pt x="177" y="25"/>
                      <a:pt x="177" y="25"/>
                      <a:pt x="177" y="25"/>
                    </a:cubicBezTo>
                    <a:cubicBezTo>
                      <a:pt x="186" y="25"/>
                      <a:pt x="186" y="25"/>
                      <a:pt x="186" y="25"/>
                    </a:cubicBezTo>
                    <a:cubicBezTo>
                      <a:pt x="190" y="26"/>
                      <a:pt x="190" y="26"/>
                      <a:pt x="190" y="26"/>
                    </a:cubicBezTo>
                    <a:cubicBezTo>
                      <a:pt x="195" y="26"/>
                      <a:pt x="195" y="26"/>
                      <a:pt x="195" y="26"/>
                    </a:cubicBezTo>
                    <a:cubicBezTo>
                      <a:pt x="200" y="29"/>
                      <a:pt x="200" y="29"/>
                      <a:pt x="200" y="29"/>
                    </a:cubicBezTo>
                    <a:cubicBezTo>
                      <a:pt x="209" y="28"/>
                      <a:pt x="209" y="28"/>
                      <a:pt x="209" y="28"/>
                    </a:cubicBezTo>
                    <a:cubicBezTo>
                      <a:pt x="216" y="32"/>
                      <a:pt x="216" y="32"/>
                      <a:pt x="216" y="32"/>
                    </a:cubicBezTo>
                    <a:cubicBezTo>
                      <a:pt x="218" y="33"/>
                      <a:pt x="218" y="33"/>
                      <a:pt x="218" y="33"/>
                    </a:cubicBezTo>
                    <a:cubicBezTo>
                      <a:pt x="218" y="35"/>
                      <a:pt x="218" y="35"/>
                      <a:pt x="218" y="35"/>
                    </a:cubicBezTo>
                    <a:cubicBezTo>
                      <a:pt x="215" y="37"/>
                      <a:pt x="215" y="37"/>
                      <a:pt x="215" y="37"/>
                    </a:cubicBezTo>
                    <a:cubicBezTo>
                      <a:pt x="216" y="42"/>
                      <a:pt x="216" y="42"/>
                      <a:pt x="216" y="42"/>
                    </a:cubicBezTo>
                    <a:cubicBezTo>
                      <a:pt x="216" y="47"/>
                      <a:pt x="216" y="47"/>
                      <a:pt x="216" y="47"/>
                    </a:cubicBezTo>
                    <a:cubicBezTo>
                      <a:pt x="214" y="51"/>
                      <a:pt x="214" y="51"/>
                      <a:pt x="214" y="51"/>
                    </a:cubicBezTo>
                    <a:cubicBezTo>
                      <a:pt x="207" y="55"/>
                      <a:pt x="207" y="55"/>
                      <a:pt x="207" y="55"/>
                    </a:cubicBezTo>
                    <a:cubicBezTo>
                      <a:pt x="207" y="55"/>
                      <a:pt x="204" y="59"/>
                      <a:pt x="203" y="59"/>
                    </a:cubicBezTo>
                    <a:cubicBezTo>
                      <a:pt x="197" y="61"/>
                      <a:pt x="197" y="61"/>
                      <a:pt x="197" y="61"/>
                    </a:cubicBezTo>
                    <a:cubicBezTo>
                      <a:pt x="190" y="61"/>
                      <a:pt x="190" y="61"/>
                      <a:pt x="190" y="61"/>
                    </a:cubicBezTo>
                    <a:cubicBezTo>
                      <a:pt x="185" y="64"/>
                      <a:pt x="185" y="64"/>
                      <a:pt x="185" y="64"/>
                    </a:cubicBezTo>
                    <a:cubicBezTo>
                      <a:pt x="181" y="66"/>
                      <a:pt x="181" y="66"/>
                      <a:pt x="181" y="66"/>
                    </a:cubicBezTo>
                    <a:cubicBezTo>
                      <a:pt x="183" y="68"/>
                      <a:pt x="183" y="68"/>
                      <a:pt x="183" y="68"/>
                    </a:cubicBezTo>
                    <a:cubicBezTo>
                      <a:pt x="182" y="72"/>
                      <a:pt x="182" y="72"/>
                      <a:pt x="182" y="72"/>
                    </a:cubicBezTo>
                    <a:cubicBezTo>
                      <a:pt x="179" y="74"/>
                      <a:pt x="179" y="74"/>
                      <a:pt x="179" y="74"/>
                    </a:cubicBezTo>
                    <a:cubicBezTo>
                      <a:pt x="179" y="73"/>
                      <a:pt x="179" y="73"/>
                      <a:pt x="179" y="73"/>
                    </a:cubicBezTo>
                    <a:cubicBezTo>
                      <a:pt x="179" y="73"/>
                      <a:pt x="179" y="73"/>
                      <a:pt x="179" y="73"/>
                    </a:cubicBezTo>
                    <a:cubicBezTo>
                      <a:pt x="177" y="72"/>
                      <a:pt x="177" y="72"/>
                      <a:pt x="177" y="72"/>
                    </a:cubicBezTo>
                    <a:cubicBezTo>
                      <a:pt x="172" y="81"/>
                      <a:pt x="172" y="81"/>
                      <a:pt x="172" y="81"/>
                    </a:cubicBezTo>
                    <a:cubicBezTo>
                      <a:pt x="168" y="83"/>
                      <a:pt x="168" y="83"/>
                      <a:pt x="168" y="83"/>
                    </a:cubicBezTo>
                    <a:cubicBezTo>
                      <a:pt x="160" y="95"/>
                      <a:pt x="160" y="95"/>
                      <a:pt x="160" y="95"/>
                    </a:cubicBezTo>
                    <a:cubicBezTo>
                      <a:pt x="158" y="98"/>
                      <a:pt x="158" y="98"/>
                      <a:pt x="158" y="98"/>
                    </a:cubicBezTo>
                    <a:cubicBezTo>
                      <a:pt x="162" y="103"/>
                      <a:pt x="162" y="103"/>
                      <a:pt x="162" y="103"/>
                    </a:cubicBezTo>
                    <a:cubicBezTo>
                      <a:pt x="162" y="107"/>
                      <a:pt x="162" y="107"/>
                      <a:pt x="162" y="107"/>
                    </a:cubicBezTo>
                    <a:cubicBezTo>
                      <a:pt x="165" y="108"/>
                      <a:pt x="165" y="108"/>
                      <a:pt x="165" y="108"/>
                    </a:cubicBezTo>
                    <a:cubicBezTo>
                      <a:pt x="170" y="115"/>
                      <a:pt x="170" y="115"/>
                      <a:pt x="170" y="115"/>
                    </a:cubicBezTo>
                    <a:cubicBezTo>
                      <a:pt x="166" y="118"/>
                      <a:pt x="166" y="118"/>
                      <a:pt x="166" y="118"/>
                    </a:cubicBezTo>
                    <a:cubicBezTo>
                      <a:pt x="159" y="120"/>
                      <a:pt x="159" y="120"/>
                      <a:pt x="159" y="120"/>
                    </a:cubicBezTo>
                    <a:cubicBezTo>
                      <a:pt x="160" y="124"/>
                      <a:pt x="160" y="124"/>
                      <a:pt x="160" y="124"/>
                    </a:cubicBezTo>
                    <a:cubicBezTo>
                      <a:pt x="154" y="133"/>
                      <a:pt x="154" y="133"/>
                      <a:pt x="154" y="133"/>
                    </a:cubicBezTo>
                    <a:cubicBezTo>
                      <a:pt x="153" y="138"/>
                      <a:pt x="153" y="138"/>
                      <a:pt x="153" y="138"/>
                    </a:cubicBezTo>
                    <a:cubicBezTo>
                      <a:pt x="154" y="140"/>
                      <a:pt x="154" y="140"/>
                      <a:pt x="154" y="140"/>
                    </a:cubicBezTo>
                    <a:cubicBezTo>
                      <a:pt x="153" y="142"/>
                      <a:pt x="153" y="142"/>
                      <a:pt x="153" y="142"/>
                    </a:cubicBezTo>
                    <a:cubicBezTo>
                      <a:pt x="146" y="142"/>
                      <a:pt x="146" y="142"/>
                      <a:pt x="146" y="142"/>
                    </a:cubicBezTo>
                    <a:cubicBezTo>
                      <a:pt x="135" y="148"/>
                      <a:pt x="135" y="148"/>
                      <a:pt x="135" y="148"/>
                    </a:cubicBezTo>
                    <a:cubicBezTo>
                      <a:pt x="135" y="151"/>
                      <a:pt x="135" y="151"/>
                      <a:pt x="135" y="151"/>
                    </a:cubicBezTo>
                    <a:cubicBezTo>
                      <a:pt x="130" y="158"/>
                      <a:pt x="130" y="158"/>
                      <a:pt x="130" y="158"/>
                    </a:cubicBezTo>
                    <a:cubicBezTo>
                      <a:pt x="126" y="157"/>
                      <a:pt x="126" y="157"/>
                      <a:pt x="126" y="157"/>
                    </a:cubicBezTo>
                    <a:cubicBezTo>
                      <a:pt x="122" y="153"/>
                      <a:pt x="122" y="153"/>
                      <a:pt x="122" y="153"/>
                    </a:cubicBezTo>
                    <a:cubicBezTo>
                      <a:pt x="121" y="157"/>
                      <a:pt x="121" y="157"/>
                      <a:pt x="121" y="157"/>
                    </a:cubicBezTo>
                    <a:cubicBezTo>
                      <a:pt x="117" y="159"/>
                      <a:pt x="117" y="159"/>
                      <a:pt x="117" y="159"/>
                    </a:cubicBezTo>
                    <a:cubicBezTo>
                      <a:pt x="114" y="157"/>
                      <a:pt x="114" y="157"/>
                      <a:pt x="114" y="157"/>
                    </a:cubicBezTo>
                    <a:cubicBezTo>
                      <a:pt x="111" y="157"/>
                      <a:pt x="111" y="157"/>
                      <a:pt x="111" y="157"/>
                    </a:cubicBezTo>
                    <a:cubicBezTo>
                      <a:pt x="110" y="158"/>
                      <a:pt x="110" y="158"/>
                      <a:pt x="110" y="158"/>
                    </a:cubicBezTo>
                    <a:cubicBezTo>
                      <a:pt x="104" y="158"/>
                      <a:pt x="104" y="158"/>
                      <a:pt x="104" y="158"/>
                    </a:cubicBezTo>
                    <a:cubicBezTo>
                      <a:pt x="96" y="156"/>
                      <a:pt x="96" y="156"/>
                      <a:pt x="96" y="156"/>
                    </a:cubicBezTo>
                    <a:cubicBezTo>
                      <a:pt x="93" y="157"/>
                      <a:pt x="93" y="157"/>
                      <a:pt x="93" y="157"/>
                    </a:cubicBezTo>
                    <a:cubicBezTo>
                      <a:pt x="86" y="158"/>
                      <a:pt x="86" y="158"/>
                      <a:pt x="86" y="158"/>
                    </a:cubicBezTo>
                    <a:cubicBezTo>
                      <a:pt x="80" y="164"/>
                      <a:pt x="80" y="164"/>
                      <a:pt x="80" y="164"/>
                    </a:cubicBezTo>
                    <a:cubicBezTo>
                      <a:pt x="73" y="165"/>
                      <a:pt x="73" y="165"/>
                      <a:pt x="73" y="165"/>
                    </a:cubicBezTo>
                    <a:cubicBezTo>
                      <a:pt x="71" y="167"/>
                      <a:pt x="71" y="167"/>
                      <a:pt x="71" y="167"/>
                    </a:cubicBezTo>
                    <a:cubicBezTo>
                      <a:pt x="70" y="170"/>
                      <a:pt x="70" y="170"/>
                      <a:pt x="70" y="170"/>
                    </a:cubicBezTo>
                    <a:cubicBezTo>
                      <a:pt x="65" y="173"/>
                      <a:pt x="65" y="173"/>
                      <a:pt x="65" y="173"/>
                    </a:cubicBezTo>
                    <a:cubicBezTo>
                      <a:pt x="59" y="172"/>
                      <a:pt x="59" y="172"/>
                      <a:pt x="59" y="172"/>
                    </a:cubicBezTo>
                    <a:cubicBezTo>
                      <a:pt x="52" y="166"/>
                      <a:pt x="52" y="166"/>
                      <a:pt x="52" y="166"/>
                    </a:cubicBezTo>
                    <a:cubicBezTo>
                      <a:pt x="49" y="157"/>
                      <a:pt x="49" y="157"/>
                      <a:pt x="49" y="157"/>
                    </a:cubicBezTo>
                    <a:cubicBezTo>
                      <a:pt x="49" y="156"/>
                      <a:pt x="49" y="156"/>
                      <a:pt x="49" y="156"/>
                    </a:cubicBezTo>
                    <a:cubicBezTo>
                      <a:pt x="41" y="149"/>
                      <a:pt x="41" y="149"/>
                      <a:pt x="41" y="149"/>
                    </a:cubicBezTo>
                    <a:cubicBezTo>
                      <a:pt x="36" y="148"/>
                      <a:pt x="36" y="148"/>
                      <a:pt x="36" y="148"/>
                    </a:cubicBezTo>
                    <a:cubicBezTo>
                      <a:pt x="33" y="147"/>
                      <a:pt x="33" y="147"/>
                      <a:pt x="33" y="147"/>
                    </a:cubicBezTo>
                    <a:cubicBezTo>
                      <a:pt x="33" y="143"/>
                      <a:pt x="33" y="143"/>
                      <a:pt x="33" y="143"/>
                    </a:cubicBezTo>
                    <a:cubicBezTo>
                      <a:pt x="30" y="139"/>
                      <a:pt x="30" y="139"/>
                      <a:pt x="30" y="139"/>
                    </a:cubicBezTo>
                    <a:cubicBezTo>
                      <a:pt x="34" y="131"/>
                      <a:pt x="34" y="131"/>
                      <a:pt x="34" y="131"/>
                    </a:cubicBezTo>
                    <a:cubicBezTo>
                      <a:pt x="39" y="127"/>
                      <a:pt x="39" y="127"/>
                      <a:pt x="39" y="127"/>
                    </a:cubicBezTo>
                    <a:cubicBezTo>
                      <a:pt x="39" y="124"/>
                      <a:pt x="39" y="124"/>
                      <a:pt x="39" y="124"/>
                    </a:cubicBezTo>
                    <a:cubicBezTo>
                      <a:pt x="35" y="123"/>
                      <a:pt x="35" y="123"/>
                      <a:pt x="35" y="123"/>
                    </a:cubicBezTo>
                    <a:cubicBezTo>
                      <a:pt x="33" y="118"/>
                      <a:pt x="33" y="118"/>
                      <a:pt x="33" y="118"/>
                    </a:cubicBezTo>
                    <a:cubicBezTo>
                      <a:pt x="39" y="112"/>
                      <a:pt x="39" y="112"/>
                      <a:pt x="39" y="112"/>
                    </a:cubicBezTo>
                    <a:cubicBezTo>
                      <a:pt x="38" y="105"/>
                      <a:pt x="38" y="105"/>
                      <a:pt x="38" y="105"/>
                    </a:cubicBezTo>
                    <a:cubicBezTo>
                      <a:pt x="34" y="102"/>
                      <a:pt x="34" y="102"/>
                      <a:pt x="34" y="102"/>
                    </a:cubicBezTo>
                    <a:cubicBezTo>
                      <a:pt x="29" y="93"/>
                      <a:pt x="29" y="93"/>
                      <a:pt x="29" y="93"/>
                    </a:cubicBezTo>
                    <a:cubicBezTo>
                      <a:pt x="34" y="92"/>
                      <a:pt x="34" y="92"/>
                      <a:pt x="34" y="92"/>
                    </a:cubicBezTo>
                    <a:cubicBezTo>
                      <a:pt x="37" y="92"/>
                      <a:pt x="37" y="92"/>
                      <a:pt x="37" y="92"/>
                    </a:cubicBezTo>
                    <a:cubicBezTo>
                      <a:pt x="42" y="86"/>
                      <a:pt x="42" y="86"/>
                      <a:pt x="42" y="86"/>
                    </a:cubicBezTo>
                    <a:cubicBezTo>
                      <a:pt x="39" y="82"/>
                      <a:pt x="39" y="82"/>
                      <a:pt x="39" y="82"/>
                    </a:cubicBezTo>
                    <a:cubicBezTo>
                      <a:pt x="43" y="78"/>
                      <a:pt x="43" y="78"/>
                      <a:pt x="43" y="78"/>
                    </a:cubicBezTo>
                    <a:cubicBezTo>
                      <a:pt x="43" y="67"/>
                      <a:pt x="43" y="67"/>
                      <a:pt x="43" y="67"/>
                    </a:cubicBezTo>
                    <a:cubicBezTo>
                      <a:pt x="42" y="62"/>
                      <a:pt x="42" y="62"/>
                      <a:pt x="42" y="62"/>
                    </a:cubicBezTo>
                    <a:cubicBezTo>
                      <a:pt x="50" y="55"/>
                      <a:pt x="50" y="55"/>
                      <a:pt x="50" y="55"/>
                    </a:cubicBezTo>
                    <a:cubicBezTo>
                      <a:pt x="52" y="55"/>
                      <a:pt x="52" y="55"/>
                      <a:pt x="52" y="55"/>
                    </a:cubicBezTo>
                    <a:cubicBezTo>
                      <a:pt x="54" y="51"/>
                      <a:pt x="54" y="51"/>
                      <a:pt x="54" y="51"/>
                    </a:cubicBezTo>
                    <a:cubicBezTo>
                      <a:pt x="50" y="46"/>
                      <a:pt x="50" y="46"/>
                      <a:pt x="50" y="46"/>
                    </a:cubicBezTo>
                    <a:cubicBezTo>
                      <a:pt x="49" y="41"/>
                      <a:pt x="49" y="41"/>
                      <a:pt x="49" y="41"/>
                    </a:cubicBezTo>
                    <a:cubicBezTo>
                      <a:pt x="40" y="40"/>
                      <a:pt x="40" y="40"/>
                      <a:pt x="40" y="40"/>
                    </a:cubicBezTo>
                    <a:cubicBezTo>
                      <a:pt x="36" y="44"/>
                      <a:pt x="36" y="44"/>
                      <a:pt x="36" y="44"/>
                    </a:cubicBezTo>
                    <a:cubicBezTo>
                      <a:pt x="26" y="42"/>
                      <a:pt x="26" y="42"/>
                      <a:pt x="26" y="42"/>
                    </a:cubicBezTo>
                    <a:cubicBezTo>
                      <a:pt x="19" y="45"/>
                      <a:pt x="19" y="45"/>
                      <a:pt x="19" y="45"/>
                    </a:cubicBezTo>
                    <a:cubicBezTo>
                      <a:pt x="18" y="42"/>
                      <a:pt x="18" y="42"/>
                      <a:pt x="18" y="42"/>
                    </a:cubicBezTo>
                    <a:cubicBezTo>
                      <a:pt x="18" y="38"/>
                      <a:pt x="18" y="38"/>
                      <a:pt x="18" y="38"/>
                    </a:cubicBezTo>
                    <a:cubicBezTo>
                      <a:pt x="15" y="37"/>
                      <a:pt x="15" y="37"/>
                      <a:pt x="15" y="37"/>
                    </a:cubicBezTo>
                    <a:cubicBezTo>
                      <a:pt x="7" y="39"/>
                      <a:pt x="7" y="39"/>
                      <a:pt x="7" y="39"/>
                    </a:cubicBezTo>
                    <a:cubicBezTo>
                      <a:pt x="6" y="38"/>
                      <a:pt x="6" y="38"/>
                      <a:pt x="6" y="38"/>
                    </a:cubicBezTo>
                    <a:cubicBezTo>
                      <a:pt x="11" y="34"/>
                      <a:pt x="11" y="34"/>
                      <a:pt x="11" y="34"/>
                    </a:cubicBezTo>
                    <a:cubicBezTo>
                      <a:pt x="8" y="33"/>
                      <a:pt x="8" y="33"/>
                      <a:pt x="8" y="33"/>
                    </a:cubicBezTo>
                    <a:cubicBezTo>
                      <a:pt x="10" y="31"/>
                      <a:pt x="10" y="31"/>
                      <a:pt x="10" y="31"/>
                    </a:cubicBezTo>
                    <a:cubicBezTo>
                      <a:pt x="9" y="30"/>
                      <a:pt x="9" y="30"/>
                      <a:pt x="9" y="30"/>
                    </a:cubicBezTo>
                    <a:cubicBezTo>
                      <a:pt x="9" y="26"/>
                      <a:pt x="9" y="26"/>
                      <a:pt x="9" y="26"/>
                    </a:cubicBezTo>
                    <a:cubicBezTo>
                      <a:pt x="6" y="29"/>
                      <a:pt x="6" y="29"/>
                      <a:pt x="6" y="29"/>
                    </a:cubicBezTo>
                    <a:cubicBezTo>
                      <a:pt x="5" y="28"/>
                      <a:pt x="5" y="28"/>
                      <a:pt x="5" y="28"/>
                    </a:cubicBezTo>
                    <a:cubicBezTo>
                      <a:pt x="6" y="23"/>
                      <a:pt x="6" y="23"/>
                      <a:pt x="6" y="23"/>
                    </a:cubicBezTo>
                    <a:cubicBezTo>
                      <a:pt x="4" y="22"/>
                      <a:pt x="4" y="22"/>
                      <a:pt x="4" y="22"/>
                    </a:cubicBezTo>
                    <a:cubicBezTo>
                      <a:pt x="4" y="20"/>
                      <a:pt x="4" y="20"/>
                      <a:pt x="4" y="20"/>
                    </a:cubicBezTo>
                    <a:cubicBezTo>
                      <a:pt x="2" y="21"/>
                      <a:pt x="2" y="21"/>
                      <a:pt x="2" y="21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10" y="10"/>
                      <a:pt x="10" y="10"/>
                      <a:pt x="10" y="10"/>
                    </a:cubicBezTo>
                    <a:cubicBezTo>
                      <a:pt x="12" y="11"/>
                      <a:pt x="12" y="11"/>
                      <a:pt x="12" y="11"/>
                    </a:cubicBezTo>
                    <a:cubicBezTo>
                      <a:pt x="18" y="11"/>
                      <a:pt x="18" y="11"/>
                      <a:pt x="18" y="11"/>
                    </a:cubicBezTo>
                    <a:cubicBezTo>
                      <a:pt x="21" y="9"/>
                      <a:pt x="21" y="9"/>
                      <a:pt x="21" y="9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8" y="5"/>
                      <a:pt x="18" y="5"/>
                      <a:pt x="18" y="5"/>
                    </a:cubicBezTo>
                    <a:cubicBezTo>
                      <a:pt x="25" y="1"/>
                      <a:pt x="25" y="1"/>
                      <a:pt x="25" y="1"/>
                    </a:cubicBezTo>
                    <a:cubicBezTo>
                      <a:pt x="26" y="2"/>
                      <a:pt x="26" y="2"/>
                      <a:pt x="26" y="2"/>
                    </a:cubicBezTo>
                    <a:cubicBezTo>
                      <a:pt x="29" y="0"/>
                      <a:pt x="29" y="0"/>
                      <a:pt x="29" y="0"/>
                    </a:cubicBezTo>
                    <a:cubicBezTo>
                      <a:pt x="34" y="1"/>
                      <a:pt x="34" y="1"/>
                      <a:pt x="34" y="1"/>
                    </a:cubicBezTo>
                    <a:cubicBezTo>
                      <a:pt x="38" y="6"/>
                      <a:pt x="38" y="6"/>
                      <a:pt x="38" y="6"/>
                    </a:cubicBezTo>
                    <a:cubicBezTo>
                      <a:pt x="42" y="3"/>
                      <a:pt x="42" y="3"/>
                      <a:pt x="42" y="3"/>
                    </a:cubicBezTo>
                    <a:cubicBezTo>
                      <a:pt x="45" y="3"/>
                      <a:pt x="45" y="3"/>
                      <a:pt x="45" y="3"/>
                    </a:cubicBezTo>
                    <a:cubicBezTo>
                      <a:pt x="50" y="5"/>
                      <a:pt x="50" y="5"/>
                      <a:pt x="50" y="5"/>
                    </a:cubicBezTo>
                    <a:cubicBezTo>
                      <a:pt x="55" y="3"/>
                      <a:pt x="55" y="3"/>
                      <a:pt x="55" y="3"/>
                    </a:cubicBezTo>
                    <a:cubicBezTo>
                      <a:pt x="61" y="1"/>
                      <a:pt x="61" y="1"/>
                      <a:pt x="61" y="1"/>
                    </a:cubicBezTo>
                    <a:cubicBezTo>
                      <a:pt x="62" y="3"/>
                      <a:pt x="62" y="3"/>
                      <a:pt x="62" y="3"/>
                    </a:cubicBezTo>
                    <a:cubicBezTo>
                      <a:pt x="67" y="6"/>
                      <a:pt x="67" y="6"/>
                      <a:pt x="67" y="6"/>
                    </a:cubicBezTo>
                    <a:cubicBezTo>
                      <a:pt x="81" y="8"/>
                      <a:pt x="81" y="8"/>
                      <a:pt x="81" y="8"/>
                    </a:cubicBezTo>
                    <a:cubicBezTo>
                      <a:pt x="87" y="9"/>
                      <a:pt x="87" y="9"/>
                      <a:pt x="87" y="9"/>
                    </a:cubicBezTo>
                    <a:cubicBezTo>
                      <a:pt x="97" y="5"/>
                      <a:pt x="97" y="5"/>
                      <a:pt x="97" y="5"/>
                    </a:cubicBezTo>
                    <a:cubicBezTo>
                      <a:pt x="103" y="6"/>
                      <a:pt x="103" y="6"/>
                      <a:pt x="103" y="6"/>
                    </a:cubicBezTo>
                    <a:cubicBezTo>
                      <a:pt x="105" y="9"/>
                      <a:pt x="105" y="9"/>
                      <a:pt x="105" y="9"/>
                    </a:cubicBezTo>
                    <a:cubicBezTo>
                      <a:pt x="112" y="10"/>
                      <a:pt x="112" y="10"/>
                      <a:pt x="112" y="10"/>
                    </a:cubicBezTo>
                    <a:cubicBezTo>
                      <a:pt x="115" y="7"/>
                      <a:pt x="115" y="7"/>
                      <a:pt x="115" y="7"/>
                    </a:cubicBezTo>
                    <a:cubicBezTo>
                      <a:pt x="118" y="7"/>
                      <a:pt x="118" y="7"/>
                      <a:pt x="118" y="7"/>
                    </a:cubicBezTo>
                    <a:cubicBezTo>
                      <a:pt x="129" y="13"/>
                      <a:pt x="129" y="13"/>
                      <a:pt x="129" y="13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3" y="10"/>
                      <a:pt x="133" y="10"/>
                      <a:pt x="133" y="10"/>
                    </a:cubicBezTo>
                    <a:cubicBezTo>
                      <a:pt x="135" y="9"/>
                      <a:pt x="135" y="9"/>
                      <a:pt x="135" y="9"/>
                    </a:cubicBezTo>
                    <a:close/>
                    <a:moveTo>
                      <a:pt x="228" y="90"/>
                    </a:moveTo>
                    <a:cubicBezTo>
                      <a:pt x="234" y="90"/>
                      <a:pt x="234" y="90"/>
                      <a:pt x="234" y="90"/>
                    </a:cubicBezTo>
                    <a:cubicBezTo>
                      <a:pt x="237" y="92"/>
                      <a:pt x="237" y="92"/>
                      <a:pt x="237" y="92"/>
                    </a:cubicBezTo>
                    <a:cubicBezTo>
                      <a:pt x="238" y="90"/>
                      <a:pt x="238" y="90"/>
                      <a:pt x="238" y="90"/>
                    </a:cubicBezTo>
                    <a:cubicBezTo>
                      <a:pt x="234" y="86"/>
                      <a:pt x="234" y="86"/>
                      <a:pt x="234" y="86"/>
                    </a:cubicBezTo>
                    <a:cubicBezTo>
                      <a:pt x="229" y="87"/>
                      <a:pt x="229" y="87"/>
                      <a:pt x="229" y="87"/>
                    </a:cubicBezTo>
                    <a:cubicBezTo>
                      <a:pt x="228" y="90"/>
                      <a:pt x="228" y="90"/>
                      <a:pt x="228" y="90"/>
                    </a:cubicBezTo>
                    <a:close/>
                    <a:moveTo>
                      <a:pt x="217" y="102"/>
                    </a:moveTo>
                    <a:cubicBezTo>
                      <a:pt x="218" y="97"/>
                      <a:pt x="218" y="97"/>
                      <a:pt x="218" y="97"/>
                    </a:cubicBezTo>
                    <a:cubicBezTo>
                      <a:pt x="223" y="94"/>
                      <a:pt x="223" y="94"/>
                      <a:pt x="223" y="94"/>
                    </a:cubicBezTo>
                    <a:cubicBezTo>
                      <a:pt x="219" y="93"/>
                      <a:pt x="219" y="93"/>
                      <a:pt x="219" y="93"/>
                    </a:cubicBezTo>
                    <a:cubicBezTo>
                      <a:pt x="214" y="93"/>
                      <a:pt x="214" y="93"/>
                      <a:pt x="214" y="93"/>
                    </a:cubicBezTo>
                    <a:cubicBezTo>
                      <a:pt x="211" y="95"/>
                      <a:pt x="211" y="95"/>
                      <a:pt x="211" y="95"/>
                    </a:cubicBezTo>
                    <a:cubicBezTo>
                      <a:pt x="210" y="98"/>
                      <a:pt x="210" y="98"/>
                      <a:pt x="210" y="98"/>
                    </a:cubicBezTo>
                    <a:cubicBezTo>
                      <a:pt x="214" y="100"/>
                      <a:pt x="214" y="100"/>
                      <a:pt x="214" y="100"/>
                    </a:cubicBezTo>
                    <a:cubicBezTo>
                      <a:pt x="217" y="102"/>
                      <a:pt x="217" y="102"/>
                      <a:pt x="217" y="102"/>
                    </a:cubicBezTo>
                    <a:close/>
                    <a:moveTo>
                      <a:pt x="193" y="115"/>
                    </a:moveTo>
                    <a:cubicBezTo>
                      <a:pt x="195" y="112"/>
                      <a:pt x="195" y="112"/>
                      <a:pt x="195" y="112"/>
                    </a:cubicBezTo>
                    <a:cubicBezTo>
                      <a:pt x="198" y="110"/>
                      <a:pt x="198" y="110"/>
                      <a:pt x="198" y="110"/>
                    </a:cubicBezTo>
                    <a:cubicBezTo>
                      <a:pt x="196" y="107"/>
                      <a:pt x="196" y="107"/>
                      <a:pt x="196" y="107"/>
                    </a:cubicBezTo>
                    <a:cubicBezTo>
                      <a:pt x="191" y="109"/>
                      <a:pt x="191" y="109"/>
                      <a:pt x="191" y="109"/>
                    </a:cubicBezTo>
                    <a:cubicBezTo>
                      <a:pt x="190" y="112"/>
                      <a:pt x="190" y="112"/>
                      <a:pt x="190" y="112"/>
                    </a:cubicBezTo>
                    <a:lnTo>
                      <a:pt x="193" y="115"/>
                    </a:lnTo>
                    <a:close/>
                  </a:path>
                </a:pathLst>
              </a:custGeom>
              <a:solidFill>
                <a:schemeClr val="accent4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683" name="Freeform 487"/>
              <p:cNvSpPr>
                <a:spLocks/>
              </p:cNvSpPr>
              <p:nvPr userDrawn="1"/>
            </p:nvSpPr>
            <p:spPr bwMode="auto">
              <a:xfrm>
                <a:off x="3239" y="2262"/>
                <a:ext cx="213" cy="162"/>
              </a:xfrm>
              <a:custGeom>
                <a:avLst/>
                <a:gdLst>
                  <a:gd name="T0" fmla="*/ 74 w 213"/>
                  <a:gd name="T1" fmla="*/ 147 h 162"/>
                  <a:gd name="T2" fmla="*/ 86 w 213"/>
                  <a:gd name="T3" fmla="*/ 136 h 162"/>
                  <a:gd name="T4" fmla="*/ 101 w 213"/>
                  <a:gd name="T5" fmla="*/ 131 h 162"/>
                  <a:gd name="T6" fmla="*/ 110 w 213"/>
                  <a:gd name="T7" fmla="*/ 131 h 162"/>
                  <a:gd name="T8" fmla="*/ 124 w 213"/>
                  <a:gd name="T9" fmla="*/ 129 h 162"/>
                  <a:gd name="T10" fmla="*/ 159 w 213"/>
                  <a:gd name="T11" fmla="*/ 109 h 162"/>
                  <a:gd name="T12" fmla="*/ 173 w 213"/>
                  <a:gd name="T13" fmla="*/ 97 h 162"/>
                  <a:gd name="T14" fmla="*/ 175 w 213"/>
                  <a:gd name="T15" fmla="*/ 88 h 162"/>
                  <a:gd name="T16" fmla="*/ 183 w 213"/>
                  <a:gd name="T17" fmla="*/ 78 h 162"/>
                  <a:gd name="T18" fmla="*/ 209 w 213"/>
                  <a:gd name="T19" fmla="*/ 77 h 162"/>
                  <a:gd name="T20" fmla="*/ 211 w 213"/>
                  <a:gd name="T21" fmla="*/ 72 h 162"/>
                  <a:gd name="T22" fmla="*/ 211 w 213"/>
                  <a:gd name="T23" fmla="*/ 66 h 162"/>
                  <a:gd name="T24" fmla="*/ 207 w 213"/>
                  <a:gd name="T25" fmla="*/ 65 h 162"/>
                  <a:gd name="T26" fmla="*/ 204 w 213"/>
                  <a:gd name="T27" fmla="*/ 60 h 162"/>
                  <a:gd name="T28" fmla="*/ 200 w 213"/>
                  <a:gd name="T29" fmla="*/ 42 h 162"/>
                  <a:gd name="T30" fmla="*/ 199 w 213"/>
                  <a:gd name="T31" fmla="*/ 32 h 162"/>
                  <a:gd name="T32" fmla="*/ 198 w 213"/>
                  <a:gd name="T33" fmla="*/ 25 h 162"/>
                  <a:gd name="T34" fmla="*/ 196 w 213"/>
                  <a:gd name="T35" fmla="*/ 20 h 162"/>
                  <a:gd name="T36" fmla="*/ 193 w 213"/>
                  <a:gd name="T37" fmla="*/ 16 h 162"/>
                  <a:gd name="T38" fmla="*/ 181 w 213"/>
                  <a:gd name="T39" fmla="*/ 15 h 162"/>
                  <a:gd name="T40" fmla="*/ 177 w 213"/>
                  <a:gd name="T41" fmla="*/ 9 h 162"/>
                  <a:gd name="T42" fmla="*/ 176 w 213"/>
                  <a:gd name="T43" fmla="*/ 8 h 162"/>
                  <a:gd name="T44" fmla="*/ 166 w 213"/>
                  <a:gd name="T45" fmla="*/ 13 h 162"/>
                  <a:gd name="T46" fmla="*/ 158 w 213"/>
                  <a:gd name="T47" fmla="*/ 11 h 162"/>
                  <a:gd name="T48" fmla="*/ 148 w 213"/>
                  <a:gd name="T49" fmla="*/ 14 h 162"/>
                  <a:gd name="T50" fmla="*/ 140 w 213"/>
                  <a:gd name="T51" fmla="*/ 8 h 162"/>
                  <a:gd name="T52" fmla="*/ 137 w 213"/>
                  <a:gd name="T53" fmla="*/ 4 h 162"/>
                  <a:gd name="T54" fmla="*/ 137 w 213"/>
                  <a:gd name="T55" fmla="*/ 1 h 162"/>
                  <a:gd name="T56" fmla="*/ 133 w 213"/>
                  <a:gd name="T57" fmla="*/ 1 h 162"/>
                  <a:gd name="T58" fmla="*/ 128 w 213"/>
                  <a:gd name="T59" fmla="*/ 1 h 162"/>
                  <a:gd name="T60" fmla="*/ 123 w 213"/>
                  <a:gd name="T61" fmla="*/ 15 h 162"/>
                  <a:gd name="T62" fmla="*/ 119 w 213"/>
                  <a:gd name="T63" fmla="*/ 27 h 162"/>
                  <a:gd name="T64" fmla="*/ 108 w 213"/>
                  <a:gd name="T65" fmla="*/ 40 h 162"/>
                  <a:gd name="T66" fmla="*/ 102 w 213"/>
                  <a:gd name="T67" fmla="*/ 43 h 162"/>
                  <a:gd name="T68" fmla="*/ 90 w 213"/>
                  <a:gd name="T69" fmla="*/ 50 h 162"/>
                  <a:gd name="T70" fmla="*/ 81 w 213"/>
                  <a:gd name="T71" fmla="*/ 55 h 162"/>
                  <a:gd name="T72" fmla="*/ 74 w 213"/>
                  <a:gd name="T73" fmla="*/ 60 h 162"/>
                  <a:gd name="T74" fmla="*/ 69 w 213"/>
                  <a:gd name="T75" fmla="*/ 72 h 162"/>
                  <a:gd name="T76" fmla="*/ 60 w 213"/>
                  <a:gd name="T77" fmla="*/ 83 h 162"/>
                  <a:gd name="T78" fmla="*/ 56 w 213"/>
                  <a:gd name="T79" fmla="*/ 96 h 162"/>
                  <a:gd name="T80" fmla="*/ 56 w 213"/>
                  <a:gd name="T81" fmla="*/ 109 h 162"/>
                  <a:gd name="T82" fmla="*/ 60 w 213"/>
                  <a:gd name="T83" fmla="*/ 112 h 162"/>
                  <a:gd name="T84" fmla="*/ 47 w 213"/>
                  <a:gd name="T85" fmla="*/ 130 h 162"/>
                  <a:gd name="T86" fmla="*/ 41 w 213"/>
                  <a:gd name="T87" fmla="*/ 140 h 162"/>
                  <a:gd name="T88" fmla="*/ 22 w 213"/>
                  <a:gd name="T89" fmla="*/ 153 h 162"/>
                  <a:gd name="T90" fmla="*/ 0 w 213"/>
                  <a:gd name="T91" fmla="*/ 161 h 162"/>
                  <a:gd name="T92" fmla="*/ 74 w 213"/>
                  <a:gd name="T93" fmla="*/ 162 h 162"/>
                  <a:gd name="T94" fmla="*/ 74 w 213"/>
                  <a:gd name="T95" fmla="*/ 162 h 1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13" h="162">
                    <a:moveTo>
                      <a:pt x="74" y="162"/>
                    </a:moveTo>
                    <a:lnTo>
                      <a:pt x="74" y="147"/>
                    </a:lnTo>
                    <a:lnTo>
                      <a:pt x="82" y="141"/>
                    </a:lnTo>
                    <a:lnTo>
                      <a:pt x="86" y="136"/>
                    </a:lnTo>
                    <a:lnTo>
                      <a:pt x="92" y="133"/>
                    </a:lnTo>
                    <a:lnTo>
                      <a:pt x="101" y="131"/>
                    </a:lnTo>
                    <a:lnTo>
                      <a:pt x="107" y="131"/>
                    </a:lnTo>
                    <a:lnTo>
                      <a:pt x="110" y="131"/>
                    </a:lnTo>
                    <a:lnTo>
                      <a:pt x="117" y="131"/>
                    </a:lnTo>
                    <a:lnTo>
                      <a:pt x="124" y="129"/>
                    </a:lnTo>
                    <a:lnTo>
                      <a:pt x="140" y="120"/>
                    </a:lnTo>
                    <a:lnTo>
                      <a:pt x="159" y="109"/>
                    </a:lnTo>
                    <a:lnTo>
                      <a:pt x="171" y="101"/>
                    </a:lnTo>
                    <a:lnTo>
                      <a:pt x="173" y="97"/>
                    </a:lnTo>
                    <a:lnTo>
                      <a:pt x="173" y="91"/>
                    </a:lnTo>
                    <a:lnTo>
                      <a:pt x="175" y="88"/>
                    </a:lnTo>
                    <a:lnTo>
                      <a:pt x="179" y="85"/>
                    </a:lnTo>
                    <a:lnTo>
                      <a:pt x="183" y="78"/>
                    </a:lnTo>
                    <a:lnTo>
                      <a:pt x="187" y="77"/>
                    </a:lnTo>
                    <a:lnTo>
                      <a:pt x="209" y="77"/>
                    </a:lnTo>
                    <a:lnTo>
                      <a:pt x="211" y="73"/>
                    </a:lnTo>
                    <a:lnTo>
                      <a:pt x="211" y="72"/>
                    </a:lnTo>
                    <a:lnTo>
                      <a:pt x="213" y="67"/>
                    </a:lnTo>
                    <a:lnTo>
                      <a:pt x="211" y="66"/>
                    </a:lnTo>
                    <a:lnTo>
                      <a:pt x="209" y="66"/>
                    </a:lnTo>
                    <a:lnTo>
                      <a:pt x="207" y="65"/>
                    </a:lnTo>
                    <a:lnTo>
                      <a:pt x="205" y="64"/>
                    </a:lnTo>
                    <a:lnTo>
                      <a:pt x="204" y="60"/>
                    </a:lnTo>
                    <a:lnTo>
                      <a:pt x="202" y="55"/>
                    </a:lnTo>
                    <a:lnTo>
                      <a:pt x="200" y="42"/>
                    </a:lnTo>
                    <a:lnTo>
                      <a:pt x="199" y="39"/>
                    </a:lnTo>
                    <a:lnTo>
                      <a:pt x="199" y="32"/>
                    </a:lnTo>
                    <a:lnTo>
                      <a:pt x="199" y="26"/>
                    </a:lnTo>
                    <a:lnTo>
                      <a:pt x="198" y="25"/>
                    </a:lnTo>
                    <a:lnTo>
                      <a:pt x="198" y="22"/>
                    </a:lnTo>
                    <a:lnTo>
                      <a:pt x="196" y="20"/>
                    </a:lnTo>
                    <a:lnTo>
                      <a:pt x="195" y="17"/>
                    </a:lnTo>
                    <a:lnTo>
                      <a:pt x="193" y="16"/>
                    </a:lnTo>
                    <a:lnTo>
                      <a:pt x="191" y="16"/>
                    </a:lnTo>
                    <a:lnTo>
                      <a:pt x="181" y="15"/>
                    </a:lnTo>
                    <a:lnTo>
                      <a:pt x="178" y="12"/>
                    </a:lnTo>
                    <a:lnTo>
                      <a:pt x="177" y="9"/>
                    </a:lnTo>
                    <a:lnTo>
                      <a:pt x="176" y="8"/>
                    </a:lnTo>
                    <a:lnTo>
                      <a:pt x="176" y="8"/>
                    </a:lnTo>
                    <a:lnTo>
                      <a:pt x="173" y="12"/>
                    </a:lnTo>
                    <a:lnTo>
                      <a:pt x="166" y="13"/>
                    </a:lnTo>
                    <a:lnTo>
                      <a:pt x="161" y="12"/>
                    </a:lnTo>
                    <a:lnTo>
                      <a:pt x="158" y="11"/>
                    </a:lnTo>
                    <a:lnTo>
                      <a:pt x="154" y="13"/>
                    </a:lnTo>
                    <a:lnTo>
                      <a:pt x="148" y="14"/>
                    </a:lnTo>
                    <a:lnTo>
                      <a:pt x="144" y="13"/>
                    </a:lnTo>
                    <a:lnTo>
                      <a:pt x="140" y="8"/>
                    </a:lnTo>
                    <a:lnTo>
                      <a:pt x="138" y="6"/>
                    </a:lnTo>
                    <a:lnTo>
                      <a:pt x="137" y="4"/>
                    </a:lnTo>
                    <a:lnTo>
                      <a:pt x="137" y="1"/>
                    </a:lnTo>
                    <a:lnTo>
                      <a:pt x="137" y="1"/>
                    </a:lnTo>
                    <a:lnTo>
                      <a:pt x="136" y="0"/>
                    </a:lnTo>
                    <a:lnTo>
                      <a:pt x="133" y="1"/>
                    </a:lnTo>
                    <a:lnTo>
                      <a:pt x="131" y="2"/>
                    </a:lnTo>
                    <a:lnTo>
                      <a:pt x="128" y="1"/>
                    </a:lnTo>
                    <a:lnTo>
                      <a:pt x="124" y="5"/>
                    </a:lnTo>
                    <a:lnTo>
                      <a:pt x="123" y="15"/>
                    </a:lnTo>
                    <a:lnTo>
                      <a:pt x="120" y="21"/>
                    </a:lnTo>
                    <a:lnTo>
                      <a:pt x="119" y="27"/>
                    </a:lnTo>
                    <a:lnTo>
                      <a:pt x="117" y="32"/>
                    </a:lnTo>
                    <a:lnTo>
                      <a:pt x="108" y="40"/>
                    </a:lnTo>
                    <a:lnTo>
                      <a:pt x="106" y="40"/>
                    </a:lnTo>
                    <a:lnTo>
                      <a:pt x="102" y="43"/>
                    </a:lnTo>
                    <a:lnTo>
                      <a:pt x="96" y="44"/>
                    </a:lnTo>
                    <a:lnTo>
                      <a:pt x="90" y="50"/>
                    </a:lnTo>
                    <a:lnTo>
                      <a:pt x="88" y="50"/>
                    </a:lnTo>
                    <a:lnTo>
                      <a:pt x="81" y="55"/>
                    </a:lnTo>
                    <a:lnTo>
                      <a:pt x="77" y="56"/>
                    </a:lnTo>
                    <a:lnTo>
                      <a:pt x="74" y="60"/>
                    </a:lnTo>
                    <a:lnTo>
                      <a:pt x="66" y="66"/>
                    </a:lnTo>
                    <a:lnTo>
                      <a:pt x="69" y="72"/>
                    </a:lnTo>
                    <a:lnTo>
                      <a:pt x="68" y="76"/>
                    </a:lnTo>
                    <a:lnTo>
                      <a:pt x="60" y="83"/>
                    </a:lnTo>
                    <a:lnTo>
                      <a:pt x="56" y="92"/>
                    </a:lnTo>
                    <a:lnTo>
                      <a:pt x="56" y="96"/>
                    </a:lnTo>
                    <a:lnTo>
                      <a:pt x="58" y="102"/>
                    </a:lnTo>
                    <a:lnTo>
                      <a:pt x="56" y="109"/>
                    </a:lnTo>
                    <a:lnTo>
                      <a:pt x="58" y="109"/>
                    </a:lnTo>
                    <a:lnTo>
                      <a:pt x="60" y="112"/>
                    </a:lnTo>
                    <a:lnTo>
                      <a:pt x="58" y="117"/>
                    </a:lnTo>
                    <a:lnTo>
                      <a:pt x="47" y="130"/>
                    </a:lnTo>
                    <a:lnTo>
                      <a:pt x="46" y="135"/>
                    </a:lnTo>
                    <a:lnTo>
                      <a:pt x="41" y="140"/>
                    </a:lnTo>
                    <a:lnTo>
                      <a:pt x="34" y="141"/>
                    </a:lnTo>
                    <a:lnTo>
                      <a:pt x="22" y="153"/>
                    </a:lnTo>
                    <a:lnTo>
                      <a:pt x="4" y="155"/>
                    </a:lnTo>
                    <a:lnTo>
                      <a:pt x="0" y="161"/>
                    </a:lnTo>
                    <a:lnTo>
                      <a:pt x="74" y="162"/>
                    </a:lnTo>
                    <a:lnTo>
                      <a:pt x="74" y="162"/>
                    </a:lnTo>
                    <a:lnTo>
                      <a:pt x="74" y="162"/>
                    </a:lnTo>
                    <a:lnTo>
                      <a:pt x="74" y="162"/>
                    </a:lnTo>
                    <a:close/>
                  </a:path>
                </a:pathLst>
              </a:custGeom>
              <a:solidFill>
                <a:schemeClr val="accent4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684" name="Freeform 488"/>
              <p:cNvSpPr>
                <a:spLocks/>
              </p:cNvSpPr>
              <p:nvPr userDrawn="1"/>
            </p:nvSpPr>
            <p:spPr bwMode="auto">
              <a:xfrm>
                <a:off x="3923" y="1982"/>
                <a:ext cx="7" cy="3"/>
              </a:xfrm>
              <a:custGeom>
                <a:avLst/>
                <a:gdLst>
                  <a:gd name="T0" fmla="*/ 0 w 7"/>
                  <a:gd name="T1" fmla="*/ 0 h 3"/>
                  <a:gd name="T2" fmla="*/ 2 w 7"/>
                  <a:gd name="T3" fmla="*/ 3 h 3"/>
                  <a:gd name="T4" fmla="*/ 7 w 7"/>
                  <a:gd name="T5" fmla="*/ 3 h 3"/>
                  <a:gd name="T6" fmla="*/ 0 w 7"/>
                  <a:gd name="T7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3">
                    <a:moveTo>
                      <a:pt x="0" y="0"/>
                    </a:moveTo>
                    <a:lnTo>
                      <a:pt x="2" y="3"/>
                    </a:lnTo>
                    <a:lnTo>
                      <a:pt x="7" y="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65625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685" name="Freeform 489"/>
              <p:cNvSpPr>
                <a:spLocks/>
              </p:cNvSpPr>
              <p:nvPr userDrawn="1"/>
            </p:nvSpPr>
            <p:spPr bwMode="auto">
              <a:xfrm>
                <a:off x="3923" y="1982"/>
                <a:ext cx="7" cy="3"/>
              </a:xfrm>
              <a:custGeom>
                <a:avLst/>
                <a:gdLst>
                  <a:gd name="T0" fmla="*/ 0 w 7"/>
                  <a:gd name="T1" fmla="*/ 0 h 3"/>
                  <a:gd name="T2" fmla="*/ 2 w 7"/>
                  <a:gd name="T3" fmla="*/ 3 h 3"/>
                  <a:gd name="T4" fmla="*/ 7 w 7"/>
                  <a:gd name="T5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3">
                    <a:moveTo>
                      <a:pt x="0" y="0"/>
                    </a:moveTo>
                    <a:lnTo>
                      <a:pt x="2" y="3"/>
                    </a:lnTo>
                    <a:lnTo>
                      <a:pt x="7" y="3"/>
                    </a:lnTo>
                  </a:path>
                </a:pathLst>
              </a:custGeom>
              <a:noFill/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686" name="Freeform 490"/>
              <p:cNvSpPr>
                <a:spLocks/>
              </p:cNvSpPr>
              <p:nvPr userDrawn="1"/>
            </p:nvSpPr>
            <p:spPr bwMode="auto">
              <a:xfrm>
                <a:off x="3546" y="1962"/>
                <a:ext cx="7" cy="2"/>
              </a:xfrm>
              <a:custGeom>
                <a:avLst/>
                <a:gdLst>
                  <a:gd name="T0" fmla="*/ 0 w 7"/>
                  <a:gd name="T1" fmla="*/ 0 h 2"/>
                  <a:gd name="T2" fmla="*/ 4 w 7"/>
                  <a:gd name="T3" fmla="*/ 0 h 2"/>
                  <a:gd name="T4" fmla="*/ 7 w 7"/>
                  <a:gd name="T5" fmla="*/ 2 h 2"/>
                  <a:gd name="T6" fmla="*/ 0 w 7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2">
                    <a:moveTo>
                      <a:pt x="0" y="0"/>
                    </a:moveTo>
                    <a:lnTo>
                      <a:pt x="4" y="0"/>
                    </a:lnTo>
                    <a:lnTo>
                      <a:pt x="7" y="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65625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687" name="Freeform 491"/>
              <p:cNvSpPr>
                <a:spLocks/>
              </p:cNvSpPr>
              <p:nvPr userDrawn="1"/>
            </p:nvSpPr>
            <p:spPr bwMode="auto">
              <a:xfrm>
                <a:off x="3546" y="1962"/>
                <a:ext cx="7" cy="2"/>
              </a:xfrm>
              <a:custGeom>
                <a:avLst/>
                <a:gdLst>
                  <a:gd name="T0" fmla="*/ 0 w 7"/>
                  <a:gd name="T1" fmla="*/ 0 h 2"/>
                  <a:gd name="T2" fmla="*/ 4 w 7"/>
                  <a:gd name="T3" fmla="*/ 0 h 2"/>
                  <a:gd name="T4" fmla="*/ 7 w 7"/>
                  <a:gd name="T5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2">
                    <a:moveTo>
                      <a:pt x="0" y="0"/>
                    </a:moveTo>
                    <a:lnTo>
                      <a:pt x="4" y="0"/>
                    </a:lnTo>
                    <a:lnTo>
                      <a:pt x="7" y="2"/>
                    </a:lnTo>
                  </a:path>
                </a:pathLst>
              </a:custGeom>
              <a:noFill/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688" name="Freeform 492"/>
              <p:cNvSpPr>
                <a:spLocks/>
              </p:cNvSpPr>
              <p:nvPr userDrawn="1"/>
            </p:nvSpPr>
            <p:spPr bwMode="auto">
              <a:xfrm>
                <a:off x="3923" y="1982"/>
                <a:ext cx="7" cy="3"/>
              </a:xfrm>
              <a:custGeom>
                <a:avLst/>
                <a:gdLst>
                  <a:gd name="T0" fmla="*/ 0 w 7"/>
                  <a:gd name="T1" fmla="*/ 0 h 3"/>
                  <a:gd name="T2" fmla="*/ 2 w 7"/>
                  <a:gd name="T3" fmla="*/ 3 h 3"/>
                  <a:gd name="T4" fmla="*/ 7 w 7"/>
                  <a:gd name="T5" fmla="*/ 3 h 3"/>
                  <a:gd name="T6" fmla="*/ 0 w 7"/>
                  <a:gd name="T7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3">
                    <a:moveTo>
                      <a:pt x="0" y="0"/>
                    </a:moveTo>
                    <a:lnTo>
                      <a:pt x="2" y="3"/>
                    </a:lnTo>
                    <a:lnTo>
                      <a:pt x="7" y="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65625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689" name="Freeform 493"/>
              <p:cNvSpPr>
                <a:spLocks/>
              </p:cNvSpPr>
              <p:nvPr userDrawn="1"/>
            </p:nvSpPr>
            <p:spPr bwMode="auto">
              <a:xfrm>
                <a:off x="3923" y="1982"/>
                <a:ext cx="7" cy="3"/>
              </a:xfrm>
              <a:custGeom>
                <a:avLst/>
                <a:gdLst>
                  <a:gd name="T0" fmla="*/ 0 w 7"/>
                  <a:gd name="T1" fmla="*/ 0 h 3"/>
                  <a:gd name="T2" fmla="*/ 2 w 7"/>
                  <a:gd name="T3" fmla="*/ 3 h 3"/>
                  <a:gd name="T4" fmla="*/ 7 w 7"/>
                  <a:gd name="T5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3">
                    <a:moveTo>
                      <a:pt x="0" y="0"/>
                    </a:moveTo>
                    <a:lnTo>
                      <a:pt x="2" y="3"/>
                    </a:lnTo>
                    <a:lnTo>
                      <a:pt x="7" y="3"/>
                    </a:lnTo>
                  </a:path>
                </a:pathLst>
              </a:custGeom>
              <a:noFill/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690" name="Freeform 494"/>
              <p:cNvSpPr>
                <a:spLocks/>
              </p:cNvSpPr>
              <p:nvPr userDrawn="1"/>
            </p:nvSpPr>
            <p:spPr bwMode="auto">
              <a:xfrm>
                <a:off x="3930" y="1985"/>
                <a:ext cx="6" cy="5"/>
              </a:xfrm>
              <a:custGeom>
                <a:avLst/>
                <a:gdLst>
                  <a:gd name="T0" fmla="*/ 0 w 6"/>
                  <a:gd name="T1" fmla="*/ 0 h 5"/>
                  <a:gd name="T2" fmla="*/ 6 w 6"/>
                  <a:gd name="T3" fmla="*/ 5 h 5"/>
                  <a:gd name="T4" fmla="*/ 0 w 6"/>
                  <a:gd name="T5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5">
                    <a:moveTo>
                      <a:pt x="0" y="0"/>
                    </a:moveTo>
                    <a:lnTo>
                      <a:pt x="6" y="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65625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691" name="Line 495"/>
              <p:cNvSpPr>
                <a:spLocks noChangeShapeType="1"/>
              </p:cNvSpPr>
              <p:nvPr userDrawn="1"/>
            </p:nvSpPr>
            <p:spPr bwMode="auto">
              <a:xfrm>
                <a:off x="3930" y="1985"/>
                <a:ext cx="6" cy="5"/>
              </a:xfrm>
              <a:prstGeom prst="line">
                <a:avLst/>
              </a:prstGeom>
              <a:noFill/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692" name="Freeform 496"/>
              <p:cNvSpPr>
                <a:spLocks/>
              </p:cNvSpPr>
              <p:nvPr userDrawn="1"/>
            </p:nvSpPr>
            <p:spPr bwMode="auto">
              <a:xfrm>
                <a:off x="4092" y="2919"/>
                <a:ext cx="3" cy="3"/>
              </a:xfrm>
              <a:custGeom>
                <a:avLst/>
                <a:gdLst>
                  <a:gd name="T0" fmla="*/ 0 w 3"/>
                  <a:gd name="T1" fmla="*/ 3 h 3"/>
                  <a:gd name="T2" fmla="*/ 3 w 3"/>
                  <a:gd name="T3" fmla="*/ 0 h 3"/>
                  <a:gd name="T4" fmla="*/ 0 w 3"/>
                  <a:gd name="T5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" h="3">
                    <a:moveTo>
                      <a:pt x="0" y="3"/>
                    </a:moveTo>
                    <a:lnTo>
                      <a:pt x="3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65625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693" name="Line 497"/>
              <p:cNvSpPr>
                <a:spLocks noChangeShapeType="1"/>
              </p:cNvSpPr>
              <p:nvPr userDrawn="1"/>
            </p:nvSpPr>
            <p:spPr bwMode="auto">
              <a:xfrm flipV="1">
                <a:off x="4092" y="2919"/>
                <a:ext cx="3" cy="3"/>
              </a:xfrm>
              <a:prstGeom prst="line">
                <a:avLst/>
              </a:prstGeom>
              <a:noFill/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694" name="Freeform 498"/>
              <p:cNvSpPr>
                <a:spLocks/>
              </p:cNvSpPr>
              <p:nvPr userDrawn="1"/>
            </p:nvSpPr>
            <p:spPr bwMode="auto">
              <a:xfrm>
                <a:off x="4034" y="2967"/>
                <a:ext cx="2" cy="3"/>
              </a:xfrm>
              <a:custGeom>
                <a:avLst/>
                <a:gdLst>
                  <a:gd name="T0" fmla="*/ 2 w 2"/>
                  <a:gd name="T1" fmla="*/ 0 h 3"/>
                  <a:gd name="T2" fmla="*/ 0 w 2"/>
                  <a:gd name="T3" fmla="*/ 3 h 3"/>
                  <a:gd name="T4" fmla="*/ 2 w 2"/>
                  <a:gd name="T5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0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65625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695" name="Line 499"/>
              <p:cNvSpPr>
                <a:spLocks noChangeShapeType="1"/>
              </p:cNvSpPr>
              <p:nvPr userDrawn="1"/>
            </p:nvSpPr>
            <p:spPr bwMode="auto">
              <a:xfrm flipH="1">
                <a:off x="4034" y="2967"/>
                <a:ext cx="2" cy="3"/>
              </a:xfrm>
              <a:prstGeom prst="line">
                <a:avLst/>
              </a:prstGeom>
              <a:noFill/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696" name="Freeform 500"/>
              <p:cNvSpPr>
                <a:spLocks/>
              </p:cNvSpPr>
              <p:nvPr userDrawn="1"/>
            </p:nvSpPr>
            <p:spPr bwMode="auto">
              <a:xfrm>
                <a:off x="4005" y="3008"/>
                <a:ext cx="8" cy="1"/>
              </a:xfrm>
              <a:custGeom>
                <a:avLst/>
                <a:gdLst>
                  <a:gd name="T0" fmla="*/ 0 w 8"/>
                  <a:gd name="T1" fmla="*/ 0 h 1"/>
                  <a:gd name="T2" fmla="*/ 8 w 8"/>
                  <a:gd name="T3" fmla="*/ 1 h 1"/>
                  <a:gd name="T4" fmla="*/ 0 w 8"/>
                  <a:gd name="T5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8" h="1">
                    <a:moveTo>
                      <a:pt x="0" y="0"/>
                    </a:moveTo>
                    <a:lnTo>
                      <a:pt x="8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65625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697" name="Line 501"/>
              <p:cNvSpPr>
                <a:spLocks noChangeShapeType="1"/>
              </p:cNvSpPr>
              <p:nvPr userDrawn="1"/>
            </p:nvSpPr>
            <p:spPr bwMode="auto">
              <a:xfrm>
                <a:off x="4005" y="3008"/>
                <a:ext cx="8" cy="1"/>
              </a:xfrm>
              <a:prstGeom prst="line">
                <a:avLst/>
              </a:prstGeom>
              <a:noFill/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698" name="Freeform 502"/>
              <p:cNvSpPr>
                <a:spLocks noEditPoints="1"/>
              </p:cNvSpPr>
              <p:nvPr userDrawn="1"/>
            </p:nvSpPr>
            <p:spPr bwMode="auto">
              <a:xfrm>
                <a:off x="4936" y="2751"/>
                <a:ext cx="41" cy="73"/>
              </a:xfrm>
              <a:custGeom>
                <a:avLst/>
                <a:gdLst>
                  <a:gd name="T0" fmla="*/ 1 w 41"/>
                  <a:gd name="T1" fmla="*/ 32 h 73"/>
                  <a:gd name="T2" fmla="*/ 3 w 41"/>
                  <a:gd name="T3" fmla="*/ 28 h 73"/>
                  <a:gd name="T4" fmla="*/ 1 w 41"/>
                  <a:gd name="T5" fmla="*/ 29 h 73"/>
                  <a:gd name="T6" fmla="*/ 0 w 41"/>
                  <a:gd name="T7" fmla="*/ 35 h 73"/>
                  <a:gd name="T8" fmla="*/ 0 w 41"/>
                  <a:gd name="T9" fmla="*/ 35 h 73"/>
                  <a:gd name="T10" fmla="*/ 3 w 41"/>
                  <a:gd name="T11" fmla="*/ 3 h 73"/>
                  <a:gd name="T12" fmla="*/ 9 w 41"/>
                  <a:gd name="T13" fmla="*/ 0 h 73"/>
                  <a:gd name="T14" fmla="*/ 8 w 41"/>
                  <a:gd name="T15" fmla="*/ 4 h 73"/>
                  <a:gd name="T16" fmla="*/ 8 w 41"/>
                  <a:gd name="T17" fmla="*/ 6 h 73"/>
                  <a:gd name="T18" fmla="*/ 8 w 41"/>
                  <a:gd name="T19" fmla="*/ 6 h 73"/>
                  <a:gd name="T20" fmla="*/ 15 w 41"/>
                  <a:gd name="T21" fmla="*/ 2 h 73"/>
                  <a:gd name="T22" fmla="*/ 19 w 41"/>
                  <a:gd name="T23" fmla="*/ 8 h 73"/>
                  <a:gd name="T24" fmla="*/ 18 w 41"/>
                  <a:gd name="T25" fmla="*/ 8 h 73"/>
                  <a:gd name="T26" fmla="*/ 14 w 41"/>
                  <a:gd name="T27" fmla="*/ 7 h 73"/>
                  <a:gd name="T28" fmla="*/ 10 w 41"/>
                  <a:gd name="T29" fmla="*/ 4 h 73"/>
                  <a:gd name="T30" fmla="*/ 11 w 41"/>
                  <a:gd name="T31" fmla="*/ 3 h 73"/>
                  <a:gd name="T32" fmla="*/ 12 w 41"/>
                  <a:gd name="T33" fmla="*/ 2 h 73"/>
                  <a:gd name="T34" fmla="*/ 9 w 41"/>
                  <a:gd name="T35" fmla="*/ 7 h 73"/>
                  <a:gd name="T36" fmla="*/ 9 w 41"/>
                  <a:gd name="T37" fmla="*/ 9 h 73"/>
                  <a:gd name="T38" fmla="*/ 8 w 41"/>
                  <a:gd name="T39" fmla="*/ 10 h 73"/>
                  <a:gd name="T40" fmla="*/ 8 w 41"/>
                  <a:gd name="T41" fmla="*/ 13 h 73"/>
                  <a:gd name="T42" fmla="*/ 5 w 41"/>
                  <a:gd name="T43" fmla="*/ 16 h 73"/>
                  <a:gd name="T44" fmla="*/ 0 w 41"/>
                  <a:gd name="T45" fmla="*/ 14 h 73"/>
                  <a:gd name="T46" fmla="*/ 3 w 41"/>
                  <a:gd name="T47" fmla="*/ 16 h 73"/>
                  <a:gd name="T48" fmla="*/ 3 w 41"/>
                  <a:gd name="T49" fmla="*/ 18 h 73"/>
                  <a:gd name="T50" fmla="*/ 5 w 41"/>
                  <a:gd name="T51" fmla="*/ 27 h 73"/>
                  <a:gd name="T52" fmla="*/ 2 w 41"/>
                  <a:gd name="T53" fmla="*/ 36 h 73"/>
                  <a:gd name="T54" fmla="*/ 1 w 41"/>
                  <a:gd name="T55" fmla="*/ 39 h 73"/>
                  <a:gd name="T56" fmla="*/ 3 w 41"/>
                  <a:gd name="T57" fmla="*/ 49 h 73"/>
                  <a:gd name="T58" fmla="*/ 8 w 41"/>
                  <a:gd name="T59" fmla="*/ 67 h 73"/>
                  <a:gd name="T60" fmla="*/ 15 w 41"/>
                  <a:gd name="T61" fmla="*/ 73 h 73"/>
                  <a:gd name="T62" fmla="*/ 25 w 41"/>
                  <a:gd name="T63" fmla="*/ 72 h 73"/>
                  <a:gd name="T64" fmla="*/ 37 w 41"/>
                  <a:gd name="T65" fmla="*/ 64 h 73"/>
                  <a:gd name="T66" fmla="*/ 40 w 41"/>
                  <a:gd name="T67" fmla="*/ 55 h 73"/>
                  <a:gd name="T68" fmla="*/ 41 w 41"/>
                  <a:gd name="T69" fmla="*/ 52 h 73"/>
                  <a:gd name="T70" fmla="*/ 40 w 41"/>
                  <a:gd name="T71" fmla="*/ 45 h 73"/>
                  <a:gd name="T72" fmla="*/ 38 w 41"/>
                  <a:gd name="T73" fmla="*/ 39 h 73"/>
                  <a:gd name="T74" fmla="*/ 32 w 41"/>
                  <a:gd name="T75" fmla="*/ 26 h 73"/>
                  <a:gd name="T76" fmla="*/ 29 w 41"/>
                  <a:gd name="T77" fmla="*/ 26 h 73"/>
                  <a:gd name="T78" fmla="*/ 30 w 41"/>
                  <a:gd name="T79" fmla="*/ 24 h 73"/>
                  <a:gd name="T80" fmla="*/ 27 w 41"/>
                  <a:gd name="T81" fmla="*/ 21 h 73"/>
                  <a:gd name="T82" fmla="*/ 23 w 41"/>
                  <a:gd name="T83" fmla="*/ 17 h 73"/>
                  <a:gd name="T84" fmla="*/ 21 w 41"/>
                  <a:gd name="T85" fmla="*/ 12 h 73"/>
                  <a:gd name="T86" fmla="*/ 16 w 41"/>
                  <a:gd name="T87" fmla="*/ 9 h 73"/>
                  <a:gd name="T88" fmla="*/ 13 w 41"/>
                  <a:gd name="T89" fmla="*/ 10 h 73"/>
                  <a:gd name="T90" fmla="*/ 9 w 41"/>
                  <a:gd name="T91" fmla="*/ 7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41" h="73">
                    <a:moveTo>
                      <a:pt x="0" y="35"/>
                    </a:moveTo>
                    <a:lnTo>
                      <a:pt x="1" y="32"/>
                    </a:lnTo>
                    <a:lnTo>
                      <a:pt x="1" y="29"/>
                    </a:lnTo>
                    <a:lnTo>
                      <a:pt x="3" y="28"/>
                    </a:lnTo>
                    <a:lnTo>
                      <a:pt x="3" y="29"/>
                    </a:lnTo>
                    <a:lnTo>
                      <a:pt x="1" y="29"/>
                    </a:lnTo>
                    <a:lnTo>
                      <a:pt x="2" y="32"/>
                    </a:lnTo>
                    <a:lnTo>
                      <a:pt x="0" y="35"/>
                    </a:lnTo>
                    <a:lnTo>
                      <a:pt x="0" y="35"/>
                    </a:lnTo>
                    <a:lnTo>
                      <a:pt x="0" y="35"/>
                    </a:lnTo>
                    <a:close/>
                    <a:moveTo>
                      <a:pt x="8" y="6"/>
                    </a:moveTo>
                    <a:lnTo>
                      <a:pt x="3" y="3"/>
                    </a:lnTo>
                    <a:lnTo>
                      <a:pt x="3" y="0"/>
                    </a:lnTo>
                    <a:lnTo>
                      <a:pt x="9" y="0"/>
                    </a:lnTo>
                    <a:lnTo>
                      <a:pt x="10" y="1"/>
                    </a:lnTo>
                    <a:lnTo>
                      <a:pt x="8" y="4"/>
                    </a:lnTo>
                    <a:lnTo>
                      <a:pt x="7" y="4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close/>
                    <a:moveTo>
                      <a:pt x="12" y="2"/>
                    </a:moveTo>
                    <a:lnTo>
                      <a:pt x="15" y="2"/>
                    </a:lnTo>
                    <a:lnTo>
                      <a:pt x="15" y="5"/>
                    </a:lnTo>
                    <a:lnTo>
                      <a:pt x="19" y="8"/>
                    </a:lnTo>
                    <a:lnTo>
                      <a:pt x="20" y="9"/>
                    </a:lnTo>
                    <a:lnTo>
                      <a:pt x="18" y="8"/>
                    </a:lnTo>
                    <a:lnTo>
                      <a:pt x="16" y="8"/>
                    </a:lnTo>
                    <a:lnTo>
                      <a:pt x="14" y="7"/>
                    </a:lnTo>
                    <a:lnTo>
                      <a:pt x="10" y="5"/>
                    </a:lnTo>
                    <a:lnTo>
                      <a:pt x="10" y="4"/>
                    </a:lnTo>
                    <a:lnTo>
                      <a:pt x="12" y="3"/>
                    </a:lnTo>
                    <a:lnTo>
                      <a:pt x="11" y="3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close/>
                    <a:moveTo>
                      <a:pt x="9" y="7"/>
                    </a:moveTo>
                    <a:lnTo>
                      <a:pt x="9" y="8"/>
                    </a:lnTo>
                    <a:lnTo>
                      <a:pt x="9" y="9"/>
                    </a:lnTo>
                    <a:lnTo>
                      <a:pt x="9" y="10"/>
                    </a:lnTo>
                    <a:lnTo>
                      <a:pt x="8" y="10"/>
                    </a:lnTo>
                    <a:lnTo>
                      <a:pt x="8" y="11"/>
                    </a:lnTo>
                    <a:lnTo>
                      <a:pt x="8" y="13"/>
                    </a:lnTo>
                    <a:lnTo>
                      <a:pt x="6" y="16"/>
                    </a:lnTo>
                    <a:lnTo>
                      <a:pt x="5" y="16"/>
                    </a:lnTo>
                    <a:lnTo>
                      <a:pt x="3" y="14"/>
                    </a:lnTo>
                    <a:lnTo>
                      <a:pt x="0" y="14"/>
                    </a:lnTo>
                    <a:lnTo>
                      <a:pt x="0" y="15"/>
                    </a:lnTo>
                    <a:lnTo>
                      <a:pt x="3" y="16"/>
                    </a:lnTo>
                    <a:lnTo>
                      <a:pt x="4" y="17"/>
                    </a:lnTo>
                    <a:lnTo>
                      <a:pt x="3" y="18"/>
                    </a:lnTo>
                    <a:lnTo>
                      <a:pt x="4" y="22"/>
                    </a:lnTo>
                    <a:lnTo>
                      <a:pt x="5" y="27"/>
                    </a:lnTo>
                    <a:lnTo>
                      <a:pt x="3" y="29"/>
                    </a:lnTo>
                    <a:lnTo>
                      <a:pt x="2" y="36"/>
                    </a:lnTo>
                    <a:lnTo>
                      <a:pt x="3" y="38"/>
                    </a:lnTo>
                    <a:lnTo>
                      <a:pt x="1" y="39"/>
                    </a:lnTo>
                    <a:lnTo>
                      <a:pt x="3" y="46"/>
                    </a:lnTo>
                    <a:lnTo>
                      <a:pt x="3" y="49"/>
                    </a:lnTo>
                    <a:lnTo>
                      <a:pt x="5" y="57"/>
                    </a:lnTo>
                    <a:lnTo>
                      <a:pt x="8" y="67"/>
                    </a:lnTo>
                    <a:lnTo>
                      <a:pt x="11" y="71"/>
                    </a:lnTo>
                    <a:lnTo>
                      <a:pt x="15" y="73"/>
                    </a:lnTo>
                    <a:lnTo>
                      <a:pt x="18" y="72"/>
                    </a:lnTo>
                    <a:lnTo>
                      <a:pt x="25" y="72"/>
                    </a:lnTo>
                    <a:lnTo>
                      <a:pt x="31" y="70"/>
                    </a:lnTo>
                    <a:lnTo>
                      <a:pt x="37" y="64"/>
                    </a:lnTo>
                    <a:lnTo>
                      <a:pt x="40" y="58"/>
                    </a:lnTo>
                    <a:lnTo>
                      <a:pt x="40" y="55"/>
                    </a:lnTo>
                    <a:lnTo>
                      <a:pt x="40" y="53"/>
                    </a:lnTo>
                    <a:lnTo>
                      <a:pt x="41" y="52"/>
                    </a:lnTo>
                    <a:lnTo>
                      <a:pt x="40" y="47"/>
                    </a:lnTo>
                    <a:lnTo>
                      <a:pt x="40" y="45"/>
                    </a:lnTo>
                    <a:lnTo>
                      <a:pt x="40" y="42"/>
                    </a:lnTo>
                    <a:lnTo>
                      <a:pt x="38" y="39"/>
                    </a:lnTo>
                    <a:lnTo>
                      <a:pt x="35" y="32"/>
                    </a:lnTo>
                    <a:lnTo>
                      <a:pt x="32" y="26"/>
                    </a:lnTo>
                    <a:lnTo>
                      <a:pt x="29" y="27"/>
                    </a:lnTo>
                    <a:lnTo>
                      <a:pt x="29" y="26"/>
                    </a:lnTo>
                    <a:lnTo>
                      <a:pt x="26" y="26"/>
                    </a:lnTo>
                    <a:lnTo>
                      <a:pt x="30" y="24"/>
                    </a:lnTo>
                    <a:lnTo>
                      <a:pt x="29" y="22"/>
                    </a:lnTo>
                    <a:lnTo>
                      <a:pt x="27" y="21"/>
                    </a:lnTo>
                    <a:lnTo>
                      <a:pt x="25" y="17"/>
                    </a:lnTo>
                    <a:lnTo>
                      <a:pt x="23" y="17"/>
                    </a:lnTo>
                    <a:lnTo>
                      <a:pt x="22" y="14"/>
                    </a:lnTo>
                    <a:lnTo>
                      <a:pt x="21" y="12"/>
                    </a:lnTo>
                    <a:lnTo>
                      <a:pt x="21" y="10"/>
                    </a:lnTo>
                    <a:lnTo>
                      <a:pt x="16" y="9"/>
                    </a:lnTo>
                    <a:lnTo>
                      <a:pt x="15" y="10"/>
                    </a:lnTo>
                    <a:lnTo>
                      <a:pt x="13" y="10"/>
                    </a:lnTo>
                    <a:lnTo>
                      <a:pt x="13" y="8"/>
                    </a:lnTo>
                    <a:lnTo>
                      <a:pt x="9" y="7"/>
                    </a:lnTo>
                    <a:lnTo>
                      <a:pt x="9" y="7"/>
                    </a:lnTo>
                    <a:close/>
                  </a:path>
                </a:pathLst>
              </a:custGeom>
              <a:solidFill>
                <a:schemeClr val="accent4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699" name="Freeform 503"/>
              <p:cNvSpPr>
                <a:spLocks/>
              </p:cNvSpPr>
              <p:nvPr userDrawn="1"/>
            </p:nvSpPr>
            <p:spPr bwMode="auto">
              <a:xfrm>
                <a:off x="5073" y="2395"/>
                <a:ext cx="56" cy="33"/>
              </a:xfrm>
              <a:custGeom>
                <a:avLst/>
                <a:gdLst>
                  <a:gd name="T0" fmla="*/ 1 w 56"/>
                  <a:gd name="T1" fmla="*/ 16 h 33"/>
                  <a:gd name="T2" fmla="*/ 5 w 56"/>
                  <a:gd name="T3" fmla="*/ 14 h 33"/>
                  <a:gd name="T4" fmla="*/ 10 w 56"/>
                  <a:gd name="T5" fmla="*/ 6 h 33"/>
                  <a:gd name="T6" fmla="*/ 18 w 56"/>
                  <a:gd name="T7" fmla="*/ 1 h 33"/>
                  <a:gd name="T8" fmla="*/ 24 w 56"/>
                  <a:gd name="T9" fmla="*/ 0 h 33"/>
                  <a:gd name="T10" fmla="*/ 26 w 56"/>
                  <a:gd name="T11" fmla="*/ 3 h 33"/>
                  <a:gd name="T12" fmla="*/ 34 w 56"/>
                  <a:gd name="T13" fmla="*/ 4 h 33"/>
                  <a:gd name="T14" fmla="*/ 38 w 56"/>
                  <a:gd name="T15" fmla="*/ 5 h 33"/>
                  <a:gd name="T16" fmla="*/ 43 w 56"/>
                  <a:gd name="T17" fmla="*/ 3 h 33"/>
                  <a:gd name="T18" fmla="*/ 48 w 56"/>
                  <a:gd name="T19" fmla="*/ 4 h 33"/>
                  <a:gd name="T20" fmla="*/ 51 w 56"/>
                  <a:gd name="T21" fmla="*/ 8 h 33"/>
                  <a:gd name="T22" fmla="*/ 52 w 56"/>
                  <a:gd name="T23" fmla="*/ 8 h 33"/>
                  <a:gd name="T24" fmla="*/ 50 w 56"/>
                  <a:gd name="T25" fmla="*/ 12 h 33"/>
                  <a:gd name="T26" fmla="*/ 51 w 56"/>
                  <a:gd name="T27" fmla="*/ 16 h 33"/>
                  <a:gd name="T28" fmla="*/ 56 w 56"/>
                  <a:gd name="T29" fmla="*/ 18 h 33"/>
                  <a:gd name="T30" fmla="*/ 56 w 56"/>
                  <a:gd name="T31" fmla="*/ 23 h 33"/>
                  <a:gd name="T32" fmla="*/ 56 w 56"/>
                  <a:gd name="T33" fmla="*/ 25 h 33"/>
                  <a:gd name="T34" fmla="*/ 49 w 56"/>
                  <a:gd name="T35" fmla="*/ 28 h 33"/>
                  <a:gd name="T36" fmla="*/ 44 w 56"/>
                  <a:gd name="T37" fmla="*/ 28 h 33"/>
                  <a:gd name="T38" fmla="*/ 37 w 56"/>
                  <a:gd name="T39" fmla="*/ 29 h 33"/>
                  <a:gd name="T40" fmla="*/ 33 w 56"/>
                  <a:gd name="T41" fmla="*/ 28 h 33"/>
                  <a:gd name="T42" fmla="*/ 30 w 56"/>
                  <a:gd name="T43" fmla="*/ 28 h 33"/>
                  <a:gd name="T44" fmla="*/ 26 w 56"/>
                  <a:gd name="T45" fmla="*/ 33 h 33"/>
                  <a:gd name="T46" fmla="*/ 21 w 56"/>
                  <a:gd name="T47" fmla="*/ 33 h 33"/>
                  <a:gd name="T48" fmla="*/ 11 w 56"/>
                  <a:gd name="T49" fmla="*/ 28 h 33"/>
                  <a:gd name="T50" fmla="*/ 10 w 56"/>
                  <a:gd name="T51" fmla="*/ 29 h 33"/>
                  <a:gd name="T52" fmla="*/ 3 w 56"/>
                  <a:gd name="T53" fmla="*/ 28 h 33"/>
                  <a:gd name="T54" fmla="*/ 0 w 56"/>
                  <a:gd name="T55" fmla="*/ 22 h 33"/>
                  <a:gd name="T56" fmla="*/ 1 w 56"/>
                  <a:gd name="T57" fmla="*/ 20 h 33"/>
                  <a:gd name="T58" fmla="*/ 1 w 56"/>
                  <a:gd name="T59" fmla="*/ 16 h 33"/>
                  <a:gd name="T60" fmla="*/ 1 w 56"/>
                  <a:gd name="T61" fmla="*/ 1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56" h="33">
                    <a:moveTo>
                      <a:pt x="1" y="16"/>
                    </a:moveTo>
                    <a:lnTo>
                      <a:pt x="5" y="14"/>
                    </a:lnTo>
                    <a:lnTo>
                      <a:pt x="10" y="6"/>
                    </a:lnTo>
                    <a:lnTo>
                      <a:pt x="18" y="1"/>
                    </a:lnTo>
                    <a:lnTo>
                      <a:pt x="24" y="0"/>
                    </a:lnTo>
                    <a:lnTo>
                      <a:pt x="26" y="3"/>
                    </a:lnTo>
                    <a:lnTo>
                      <a:pt x="34" y="4"/>
                    </a:lnTo>
                    <a:lnTo>
                      <a:pt x="38" y="5"/>
                    </a:lnTo>
                    <a:lnTo>
                      <a:pt x="43" y="3"/>
                    </a:lnTo>
                    <a:lnTo>
                      <a:pt x="48" y="4"/>
                    </a:lnTo>
                    <a:lnTo>
                      <a:pt x="51" y="8"/>
                    </a:lnTo>
                    <a:lnTo>
                      <a:pt x="52" y="8"/>
                    </a:lnTo>
                    <a:lnTo>
                      <a:pt x="50" y="12"/>
                    </a:lnTo>
                    <a:lnTo>
                      <a:pt x="51" y="16"/>
                    </a:lnTo>
                    <a:lnTo>
                      <a:pt x="56" y="18"/>
                    </a:lnTo>
                    <a:lnTo>
                      <a:pt x="56" y="23"/>
                    </a:lnTo>
                    <a:lnTo>
                      <a:pt x="56" y="25"/>
                    </a:lnTo>
                    <a:lnTo>
                      <a:pt x="49" y="28"/>
                    </a:lnTo>
                    <a:lnTo>
                      <a:pt x="44" y="28"/>
                    </a:lnTo>
                    <a:lnTo>
                      <a:pt x="37" y="29"/>
                    </a:lnTo>
                    <a:lnTo>
                      <a:pt x="33" y="28"/>
                    </a:lnTo>
                    <a:lnTo>
                      <a:pt x="30" y="28"/>
                    </a:lnTo>
                    <a:lnTo>
                      <a:pt x="26" y="33"/>
                    </a:lnTo>
                    <a:lnTo>
                      <a:pt x="21" y="33"/>
                    </a:lnTo>
                    <a:lnTo>
                      <a:pt x="11" y="28"/>
                    </a:lnTo>
                    <a:lnTo>
                      <a:pt x="10" y="29"/>
                    </a:lnTo>
                    <a:lnTo>
                      <a:pt x="3" y="28"/>
                    </a:lnTo>
                    <a:lnTo>
                      <a:pt x="0" y="22"/>
                    </a:lnTo>
                    <a:lnTo>
                      <a:pt x="1" y="20"/>
                    </a:lnTo>
                    <a:lnTo>
                      <a:pt x="1" y="16"/>
                    </a:lnTo>
                    <a:lnTo>
                      <a:pt x="1" y="16"/>
                    </a:lnTo>
                    <a:close/>
                  </a:path>
                </a:pathLst>
              </a:custGeom>
              <a:solidFill>
                <a:schemeClr val="accent4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700" name="Freeform 504"/>
              <p:cNvSpPr>
                <a:spLocks/>
              </p:cNvSpPr>
              <p:nvPr userDrawn="1"/>
            </p:nvSpPr>
            <p:spPr bwMode="auto">
              <a:xfrm>
                <a:off x="4954" y="1826"/>
                <a:ext cx="566" cy="258"/>
              </a:xfrm>
              <a:custGeom>
                <a:avLst/>
                <a:gdLst>
                  <a:gd name="T0" fmla="*/ 490 w 566"/>
                  <a:gd name="T1" fmla="*/ 27 h 258"/>
                  <a:gd name="T2" fmla="*/ 486 w 566"/>
                  <a:gd name="T3" fmla="*/ 79 h 258"/>
                  <a:gd name="T4" fmla="*/ 522 w 566"/>
                  <a:gd name="T5" fmla="*/ 90 h 258"/>
                  <a:gd name="T6" fmla="*/ 541 w 566"/>
                  <a:gd name="T7" fmla="*/ 74 h 258"/>
                  <a:gd name="T8" fmla="*/ 566 w 566"/>
                  <a:gd name="T9" fmla="*/ 103 h 258"/>
                  <a:gd name="T10" fmla="*/ 559 w 566"/>
                  <a:gd name="T11" fmla="*/ 111 h 258"/>
                  <a:gd name="T12" fmla="*/ 537 w 566"/>
                  <a:gd name="T13" fmla="*/ 119 h 258"/>
                  <a:gd name="T14" fmla="*/ 524 w 566"/>
                  <a:gd name="T15" fmla="*/ 124 h 258"/>
                  <a:gd name="T16" fmla="*/ 516 w 566"/>
                  <a:gd name="T17" fmla="*/ 142 h 258"/>
                  <a:gd name="T18" fmla="*/ 489 w 566"/>
                  <a:gd name="T19" fmla="*/ 156 h 258"/>
                  <a:gd name="T20" fmla="*/ 473 w 566"/>
                  <a:gd name="T21" fmla="*/ 165 h 258"/>
                  <a:gd name="T22" fmla="*/ 442 w 566"/>
                  <a:gd name="T23" fmla="*/ 164 h 258"/>
                  <a:gd name="T24" fmla="*/ 454 w 566"/>
                  <a:gd name="T25" fmla="*/ 191 h 258"/>
                  <a:gd name="T26" fmla="*/ 435 w 566"/>
                  <a:gd name="T27" fmla="*/ 222 h 258"/>
                  <a:gd name="T28" fmla="*/ 407 w 566"/>
                  <a:gd name="T29" fmla="*/ 231 h 258"/>
                  <a:gd name="T30" fmla="*/ 360 w 566"/>
                  <a:gd name="T31" fmla="*/ 249 h 258"/>
                  <a:gd name="T32" fmla="*/ 338 w 566"/>
                  <a:gd name="T33" fmla="*/ 252 h 258"/>
                  <a:gd name="T34" fmla="*/ 288 w 566"/>
                  <a:gd name="T35" fmla="*/ 242 h 258"/>
                  <a:gd name="T36" fmla="*/ 248 w 566"/>
                  <a:gd name="T37" fmla="*/ 235 h 258"/>
                  <a:gd name="T38" fmla="*/ 197 w 566"/>
                  <a:gd name="T39" fmla="*/ 239 h 258"/>
                  <a:gd name="T40" fmla="*/ 173 w 566"/>
                  <a:gd name="T41" fmla="*/ 222 h 258"/>
                  <a:gd name="T42" fmla="*/ 161 w 566"/>
                  <a:gd name="T43" fmla="*/ 207 h 258"/>
                  <a:gd name="T44" fmla="*/ 148 w 566"/>
                  <a:gd name="T45" fmla="*/ 199 h 258"/>
                  <a:gd name="T46" fmla="*/ 126 w 566"/>
                  <a:gd name="T47" fmla="*/ 188 h 258"/>
                  <a:gd name="T48" fmla="*/ 80 w 566"/>
                  <a:gd name="T49" fmla="*/ 184 h 258"/>
                  <a:gd name="T50" fmla="*/ 75 w 566"/>
                  <a:gd name="T51" fmla="*/ 166 h 258"/>
                  <a:gd name="T52" fmla="*/ 72 w 566"/>
                  <a:gd name="T53" fmla="*/ 148 h 258"/>
                  <a:gd name="T54" fmla="*/ 60 w 566"/>
                  <a:gd name="T55" fmla="*/ 133 h 258"/>
                  <a:gd name="T56" fmla="*/ 47 w 566"/>
                  <a:gd name="T57" fmla="*/ 120 h 258"/>
                  <a:gd name="T58" fmla="*/ 35 w 566"/>
                  <a:gd name="T59" fmla="*/ 117 h 258"/>
                  <a:gd name="T60" fmla="*/ 21 w 566"/>
                  <a:gd name="T61" fmla="*/ 121 h 258"/>
                  <a:gd name="T62" fmla="*/ 8 w 566"/>
                  <a:gd name="T63" fmla="*/ 108 h 258"/>
                  <a:gd name="T64" fmla="*/ 3 w 566"/>
                  <a:gd name="T65" fmla="*/ 101 h 258"/>
                  <a:gd name="T66" fmla="*/ 0 w 566"/>
                  <a:gd name="T67" fmla="*/ 91 h 258"/>
                  <a:gd name="T68" fmla="*/ 24 w 566"/>
                  <a:gd name="T69" fmla="*/ 77 h 258"/>
                  <a:gd name="T70" fmla="*/ 37 w 566"/>
                  <a:gd name="T71" fmla="*/ 62 h 258"/>
                  <a:gd name="T72" fmla="*/ 46 w 566"/>
                  <a:gd name="T73" fmla="*/ 53 h 258"/>
                  <a:gd name="T74" fmla="*/ 66 w 566"/>
                  <a:gd name="T75" fmla="*/ 44 h 258"/>
                  <a:gd name="T76" fmla="*/ 80 w 566"/>
                  <a:gd name="T77" fmla="*/ 49 h 258"/>
                  <a:gd name="T78" fmla="*/ 98 w 566"/>
                  <a:gd name="T79" fmla="*/ 49 h 258"/>
                  <a:gd name="T80" fmla="*/ 122 w 566"/>
                  <a:gd name="T81" fmla="*/ 65 h 258"/>
                  <a:gd name="T82" fmla="*/ 142 w 566"/>
                  <a:gd name="T83" fmla="*/ 62 h 258"/>
                  <a:gd name="T84" fmla="*/ 167 w 566"/>
                  <a:gd name="T85" fmla="*/ 62 h 258"/>
                  <a:gd name="T86" fmla="*/ 165 w 566"/>
                  <a:gd name="T87" fmla="*/ 39 h 258"/>
                  <a:gd name="T88" fmla="*/ 156 w 566"/>
                  <a:gd name="T89" fmla="*/ 17 h 258"/>
                  <a:gd name="T90" fmla="*/ 163 w 566"/>
                  <a:gd name="T91" fmla="*/ 4 h 258"/>
                  <a:gd name="T92" fmla="*/ 182 w 566"/>
                  <a:gd name="T93" fmla="*/ 5 h 258"/>
                  <a:gd name="T94" fmla="*/ 202 w 566"/>
                  <a:gd name="T95" fmla="*/ 11 h 258"/>
                  <a:gd name="T96" fmla="*/ 225 w 566"/>
                  <a:gd name="T97" fmla="*/ 17 h 258"/>
                  <a:gd name="T98" fmla="*/ 230 w 566"/>
                  <a:gd name="T99" fmla="*/ 33 h 258"/>
                  <a:gd name="T100" fmla="*/ 251 w 566"/>
                  <a:gd name="T101" fmla="*/ 45 h 258"/>
                  <a:gd name="T102" fmla="*/ 267 w 566"/>
                  <a:gd name="T103" fmla="*/ 44 h 258"/>
                  <a:gd name="T104" fmla="*/ 294 w 566"/>
                  <a:gd name="T105" fmla="*/ 35 h 258"/>
                  <a:gd name="T106" fmla="*/ 325 w 566"/>
                  <a:gd name="T107" fmla="*/ 44 h 258"/>
                  <a:gd name="T108" fmla="*/ 345 w 566"/>
                  <a:gd name="T109" fmla="*/ 53 h 258"/>
                  <a:gd name="T110" fmla="*/ 380 w 566"/>
                  <a:gd name="T111" fmla="*/ 59 h 258"/>
                  <a:gd name="T112" fmla="*/ 399 w 566"/>
                  <a:gd name="T113" fmla="*/ 54 h 258"/>
                  <a:gd name="T114" fmla="*/ 428 w 566"/>
                  <a:gd name="T115" fmla="*/ 44 h 258"/>
                  <a:gd name="T116" fmla="*/ 439 w 566"/>
                  <a:gd name="T117" fmla="*/ 26 h 258"/>
                  <a:gd name="T118" fmla="*/ 459 w 566"/>
                  <a:gd name="T119" fmla="*/ 26 h 2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566" h="258">
                    <a:moveTo>
                      <a:pt x="470" y="30"/>
                    </a:moveTo>
                    <a:lnTo>
                      <a:pt x="473" y="30"/>
                    </a:lnTo>
                    <a:lnTo>
                      <a:pt x="477" y="28"/>
                    </a:lnTo>
                    <a:lnTo>
                      <a:pt x="477" y="26"/>
                    </a:lnTo>
                    <a:lnTo>
                      <a:pt x="483" y="26"/>
                    </a:lnTo>
                    <a:lnTo>
                      <a:pt x="490" y="27"/>
                    </a:lnTo>
                    <a:lnTo>
                      <a:pt x="493" y="29"/>
                    </a:lnTo>
                    <a:lnTo>
                      <a:pt x="488" y="57"/>
                    </a:lnTo>
                    <a:lnTo>
                      <a:pt x="489" y="63"/>
                    </a:lnTo>
                    <a:lnTo>
                      <a:pt x="487" y="68"/>
                    </a:lnTo>
                    <a:lnTo>
                      <a:pt x="488" y="71"/>
                    </a:lnTo>
                    <a:lnTo>
                      <a:pt x="486" y="79"/>
                    </a:lnTo>
                    <a:lnTo>
                      <a:pt x="489" y="85"/>
                    </a:lnTo>
                    <a:lnTo>
                      <a:pt x="497" y="89"/>
                    </a:lnTo>
                    <a:lnTo>
                      <a:pt x="503" y="85"/>
                    </a:lnTo>
                    <a:lnTo>
                      <a:pt x="511" y="85"/>
                    </a:lnTo>
                    <a:lnTo>
                      <a:pt x="518" y="86"/>
                    </a:lnTo>
                    <a:lnTo>
                      <a:pt x="522" y="90"/>
                    </a:lnTo>
                    <a:lnTo>
                      <a:pt x="527" y="83"/>
                    </a:lnTo>
                    <a:lnTo>
                      <a:pt x="526" y="79"/>
                    </a:lnTo>
                    <a:lnTo>
                      <a:pt x="526" y="75"/>
                    </a:lnTo>
                    <a:lnTo>
                      <a:pt x="532" y="74"/>
                    </a:lnTo>
                    <a:lnTo>
                      <a:pt x="534" y="72"/>
                    </a:lnTo>
                    <a:lnTo>
                      <a:pt x="541" y="74"/>
                    </a:lnTo>
                    <a:lnTo>
                      <a:pt x="546" y="80"/>
                    </a:lnTo>
                    <a:lnTo>
                      <a:pt x="553" y="86"/>
                    </a:lnTo>
                    <a:lnTo>
                      <a:pt x="559" y="92"/>
                    </a:lnTo>
                    <a:lnTo>
                      <a:pt x="565" y="97"/>
                    </a:lnTo>
                    <a:lnTo>
                      <a:pt x="565" y="100"/>
                    </a:lnTo>
                    <a:lnTo>
                      <a:pt x="566" y="103"/>
                    </a:lnTo>
                    <a:lnTo>
                      <a:pt x="566" y="106"/>
                    </a:lnTo>
                    <a:lnTo>
                      <a:pt x="565" y="108"/>
                    </a:lnTo>
                    <a:lnTo>
                      <a:pt x="565" y="111"/>
                    </a:lnTo>
                    <a:lnTo>
                      <a:pt x="563" y="113"/>
                    </a:lnTo>
                    <a:lnTo>
                      <a:pt x="560" y="112"/>
                    </a:lnTo>
                    <a:lnTo>
                      <a:pt x="559" y="111"/>
                    </a:lnTo>
                    <a:lnTo>
                      <a:pt x="555" y="111"/>
                    </a:lnTo>
                    <a:lnTo>
                      <a:pt x="553" y="113"/>
                    </a:lnTo>
                    <a:lnTo>
                      <a:pt x="548" y="110"/>
                    </a:lnTo>
                    <a:lnTo>
                      <a:pt x="544" y="111"/>
                    </a:lnTo>
                    <a:lnTo>
                      <a:pt x="541" y="115"/>
                    </a:lnTo>
                    <a:lnTo>
                      <a:pt x="537" y="119"/>
                    </a:lnTo>
                    <a:lnTo>
                      <a:pt x="534" y="120"/>
                    </a:lnTo>
                    <a:lnTo>
                      <a:pt x="530" y="118"/>
                    </a:lnTo>
                    <a:lnTo>
                      <a:pt x="529" y="118"/>
                    </a:lnTo>
                    <a:lnTo>
                      <a:pt x="528" y="122"/>
                    </a:lnTo>
                    <a:lnTo>
                      <a:pt x="527" y="124"/>
                    </a:lnTo>
                    <a:lnTo>
                      <a:pt x="524" y="124"/>
                    </a:lnTo>
                    <a:lnTo>
                      <a:pt x="522" y="124"/>
                    </a:lnTo>
                    <a:lnTo>
                      <a:pt x="521" y="126"/>
                    </a:lnTo>
                    <a:lnTo>
                      <a:pt x="518" y="131"/>
                    </a:lnTo>
                    <a:lnTo>
                      <a:pt x="517" y="136"/>
                    </a:lnTo>
                    <a:lnTo>
                      <a:pt x="517" y="140"/>
                    </a:lnTo>
                    <a:lnTo>
                      <a:pt x="516" y="142"/>
                    </a:lnTo>
                    <a:lnTo>
                      <a:pt x="512" y="143"/>
                    </a:lnTo>
                    <a:lnTo>
                      <a:pt x="503" y="149"/>
                    </a:lnTo>
                    <a:lnTo>
                      <a:pt x="499" y="149"/>
                    </a:lnTo>
                    <a:lnTo>
                      <a:pt x="495" y="148"/>
                    </a:lnTo>
                    <a:lnTo>
                      <a:pt x="493" y="149"/>
                    </a:lnTo>
                    <a:lnTo>
                      <a:pt x="489" y="156"/>
                    </a:lnTo>
                    <a:lnTo>
                      <a:pt x="486" y="158"/>
                    </a:lnTo>
                    <a:lnTo>
                      <a:pt x="481" y="161"/>
                    </a:lnTo>
                    <a:lnTo>
                      <a:pt x="479" y="164"/>
                    </a:lnTo>
                    <a:lnTo>
                      <a:pt x="478" y="167"/>
                    </a:lnTo>
                    <a:lnTo>
                      <a:pt x="476" y="167"/>
                    </a:lnTo>
                    <a:lnTo>
                      <a:pt x="473" y="165"/>
                    </a:lnTo>
                    <a:lnTo>
                      <a:pt x="468" y="164"/>
                    </a:lnTo>
                    <a:lnTo>
                      <a:pt x="462" y="162"/>
                    </a:lnTo>
                    <a:lnTo>
                      <a:pt x="457" y="159"/>
                    </a:lnTo>
                    <a:lnTo>
                      <a:pt x="453" y="159"/>
                    </a:lnTo>
                    <a:lnTo>
                      <a:pt x="446" y="161"/>
                    </a:lnTo>
                    <a:lnTo>
                      <a:pt x="442" y="164"/>
                    </a:lnTo>
                    <a:lnTo>
                      <a:pt x="439" y="168"/>
                    </a:lnTo>
                    <a:lnTo>
                      <a:pt x="439" y="176"/>
                    </a:lnTo>
                    <a:lnTo>
                      <a:pt x="439" y="179"/>
                    </a:lnTo>
                    <a:lnTo>
                      <a:pt x="439" y="181"/>
                    </a:lnTo>
                    <a:lnTo>
                      <a:pt x="447" y="187"/>
                    </a:lnTo>
                    <a:lnTo>
                      <a:pt x="454" y="191"/>
                    </a:lnTo>
                    <a:lnTo>
                      <a:pt x="454" y="194"/>
                    </a:lnTo>
                    <a:lnTo>
                      <a:pt x="453" y="197"/>
                    </a:lnTo>
                    <a:lnTo>
                      <a:pt x="451" y="200"/>
                    </a:lnTo>
                    <a:lnTo>
                      <a:pt x="442" y="209"/>
                    </a:lnTo>
                    <a:lnTo>
                      <a:pt x="437" y="217"/>
                    </a:lnTo>
                    <a:lnTo>
                      <a:pt x="435" y="222"/>
                    </a:lnTo>
                    <a:lnTo>
                      <a:pt x="431" y="222"/>
                    </a:lnTo>
                    <a:lnTo>
                      <a:pt x="426" y="224"/>
                    </a:lnTo>
                    <a:lnTo>
                      <a:pt x="422" y="224"/>
                    </a:lnTo>
                    <a:lnTo>
                      <a:pt x="417" y="227"/>
                    </a:lnTo>
                    <a:lnTo>
                      <a:pt x="411" y="231"/>
                    </a:lnTo>
                    <a:lnTo>
                      <a:pt x="407" y="231"/>
                    </a:lnTo>
                    <a:lnTo>
                      <a:pt x="399" y="232"/>
                    </a:lnTo>
                    <a:lnTo>
                      <a:pt x="394" y="234"/>
                    </a:lnTo>
                    <a:lnTo>
                      <a:pt x="388" y="236"/>
                    </a:lnTo>
                    <a:lnTo>
                      <a:pt x="375" y="240"/>
                    </a:lnTo>
                    <a:lnTo>
                      <a:pt x="365" y="243"/>
                    </a:lnTo>
                    <a:lnTo>
                      <a:pt x="360" y="249"/>
                    </a:lnTo>
                    <a:lnTo>
                      <a:pt x="351" y="255"/>
                    </a:lnTo>
                    <a:lnTo>
                      <a:pt x="348" y="258"/>
                    </a:lnTo>
                    <a:lnTo>
                      <a:pt x="344" y="258"/>
                    </a:lnTo>
                    <a:lnTo>
                      <a:pt x="339" y="256"/>
                    </a:lnTo>
                    <a:lnTo>
                      <a:pt x="339" y="254"/>
                    </a:lnTo>
                    <a:lnTo>
                      <a:pt x="338" y="252"/>
                    </a:lnTo>
                    <a:lnTo>
                      <a:pt x="330" y="254"/>
                    </a:lnTo>
                    <a:lnTo>
                      <a:pt x="323" y="255"/>
                    </a:lnTo>
                    <a:lnTo>
                      <a:pt x="317" y="251"/>
                    </a:lnTo>
                    <a:lnTo>
                      <a:pt x="312" y="251"/>
                    </a:lnTo>
                    <a:lnTo>
                      <a:pt x="300" y="246"/>
                    </a:lnTo>
                    <a:lnTo>
                      <a:pt x="288" y="242"/>
                    </a:lnTo>
                    <a:lnTo>
                      <a:pt x="282" y="236"/>
                    </a:lnTo>
                    <a:lnTo>
                      <a:pt x="278" y="236"/>
                    </a:lnTo>
                    <a:lnTo>
                      <a:pt x="264" y="234"/>
                    </a:lnTo>
                    <a:lnTo>
                      <a:pt x="253" y="235"/>
                    </a:lnTo>
                    <a:lnTo>
                      <a:pt x="250" y="234"/>
                    </a:lnTo>
                    <a:lnTo>
                      <a:pt x="248" y="235"/>
                    </a:lnTo>
                    <a:lnTo>
                      <a:pt x="247" y="237"/>
                    </a:lnTo>
                    <a:lnTo>
                      <a:pt x="241" y="240"/>
                    </a:lnTo>
                    <a:lnTo>
                      <a:pt x="233" y="241"/>
                    </a:lnTo>
                    <a:lnTo>
                      <a:pt x="217" y="239"/>
                    </a:lnTo>
                    <a:lnTo>
                      <a:pt x="206" y="240"/>
                    </a:lnTo>
                    <a:lnTo>
                      <a:pt x="197" y="239"/>
                    </a:lnTo>
                    <a:lnTo>
                      <a:pt x="191" y="240"/>
                    </a:lnTo>
                    <a:lnTo>
                      <a:pt x="187" y="241"/>
                    </a:lnTo>
                    <a:lnTo>
                      <a:pt x="183" y="240"/>
                    </a:lnTo>
                    <a:lnTo>
                      <a:pt x="179" y="232"/>
                    </a:lnTo>
                    <a:lnTo>
                      <a:pt x="177" y="228"/>
                    </a:lnTo>
                    <a:lnTo>
                      <a:pt x="173" y="222"/>
                    </a:lnTo>
                    <a:lnTo>
                      <a:pt x="171" y="219"/>
                    </a:lnTo>
                    <a:lnTo>
                      <a:pt x="169" y="214"/>
                    </a:lnTo>
                    <a:lnTo>
                      <a:pt x="168" y="211"/>
                    </a:lnTo>
                    <a:lnTo>
                      <a:pt x="166" y="208"/>
                    </a:lnTo>
                    <a:lnTo>
                      <a:pt x="163" y="207"/>
                    </a:lnTo>
                    <a:lnTo>
                      <a:pt x="161" y="207"/>
                    </a:lnTo>
                    <a:lnTo>
                      <a:pt x="160" y="205"/>
                    </a:lnTo>
                    <a:lnTo>
                      <a:pt x="160" y="202"/>
                    </a:lnTo>
                    <a:lnTo>
                      <a:pt x="158" y="201"/>
                    </a:lnTo>
                    <a:lnTo>
                      <a:pt x="157" y="202"/>
                    </a:lnTo>
                    <a:lnTo>
                      <a:pt x="151" y="202"/>
                    </a:lnTo>
                    <a:lnTo>
                      <a:pt x="148" y="199"/>
                    </a:lnTo>
                    <a:lnTo>
                      <a:pt x="140" y="195"/>
                    </a:lnTo>
                    <a:lnTo>
                      <a:pt x="138" y="195"/>
                    </a:lnTo>
                    <a:lnTo>
                      <a:pt x="136" y="195"/>
                    </a:lnTo>
                    <a:lnTo>
                      <a:pt x="133" y="194"/>
                    </a:lnTo>
                    <a:lnTo>
                      <a:pt x="131" y="192"/>
                    </a:lnTo>
                    <a:lnTo>
                      <a:pt x="126" y="188"/>
                    </a:lnTo>
                    <a:lnTo>
                      <a:pt x="113" y="185"/>
                    </a:lnTo>
                    <a:lnTo>
                      <a:pt x="112" y="186"/>
                    </a:lnTo>
                    <a:lnTo>
                      <a:pt x="110" y="187"/>
                    </a:lnTo>
                    <a:lnTo>
                      <a:pt x="106" y="188"/>
                    </a:lnTo>
                    <a:lnTo>
                      <a:pt x="98" y="188"/>
                    </a:lnTo>
                    <a:lnTo>
                      <a:pt x="80" y="184"/>
                    </a:lnTo>
                    <a:lnTo>
                      <a:pt x="76" y="181"/>
                    </a:lnTo>
                    <a:lnTo>
                      <a:pt x="71" y="176"/>
                    </a:lnTo>
                    <a:lnTo>
                      <a:pt x="71" y="173"/>
                    </a:lnTo>
                    <a:lnTo>
                      <a:pt x="71" y="170"/>
                    </a:lnTo>
                    <a:lnTo>
                      <a:pt x="72" y="169"/>
                    </a:lnTo>
                    <a:lnTo>
                      <a:pt x="75" y="166"/>
                    </a:lnTo>
                    <a:lnTo>
                      <a:pt x="76" y="163"/>
                    </a:lnTo>
                    <a:lnTo>
                      <a:pt x="74" y="161"/>
                    </a:lnTo>
                    <a:lnTo>
                      <a:pt x="73" y="156"/>
                    </a:lnTo>
                    <a:lnTo>
                      <a:pt x="74" y="155"/>
                    </a:lnTo>
                    <a:lnTo>
                      <a:pt x="73" y="151"/>
                    </a:lnTo>
                    <a:lnTo>
                      <a:pt x="72" y="148"/>
                    </a:lnTo>
                    <a:lnTo>
                      <a:pt x="69" y="145"/>
                    </a:lnTo>
                    <a:lnTo>
                      <a:pt x="67" y="143"/>
                    </a:lnTo>
                    <a:lnTo>
                      <a:pt x="65" y="141"/>
                    </a:lnTo>
                    <a:lnTo>
                      <a:pt x="63" y="138"/>
                    </a:lnTo>
                    <a:lnTo>
                      <a:pt x="61" y="135"/>
                    </a:lnTo>
                    <a:lnTo>
                      <a:pt x="60" y="133"/>
                    </a:lnTo>
                    <a:lnTo>
                      <a:pt x="60" y="130"/>
                    </a:lnTo>
                    <a:lnTo>
                      <a:pt x="58" y="127"/>
                    </a:lnTo>
                    <a:lnTo>
                      <a:pt x="54" y="124"/>
                    </a:lnTo>
                    <a:lnTo>
                      <a:pt x="52" y="123"/>
                    </a:lnTo>
                    <a:lnTo>
                      <a:pt x="50" y="121"/>
                    </a:lnTo>
                    <a:lnTo>
                      <a:pt x="47" y="120"/>
                    </a:lnTo>
                    <a:lnTo>
                      <a:pt x="44" y="120"/>
                    </a:lnTo>
                    <a:lnTo>
                      <a:pt x="43" y="122"/>
                    </a:lnTo>
                    <a:lnTo>
                      <a:pt x="41" y="123"/>
                    </a:lnTo>
                    <a:lnTo>
                      <a:pt x="39" y="122"/>
                    </a:lnTo>
                    <a:lnTo>
                      <a:pt x="36" y="119"/>
                    </a:lnTo>
                    <a:lnTo>
                      <a:pt x="35" y="117"/>
                    </a:lnTo>
                    <a:lnTo>
                      <a:pt x="31" y="117"/>
                    </a:lnTo>
                    <a:lnTo>
                      <a:pt x="28" y="119"/>
                    </a:lnTo>
                    <a:lnTo>
                      <a:pt x="26" y="121"/>
                    </a:lnTo>
                    <a:lnTo>
                      <a:pt x="25" y="123"/>
                    </a:lnTo>
                    <a:lnTo>
                      <a:pt x="24" y="123"/>
                    </a:lnTo>
                    <a:lnTo>
                      <a:pt x="21" y="121"/>
                    </a:lnTo>
                    <a:lnTo>
                      <a:pt x="20" y="118"/>
                    </a:lnTo>
                    <a:lnTo>
                      <a:pt x="20" y="117"/>
                    </a:lnTo>
                    <a:lnTo>
                      <a:pt x="17" y="113"/>
                    </a:lnTo>
                    <a:lnTo>
                      <a:pt x="13" y="112"/>
                    </a:lnTo>
                    <a:lnTo>
                      <a:pt x="10" y="109"/>
                    </a:lnTo>
                    <a:lnTo>
                      <a:pt x="8" y="108"/>
                    </a:lnTo>
                    <a:lnTo>
                      <a:pt x="6" y="106"/>
                    </a:lnTo>
                    <a:lnTo>
                      <a:pt x="5" y="104"/>
                    </a:lnTo>
                    <a:lnTo>
                      <a:pt x="5" y="101"/>
                    </a:lnTo>
                    <a:lnTo>
                      <a:pt x="4" y="99"/>
                    </a:lnTo>
                    <a:lnTo>
                      <a:pt x="3" y="100"/>
                    </a:lnTo>
                    <a:lnTo>
                      <a:pt x="3" y="101"/>
                    </a:lnTo>
                    <a:lnTo>
                      <a:pt x="2" y="101"/>
                    </a:lnTo>
                    <a:lnTo>
                      <a:pt x="0" y="99"/>
                    </a:lnTo>
                    <a:lnTo>
                      <a:pt x="0" y="98"/>
                    </a:lnTo>
                    <a:lnTo>
                      <a:pt x="0" y="93"/>
                    </a:lnTo>
                    <a:lnTo>
                      <a:pt x="0" y="91"/>
                    </a:lnTo>
                    <a:lnTo>
                      <a:pt x="0" y="91"/>
                    </a:lnTo>
                    <a:lnTo>
                      <a:pt x="2" y="85"/>
                    </a:lnTo>
                    <a:lnTo>
                      <a:pt x="6" y="84"/>
                    </a:lnTo>
                    <a:lnTo>
                      <a:pt x="14" y="84"/>
                    </a:lnTo>
                    <a:lnTo>
                      <a:pt x="16" y="82"/>
                    </a:lnTo>
                    <a:lnTo>
                      <a:pt x="19" y="79"/>
                    </a:lnTo>
                    <a:lnTo>
                      <a:pt x="24" y="77"/>
                    </a:lnTo>
                    <a:lnTo>
                      <a:pt x="24" y="73"/>
                    </a:lnTo>
                    <a:lnTo>
                      <a:pt x="26" y="69"/>
                    </a:lnTo>
                    <a:lnTo>
                      <a:pt x="31" y="68"/>
                    </a:lnTo>
                    <a:lnTo>
                      <a:pt x="31" y="65"/>
                    </a:lnTo>
                    <a:lnTo>
                      <a:pt x="34" y="62"/>
                    </a:lnTo>
                    <a:lnTo>
                      <a:pt x="37" y="62"/>
                    </a:lnTo>
                    <a:lnTo>
                      <a:pt x="40" y="58"/>
                    </a:lnTo>
                    <a:lnTo>
                      <a:pt x="42" y="57"/>
                    </a:lnTo>
                    <a:lnTo>
                      <a:pt x="39" y="55"/>
                    </a:lnTo>
                    <a:lnTo>
                      <a:pt x="39" y="52"/>
                    </a:lnTo>
                    <a:lnTo>
                      <a:pt x="41" y="51"/>
                    </a:lnTo>
                    <a:lnTo>
                      <a:pt x="46" y="53"/>
                    </a:lnTo>
                    <a:lnTo>
                      <a:pt x="49" y="51"/>
                    </a:lnTo>
                    <a:lnTo>
                      <a:pt x="51" y="47"/>
                    </a:lnTo>
                    <a:lnTo>
                      <a:pt x="54" y="46"/>
                    </a:lnTo>
                    <a:lnTo>
                      <a:pt x="60" y="45"/>
                    </a:lnTo>
                    <a:lnTo>
                      <a:pt x="64" y="44"/>
                    </a:lnTo>
                    <a:lnTo>
                      <a:pt x="66" y="44"/>
                    </a:lnTo>
                    <a:lnTo>
                      <a:pt x="71" y="45"/>
                    </a:lnTo>
                    <a:lnTo>
                      <a:pt x="74" y="43"/>
                    </a:lnTo>
                    <a:lnTo>
                      <a:pt x="75" y="43"/>
                    </a:lnTo>
                    <a:lnTo>
                      <a:pt x="77" y="46"/>
                    </a:lnTo>
                    <a:lnTo>
                      <a:pt x="77" y="48"/>
                    </a:lnTo>
                    <a:lnTo>
                      <a:pt x="80" y="49"/>
                    </a:lnTo>
                    <a:lnTo>
                      <a:pt x="84" y="49"/>
                    </a:lnTo>
                    <a:lnTo>
                      <a:pt x="86" y="49"/>
                    </a:lnTo>
                    <a:lnTo>
                      <a:pt x="88" y="49"/>
                    </a:lnTo>
                    <a:lnTo>
                      <a:pt x="91" y="48"/>
                    </a:lnTo>
                    <a:lnTo>
                      <a:pt x="97" y="48"/>
                    </a:lnTo>
                    <a:lnTo>
                      <a:pt x="98" y="49"/>
                    </a:lnTo>
                    <a:lnTo>
                      <a:pt x="99" y="53"/>
                    </a:lnTo>
                    <a:lnTo>
                      <a:pt x="100" y="55"/>
                    </a:lnTo>
                    <a:lnTo>
                      <a:pt x="109" y="60"/>
                    </a:lnTo>
                    <a:lnTo>
                      <a:pt x="112" y="63"/>
                    </a:lnTo>
                    <a:lnTo>
                      <a:pt x="119" y="66"/>
                    </a:lnTo>
                    <a:lnTo>
                      <a:pt x="122" y="65"/>
                    </a:lnTo>
                    <a:lnTo>
                      <a:pt x="126" y="63"/>
                    </a:lnTo>
                    <a:lnTo>
                      <a:pt x="129" y="60"/>
                    </a:lnTo>
                    <a:lnTo>
                      <a:pt x="132" y="60"/>
                    </a:lnTo>
                    <a:lnTo>
                      <a:pt x="136" y="61"/>
                    </a:lnTo>
                    <a:lnTo>
                      <a:pt x="138" y="63"/>
                    </a:lnTo>
                    <a:lnTo>
                      <a:pt x="142" y="62"/>
                    </a:lnTo>
                    <a:lnTo>
                      <a:pt x="150" y="62"/>
                    </a:lnTo>
                    <a:lnTo>
                      <a:pt x="152" y="64"/>
                    </a:lnTo>
                    <a:lnTo>
                      <a:pt x="156" y="63"/>
                    </a:lnTo>
                    <a:lnTo>
                      <a:pt x="156" y="62"/>
                    </a:lnTo>
                    <a:lnTo>
                      <a:pt x="160" y="63"/>
                    </a:lnTo>
                    <a:lnTo>
                      <a:pt x="167" y="62"/>
                    </a:lnTo>
                    <a:lnTo>
                      <a:pt x="170" y="57"/>
                    </a:lnTo>
                    <a:lnTo>
                      <a:pt x="168" y="54"/>
                    </a:lnTo>
                    <a:lnTo>
                      <a:pt x="164" y="52"/>
                    </a:lnTo>
                    <a:lnTo>
                      <a:pt x="164" y="47"/>
                    </a:lnTo>
                    <a:lnTo>
                      <a:pt x="165" y="41"/>
                    </a:lnTo>
                    <a:lnTo>
                      <a:pt x="165" y="39"/>
                    </a:lnTo>
                    <a:lnTo>
                      <a:pt x="161" y="38"/>
                    </a:lnTo>
                    <a:lnTo>
                      <a:pt x="159" y="35"/>
                    </a:lnTo>
                    <a:lnTo>
                      <a:pt x="154" y="34"/>
                    </a:lnTo>
                    <a:lnTo>
                      <a:pt x="152" y="29"/>
                    </a:lnTo>
                    <a:lnTo>
                      <a:pt x="152" y="21"/>
                    </a:lnTo>
                    <a:lnTo>
                      <a:pt x="156" y="17"/>
                    </a:lnTo>
                    <a:lnTo>
                      <a:pt x="156" y="14"/>
                    </a:lnTo>
                    <a:lnTo>
                      <a:pt x="158" y="11"/>
                    </a:lnTo>
                    <a:lnTo>
                      <a:pt x="161" y="10"/>
                    </a:lnTo>
                    <a:lnTo>
                      <a:pt x="163" y="10"/>
                    </a:lnTo>
                    <a:lnTo>
                      <a:pt x="165" y="7"/>
                    </a:lnTo>
                    <a:lnTo>
                      <a:pt x="163" y="4"/>
                    </a:lnTo>
                    <a:lnTo>
                      <a:pt x="164" y="2"/>
                    </a:lnTo>
                    <a:lnTo>
                      <a:pt x="166" y="0"/>
                    </a:lnTo>
                    <a:lnTo>
                      <a:pt x="170" y="1"/>
                    </a:lnTo>
                    <a:lnTo>
                      <a:pt x="172" y="2"/>
                    </a:lnTo>
                    <a:lnTo>
                      <a:pt x="177" y="3"/>
                    </a:lnTo>
                    <a:lnTo>
                      <a:pt x="182" y="5"/>
                    </a:lnTo>
                    <a:lnTo>
                      <a:pt x="183" y="6"/>
                    </a:lnTo>
                    <a:lnTo>
                      <a:pt x="187" y="8"/>
                    </a:lnTo>
                    <a:lnTo>
                      <a:pt x="192" y="8"/>
                    </a:lnTo>
                    <a:lnTo>
                      <a:pt x="198" y="8"/>
                    </a:lnTo>
                    <a:lnTo>
                      <a:pt x="201" y="9"/>
                    </a:lnTo>
                    <a:lnTo>
                      <a:pt x="202" y="11"/>
                    </a:lnTo>
                    <a:lnTo>
                      <a:pt x="207" y="12"/>
                    </a:lnTo>
                    <a:lnTo>
                      <a:pt x="210" y="13"/>
                    </a:lnTo>
                    <a:lnTo>
                      <a:pt x="213" y="13"/>
                    </a:lnTo>
                    <a:lnTo>
                      <a:pt x="220" y="13"/>
                    </a:lnTo>
                    <a:lnTo>
                      <a:pt x="223" y="14"/>
                    </a:lnTo>
                    <a:lnTo>
                      <a:pt x="225" y="17"/>
                    </a:lnTo>
                    <a:lnTo>
                      <a:pt x="225" y="20"/>
                    </a:lnTo>
                    <a:lnTo>
                      <a:pt x="227" y="22"/>
                    </a:lnTo>
                    <a:lnTo>
                      <a:pt x="227" y="25"/>
                    </a:lnTo>
                    <a:lnTo>
                      <a:pt x="229" y="26"/>
                    </a:lnTo>
                    <a:lnTo>
                      <a:pt x="231" y="30"/>
                    </a:lnTo>
                    <a:lnTo>
                      <a:pt x="230" y="33"/>
                    </a:lnTo>
                    <a:lnTo>
                      <a:pt x="233" y="35"/>
                    </a:lnTo>
                    <a:lnTo>
                      <a:pt x="235" y="35"/>
                    </a:lnTo>
                    <a:lnTo>
                      <a:pt x="238" y="39"/>
                    </a:lnTo>
                    <a:lnTo>
                      <a:pt x="239" y="41"/>
                    </a:lnTo>
                    <a:lnTo>
                      <a:pt x="245" y="42"/>
                    </a:lnTo>
                    <a:lnTo>
                      <a:pt x="251" y="45"/>
                    </a:lnTo>
                    <a:lnTo>
                      <a:pt x="253" y="45"/>
                    </a:lnTo>
                    <a:lnTo>
                      <a:pt x="255" y="44"/>
                    </a:lnTo>
                    <a:lnTo>
                      <a:pt x="260" y="44"/>
                    </a:lnTo>
                    <a:lnTo>
                      <a:pt x="262" y="43"/>
                    </a:lnTo>
                    <a:lnTo>
                      <a:pt x="265" y="43"/>
                    </a:lnTo>
                    <a:lnTo>
                      <a:pt x="267" y="44"/>
                    </a:lnTo>
                    <a:lnTo>
                      <a:pt x="270" y="43"/>
                    </a:lnTo>
                    <a:lnTo>
                      <a:pt x="273" y="39"/>
                    </a:lnTo>
                    <a:lnTo>
                      <a:pt x="279" y="38"/>
                    </a:lnTo>
                    <a:lnTo>
                      <a:pt x="285" y="37"/>
                    </a:lnTo>
                    <a:lnTo>
                      <a:pt x="289" y="35"/>
                    </a:lnTo>
                    <a:lnTo>
                      <a:pt x="294" y="35"/>
                    </a:lnTo>
                    <a:lnTo>
                      <a:pt x="299" y="33"/>
                    </a:lnTo>
                    <a:lnTo>
                      <a:pt x="302" y="36"/>
                    </a:lnTo>
                    <a:lnTo>
                      <a:pt x="308" y="36"/>
                    </a:lnTo>
                    <a:lnTo>
                      <a:pt x="316" y="36"/>
                    </a:lnTo>
                    <a:lnTo>
                      <a:pt x="319" y="41"/>
                    </a:lnTo>
                    <a:lnTo>
                      <a:pt x="325" y="44"/>
                    </a:lnTo>
                    <a:lnTo>
                      <a:pt x="331" y="44"/>
                    </a:lnTo>
                    <a:lnTo>
                      <a:pt x="335" y="43"/>
                    </a:lnTo>
                    <a:lnTo>
                      <a:pt x="337" y="45"/>
                    </a:lnTo>
                    <a:lnTo>
                      <a:pt x="339" y="49"/>
                    </a:lnTo>
                    <a:lnTo>
                      <a:pt x="343" y="52"/>
                    </a:lnTo>
                    <a:lnTo>
                      <a:pt x="345" y="53"/>
                    </a:lnTo>
                    <a:lnTo>
                      <a:pt x="347" y="54"/>
                    </a:lnTo>
                    <a:lnTo>
                      <a:pt x="350" y="57"/>
                    </a:lnTo>
                    <a:lnTo>
                      <a:pt x="353" y="57"/>
                    </a:lnTo>
                    <a:lnTo>
                      <a:pt x="362" y="57"/>
                    </a:lnTo>
                    <a:lnTo>
                      <a:pt x="368" y="59"/>
                    </a:lnTo>
                    <a:lnTo>
                      <a:pt x="380" y="59"/>
                    </a:lnTo>
                    <a:lnTo>
                      <a:pt x="384" y="58"/>
                    </a:lnTo>
                    <a:lnTo>
                      <a:pt x="386" y="57"/>
                    </a:lnTo>
                    <a:lnTo>
                      <a:pt x="390" y="57"/>
                    </a:lnTo>
                    <a:lnTo>
                      <a:pt x="393" y="58"/>
                    </a:lnTo>
                    <a:lnTo>
                      <a:pt x="396" y="58"/>
                    </a:lnTo>
                    <a:lnTo>
                      <a:pt x="399" y="54"/>
                    </a:lnTo>
                    <a:lnTo>
                      <a:pt x="406" y="50"/>
                    </a:lnTo>
                    <a:lnTo>
                      <a:pt x="409" y="50"/>
                    </a:lnTo>
                    <a:lnTo>
                      <a:pt x="412" y="47"/>
                    </a:lnTo>
                    <a:lnTo>
                      <a:pt x="415" y="47"/>
                    </a:lnTo>
                    <a:lnTo>
                      <a:pt x="424" y="47"/>
                    </a:lnTo>
                    <a:lnTo>
                      <a:pt x="428" y="44"/>
                    </a:lnTo>
                    <a:lnTo>
                      <a:pt x="429" y="40"/>
                    </a:lnTo>
                    <a:lnTo>
                      <a:pt x="429" y="38"/>
                    </a:lnTo>
                    <a:lnTo>
                      <a:pt x="431" y="35"/>
                    </a:lnTo>
                    <a:lnTo>
                      <a:pt x="435" y="33"/>
                    </a:lnTo>
                    <a:lnTo>
                      <a:pt x="437" y="30"/>
                    </a:lnTo>
                    <a:lnTo>
                      <a:pt x="439" y="26"/>
                    </a:lnTo>
                    <a:lnTo>
                      <a:pt x="442" y="25"/>
                    </a:lnTo>
                    <a:lnTo>
                      <a:pt x="445" y="25"/>
                    </a:lnTo>
                    <a:lnTo>
                      <a:pt x="446" y="26"/>
                    </a:lnTo>
                    <a:lnTo>
                      <a:pt x="452" y="24"/>
                    </a:lnTo>
                    <a:lnTo>
                      <a:pt x="455" y="25"/>
                    </a:lnTo>
                    <a:lnTo>
                      <a:pt x="459" y="26"/>
                    </a:lnTo>
                    <a:lnTo>
                      <a:pt x="462" y="30"/>
                    </a:lnTo>
                    <a:lnTo>
                      <a:pt x="464" y="31"/>
                    </a:lnTo>
                    <a:lnTo>
                      <a:pt x="470" y="30"/>
                    </a:ln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701" name="Freeform 505"/>
              <p:cNvSpPr>
                <a:spLocks/>
              </p:cNvSpPr>
              <p:nvPr userDrawn="1"/>
            </p:nvSpPr>
            <p:spPr bwMode="auto">
              <a:xfrm>
                <a:off x="4954" y="1826"/>
                <a:ext cx="566" cy="258"/>
              </a:xfrm>
              <a:custGeom>
                <a:avLst/>
                <a:gdLst>
                  <a:gd name="T0" fmla="*/ 490 w 566"/>
                  <a:gd name="T1" fmla="*/ 27 h 258"/>
                  <a:gd name="T2" fmla="*/ 486 w 566"/>
                  <a:gd name="T3" fmla="*/ 79 h 258"/>
                  <a:gd name="T4" fmla="*/ 522 w 566"/>
                  <a:gd name="T5" fmla="*/ 90 h 258"/>
                  <a:gd name="T6" fmla="*/ 541 w 566"/>
                  <a:gd name="T7" fmla="*/ 74 h 258"/>
                  <a:gd name="T8" fmla="*/ 566 w 566"/>
                  <a:gd name="T9" fmla="*/ 103 h 258"/>
                  <a:gd name="T10" fmla="*/ 559 w 566"/>
                  <a:gd name="T11" fmla="*/ 111 h 258"/>
                  <a:gd name="T12" fmla="*/ 537 w 566"/>
                  <a:gd name="T13" fmla="*/ 119 h 258"/>
                  <a:gd name="T14" fmla="*/ 524 w 566"/>
                  <a:gd name="T15" fmla="*/ 124 h 258"/>
                  <a:gd name="T16" fmla="*/ 516 w 566"/>
                  <a:gd name="T17" fmla="*/ 142 h 258"/>
                  <a:gd name="T18" fmla="*/ 489 w 566"/>
                  <a:gd name="T19" fmla="*/ 156 h 258"/>
                  <a:gd name="T20" fmla="*/ 473 w 566"/>
                  <a:gd name="T21" fmla="*/ 165 h 258"/>
                  <a:gd name="T22" fmla="*/ 442 w 566"/>
                  <a:gd name="T23" fmla="*/ 164 h 258"/>
                  <a:gd name="T24" fmla="*/ 454 w 566"/>
                  <a:gd name="T25" fmla="*/ 191 h 258"/>
                  <a:gd name="T26" fmla="*/ 435 w 566"/>
                  <a:gd name="T27" fmla="*/ 222 h 258"/>
                  <a:gd name="T28" fmla="*/ 407 w 566"/>
                  <a:gd name="T29" fmla="*/ 231 h 258"/>
                  <a:gd name="T30" fmla="*/ 360 w 566"/>
                  <a:gd name="T31" fmla="*/ 249 h 258"/>
                  <a:gd name="T32" fmla="*/ 338 w 566"/>
                  <a:gd name="T33" fmla="*/ 252 h 258"/>
                  <a:gd name="T34" fmla="*/ 288 w 566"/>
                  <a:gd name="T35" fmla="*/ 242 h 258"/>
                  <a:gd name="T36" fmla="*/ 248 w 566"/>
                  <a:gd name="T37" fmla="*/ 235 h 258"/>
                  <a:gd name="T38" fmla="*/ 197 w 566"/>
                  <a:gd name="T39" fmla="*/ 239 h 258"/>
                  <a:gd name="T40" fmla="*/ 173 w 566"/>
                  <a:gd name="T41" fmla="*/ 222 h 258"/>
                  <a:gd name="T42" fmla="*/ 161 w 566"/>
                  <a:gd name="T43" fmla="*/ 207 h 258"/>
                  <a:gd name="T44" fmla="*/ 148 w 566"/>
                  <a:gd name="T45" fmla="*/ 199 h 258"/>
                  <a:gd name="T46" fmla="*/ 126 w 566"/>
                  <a:gd name="T47" fmla="*/ 188 h 258"/>
                  <a:gd name="T48" fmla="*/ 80 w 566"/>
                  <a:gd name="T49" fmla="*/ 184 h 258"/>
                  <a:gd name="T50" fmla="*/ 75 w 566"/>
                  <a:gd name="T51" fmla="*/ 166 h 258"/>
                  <a:gd name="T52" fmla="*/ 72 w 566"/>
                  <a:gd name="T53" fmla="*/ 148 h 258"/>
                  <a:gd name="T54" fmla="*/ 60 w 566"/>
                  <a:gd name="T55" fmla="*/ 133 h 258"/>
                  <a:gd name="T56" fmla="*/ 47 w 566"/>
                  <a:gd name="T57" fmla="*/ 120 h 258"/>
                  <a:gd name="T58" fmla="*/ 35 w 566"/>
                  <a:gd name="T59" fmla="*/ 117 h 258"/>
                  <a:gd name="T60" fmla="*/ 21 w 566"/>
                  <a:gd name="T61" fmla="*/ 121 h 258"/>
                  <a:gd name="T62" fmla="*/ 8 w 566"/>
                  <a:gd name="T63" fmla="*/ 108 h 258"/>
                  <a:gd name="T64" fmla="*/ 3 w 566"/>
                  <a:gd name="T65" fmla="*/ 101 h 258"/>
                  <a:gd name="T66" fmla="*/ 0 w 566"/>
                  <a:gd name="T67" fmla="*/ 91 h 258"/>
                  <a:gd name="T68" fmla="*/ 24 w 566"/>
                  <a:gd name="T69" fmla="*/ 77 h 258"/>
                  <a:gd name="T70" fmla="*/ 37 w 566"/>
                  <a:gd name="T71" fmla="*/ 62 h 258"/>
                  <a:gd name="T72" fmla="*/ 46 w 566"/>
                  <a:gd name="T73" fmla="*/ 53 h 258"/>
                  <a:gd name="T74" fmla="*/ 66 w 566"/>
                  <a:gd name="T75" fmla="*/ 44 h 258"/>
                  <a:gd name="T76" fmla="*/ 80 w 566"/>
                  <a:gd name="T77" fmla="*/ 49 h 258"/>
                  <a:gd name="T78" fmla="*/ 98 w 566"/>
                  <a:gd name="T79" fmla="*/ 49 h 258"/>
                  <a:gd name="T80" fmla="*/ 122 w 566"/>
                  <a:gd name="T81" fmla="*/ 65 h 258"/>
                  <a:gd name="T82" fmla="*/ 142 w 566"/>
                  <a:gd name="T83" fmla="*/ 62 h 258"/>
                  <a:gd name="T84" fmla="*/ 167 w 566"/>
                  <a:gd name="T85" fmla="*/ 62 h 258"/>
                  <a:gd name="T86" fmla="*/ 165 w 566"/>
                  <a:gd name="T87" fmla="*/ 39 h 258"/>
                  <a:gd name="T88" fmla="*/ 156 w 566"/>
                  <a:gd name="T89" fmla="*/ 17 h 258"/>
                  <a:gd name="T90" fmla="*/ 163 w 566"/>
                  <a:gd name="T91" fmla="*/ 4 h 258"/>
                  <a:gd name="T92" fmla="*/ 182 w 566"/>
                  <a:gd name="T93" fmla="*/ 5 h 258"/>
                  <a:gd name="T94" fmla="*/ 202 w 566"/>
                  <a:gd name="T95" fmla="*/ 11 h 258"/>
                  <a:gd name="T96" fmla="*/ 225 w 566"/>
                  <a:gd name="T97" fmla="*/ 17 h 258"/>
                  <a:gd name="T98" fmla="*/ 230 w 566"/>
                  <a:gd name="T99" fmla="*/ 33 h 258"/>
                  <a:gd name="T100" fmla="*/ 251 w 566"/>
                  <a:gd name="T101" fmla="*/ 45 h 258"/>
                  <a:gd name="T102" fmla="*/ 267 w 566"/>
                  <a:gd name="T103" fmla="*/ 44 h 258"/>
                  <a:gd name="T104" fmla="*/ 294 w 566"/>
                  <a:gd name="T105" fmla="*/ 35 h 258"/>
                  <a:gd name="T106" fmla="*/ 325 w 566"/>
                  <a:gd name="T107" fmla="*/ 44 h 258"/>
                  <a:gd name="T108" fmla="*/ 345 w 566"/>
                  <a:gd name="T109" fmla="*/ 53 h 258"/>
                  <a:gd name="T110" fmla="*/ 380 w 566"/>
                  <a:gd name="T111" fmla="*/ 59 h 258"/>
                  <a:gd name="T112" fmla="*/ 399 w 566"/>
                  <a:gd name="T113" fmla="*/ 54 h 258"/>
                  <a:gd name="T114" fmla="*/ 428 w 566"/>
                  <a:gd name="T115" fmla="*/ 44 h 258"/>
                  <a:gd name="T116" fmla="*/ 439 w 566"/>
                  <a:gd name="T117" fmla="*/ 26 h 258"/>
                  <a:gd name="T118" fmla="*/ 459 w 566"/>
                  <a:gd name="T119" fmla="*/ 26 h 2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566" h="258">
                    <a:moveTo>
                      <a:pt x="470" y="30"/>
                    </a:moveTo>
                    <a:lnTo>
                      <a:pt x="473" y="30"/>
                    </a:lnTo>
                    <a:lnTo>
                      <a:pt x="477" y="28"/>
                    </a:lnTo>
                    <a:lnTo>
                      <a:pt x="477" y="26"/>
                    </a:lnTo>
                    <a:lnTo>
                      <a:pt x="483" y="26"/>
                    </a:lnTo>
                    <a:lnTo>
                      <a:pt x="490" y="27"/>
                    </a:lnTo>
                    <a:lnTo>
                      <a:pt x="493" y="29"/>
                    </a:lnTo>
                    <a:lnTo>
                      <a:pt x="488" y="57"/>
                    </a:lnTo>
                    <a:lnTo>
                      <a:pt x="489" y="63"/>
                    </a:lnTo>
                    <a:lnTo>
                      <a:pt x="487" y="68"/>
                    </a:lnTo>
                    <a:lnTo>
                      <a:pt x="488" y="71"/>
                    </a:lnTo>
                    <a:lnTo>
                      <a:pt x="486" y="79"/>
                    </a:lnTo>
                    <a:lnTo>
                      <a:pt x="489" y="85"/>
                    </a:lnTo>
                    <a:lnTo>
                      <a:pt x="497" y="89"/>
                    </a:lnTo>
                    <a:lnTo>
                      <a:pt x="503" y="85"/>
                    </a:lnTo>
                    <a:lnTo>
                      <a:pt x="511" y="85"/>
                    </a:lnTo>
                    <a:lnTo>
                      <a:pt x="518" y="86"/>
                    </a:lnTo>
                    <a:lnTo>
                      <a:pt x="522" y="90"/>
                    </a:lnTo>
                    <a:lnTo>
                      <a:pt x="527" y="83"/>
                    </a:lnTo>
                    <a:lnTo>
                      <a:pt x="526" y="79"/>
                    </a:lnTo>
                    <a:lnTo>
                      <a:pt x="526" y="75"/>
                    </a:lnTo>
                    <a:lnTo>
                      <a:pt x="532" y="74"/>
                    </a:lnTo>
                    <a:lnTo>
                      <a:pt x="534" y="72"/>
                    </a:lnTo>
                    <a:lnTo>
                      <a:pt x="541" y="74"/>
                    </a:lnTo>
                    <a:lnTo>
                      <a:pt x="546" y="80"/>
                    </a:lnTo>
                    <a:lnTo>
                      <a:pt x="553" y="86"/>
                    </a:lnTo>
                    <a:lnTo>
                      <a:pt x="559" y="92"/>
                    </a:lnTo>
                    <a:lnTo>
                      <a:pt x="565" y="97"/>
                    </a:lnTo>
                    <a:lnTo>
                      <a:pt x="565" y="100"/>
                    </a:lnTo>
                    <a:lnTo>
                      <a:pt x="566" y="103"/>
                    </a:lnTo>
                    <a:lnTo>
                      <a:pt x="566" y="106"/>
                    </a:lnTo>
                    <a:lnTo>
                      <a:pt x="565" y="108"/>
                    </a:lnTo>
                    <a:lnTo>
                      <a:pt x="565" y="111"/>
                    </a:lnTo>
                    <a:lnTo>
                      <a:pt x="563" y="113"/>
                    </a:lnTo>
                    <a:lnTo>
                      <a:pt x="560" y="112"/>
                    </a:lnTo>
                    <a:lnTo>
                      <a:pt x="559" y="111"/>
                    </a:lnTo>
                    <a:lnTo>
                      <a:pt x="555" y="111"/>
                    </a:lnTo>
                    <a:lnTo>
                      <a:pt x="553" y="113"/>
                    </a:lnTo>
                    <a:lnTo>
                      <a:pt x="548" y="110"/>
                    </a:lnTo>
                    <a:lnTo>
                      <a:pt x="544" y="111"/>
                    </a:lnTo>
                    <a:lnTo>
                      <a:pt x="541" y="115"/>
                    </a:lnTo>
                    <a:lnTo>
                      <a:pt x="537" y="119"/>
                    </a:lnTo>
                    <a:lnTo>
                      <a:pt x="534" y="120"/>
                    </a:lnTo>
                    <a:lnTo>
                      <a:pt x="530" y="118"/>
                    </a:lnTo>
                    <a:lnTo>
                      <a:pt x="529" y="118"/>
                    </a:lnTo>
                    <a:lnTo>
                      <a:pt x="528" y="122"/>
                    </a:lnTo>
                    <a:lnTo>
                      <a:pt x="527" y="124"/>
                    </a:lnTo>
                    <a:lnTo>
                      <a:pt x="524" y="124"/>
                    </a:lnTo>
                    <a:lnTo>
                      <a:pt x="522" y="124"/>
                    </a:lnTo>
                    <a:lnTo>
                      <a:pt x="521" y="126"/>
                    </a:lnTo>
                    <a:lnTo>
                      <a:pt x="518" y="131"/>
                    </a:lnTo>
                    <a:lnTo>
                      <a:pt x="517" y="136"/>
                    </a:lnTo>
                    <a:lnTo>
                      <a:pt x="517" y="140"/>
                    </a:lnTo>
                    <a:lnTo>
                      <a:pt x="516" y="142"/>
                    </a:lnTo>
                    <a:lnTo>
                      <a:pt x="512" y="143"/>
                    </a:lnTo>
                    <a:lnTo>
                      <a:pt x="503" y="149"/>
                    </a:lnTo>
                    <a:lnTo>
                      <a:pt x="499" y="149"/>
                    </a:lnTo>
                    <a:lnTo>
                      <a:pt x="495" y="148"/>
                    </a:lnTo>
                    <a:lnTo>
                      <a:pt x="493" y="149"/>
                    </a:lnTo>
                    <a:lnTo>
                      <a:pt x="489" y="156"/>
                    </a:lnTo>
                    <a:lnTo>
                      <a:pt x="486" y="158"/>
                    </a:lnTo>
                    <a:lnTo>
                      <a:pt x="481" y="161"/>
                    </a:lnTo>
                    <a:lnTo>
                      <a:pt x="479" y="164"/>
                    </a:lnTo>
                    <a:lnTo>
                      <a:pt x="478" y="167"/>
                    </a:lnTo>
                    <a:lnTo>
                      <a:pt x="476" y="167"/>
                    </a:lnTo>
                    <a:lnTo>
                      <a:pt x="473" y="165"/>
                    </a:lnTo>
                    <a:lnTo>
                      <a:pt x="468" y="164"/>
                    </a:lnTo>
                    <a:lnTo>
                      <a:pt x="462" y="162"/>
                    </a:lnTo>
                    <a:lnTo>
                      <a:pt x="457" y="159"/>
                    </a:lnTo>
                    <a:lnTo>
                      <a:pt x="453" y="159"/>
                    </a:lnTo>
                    <a:lnTo>
                      <a:pt x="446" y="161"/>
                    </a:lnTo>
                    <a:lnTo>
                      <a:pt x="442" y="164"/>
                    </a:lnTo>
                    <a:lnTo>
                      <a:pt x="439" y="168"/>
                    </a:lnTo>
                    <a:lnTo>
                      <a:pt x="439" y="176"/>
                    </a:lnTo>
                    <a:lnTo>
                      <a:pt x="439" y="179"/>
                    </a:lnTo>
                    <a:lnTo>
                      <a:pt x="439" y="181"/>
                    </a:lnTo>
                    <a:lnTo>
                      <a:pt x="447" y="187"/>
                    </a:lnTo>
                    <a:lnTo>
                      <a:pt x="454" y="191"/>
                    </a:lnTo>
                    <a:lnTo>
                      <a:pt x="454" y="194"/>
                    </a:lnTo>
                    <a:lnTo>
                      <a:pt x="453" y="197"/>
                    </a:lnTo>
                    <a:lnTo>
                      <a:pt x="451" y="200"/>
                    </a:lnTo>
                    <a:lnTo>
                      <a:pt x="442" y="209"/>
                    </a:lnTo>
                    <a:lnTo>
                      <a:pt x="437" y="217"/>
                    </a:lnTo>
                    <a:lnTo>
                      <a:pt x="435" y="222"/>
                    </a:lnTo>
                    <a:lnTo>
                      <a:pt x="431" y="222"/>
                    </a:lnTo>
                    <a:lnTo>
                      <a:pt x="426" y="224"/>
                    </a:lnTo>
                    <a:lnTo>
                      <a:pt x="422" y="224"/>
                    </a:lnTo>
                    <a:lnTo>
                      <a:pt x="417" y="227"/>
                    </a:lnTo>
                    <a:lnTo>
                      <a:pt x="411" y="231"/>
                    </a:lnTo>
                    <a:lnTo>
                      <a:pt x="407" y="231"/>
                    </a:lnTo>
                    <a:lnTo>
                      <a:pt x="399" y="232"/>
                    </a:lnTo>
                    <a:lnTo>
                      <a:pt x="394" y="234"/>
                    </a:lnTo>
                    <a:lnTo>
                      <a:pt x="388" y="236"/>
                    </a:lnTo>
                    <a:lnTo>
                      <a:pt x="375" y="240"/>
                    </a:lnTo>
                    <a:lnTo>
                      <a:pt x="365" y="243"/>
                    </a:lnTo>
                    <a:lnTo>
                      <a:pt x="360" y="249"/>
                    </a:lnTo>
                    <a:lnTo>
                      <a:pt x="351" y="255"/>
                    </a:lnTo>
                    <a:lnTo>
                      <a:pt x="348" y="258"/>
                    </a:lnTo>
                    <a:lnTo>
                      <a:pt x="344" y="258"/>
                    </a:lnTo>
                    <a:lnTo>
                      <a:pt x="339" y="256"/>
                    </a:lnTo>
                    <a:lnTo>
                      <a:pt x="339" y="254"/>
                    </a:lnTo>
                    <a:lnTo>
                      <a:pt x="338" y="252"/>
                    </a:lnTo>
                    <a:lnTo>
                      <a:pt x="330" y="254"/>
                    </a:lnTo>
                    <a:lnTo>
                      <a:pt x="323" y="255"/>
                    </a:lnTo>
                    <a:lnTo>
                      <a:pt x="317" y="251"/>
                    </a:lnTo>
                    <a:lnTo>
                      <a:pt x="312" y="251"/>
                    </a:lnTo>
                    <a:lnTo>
                      <a:pt x="300" y="246"/>
                    </a:lnTo>
                    <a:lnTo>
                      <a:pt x="288" y="242"/>
                    </a:lnTo>
                    <a:lnTo>
                      <a:pt x="282" y="236"/>
                    </a:lnTo>
                    <a:lnTo>
                      <a:pt x="278" y="236"/>
                    </a:lnTo>
                    <a:lnTo>
                      <a:pt x="264" y="234"/>
                    </a:lnTo>
                    <a:lnTo>
                      <a:pt x="253" y="235"/>
                    </a:lnTo>
                    <a:lnTo>
                      <a:pt x="250" y="234"/>
                    </a:lnTo>
                    <a:lnTo>
                      <a:pt x="248" y="235"/>
                    </a:lnTo>
                    <a:lnTo>
                      <a:pt x="247" y="237"/>
                    </a:lnTo>
                    <a:lnTo>
                      <a:pt x="241" y="240"/>
                    </a:lnTo>
                    <a:lnTo>
                      <a:pt x="233" y="241"/>
                    </a:lnTo>
                    <a:lnTo>
                      <a:pt x="217" y="239"/>
                    </a:lnTo>
                    <a:lnTo>
                      <a:pt x="206" y="240"/>
                    </a:lnTo>
                    <a:lnTo>
                      <a:pt x="197" y="239"/>
                    </a:lnTo>
                    <a:lnTo>
                      <a:pt x="191" y="240"/>
                    </a:lnTo>
                    <a:lnTo>
                      <a:pt x="187" y="241"/>
                    </a:lnTo>
                    <a:lnTo>
                      <a:pt x="183" y="240"/>
                    </a:lnTo>
                    <a:lnTo>
                      <a:pt x="179" y="232"/>
                    </a:lnTo>
                    <a:lnTo>
                      <a:pt x="177" y="228"/>
                    </a:lnTo>
                    <a:lnTo>
                      <a:pt x="173" y="222"/>
                    </a:lnTo>
                    <a:lnTo>
                      <a:pt x="171" y="219"/>
                    </a:lnTo>
                    <a:lnTo>
                      <a:pt x="169" y="214"/>
                    </a:lnTo>
                    <a:lnTo>
                      <a:pt x="168" y="211"/>
                    </a:lnTo>
                    <a:lnTo>
                      <a:pt x="166" y="208"/>
                    </a:lnTo>
                    <a:lnTo>
                      <a:pt x="163" y="207"/>
                    </a:lnTo>
                    <a:lnTo>
                      <a:pt x="161" y="207"/>
                    </a:lnTo>
                    <a:lnTo>
                      <a:pt x="160" y="205"/>
                    </a:lnTo>
                    <a:lnTo>
                      <a:pt x="160" y="202"/>
                    </a:lnTo>
                    <a:lnTo>
                      <a:pt x="158" y="201"/>
                    </a:lnTo>
                    <a:lnTo>
                      <a:pt x="157" y="202"/>
                    </a:lnTo>
                    <a:lnTo>
                      <a:pt x="151" y="202"/>
                    </a:lnTo>
                    <a:lnTo>
                      <a:pt x="148" y="199"/>
                    </a:lnTo>
                    <a:lnTo>
                      <a:pt x="140" y="195"/>
                    </a:lnTo>
                    <a:lnTo>
                      <a:pt x="138" y="195"/>
                    </a:lnTo>
                    <a:lnTo>
                      <a:pt x="136" y="195"/>
                    </a:lnTo>
                    <a:lnTo>
                      <a:pt x="133" y="194"/>
                    </a:lnTo>
                    <a:lnTo>
                      <a:pt x="131" y="192"/>
                    </a:lnTo>
                    <a:lnTo>
                      <a:pt x="126" y="188"/>
                    </a:lnTo>
                    <a:lnTo>
                      <a:pt x="113" y="185"/>
                    </a:lnTo>
                    <a:lnTo>
                      <a:pt x="112" y="186"/>
                    </a:lnTo>
                    <a:lnTo>
                      <a:pt x="110" y="187"/>
                    </a:lnTo>
                    <a:lnTo>
                      <a:pt x="106" y="188"/>
                    </a:lnTo>
                    <a:lnTo>
                      <a:pt x="98" y="188"/>
                    </a:lnTo>
                    <a:lnTo>
                      <a:pt x="80" y="184"/>
                    </a:lnTo>
                    <a:lnTo>
                      <a:pt x="76" y="181"/>
                    </a:lnTo>
                    <a:lnTo>
                      <a:pt x="71" y="176"/>
                    </a:lnTo>
                    <a:lnTo>
                      <a:pt x="71" y="173"/>
                    </a:lnTo>
                    <a:lnTo>
                      <a:pt x="71" y="170"/>
                    </a:lnTo>
                    <a:lnTo>
                      <a:pt x="72" y="169"/>
                    </a:lnTo>
                    <a:lnTo>
                      <a:pt x="75" y="166"/>
                    </a:lnTo>
                    <a:lnTo>
                      <a:pt x="76" y="163"/>
                    </a:lnTo>
                    <a:lnTo>
                      <a:pt x="74" y="161"/>
                    </a:lnTo>
                    <a:lnTo>
                      <a:pt x="73" y="156"/>
                    </a:lnTo>
                    <a:lnTo>
                      <a:pt x="74" y="155"/>
                    </a:lnTo>
                    <a:lnTo>
                      <a:pt x="73" y="151"/>
                    </a:lnTo>
                    <a:lnTo>
                      <a:pt x="72" y="148"/>
                    </a:lnTo>
                    <a:lnTo>
                      <a:pt x="69" y="145"/>
                    </a:lnTo>
                    <a:lnTo>
                      <a:pt x="67" y="143"/>
                    </a:lnTo>
                    <a:lnTo>
                      <a:pt x="65" y="141"/>
                    </a:lnTo>
                    <a:lnTo>
                      <a:pt x="63" y="138"/>
                    </a:lnTo>
                    <a:lnTo>
                      <a:pt x="61" y="135"/>
                    </a:lnTo>
                    <a:lnTo>
                      <a:pt x="60" y="133"/>
                    </a:lnTo>
                    <a:lnTo>
                      <a:pt x="60" y="130"/>
                    </a:lnTo>
                    <a:lnTo>
                      <a:pt x="58" y="127"/>
                    </a:lnTo>
                    <a:lnTo>
                      <a:pt x="54" y="124"/>
                    </a:lnTo>
                    <a:lnTo>
                      <a:pt x="52" y="123"/>
                    </a:lnTo>
                    <a:lnTo>
                      <a:pt x="50" y="121"/>
                    </a:lnTo>
                    <a:lnTo>
                      <a:pt x="47" y="120"/>
                    </a:lnTo>
                    <a:lnTo>
                      <a:pt x="44" y="120"/>
                    </a:lnTo>
                    <a:lnTo>
                      <a:pt x="43" y="122"/>
                    </a:lnTo>
                    <a:lnTo>
                      <a:pt x="41" y="123"/>
                    </a:lnTo>
                    <a:lnTo>
                      <a:pt x="39" y="122"/>
                    </a:lnTo>
                    <a:lnTo>
                      <a:pt x="36" y="119"/>
                    </a:lnTo>
                    <a:lnTo>
                      <a:pt x="35" y="117"/>
                    </a:lnTo>
                    <a:lnTo>
                      <a:pt x="31" y="117"/>
                    </a:lnTo>
                    <a:lnTo>
                      <a:pt x="28" y="119"/>
                    </a:lnTo>
                    <a:lnTo>
                      <a:pt x="26" y="121"/>
                    </a:lnTo>
                    <a:lnTo>
                      <a:pt x="25" y="123"/>
                    </a:lnTo>
                    <a:lnTo>
                      <a:pt x="24" y="123"/>
                    </a:lnTo>
                    <a:lnTo>
                      <a:pt x="21" y="121"/>
                    </a:lnTo>
                    <a:lnTo>
                      <a:pt x="20" y="118"/>
                    </a:lnTo>
                    <a:lnTo>
                      <a:pt x="20" y="117"/>
                    </a:lnTo>
                    <a:lnTo>
                      <a:pt x="17" y="113"/>
                    </a:lnTo>
                    <a:lnTo>
                      <a:pt x="13" y="112"/>
                    </a:lnTo>
                    <a:lnTo>
                      <a:pt x="10" y="109"/>
                    </a:lnTo>
                    <a:lnTo>
                      <a:pt x="8" y="108"/>
                    </a:lnTo>
                    <a:lnTo>
                      <a:pt x="6" y="106"/>
                    </a:lnTo>
                    <a:lnTo>
                      <a:pt x="5" y="104"/>
                    </a:lnTo>
                    <a:lnTo>
                      <a:pt x="5" y="101"/>
                    </a:lnTo>
                    <a:lnTo>
                      <a:pt x="4" y="99"/>
                    </a:lnTo>
                    <a:lnTo>
                      <a:pt x="3" y="100"/>
                    </a:lnTo>
                    <a:lnTo>
                      <a:pt x="3" y="101"/>
                    </a:lnTo>
                    <a:lnTo>
                      <a:pt x="2" y="101"/>
                    </a:lnTo>
                    <a:lnTo>
                      <a:pt x="0" y="99"/>
                    </a:lnTo>
                    <a:lnTo>
                      <a:pt x="0" y="98"/>
                    </a:lnTo>
                    <a:lnTo>
                      <a:pt x="0" y="93"/>
                    </a:lnTo>
                    <a:lnTo>
                      <a:pt x="0" y="91"/>
                    </a:lnTo>
                    <a:lnTo>
                      <a:pt x="0" y="91"/>
                    </a:lnTo>
                    <a:lnTo>
                      <a:pt x="2" y="85"/>
                    </a:lnTo>
                    <a:lnTo>
                      <a:pt x="6" y="84"/>
                    </a:lnTo>
                    <a:lnTo>
                      <a:pt x="14" y="84"/>
                    </a:lnTo>
                    <a:lnTo>
                      <a:pt x="16" y="82"/>
                    </a:lnTo>
                    <a:lnTo>
                      <a:pt x="19" y="79"/>
                    </a:lnTo>
                    <a:lnTo>
                      <a:pt x="24" y="77"/>
                    </a:lnTo>
                    <a:lnTo>
                      <a:pt x="24" y="73"/>
                    </a:lnTo>
                    <a:lnTo>
                      <a:pt x="26" y="69"/>
                    </a:lnTo>
                    <a:lnTo>
                      <a:pt x="31" y="68"/>
                    </a:lnTo>
                    <a:lnTo>
                      <a:pt x="31" y="65"/>
                    </a:lnTo>
                    <a:lnTo>
                      <a:pt x="34" y="62"/>
                    </a:lnTo>
                    <a:lnTo>
                      <a:pt x="37" y="62"/>
                    </a:lnTo>
                    <a:lnTo>
                      <a:pt x="40" y="58"/>
                    </a:lnTo>
                    <a:lnTo>
                      <a:pt x="42" y="57"/>
                    </a:lnTo>
                    <a:lnTo>
                      <a:pt x="39" y="55"/>
                    </a:lnTo>
                    <a:lnTo>
                      <a:pt x="39" y="52"/>
                    </a:lnTo>
                    <a:lnTo>
                      <a:pt x="41" y="51"/>
                    </a:lnTo>
                    <a:lnTo>
                      <a:pt x="46" y="53"/>
                    </a:lnTo>
                    <a:lnTo>
                      <a:pt x="49" y="51"/>
                    </a:lnTo>
                    <a:lnTo>
                      <a:pt x="51" y="47"/>
                    </a:lnTo>
                    <a:lnTo>
                      <a:pt x="54" y="46"/>
                    </a:lnTo>
                    <a:lnTo>
                      <a:pt x="60" y="45"/>
                    </a:lnTo>
                    <a:lnTo>
                      <a:pt x="64" y="44"/>
                    </a:lnTo>
                    <a:lnTo>
                      <a:pt x="66" y="44"/>
                    </a:lnTo>
                    <a:lnTo>
                      <a:pt x="71" y="45"/>
                    </a:lnTo>
                    <a:lnTo>
                      <a:pt x="74" y="43"/>
                    </a:lnTo>
                    <a:lnTo>
                      <a:pt x="75" y="43"/>
                    </a:lnTo>
                    <a:lnTo>
                      <a:pt x="77" y="46"/>
                    </a:lnTo>
                    <a:lnTo>
                      <a:pt x="77" y="48"/>
                    </a:lnTo>
                    <a:lnTo>
                      <a:pt x="80" y="49"/>
                    </a:lnTo>
                    <a:lnTo>
                      <a:pt x="84" y="49"/>
                    </a:lnTo>
                    <a:lnTo>
                      <a:pt x="86" y="49"/>
                    </a:lnTo>
                    <a:lnTo>
                      <a:pt x="88" y="49"/>
                    </a:lnTo>
                    <a:lnTo>
                      <a:pt x="91" y="48"/>
                    </a:lnTo>
                    <a:lnTo>
                      <a:pt x="97" y="48"/>
                    </a:lnTo>
                    <a:lnTo>
                      <a:pt x="98" y="49"/>
                    </a:lnTo>
                    <a:lnTo>
                      <a:pt x="99" y="53"/>
                    </a:lnTo>
                    <a:lnTo>
                      <a:pt x="100" y="55"/>
                    </a:lnTo>
                    <a:lnTo>
                      <a:pt x="109" y="60"/>
                    </a:lnTo>
                    <a:lnTo>
                      <a:pt x="112" y="63"/>
                    </a:lnTo>
                    <a:lnTo>
                      <a:pt x="119" y="66"/>
                    </a:lnTo>
                    <a:lnTo>
                      <a:pt x="122" y="65"/>
                    </a:lnTo>
                    <a:lnTo>
                      <a:pt x="126" y="63"/>
                    </a:lnTo>
                    <a:lnTo>
                      <a:pt x="129" y="60"/>
                    </a:lnTo>
                    <a:lnTo>
                      <a:pt x="132" y="60"/>
                    </a:lnTo>
                    <a:lnTo>
                      <a:pt x="136" y="61"/>
                    </a:lnTo>
                    <a:lnTo>
                      <a:pt x="138" y="63"/>
                    </a:lnTo>
                    <a:lnTo>
                      <a:pt x="142" y="62"/>
                    </a:lnTo>
                    <a:lnTo>
                      <a:pt x="150" y="62"/>
                    </a:lnTo>
                    <a:lnTo>
                      <a:pt x="152" y="64"/>
                    </a:lnTo>
                    <a:lnTo>
                      <a:pt x="156" y="63"/>
                    </a:lnTo>
                    <a:lnTo>
                      <a:pt x="156" y="62"/>
                    </a:lnTo>
                    <a:lnTo>
                      <a:pt x="160" y="63"/>
                    </a:lnTo>
                    <a:lnTo>
                      <a:pt x="167" y="62"/>
                    </a:lnTo>
                    <a:lnTo>
                      <a:pt x="170" y="57"/>
                    </a:lnTo>
                    <a:lnTo>
                      <a:pt x="168" y="54"/>
                    </a:lnTo>
                    <a:lnTo>
                      <a:pt x="164" y="52"/>
                    </a:lnTo>
                    <a:lnTo>
                      <a:pt x="164" y="47"/>
                    </a:lnTo>
                    <a:lnTo>
                      <a:pt x="165" y="41"/>
                    </a:lnTo>
                    <a:lnTo>
                      <a:pt x="165" y="39"/>
                    </a:lnTo>
                    <a:lnTo>
                      <a:pt x="161" y="38"/>
                    </a:lnTo>
                    <a:lnTo>
                      <a:pt x="159" y="35"/>
                    </a:lnTo>
                    <a:lnTo>
                      <a:pt x="154" y="34"/>
                    </a:lnTo>
                    <a:lnTo>
                      <a:pt x="152" y="29"/>
                    </a:lnTo>
                    <a:lnTo>
                      <a:pt x="152" y="21"/>
                    </a:lnTo>
                    <a:lnTo>
                      <a:pt x="156" y="17"/>
                    </a:lnTo>
                    <a:lnTo>
                      <a:pt x="156" y="14"/>
                    </a:lnTo>
                    <a:lnTo>
                      <a:pt x="158" y="11"/>
                    </a:lnTo>
                    <a:lnTo>
                      <a:pt x="161" y="10"/>
                    </a:lnTo>
                    <a:lnTo>
                      <a:pt x="163" y="10"/>
                    </a:lnTo>
                    <a:lnTo>
                      <a:pt x="165" y="7"/>
                    </a:lnTo>
                    <a:lnTo>
                      <a:pt x="163" y="4"/>
                    </a:lnTo>
                    <a:lnTo>
                      <a:pt x="164" y="2"/>
                    </a:lnTo>
                    <a:lnTo>
                      <a:pt x="166" y="0"/>
                    </a:lnTo>
                    <a:lnTo>
                      <a:pt x="170" y="1"/>
                    </a:lnTo>
                    <a:lnTo>
                      <a:pt x="172" y="2"/>
                    </a:lnTo>
                    <a:lnTo>
                      <a:pt x="177" y="3"/>
                    </a:lnTo>
                    <a:lnTo>
                      <a:pt x="182" y="5"/>
                    </a:lnTo>
                    <a:lnTo>
                      <a:pt x="183" y="6"/>
                    </a:lnTo>
                    <a:lnTo>
                      <a:pt x="187" y="8"/>
                    </a:lnTo>
                    <a:lnTo>
                      <a:pt x="192" y="8"/>
                    </a:lnTo>
                    <a:lnTo>
                      <a:pt x="198" y="8"/>
                    </a:lnTo>
                    <a:lnTo>
                      <a:pt x="201" y="9"/>
                    </a:lnTo>
                    <a:lnTo>
                      <a:pt x="202" y="11"/>
                    </a:lnTo>
                    <a:lnTo>
                      <a:pt x="207" y="12"/>
                    </a:lnTo>
                    <a:lnTo>
                      <a:pt x="210" y="13"/>
                    </a:lnTo>
                    <a:lnTo>
                      <a:pt x="213" y="13"/>
                    </a:lnTo>
                    <a:lnTo>
                      <a:pt x="220" y="13"/>
                    </a:lnTo>
                    <a:lnTo>
                      <a:pt x="223" y="14"/>
                    </a:lnTo>
                    <a:lnTo>
                      <a:pt x="225" y="17"/>
                    </a:lnTo>
                    <a:lnTo>
                      <a:pt x="225" y="20"/>
                    </a:lnTo>
                    <a:lnTo>
                      <a:pt x="227" y="22"/>
                    </a:lnTo>
                    <a:lnTo>
                      <a:pt x="227" y="25"/>
                    </a:lnTo>
                    <a:lnTo>
                      <a:pt x="229" y="26"/>
                    </a:lnTo>
                    <a:lnTo>
                      <a:pt x="231" y="30"/>
                    </a:lnTo>
                    <a:lnTo>
                      <a:pt x="230" y="33"/>
                    </a:lnTo>
                    <a:lnTo>
                      <a:pt x="233" y="35"/>
                    </a:lnTo>
                    <a:lnTo>
                      <a:pt x="235" y="35"/>
                    </a:lnTo>
                    <a:lnTo>
                      <a:pt x="238" y="39"/>
                    </a:lnTo>
                    <a:lnTo>
                      <a:pt x="239" y="41"/>
                    </a:lnTo>
                    <a:lnTo>
                      <a:pt x="245" y="42"/>
                    </a:lnTo>
                    <a:lnTo>
                      <a:pt x="251" y="45"/>
                    </a:lnTo>
                    <a:lnTo>
                      <a:pt x="253" y="45"/>
                    </a:lnTo>
                    <a:lnTo>
                      <a:pt x="255" y="44"/>
                    </a:lnTo>
                    <a:lnTo>
                      <a:pt x="260" y="44"/>
                    </a:lnTo>
                    <a:lnTo>
                      <a:pt x="262" y="43"/>
                    </a:lnTo>
                    <a:lnTo>
                      <a:pt x="265" y="43"/>
                    </a:lnTo>
                    <a:lnTo>
                      <a:pt x="267" y="44"/>
                    </a:lnTo>
                    <a:lnTo>
                      <a:pt x="270" y="43"/>
                    </a:lnTo>
                    <a:lnTo>
                      <a:pt x="273" y="39"/>
                    </a:lnTo>
                    <a:lnTo>
                      <a:pt x="279" y="38"/>
                    </a:lnTo>
                    <a:lnTo>
                      <a:pt x="285" y="37"/>
                    </a:lnTo>
                    <a:lnTo>
                      <a:pt x="289" y="35"/>
                    </a:lnTo>
                    <a:lnTo>
                      <a:pt x="294" y="35"/>
                    </a:lnTo>
                    <a:lnTo>
                      <a:pt x="299" y="33"/>
                    </a:lnTo>
                    <a:lnTo>
                      <a:pt x="302" y="36"/>
                    </a:lnTo>
                    <a:lnTo>
                      <a:pt x="308" y="36"/>
                    </a:lnTo>
                    <a:lnTo>
                      <a:pt x="316" y="36"/>
                    </a:lnTo>
                    <a:lnTo>
                      <a:pt x="319" y="41"/>
                    </a:lnTo>
                    <a:lnTo>
                      <a:pt x="325" y="44"/>
                    </a:lnTo>
                    <a:lnTo>
                      <a:pt x="331" y="44"/>
                    </a:lnTo>
                    <a:lnTo>
                      <a:pt x="335" y="43"/>
                    </a:lnTo>
                    <a:lnTo>
                      <a:pt x="337" y="45"/>
                    </a:lnTo>
                    <a:lnTo>
                      <a:pt x="339" y="49"/>
                    </a:lnTo>
                    <a:lnTo>
                      <a:pt x="343" y="52"/>
                    </a:lnTo>
                    <a:lnTo>
                      <a:pt x="345" y="53"/>
                    </a:lnTo>
                    <a:lnTo>
                      <a:pt x="347" y="54"/>
                    </a:lnTo>
                    <a:lnTo>
                      <a:pt x="350" y="57"/>
                    </a:lnTo>
                    <a:lnTo>
                      <a:pt x="353" y="57"/>
                    </a:lnTo>
                    <a:lnTo>
                      <a:pt x="362" y="57"/>
                    </a:lnTo>
                    <a:lnTo>
                      <a:pt x="368" y="59"/>
                    </a:lnTo>
                    <a:lnTo>
                      <a:pt x="380" y="59"/>
                    </a:lnTo>
                    <a:lnTo>
                      <a:pt x="384" y="58"/>
                    </a:lnTo>
                    <a:lnTo>
                      <a:pt x="386" y="57"/>
                    </a:lnTo>
                    <a:lnTo>
                      <a:pt x="390" y="57"/>
                    </a:lnTo>
                    <a:lnTo>
                      <a:pt x="393" y="58"/>
                    </a:lnTo>
                    <a:lnTo>
                      <a:pt x="396" y="58"/>
                    </a:lnTo>
                    <a:lnTo>
                      <a:pt x="399" y="54"/>
                    </a:lnTo>
                    <a:lnTo>
                      <a:pt x="406" y="50"/>
                    </a:lnTo>
                    <a:lnTo>
                      <a:pt x="409" y="50"/>
                    </a:lnTo>
                    <a:lnTo>
                      <a:pt x="412" y="47"/>
                    </a:lnTo>
                    <a:lnTo>
                      <a:pt x="415" y="47"/>
                    </a:lnTo>
                    <a:lnTo>
                      <a:pt x="424" y="47"/>
                    </a:lnTo>
                    <a:lnTo>
                      <a:pt x="428" y="44"/>
                    </a:lnTo>
                    <a:lnTo>
                      <a:pt x="429" y="40"/>
                    </a:lnTo>
                    <a:lnTo>
                      <a:pt x="429" y="38"/>
                    </a:lnTo>
                    <a:lnTo>
                      <a:pt x="431" y="35"/>
                    </a:lnTo>
                    <a:lnTo>
                      <a:pt x="435" y="33"/>
                    </a:lnTo>
                    <a:lnTo>
                      <a:pt x="437" y="30"/>
                    </a:lnTo>
                    <a:lnTo>
                      <a:pt x="439" y="26"/>
                    </a:lnTo>
                    <a:lnTo>
                      <a:pt x="442" y="25"/>
                    </a:lnTo>
                    <a:lnTo>
                      <a:pt x="445" y="25"/>
                    </a:lnTo>
                    <a:lnTo>
                      <a:pt x="446" y="26"/>
                    </a:lnTo>
                    <a:lnTo>
                      <a:pt x="452" y="24"/>
                    </a:lnTo>
                    <a:lnTo>
                      <a:pt x="455" y="25"/>
                    </a:lnTo>
                    <a:lnTo>
                      <a:pt x="459" y="26"/>
                    </a:lnTo>
                    <a:lnTo>
                      <a:pt x="462" y="30"/>
                    </a:lnTo>
                    <a:lnTo>
                      <a:pt x="464" y="31"/>
                    </a:lnTo>
                  </a:path>
                </a:pathLst>
              </a:custGeom>
              <a:noFill/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702" name="Freeform 506"/>
              <p:cNvSpPr>
                <a:spLocks/>
              </p:cNvSpPr>
              <p:nvPr userDrawn="1"/>
            </p:nvSpPr>
            <p:spPr bwMode="auto">
              <a:xfrm>
                <a:off x="4009" y="2851"/>
                <a:ext cx="107" cy="102"/>
              </a:xfrm>
              <a:custGeom>
                <a:avLst/>
                <a:gdLst>
                  <a:gd name="T0" fmla="*/ 83 w 107"/>
                  <a:gd name="T1" fmla="*/ 71 h 102"/>
                  <a:gd name="T2" fmla="*/ 88 w 107"/>
                  <a:gd name="T3" fmla="*/ 64 h 102"/>
                  <a:gd name="T4" fmla="*/ 93 w 107"/>
                  <a:gd name="T5" fmla="*/ 58 h 102"/>
                  <a:gd name="T6" fmla="*/ 95 w 107"/>
                  <a:gd name="T7" fmla="*/ 55 h 102"/>
                  <a:gd name="T8" fmla="*/ 103 w 107"/>
                  <a:gd name="T9" fmla="*/ 50 h 102"/>
                  <a:gd name="T10" fmla="*/ 107 w 107"/>
                  <a:gd name="T11" fmla="*/ 43 h 102"/>
                  <a:gd name="T12" fmla="*/ 106 w 107"/>
                  <a:gd name="T13" fmla="*/ 36 h 102"/>
                  <a:gd name="T14" fmla="*/ 105 w 107"/>
                  <a:gd name="T15" fmla="*/ 31 h 102"/>
                  <a:gd name="T16" fmla="*/ 101 w 107"/>
                  <a:gd name="T17" fmla="*/ 29 h 102"/>
                  <a:gd name="T18" fmla="*/ 94 w 107"/>
                  <a:gd name="T19" fmla="*/ 19 h 102"/>
                  <a:gd name="T20" fmla="*/ 93 w 107"/>
                  <a:gd name="T21" fmla="*/ 12 h 102"/>
                  <a:gd name="T22" fmla="*/ 91 w 107"/>
                  <a:gd name="T23" fmla="*/ 8 h 102"/>
                  <a:gd name="T24" fmla="*/ 87 w 107"/>
                  <a:gd name="T25" fmla="*/ 2 h 102"/>
                  <a:gd name="T26" fmla="*/ 82 w 107"/>
                  <a:gd name="T27" fmla="*/ 3 h 102"/>
                  <a:gd name="T28" fmla="*/ 75 w 107"/>
                  <a:gd name="T29" fmla="*/ 8 h 102"/>
                  <a:gd name="T30" fmla="*/ 64 w 107"/>
                  <a:gd name="T31" fmla="*/ 7 h 102"/>
                  <a:gd name="T32" fmla="*/ 58 w 107"/>
                  <a:gd name="T33" fmla="*/ 9 h 102"/>
                  <a:gd name="T34" fmla="*/ 54 w 107"/>
                  <a:gd name="T35" fmla="*/ 9 h 102"/>
                  <a:gd name="T36" fmla="*/ 51 w 107"/>
                  <a:gd name="T37" fmla="*/ 14 h 102"/>
                  <a:gd name="T38" fmla="*/ 45 w 107"/>
                  <a:gd name="T39" fmla="*/ 13 h 102"/>
                  <a:gd name="T40" fmla="*/ 41 w 107"/>
                  <a:gd name="T41" fmla="*/ 9 h 102"/>
                  <a:gd name="T42" fmla="*/ 34 w 107"/>
                  <a:gd name="T43" fmla="*/ 8 h 102"/>
                  <a:gd name="T44" fmla="*/ 28 w 107"/>
                  <a:gd name="T45" fmla="*/ 9 h 102"/>
                  <a:gd name="T46" fmla="*/ 28 w 107"/>
                  <a:gd name="T47" fmla="*/ 13 h 102"/>
                  <a:gd name="T48" fmla="*/ 28 w 107"/>
                  <a:gd name="T49" fmla="*/ 14 h 102"/>
                  <a:gd name="T50" fmla="*/ 25 w 107"/>
                  <a:gd name="T51" fmla="*/ 19 h 102"/>
                  <a:gd name="T52" fmla="*/ 24 w 107"/>
                  <a:gd name="T53" fmla="*/ 30 h 102"/>
                  <a:gd name="T54" fmla="*/ 26 w 107"/>
                  <a:gd name="T55" fmla="*/ 37 h 102"/>
                  <a:gd name="T56" fmla="*/ 29 w 107"/>
                  <a:gd name="T57" fmla="*/ 41 h 102"/>
                  <a:gd name="T58" fmla="*/ 19 w 107"/>
                  <a:gd name="T59" fmla="*/ 56 h 102"/>
                  <a:gd name="T60" fmla="*/ 12 w 107"/>
                  <a:gd name="T61" fmla="*/ 64 h 102"/>
                  <a:gd name="T62" fmla="*/ 3 w 107"/>
                  <a:gd name="T63" fmla="*/ 79 h 102"/>
                  <a:gd name="T64" fmla="*/ 3 w 107"/>
                  <a:gd name="T65" fmla="*/ 90 h 102"/>
                  <a:gd name="T66" fmla="*/ 1 w 107"/>
                  <a:gd name="T67" fmla="*/ 101 h 102"/>
                  <a:gd name="T68" fmla="*/ 1 w 107"/>
                  <a:gd name="T69" fmla="*/ 102 h 102"/>
                  <a:gd name="T70" fmla="*/ 7 w 107"/>
                  <a:gd name="T71" fmla="*/ 99 h 102"/>
                  <a:gd name="T72" fmla="*/ 11 w 107"/>
                  <a:gd name="T73" fmla="*/ 102 h 102"/>
                  <a:gd name="T74" fmla="*/ 15 w 107"/>
                  <a:gd name="T75" fmla="*/ 100 h 102"/>
                  <a:gd name="T76" fmla="*/ 18 w 107"/>
                  <a:gd name="T77" fmla="*/ 97 h 102"/>
                  <a:gd name="T78" fmla="*/ 19 w 107"/>
                  <a:gd name="T79" fmla="*/ 97 h 102"/>
                  <a:gd name="T80" fmla="*/ 22 w 107"/>
                  <a:gd name="T81" fmla="*/ 95 h 102"/>
                  <a:gd name="T82" fmla="*/ 39 w 107"/>
                  <a:gd name="T83" fmla="*/ 95 h 102"/>
                  <a:gd name="T84" fmla="*/ 78 w 107"/>
                  <a:gd name="T85" fmla="*/ 94 h 102"/>
                  <a:gd name="T86" fmla="*/ 83 w 107"/>
                  <a:gd name="T87" fmla="*/ 76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07" h="102">
                    <a:moveTo>
                      <a:pt x="83" y="76"/>
                    </a:moveTo>
                    <a:lnTo>
                      <a:pt x="83" y="71"/>
                    </a:lnTo>
                    <a:lnTo>
                      <a:pt x="86" y="68"/>
                    </a:lnTo>
                    <a:lnTo>
                      <a:pt x="88" y="64"/>
                    </a:lnTo>
                    <a:lnTo>
                      <a:pt x="91" y="61"/>
                    </a:lnTo>
                    <a:lnTo>
                      <a:pt x="93" y="58"/>
                    </a:lnTo>
                    <a:lnTo>
                      <a:pt x="95" y="56"/>
                    </a:lnTo>
                    <a:lnTo>
                      <a:pt x="95" y="55"/>
                    </a:lnTo>
                    <a:lnTo>
                      <a:pt x="101" y="55"/>
                    </a:lnTo>
                    <a:lnTo>
                      <a:pt x="103" y="50"/>
                    </a:lnTo>
                    <a:lnTo>
                      <a:pt x="103" y="48"/>
                    </a:lnTo>
                    <a:lnTo>
                      <a:pt x="107" y="43"/>
                    </a:lnTo>
                    <a:lnTo>
                      <a:pt x="107" y="40"/>
                    </a:lnTo>
                    <a:lnTo>
                      <a:pt x="106" y="36"/>
                    </a:lnTo>
                    <a:lnTo>
                      <a:pt x="104" y="34"/>
                    </a:lnTo>
                    <a:lnTo>
                      <a:pt x="105" y="31"/>
                    </a:lnTo>
                    <a:lnTo>
                      <a:pt x="103" y="30"/>
                    </a:lnTo>
                    <a:lnTo>
                      <a:pt x="101" y="29"/>
                    </a:lnTo>
                    <a:lnTo>
                      <a:pt x="98" y="23"/>
                    </a:lnTo>
                    <a:lnTo>
                      <a:pt x="94" y="19"/>
                    </a:lnTo>
                    <a:lnTo>
                      <a:pt x="94" y="16"/>
                    </a:lnTo>
                    <a:lnTo>
                      <a:pt x="93" y="12"/>
                    </a:lnTo>
                    <a:lnTo>
                      <a:pt x="90" y="11"/>
                    </a:lnTo>
                    <a:lnTo>
                      <a:pt x="91" y="8"/>
                    </a:lnTo>
                    <a:lnTo>
                      <a:pt x="89" y="7"/>
                    </a:lnTo>
                    <a:lnTo>
                      <a:pt x="87" y="2"/>
                    </a:lnTo>
                    <a:lnTo>
                      <a:pt x="86" y="0"/>
                    </a:lnTo>
                    <a:lnTo>
                      <a:pt x="82" y="3"/>
                    </a:lnTo>
                    <a:lnTo>
                      <a:pt x="80" y="6"/>
                    </a:lnTo>
                    <a:lnTo>
                      <a:pt x="75" y="8"/>
                    </a:lnTo>
                    <a:lnTo>
                      <a:pt x="71" y="7"/>
                    </a:lnTo>
                    <a:lnTo>
                      <a:pt x="64" y="7"/>
                    </a:lnTo>
                    <a:lnTo>
                      <a:pt x="61" y="9"/>
                    </a:lnTo>
                    <a:lnTo>
                      <a:pt x="58" y="9"/>
                    </a:lnTo>
                    <a:lnTo>
                      <a:pt x="56" y="10"/>
                    </a:lnTo>
                    <a:lnTo>
                      <a:pt x="54" y="9"/>
                    </a:lnTo>
                    <a:lnTo>
                      <a:pt x="51" y="11"/>
                    </a:lnTo>
                    <a:lnTo>
                      <a:pt x="51" y="14"/>
                    </a:lnTo>
                    <a:lnTo>
                      <a:pt x="49" y="14"/>
                    </a:lnTo>
                    <a:lnTo>
                      <a:pt x="45" y="13"/>
                    </a:lnTo>
                    <a:lnTo>
                      <a:pt x="44" y="10"/>
                    </a:lnTo>
                    <a:lnTo>
                      <a:pt x="41" y="9"/>
                    </a:lnTo>
                    <a:lnTo>
                      <a:pt x="39" y="10"/>
                    </a:lnTo>
                    <a:lnTo>
                      <a:pt x="34" y="8"/>
                    </a:lnTo>
                    <a:lnTo>
                      <a:pt x="30" y="7"/>
                    </a:lnTo>
                    <a:lnTo>
                      <a:pt x="28" y="9"/>
                    </a:lnTo>
                    <a:lnTo>
                      <a:pt x="28" y="12"/>
                    </a:lnTo>
                    <a:lnTo>
                      <a:pt x="28" y="13"/>
                    </a:lnTo>
                    <a:lnTo>
                      <a:pt x="28" y="14"/>
                    </a:lnTo>
                    <a:lnTo>
                      <a:pt x="28" y="14"/>
                    </a:lnTo>
                    <a:lnTo>
                      <a:pt x="27" y="17"/>
                    </a:lnTo>
                    <a:lnTo>
                      <a:pt x="25" y="19"/>
                    </a:lnTo>
                    <a:lnTo>
                      <a:pt x="25" y="24"/>
                    </a:lnTo>
                    <a:lnTo>
                      <a:pt x="24" y="30"/>
                    </a:lnTo>
                    <a:lnTo>
                      <a:pt x="24" y="35"/>
                    </a:lnTo>
                    <a:lnTo>
                      <a:pt x="26" y="37"/>
                    </a:lnTo>
                    <a:lnTo>
                      <a:pt x="28" y="39"/>
                    </a:lnTo>
                    <a:lnTo>
                      <a:pt x="29" y="41"/>
                    </a:lnTo>
                    <a:lnTo>
                      <a:pt x="29" y="43"/>
                    </a:lnTo>
                    <a:lnTo>
                      <a:pt x="19" y="56"/>
                    </a:lnTo>
                    <a:lnTo>
                      <a:pt x="14" y="61"/>
                    </a:lnTo>
                    <a:lnTo>
                      <a:pt x="12" y="64"/>
                    </a:lnTo>
                    <a:lnTo>
                      <a:pt x="5" y="77"/>
                    </a:lnTo>
                    <a:lnTo>
                      <a:pt x="3" y="79"/>
                    </a:lnTo>
                    <a:lnTo>
                      <a:pt x="3" y="83"/>
                    </a:lnTo>
                    <a:lnTo>
                      <a:pt x="3" y="90"/>
                    </a:lnTo>
                    <a:lnTo>
                      <a:pt x="0" y="97"/>
                    </a:lnTo>
                    <a:lnTo>
                      <a:pt x="1" y="101"/>
                    </a:lnTo>
                    <a:lnTo>
                      <a:pt x="0" y="102"/>
                    </a:lnTo>
                    <a:lnTo>
                      <a:pt x="1" y="102"/>
                    </a:lnTo>
                    <a:lnTo>
                      <a:pt x="4" y="102"/>
                    </a:lnTo>
                    <a:lnTo>
                      <a:pt x="7" y="99"/>
                    </a:lnTo>
                    <a:lnTo>
                      <a:pt x="9" y="100"/>
                    </a:lnTo>
                    <a:lnTo>
                      <a:pt x="11" y="102"/>
                    </a:lnTo>
                    <a:lnTo>
                      <a:pt x="14" y="102"/>
                    </a:lnTo>
                    <a:lnTo>
                      <a:pt x="15" y="100"/>
                    </a:lnTo>
                    <a:lnTo>
                      <a:pt x="15" y="98"/>
                    </a:lnTo>
                    <a:lnTo>
                      <a:pt x="18" y="97"/>
                    </a:lnTo>
                    <a:lnTo>
                      <a:pt x="18" y="98"/>
                    </a:lnTo>
                    <a:lnTo>
                      <a:pt x="19" y="97"/>
                    </a:lnTo>
                    <a:lnTo>
                      <a:pt x="21" y="97"/>
                    </a:lnTo>
                    <a:lnTo>
                      <a:pt x="22" y="95"/>
                    </a:lnTo>
                    <a:lnTo>
                      <a:pt x="38" y="95"/>
                    </a:lnTo>
                    <a:lnTo>
                      <a:pt x="39" y="95"/>
                    </a:lnTo>
                    <a:lnTo>
                      <a:pt x="52" y="95"/>
                    </a:lnTo>
                    <a:lnTo>
                      <a:pt x="78" y="94"/>
                    </a:lnTo>
                    <a:lnTo>
                      <a:pt x="83" y="76"/>
                    </a:lnTo>
                    <a:lnTo>
                      <a:pt x="83" y="76"/>
                    </a:lnTo>
                    <a:close/>
                  </a:path>
                </a:pathLst>
              </a:custGeom>
              <a:solidFill>
                <a:schemeClr val="accent4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703" name="Freeform 507"/>
              <p:cNvSpPr>
                <a:spLocks/>
              </p:cNvSpPr>
              <p:nvPr userDrawn="1"/>
            </p:nvSpPr>
            <p:spPr bwMode="auto">
              <a:xfrm>
                <a:off x="4020" y="3002"/>
                <a:ext cx="3" cy="5"/>
              </a:xfrm>
              <a:custGeom>
                <a:avLst/>
                <a:gdLst>
                  <a:gd name="T0" fmla="*/ 0 w 3"/>
                  <a:gd name="T1" fmla="*/ 5 h 5"/>
                  <a:gd name="T2" fmla="*/ 3 w 3"/>
                  <a:gd name="T3" fmla="*/ 0 h 5"/>
                  <a:gd name="T4" fmla="*/ 0 w 3"/>
                  <a:gd name="T5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" h="5">
                    <a:moveTo>
                      <a:pt x="0" y="5"/>
                    </a:moveTo>
                    <a:lnTo>
                      <a:pt x="3" y="0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65625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704" name="Line 508"/>
              <p:cNvSpPr>
                <a:spLocks noChangeShapeType="1"/>
              </p:cNvSpPr>
              <p:nvPr userDrawn="1"/>
            </p:nvSpPr>
            <p:spPr bwMode="auto">
              <a:xfrm flipV="1">
                <a:off x="4020" y="3002"/>
                <a:ext cx="3" cy="5"/>
              </a:xfrm>
              <a:prstGeom prst="line">
                <a:avLst/>
              </a:prstGeom>
              <a:noFill/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705" name="Freeform 509"/>
              <p:cNvSpPr>
                <a:spLocks/>
              </p:cNvSpPr>
              <p:nvPr userDrawn="1"/>
            </p:nvSpPr>
            <p:spPr bwMode="auto">
              <a:xfrm>
                <a:off x="4032" y="2956"/>
                <a:ext cx="3" cy="7"/>
              </a:xfrm>
              <a:custGeom>
                <a:avLst/>
                <a:gdLst>
                  <a:gd name="T0" fmla="*/ 0 w 3"/>
                  <a:gd name="T1" fmla="*/ 0 h 7"/>
                  <a:gd name="T2" fmla="*/ 1 w 3"/>
                  <a:gd name="T3" fmla="*/ 2 h 7"/>
                  <a:gd name="T4" fmla="*/ 3 w 3"/>
                  <a:gd name="T5" fmla="*/ 7 h 7"/>
                  <a:gd name="T6" fmla="*/ 0 w 3"/>
                  <a:gd name="T7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7">
                    <a:moveTo>
                      <a:pt x="0" y="0"/>
                    </a:moveTo>
                    <a:lnTo>
                      <a:pt x="1" y="2"/>
                    </a:lnTo>
                    <a:lnTo>
                      <a:pt x="3" y="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65625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706" name="Freeform 510"/>
              <p:cNvSpPr>
                <a:spLocks/>
              </p:cNvSpPr>
              <p:nvPr userDrawn="1"/>
            </p:nvSpPr>
            <p:spPr bwMode="auto">
              <a:xfrm>
                <a:off x="4032" y="2956"/>
                <a:ext cx="3" cy="7"/>
              </a:xfrm>
              <a:custGeom>
                <a:avLst/>
                <a:gdLst>
                  <a:gd name="T0" fmla="*/ 0 w 3"/>
                  <a:gd name="T1" fmla="*/ 0 h 7"/>
                  <a:gd name="T2" fmla="*/ 1 w 3"/>
                  <a:gd name="T3" fmla="*/ 2 h 7"/>
                  <a:gd name="T4" fmla="*/ 3 w 3"/>
                  <a:gd name="T5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" h="7">
                    <a:moveTo>
                      <a:pt x="0" y="0"/>
                    </a:moveTo>
                    <a:lnTo>
                      <a:pt x="1" y="2"/>
                    </a:lnTo>
                    <a:lnTo>
                      <a:pt x="3" y="7"/>
                    </a:lnTo>
                  </a:path>
                </a:pathLst>
              </a:custGeom>
              <a:noFill/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707" name="Freeform 511"/>
              <p:cNvSpPr>
                <a:spLocks/>
              </p:cNvSpPr>
              <p:nvPr userDrawn="1"/>
            </p:nvSpPr>
            <p:spPr bwMode="auto">
              <a:xfrm>
                <a:off x="3999" y="2948"/>
                <a:ext cx="37" cy="30"/>
              </a:xfrm>
              <a:custGeom>
                <a:avLst/>
                <a:gdLst>
                  <a:gd name="T0" fmla="*/ 10 w 37"/>
                  <a:gd name="T1" fmla="*/ 5 h 30"/>
                  <a:gd name="T2" fmla="*/ 11 w 37"/>
                  <a:gd name="T3" fmla="*/ 5 h 30"/>
                  <a:gd name="T4" fmla="*/ 14 w 37"/>
                  <a:gd name="T5" fmla="*/ 5 h 30"/>
                  <a:gd name="T6" fmla="*/ 17 w 37"/>
                  <a:gd name="T7" fmla="*/ 2 h 30"/>
                  <a:gd name="T8" fmla="*/ 19 w 37"/>
                  <a:gd name="T9" fmla="*/ 3 h 30"/>
                  <a:gd name="T10" fmla="*/ 21 w 37"/>
                  <a:gd name="T11" fmla="*/ 5 h 30"/>
                  <a:gd name="T12" fmla="*/ 24 w 37"/>
                  <a:gd name="T13" fmla="*/ 5 h 30"/>
                  <a:gd name="T14" fmla="*/ 25 w 37"/>
                  <a:gd name="T15" fmla="*/ 3 h 30"/>
                  <a:gd name="T16" fmla="*/ 25 w 37"/>
                  <a:gd name="T17" fmla="*/ 1 h 30"/>
                  <a:gd name="T18" fmla="*/ 28 w 37"/>
                  <a:gd name="T19" fmla="*/ 0 h 30"/>
                  <a:gd name="T20" fmla="*/ 30 w 37"/>
                  <a:gd name="T21" fmla="*/ 4 h 30"/>
                  <a:gd name="T22" fmla="*/ 32 w 37"/>
                  <a:gd name="T23" fmla="*/ 6 h 30"/>
                  <a:gd name="T24" fmla="*/ 33 w 37"/>
                  <a:gd name="T25" fmla="*/ 8 h 30"/>
                  <a:gd name="T26" fmla="*/ 34 w 37"/>
                  <a:gd name="T27" fmla="*/ 10 h 30"/>
                  <a:gd name="T28" fmla="*/ 36 w 37"/>
                  <a:gd name="T29" fmla="*/ 15 h 30"/>
                  <a:gd name="T30" fmla="*/ 37 w 37"/>
                  <a:gd name="T31" fmla="*/ 19 h 30"/>
                  <a:gd name="T32" fmla="*/ 35 w 37"/>
                  <a:gd name="T33" fmla="*/ 22 h 30"/>
                  <a:gd name="T34" fmla="*/ 35 w 37"/>
                  <a:gd name="T35" fmla="*/ 24 h 30"/>
                  <a:gd name="T36" fmla="*/ 33 w 37"/>
                  <a:gd name="T37" fmla="*/ 25 h 30"/>
                  <a:gd name="T38" fmla="*/ 31 w 37"/>
                  <a:gd name="T39" fmla="*/ 27 h 30"/>
                  <a:gd name="T40" fmla="*/ 29 w 37"/>
                  <a:gd name="T41" fmla="*/ 26 h 30"/>
                  <a:gd name="T42" fmla="*/ 28 w 37"/>
                  <a:gd name="T43" fmla="*/ 25 h 30"/>
                  <a:gd name="T44" fmla="*/ 28 w 37"/>
                  <a:gd name="T45" fmla="*/ 24 h 30"/>
                  <a:gd name="T46" fmla="*/ 27 w 37"/>
                  <a:gd name="T47" fmla="*/ 23 h 30"/>
                  <a:gd name="T48" fmla="*/ 26 w 37"/>
                  <a:gd name="T49" fmla="*/ 20 h 30"/>
                  <a:gd name="T50" fmla="*/ 24 w 37"/>
                  <a:gd name="T51" fmla="*/ 20 h 30"/>
                  <a:gd name="T52" fmla="*/ 22 w 37"/>
                  <a:gd name="T53" fmla="*/ 18 h 30"/>
                  <a:gd name="T54" fmla="*/ 21 w 37"/>
                  <a:gd name="T55" fmla="*/ 18 h 30"/>
                  <a:gd name="T56" fmla="*/ 21 w 37"/>
                  <a:gd name="T57" fmla="*/ 22 h 30"/>
                  <a:gd name="T58" fmla="*/ 19 w 37"/>
                  <a:gd name="T59" fmla="*/ 28 h 30"/>
                  <a:gd name="T60" fmla="*/ 19 w 37"/>
                  <a:gd name="T61" fmla="*/ 29 h 30"/>
                  <a:gd name="T62" fmla="*/ 15 w 37"/>
                  <a:gd name="T63" fmla="*/ 30 h 30"/>
                  <a:gd name="T64" fmla="*/ 13 w 37"/>
                  <a:gd name="T65" fmla="*/ 29 h 30"/>
                  <a:gd name="T66" fmla="*/ 12 w 37"/>
                  <a:gd name="T67" fmla="*/ 29 h 30"/>
                  <a:gd name="T68" fmla="*/ 11 w 37"/>
                  <a:gd name="T69" fmla="*/ 29 h 30"/>
                  <a:gd name="T70" fmla="*/ 7 w 37"/>
                  <a:gd name="T71" fmla="*/ 29 h 30"/>
                  <a:gd name="T72" fmla="*/ 7 w 37"/>
                  <a:gd name="T73" fmla="*/ 26 h 30"/>
                  <a:gd name="T74" fmla="*/ 5 w 37"/>
                  <a:gd name="T75" fmla="*/ 25 h 30"/>
                  <a:gd name="T76" fmla="*/ 1 w 37"/>
                  <a:gd name="T77" fmla="*/ 25 h 30"/>
                  <a:gd name="T78" fmla="*/ 0 w 37"/>
                  <a:gd name="T79" fmla="*/ 26 h 30"/>
                  <a:gd name="T80" fmla="*/ 0 w 37"/>
                  <a:gd name="T81" fmla="*/ 23 h 30"/>
                  <a:gd name="T82" fmla="*/ 3 w 37"/>
                  <a:gd name="T83" fmla="*/ 12 h 30"/>
                  <a:gd name="T84" fmla="*/ 7 w 37"/>
                  <a:gd name="T85" fmla="*/ 8 h 30"/>
                  <a:gd name="T86" fmla="*/ 10 w 37"/>
                  <a:gd name="T87" fmla="*/ 5 h 30"/>
                  <a:gd name="T88" fmla="*/ 10 w 37"/>
                  <a:gd name="T89" fmla="*/ 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37" h="30">
                    <a:moveTo>
                      <a:pt x="10" y="5"/>
                    </a:moveTo>
                    <a:lnTo>
                      <a:pt x="11" y="5"/>
                    </a:lnTo>
                    <a:lnTo>
                      <a:pt x="14" y="5"/>
                    </a:lnTo>
                    <a:lnTo>
                      <a:pt x="17" y="2"/>
                    </a:lnTo>
                    <a:lnTo>
                      <a:pt x="19" y="3"/>
                    </a:lnTo>
                    <a:lnTo>
                      <a:pt x="21" y="5"/>
                    </a:lnTo>
                    <a:lnTo>
                      <a:pt x="24" y="5"/>
                    </a:lnTo>
                    <a:lnTo>
                      <a:pt x="25" y="3"/>
                    </a:lnTo>
                    <a:lnTo>
                      <a:pt x="25" y="1"/>
                    </a:lnTo>
                    <a:lnTo>
                      <a:pt x="28" y="0"/>
                    </a:lnTo>
                    <a:lnTo>
                      <a:pt x="30" y="4"/>
                    </a:lnTo>
                    <a:lnTo>
                      <a:pt x="32" y="6"/>
                    </a:lnTo>
                    <a:lnTo>
                      <a:pt x="33" y="8"/>
                    </a:lnTo>
                    <a:lnTo>
                      <a:pt x="34" y="10"/>
                    </a:lnTo>
                    <a:lnTo>
                      <a:pt x="36" y="15"/>
                    </a:lnTo>
                    <a:lnTo>
                      <a:pt x="37" y="19"/>
                    </a:lnTo>
                    <a:lnTo>
                      <a:pt x="35" y="22"/>
                    </a:lnTo>
                    <a:lnTo>
                      <a:pt x="35" y="24"/>
                    </a:lnTo>
                    <a:lnTo>
                      <a:pt x="33" y="25"/>
                    </a:lnTo>
                    <a:lnTo>
                      <a:pt x="31" y="27"/>
                    </a:lnTo>
                    <a:lnTo>
                      <a:pt x="29" y="26"/>
                    </a:lnTo>
                    <a:lnTo>
                      <a:pt x="28" y="25"/>
                    </a:lnTo>
                    <a:lnTo>
                      <a:pt x="28" y="24"/>
                    </a:lnTo>
                    <a:lnTo>
                      <a:pt x="27" y="23"/>
                    </a:lnTo>
                    <a:lnTo>
                      <a:pt x="26" y="20"/>
                    </a:lnTo>
                    <a:lnTo>
                      <a:pt x="24" y="20"/>
                    </a:lnTo>
                    <a:lnTo>
                      <a:pt x="22" y="18"/>
                    </a:lnTo>
                    <a:lnTo>
                      <a:pt x="21" y="18"/>
                    </a:lnTo>
                    <a:lnTo>
                      <a:pt x="21" y="22"/>
                    </a:lnTo>
                    <a:lnTo>
                      <a:pt x="19" y="28"/>
                    </a:lnTo>
                    <a:lnTo>
                      <a:pt x="19" y="29"/>
                    </a:lnTo>
                    <a:lnTo>
                      <a:pt x="15" y="30"/>
                    </a:lnTo>
                    <a:lnTo>
                      <a:pt x="13" y="29"/>
                    </a:lnTo>
                    <a:lnTo>
                      <a:pt x="12" y="29"/>
                    </a:lnTo>
                    <a:lnTo>
                      <a:pt x="11" y="29"/>
                    </a:lnTo>
                    <a:lnTo>
                      <a:pt x="7" y="29"/>
                    </a:lnTo>
                    <a:lnTo>
                      <a:pt x="7" y="26"/>
                    </a:lnTo>
                    <a:lnTo>
                      <a:pt x="5" y="25"/>
                    </a:lnTo>
                    <a:lnTo>
                      <a:pt x="1" y="25"/>
                    </a:lnTo>
                    <a:lnTo>
                      <a:pt x="0" y="26"/>
                    </a:lnTo>
                    <a:lnTo>
                      <a:pt x="0" y="23"/>
                    </a:lnTo>
                    <a:lnTo>
                      <a:pt x="3" y="12"/>
                    </a:lnTo>
                    <a:lnTo>
                      <a:pt x="7" y="8"/>
                    </a:lnTo>
                    <a:lnTo>
                      <a:pt x="10" y="5"/>
                    </a:lnTo>
                    <a:lnTo>
                      <a:pt x="10" y="5"/>
                    </a:lnTo>
                    <a:close/>
                  </a:path>
                </a:pathLst>
              </a:custGeom>
              <a:solidFill>
                <a:schemeClr val="accent4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708" name="Freeform 512"/>
              <p:cNvSpPr>
                <a:spLocks/>
              </p:cNvSpPr>
              <p:nvPr userDrawn="1"/>
            </p:nvSpPr>
            <p:spPr bwMode="auto">
              <a:xfrm>
                <a:off x="4051" y="2269"/>
                <a:ext cx="9" cy="2"/>
              </a:xfrm>
              <a:custGeom>
                <a:avLst/>
                <a:gdLst>
                  <a:gd name="T0" fmla="*/ 0 w 9"/>
                  <a:gd name="T1" fmla="*/ 0 h 2"/>
                  <a:gd name="T2" fmla="*/ 4 w 9"/>
                  <a:gd name="T3" fmla="*/ 2 h 2"/>
                  <a:gd name="T4" fmla="*/ 9 w 9"/>
                  <a:gd name="T5" fmla="*/ 1 h 2"/>
                  <a:gd name="T6" fmla="*/ 0 w 9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" h="2">
                    <a:moveTo>
                      <a:pt x="0" y="0"/>
                    </a:moveTo>
                    <a:lnTo>
                      <a:pt x="4" y="2"/>
                    </a:lnTo>
                    <a:lnTo>
                      <a:pt x="9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65625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709" name="Freeform 513"/>
              <p:cNvSpPr>
                <a:spLocks/>
              </p:cNvSpPr>
              <p:nvPr userDrawn="1"/>
            </p:nvSpPr>
            <p:spPr bwMode="auto">
              <a:xfrm>
                <a:off x="4051" y="2269"/>
                <a:ext cx="9" cy="2"/>
              </a:xfrm>
              <a:custGeom>
                <a:avLst/>
                <a:gdLst>
                  <a:gd name="T0" fmla="*/ 0 w 9"/>
                  <a:gd name="T1" fmla="*/ 0 h 2"/>
                  <a:gd name="T2" fmla="*/ 4 w 9"/>
                  <a:gd name="T3" fmla="*/ 2 h 2"/>
                  <a:gd name="T4" fmla="*/ 9 w 9"/>
                  <a:gd name="T5" fmla="*/ 1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9" h="2">
                    <a:moveTo>
                      <a:pt x="0" y="0"/>
                    </a:moveTo>
                    <a:lnTo>
                      <a:pt x="4" y="2"/>
                    </a:lnTo>
                    <a:lnTo>
                      <a:pt x="9" y="1"/>
                    </a:lnTo>
                  </a:path>
                </a:pathLst>
              </a:custGeom>
              <a:noFill/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710" name="Freeform 514"/>
              <p:cNvSpPr>
                <a:spLocks/>
              </p:cNvSpPr>
              <p:nvPr userDrawn="1"/>
            </p:nvSpPr>
            <p:spPr bwMode="auto">
              <a:xfrm>
                <a:off x="4036" y="2263"/>
                <a:ext cx="41" cy="23"/>
              </a:xfrm>
              <a:custGeom>
                <a:avLst/>
                <a:gdLst>
                  <a:gd name="T0" fmla="*/ 7 w 41"/>
                  <a:gd name="T1" fmla="*/ 22 h 23"/>
                  <a:gd name="T2" fmla="*/ 3 w 41"/>
                  <a:gd name="T3" fmla="*/ 21 h 23"/>
                  <a:gd name="T4" fmla="*/ 0 w 41"/>
                  <a:gd name="T5" fmla="*/ 17 h 23"/>
                  <a:gd name="T6" fmla="*/ 0 w 41"/>
                  <a:gd name="T7" fmla="*/ 13 h 23"/>
                  <a:gd name="T8" fmla="*/ 2 w 41"/>
                  <a:gd name="T9" fmla="*/ 13 h 23"/>
                  <a:gd name="T10" fmla="*/ 5 w 41"/>
                  <a:gd name="T11" fmla="*/ 10 h 23"/>
                  <a:gd name="T12" fmla="*/ 8 w 41"/>
                  <a:gd name="T13" fmla="*/ 11 h 23"/>
                  <a:gd name="T14" fmla="*/ 11 w 41"/>
                  <a:gd name="T15" fmla="*/ 11 h 23"/>
                  <a:gd name="T16" fmla="*/ 12 w 41"/>
                  <a:gd name="T17" fmla="*/ 8 h 23"/>
                  <a:gd name="T18" fmla="*/ 12 w 41"/>
                  <a:gd name="T19" fmla="*/ 6 h 23"/>
                  <a:gd name="T20" fmla="*/ 15 w 41"/>
                  <a:gd name="T21" fmla="*/ 6 h 23"/>
                  <a:gd name="T22" fmla="*/ 19 w 41"/>
                  <a:gd name="T23" fmla="*/ 8 h 23"/>
                  <a:gd name="T24" fmla="*/ 24 w 41"/>
                  <a:gd name="T25" fmla="*/ 7 h 23"/>
                  <a:gd name="T26" fmla="*/ 32 w 41"/>
                  <a:gd name="T27" fmla="*/ 4 h 23"/>
                  <a:gd name="T28" fmla="*/ 37 w 41"/>
                  <a:gd name="T29" fmla="*/ 1 h 23"/>
                  <a:gd name="T30" fmla="*/ 40 w 41"/>
                  <a:gd name="T31" fmla="*/ 0 h 23"/>
                  <a:gd name="T32" fmla="*/ 41 w 41"/>
                  <a:gd name="T33" fmla="*/ 1 h 23"/>
                  <a:gd name="T34" fmla="*/ 39 w 41"/>
                  <a:gd name="T35" fmla="*/ 3 h 23"/>
                  <a:gd name="T36" fmla="*/ 35 w 41"/>
                  <a:gd name="T37" fmla="*/ 6 h 23"/>
                  <a:gd name="T38" fmla="*/ 31 w 41"/>
                  <a:gd name="T39" fmla="*/ 10 h 23"/>
                  <a:gd name="T40" fmla="*/ 32 w 41"/>
                  <a:gd name="T41" fmla="*/ 14 h 23"/>
                  <a:gd name="T42" fmla="*/ 32 w 41"/>
                  <a:gd name="T43" fmla="*/ 17 h 23"/>
                  <a:gd name="T44" fmla="*/ 27 w 41"/>
                  <a:gd name="T45" fmla="*/ 17 h 23"/>
                  <a:gd name="T46" fmla="*/ 24 w 41"/>
                  <a:gd name="T47" fmla="*/ 18 h 23"/>
                  <a:gd name="T48" fmla="*/ 20 w 41"/>
                  <a:gd name="T49" fmla="*/ 22 h 23"/>
                  <a:gd name="T50" fmla="*/ 16 w 41"/>
                  <a:gd name="T51" fmla="*/ 22 h 23"/>
                  <a:gd name="T52" fmla="*/ 14 w 41"/>
                  <a:gd name="T53" fmla="*/ 23 h 23"/>
                  <a:gd name="T54" fmla="*/ 12 w 41"/>
                  <a:gd name="T55" fmla="*/ 22 h 23"/>
                  <a:gd name="T56" fmla="*/ 7 w 41"/>
                  <a:gd name="T57" fmla="*/ 22 h 23"/>
                  <a:gd name="T58" fmla="*/ 7 w 41"/>
                  <a:gd name="T59" fmla="*/ 2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41" h="23">
                    <a:moveTo>
                      <a:pt x="7" y="22"/>
                    </a:moveTo>
                    <a:lnTo>
                      <a:pt x="3" y="21"/>
                    </a:lnTo>
                    <a:lnTo>
                      <a:pt x="0" y="17"/>
                    </a:lnTo>
                    <a:lnTo>
                      <a:pt x="0" y="13"/>
                    </a:lnTo>
                    <a:lnTo>
                      <a:pt x="2" y="13"/>
                    </a:lnTo>
                    <a:lnTo>
                      <a:pt x="5" y="10"/>
                    </a:lnTo>
                    <a:lnTo>
                      <a:pt x="8" y="11"/>
                    </a:lnTo>
                    <a:lnTo>
                      <a:pt x="11" y="11"/>
                    </a:lnTo>
                    <a:lnTo>
                      <a:pt x="12" y="8"/>
                    </a:lnTo>
                    <a:lnTo>
                      <a:pt x="12" y="6"/>
                    </a:lnTo>
                    <a:lnTo>
                      <a:pt x="15" y="6"/>
                    </a:lnTo>
                    <a:lnTo>
                      <a:pt x="19" y="8"/>
                    </a:lnTo>
                    <a:lnTo>
                      <a:pt x="24" y="7"/>
                    </a:lnTo>
                    <a:lnTo>
                      <a:pt x="32" y="4"/>
                    </a:lnTo>
                    <a:lnTo>
                      <a:pt x="37" y="1"/>
                    </a:lnTo>
                    <a:lnTo>
                      <a:pt x="40" y="0"/>
                    </a:lnTo>
                    <a:lnTo>
                      <a:pt x="41" y="1"/>
                    </a:lnTo>
                    <a:lnTo>
                      <a:pt x="39" y="3"/>
                    </a:lnTo>
                    <a:lnTo>
                      <a:pt x="35" y="6"/>
                    </a:lnTo>
                    <a:lnTo>
                      <a:pt x="31" y="10"/>
                    </a:lnTo>
                    <a:lnTo>
                      <a:pt x="32" y="14"/>
                    </a:lnTo>
                    <a:lnTo>
                      <a:pt x="32" y="17"/>
                    </a:lnTo>
                    <a:lnTo>
                      <a:pt x="27" y="17"/>
                    </a:lnTo>
                    <a:lnTo>
                      <a:pt x="24" y="18"/>
                    </a:lnTo>
                    <a:lnTo>
                      <a:pt x="20" y="22"/>
                    </a:lnTo>
                    <a:lnTo>
                      <a:pt x="16" y="22"/>
                    </a:lnTo>
                    <a:lnTo>
                      <a:pt x="14" y="23"/>
                    </a:lnTo>
                    <a:lnTo>
                      <a:pt x="12" y="22"/>
                    </a:lnTo>
                    <a:lnTo>
                      <a:pt x="7" y="22"/>
                    </a:lnTo>
                    <a:lnTo>
                      <a:pt x="7" y="22"/>
                    </a:lnTo>
                    <a:close/>
                  </a:path>
                </a:pathLst>
              </a:custGeom>
              <a:solidFill>
                <a:schemeClr val="accent4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711" name="Freeform 515"/>
              <p:cNvSpPr>
                <a:spLocks/>
              </p:cNvSpPr>
              <p:nvPr userDrawn="1"/>
            </p:nvSpPr>
            <p:spPr bwMode="auto">
              <a:xfrm>
                <a:off x="3546" y="1962"/>
                <a:ext cx="7" cy="2"/>
              </a:xfrm>
              <a:custGeom>
                <a:avLst/>
                <a:gdLst>
                  <a:gd name="T0" fmla="*/ 0 w 7"/>
                  <a:gd name="T1" fmla="*/ 0 h 2"/>
                  <a:gd name="T2" fmla="*/ 4 w 7"/>
                  <a:gd name="T3" fmla="*/ 0 h 2"/>
                  <a:gd name="T4" fmla="*/ 7 w 7"/>
                  <a:gd name="T5" fmla="*/ 2 h 2"/>
                  <a:gd name="T6" fmla="*/ 0 w 7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2">
                    <a:moveTo>
                      <a:pt x="0" y="0"/>
                    </a:moveTo>
                    <a:lnTo>
                      <a:pt x="4" y="0"/>
                    </a:lnTo>
                    <a:lnTo>
                      <a:pt x="7" y="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65625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712" name="Freeform 516"/>
              <p:cNvSpPr>
                <a:spLocks/>
              </p:cNvSpPr>
              <p:nvPr userDrawn="1"/>
            </p:nvSpPr>
            <p:spPr bwMode="auto">
              <a:xfrm>
                <a:off x="3546" y="1962"/>
                <a:ext cx="7" cy="2"/>
              </a:xfrm>
              <a:custGeom>
                <a:avLst/>
                <a:gdLst>
                  <a:gd name="T0" fmla="*/ 0 w 7"/>
                  <a:gd name="T1" fmla="*/ 0 h 2"/>
                  <a:gd name="T2" fmla="*/ 4 w 7"/>
                  <a:gd name="T3" fmla="*/ 0 h 2"/>
                  <a:gd name="T4" fmla="*/ 7 w 7"/>
                  <a:gd name="T5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2">
                    <a:moveTo>
                      <a:pt x="0" y="0"/>
                    </a:moveTo>
                    <a:lnTo>
                      <a:pt x="4" y="0"/>
                    </a:lnTo>
                    <a:lnTo>
                      <a:pt x="7" y="2"/>
                    </a:lnTo>
                  </a:path>
                </a:pathLst>
              </a:custGeom>
              <a:noFill/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713" name="Freeform 517"/>
              <p:cNvSpPr>
                <a:spLocks/>
              </p:cNvSpPr>
              <p:nvPr userDrawn="1"/>
            </p:nvSpPr>
            <p:spPr bwMode="auto">
              <a:xfrm>
                <a:off x="3509" y="1922"/>
                <a:ext cx="51" cy="42"/>
              </a:xfrm>
              <a:custGeom>
                <a:avLst/>
                <a:gdLst>
                  <a:gd name="T0" fmla="*/ 49 w 51"/>
                  <a:gd name="T1" fmla="*/ 29 h 42"/>
                  <a:gd name="T2" fmla="*/ 51 w 51"/>
                  <a:gd name="T3" fmla="*/ 24 h 42"/>
                  <a:gd name="T4" fmla="*/ 49 w 51"/>
                  <a:gd name="T5" fmla="*/ 20 h 42"/>
                  <a:gd name="T6" fmla="*/ 49 w 51"/>
                  <a:gd name="T7" fmla="*/ 18 h 42"/>
                  <a:gd name="T8" fmla="*/ 46 w 51"/>
                  <a:gd name="T9" fmla="*/ 13 h 42"/>
                  <a:gd name="T10" fmla="*/ 47 w 51"/>
                  <a:gd name="T11" fmla="*/ 11 h 42"/>
                  <a:gd name="T12" fmla="*/ 44 w 51"/>
                  <a:gd name="T13" fmla="*/ 10 h 42"/>
                  <a:gd name="T14" fmla="*/ 44 w 51"/>
                  <a:gd name="T15" fmla="*/ 7 h 42"/>
                  <a:gd name="T16" fmla="*/ 43 w 51"/>
                  <a:gd name="T17" fmla="*/ 4 h 42"/>
                  <a:gd name="T18" fmla="*/ 38 w 51"/>
                  <a:gd name="T19" fmla="*/ 4 h 42"/>
                  <a:gd name="T20" fmla="*/ 36 w 51"/>
                  <a:gd name="T21" fmla="*/ 2 h 42"/>
                  <a:gd name="T22" fmla="*/ 33 w 51"/>
                  <a:gd name="T23" fmla="*/ 2 h 42"/>
                  <a:gd name="T24" fmla="*/ 31 w 51"/>
                  <a:gd name="T25" fmla="*/ 0 h 42"/>
                  <a:gd name="T26" fmla="*/ 24 w 51"/>
                  <a:gd name="T27" fmla="*/ 0 h 42"/>
                  <a:gd name="T28" fmla="*/ 23 w 51"/>
                  <a:gd name="T29" fmla="*/ 2 h 42"/>
                  <a:gd name="T30" fmla="*/ 21 w 51"/>
                  <a:gd name="T31" fmla="*/ 2 h 42"/>
                  <a:gd name="T32" fmla="*/ 21 w 51"/>
                  <a:gd name="T33" fmla="*/ 4 h 42"/>
                  <a:gd name="T34" fmla="*/ 17 w 51"/>
                  <a:gd name="T35" fmla="*/ 4 h 42"/>
                  <a:gd name="T36" fmla="*/ 15 w 51"/>
                  <a:gd name="T37" fmla="*/ 6 h 42"/>
                  <a:gd name="T38" fmla="*/ 13 w 51"/>
                  <a:gd name="T39" fmla="*/ 4 h 42"/>
                  <a:gd name="T40" fmla="*/ 10 w 51"/>
                  <a:gd name="T41" fmla="*/ 4 h 42"/>
                  <a:gd name="T42" fmla="*/ 8 w 51"/>
                  <a:gd name="T43" fmla="*/ 2 h 42"/>
                  <a:gd name="T44" fmla="*/ 6 w 51"/>
                  <a:gd name="T45" fmla="*/ 1 h 42"/>
                  <a:gd name="T46" fmla="*/ 2 w 51"/>
                  <a:gd name="T47" fmla="*/ 4 h 42"/>
                  <a:gd name="T48" fmla="*/ 0 w 51"/>
                  <a:gd name="T49" fmla="*/ 8 h 42"/>
                  <a:gd name="T50" fmla="*/ 2 w 51"/>
                  <a:gd name="T51" fmla="*/ 10 h 42"/>
                  <a:gd name="T52" fmla="*/ 3 w 51"/>
                  <a:gd name="T53" fmla="*/ 16 h 42"/>
                  <a:gd name="T54" fmla="*/ 7 w 51"/>
                  <a:gd name="T55" fmla="*/ 17 h 42"/>
                  <a:gd name="T56" fmla="*/ 8 w 51"/>
                  <a:gd name="T57" fmla="*/ 20 h 42"/>
                  <a:gd name="T58" fmla="*/ 13 w 51"/>
                  <a:gd name="T59" fmla="*/ 24 h 42"/>
                  <a:gd name="T60" fmla="*/ 15 w 51"/>
                  <a:gd name="T61" fmla="*/ 24 h 42"/>
                  <a:gd name="T62" fmla="*/ 18 w 51"/>
                  <a:gd name="T63" fmla="*/ 26 h 42"/>
                  <a:gd name="T64" fmla="*/ 20 w 51"/>
                  <a:gd name="T65" fmla="*/ 27 h 42"/>
                  <a:gd name="T66" fmla="*/ 21 w 51"/>
                  <a:gd name="T67" fmla="*/ 32 h 42"/>
                  <a:gd name="T68" fmla="*/ 24 w 51"/>
                  <a:gd name="T69" fmla="*/ 34 h 42"/>
                  <a:gd name="T70" fmla="*/ 26 w 51"/>
                  <a:gd name="T71" fmla="*/ 33 h 42"/>
                  <a:gd name="T72" fmla="*/ 28 w 51"/>
                  <a:gd name="T73" fmla="*/ 33 h 42"/>
                  <a:gd name="T74" fmla="*/ 30 w 51"/>
                  <a:gd name="T75" fmla="*/ 35 h 42"/>
                  <a:gd name="T76" fmla="*/ 32 w 51"/>
                  <a:gd name="T77" fmla="*/ 35 h 42"/>
                  <a:gd name="T78" fmla="*/ 37 w 51"/>
                  <a:gd name="T79" fmla="*/ 40 h 42"/>
                  <a:gd name="T80" fmla="*/ 41 w 51"/>
                  <a:gd name="T81" fmla="*/ 40 h 42"/>
                  <a:gd name="T82" fmla="*/ 44 w 51"/>
                  <a:gd name="T83" fmla="*/ 42 h 42"/>
                  <a:gd name="T84" fmla="*/ 45 w 51"/>
                  <a:gd name="T85" fmla="*/ 41 h 42"/>
                  <a:gd name="T86" fmla="*/ 47 w 51"/>
                  <a:gd name="T87" fmla="*/ 41 h 42"/>
                  <a:gd name="T88" fmla="*/ 47 w 51"/>
                  <a:gd name="T89" fmla="*/ 39 h 42"/>
                  <a:gd name="T90" fmla="*/ 46 w 51"/>
                  <a:gd name="T91" fmla="*/ 38 h 42"/>
                  <a:gd name="T92" fmla="*/ 46 w 51"/>
                  <a:gd name="T93" fmla="*/ 36 h 42"/>
                  <a:gd name="T94" fmla="*/ 45 w 51"/>
                  <a:gd name="T95" fmla="*/ 35 h 42"/>
                  <a:gd name="T96" fmla="*/ 47 w 51"/>
                  <a:gd name="T97" fmla="*/ 32 h 42"/>
                  <a:gd name="T98" fmla="*/ 48 w 51"/>
                  <a:gd name="T99" fmla="*/ 29 h 42"/>
                  <a:gd name="T100" fmla="*/ 49 w 51"/>
                  <a:gd name="T101" fmla="*/ 29 h 42"/>
                  <a:gd name="T102" fmla="*/ 49 w 51"/>
                  <a:gd name="T103" fmla="*/ 29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51" h="42">
                    <a:moveTo>
                      <a:pt x="49" y="29"/>
                    </a:moveTo>
                    <a:lnTo>
                      <a:pt x="51" y="24"/>
                    </a:lnTo>
                    <a:lnTo>
                      <a:pt x="49" y="20"/>
                    </a:lnTo>
                    <a:lnTo>
                      <a:pt x="49" y="18"/>
                    </a:lnTo>
                    <a:lnTo>
                      <a:pt x="46" y="13"/>
                    </a:lnTo>
                    <a:lnTo>
                      <a:pt x="47" y="11"/>
                    </a:lnTo>
                    <a:lnTo>
                      <a:pt x="44" y="10"/>
                    </a:lnTo>
                    <a:lnTo>
                      <a:pt x="44" y="7"/>
                    </a:lnTo>
                    <a:lnTo>
                      <a:pt x="43" y="4"/>
                    </a:lnTo>
                    <a:lnTo>
                      <a:pt x="38" y="4"/>
                    </a:lnTo>
                    <a:lnTo>
                      <a:pt x="36" y="2"/>
                    </a:lnTo>
                    <a:lnTo>
                      <a:pt x="33" y="2"/>
                    </a:lnTo>
                    <a:lnTo>
                      <a:pt x="31" y="0"/>
                    </a:lnTo>
                    <a:lnTo>
                      <a:pt x="24" y="0"/>
                    </a:lnTo>
                    <a:lnTo>
                      <a:pt x="23" y="2"/>
                    </a:lnTo>
                    <a:lnTo>
                      <a:pt x="21" y="2"/>
                    </a:lnTo>
                    <a:lnTo>
                      <a:pt x="21" y="4"/>
                    </a:lnTo>
                    <a:lnTo>
                      <a:pt x="17" y="4"/>
                    </a:lnTo>
                    <a:lnTo>
                      <a:pt x="15" y="6"/>
                    </a:lnTo>
                    <a:lnTo>
                      <a:pt x="13" y="4"/>
                    </a:lnTo>
                    <a:lnTo>
                      <a:pt x="10" y="4"/>
                    </a:lnTo>
                    <a:lnTo>
                      <a:pt x="8" y="2"/>
                    </a:lnTo>
                    <a:lnTo>
                      <a:pt x="6" y="1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2" y="10"/>
                    </a:lnTo>
                    <a:lnTo>
                      <a:pt x="3" y="16"/>
                    </a:lnTo>
                    <a:lnTo>
                      <a:pt x="7" y="17"/>
                    </a:lnTo>
                    <a:lnTo>
                      <a:pt x="8" y="20"/>
                    </a:lnTo>
                    <a:lnTo>
                      <a:pt x="13" y="24"/>
                    </a:lnTo>
                    <a:lnTo>
                      <a:pt x="15" y="24"/>
                    </a:lnTo>
                    <a:lnTo>
                      <a:pt x="18" y="26"/>
                    </a:lnTo>
                    <a:lnTo>
                      <a:pt x="20" y="27"/>
                    </a:lnTo>
                    <a:lnTo>
                      <a:pt x="21" y="32"/>
                    </a:lnTo>
                    <a:lnTo>
                      <a:pt x="24" y="34"/>
                    </a:lnTo>
                    <a:lnTo>
                      <a:pt x="26" y="33"/>
                    </a:lnTo>
                    <a:lnTo>
                      <a:pt x="28" y="33"/>
                    </a:lnTo>
                    <a:lnTo>
                      <a:pt x="30" y="35"/>
                    </a:lnTo>
                    <a:lnTo>
                      <a:pt x="32" y="35"/>
                    </a:lnTo>
                    <a:lnTo>
                      <a:pt x="37" y="40"/>
                    </a:lnTo>
                    <a:lnTo>
                      <a:pt x="41" y="40"/>
                    </a:lnTo>
                    <a:lnTo>
                      <a:pt x="44" y="42"/>
                    </a:lnTo>
                    <a:lnTo>
                      <a:pt x="45" y="41"/>
                    </a:lnTo>
                    <a:lnTo>
                      <a:pt x="47" y="41"/>
                    </a:lnTo>
                    <a:lnTo>
                      <a:pt x="47" y="39"/>
                    </a:lnTo>
                    <a:lnTo>
                      <a:pt x="46" y="38"/>
                    </a:lnTo>
                    <a:lnTo>
                      <a:pt x="46" y="36"/>
                    </a:lnTo>
                    <a:lnTo>
                      <a:pt x="45" y="35"/>
                    </a:lnTo>
                    <a:lnTo>
                      <a:pt x="47" y="32"/>
                    </a:lnTo>
                    <a:lnTo>
                      <a:pt x="48" y="29"/>
                    </a:lnTo>
                    <a:lnTo>
                      <a:pt x="49" y="29"/>
                    </a:lnTo>
                    <a:lnTo>
                      <a:pt x="49" y="29"/>
                    </a:lnTo>
                    <a:close/>
                  </a:path>
                </a:pathLst>
              </a:custGeom>
              <a:solidFill>
                <a:schemeClr val="accent4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714" name="Freeform 518"/>
              <p:cNvSpPr>
                <a:spLocks/>
              </p:cNvSpPr>
              <p:nvPr userDrawn="1"/>
            </p:nvSpPr>
            <p:spPr bwMode="auto">
              <a:xfrm>
                <a:off x="1848" y="2593"/>
                <a:ext cx="22" cy="46"/>
              </a:xfrm>
              <a:custGeom>
                <a:avLst/>
                <a:gdLst>
                  <a:gd name="T0" fmla="*/ 1 w 22"/>
                  <a:gd name="T1" fmla="*/ 12 h 46"/>
                  <a:gd name="T2" fmla="*/ 1 w 22"/>
                  <a:gd name="T3" fmla="*/ 12 h 46"/>
                  <a:gd name="T4" fmla="*/ 1 w 22"/>
                  <a:gd name="T5" fmla="*/ 10 h 46"/>
                  <a:gd name="T6" fmla="*/ 3 w 22"/>
                  <a:gd name="T7" fmla="*/ 8 h 46"/>
                  <a:gd name="T8" fmla="*/ 5 w 22"/>
                  <a:gd name="T9" fmla="*/ 9 h 46"/>
                  <a:gd name="T10" fmla="*/ 5 w 22"/>
                  <a:gd name="T11" fmla="*/ 10 h 46"/>
                  <a:gd name="T12" fmla="*/ 6 w 22"/>
                  <a:gd name="T13" fmla="*/ 11 h 46"/>
                  <a:gd name="T14" fmla="*/ 7 w 22"/>
                  <a:gd name="T15" fmla="*/ 10 h 46"/>
                  <a:gd name="T16" fmla="*/ 8 w 22"/>
                  <a:gd name="T17" fmla="*/ 9 h 46"/>
                  <a:gd name="T18" fmla="*/ 8 w 22"/>
                  <a:gd name="T19" fmla="*/ 8 h 46"/>
                  <a:gd name="T20" fmla="*/ 11 w 22"/>
                  <a:gd name="T21" fmla="*/ 5 h 46"/>
                  <a:gd name="T22" fmla="*/ 12 w 22"/>
                  <a:gd name="T23" fmla="*/ 2 h 46"/>
                  <a:gd name="T24" fmla="*/ 12 w 22"/>
                  <a:gd name="T25" fmla="*/ 1 h 46"/>
                  <a:gd name="T26" fmla="*/ 15 w 22"/>
                  <a:gd name="T27" fmla="*/ 0 h 46"/>
                  <a:gd name="T28" fmla="*/ 16 w 22"/>
                  <a:gd name="T29" fmla="*/ 0 h 46"/>
                  <a:gd name="T30" fmla="*/ 17 w 22"/>
                  <a:gd name="T31" fmla="*/ 2 h 46"/>
                  <a:gd name="T32" fmla="*/ 19 w 22"/>
                  <a:gd name="T33" fmla="*/ 0 h 46"/>
                  <a:gd name="T34" fmla="*/ 21 w 22"/>
                  <a:gd name="T35" fmla="*/ 0 h 46"/>
                  <a:gd name="T36" fmla="*/ 22 w 22"/>
                  <a:gd name="T37" fmla="*/ 2 h 46"/>
                  <a:gd name="T38" fmla="*/ 21 w 22"/>
                  <a:gd name="T39" fmla="*/ 4 h 46"/>
                  <a:gd name="T40" fmla="*/ 21 w 22"/>
                  <a:gd name="T41" fmla="*/ 13 h 46"/>
                  <a:gd name="T42" fmla="*/ 19 w 22"/>
                  <a:gd name="T43" fmla="*/ 16 h 46"/>
                  <a:gd name="T44" fmla="*/ 18 w 22"/>
                  <a:gd name="T45" fmla="*/ 21 h 46"/>
                  <a:gd name="T46" fmla="*/ 20 w 22"/>
                  <a:gd name="T47" fmla="*/ 23 h 46"/>
                  <a:gd name="T48" fmla="*/ 20 w 22"/>
                  <a:gd name="T49" fmla="*/ 29 h 46"/>
                  <a:gd name="T50" fmla="*/ 18 w 22"/>
                  <a:gd name="T51" fmla="*/ 34 h 46"/>
                  <a:gd name="T52" fmla="*/ 12 w 22"/>
                  <a:gd name="T53" fmla="*/ 41 h 46"/>
                  <a:gd name="T54" fmla="*/ 10 w 22"/>
                  <a:gd name="T55" fmla="*/ 39 h 46"/>
                  <a:gd name="T56" fmla="*/ 7 w 22"/>
                  <a:gd name="T57" fmla="*/ 42 h 46"/>
                  <a:gd name="T58" fmla="*/ 5 w 22"/>
                  <a:gd name="T59" fmla="*/ 46 h 46"/>
                  <a:gd name="T60" fmla="*/ 5 w 22"/>
                  <a:gd name="T61" fmla="*/ 46 h 46"/>
                  <a:gd name="T62" fmla="*/ 3 w 22"/>
                  <a:gd name="T63" fmla="*/ 46 h 46"/>
                  <a:gd name="T64" fmla="*/ 3 w 22"/>
                  <a:gd name="T65" fmla="*/ 45 h 46"/>
                  <a:gd name="T66" fmla="*/ 0 w 22"/>
                  <a:gd name="T67" fmla="*/ 45 h 46"/>
                  <a:gd name="T68" fmla="*/ 1 w 22"/>
                  <a:gd name="T69" fmla="*/ 13 h 46"/>
                  <a:gd name="T70" fmla="*/ 1 w 22"/>
                  <a:gd name="T71" fmla="*/ 12 h 46"/>
                  <a:gd name="T72" fmla="*/ 1 w 22"/>
                  <a:gd name="T73" fmla="*/ 12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22" h="46">
                    <a:moveTo>
                      <a:pt x="1" y="12"/>
                    </a:moveTo>
                    <a:lnTo>
                      <a:pt x="1" y="12"/>
                    </a:lnTo>
                    <a:lnTo>
                      <a:pt x="1" y="10"/>
                    </a:lnTo>
                    <a:lnTo>
                      <a:pt x="3" y="8"/>
                    </a:lnTo>
                    <a:lnTo>
                      <a:pt x="5" y="9"/>
                    </a:lnTo>
                    <a:lnTo>
                      <a:pt x="5" y="10"/>
                    </a:lnTo>
                    <a:lnTo>
                      <a:pt x="6" y="11"/>
                    </a:lnTo>
                    <a:lnTo>
                      <a:pt x="7" y="10"/>
                    </a:lnTo>
                    <a:lnTo>
                      <a:pt x="8" y="9"/>
                    </a:lnTo>
                    <a:lnTo>
                      <a:pt x="8" y="8"/>
                    </a:lnTo>
                    <a:lnTo>
                      <a:pt x="11" y="5"/>
                    </a:lnTo>
                    <a:lnTo>
                      <a:pt x="12" y="2"/>
                    </a:lnTo>
                    <a:lnTo>
                      <a:pt x="12" y="1"/>
                    </a:lnTo>
                    <a:lnTo>
                      <a:pt x="15" y="0"/>
                    </a:lnTo>
                    <a:lnTo>
                      <a:pt x="16" y="0"/>
                    </a:lnTo>
                    <a:lnTo>
                      <a:pt x="17" y="2"/>
                    </a:lnTo>
                    <a:lnTo>
                      <a:pt x="19" y="0"/>
                    </a:lnTo>
                    <a:lnTo>
                      <a:pt x="21" y="0"/>
                    </a:lnTo>
                    <a:lnTo>
                      <a:pt x="22" y="2"/>
                    </a:lnTo>
                    <a:lnTo>
                      <a:pt x="21" y="4"/>
                    </a:lnTo>
                    <a:lnTo>
                      <a:pt x="21" y="13"/>
                    </a:lnTo>
                    <a:lnTo>
                      <a:pt x="19" y="16"/>
                    </a:lnTo>
                    <a:lnTo>
                      <a:pt x="18" y="21"/>
                    </a:lnTo>
                    <a:lnTo>
                      <a:pt x="20" y="23"/>
                    </a:lnTo>
                    <a:lnTo>
                      <a:pt x="20" y="29"/>
                    </a:lnTo>
                    <a:lnTo>
                      <a:pt x="18" y="34"/>
                    </a:lnTo>
                    <a:lnTo>
                      <a:pt x="12" y="41"/>
                    </a:lnTo>
                    <a:lnTo>
                      <a:pt x="10" y="39"/>
                    </a:lnTo>
                    <a:lnTo>
                      <a:pt x="7" y="42"/>
                    </a:lnTo>
                    <a:lnTo>
                      <a:pt x="5" y="46"/>
                    </a:lnTo>
                    <a:lnTo>
                      <a:pt x="5" y="46"/>
                    </a:lnTo>
                    <a:lnTo>
                      <a:pt x="3" y="46"/>
                    </a:lnTo>
                    <a:lnTo>
                      <a:pt x="3" y="45"/>
                    </a:lnTo>
                    <a:lnTo>
                      <a:pt x="0" y="45"/>
                    </a:lnTo>
                    <a:lnTo>
                      <a:pt x="1" y="13"/>
                    </a:lnTo>
                    <a:lnTo>
                      <a:pt x="1" y="12"/>
                    </a:lnTo>
                    <a:lnTo>
                      <a:pt x="1" y="12"/>
                    </a:lnTo>
                    <a:close/>
                  </a:path>
                </a:pathLst>
              </a:custGeom>
              <a:solidFill>
                <a:schemeClr val="accent4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715" name="Freeform 519"/>
              <p:cNvSpPr>
                <a:spLocks/>
              </p:cNvSpPr>
              <p:nvPr userDrawn="1"/>
            </p:nvSpPr>
            <p:spPr bwMode="auto">
              <a:xfrm>
                <a:off x="2048" y="2590"/>
                <a:ext cx="41" cy="17"/>
              </a:xfrm>
              <a:custGeom>
                <a:avLst/>
                <a:gdLst>
                  <a:gd name="T0" fmla="*/ 5 w 41"/>
                  <a:gd name="T1" fmla="*/ 1 h 17"/>
                  <a:gd name="T2" fmla="*/ 9 w 41"/>
                  <a:gd name="T3" fmla="*/ 2 h 17"/>
                  <a:gd name="T4" fmla="*/ 16 w 41"/>
                  <a:gd name="T5" fmla="*/ 0 h 17"/>
                  <a:gd name="T6" fmla="*/ 30 w 41"/>
                  <a:gd name="T7" fmla="*/ 1 h 17"/>
                  <a:gd name="T8" fmla="*/ 34 w 41"/>
                  <a:gd name="T9" fmla="*/ 7 h 17"/>
                  <a:gd name="T10" fmla="*/ 39 w 41"/>
                  <a:gd name="T11" fmla="*/ 8 h 17"/>
                  <a:gd name="T12" fmla="*/ 41 w 41"/>
                  <a:gd name="T13" fmla="*/ 11 h 17"/>
                  <a:gd name="T14" fmla="*/ 40 w 41"/>
                  <a:gd name="T15" fmla="*/ 13 h 17"/>
                  <a:gd name="T16" fmla="*/ 35 w 41"/>
                  <a:gd name="T17" fmla="*/ 13 h 17"/>
                  <a:gd name="T18" fmla="*/ 32 w 41"/>
                  <a:gd name="T19" fmla="*/ 11 h 17"/>
                  <a:gd name="T20" fmla="*/ 31 w 41"/>
                  <a:gd name="T21" fmla="*/ 14 h 17"/>
                  <a:gd name="T22" fmla="*/ 29 w 41"/>
                  <a:gd name="T23" fmla="*/ 15 h 17"/>
                  <a:gd name="T24" fmla="*/ 27 w 41"/>
                  <a:gd name="T25" fmla="*/ 13 h 17"/>
                  <a:gd name="T26" fmla="*/ 24 w 41"/>
                  <a:gd name="T27" fmla="*/ 13 h 17"/>
                  <a:gd name="T28" fmla="*/ 24 w 41"/>
                  <a:gd name="T29" fmla="*/ 17 h 17"/>
                  <a:gd name="T30" fmla="*/ 19 w 41"/>
                  <a:gd name="T31" fmla="*/ 17 h 17"/>
                  <a:gd name="T32" fmla="*/ 17 w 41"/>
                  <a:gd name="T33" fmla="*/ 15 h 17"/>
                  <a:gd name="T34" fmla="*/ 13 w 41"/>
                  <a:gd name="T35" fmla="*/ 15 h 17"/>
                  <a:gd name="T36" fmla="*/ 10 w 41"/>
                  <a:gd name="T37" fmla="*/ 13 h 17"/>
                  <a:gd name="T38" fmla="*/ 8 w 41"/>
                  <a:gd name="T39" fmla="*/ 8 h 17"/>
                  <a:gd name="T40" fmla="*/ 6 w 41"/>
                  <a:gd name="T41" fmla="*/ 7 h 17"/>
                  <a:gd name="T42" fmla="*/ 3 w 41"/>
                  <a:gd name="T43" fmla="*/ 8 h 17"/>
                  <a:gd name="T44" fmla="*/ 0 w 41"/>
                  <a:gd name="T45" fmla="*/ 5 h 17"/>
                  <a:gd name="T46" fmla="*/ 2 w 41"/>
                  <a:gd name="T47" fmla="*/ 2 h 17"/>
                  <a:gd name="T48" fmla="*/ 5 w 41"/>
                  <a:gd name="T49" fmla="*/ 1 h 17"/>
                  <a:gd name="T50" fmla="*/ 5 w 41"/>
                  <a:gd name="T51" fmla="*/ 1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41" h="17">
                    <a:moveTo>
                      <a:pt x="5" y="1"/>
                    </a:moveTo>
                    <a:lnTo>
                      <a:pt x="9" y="2"/>
                    </a:lnTo>
                    <a:lnTo>
                      <a:pt x="16" y="0"/>
                    </a:lnTo>
                    <a:lnTo>
                      <a:pt x="30" y="1"/>
                    </a:lnTo>
                    <a:lnTo>
                      <a:pt x="34" y="7"/>
                    </a:lnTo>
                    <a:lnTo>
                      <a:pt x="39" y="8"/>
                    </a:lnTo>
                    <a:lnTo>
                      <a:pt x="41" y="11"/>
                    </a:lnTo>
                    <a:lnTo>
                      <a:pt x="40" y="13"/>
                    </a:lnTo>
                    <a:lnTo>
                      <a:pt x="35" y="13"/>
                    </a:lnTo>
                    <a:lnTo>
                      <a:pt x="32" y="11"/>
                    </a:lnTo>
                    <a:lnTo>
                      <a:pt x="31" y="14"/>
                    </a:lnTo>
                    <a:lnTo>
                      <a:pt x="29" y="15"/>
                    </a:lnTo>
                    <a:lnTo>
                      <a:pt x="27" y="13"/>
                    </a:lnTo>
                    <a:lnTo>
                      <a:pt x="24" y="13"/>
                    </a:lnTo>
                    <a:lnTo>
                      <a:pt x="24" y="17"/>
                    </a:lnTo>
                    <a:lnTo>
                      <a:pt x="19" y="17"/>
                    </a:lnTo>
                    <a:lnTo>
                      <a:pt x="17" y="15"/>
                    </a:lnTo>
                    <a:lnTo>
                      <a:pt x="13" y="15"/>
                    </a:lnTo>
                    <a:lnTo>
                      <a:pt x="10" y="13"/>
                    </a:lnTo>
                    <a:lnTo>
                      <a:pt x="8" y="8"/>
                    </a:lnTo>
                    <a:lnTo>
                      <a:pt x="6" y="7"/>
                    </a:lnTo>
                    <a:lnTo>
                      <a:pt x="3" y="8"/>
                    </a:lnTo>
                    <a:lnTo>
                      <a:pt x="0" y="5"/>
                    </a:lnTo>
                    <a:lnTo>
                      <a:pt x="2" y="2"/>
                    </a:lnTo>
                    <a:lnTo>
                      <a:pt x="5" y="1"/>
                    </a:lnTo>
                    <a:lnTo>
                      <a:pt x="5" y="1"/>
                    </a:lnTo>
                    <a:close/>
                  </a:path>
                </a:pathLst>
              </a:custGeom>
              <a:solidFill>
                <a:schemeClr val="accent4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716" name="Freeform 520"/>
              <p:cNvSpPr>
                <a:spLocks/>
              </p:cNvSpPr>
              <p:nvPr userDrawn="1"/>
            </p:nvSpPr>
            <p:spPr bwMode="auto">
              <a:xfrm>
                <a:off x="3923" y="1982"/>
                <a:ext cx="7" cy="3"/>
              </a:xfrm>
              <a:custGeom>
                <a:avLst/>
                <a:gdLst>
                  <a:gd name="T0" fmla="*/ 0 w 7"/>
                  <a:gd name="T1" fmla="*/ 0 h 3"/>
                  <a:gd name="T2" fmla="*/ 2 w 7"/>
                  <a:gd name="T3" fmla="*/ 3 h 3"/>
                  <a:gd name="T4" fmla="*/ 7 w 7"/>
                  <a:gd name="T5" fmla="*/ 3 h 3"/>
                  <a:gd name="T6" fmla="*/ 0 w 7"/>
                  <a:gd name="T7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3">
                    <a:moveTo>
                      <a:pt x="0" y="0"/>
                    </a:moveTo>
                    <a:lnTo>
                      <a:pt x="2" y="3"/>
                    </a:lnTo>
                    <a:lnTo>
                      <a:pt x="7" y="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65625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717" name="Freeform 521"/>
              <p:cNvSpPr>
                <a:spLocks/>
              </p:cNvSpPr>
              <p:nvPr userDrawn="1"/>
            </p:nvSpPr>
            <p:spPr bwMode="auto">
              <a:xfrm>
                <a:off x="3923" y="1982"/>
                <a:ext cx="7" cy="3"/>
              </a:xfrm>
              <a:custGeom>
                <a:avLst/>
                <a:gdLst>
                  <a:gd name="T0" fmla="*/ 0 w 7"/>
                  <a:gd name="T1" fmla="*/ 0 h 3"/>
                  <a:gd name="T2" fmla="*/ 2 w 7"/>
                  <a:gd name="T3" fmla="*/ 3 h 3"/>
                  <a:gd name="T4" fmla="*/ 7 w 7"/>
                  <a:gd name="T5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3">
                    <a:moveTo>
                      <a:pt x="0" y="0"/>
                    </a:moveTo>
                    <a:lnTo>
                      <a:pt x="2" y="3"/>
                    </a:lnTo>
                    <a:lnTo>
                      <a:pt x="7" y="3"/>
                    </a:lnTo>
                  </a:path>
                </a:pathLst>
              </a:custGeom>
              <a:noFill/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718" name="Freeform 522"/>
              <p:cNvSpPr>
                <a:spLocks/>
              </p:cNvSpPr>
              <p:nvPr userDrawn="1"/>
            </p:nvSpPr>
            <p:spPr bwMode="auto">
              <a:xfrm>
                <a:off x="3909" y="1982"/>
                <a:ext cx="63" cy="67"/>
              </a:xfrm>
              <a:custGeom>
                <a:avLst/>
                <a:gdLst>
                  <a:gd name="T0" fmla="*/ 8 w 63"/>
                  <a:gd name="T1" fmla="*/ 2 h 67"/>
                  <a:gd name="T2" fmla="*/ 9 w 63"/>
                  <a:gd name="T3" fmla="*/ 0 h 67"/>
                  <a:gd name="T4" fmla="*/ 12 w 63"/>
                  <a:gd name="T5" fmla="*/ 0 h 67"/>
                  <a:gd name="T6" fmla="*/ 14 w 63"/>
                  <a:gd name="T7" fmla="*/ 0 h 67"/>
                  <a:gd name="T8" fmla="*/ 16 w 63"/>
                  <a:gd name="T9" fmla="*/ 3 h 67"/>
                  <a:gd name="T10" fmla="*/ 21 w 63"/>
                  <a:gd name="T11" fmla="*/ 3 h 67"/>
                  <a:gd name="T12" fmla="*/ 27 w 63"/>
                  <a:gd name="T13" fmla="*/ 8 h 67"/>
                  <a:gd name="T14" fmla="*/ 33 w 63"/>
                  <a:gd name="T15" fmla="*/ 9 h 67"/>
                  <a:gd name="T16" fmla="*/ 34 w 63"/>
                  <a:gd name="T17" fmla="*/ 7 h 67"/>
                  <a:gd name="T18" fmla="*/ 35 w 63"/>
                  <a:gd name="T19" fmla="*/ 7 h 67"/>
                  <a:gd name="T20" fmla="*/ 41 w 63"/>
                  <a:gd name="T21" fmla="*/ 13 h 67"/>
                  <a:gd name="T22" fmla="*/ 46 w 63"/>
                  <a:gd name="T23" fmla="*/ 15 h 67"/>
                  <a:gd name="T24" fmla="*/ 47 w 63"/>
                  <a:gd name="T25" fmla="*/ 21 h 67"/>
                  <a:gd name="T26" fmla="*/ 47 w 63"/>
                  <a:gd name="T27" fmla="*/ 25 h 67"/>
                  <a:gd name="T28" fmla="*/ 51 w 63"/>
                  <a:gd name="T29" fmla="*/ 27 h 67"/>
                  <a:gd name="T30" fmla="*/ 52 w 63"/>
                  <a:gd name="T31" fmla="*/ 29 h 67"/>
                  <a:gd name="T32" fmla="*/ 56 w 63"/>
                  <a:gd name="T33" fmla="*/ 33 h 67"/>
                  <a:gd name="T34" fmla="*/ 61 w 63"/>
                  <a:gd name="T35" fmla="*/ 36 h 67"/>
                  <a:gd name="T36" fmla="*/ 62 w 63"/>
                  <a:gd name="T37" fmla="*/ 40 h 67"/>
                  <a:gd name="T38" fmla="*/ 61 w 63"/>
                  <a:gd name="T39" fmla="*/ 43 h 67"/>
                  <a:gd name="T40" fmla="*/ 63 w 63"/>
                  <a:gd name="T41" fmla="*/ 45 h 67"/>
                  <a:gd name="T42" fmla="*/ 63 w 63"/>
                  <a:gd name="T43" fmla="*/ 47 h 67"/>
                  <a:gd name="T44" fmla="*/ 57 w 63"/>
                  <a:gd name="T45" fmla="*/ 47 h 67"/>
                  <a:gd name="T46" fmla="*/ 54 w 63"/>
                  <a:gd name="T47" fmla="*/ 45 h 67"/>
                  <a:gd name="T48" fmla="*/ 50 w 63"/>
                  <a:gd name="T49" fmla="*/ 46 h 67"/>
                  <a:gd name="T50" fmla="*/ 46 w 63"/>
                  <a:gd name="T51" fmla="*/ 46 h 67"/>
                  <a:gd name="T52" fmla="*/ 46 w 63"/>
                  <a:gd name="T53" fmla="*/ 53 h 67"/>
                  <a:gd name="T54" fmla="*/ 46 w 63"/>
                  <a:gd name="T55" fmla="*/ 58 h 67"/>
                  <a:gd name="T56" fmla="*/ 44 w 63"/>
                  <a:gd name="T57" fmla="*/ 57 h 67"/>
                  <a:gd name="T58" fmla="*/ 40 w 63"/>
                  <a:gd name="T59" fmla="*/ 64 h 67"/>
                  <a:gd name="T60" fmla="*/ 40 w 63"/>
                  <a:gd name="T61" fmla="*/ 66 h 67"/>
                  <a:gd name="T62" fmla="*/ 37 w 63"/>
                  <a:gd name="T63" fmla="*/ 65 h 67"/>
                  <a:gd name="T64" fmla="*/ 34 w 63"/>
                  <a:gd name="T65" fmla="*/ 67 h 67"/>
                  <a:gd name="T66" fmla="*/ 34 w 63"/>
                  <a:gd name="T67" fmla="*/ 67 h 67"/>
                  <a:gd name="T68" fmla="*/ 32 w 63"/>
                  <a:gd name="T69" fmla="*/ 63 h 67"/>
                  <a:gd name="T70" fmla="*/ 32 w 63"/>
                  <a:gd name="T71" fmla="*/ 45 h 67"/>
                  <a:gd name="T72" fmla="*/ 30 w 63"/>
                  <a:gd name="T73" fmla="*/ 41 h 67"/>
                  <a:gd name="T74" fmla="*/ 29 w 63"/>
                  <a:gd name="T75" fmla="*/ 36 h 67"/>
                  <a:gd name="T76" fmla="*/ 18 w 63"/>
                  <a:gd name="T77" fmla="*/ 28 h 67"/>
                  <a:gd name="T78" fmla="*/ 18 w 63"/>
                  <a:gd name="T79" fmla="*/ 24 h 67"/>
                  <a:gd name="T80" fmla="*/ 11 w 63"/>
                  <a:gd name="T81" fmla="*/ 19 h 67"/>
                  <a:gd name="T82" fmla="*/ 9 w 63"/>
                  <a:gd name="T83" fmla="*/ 10 h 67"/>
                  <a:gd name="T84" fmla="*/ 1 w 63"/>
                  <a:gd name="T85" fmla="*/ 12 h 67"/>
                  <a:gd name="T86" fmla="*/ 1 w 63"/>
                  <a:gd name="T87" fmla="*/ 12 h 67"/>
                  <a:gd name="T88" fmla="*/ 0 w 63"/>
                  <a:gd name="T89" fmla="*/ 7 h 67"/>
                  <a:gd name="T90" fmla="*/ 1 w 63"/>
                  <a:gd name="T91" fmla="*/ 5 h 67"/>
                  <a:gd name="T92" fmla="*/ 0 w 63"/>
                  <a:gd name="T93" fmla="*/ 0 h 67"/>
                  <a:gd name="T94" fmla="*/ 3 w 63"/>
                  <a:gd name="T95" fmla="*/ 1 h 67"/>
                  <a:gd name="T96" fmla="*/ 4 w 63"/>
                  <a:gd name="T97" fmla="*/ 0 h 67"/>
                  <a:gd name="T98" fmla="*/ 8 w 63"/>
                  <a:gd name="T99" fmla="*/ 2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63" h="67">
                    <a:moveTo>
                      <a:pt x="8" y="2"/>
                    </a:moveTo>
                    <a:lnTo>
                      <a:pt x="9" y="0"/>
                    </a:lnTo>
                    <a:lnTo>
                      <a:pt x="12" y="0"/>
                    </a:lnTo>
                    <a:lnTo>
                      <a:pt x="14" y="0"/>
                    </a:lnTo>
                    <a:lnTo>
                      <a:pt x="16" y="3"/>
                    </a:lnTo>
                    <a:lnTo>
                      <a:pt x="21" y="3"/>
                    </a:lnTo>
                    <a:lnTo>
                      <a:pt x="27" y="8"/>
                    </a:lnTo>
                    <a:lnTo>
                      <a:pt x="33" y="9"/>
                    </a:lnTo>
                    <a:lnTo>
                      <a:pt x="34" y="7"/>
                    </a:lnTo>
                    <a:lnTo>
                      <a:pt x="35" y="7"/>
                    </a:lnTo>
                    <a:lnTo>
                      <a:pt x="41" y="13"/>
                    </a:lnTo>
                    <a:lnTo>
                      <a:pt x="46" y="15"/>
                    </a:lnTo>
                    <a:lnTo>
                      <a:pt x="47" y="21"/>
                    </a:lnTo>
                    <a:lnTo>
                      <a:pt x="47" y="25"/>
                    </a:lnTo>
                    <a:lnTo>
                      <a:pt x="51" y="27"/>
                    </a:lnTo>
                    <a:lnTo>
                      <a:pt x="52" y="29"/>
                    </a:lnTo>
                    <a:lnTo>
                      <a:pt x="56" y="33"/>
                    </a:lnTo>
                    <a:lnTo>
                      <a:pt x="61" y="36"/>
                    </a:lnTo>
                    <a:lnTo>
                      <a:pt x="62" y="40"/>
                    </a:lnTo>
                    <a:lnTo>
                      <a:pt x="61" y="43"/>
                    </a:lnTo>
                    <a:lnTo>
                      <a:pt x="63" y="45"/>
                    </a:lnTo>
                    <a:lnTo>
                      <a:pt x="63" y="47"/>
                    </a:lnTo>
                    <a:lnTo>
                      <a:pt x="57" y="47"/>
                    </a:lnTo>
                    <a:lnTo>
                      <a:pt x="54" y="45"/>
                    </a:lnTo>
                    <a:lnTo>
                      <a:pt x="50" y="46"/>
                    </a:lnTo>
                    <a:lnTo>
                      <a:pt x="46" y="46"/>
                    </a:lnTo>
                    <a:lnTo>
                      <a:pt x="46" y="53"/>
                    </a:lnTo>
                    <a:lnTo>
                      <a:pt x="46" y="58"/>
                    </a:lnTo>
                    <a:lnTo>
                      <a:pt x="44" y="57"/>
                    </a:lnTo>
                    <a:lnTo>
                      <a:pt x="40" y="64"/>
                    </a:lnTo>
                    <a:lnTo>
                      <a:pt x="40" y="66"/>
                    </a:lnTo>
                    <a:lnTo>
                      <a:pt x="37" y="65"/>
                    </a:lnTo>
                    <a:lnTo>
                      <a:pt x="34" y="67"/>
                    </a:lnTo>
                    <a:lnTo>
                      <a:pt x="34" y="67"/>
                    </a:lnTo>
                    <a:lnTo>
                      <a:pt x="32" y="63"/>
                    </a:lnTo>
                    <a:lnTo>
                      <a:pt x="32" y="45"/>
                    </a:lnTo>
                    <a:lnTo>
                      <a:pt x="30" y="41"/>
                    </a:lnTo>
                    <a:lnTo>
                      <a:pt x="29" y="36"/>
                    </a:lnTo>
                    <a:lnTo>
                      <a:pt x="18" y="28"/>
                    </a:lnTo>
                    <a:lnTo>
                      <a:pt x="18" y="24"/>
                    </a:lnTo>
                    <a:lnTo>
                      <a:pt x="11" y="19"/>
                    </a:lnTo>
                    <a:lnTo>
                      <a:pt x="9" y="10"/>
                    </a:lnTo>
                    <a:lnTo>
                      <a:pt x="1" y="12"/>
                    </a:lnTo>
                    <a:lnTo>
                      <a:pt x="1" y="12"/>
                    </a:lnTo>
                    <a:lnTo>
                      <a:pt x="0" y="7"/>
                    </a:lnTo>
                    <a:lnTo>
                      <a:pt x="1" y="5"/>
                    </a:lnTo>
                    <a:lnTo>
                      <a:pt x="0" y="0"/>
                    </a:lnTo>
                    <a:lnTo>
                      <a:pt x="3" y="1"/>
                    </a:lnTo>
                    <a:lnTo>
                      <a:pt x="4" y="0"/>
                    </a:lnTo>
                    <a:lnTo>
                      <a:pt x="8" y="2"/>
                    </a:ln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719" name="Freeform 523"/>
              <p:cNvSpPr>
                <a:spLocks/>
              </p:cNvSpPr>
              <p:nvPr userDrawn="1"/>
            </p:nvSpPr>
            <p:spPr bwMode="auto">
              <a:xfrm>
                <a:off x="3909" y="1982"/>
                <a:ext cx="63" cy="67"/>
              </a:xfrm>
              <a:custGeom>
                <a:avLst/>
                <a:gdLst>
                  <a:gd name="T0" fmla="*/ 8 w 63"/>
                  <a:gd name="T1" fmla="*/ 2 h 67"/>
                  <a:gd name="T2" fmla="*/ 9 w 63"/>
                  <a:gd name="T3" fmla="*/ 0 h 67"/>
                  <a:gd name="T4" fmla="*/ 12 w 63"/>
                  <a:gd name="T5" fmla="*/ 0 h 67"/>
                  <a:gd name="T6" fmla="*/ 14 w 63"/>
                  <a:gd name="T7" fmla="*/ 0 h 67"/>
                  <a:gd name="T8" fmla="*/ 16 w 63"/>
                  <a:gd name="T9" fmla="*/ 3 h 67"/>
                  <a:gd name="T10" fmla="*/ 21 w 63"/>
                  <a:gd name="T11" fmla="*/ 3 h 67"/>
                  <a:gd name="T12" fmla="*/ 27 w 63"/>
                  <a:gd name="T13" fmla="*/ 8 h 67"/>
                  <a:gd name="T14" fmla="*/ 33 w 63"/>
                  <a:gd name="T15" fmla="*/ 9 h 67"/>
                  <a:gd name="T16" fmla="*/ 34 w 63"/>
                  <a:gd name="T17" fmla="*/ 7 h 67"/>
                  <a:gd name="T18" fmla="*/ 35 w 63"/>
                  <a:gd name="T19" fmla="*/ 7 h 67"/>
                  <a:gd name="T20" fmla="*/ 41 w 63"/>
                  <a:gd name="T21" fmla="*/ 13 h 67"/>
                  <a:gd name="T22" fmla="*/ 46 w 63"/>
                  <a:gd name="T23" fmla="*/ 15 h 67"/>
                  <a:gd name="T24" fmla="*/ 47 w 63"/>
                  <a:gd name="T25" fmla="*/ 21 h 67"/>
                  <a:gd name="T26" fmla="*/ 47 w 63"/>
                  <a:gd name="T27" fmla="*/ 25 h 67"/>
                  <a:gd name="T28" fmla="*/ 51 w 63"/>
                  <a:gd name="T29" fmla="*/ 27 h 67"/>
                  <a:gd name="T30" fmla="*/ 52 w 63"/>
                  <a:gd name="T31" fmla="*/ 29 h 67"/>
                  <a:gd name="T32" fmla="*/ 56 w 63"/>
                  <a:gd name="T33" fmla="*/ 33 h 67"/>
                  <a:gd name="T34" fmla="*/ 61 w 63"/>
                  <a:gd name="T35" fmla="*/ 36 h 67"/>
                  <a:gd name="T36" fmla="*/ 62 w 63"/>
                  <a:gd name="T37" fmla="*/ 40 h 67"/>
                  <a:gd name="T38" fmla="*/ 61 w 63"/>
                  <a:gd name="T39" fmla="*/ 43 h 67"/>
                  <a:gd name="T40" fmla="*/ 63 w 63"/>
                  <a:gd name="T41" fmla="*/ 45 h 67"/>
                  <a:gd name="T42" fmla="*/ 63 w 63"/>
                  <a:gd name="T43" fmla="*/ 47 h 67"/>
                  <a:gd name="T44" fmla="*/ 57 w 63"/>
                  <a:gd name="T45" fmla="*/ 47 h 67"/>
                  <a:gd name="T46" fmla="*/ 54 w 63"/>
                  <a:gd name="T47" fmla="*/ 45 h 67"/>
                  <a:gd name="T48" fmla="*/ 50 w 63"/>
                  <a:gd name="T49" fmla="*/ 46 h 67"/>
                  <a:gd name="T50" fmla="*/ 46 w 63"/>
                  <a:gd name="T51" fmla="*/ 46 h 67"/>
                  <a:gd name="T52" fmla="*/ 46 w 63"/>
                  <a:gd name="T53" fmla="*/ 53 h 67"/>
                  <a:gd name="T54" fmla="*/ 46 w 63"/>
                  <a:gd name="T55" fmla="*/ 58 h 67"/>
                  <a:gd name="T56" fmla="*/ 44 w 63"/>
                  <a:gd name="T57" fmla="*/ 57 h 67"/>
                  <a:gd name="T58" fmla="*/ 40 w 63"/>
                  <a:gd name="T59" fmla="*/ 64 h 67"/>
                  <a:gd name="T60" fmla="*/ 40 w 63"/>
                  <a:gd name="T61" fmla="*/ 66 h 67"/>
                  <a:gd name="T62" fmla="*/ 37 w 63"/>
                  <a:gd name="T63" fmla="*/ 65 h 67"/>
                  <a:gd name="T64" fmla="*/ 34 w 63"/>
                  <a:gd name="T65" fmla="*/ 67 h 67"/>
                  <a:gd name="T66" fmla="*/ 34 w 63"/>
                  <a:gd name="T67" fmla="*/ 67 h 67"/>
                  <a:gd name="T68" fmla="*/ 32 w 63"/>
                  <a:gd name="T69" fmla="*/ 63 h 67"/>
                  <a:gd name="T70" fmla="*/ 32 w 63"/>
                  <a:gd name="T71" fmla="*/ 45 h 67"/>
                  <a:gd name="T72" fmla="*/ 30 w 63"/>
                  <a:gd name="T73" fmla="*/ 41 h 67"/>
                  <a:gd name="T74" fmla="*/ 29 w 63"/>
                  <a:gd name="T75" fmla="*/ 36 h 67"/>
                  <a:gd name="T76" fmla="*/ 18 w 63"/>
                  <a:gd name="T77" fmla="*/ 28 h 67"/>
                  <a:gd name="T78" fmla="*/ 18 w 63"/>
                  <a:gd name="T79" fmla="*/ 24 h 67"/>
                  <a:gd name="T80" fmla="*/ 11 w 63"/>
                  <a:gd name="T81" fmla="*/ 19 h 67"/>
                  <a:gd name="T82" fmla="*/ 9 w 63"/>
                  <a:gd name="T83" fmla="*/ 10 h 67"/>
                  <a:gd name="T84" fmla="*/ 1 w 63"/>
                  <a:gd name="T85" fmla="*/ 12 h 67"/>
                  <a:gd name="T86" fmla="*/ 1 w 63"/>
                  <a:gd name="T87" fmla="*/ 12 h 67"/>
                  <a:gd name="T88" fmla="*/ 0 w 63"/>
                  <a:gd name="T89" fmla="*/ 7 h 67"/>
                  <a:gd name="T90" fmla="*/ 1 w 63"/>
                  <a:gd name="T91" fmla="*/ 5 h 67"/>
                  <a:gd name="T92" fmla="*/ 0 w 63"/>
                  <a:gd name="T93" fmla="*/ 0 h 67"/>
                  <a:gd name="T94" fmla="*/ 3 w 63"/>
                  <a:gd name="T95" fmla="*/ 1 h 67"/>
                  <a:gd name="T96" fmla="*/ 4 w 63"/>
                  <a:gd name="T97" fmla="*/ 0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63" h="67">
                    <a:moveTo>
                      <a:pt x="8" y="2"/>
                    </a:moveTo>
                    <a:lnTo>
                      <a:pt x="9" y="0"/>
                    </a:lnTo>
                    <a:lnTo>
                      <a:pt x="12" y="0"/>
                    </a:lnTo>
                    <a:lnTo>
                      <a:pt x="14" y="0"/>
                    </a:lnTo>
                    <a:lnTo>
                      <a:pt x="16" y="3"/>
                    </a:lnTo>
                    <a:lnTo>
                      <a:pt x="21" y="3"/>
                    </a:lnTo>
                    <a:lnTo>
                      <a:pt x="27" y="8"/>
                    </a:lnTo>
                    <a:lnTo>
                      <a:pt x="33" y="9"/>
                    </a:lnTo>
                    <a:lnTo>
                      <a:pt x="34" y="7"/>
                    </a:lnTo>
                    <a:lnTo>
                      <a:pt x="35" y="7"/>
                    </a:lnTo>
                    <a:lnTo>
                      <a:pt x="41" y="13"/>
                    </a:lnTo>
                    <a:lnTo>
                      <a:pt x="46" y="15"/>
                    </a:lnTo>
                    <a:lnTo>
                      <a:pt x="47" y="21"/>
                    </a:lnTo>
                    <a:lnTo>
                      <a:pt x="47" y="25"/>
                    </a:lnTo>
                    <a:lnTo>
                      <a:pt x="51" y="27"/>
                    </a:lnTo>
                    <a:lnTo>
                      <a:pt x="52" y="29"/>
                    </a:lnTo>
                    <a:lnTo>
                      <a:pt x="56" y="33"/>
                    </a:lnTo>
                    <a:lnTo>
                      <a:pt x="61" y="36"/>
                    </a:lnTo>
                    <a:lnTo>
                      <a:pt x="62" y="40"/>
                    </a:lnTo>
                    <a:lnTo>
                      <a:pt x="61" y="43"/>
                    </a:lnTo>
                    <a:lnTo>
                      <a:pt x="63" y="45"/>
                    </a:lnTo>
                    <a:lnTo>
                      <a:pt x="63" y="47"/>
                    </a:lnTo>
                    <a:lnTo>
                      <a:pt x="57" y="47"/>
                    </a:lnTo>
                    <a:lnTo>
                      <a:pt x="54" y="45"/>
                    </a:lnTo>
                    <a:lnTo>
                      <a:pt x="50" y="46"/>
                    </a:lnTo>
                    <a:lnTo>
                      <a:pt x="46" y="46"/>
                    </a:lnTo>
                    <a:lnTo>
                      <a:pt x="46" y="53"/>
                    </a:lnTo>
                    <a:lnTo>
                      <a:pt x="46" y="58"/>
                    </a:lnTo>
                    <a:lnTo>
                      <a:pt x="44" y="57"/>
                    </a:lnTo>
                    <a:lnTo>
                      <a:pt x="40" y="64"/>
                    </a:lnTo>
                    <a:lnTo>
                      <a:pt x="40" y="66"/>
                    </a:lnTo>
                    <a:lnTo>
                      <a:pt x="37" y="65"/>
                    </a:lnTo>
                    <a:lnTo>
                      <a:pt x="34" y="67"/>
                    </a:lnTo>
                    <a:lnTo>
                      <a:pt x="34" y="67"/>
                    </a:lnTo>
                    <a:lnTo>
                      <a:pt x="32" y="63"/>
                    </a:lnTo>
                    <a:lnTo>
                      <a:pt x="32" y="45"/>
                    </a:lnTo>
                    <a:lnTo>
                      <a:pt x="30" y="41"/>
                    </a:lnTo>
                    <a:lnTo>
                      <a:pt x="29" y="36"/>
                    </a:lnTo>
                    <a:lnTo>
                      <a:pt x="18" y="28"/>
                    </a:lnTo>
                    <a:lnTo>
                      <a:pt x="18" y="24"/>
                    </a:lnTo>
                    <a:lnTo>
                      <a:pt x="11" y="19"/>
                    </a:lnTo>
                    <a:lnTo>
                      <a:pt x="9" y="10"/>
                    </a:lnTo>
                    <a:lnTo>
                      <a:pt x="1" y="12"/>
                    </a:lnTo>
                    <a:lnTo>
                      <a:pt x="1" y="12"/>
                    </a:lnTo>
                    <a:lnTo>
                      <a:pt x="0" y="7"/>
                    </a:lnTo>
                    <a:lnTo>
                      <a:pt x="1" y="5"/>
                    </a:lnTo>
                    <a:lnTo>
                      <a:pt x="0" y="0"/>
                    </a:lnTo>
                    <a:lnTo>
                      <a:pt x="3" y="1"/>
                    </a:lnTo>
                    <a:lnTo>
                      <a:pt x="4" y="0"/>
                    </a:lnTo>
                  </a:path>
                </a:pathLst>
              </a:custGeom>
              <a:noFill/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720" name="Freeform 524"/>
              <p:cNvSpPr>
                <a:spLocks/>
              </p:cNvSpPr>
              <p:nvPr userDrawn="1"/>
            </p:nvSpPr>
            <p:spPr bwMode="auto">
              <a:xfrm>
                <a:off x="4006" y="2977"/>
                <a:ext cx="5" cy="0"/>
              </a:xfrm>
              <a:custGeom>
                <a:avLst/>
                <a:gdLst>
                  <a:gd name="T0" fmla="*/ 5 w 5"/>
                  <a:gd name="T1" fmla="*/ 4 w 5"/>
                  <a:gd name="T2" fmla="*/ 0 w 5"/>
                  <a:gd name="T3" fmla="*/ 5 w 5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5">
                    <a:moveTo>
                      <a:pt x="5" y="0"/>
                    </a:moveTo>
                    <a:lnTo>
                      <a:pt x="4" y="0"/>
                    </a:lnTo>
                    <a:lnTo>
                      <a:pt x="0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65625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721" name="Freeform 525"/>
              <p:cNvSpPr>
                <a:spLocks/>
              </p:cNvSpPr>
              <p:nvPr userDrawn="1"/>
            </p:nvSpPr>
            <p:spPr bwMode="auto">
              <a:xfrm>
                <a:off x="4006" y="2977"/>
                <a:ext cx="5" cy="0"/>
              </a:xfrm>
              <a:custGeom>
                <a:avLst/>
                <a:gdLst>
                  <a:gd name="T0" fmla="*/ 5 w 5"/>
                  <a:gd name="T1" fmla="*/ 4 w 5"/>
                  <a:gd name="T2" fmla="*/ 0 w 5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5">
                    <a:moveTo>
                      <a:pt x="5" y="0"/>
                    </a:moveTo>
                    <a:lnTo>
                      <a:pt x="4" y="0"/>
                    </a:lnTo>
                    <a:lnTo>
                      <a:pt x="0" y="0"/>
                    </a:lnTo>
                  </a:path>
                </a:pathLst>
              </a:custGeom>
              <a:noFill/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722" name="Freeform 526"/>
              <p:cNvSpPr>
                <a:spLocks/>
              </p:cNvSpPr>
              <p:nvPr userDrawn="1"/>
            </p:nvSpPr>
            <p:spPr bwMode="auto">
              <a:xfrm>
                <a:off x="4013" y="3007"/>
                <a:ext cx="7" cy="2"/>
              </a:xfrm>
              <a:custGeom>
                <a:avLst/>
                <a:gdLst>
                  <a:gd name="T0" fmla="*/ 0 w 7"/>
                  <a:gd name="T1" fmla="*/ 2 h 2"/>
                  <a:gd name="T2" fmla="*/ 7 w 7"/>
                  <a:gd name="T3" fmla="*/ 0 h 2"/>
                  <a:gd name="T4" fmla="*/ 0 w 7"/>
                  <a:gd name="T5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2">
                    <a:moveTo>
                      <a:pt x="0" y="2"/>
                    </a:moveTo>
                    <a:lnTo>
                      <a:pt x="7" y="0"/>
                    </a:lnTo>
                    <a:lnTo>
                      <a:pt x="0" y="2"/>
                    </a:lnTo>
                    <a:close/>
                  </a:path>
                </a:pathLst>
              </a:custGeom>
              <a:solidFill>
                <a:srgbClr val="65625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723" name="Line 527"/>
              <p:cNvSpPr>
                <a:spLocks noChangeShapeType="1"/>
              </p:cNvSpPr>
              <p:nvPr userDrawn="1"/>
            </p:nvSpPr>
            <p:spPr bwMode="auto">
              <a:xfrm flipV="1">
                <a:off x="4013" y="3007"/>
                <a:ext cx="7" cy="2"/>
              </a:xfrm>
              <a:prstGeom prst="line">
                <a:avLst/>
              </a:prstGeom>
              <a:noFill/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724" name="Freeform 528"/>
              <p:cNvSpPr>
                <a:spLocks/>
              </p:cNvSpPr>
              <p:nvPr userDrawn="1"/>
            </p:nvSpPr>
            <p:spPr bwMode="auto">
              <a:xfrm>
                <a:off x="4005" y="3008"/>
                <a:ext cx="8" cy="1"/>
              </a:xfrm>
              <a:custGeom>
                <a:avLst/>
                <a:gdLst>
                  <a:gd name="T0" fmla="*/ 8 w 8"/>
                  <a:gd name="T1" fmla="*/ 1 h 1"/>
                  <a:gd name="T2" fmla="*/ 0 w 8"/>
                  <a:gd name="T3" fmla="*/ 0 h 1"/>
                  <a:gd name="T4" fmla="*/ 8 w 8"/>
                  <a:gd name="T5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8" h="1">
                    <a:moveTo>
                      <a:pt x="8" y="1"/>
                    </a:moveTo>
                    <a:lnTo>
                      <a:pt x="0" y="0"/>
                    </a:lnTo>
                    <a:lnTo>
                      <a:pt x="8" y="1"/>
                    </a:lnTo>
                    <a:close/>
                  </a:path>
                </a:pathLst>
              </a:custGeom>
              <a:solidFill>
                <a:srgbClr val="65625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725" name="Line 529"/>
              <p:cNvSpPr>
                <a:spLocks noChangeShapeType="1"/>
              </p:cNvSpPr>
              <p:nvPr userDrawn="1"/>
            </p:nvSpPr>
            <p:spPr bwMode="auto">
              <a:xfrm flipH="1" flipV="1">
                <a:off x="4005" y="3008"/>
                <a:ext cx="8" cy="1"/>
              </a:xfrm>
              <a:prstGeom prst="line">
                <a:avLst/>
              </a:prstGeom>
              <a:noFill/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726" name="Freeform 530"/>
              <p:cNvSpPr>
                <a:spLocks/>
              </p:cNvSpPr>
              <p:nvPr userDrawn="1"/>
            </p:nvSpPr>
            <p:spPr bwMode="auto">
              <a:xfrm>
                <a:off x="4013" y="3007"/>
                <a:ext cx="7" cy="2"/>
              </a:xfrm>
              <a:custGeom>
                <a:avLst/>
                <a:gdLst>
                  <a:gd name="T0" fmla="*/ 0 w 7"/>
                  <a:gd name="T1" fmla="*/ 2 h 2"/>
                  <a:gd name="T2" fmla="*/ 7 w 7"/>
                  <a:gd name="T3" fmla="*/ 0 h 2"/>
                  <a:gd name="T4" fmla="*/ 0 w 7"/>
                  <a:gd name="T5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2">
                    <a:moveTo>
                      <a:pt x="0" y="2"/>
                    </a:moveTo>
                    <a:lnTo>
                      <a:pt x="7" y="0"/>
                    </a:lnTo>
                    <a:lnTo>
                      <a:pt x="0" y="2"/>
                    </a:lnTo>
                    <a:close/>
                  </a:path>
                </a:pathLst>
              </a:custGeom>
              <a:solidFill>
                <a:srgbClr val="65625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727" name="Line 531"/>
              <p:cNvSpPr>
                <a:spLocks noChangeShapeType="1"/>
              </p:cNvSpPr>
              <p:nvPr userDrawn="1"/>
            </p:nvSpPr>
            <p:spPr bwMode="auto">
              <a:xfrm flipV="1">
                <a:off x="4013" y="3007"/>
                <a:ext cx="7" cy="2"/>
              </a:xfrm>
              <a:prstGeom prst="line">
                <a:avLst/>
              </a:prstGeom>
              <a:noFill/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728" name="Freeform 532"/>
              <p:cNvSpPr>
                <a:spLocks/>
              </p:cNvSpPr>
              <p:nvPr userDrawn="1"/>
            </p:nvSpPr>
            <p:spPr bwMode="auto">
              <a:xfrm>
                <a:off x="4013" y="3007"/>
                <a:ext cx="7" cy="2"/>
              </a:xfrm>
              <a:custGeom>
                <a:avLst/>
                <a:gdLst>
                  <a:gd name="T0" fmla="*/ 0 w 7"/>
                  <a:gd name="T1" fmla="*/ 2 h 2"/>
                  <a:gd name="T2" fmla="*/ 7 w 7"/>
                  <a:gd name="T3" fmla="*/ 0 h 2"/>
                  <a:gd name="T4" fmla="*/ 0 w 7"/>
                  <a:gd name="T5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2">
                    <a:moveTo>
                      <a:pt x="0" y="2"/>
                    </a:moveTo>
                    <a:lnTo>
                      <a:pt x="7" y="0"/>
                    </a:lnTo>
                    <a:lnTo>
                      <a:pt x="0" y="2"/>
                    </a:lnTo>
                    <a:close/>
                  </a:path>
                </a:pathLst>
              </a:custGeom>
              <a:solidFill>
                <a:srgbClr val="65625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729" name="Line 533"/>
              <p:cNvSpPr>
                <a:spLocks noChangeShapeType="1"/>
              </p:cNvSpPr>
              <p:nvPr userDrawn="1"/>
            </p:nvSpPr>
            <p:spPr bwMode="auto">
              <a:xfrm flipV="1">
                <a:off x="4013" y="3007"/>
                <a:ext cx="7" cy="2"/>
              </a:xfrm>
              <a:prstGeom prst="line">
                <a:avLst/>
              </a:prstGeom>
              <a:noFill/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730" name="Freeform 534"/>
              <p:cNvSpPr>
                <a:spLocks/>
              </p:cNvSpPr>
              <p:nvPr userDrawn="1"/>
            </p:nvSpPr>
            <p:spPr bwMode="auto">
              <a:xfrm>
                <a:off x="4020" y="3002"/>
                <a:ext cx="3" cy="5"/>
              </a:xfrm>
              <a:custGeom>
                <a:avLst/>
                <a:gdLst>
                  <a:gd name="T0" fmla="*/ 0 w 3"/>
                  <a:gd name="T1" fmla="*/ 5 h 5"/>
                  <a:gd name="T2" fmla="*/ 3 w 3"/>
                  <a:gd name="T3" fmla="*/ 0 h 5"/>
                  <a:gd name="T4" fmla="*/ 0 w 3"/>
                  <a:gd name="T5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" h="5">
                    <a:moveTo>
                      <a:pt x="0" y="5"/>
                    </a:moveTo>
                    <a:lnTo>
                      <a:pt x="3" y="0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65625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731" name="Line 535"/>
              <p:cNvSpPr>
                <a:spLocks noChangeShapeType="1"/>
              </p:cNvSpPr>
              <p:nvPr userDrawn="1"/>
            </p:nvSpPr>
            <p:spPr bwMode="auto">
              <a:xfrm flipV="1">
                <a:off x="4020" y="3002"/>
                <a:ext cx="3" cy="5"/>
              </a:xfrm>
              <a:prstGeom prst="line">
                <a:avLst/>
              </a:prstGeom>
              <a:noFill/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732" name="Freeform 536"/>
              <p:cNvSpPr>
                <a:spLocks/>
              </p:cNvSpPr>
              <p:nvPr userDrawn="1"/>
            </p:nvSpPr>
            <p:spPr bwMode="auto">
              <a:xfrm>
                <a:off x="3998" y="2966"/>
                <a:ext cx="37" cy="43"/>
              </a:xfrm>
              <a:custGeom>
                <a:avLst/>
                <a:gdLst>
                  <a:gd name="T0" fmla="*/ 7 w 37"/>
                  <a:gd name="T1" fmla="*/ 42 h 43"/>
                  <a:gd name="T2" fmla="*/ 7 w 37"/>
                  <a:gd name="T3" fmla="*/ 42 h 43"/>
                  <a:gd name="T4" fmla="*/ 3 w 37"/>
                  <a:gd name="T5" fmla="*/ 22 h 43"/>
                  <a:gd name="T6" fmla="*/ 3 w 37"/>
                  <a:gd name="T7" fmla="*/ 17 h 43"/>
                  <a:gd name="T8" fmla="*/ 3 w 37"/>
                  <a:gd name="T9" fmla="*/ 13 h 43"/>
                  <a:gd name="T10" fmla="*/ 0 w 37"/>
                  <a:gd name="T11" fmla="*/ 10 h 43"/>
                  <a:gd name="T12" fmla="*/ 1 w 37"/>
                  <a:gd name="T13" fmla="*/ 8 h 43"/>
                  <a:gd name="T14" fmla="*/ 2 w 37"/>
                  <a:gd name="T15" fmla="*/ 7 h 43"/>
                  <a:gd name="T16" fmla="*/ 6 w 37"/>
                  <a:gd name="T17" fmla="*/ 7 h 43"/>
                  <a:gd name="T18" fmla="*/ 8 w 37"/>
                  <a:gd name="T19" fmla="*/ 8 h 43"/>
                  <a:gd name="T20" fmla="*/ 8 w 37"/>
                  <a:gd name="T21" fmla="*/ 11 h 43"/>
                  <a:gd name="T22" fmla="*/ 12 w 37"/>
                  <a:gd name="T23" fmla="*/ 11 h 43"/>
                  <a:gd name="T24" fmla="*/ 13 w 37"/>
                  <a:gd name="T25" fmla="*/ 11 h 43"/>
                  <a:gd name="T26" fmla="*/ 14 w 37"/>
                  <a:gd name="T27" fmla="*/ 11 h 43"/>
                  <a:gd name="T28" fmla="*/ 16 w 37"/>
                  <a:gd name="T29" fmla="*/ 12 h 43"/>
                  <a:gd name="T30" fmla="*/ 20 w 37"/>
                  <a:gd name="T31" fmla="*/ 11 h 43"/>
                  <a:gd name="T32" fmla="*/ 20 w 37"/>
                  <a:gd name="T33" fmla="*/ 10 h 43"/>
                  <a:gd name="T34" fmla="*/ 22 w 37"/>
                  <a:gd name="T35" fmla="*/ 4 h 43"/>
                  <a:gd name="T36" fmla="*/ 22 w 37"/>
                  <a:gd name="T37" fmla="*/ 0 h 43"/>
                  <a:gd name="T38" fmla="*/ 23 w 37"/>
                  <a:gd name="T39" fmla="*/ 0 h 43"/>
                  <a:gd name="T40" fmla="*/ 25 w 37"/>
                  <a:gd name="T41" fmla="*/ 2 h 43"/>
                  <a:gd name="T42" fmla="*/ 27 w 37"/>
                  <a:gd name="T43" fmla="*/ 2 h 43"/>
                  <a:gd name="T44" fmla="*/ 28 w 37"/>
                  <a:gd name="T45" fmla="*/ 5 h 43"/>
                  <a:gd name="T46" fmla="*/ 29 w 37"/>
                  <a:gd name="T47" fmla="*/ 6 h 43"/>
                  <a:gd name="T48" fmla="*/ 29 w 37"/>
                  <a:gd name="T49" fmla="*/ 9 h 43"/>
                  <a:gd name="T50" fmla="*/ 30 w 37"/>
                  <a:gd name="T51" fmla="*/ 11 h 43"/>
                  <a:gd name="T52" fmla="*/ 30 w 37"/>
                  <a:gd name="T53" fmla="*/ 12 h 43"/>
                  <a:gd name="T54" fmla="*/ 33 w 37"/>
                  <a:gd name="T55" fmla="*/ 14 h 43"/>
                  <a:gd name="T56" fmla="*/ 34 w 37"/>
                  <a:gd name="T57" fmla="*/ 16 h 43"/>
                  <a:gd name="T58" fmla="*/ 36 w 37"/>
                  <a:gd name="T59" fmla="*/ 16 h 43"/>
                  <a:gd name="T60" fmla="*/ 37 w 37"/>
                  <a:gd name="T61" fmla="*/ 22 h 43"/>
                  <a:gd name="T62" fmla="*/ 37 w 37"/>
                  <a:gd name="T63" fmla="*/ 25 h 43"/>
                  <a:gd name="T64" fmla="*/ 34 w 37"/>
                  <a:gd name="T65" fmla="*/ 28 h 43"/>
                  <a:gd name="T66" fmla="*/ 31 w 37"/>
                  <a:gd name="T67" fmla="*/ 30 h 43"/>
                  <a:gd name="T68" fmla="*/ 29 w 37"/>
                  <a:gd name="T69" fmla="*/ 32 h 43"/>
                  <a:gd name="T70" fmla="*/ 25 w 37"/>
                  <a:gd name="T71" fmla="*/ 36 h 43"/>
                  <a:gd name="T72" fmla="*/ 22 w 37"/>
                  <a:gd name="T73" fmla="*/ 41 h 43"/>
                  <a:gd name="T74" fmla="*/ 15 w 37"/>
                  <a:gd name="T75" fmla="*/ 43 h 43"/>
                  <a:gd name="T76" fmla="*/ 7 w 37"/>
                  <a:gd name="T77" fmla="*/ 42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37" h="43">
                    <a:moveTo>
                      <a:pt x="7" y="42"/>
                    </a:moveTo>
                    <a:lnTo>
                      <a:pt x="7" y="42"/>
                    </a:lnTo>
                    <a:lnTo>
                      <a:pt x="3" y="22"/>
                    </a:lnTo>
                    <a:lnTo>
                      <a:pt x="3" y="17"/>
                    </a:lnTo>
                    <a:lnTo>
                      <a:pt x="3" y="13"/>
                    </a:lnTo>
                    <a:lnTo>
                      <a:pt x="0" y="10"/>
                    </a:lnTo>
                    <a:lnTo>
                      <a:pt x="1" y="8"/>
                    </a:lnTo>
                    <a:lnTo>
                      <a:pt x="2" y="7"/>
                    </a:lnTo>
                    <a:lnTo>
                      <a:pt x="6" y="7"/>
                    </a:lnTo>
                    <a:lnTo>
                      <a:pt x="8" y="8"/>
                    </a:lnTo>
                    <a:lnTo>
                      <a:pt x="8" y="11"/>
                    </a:lnTo>
                    <a:lnTo>
                      <a:pt x="12" y="11"/>
                    </a:lnTo>
                    <a:lnTo>
                      <a:pt x="13" y="11"/>
                    </a:lnTo>
                    <a:lnTo>
                      <a:pt x="14" y="11"/>
                    </a:lnTo>
                    <a:lnTo>
                      <a:pt x="16" y="12"/>
                    </a:lnTo>
                    <a:lnTo>
                      <a:pt x="20" y="11"/>
                    </a:lnTo>
                    <a:lnTo>
                      <a:pt x="20" y="10"/>
                    </a:lnTo>
                    <a:lnTo>
                      <a:pt x="22" y="4"/>
                    </a:lnTo>
                    <a:lnTo>
                      <a:pt x="22" y="0"/>
                    </a:lnTo>
                    <a:lnTo>
                      <a:pt x="23" y="0"/>
                    </a:lnTo>
                    <a:lnTo>
                      <a:pt x="25" y="2"/>
                    </a:lnTo>
                    <a:lnTo>
                      <a:pt x="27" y="2"/>
                    </a:lnTo>
                    <a:lnTo>
                      <a:pt x="28" y="5"/>
                    </a:lnTo>
                    <a:lnTo>
                      <a:pt x="29" y="6"/>
                    </a:lnTo>
                    <a:lnTo>
                      <a:pt x="29" y="9"/>
                    </a:lnTo>
                    <a:lnTo>
                      <a:pt x="30" y="11"/>
                    </a:lnTo>
                    <a:lnTo>
                      <a:pt x="30" y="12"/>
                    </a:lnTo>
                    <a:lnTo>
                      <a:pt x="33" y="14"/>
                    </a:lnTo>
                    <a:lnTo>
                      <a:pt x="34" y="16"/>
                    </a:lnTo>
                    <a:lnTo>
                      <a:pt x="36" y="16"/>
                    </a:lnTo>
                    <a:lnTo>
                      <a:pt x="37" y="22"/>
                    </a:lnTo>
                    <a:lnTo>
                      <a:pt x="37" y="25"/>
                    </a:lnTo>
                    <a:lnTo>
                      <a:pt x="34" y="28"/>
                    </a:lnTo>
                    <a:lnTo>
                      <a:pt x="31" y="30"/>
                    </a:lnTo>
                    <a:lnTo>
                      <a:pt x="29" y="32"/>
                    </a:lnTo>
                    <a:lnTo>
                      <a:pt x="25" y="36"/>
                    </a:lnTo>
                    <a:lnTo>
                      <a:pt x="22" y="41"/>
                    </a:lnTo>
                    <a:lnTo>
                      <a:pt x="15" y="43"/>
                    </a:lnTo>
                    <a:lnTo>
                      <a:pt x="7" y="42"/>
                    </a:ln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733" name="Freeform 537"/>
              <p:cNvSpPr>
                <a:spLocks/>
              </p:cNvSpPr>
              <p:nvPr userDrawn="1"/>
            </p:nvSpPr>
            <p:spPr bwMode="auto">
              <a:xfrm>
                <a:off x="3998" y="2966"/>
                <a:ext cx="37" cy="43"/>
              </a:xfrm>
              <a:custGeom>
                <a:avLst/>
                <a:gdLst>
                  <a:gd name="T0" fmla="*/ 7 w 37"/>
                  <a:gd name="T1" fmla="*/ 42 h 43"/>
                  <a:gd name="T2" fmla="*/ 7 w 37"/>
                  <a:gd name="T3" fmla="*/ 42 h 43"/>
                  <a:gd name="T4" fmla="*/ 3 w 37"/>
                  <a:gd name="T5" fmla="*/ 22 h 43"/>
                  <a:gd name="T6" fmla="*/ 3 w 37"/>
                  <a:gd name="T7" fmla="*/ 17 h 43"/>
                  <a:gd name="T8" fmla="*/ 3 w 37"/>
                  <a:gd name="T9" fmla="*/ 13 h 43"/>
                  <a:gd name="T10" fmla="*/ 0 w 37"/>
                  <a:gd name="T11" fmla="*/ 10 h 43"/>
                  <a:gd name="T12" fmla="*/ 1 w 37"/>
                  <a:gd name="T13" fmla="*/ 8 h 43"/>
                  <a:gd name="T14" fmla="*/ 2 w 37"/>
                  <a:gd name="T15" fmla="*/ 7 h 43"/>
                  <a:gd name="T16" fmla="*/ 6 w 37"/>
                  <a:gd name="T17" fmla="*/ 7 h 43"/>
                  <a:gd name="T18" fmla="*/ 8 w 37"/>
                  <a:gd name="T19" fmla="*/ 8 h 43"/>
                  <a:gd name="T20" fmla="*/ 8 w 37"/>
                  <a:gd name="T21" fmla="*/ 11 h 43"/>
                  <a:gd name="T22" fmla="*/ 12 w 37"/>
                  <a:gd name="T23" fmla="*/ 11 h 43"/>
                  <a:gd name="T24" fmla="*/ 13 w 37"/>
                  <a:gd name="T25" fmla="*/ 11 h 43"/>
                  <a:gd name="T26" fmla="*/ 14 w 37"/>
                  <a:gd name="T27" fmla="*/ 11 h 43"/>
                  <a:gd name="T28" fmla="*/ 16 w 37"/>
                  <a:gd name="T29" fmla="*/ 12 h 43"/>
                  <a:gd name="T30" fmla="*/ 20 w 37"/>
                  <a:gd name="T31" fmla="*/ 11 h 43"/>
                  <a:gd name="T32" fmla="*/ 20 w 37"/>
                  <a:gd name="T33" fmla="*/ 10 h 43"/>
                  <a:gd name="T34" fmla="*/ 22 w 37"/>
                  <a:gd name="T35" fmla="*/ 4 h 43"/>
                  <a:gd name="T36" fmla="*/ 22 w 37"/>
                  <a:gd name="T37" fmla="*/ 0 h 43"/>
                  <a:gd name="T38" fmla="*/ 23 w 37"/>
                  <a:gd name="T39" fmla="*/ 0 h 43"/>
                  <a:gd name="T40" fmla="*/ 25 w 37"/>
                  <a:gd name="T41" fmla="*/ 2 h 43"/>
                  <a:gd name="T42" fmla="*/ 27 w 37"/>
                  <a:gd name="T43" fmla="*/ 2 h 43"/>
                  <a:gd name="T44" fmla="*/ 28 w 37"/>
                  <a:gd name="T45" fmla="*/ 5 h 43"/>
                  <a:gd name="T46" fmla="*/ 29 w 37"/>
                  <a:gd name="T47" fmla="*/ 6 h 43"/>
                  <a:gd name="T48" fmla="*/ 29 w 37"/>
                  <a:gd name="T49" fmla="*/ 9 h 43"/>
                  <a:gd name="T50" fmla="*/ 30 w 37"/>
                  <a:gd name="T51" fmla="*/ 11 h 43"/>
                  <a:gd name="T52" fmla="*/ 30 w 37"/>
                  <a:gd name="T53" fmla="*/ 12 h 43"/>
                  <a:gd name="T54" fmla="*/ 33 w 37"/>
                  <a:gd name="T55" fmla="*/ 14 h 43"/>
                  <a:gd name="T56" fmla="*/ 34 w 37"/>
                  <a:gd name="T57" fmla="*/ 16 h 43"/>
                  <a:gd name="T58" fmla="*/ 36 w 37"/>
                  <a:gd name="T59" fmla="*/ 16 h 43"/>
                  <a:gd name="T60" fmla="*/ 37 w 37"/>
                  <a:gd name="T61" fmla="*/ 22 h 43"/>
                  <a:gd name="T62" fmla="*/ 37 w 37"/>
                  <a:gd name="T63" fmla="*/ 25 h 43"/>
                  <a:gd name="T64" fmla="*/ 34 w 37"/>
                  <a:gd name="T65" fmla="*/ 28 h 43"/>
                  <a:gd name="T66" fmla="*/ 31 w 37"/>
                  <a:gd name="T67" fmla="*/ 30 h 43"/>
                  <a:gd name="T68" fmla="*/ 29 w 37"/>
                  <a:gd name="T69" fmla="*/ 32 h 43"/>
                  <a:gd name="T70" fmla="*/ 25 w 37"/>
                  <a:gd name="T71" fmla="*/ 36 h 43"/>
                  <a:gd name="T72" fmla="*/ 22 w 37"/>
                  <a:gd name="T73" fmla="*/ 41 h 43"/>
                  <a:gd name="T74" fmla="*/ 15 w 37"/>
                  <a:gd name="T75" fmla="*/ 43 h 43"/>
                  <a:gd name="T76" fmla="*/ 7 w 37"/>
                  <a:gd name="T77" fmla="*/ 42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37" h="43">
                    <a:moveTo>
                      <a:pt x="7" y="42"/>
                    </a:moveTo>
                    <a:lnTo>
                      <a:pt x="7" y="42"/>
                    </a:lnTo>
                    <a:lnTo>
                      <a:pt x="3" y="22"/>
                    </a:lnTo>
                    <a:lnTo>
                      <a:pt x="3" y="17"/>
                    </a:lnTo>
                    <a:lnTo>
                      <a:pt x="3" y="13"/>
                    </a:lnTo>
                    <a:lnTo>
                      <a:pt x="0" y="10"/>
                    </a:lnTo>
                    <a:lnTo>
                      <a:pt x="1" y="8"/>
                    </a:lnTo>
                    <a:lnTo>
                      <a:pt x="2" y="7"/>
                    </a:lnTo>
                    <a:lnTo>
                      <a:pt x="6" y="7"/>
                    </a:lnTo>
                    <a:lnTo>
                      <a:pt x="8" y="8"/>
                    </a:lnTo>
                    <a:lnTo>
                      <a:pt x="8" y="11"/>
                    </a:lnTo>
                    <a:lnTo>
                      <a:pt x="12" y="11"/>
                    </a:lnTo>
                    <a:lnTo>
                      <a:pt x="13" y="11"/>
                    </a:lnTo>
                    <a:lnTo>
                      <a:pt x="14" y="11"/>
                    </a:lnTo>
                    <a:lnTo>
                      <a:pt x="16" y="12"/>
                    </a:lnTo>
                    <a:lnTo>
                      <a:pt x="20" y="11"/>
                    </a:lnTo>
                    <a:lnTo>
                      <a:pt x="20" y="10"/>
                    </a:lnTo>
                    <a:lnTo>
                      <a:pt x="22" y="4"/>
                    </a:lnTo>
                    <a:lnTo>
                      <a:pt x="22" y="0"/>
                    </a:lnTo>
                    <a:lnTo>
                      <a:pt x="23" y="0"/>
                    </a:lnTo>
                    <a:lnTo>
                      <a:pt x="25" y="2"/>
                    </a:lnTo>
                    <a:lnTo>
                      <a:pt x="27" y="2"/>
                    </a:lnTo>
                    <a:lnTo>
                      <a:pt x="28" y="5"/>
                    </a:lnTo>
                    <a:lnTo>
                      <a:pt x="29" y="6"/>
                    </a:lnTo>
                    <a:lnTo>
                      <a:pt x="29" y="9"/>
                    </a:lnTo>
                    <a:lnTo>
                      <a:pt x="30" y="11"/>
                    </a:lnTo>
                    <a:lnTo>
                      <a:pt x="30" y="12"/>
                    </a:lnTo>
                    <a:lnTo>
                      <a:pt x="33" y="14"/>
                    </a:lnTo>
                    <a:lnTo>
                      <a:pt x="34" y="16"/>
                    </a:lnTo>
                    <a:lnTo>
                      <a:pt x="36" y="16"/>
                    </a:lnTo>
                    <a:lnTo>
                      <a:pt x="37" y="22"/>
                    </a:lnTo>
                    <a:lnTo>
                      <a:pt x="37" y="25"/>
                    </a:lnTo>
                    <a:lnTo>
                      <a:pt x="34" y="28"/>
                    </a:lnTo>
                    <a:lnTo>
                      <a:pt x="31" y="30"/>
                    </a:lnTo>
                    <a:lnTo>
                      <a:pt x="29" y="32"/>
                    </a:lnTo>
                    <a:lnTo>
                      <a:pt x="25" y="36"/>
                    </a:lnTo>
                    <a:lnTo>
                      <a:pt x="22" y="41"/>
                    </a:lnTo>
                    <a:lnTo>
                      <a:pt x="15" y="43"/>
                    </a:lnTo>
                    <a:lnTo>
                      <a:pt x="7" y="42"/>
                    </a:lnTo>
                  </a:path>
                </a:pathLst>
              </a:custGeom>
              <a:noFill/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734" name="Freeform 538"/>
              <p:cNvSpPr>
                <a:spLocks/>
              </p:cNvSpPr>
              <p:nvPr userDrawn="1"/>
            </p:nvSpPr>
            <p:spPr bwMode="auto">
              <a:xfrm>
                <a:off x="4243" y="2171"/>
                <a:ext cx="31" cy="25"/>
              </a:xfrm>
              <a:custGeom>
                <a:avLst/>
                <a:gdLst>
                  <a:gd name="T0" fmla="*/ 31 w 31"/>
                  <a:gd name="T1" fmla="*/ 22 h 25"/>
                  <a:gd name="T2" fmla="*/ 23 w 31"/>
                  <a:gd name="T3" fmla="*/ 9 h 25"/>
                  <a:gd name="T4" fmla="*/ 19 w 31"/>
                  <a:gd name="T5" fmla="*/ 8 h 25"/>
                  <a:gd name="T6" fmla="*/ 16 w 31"/>
                  <a:gd name="T7" fmla="*/ 3 h 25"/>
                  <a:gd name="T8" fmla="*/ 13 w 31"/>
                  <a:gd name="T9" fmla="*/ 3 h 25"/>
                  <a:gd name="T10" fmla="*/ 10 w 31"/>
                  <a:gd name="T11" fmla="*/ 5 h 25"/>
                  <a:gd name="T12" fmla="*/ 5 w 31"/>
                  <a:gd name="T13" fmla="*/ 0 h 25"/>
                  <a:gd name="T14" fmla="*/ 2 w 31"/>
                  <a:gd name="T15" fmla="*/ 2 h 25"/>
                  <a:gd name="T16" fmla="*/ 0 w 31"/>
                  <a:gd name="T17" fmla="*/ 2 h 25"/>
                  <a:gd name="T18" fmla="*/ 0 w 31"/>
                  <a:gd name="T19" fmla="*/ 3 h 25"/>
                  <a:gd name="T20" fmla="*/ 1 w 31"/>
                  <a:gd name="T21" fmla="*/ 3 h 25"/>
                  <a:gd name="T22" fmla="*/ 3 w 31"/>
                  <a:gd name="T23" fmla="*/ 6 h 25"/>
                  <a:gd name="T24" fmla="*/ 6 w 31"/>
                  <a:gd name="T25" fmla="*/ 6 h 25"/>
                  <a:gd name="T26" fmla="*/ 7 w 31"/>
                  <a:gd name="T27" fmla="*/ 8 h 25"/>
                  <a:gd name="T28" fmla="*/ 7 w 31"/>
                  <a:gd name="T29" fmla="*/ 11 h 25"/>
                  <a:gd name="T30" fmla="*/ 15 w 31"/>
                  <a:gd name="T31" fmla="*/ 15 h 25"/>
                  <a:gd name="T32" fmla="*/ 16 w 31"/>
                  <a:gd name="T33" fmla="*/ 19 h 25"/>
                  <a:gd name="T34" fmla="*/ 21 w 31"/>
                  <a:gd name="T35" fmla="*/ 21 h 25"/>
                  <a:gd name="T36" fmla="*/ 25 w 31"/>
                  <a:gd name="T37" fmla="*/ 22 h 25"/>
                  <a:gd name="T38" fmla="*/ 30 w 31"/>
                  <a:gd name="T39" fmla="*/ 25 h 25"/>
                  <a:gd name="T40" fmla="*/ 31 w 31"/>
                  <a:gd name="T41" fmla="*/ 22 h 25"/>
                  <a:gd name="T42" fmla="*/ 31 w 31"/>
                  <a:gd name="T43" fmla="*/ 2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1" h="25">
                    <a:moveTo>
                      <a:pt x="31" y="22"/>
                    </a:moveTo>
                    <a:lnTo>
                      <a:pt x="23" y="9"/>
                    </a:lnTo>
                    <a:lnTo>
                      <a:pt x="19" y="8"/>
                    </a:lnTo>
                    <a:lnTo>
                      <a:pt x="16" y="3"/>
                    </a:lnTo>
                    <a:lnTo>
                      <a:pt x="13" y="3"/>
                    </a:lnTo>
                    <a:lnTo>
                      <a:pt x="10" y="5"/>
                    </a:lnTo>
                    <a:lnTo>
                      <a:pt x="5" y="0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3" y="6"/>
                    </a:lnTo>
                    <a:lnTo>
                      <a:pt x="6" y="6"/>
                    </a:lnTo>
                    <a:lnTo>
                      <a:pt x="7" y="8"/>
                    </a:lnTo>
                    <a:lnTo>
                      <a:pt x="7" y="11"/>
                    </a:lnTo>
                    <a:lnTo>
                      <a:pt x="15" y="15"/>
                    </a:lnTo>
                    <a:lnTo>
                      <a:pt x="16" y="19"/>
                    </a:lnTo>
                    <a:lnTo>
                      <a:pt x="21" y="21"/>
                    </a:lnTo>
                    <a:lnTo>
                      <a:pt x="25" y="22"/>
                    </a:lnTo>
                    <a:lnTo>
                      <a:pt x="30" y="25"/>
                    </a:lnTo>
                    <a:lnTo>
                      <a:pt x="31" y="22"/>
                    </a:lnTo>
                    <a:lnTo>
                      <a:pt x="31" y="22"/>
                    </a:lnTo>
                    <a:close/>
                  </a:path>
                </a:pathLst>
              </a:custGeom>
              <a:solidFill>
                <a:schemeClr val="accent4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735" name="Freeform 539"/>
              <p:cNvSpPr>
                <a:spLocks noEditPoints="1"/>
              </p:cNvSpPr>
              <p:nvPr userDrawn="1"/>
            </p:nvSpPr>
            <p:spPr bwMode="auto">
              <a:xfrm>
                <a:off x="3349" y="1636"/>
                <a:ext cx="13" cy="29"/>
              </a:xfrm>
              <a:custGeom>
                <a:avLst/>
                <a:gdLst>
                  <a:gd name="T0" fmla="*/ 7 w 14"/>
                  <a:gd name="T1" fmla="*/ 23 h 30"/>
                  <a:gd name="T2" fmla="*/ 10 w 14"/>
                  <a:gd name="T3" fmla="*/ 30 h 30"/>
                  <a:gd name="T4" fmla="*/ 10 w 14"/>
                  <a:gd name="T5" fmla="*/ 27 h 30"/>
                  <a:gd name="T6" fmla="*/ 10 w 14"/>
                  <a:gd name="T7" fmla="*/ 25 h 30"/>
                  <a:gd name="T8" fmla="*/ 7 w 14"/>
                  <a:gd name="T9" fmla="*/ 23 h 30"/>
                  <a:gd name="T10" fmla="*/ 9 w 14"/>
                  <a:gd name="T11" fmla="*/ 15 h 30"/>
                  <a:gd name="T12" fmla="*/ 8 w 14"/>
                  <a:gd name="T13" fmla="*/ 16 h 30"/>
                  <a:gd name="T14" fmla="*/ 11 w 14"/>
                  <a:gd name="T15" fmla="*/ 19 h 30"/>
                  <a:gd name="T16" fmla="*/ 11 w 14"/>
                  <a:gd name="T17" fmla="*/ 17 h 30"/>
                  <a:gd name="T18" fmla="*/ 9 w 14"/>
                  <a:gd name="T19" fmla="*/ 15 h 30"/>
                  <a:gd name="T20" fmla="*/ 0 w 14"/>
                  <a:gd name="T21" fmla="*/ 4 h 30"/>
                  <a:gd name="T22" fmla="*/ 1 w 14"/>
                  <a:gd name="T23" fmla="*/ 8 h 30"/>
                  <a:gd name="T24" fmla="*/ 4 w 14"/>
                  <a:gd name="T25" fmla="*/ 8 h 30"/>
                  <a:gd name="T26" fmla="*/ 0 w 14"/>
                  <a:gd name="T27" fmla="*/ 4 h 30"/>
                  <a:gd name="T28" fmla="*/ 12 w 14"/>
                  <a:gd name="T29" fmla="*/ 0 h 30"/>
                  <a:gd name="T30" fmla="*/ 14 w 14"/>
                  <a:gd name="T31" fmla="*/ 3 h 30"/>
                  <a:gd name="T32" fmla="*/ 13 w 14"/>
                  <a:gd name="T33" fmla="*/ 0 h 30"/>
                  <a:gd name="T34" fmla="*/ 12 w 14"/>
                  <a:gd name="T35" fmla="*/ 0 h 30"/>
                  <a:gd name="T36" fmla="*/ 6 w 14"/>
                  <a:gd name="T37" fmla="*/ 0 h 30"/>
                  <a:gd name="T38" fmla="*/ 8 w 14"/>
                  <a:gd name="T39" fmla="*/ 1 h 30"/>
                  <a:gd name="T40" fmla="*/ 12 w 14"/>
                  <a:gd name="T41" fmla="*/ 3 h 30"/>
                  <a:gd name="T42" fmla="*/ 12 w 14"/>
                  <a:gd name="T43" fmla="*/ 6 h 30"/>
                  <a:gd name="T44" fmla="*/ 9 w 14"/>
                  <a:gd name="T45" fmla="*/ 5 h 30"/>
                  <a:gd name="T46" fmla="*/ 6 w 14"/>
                  <a:gd name="T47" fmla="*/ 0 h 30"/>
                  <a:gd name="T48" fmla="*/ 4 w 14"/>
                  <a:gd name="T49" fmla="*/ 1 h 30"/>
                  <a:gd name="T50" fmla="*/ 9 w 14"/>
                  <a:gd name="T51" fmla="*/ 9 h 30"/>
                  <a:gd name="T52" fmla="*/ 13 w 14"/>
                  <a:gd name="T53" fmla="*/ 12 h 30"/>
                  <a:gd name="T54" fmla="*/ 10 w 14"/>
                  <a:gd name="T55" fmla="*/ 11 h 30"/>
                  <a:gd name="T56" fmla="*/ 5 w 14"/>
                  <a:gd name="T57" fmla="*/ 7 h 30"/>
                  <a:gd name="T58" fmla="*/ 3 w 14"/>
                  <a:gd name="T59" fmla="*/ 3 h 30"/>
                  <a:gd name="T60" fmla="*/ 4 w 14"/>
                  <a:gd name="T61" fmla="*/ 1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4" h="30">
                    <a:moveTo>
                      <a:pt x="7" y="23"/>
                    </a:moveTo>
                    <a:cubicBezTo>
                      <a:pt x="10" y="30"/>
                      <a:pt x="10" y="30"/>
                      <a:pt x="10" y="30"/>
                    </a:cubicBezTo>
                    <a:cubicBezTo>
                      <a:pt x="10" y="27"/>
                      <a:pt x="10" y="27"/>
                      <a:pt x="10" y="27"/>
                    </a:cubicBezTo>
                    <a:cubicBezTo>
                      <a:pt x="10" y="25"/>
                      <a:pt x="10" y="25"/>
                      <a:pt x="10" y="25"/>
                    </a:cubicBezTo>
                    <a:cubicBezTo>
                      <a:pt x="7" y="23"/>
                      <a:pt x="7" y="23"/>
                      <a:pt x="7" y="23"/>
                    </a:cubicBezTo>
                    <a:close/>
                    <a:moveTo>
                      <a:pt x="9" y="15"/>
                    </a:moveTo>
                    <a:cubicBezTo>
                      <a:pt x="8" y="16"/>
                      <a:pt x="8" y="16"/>
                      <a:pt x="8" y="16"/>
                    </a:cubicBezTo>
                    <a:cubicBezTo>
                      <a:pt x="11" y="19"/>
                      <a:pt x="11" y="19"/>
                      <a:pt x="11" y="19"/>
                    </a:cubicBezTo>
                    <a:cubicBezTo>
                      <a:pt x="11" y="17"/>
                      <a:pt x="11" y="17"/>
                      <a:pt x="11" y="17"/>
                    </a:cubicBezTo>
                    <a:cubicBezTo>
                      <a:pt x="9" y="15"/>
                      <a:pt x="9" y="15"/>
                      <a:pt x="9" y="15"/>
                    </a:cubicBezTo>
                    <a:close/>
                    <a:moveTo>
                      <a:pt x="0" y="4"/>
                    </a:moveTo>
                    <a:cubicBezTo>
                      <a:pt x="1" y="8"/>
                      <a:pt x="1" y="8"/>
                      <a:pt x="1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0" y="4"/>
                      <a:pt x="0" y="4"/>
                      <a:pt x="0" y="4"/>
                    </a:cubicBezTo>
                    <a:close/>
                    <a:moveTo>
                      <a:pt x="12" y="0"/>
                    </a:moveTo>
                    <a:cubicBezTo>
                      <a:pt x="14" y="3"/>
                      <a:pt x="14" y="3"/>
                      <a:pt x="14" y="3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12" y="0"/>
                      <a:pt x="12" y="0"/>
                      <a:pt x="12" y="0"/>
                    </a:cubicBezTo>
                    <a:close/>
                    <a:moveTo>
                      <a:pt x="6" y="0"/>
                    </a:moveTo>
                    <a:cubicBezTo>
                      <a:pt x="8" y="1"/>
                      <a:pt x="8" y="1"/>
                      <a:pt x="8" y="1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2" y="6"/>
                      <a:pt x="12" y="6"/>
                      <a:pt x="12" y="6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6" y="0"/>
                      <a:pt x="6" y="0"/>
                      <a:pt x="6" y="0"/>
                    </a:cubicBezTo>
                    <a:close/>
                    <a:moveTo>
                      <a:pt x="4" y="1"/>
                    </a:moveTo>
                    <a:cubicBezTo>
                      <a:pt x="9" y="9"/>
                      <a:pt x="9" y="9"/>
                      <a:pt x="9" y="9"/>
                    </a:cubicBezTo>
                    <a:cubicBezTo>
                      <a:pt x="13" y="12"/>
                      <a:pt x="13" y="12"/>
                      <a:pt x="13" y="12"/>
                    </a:cubicBezTo>
                    <a:cubicBezTo>
                      <a:pt x="10" y="11"/>
                      <a:pt x="10" y="11"/>
                      <a:pt x="10" y="11"/>
                    </a:cubicBezTo>
                    <a:cubicBezTo>
                      <a:pt x="5" y="7"/>
                      <a:pt x="5" y="7"/>
                      <a:pt x="5" y="7"/>
                    </a:cubicBezTo>
                    <a:cubicBezTo>
                      <a:pt x="3" y="3"/>
                      <a:pt x="3" y="3"/>
                      <a:pt x="3" y="3"/>
                    </a:cubicBezTo>
                    <a:lnTo>
                      <a:pt x="4" y="1"/>
                    </a:lnTo>
                    <a:close/>
                  </a:path>
                </a:pathLst>
              </a:custGeom>
              <a:solidFill>
                <a:srgbClr val="65625E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736" name="Freeform 540"/>
              <p:cNvSpPr>
                <a:spLocks/>
              </p:cNvSpPr>
              <p:nvPr userDrawn="1"/>
            </p:nvSpPr>
            <p:spPr bwMode="auto">
              <a:xfrm>
                <a:off x="3162" y="2674"/>
                <a:ext cx="57" cy="17"/>
              </a:xfrm>
              <a:custGeom>
                <a:avLst/>
                <a:gdLst>
                  <a:gd name="T0" fmla="*/ 2 w 57"/>
                  <a:gd name="T1" fmla="*/ 17 h 17"/>
                  <a:gd name="T2" fmla="*/ 4 w 57"/>
                  <a:gd name="T3" fmla="*/ 16 h 17"/>
                  <a:gd name="T4" fmla="*/ 14 w 57"/>
                  <a:gd name="T5" fmla="*/ 16 h 17"/>
                  <a:gd name="T6" fmla="*/ 18 w 57"/>
                  <a:gd name="T7" fmla="*/ 12 h 17"/>
                  <a:gd name="T8" fmla="*/ 21 w 57"/>
                  <a:gd name="T9" fmla="*/ 11 h 17"/>
                  <a:gd name="T10" fmla="*/ 25 w 57"/>
                  <a:gd name="T11" fmla="*/ 8 h 17"/>
                  <a:gd name="T12" fmla="*/ 27 w 57"/>
                  <a:gd name="T13" fmla="*/ 9 h 17"/>
                  <a:gd name="T14" fmla="*/ 28 w 57"/>
                  <a:gd name="T15" fmla="*/ 10 h 17"/>
                  <a:gd name="T16" fmla="*/ 31 w 57"/>
                  <a:gd name="T17" fmla="*/ 7 h 17"/>
                  <a:gd name="T18" fmla="*/ 33 w 57"/>
                  <a:gd name="T19" fmla="*/ 7 h 17"/>
                  <a:gd name="T20" fmla="*/ 38 w 57"/>
                  <a:gd name="T21" fmla="*/ 10 h 17"/>
                  <a:gd name="T22" fmla="*/ 42 w 57"/>
                  <a:gd name="T23" fmla="*/ 10 h 17"/>
                  <a:gd name="T24" fmla="*/ 47 w 57"/>
                  <a:gd name="T25" fmla="*/ 11 h 17"/>
                  <a:gd name="T26" fmla="*/ 52 w 57"/>
                  <a:gd name="T27" fmla="*/ 14 h 17"/>
                  <a:gd name="T28" fmla="*/ 56 w 57"/>
                  <a:gd name="T29" fmla="*/ 14 h 17"/>
                  <a:gd name="T30" fmla="*/ 57 w 57"/>
                  <a:gd name="T31" fmla="*/ 12 h 17"/>
                  <a:gd name="T32" fmla="*/ 56 w 57"/>
                  <a:gd name="T33" fmla="*/ 9 h 17"/>
                  <a:gd name="T34" fmla="*/ 54 w 57"/>
                  <a:gd name="T35" fmla="*/ 10 h 17"/>
                  <a:gd name="T36" fmla="*/ 47 w 57"/>
                  <a:gd name="T37" fmla="*/ 4 h 17"/>
                  <a:gd name="T38" fmla="*/ 43 w 57"/>
                  <a:gd name="T39" fmla="*/ 4 h 17"/>
                  <a:gd name="T40" fmla="*/ 37 w 57"/>
                  <a:gd name="T41" fmla="*/ 1 h 17"/>
                  <a:gd name="T42" fmla="*/ 32 w 57"/>
                  <a:gd name="T43" fmla="*/ 1 h 17"/>
                  <a:gd name="T44" fmla="*/ 29 w 57"/>
                  <a:gd name="T45" fmla="*/ 0 h 17"/>
                  <a:gd name="T46" fmla="*/ 25 w 57"/>
                  <a:gd name="T47" fmla="*/ 2 h 17"/>
                  <a:gd name="T48" fmla="*/ 18 w 57"/>
                  <a:gd name="T49" fmla="*/ 7 h 17"/>
                  <a:gd name="T50" fmla="*/ 14 w 57"/>
                  <a:gd name="T51" fmla="*/ 7 h 17"/>
                  <a:gd name="T52" fmla="*/ 12 w 57"/>
                  <a:gd name="T53" fmla="*/ 8 h 17"/>
                  <a:gd name="T54" fmla="*/ 4 w 57"/>
                  <a:gd name="T55" fmla="*/ 8 h 17"/>
                  <a:gd name="T56" fmla="*/ 5 w 57"/>
                  <a:gd name="T57" fmla="*/ 11 h 17"/>
                  <a:gd name="T58" fmla="*/ 10 w 57"/>
                  <a:gd name="T59" fmla="*/ 13 h 17"/>
                  <a:gd name="T60" fmla="*/ 14 w 57"/>
                  <a:gd name="T61" fmla="*/ 12 h 17"/>
                  <a:gd name="T62" fmla="*/ 11 w 57"/>
                  <a:gd name="T63" fmla="*/ 15 h 17"/>
                  <a:gd name="T64" fmla="*/ 6 w 57"/>
                  <a:gd name="T65" fmla="*/ 15 h 17"/>
                  <a:gd name="T66" fmla="*/ 3 w 57"/>
                  <a:gd name="T67" fmla="*/ 10 h 17"/>
                  <a:gd name="T68" fmla="*/ 0 w 57"/>
                  <a:gd name="T69" fmla="*/ 13 h 17"/>
                  <a:gd name="T70" fmla="*/ 2 w 57"/>
                  <a:gd name="T71" fmla="*/ 16 h 17"/>
                  <a:gd name="T72" fmla="*/ 2 w 57"/>
                  <a:gd name="T73" fmla="*/ 17 h 17"/>
                  <a:gd name="T74" fmla="*/ 2 w 57"/>
                  <a:gd name="T75" fmla="*/ 1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57" h="17">
                    <a:moveTo>
                      <a:pt x="2" y="17"/>
                    </a:moveTo>
                    <a:lnTo>
                      <a:pt x="4" y="16"/>
                    </a:lnTo>
                    <a:lnTo>
                      <a:pt x="14" y="16"/>
                    </a:lnTo>
                    <a:lnTo>
                      <a:pt x="18" y="12"/>
                    </a:lnTo>
                    <a:lnTo>
                      <a:pt x="21" y="11"/>
                    </a:lnTo>
                    <a:lnTo>
                      <a:pt x="25" y="8"/>
                    </a:lnTo>
                    <a:lnTo>
                      <a:pt x="27" y="9"/>
                    </a:lnTo>
                    <a:lnTo>
                      <a:pt x="28" y="10"/>
                    </a:lnTo>
                    <a:lnTo>
                      <a:pt x="31" y="7"/>
                    </a:lnTo>
                    <a:lnTo>
                      <a:pt x="33" y="7"/>
                    </a:lnTo>
                    <a:lnTo>
                      <a:pt x="38" y="10"/>
                    </a:lnTo>
                    <a:lnTo>
                      <a:pt x="42" y="10"/>
                    </a:lnTo>
                    <a:lnTo>
                      <a:pt x="47" y="11"/>
                    </a:lnTo>
                    <a:lnTo>
                      <a:pt x="52" y="14"/>
                    </a:lnTo>
                    <a:lnTo>
                      <a:pt x="56" y="14"/>
                    </a:lnTo>
                    <a:lnTo>
                      <a:pt x="57" y="12"/>
                    </a:lnTo>
                    <a:lnTo>
                      <a:pt x="56" y="9"/>
                    </a:lnTo>
                    <a:lnTo>
                      <a:pt x="54" y="10"/>
                    </a:lnTo>
                    <a:lnTo>
                      <a:pt x="47" y="4"/>
                    </a:lnTo>
                    <a:lnTo>
                      <a:pt x="43" y="4"/>
                    </a:lnTo>
                    <a:lnTo>
                      <a:pt x="37" y="1"/>
                    </a:lnTo>
                    <a:lnTo>
                      <a:pt x="32" y="1"/>
                    </a:lnTo>
                    <a:lnTo>
                      <a:pt x="29" y="0"/>
                    </a:lnTo>
                    <a:lnTo>
                      <a:pt x="25" y="2"/>
                    </a:lnTo>
                    <a:lnTo>
                      <a:pt x="18" y="7"/>
                    </a:lnTo>
                    <a:lnTo>
                      <a:pt x="14" y="7"/>
                    </a:lnTo>
                    <a:lnTo>
                      <a:pt x="12" y="8"/>
                    </a:lnTo>
                    <a:lnTo>
                      <a:pt x="4" y="8"/>
                    </a:lnTo>
                    <a:lnTo>
                      <a:pt x="5" y="11"/>
                    </a:lnTo>
                    <a:lnTo>
                      <a:pt x="10" y="13"/>
                    </a:lnTo>
                    <a:lnTo>
                      <a:pt x="14" y="12"/>
                    </a:lnTo>
                    <a:lnTo>
                      <a:pt x="11" y="15"/>
                    </a:lnTo>
                    <a:lnTo>
                      <a:pt x="6" y="15"/>
                    </a:lnTo>
                    <a:lnTo>
                      <a:pt x="3" y="10"/>
                    </a:lnTo>
                    <a:lnTo>
                      <a:pt x="0" y="13"/>
                    </a:lnTo>
                    <a:lnTo>
                      <a:pt x="2" y="16"/>
                    </a:lnTo>
                    <a:lnTo>
                      <a:pt x="2" y="17"/>
                    </a:lnTo>
                    <a:lnTo>
                      <a:pt x="2" y="17"/>
                    </a:lnTo>
                    <a:close/>
                  </a:path>
                </a:pathLst>
              </a:custGeom>
              <a:solidFill>
                <a:schemeClr val="accent4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737" name="Freeform 541"/>
              <p:cNvSpPr>
                <a:spLocks/>
              </p:cNvSpPr>
              <p:nvPr userDrawn="1"/>
            </p:nvSpPr>
            <p:spPr bwMode="auto">
              <a:xfrm>
                <a:off x="2390" y="2687"/>
                <a:ext cx="4" cy="6"/>
              </a:xfrm>
              <a:custGeom>
                <a:avLst/>
                <a:gdLst>
                  <a:gd name="T0" fmla="*/ 4 w 4"/>
                  <a:gd name="T1" fmla="*/ 6 h 6"/>
                  <a:gd name="T2" fmla="*/ 4 w 4"/>
                  <a:gd name="T3" fmla="*/ 3 h 6"/>
                  <a:gd name="T4" fmla="*/ 0 w 4"/>
                  <a:gd name="T5" fmla="*/ 0 h 6"/>
                  <a:gd name="T6" fmla="*/ 4 w 4"/>
                  <a:gd name="T7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" h="6">
                    <a:moveTo>
                      <a:pt x="4" y="6"/>
                    </a:moveTo>
                    <a:lnTo>
                      <a:pt x="4" y="3"/>
                    </a:lnTo>
                    <a:lnTo>
                      <a:pt x="0" y="0"/>
                    </a:ln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65625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738" name="Freeform 542"/>
              <p:cNvSpPr>
                <a:spLocks/>
              </p:cNvSpPr>
              <p:nvPr userDrawn="1"/>
            </p:nvSpPr>
            <p:spPr bwMode="auto">
              <a:xfrm>
                <a:off x="2390" y="2687"/>
                <a:ext cx="4" cy="6"/>
              </a:xfrm>
              <a:custGeom>
                <a:avLst/>
                <a:gdLst>
                  <a:gd name="T0" fmla="*/ 4 w 4"/>
                  <a:gd name="T1" fmla="*/ 6 h 6"/>
                  <a:gd name="T2" fmla="*/ 4 w 4"/>
                  <a:gd name="T3" fmla="*/ 3 h 6"/>
                  <a:gd name="T4" fmla="*/ 0 w 4"/>
                  <a:gd name="T5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6">
                    <a:moveTo>
                      <a:pt x="4" y="6"/>
                    </a:moveTo>
                    <a:lnTo>
                      <a:pt x="4" y="3"/>
                    </a:lnTo>
                    <a:lnTo>
                      <a:pt x="0" y="0"/>
                    </a:lnTo>
                  </a:path>
                </a:pathLst>
              </a:custGeom>
              <a:noFill/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739" name="Freeform 543"/>
              <p:cNvSpPr>
                <a:spLocks/>
              </p:cNvSpPr>
              <p:nvPr userDrawn="1"/>
            </p:nvSpPr>
            <p:spPr bwMode="auto">
              <a:xfrm>
                <a:off x="2387" y="2687"/>
                <a:ext cx="7" cy="6"/>
              </a:xfrm>
              <a:custGeom>
                <a:avLst/>
                <a:gdLst>
                  <a:gd name="T0" fmla="*/ 3 w 7"/>
                  <a:gd name="T1" fmla="*/ 0 h 6"/>
                  <a:gd name="T2" fmla="*/ 0 w 7"/>
                  <a:gd name="T3" fmla="*/ 3 h 6"/>
                  <a:gd name="T4" fmla="*/ 3 w 7"/>
                  <a:gd name="T5" fmla="*/ 6 h 6"/>
                  <a:gd name="T6" fmla="*/ 7 w 7"/>
                  <a:gd name="T7" fmla="*/ 6 h 6"/>
                  <a:gd name="T8" fmla="*/ 7 w 7"/>
                  <a:gd name="T9" fmla="*/ 3 h 6"/>
                  <a:gd name="T10" fmla="*/ 3 w 7"/>
                  <a:gd name="T11" fmla="*/ 0 h 6"/>
                  <a:gd name="T12" fmla="*/ 3 w 7"/>
                  <a:gd name="T13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" h="6">
                    <a:moveTo>
                      <a:pt x="3" y="0"/>
                    </a:moveTo>
                    <a:lnTo>
                      <a:pt x="0" y="3"/>
                    </a:lnTo>
                    <a:lnTo>
                      <a:pt x="3" y="6"/>
                    </a:lnTo>
                    <a:lnTo>
                      <a:pt x="7" y="6"/>
                    </a:lnTo>
                    <a:lnTo>
                      <a:pt x="7" y="3"/>
                    </a:lnTo>
                    <a:lnTo>
                      <a:pt x="3" y="0"/>
                    </a:lnTo>
                    <a:lnTo>
                      <a:pt x="3" y="0"/>
                    </a:lnTo>
                    <a:close/>
                  </a:path>
                </a:pathLst>
              </a:custGeom>
              <a:solidFill>
                <a:srgbClr val="65625E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740" name="Freeform 544"/>
              <p:cNvSpPr>
                <a:spLocks/>
              </p:cNvSpPr>
              <p:nvPr userDrawn="1"/>
            </p:nvSpPr>
            <p:spPr bwMode="auto">
              <a:xfrm>
                <a:off x="3584" y="2922"/>
                <a:ext cx="6" cy="6"/>
              </a:xfrm>
              <a:custGeom>
                <a:avLst/>
                <a:gdLst>
                  <a:gd name="T0" fmla="*/ 1 w 6"/>
                  <a:gd name="T1" fmla="*/ 5 h 6"/>
                  <a:gd name="T2" fmla="*/ 0 w 6"/>
                  <a:gd name="T3" fmla="*/ 2 h 6"/>
                  <a:gd name="T4" fmla="*/ 2 w 6"/>
                  <a:gd name="T5" fmla="*/ 0 h 6"/>
                  <a:gd name="T6" fmla="*/ 6 w 6"/>
                  <a:gd name="T7" fmla="*/ 2 h 6"/>
                  <a:gd name="T8" fmla="*/ 4 w 6"/>
                  <a:gd name="T9" fmla="*/ 4 h 6"/>
                  <a:gd name="T10" fmla="*/ 2 w 6"/>
                  <a:gd name="T11" fmla="*/ 6 h 6"/>
                  <a:gd name="T12" fmla="*/ 1 w 6"/>
                  <a:gd name="T13" fmla="*/ 5 h 6"/>
                  <a:gd name="T14" fmla="*/ 1 w 6"/>
                  <a:gd name="T15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" h="6">
                    <a:moveTo>
                      <a:pt x="1" y="5"/>
                    </a:moveTo>
                    <a:lnTo>
                      <a:pt x="0" y="2"/>
                    </a:lnTo>
                    <a:lnTo>
                      <a:pt x="2" y="0"/>
                    </a:lnTo>
                    <a:lnTo>
                      <a:pt x="6" y="2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1" y="5"/>
                    </a:lnTo>
                    <a:lnTo>
                      <a:pt x="1" y="5"/>
                    </a:lnTo>
                    <a:close/>
                  </a:path>
                </a:pathLst>
              </a:custGeom>
              <a:solidFill>
                <a:srgbClr val="65625E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741" name="Freeform 545"/>
              <p:cNvSpPr>
                <a:spLocks noEditPoints="1"/>
              </p:cNvSpPr>
              <p:nvPr userDrawn="1"/>
            </p:nvSpPr>
            <p:spPr bwMode="auto">
              <a:xfrm>
                <a:off x="3490" y="2175"/>
                <a:ext cx="46" cy="27"/>
              </a:xfrm>
              <a:custGeom>
                <a:avLst/>
                <a:gdLst>
                  <a:gd name="T0" fmla="*/ 38 w 48"/>
                  <a:gd name="T1" fmla="*/ 4 h 29"/>
                  <a:gd name="T2" fmla="*/ 44 w 48"/>
                  <a:gd name="T3" fmla="*/ 4 h 29"/>
                  <a:gd name="T4" fmla="*/ 47 w 48"/>
                  <a:gd name="T5" fmla="*/ 6 h 29"/>
                  <a:gd name="T6" fmla="*/ 48 w 48"/>
                  <a:gd name="T7" fmla="*/ 4 h 29"/>
                  <a:gd name="T8" fmla="*/ 44 w 48"/>
                  <a:gd name="T9" fmla="*/ 0 h 29"/>
                  <a:gd name="T10" fmla="*/ 39 w 48"/>
                  <a:gd name="T11" fmla="*/ 1 h 29"/>
                  <a:gd name="T12" fmla="*/ 38 w 48"/>
                  <a:gd name="T13" fmla="*/ 4 h 29"/>
                  <a:gd name="T14" fmla="*/ 27 w 48"/>
                  <a:gd name="T15" fmla="*/ 16 h 29"/>
                  <a:gd name="T16" fmla="*/ 28 w 48"/>
                  <a:gd name="T17" fmla="*/ 11 h 29"/>
                  <a:gd name="T18" fmla="*/ 33 w 48"/>
                  <a:gd name="T19" fmla="*/ 8 h 29"/>
                  <a:gd name="T20" fmla="*/ 29 w 48"/>
                  <a:gd name="T21" fmla="*/ 7 h 29"/>
                  <a:gd name="T22" fmla="*/ 24 w 48"/>
                  <a:gd name="T23" fmla="*/ 7 h 29"/>
                  <a:gd name="T24" fmla="*/ 21 w 48"/>
                  <a:gd name="T25" fmla="*/ 9 h 29"/>
                  <a:gd name="T26" fmla="*/ 20 w 48"/>
                  <a:gd name="T27" fmla="*/ 12 h 29"/>
                  <a:gd name="T28" fmla="*/ 24 w 48"/>
                  <a:gd name="T29" fmla="*/ 14 h 29"/>
                  <a:gd name="T30" fmla="*/ 27 w 48"/>
                  <a:gd name="T31" fmla="*/ 16 h 29"/>
                  <a:gd name="T32" fmla="*/ 3 w 48"/>
                  <a:gd name="T33" fmla="*/ 29 h 29"/>
                  <a:gd name="T34" fmla="*/ 5 w 48"/>
                  <a:gd name="T35" fmla="*/ 26 h 29"/>
                  <a:gd name="T36" fmla="*/ 8 w 48"/>
                  <a:gd name="T37" fmla="*/ 24 h 29"/>
                  <a:gd name="T38" fmla="*/ 6 w 48"/>
                  <a:gd name="T39" fmla="*/ 21 h 29"/>
                  <a:gd name="T40" fmla="*/ 1 w 48"/>
                  <a:gd name="T41" fmla="*/ 23 h 29"/>
                  <a:gd name="T42" fmla="*/ 0 w 48"/>
                  <a:gd name="T43" fmla="*/ 26 h 29"/>
                  <a:gd name="T44" fmla="*/ 3 w 48"/>
                  <a:gd name="T45" fmla="*/ 29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48" h="29">
                    <a:moveTo>
                      <a:pt x="38" y="4"/>
                    </a:moveTo>
                    <a:cubicBezTo>
                      <a:pt x="44" y="4"/>
                      <a:pt x="44" y="4"/>
                      <a:pt x="44" y="4"/>
                    </a:cubicBezTo>
                    <a:cubicBezTo>
                      <a:pt x="47" y="6"/>
                      <a:pt x="47" y="6"/>
                      <a:pt x="47" y="6"/>
                    </a:cubicBezTo>
                    <a:cubicBezTo>
                      <a:pt x="48" y="4"/>
                      <a:pt x="48" y="4"/>
                      <a:pt x="48" y="4"/>
                    </a:cubicBezTo>
                    <a:cubicBezTo>
                      <a:pt x="44" y="0"/>
                      <a:pt x="44" y="0"/>
                      <a:pt x="44" y="0"/>
                    </a:cubicBezTo>
                    <a:cubicBezTo>
                      <a:pt x="39" y="1"/>
                      <a:pt x="39" y="1"/>
                      <a:pt x="39" y="1"/>
                    </a:cubicBezTo>
                    <a:cubicBezTo>
                      <a:pt x="38" y="4"/>
                      <a:pt x="38" y="4"/>
                      <a:pt x="38" y="4"/>
                    </a:cubicBezTo>
                    <a:close/>
                    <a:moveTo>
                      <a:pt x="27" y="16"/>
                    </a:moveTo>
                    <a:cubicBezTo>
                      <a:pt x="28" y="11"/>
                      <a:pt x="28" y="11"/>
                      <a:pt x="28" y="11"/>
                    </a:cubicBezTo>
                    <a:cubicBezTo>
                      <a:pt x="33" y="8"/>
                      <a:pt x="33" y="8"/>
                      <a:pt x="33" y="8"/>
                    </a:cubicBezTo>
                    <a:cubicBezTo>
                      <a:pt x="29" y="7"/>
                      <a:pt x="29" y="7"/>
                      <a:pt x="29" y="7"/>
                    </a:cubicBezTo>
                    <a:cubicBezTo>
                      <a:pt x="24" y="7"/>
                      <a:pt x="24" y="7"/>
                      <a:pt x="24" y="7"/>
                    </a:cubicBezTo>
                    <a:cubicBezTo>
                      <a:pt x="21" y="9"/>
                      <a:pt x="21" y="9"/>
                      <a:pt x="21" y="9"/>
                    </a:cubicBezTo>
                    <a:cubicBezTo>
                      <a:pt x="20" y="12"/>
                      <a:pt x="20" y="12"/>
                      <a:pt x="20" y="12"/>
                    </a:cubicBezTo>
                    <a:cubicBezTo>
                      <a:pt x="24" y="14"/>
                      <a:pt x="24" y="14"/>
                      <a:pt x="24" y="14"/>
                    </a:cubicBezTo>
                    <a:cubicBezTo>
                      <a:pt x="27" y="16"/>
                      <a:pt x="27" y="16"/>
                      <a:pt x="27" y="16"/>
                    </a:cubicBezTo>
                    <a:close/>
                    <a:moveTo>
                      <a:pt x="3" y="29"/>
                    </a:moveTo>
                    <a:cubicBezTo>
                      <a:pt x="5" y="26"/>
                      <a:pt x="5" y="26"/>
                      <a:pt x="5" y="26"/>
                    </a:cubicBezTo>
                    <a:cubicBezTo>
                      <a:pt x="8" y="24"/>
                      <a:pt x="8" y="24"/>
                      <a:pt x="8" y="24"/>
                    </a:cubicBezTo>
                    <a:cubicBezTo>
                      <a:pt x="6" y="21"/>
                      <a:pt x="6" y="21"/>
                      <a:pt x="6" y="21"/>
                    </a:cubicBezTo>
                    <a:cubicBezTo>
                      <a:pt x="1" y="23"/>
                      <a:pt x="1" y="23"/>
                      <a:pt x="1" y="23"/>
                    </a:cubicBezTo>
                    <a:cubicBezTo>
                      <a:pt x="0" y="26"/>
                      <a:pt x="0" y="26"/>
                      <a:pt x="0" y="26"/>
                    </a:cubicBezTo>
                    <a:lnTo>
                      <a:pt x="3" y="29"/>
                    </a:lnTo>
                    <a:close/>
                  </a:path>
                </a:pathLst>
              </a:custGeom>
              <a:solidFill>
                <a:srgbClr val="65625E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742" name="Freeform 546"/>
              <p:cNvSpPr>
                <a:spLocks/>
              </p:cNvSpPr>
              <p:nvPr userDrawn="1"/>
            </p:nvSpPr>
            <p:spPr bwMode="auto">
              <a:xfrm>
                <a:off x="3493" y="2198"/>
                <a:ext cx="5" cy="4"/>
              </a:xfrm>
              <a:custGeom>
                <a:avLst/>
                <a:gdLst>
                  <a:gd name="T0" fmla="*/ 0 w 5"/>
                  <a:gd name="T1" fmla="*/ 5 h 5"/>
                  <a:gd name="T2" fmla="*/ 2 w 5"/>
                  <a:gd name="T3" fmla="*/ 2 h 5"/>
                  <a:gd name="T4" fmla="*/ 5 w 5"/>
                  <a:gd name="T5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" h="5">
                    <a:moveTo>
                      <a:pt x="0" y="5"/>
                    </a:moveTo>
                    <a:cubicBezTo>
                      <a:pt x="2" y="2"/>
                      <a:pt x="2" y="2"/>
                      <a:pt x="2" y="2"/>
                    </a:cubicBezTo>
                    <a:cubicBezTo>
                      <a:pt x="5" y="0"/>
                      <a:pt x="5" y="0"/>
                      <a:pt x="5" y="0"/>
                    </a:cubicBezTo>
                  </a:path>
                </a:pathLst>
              </a:custGeom>
              <a:solidFill>
                <a:srgbClr val="65625E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743" name="Freeform 547"/>
              <p:cNvSpPr>
                <a:spLocks/>
              </p:cNvSpPr>
              <p:nvPr userDrawn="1"/>
            </p:nvSpPr>
            <p:spPr bwMode="auto">
              <a:xfrm>
                <a:off x="3493" y="2198"/>
                <a:ext cx="5" cy="4"/>
              </a:xfrm>
              <a:custGeom>
                <a:avLst/>
                <a:gdLst>
                  <a:gd name="T0" fmla="*/ 0 w 5"/>
                  <a:gd name="T1" fmla="*/ 5 h 5"/>
                  <a:gd name="T2" fmla="*/ 2 w 5"/>
                  <a:gd name="T3" fmla="*/ 2 h 5"/>
                  <a:gd name="T4" fmla="*/ 5 w 5"/>
                  <a:gd name="T5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" h="5">
                    <a:moveTo>
                      <a:pt x="0" y="5"/>
                    </a:moveTo>
                    <a:cubicBezTo>
                      <a:pt x="2" y="2"/>
                      <a:pt x="2" y="2"/>
                      <a:pt x="2" y="2"/>
                    </a:cubicBezTo>
                    <a:cubicBezTo>
                      <a:pt x="5" y="0"/>
                      <a:pt x="5" y="0"/>
                      <a:pt x="5" y="0"/>
                    </a:cubicBezTo>
                  </a:path>
                </a:pathLst>
              </a:custGeom>
              <a:noFill/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744" name="Freeform 548"/>
              <p:cNvSpPr>
                <a:spLocks/>
              </p:cNvSpPr>
              <p:nvPr userDrawn="1"/>
            </p:nvSpPr>
            <p:spPr bwMode="auto">
              <a:xfrm>
                <a:off x="3490" y="2195"/>
                <a:ext cx="8" cy="7"/>
              </a:xfrm>
              <a:custGeom>
                <a:avLst/>
                <a:gdLst>
                  <a:gd name="T0" fmla="*/ 3 w 8"/>
                  <a:gd name="T1" fmla="*/ 8 h 8"/>
                  <a:gd name="T2" fmla="*/ 5 w 8"/>
                  <a:gd name="T3" fmla="*/ 5 h 8"/>
                  <a:gd name="T4" fmla="*/ 8 w 8"/>
                  <a:gd name="T5" fmla="*/ 3 h 8"/>
                  <a:gd name="T6" fmla="*/ 6 w 8"/>
                  <a:gd name="T7" fmla="*/ 0 h 8"/>
                  <a:gd name="T8" fmla="*/ 1 w 8"/>
                  <a:gd name="T9" fmla="*/ 2 h 8"/>
                  <a:gd name="T10" fmla="*/ 0 w 8"/>
                  <a:gd name="T11" fmla="*/ 5 h 8"/>
                  <a:gd name="T12" fmla="*/ 3 w 8"/>
                  <a:gd name="T13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" h="8">
                    <a:moveTo>
                      <a:pt x="3" y="8"/>
                    </a:moveTo>
                    <a:cubicBezTo>
                      <a:pt x="5" y="5"/>
                      <a:pt x="5" y="5"/>
                      <a:pt x="5" y="5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0" y="5"/>
                      <a:pt x="0" y="5"/>
                      <a:pt x="0" y="5"/>
                    </a:cubicBezTo>
                    <a:lnTo>
                      <a:pt x="3" y="8"/>
                    </a:lnTo>
                    <a:close/>
                  </a:path>
                </a:pathLst>
              </a:custGeom>
              <a:solidFill>
                <a:srgbClr val="65625E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745" name="Freeform 549"/>
              <p:cNvSpPr>
                <a:spLocks/>
              </p:cNvSpPr>
              <p:nvPr userDrawn="1"/>
            </p:nvSpPr>
            <p:spPr bwMode="auto">
              <a:xfrm>
                <a:off x="3715" y="2262"/>
                <a:ext cx="6" cy="5"/>
              </a:xfrm>
              <a:custGeom>
                <a:avLst/>
                <a:gdLst>
                  <a:gd name="T0" fmla="*/ 0 w 6"/>
                  <a:gd name="T1" fmla="*/ 0 h 5"/>
                  <a:gd name="T2" fmla="*/ 0 w 6"/>
                  <a:gd name="T3" fmla="*/ 2 h 5"/>
                  <a:gd name="T4" fmla="*/ 4 w 6"/>
                  <a:gd name="T5" fmla="*/ 5 h 5"/>
                  <a:gd name="T6" fmla="*/ 6 w 6"/>
                  <a:gd name="T7" fmla="*/ 2 h 5"/>
                  <a:gd name="T8" fmla="*/ 6 w 6"/>
                  <a:gd name="T9" fmla="*/ 1 h 5"/>
                  <a:gd name="T10" fmla="*/ 0 w 6"/>
                  <a:gd name="T11" fmla="*/ 0 h 5"/>
                  <a:gd name="T12" fmla="*/ 0 w 6"/>
                  <a:gd name="T13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5">
                    <a:moveTo>
                      <a:pt x="0" y="0"/>
                    </a:moveTo>
                    <a:lnTo>
                      <a:pt x="0" y="2"/>
                    </a:lnTo>
                    <a:lnTo>
                      <a:pt x="4" y="5"/>
                    </a:lnTo>
                    <a:lnTo>
                      <a:pt x="6" y="2"/>
                    </a:lnTo>
                    <a:lnTo>
                      <a:pt x="6" y="1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65625E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746" name="Freeform 550"/>
              <p:cNvSpPr>
                <a:spLocks/>
              </p:cNvSpPr>
              <p:nvPr userDrawn="1"/>
            </p:nvSpPr>
            <p:spPr bwMode="auto">
              <a:xfrm>
                <a:off x="4073" y="2309"/>
                <a:ext cx="29" cy="79"/>
              </a:xfrm>
              <a:custGeom>
                <a:avLst/>
                <a:gdLst>
                  <a:gd name="T0" fmla="*/ 19 w 29"/>
                  <a:gd name="T1" fmla="*/ 79 h 79"/>
                  <a:gd name="T2" fmla="*/ 20 w 29"/>
                  <a:gd name="T3" fmla="*/ 76 h 79"/>
                  <a:gd name="T4" fmla="*/ 20 w 29"/>
                  <a:gd name="T5" fmla="*/ 75 h 79"/>
                  <a:gd name="T6" fmla="*/ 20 w 29"/>
                  <a:gd name="T7" fmla="*/ 73 h 79"/>
                  <a:gd name="T8" fmla="*/ 22 w 29"/>
                  <a:gd name="T9" fmla="*/ 71 h 79"/>
                  <a:gd name="T10" fmla="*/ 22 w 29"/>
                  <a:gd name="T11" fmla="*/ 66 h 79"/>
                  <a:gd name="T12" fmla="*/ 23 w 29"/>
                  <a:gd name="T13" fmla="*/ 62 h 79"/>
                  <a:gd name="T14" fmla="*/ 23 w 29"/>
                  <a:gd name="T15" fmla="*/ 57 h 79"/>
                  <a:gd name="T16" fmla="*/ 24 w 29"/>
                  <a:gd name="T17" fmla="*/ 57 h 79"/>
                  <a:gd name="T18" fmla="*/ 24 w 29"/>
                  <a:gd name="T19" fmla="*/ 53 h 79"/>
                  <a:gd name="T20" fmla="*/ 25 w 29"/>
                  <a:gd name="T21" fmla="*/ 48 h 79"/>
                  <a:gd name="T22" fmla="*/ 25 w 29"/>
                  <a:gd name="T23" fmla="*/ 46 h 79"/>
                  <a:gd name="T24" fmla="*/ 26 w 29"/>
                  <a:gd name="T25" fmla="*/ 39 h 79"/>
                  <a:gd name="T26" fmla="*/ 24 w 29"/>
                  <a:gd name="T27" fmla="*/ 39 h 79"/>
                  <a:gd name="T28" fmla="*/ 22 w 29"/>
                  <a:gd name="T29" fmla="*/ 39 h 79"/>
                  <a:gd name="T30" fmla="*/ 19 w 29"/>
                  <a:gd name="T31" fmla="*/ 41 h 79"/>
                  <a:gd name="T32" fmla="*/ 18 w 29"/>
                  <a:gd name="T33" fmla="*/ 39 h 79"/>
                  <a:gd name="T34" fmla="*/ 19 w 29"/>
                  <a:gd name="T35" fmla="*/ 33 h 79"/>
                  <a:gd name="T36" fmla="*/ 19 w 29"/>
                  <a:gd name="T37" fmla="*/ 24 h 79"/>
                  <a:gd name="T38" fmla="*/ 18 w 29"/>
                  <a:gd name="T39" fmla="*/ 23 h 79"/>
                  <a:gd name="T40" fmla="*/ 19 w 29"/>
                  <a:gd name="T41" fmla="*/ 19 h 79"/>
                  <a:gd name="T42" fmla="*/ 22 w 29"/>
                  <a:gd name="T43" fmla="*/ 19 h 79"/>
                  <a:gd name="T44" fmla="*/ 23 w 29"/>
                  <a:gd name="T45" fmla="*/ 20 h 79"/>
                  <a:gd name="T46" fmla="*/ 25 w 29"/>
                  <a:gd name="T47" fmla="*/ 21 h 79"/>
                  <a:gd name="T48" fmla="*/ 27 w 29"/>
                  <a:gd name="T49" fmla="*/ 19 h 79"/>
                  <a:gd name="T50" fmla="*/ 27 w 29"/>
                  <a:gd name="T51" fmla="*/ 18 h 79"/>
                  <a:gd name="T52" fmla="*/ 27 w 29"/>
                  <a:gd name="T53" fmla="*/ 18 h 79"/>
                  <a:gd name="T54" fmla="*/ 27 w 29"/>
                  <a:gd name="T55" fmla="*/ 16 h 79"/>
                  <a:gd name="T56" fmla="*/ 26 w 29"/>
                  <a:gd name="T57" fmla="*/ 13 h 79"/>
                  <a:gd name="T58" fmla="*/ 27 w 29"/>
                  <a:gd name="T59" fmla="*/ 7 h 79"/>
                  <a:gd name="T60" fmla="*/ 28 w 29"/>
                  <a:gd name="T61" fmla="*/ 3 h 79"/>
                  <a:gd name="T62" fmla="*/ 29 w 29"/>
                  <a:gd name="T63" fmla="*/ 0 h 79"/>
                  <a:gd name="T64" fmla="*/ 27 w 29"/>
                  <a:gd name="T65" fmla="*/ 1 h 79"/>
                  <a:gd name="T66" fmla="*/ 25 w 29"/>
                  <a:gd name="T67" fmla="*/ 4 h 79"/>
                  <a:gd name="T68" fmla="*/ 19 w 29"/>
                  <a:gd name="T69" fmla="*/ 5 h 79"/>
                  <a:gd name="T70" fmla="*/ 17 w 29"/>
                  <a:gd name="T71" fmla="*/ 4 h 79"/>
                  <a:gd name="T72" fmla="*/ 13 w 29"/>
                  <a:gd name="T73" fmla="*/ 9 h 79"/>
                  <a:gd name="T74" fmla="*/ 12 w 29"/>
                  <a:gd name="T75" fmla="*/ 21 h 79"/>
                  <a:gd name="T76" fmla="*/ 6 w 29"/>
                  <a:gd name="T77" fmla="*/ 32 h 79"/>
                  <a:gd name="T78" fmla="*/ 0 w 29"/>
                  <a:gd name="T79" fmla="*/ 39 h 79"/>
                  <a:gd name="T80" fmla="*/ 2 w 29"/>
                  <a:gd name="T81" fmla="*/ 40 h 79"/>
                  <a:gd name="T82" fmla="*/ 6 w 29"/>
                  <a:gd name="T83" fmla="*/ 45 h 79"/>
                  <a:gd name="T84" fmla="*/ 8 w 29"/>
                  <a:gd name="T85" fmla="*/ 52 h 79"/>
                  <a:gd name="T86" fmla="*/ 14 w 29"/>
                  <a:gd name="T87" fmla="*/ 59 h 79"/>
                  <a:gd name="T88" fmla="*/ 18 w 29"/>
                  <a:gd name="T89" fmla="*/ 68 h 79"/>
                  <a:gd name="T90" fmla="*/ 16 w 29"/>
                  <a:gd name="T91" fmla="*/ 73 h 79"/>
                  <a:gd name="T92" fmla="*/ 19 w 29"/>
                  <a:gd name="T93" fmla="*/ 79 h 79"/>
                  <a:gd name="T94" fmla="*/ 19 w 29"/>
                  <a:gd name="T95" fmla="*/ 79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9" h="79">
                    <a:moveTo>
                      <a:pt x="19" y="79"/>
                    </a:moveTo>
                    <a:lnTo>
                      <a:pt x="20" y="76"/>
                    </a:lnTo>
                    <a:lnTo>
                      <a:pt x="20" y="75"/>
                    </a:lnTo>
                    <a:lnTo>
                      <a:pt x="20" y="73"/>
                    </a:lnTo>
                    <a:lnTo>
                      <a:pt x="22" y="71"/>
                    </a:lnTo>
                    <a:lnTo>
                      <a:pt x="22" y="66"/>
                    </a:lnTo>
                    <a:lnTo>
                      <a:pt x="23" y="62"/>
                    </a:lnTo>
                    <a:lnTo>
                      <a:pt x="23" y="57"/>
                    </a:lnTo>
                    <a:lnTo>
                      <a:pt x="24" y="57"/>
                    </a:lnTo>
                    <a:lnTo>
                      <a:pt x="24" y="53"/>
                    </a:lnTo>
                    <a:lnTo>
                      <a:pt x="25" y="48"/>
                    </a:lnTo>
                    <a:lnTo>
                      <a:pt x="25" y="46"/>
                    </a:lnTo>
                    <a:lnTo>
                      <a:pt x="26" y="39"/>
                    </a:lnTo>
                    <a:lnTo>
                      <a:pt x="24" y="39"/>
                    </a:lnTo>
                    <a:lnTo>
                      <a:pt x="22" y="39"/>
                    </a:lnTo>
                    <a:lnTo>
                      <a:pt x="19" y="41"/>
                    </a:lnTo>
                    <a:lnTo>
                      <a:pt x="18" y="39"/>
                    </a:lnTo>
                    <a:lnTo>
                      <a:pt x="19" y="33"/>
                    </a:lnTo>
                    <a:lnTo>
                      <a:pt x="19" y="24"/>
                    </a:lnTo>
                    <a:lnTo>
                      <a:pt x="18" y="23"/>
                    </a:lnTo>
                    <a:lnTo>
                      <a:pt x="19" y="19"/>
                    </a:lnTo>
                    <a:lnTo>
                      <a:pt x="22" y="19"/>
                    </a:lnTo>
                    <a:lnTo>
                      <a:pt x="23" y="20"/>
                    </a:lnTo>
                    <a:lnTo>
                      <a:pt x="25" y="21"/>
                    </a:lnTo>
                    <a:lnTo>
                      <a:pt x="27" y="19"/>
                    </a:lnTo>
                    <a:lnTo>
                      <a:pt x="27" y="18"/>
                    </a:lnTo>
                    <a:lnTo>
                      <a:pt x="27" y="18"/>
                    </a:lnTo>
                    <a:lnTo>
                      <a:pt x="27" y="16"/>
                    </a:lnTo>
                    <a:lnTo>
                      <a:pt x="26" y="13"/>
                    </a:lnTo>
                    <a:lnTo>
                      <a:pt x="27" y="7"/>
                    </a:lnTo>
                    <a:lnTo>
                      <a:pt x="28" y="3"/>
                    </a:lnTo>
                    <a:lnTo>
                      <a:pt x="29" y="0"/>
                    </a:lnTo>
                    <a:lnTo>
                      <a:pt x="27" y="1"/>
                    </a:lnTo>
                    <a:lnTo>
                      <a:pt x="25" y="4"/>
                    </a:lnTo>
                    <a:lnTo>
                      <a:pt x="19" y="5"/>
                    </a:lnTo>
                    <a:lnTo>
                      <a:pt x="17" y="4"/>
                    </a:lnTo>
                    <a:lnTo>
                      <a:pt x="13" y="9"/>
                    </a:lnTo>
                    <a:lnTo>
                      <a:pt x="12" y="21"/>
                    </a:lnTo>
                    <a:lnTo>
                      <a:pt x="6" y="32"/>
                    </a:lnTo>
                    <a:lnTo>
                      <a:pt x="0" y="39"/>
                    </a:lnTo>
                    <a:lnTo>
                      <a:pt x="2" y="40"/>
                    </a:lnTo>
                    <a:lnTo>
                      <a:pt x="6" y="45"/>
                    </a:lnTo>
                    <a:lnTo>
                      <a:pt x="8" y="52"/>
                    </a:lnTo>
                    <a:lnTo>
                      <a:pt x="14" y="59"/>
                    </a:lnTo>
                    <a:lnTo>
                      <a:pt x="18" y="68"/>
                    </a:lnTo>
                    <a:lnTo>
                      <a:pt x="16" y="73"/>
                    </a:lnTo>
                    <a:lnTo>
                      <a:pt x="19" y="79"/>
                    </a:lnTo>
                    <a:lnTo>
                      <a:pt x="19" y="79"/>
                    </a:lnTo>
                    <a:close/>
                  </a:path>
                </a:pathLst>
              </a:custGeom>
              <a:solidFill>
                <a:srgbClr val="65625E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747" name="Freeform 551"/>
              <p:cNvSpPr>
                <a:spLocks/>
              </p:cNvSpPr>
              <p:nvPr userDrawn="1"/>
            </p:nvSpPr>
            <p:spPr bwMode="auto">
              <a:xfrm>
                <a:off x="4091" y="2328"/>
                <a:ext cx="9" cy="22"/>
              </a:xfrm>
              <a:custGeom>
                <a:avLst/>
                <a:gdLst>
                  <a:gd name="T0" fmla="*/ 6 w 9"/>
                  <a:gd name="T1" fmla="*/ 20 h 22"/>
                  <a:gd name="T2" fmla="*/ 4 w 9"/>
                  <a:gd name="T3" fmla="*/ 20 h 22"/>
                  <a:gd name="T4" fmla="*/ 1 w 9"/>
                  <a:gd name="T5" fmla="*/ 22 h 22"/>
                  <a:gd name="T6" fmla="*/ 0 w 9"/>
                  <a:gd name="T7" fmla="*/ 20 h 22"/>
                  <a:gd name="T8" fmla="*/ 1 w 9"/>
                  <a:gd name="T9" fmla="*/ 14 h 22"/>
                  <a:gd name="T10" fmla="*/ 1 w 9"/>
                  <a:gd name="T11" fmla="*/ 5 h 22"/>
                  <a:gd name="T12" fmla="*/ 0 w 9"/>
                  <a:gd name="T13" fmla="*/ 4 h 22"/>
                  <a:gd name="T14" fmla="*/ 1 w 9"/>
                  <a:gd name="T15" fmla="*/ 0 h 22"/>
                  <a:gd name="T16" fmla="*/ 4 w 9"/>
                  <a:gd name="T17" fmla="*/ 0 h 22"/>
                  <a:gd name="T18" fmla="*/ 5 w 9"/>
                  <a:gd name="T19" fmla="*/ 1 h 22"/>
                  <a:gd name="T20" fmla="*/ 7 w 9"/>
                  <a:gd name="T21" fmla="*/ 2 h 22"/>
                  <a:gd name="T22" fmla="*/ 9 w 9"/>
                  <a:gd name="T23" fmla="*/ 0 h 22"/>
                  <a:gd name="T24" fmla="*/ 9 w 9"/>
                  <a:gd name="T25" fmla="*/ 1 h 22"/>
                  <a:gd name="T26" fmla="*/ 9 w 9"/>
                  <a:gd name="T27" fmla="*/ 3 h 22"/>
                  <a:gd name="T28" fmla="*/ 9 w 9"/>
                  <a:gd name="T29" fmla="*/ 5 h 22"/>
                  <a:gd name="T30" fmla="*/ 8 w 9"/>
                  <a:gd name="T31" fmla="*/ 10 h 22"/>
                  <a:gd name="T32" fmla="*/ 8 w 9"/>
                  <a:gd name="T33" fmla="*/ 13 h 22"/>
                  <a:gd name="T34" fmla="*/ 8 w 9"/>
                  <a:gd name="T35" fmla="*/ 20 h 22"/>
                  <a:gd name="T36" fmla="*/ 6 w 9"/>
                  <a:gd name="T37" fmla="*/ 20 h 22"/>
                  <a:gd name="T38" fmla="*/ 6 w 9"/>
                  <a:gd name="T39" fmla="*/ 2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9" h="22">
                    <a:moveTo>
                      <a:pt x="6" y="20"/>
                    </a:moveTo>
                    <a:lnTo>
                      <a:pt x="4" y="20"/>
                    </a:lnTo>
                    <a:lnTo>
                      <a:pt x="1" y="22"/>
                    </a:lnTo>
                    <a:lnTo>
                      <a:pt x="0" y="20"/>
                    </a:lnTo>
                    <a:lnTo>
                      <a:pt x="1" y="14"/>
                    </a:lnTo>
                    <a:lnTo>
                      <a:pt x="1" y="5"/>
                    </a:lnTo>
                    <a:lnTo>
                      <a:pt x="0" y="4"/>
                    </a:lnTo>
                    <a:lnTo>
                      <a:pt x="1" y="0"/>
                    </a:lnTo>
                    <a:lnTo>
                      <a:pt x="4" y="0"/>
                    </a:lnTo>
                    <a:lnTo>
                      <a:pt x="5" y="1"/>
                    </a:lnTo>
                    <a:lnTo>
                      <a:pt x="7" y="2"/>
                    </a:lnTo>
                    <a:lnTo>
                      <a:pt x="9" y="0"/>
                    </a:lnTo>
                    <a:lnTo>
                      <a:pt x="9" y="1"/>
                    </a:lnTo>
                    <a:lnTo>
                      <a:pt x="9" y="3"/>
                    </a:lnTo>
                    <a:lnTo>
                      <a:pt x="9" y="5"/>
                    </a:lnTo>
                    <a:lnTo>
                      <a:pt x="8" y="10"/>
                    </a:lnTo>
                    <a:lnTo>
                      <a:pt x="8" y="13"/>
                    </a:lnTo>
                    <a:lnTo>
                      <a:pt x="8" y="20"/>
                    </a:lnTo>
                    <a:lnTo>
                      <a:pt x="6" y="20"/>
                    </a:lnTo>
                    <a:lnTo>
                      <a:pt x="6" y="20"/>
                    </a:lnTo>
                    <a:close/>
                  </a:path>
                </a:pathLst>
              </a:custGeom>
              <a:solidFill>
                <a:srgbClr val="65625E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748" name="Freeform 552"/>
              <p:cNvSpPr>
                <a:spLocks/>
              </p:cNvSpPr>
              <p:nvPr userDrawn="1"/>
            </p:nvSpPr>
            <p:spPr bwMode="auto">
              <a:xfrm>
                <a:off x="5783" y="2804"/>
                <a:ext cx="3" cy="6"/>
              </a:xfrm>
              <a:custGeom>
                <a:avLst/>
                <a:gdLst>
                  <a:gd name="T0" fmla="*/ 0 w 3"/>
                  <a:gd name="T1" fmla="*/ 0 h 6"/>
                  <a:gd name="T2" fmla="*/ 0 w 3"/>
                  <a:gd name="T3" fmla="*/ 3 h 6"/>
                  <a:gd name="T4" fmla="*/ 3 w 3"/>
                  <a:gd name="T5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" h="6">
                    <a:moveTo>
                      <a:pt x="0" y="0"/>
                    </a:moveTo>
                    <a:cubicBezTo>
                      <a:pt x="0" y="3"/>
                      <a:pt x="0" y="3"/>
                      <a:pt x="0" y="3"/>
                    </a:cubicBezTo>
                    <a:cubicBezTo>
                      <a:pt x="3" y="6"/>
                      <a:pt x="3" y="6"/>
                      <a:pt x="3" y="6"/>
                    </a:cubicBezTo>
                  </a:path>
                </a:pathLst>
              </a:custGeom>
              <a:solidFill>
                <a:srgbClr val="F68B1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749" name="Freeform 553"/>
              <p:cNvSpPr>
                <a:spLocks/>
              </p:cNvSpPr>
              <p:nvPr userDrawn="1"/>
            </p:nvSpPr>
            <p:spPr bwMode="auto">
              <a:xfrm>
                <a:off x="5550" y="2869"/>
                <a:ext cx="9" cy="9"/>
              </a:xfrm>
              <a:custGeom>
                <a:avLst/>
                <a:gdLst>
                  <a:gd name="T0" fmla="*/ 9 w 9"/>
                  <a:gd name="T1" fmla="*/ 0 h 9"/>
                  <a:gd name="T2" fmla="*/ 5 w 9"/>
                  <a:gd name="T3" fmla="*/ 5 h 9"/>
                  <a:gd name="T4" fmla="*/ 0 w 9"/>
                  <a:gd name="T5" fmla="*/ 9 h 9"/>
                  <a:gd name="T6" fmla="*/ 9 w 9"/>
                  <a:gd name="T7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" h="9">
                    <a:moveTo>
                      <a:pt x="9" y="0"/>
                    </a:moveTo>
                    <a:lnTo>
                      <a:pt x="5" y="5"/>
                    </a:lnTo>
                    <a:lnTo>
                      <a:pt x="0" y="9"/>
                    </a:lnTo>
                    <a:lnTo>
                      <a:pt x="9" y="0"/>
                    </a:lnTo>
                    <a:close/>
                  </a:path>
                </a:pathLst>
              </a:custGeom>
              <a:solidFill>
                <a:srgbClr val="F68B1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750" name="Freeform 554"/>
              <p:cNvSpPr>
                <a:spLocks/>
              </p:cNvSpPr>
              <p:nvPr userDrawn="1"/>
            </p:nvSpPr>
            <p:spPr bwMode="auto">
              <a:xfrm>
                <a:off x="5550" y="2869"/>
                <a:ext cx="9" cy="9"/>
              </a:xfrm>
              <a:custGeom>
                <a:avLst/>
                <a:gdLst>
                  <a:gd name="T0" fmla="*/ 9 w 9"/>
                  <a:gd name="T1" fmla="*/ 0 h 9"/>
                  <a:gd name="T2" fmla="*/ 5 w 9"/>
                  <a:gd name="T3" fmla="*/ 5 h 9"/>
                  <a:gd name="T4" fmla="*/ 0 w 9"/>
                  <a:gd name="T5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9" h="9">
                    <a:moveTo>
                      <a:pt x="9" y="0"/>
                    </a:moveTo>
                    <a:lnTo>
                      <a:pt x="5" y="5"/>
                    </a:lnTo>
                    <a:lnTo>
                      <a:pt x="0" y="9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751" name="Freeform 555"/>
              <p:cNvSpPr>
                <a:spLocks/>
              </p:cNvSpPr>
              <p:nvPr userDrawn="1"/>
            </p:nvSpPr>
            <p:spPr bwMode="auto">
              <a:xfrm>
                <a:off x="5410" y="2510"/>
                <a:ext cx="3" cy="5"/>
              </a:xfrm>
              <a:custGeom>
                <a:avLst/>
                <a:gdLst>
                  <a:gd name="T0" fmla="*/ 0 w 3"/>
                  <a:gd name="T1" fmla="*/ 0 h 5"/>
                  <a:gd name="T2" fmla="*/ 2 w 3"/>
                  <a:gd name="T3" fmla="*/ 1 h 5"/>
                  <a:gd name="T4" fmla="*/ 3 w 3"/>
                  <a:gd name="T5" fmla="*/ 5 h 5"/>
                  <a:gd name="T6" fmla="*/ 0 w 3"/>
                  <a:gd name="T7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5">
                    <a:moveTo>
                      <a:pt x="0" y="0"/>
                    </a:moveTo>
                    <a:lnTo>
                      <a:pt x="2" y="1"/>
                    </a:lnTo>
                    <a:lnTo>
                      <a:pt x="3" y="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68B1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752" name="Freeform 556"/>
              <p:cNvSpPr>
                <a:spLocks/>
              </p:cNvSpPr>
              <p:nvPr userDrawn="1"/>
            </p:nvSpPr>
            <p:spPr bwMode="auto">
              <a:xfrm>
                <a:off x="5410" y="2510"/>
                <a:ext cx="3" cy="5"/>
              </a:xfrm>
              <a:custGeom>
                <a:avLst/>
                <a:gdLst>
                  <a:gd name="T0" fmla="*/ 0 w 3"/>
                  <a:gd name="T1" fmla="*/ 0 h 5"/>
                  <a:gd name="T2" fmla="*/ 2 w 3"/>
                  <a:gd name="T3" fmla="*/ 1 h 5"/>
                  <a:gd name="T4" fmla="*/ 3 w 3"/>
                  <a:gd name="T5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" h="5">
                    <a:moveTo>
                      <a:pt x="0" y="0"/>
                    </a:moveTo>
                    <a:lnTo>
                      <a:pt x="2" y="1"/>
                    </a:lnTo>
                    <a:lnTo>
                      <a:pt x="3" y="5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753" name="Freeform 557"/>
              <p:cNvSpPr>
                <a:spLocks/>
              </p:cNvSpPr>
              <p:nvPr userDrawn="1"/>
            </p:nvSpPr>
            <p:spPr bwMode="auto">
              <a:xfrm>
                <a:off x="5389" y="2623"/>
                <a:ext cx="3" cy="5"/>
              </a:xfrm>
              <a:custGeom>
                <a:avLst/>
                <a:gdLst>
                  <a:gd name="T0" fmla="*/ 1 w 3"/>
                  <a:gd name="T1" fmla="*/ 0 h 5"/>
                  <a:gd name="T2" fmla="*/ 0 w 3"/>
                  <a:gd name="T3" fmla="*/ 2 h 5"/>
                  <a:gd name="T4" fmla="*/ 3 w 3"/>
                  <a:gd name="T5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" h="5">
                    <a:moveTo>
                      <a:pt x="1" y="0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3" y="5"/>
                      <a:pt x="3" y="5"/>
                      <a:pt x="3" y="5"/>
                    </a:cubicBezTo>
                  </a:path>
                </a:pathLst>
              </a:custGeom>
              <a:solidFill>
                <a:srgbClr val="F68B1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754" name="Freeform 558"/>
              <p:cNvSpPr>
                <a:spLocks noEditPoints="1"/>
              </p:cNvSpPr>
              <p:nvPr userDrawn="1"/>
            </p:nvSpPr>
            <p:spPr bwMode="auto">
              <a:xfrm>
                <a:off x="5150" y="2394"/>
                <a:ext cx="164" cy="355"/>
              </a:xfrm>
              <a:custGeom>
                <a:avLst/>
                <a:gdLst>
                  <a:gd name="T0" fmla="*/ 90 w 164"/>
                  <a:gd name="T1" fmla="*/ 5 h 355"/>
                  <a:gd name="T2" fmla="*/ 105 w 164"/>
                  <a:gd name="T3" fmla="*/ 28 h 355"/>
                  <a:gd name="T4" fmla="*/ 100 w 164"/>
                  <a:gd name="T5" fmla="*/ 52 h 355"/>
                  <a:gd name="T6" fmla="*/ 92 w 164"/>
                  <a:gd name="T7" fmla="*/ 62 h 355"/>
                  <a:gd name="T8" fmla="*/ 95 w 164"/>
                  <a:gd name="T9" fmla="*/ 77 h 355"/>
                  <a:gd name="T10" fmla="*/ 112 w 164"/>
                  <a:gd name="T11" fmla="*/ 86 h 355"/>
                  <a:gd name="T12" fmla="*/ 120 w 164"/>
                  <a:gd name="T13" fmla="*/ 97 h 355"/>
                  <a:gd name="T14" fmla="*/ 134 w 164"/>
                  <a:gd name="T15" fmla="*/ 102 h 355"/>
                  <a:gd name="T16" fmla="*/ 127 w 164"/>
                  <a:gd name="T17" fmla="*/ 122 h 355"/>
                  <a:gd name="T18" fmla="*/ 140 w 164"/>
                  <a:gd name="T19" fmla="*/ 128 h 355"/>
                  <a:gd name="T20" fmla="*/ 164 w 164"/>
                  <a:gd name="T21" fmla="*/ 129 h 355"/>
                  <a:gd name="T22" fmla="*/ 152 w 164"/>
                  <a:gd name="T23" fmla="*/ 146 h 355"/>
                  <a:gd name="T24" fmla="*/ 135 w 164"/>
                  <a:gd name="T25" fmla="*/ 157 h 355"/>
                  <a:gd name="T26" fmla="*/ 127 w 164"/>
                  <a:gd name="T27" fmla="*/ 170 h 355"/>
                  <a:gd name="T28" fmla="*/ 107 w 164"/>
                  <a:gd name="T29" fmla="*/ 182 h 355"/>
                  <a:gd name="T30" fmla="*/ 104 w 164"/>
                  <a:gd name="T31" fmla="*/ 198 h 355"/>
                  <a:gd name="T32" fmla="*/ 123 w 164"/>
                  <a:gd name="T33" fmla="*/ 222 h 355"/>
                  <a:gd name="T34" fmla="*/ 125 w 164"/>
                  <a:gd name="T35" fmla="*/ 240 h 355"/>
                  <a:gd name="T36" fmla="*/ 130 w 164"/>
                  <a:gd name="T37" fmla="*/ 269 h 355"/>
                  <a:gd name="T38" fmla="*/ 142 w 164"/>
                  <a:gd name="T39" fmla="*/ 296 h 355"/>
                  <a:gd name="T40" fmla="*/ 149 w 164"/>
                  <a:gd name="T41" fmla="*/ 322 h 355"/>
                  <a:gd name="T42" fmla="*/ 135 w 164"/>
                  <a:gd name="T43" fmla="*/ 346 h 355"/>
                  <a:gd name="T44" fmla="*/ 129 w 164"/>
                  <a:gd name="T45" fmla="*/ 342 h 355"/>
                  <a:gd name="T46" fmla="*/ 133 w 164"/>
                  <a:gd name="T47" fmla="*/ 332 h 355"/>
                  <a:gd name="T48" fmla="*/ 134 w 164"/>
                  <a:gd name="T49" fmla="*/ 316 h 355"/>
                  <a:gd name="T50" fmla="*/ 129 w 164"/>
                  <a:gd name="T51" fmla="*/ 291 h 355"/>
                  <a:gd name="T52" fmla="*/ 122 w 164"/>
                  <a:gd name="T53" fmla="*/ 284 h 355"/>
                  <a:gd name="T54" fmla="*/ 114 w 164"/>
                  <a:gd name="T55" fmla="*/ 262 h 355"/>
                  <a:gd name="T56" fmla="*/ 109 w 164"/>
                  <a:gd name="T57" fmla="*/ 238 h 355"/>
                  <a:gd name="T58" fmla="*/ 105 w 164"/>
                  <a:gd name="T59" fmla="*/ 231 h 355"/>
                  <a:gd name="T60" fmla="*/ 93 w 164"/>
                  <a:gd name="T61" fmla="*/ 216 h 355"/>
                  <a:gd name="T62" fmla="*/ 93 w 164"/>
                  <a:gd name="T63" fmla="*/ 219 h 355"/>
                  <a:gd name="T64" fmla="*/ 82 w 164"/>
                  <a:gd name="T65" fmla="*/ 227 h 355"/>
                  <a:gd name="T66" fmla="*/ 78 w 164"/>
                  <a:gd name="T67" fmla="*/ 235 h 355"/>
                  <a:gd name="T68" fmla="*/ 62 w 164"/>
                  <a:gd name="T69" fmla="*/ 241 h 355"/>
                  <a:gd name="T70" fmla="*/ 51 w 164"/>
                  <a:gd name="T71" fmla="*/ 245 h 355"/>
                  <a:gd name="T72" fmla="*/ 48 w 164"/>
                  <a:gd name="T73" fmla="*/ 238 h 355"/>
                  <a:gd name="T74" fmla="*/ 52 w 164"/>
                  <a:gd name="T75" fmla="*/ 216 h 355"/>
                  <a:gd name="T76" fmla="*/ 44 w 164"/>
                  <a:gd name="T77" fmla="*/ 196 h 355"/>
                  <a:gd name="T78" fmla="*/ 33 w 164"/>
                  <a:gd name="T79" fmla="*/ 178 h 355"/>
                  <a:gd name="T80" fmla="*/ 21 w 164"/>
                  <a:gd name="T81" fmla="*/ 176 h 355"/>
                  <a:gd name="T82" fmla="*/ 28 w 164"/>
                  <a:gd name="T83" fmla="*/ 177 h 355"/>
                  <a:gd name="T84" fmla="*/ 29 w 164"/>
                  <a:gd name="T85" fmla="*/ 167 h 355"/>
                  <a:gd name="T86" fmla="*/ 14 w 164"/>
                  <a:gd name="T87" fmla="*/ 163 h 355"/>
                  <a:gd name="T88" fmla="*/ 12 w 164"/>
                  <a:gd name="T89" fmla="*/ 161 h 355"/>
                  <a:gd name="T90" fmla="*/ 0 w 164"/>
                  <a:gd name="T91" fmla="*/ 141 h 355"/>
                  <a:gd name="T92" fmla="*/ 10 w 164"/>
                  <a:gd name="T93" fmla="*/ 125 h 355"/>
                  <a:gd name="T94" fmla="*/ 18 w 164"/>
                  <a:gd name="T95" fmla="*/ 106 h 355"/>
                  <a:gd name="T96" fmla="*/ 27 w 164"/>
                  <a:gd name="T97" fmla="*/ 87 h 355"/>
                  <a:gd name="T98" fmla="*/ 37 w 164"/>
                  <a:gd name="T99" fmla="*/ 51 h 355"/>
                  <a:gd name="T100" fmla="*/ 53 w 164"/>
                  <a:gd name="T101" fmla="*/ 21 h 355"/>
                  <a:gd name="T102" fmla="*/ 71 w 164"/>
                  <a:gd name="T103" fmla="*/ 13 h 355"/>
                  <a:gd name="T104" fmla="*/ 74 w 164"/>
                  <a:gd name="T105" fmla="*/ 1 h 355"/>
                  <a:gd name="T106" fmla="*/ 24 w 164"/>
                  <a:gd name="T107" fmla="*/ 189 h 3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64" h="355">
                    <a:moveTo>
                      <a:pt x="74" y="1"/>
                    </a:moveTo>
                    <a:lnTo>
                      <a:pt x="77" y="0"/>
                    </a:lnTo>
                    <a:lnTo>
                      <a:pt x="81" y="2"/>
                    </a:lnTo>
                    <a:lnTo>
                      <a:pt x="84" y="0"/>
                    </a:lnTo>
                    <a:lnTo>
                      <a:pt x="88" y="0"/>
                    </a:lnTo>
                    <a:lnTo>
                      <a:pt x="90" y="5"/>
                    </a:lnTo>
                    <a:lnTo>
                      <a:pt x="94" y="8"/>
                    </a:lnTo>
                    <a:lnTo>
                      <a:pt x="95" y="14"/>
                    </a:lnTo>
                    <a:lnTo>
                      <a:pt x="98" y="14"/>
                    </a:lnTo>
                    <a:lnTo>
                      <a:pt x="102" y="17"/>
                    </a:lnTo>
                    <a:lnTo>
                      <a:pt x="102" y="22"/>
                    </a:lnTo>
                    <a:lnTo>
                      <a:pt x="105" y="28"/>
                    </a:lnTo>
                    <a:lnTo>
                      <a:pt x="105" y="34"/>
                    </a:lnTo>
                    <a:lnTo>
                      <a:pt x="104" y="42"/>
                    </a:lnTo>
                    <a:lnTo>
                      <a:pt x="104" y="44"/>
                    </a:lnTo>
                    <a:lnTo>
                      <a:pt x="104" y="47"/>
                    </a:lnTo>
                    <a:lnTo>
                      <a:pt x="100" y="48"/>
                    </a:lnTo>
                    <a:lnTo>
                      <a:pt x="100" y="52"/>
                    </a:lnTo>
                    <a:lnTo>
                      <a:pt x="98" y="52"/>
                    </a:lnTo>
                    <a:lnTo>
                      <a:pt x="97" y="55"/>
                    </a:lnTo>
                    <a:lnTo>
                      <a:pt x="98" y="58"/>
                    </a:lnTo>
                    <a:lnTo>
                      <a:pt x="97" y="61"/>
                    </a:lnTo>
                    <a:lnTo>
                      <a:pt x="94" y="60"/>
                    </a:lnTo>
                    <a:lnTo>
                      <a:pt x="92" y="62"/>
                    </a:lnTo>
                    <a:lnTo>
                      <a:pt x="90" y="65"/>
                    </a:lnTo>
                    <a:lnTo>
                      <a:pt x="92" y="67"/>
                    </a:lnTo>
                    <a:lnTo>
                      <a:pt x="90" y="70"/>
                    </a:lnTo>
                    <a:lnTo>
                      <a:pt x="90" y="73"/>
                    </a:lnTo>
                    <a:lnTo>
                      <a:pt x="93" y="74"/>
                    </a:lnTo>
                    <a:lnTo>
                      <a:pt x="95" y="77"/>
                    </a:lnTo>
                    <a:lnTo>
                      <a:pt x="97" y="79"/>
                    </a:lnTo>
                    <a:lnTo>
                      <a:pt x="97" y="83"/>
                    </a:lnTo>
                    <a:lnTo>
                      <a:pt x="99" y="87"/>
                    </a:lnTo>
                    <a:lnTo>
                      <a:pt x="103" y="84"/>
                    </a:lnTo>
                    <a:lnTo>
                      <a:pt x="111" y="83"/>
                    </a:lnTo>
                    <a:lnTo>
                      <a:pt x="112" y="86"/>
                    </a:lnTo>
                    <a:lnTo>
                      <a:pt x="111" y="87"/>
                    </a:lnTo>
                    <a:lnTo>
                      <a:pt x="113" y="89"/>
                    </a:lnTo>
                    <a:lnTo>
                      <a:pt x="118" y="88"/>
                    </a:lnTo>
                    <a:lnTo>
                      <a:pt x="119" y="91"/>
                    </a:lnTo>
                    <a:lnTo>
                      <a:pt x="118" y="94"/>
                    </a:lnTo>
                    <a:lnTo>
                      <a:pt x="120" y="97"/>
                    </a:lnTo>
                    <a:lnTo>
                      <a:pt x="125" y="98"/>
                    </a:lnTo>
                    <a:lnTo>
                      <a:pt x="124" y="100"/>
                    </a:lnTo>
                    <a:lnTo>
                      <a:pt x="125" y="102"/>
                    </a:lnTo>
                    <a:lnTo>
                      <a:pt x="126" y="101"/>
                    </a:lnTo>
                    <a:lnTo>
                      <a:pt x="130" y="100"/>
                    </a:lnTo>
                    <a:lnTo>
                      <a:pt x="134" y="102"/>
                    </a:lnTo>
                    <a:lnTo>
                      <a:pt x="134" y="105"/>
                    </a:lnTo>
                    <a:lnTo>
                      <a:pt x="133" y="107"/>
                    </a:lnTo>
                    <a:lnTo>
                      <a:pt x="133" y="110"/>
                    </a:lnTo>
                    <a:lnTo>
                      <a:pt x="128" y="116"/>
                    </a:lnTo>
                    <a:lnTo>
                      <a:pt x="126" y="120"/>
                    </a:lnTo>
                    <a:lnTo>
                      <a:pt x="127" y="122"/>
                    </a:lnTo>
                    <a:lnTo>
                      <a:pt x="128" y="121"/>
                    </a:lnTo>
                    <a:lnTo>
                      <a:pt x="135" y="121"/>
                    </a:lnTo>
                    <a:lnTo>
                      <a:pt x="135" y="123"/>
                    </a:lnTo>
                    <a:lnTo>
                      <a:pt x="138" y="120"/>
                    </a:lnTo>
                    <a:lnTo>
                      <a:pt x="141" y="123"/>
                    </a:lnTo>
                    <a:lnTo>
                      <a:pt x="140" y="128"/>
                    </a:lnTo>
                    <a:lnTo>
                      <a:pt x="141" y="131"/>
                    </a:lnTo>
                    <a:lnTo>
                      <a:pt x="146" y="133"/>
                    </a:lnTo>
                    <a:lnTo>
                      <a:pt x="148" y="130"/>
                    </a:lnTo>
                    <a:lnTo>
                      <a:pt x="152" y="130"/>
                    </a:lnTo>
                    <a:lnTo>
                      <a:pt x="160" y="128"/>
                    </a:lnTo>
                    <a:lnTo>
                      <a:pt x="164" y="129"/>
                    </a:lnTo>
                    <a:lnTo>
                      <a:pt x="164" y="132"/>
                    </a:lnTo>
                    <a:lnTo>
                      <a:pt x="158" y="136"/>
                    </a:lnTo>
                    <a:lnTo>
                      <a:pt x="153" y="137"/>
                    </a:lnTo>
                    <a:lnTo>
                      <a:pt x="153" y="141"/>
                    </a:lnTo>
                    <a:lnTo>
                      <a:pt x="150" y="144"/>
                    </a:lnTo>
                    <a:lnTo>
                      <a:pt x="152" y="146"/>
                    </a:lnTo>
                    <a:lnTo>
                      <a:pt x="149" y="149"/>
                    </a:lnTo>
                    <a:lnTo>
                      <a:pt x="147" y="149"/>
                    </a:lnTo>
                    <a:lnTo>
                      <a:pt x="145" y="153"/>
                    </a:lnTo>
                    <a:lnTo>
                      <a:pt x="139" y="153"/>
                    </a:lnTo>
                    <a:lnTo>
                      <a:pt x="135" y="155"/>
                    </a:lnTo>
                    <a:lnTo>
                      <a:pt x="135" y="157"/>
                    </a:lnTo>
                    <a:lnTo>
                      <a:pt x="137" y="160"/>
                    </a:lnTo>
                    <a:lnTo>
                      <a:pt x="136" y="162"/>
                    </a:lnTo>
                    <a:lnTo>
                      <a:pt x="131" y="161"/>
                    </a:lnTo>
                    <a:lnTo>
                      <a:pt x="128" y="163"/>
                    </a:lnTo>
                    <a:lnTo>
                      <a:pt x="128" y="168"/>
                    </a:lnTo>
                    <a:lnTo>
                      <a:pt x="127" y="170"/>
                    </a:lnTo>
                    <a:lnTo>
                      <a:pt x="124" y="170"/>
                    </a:lnTo>
                    <a:lnTo>
                      <a:pt x="119" y="172"/>
                    </a:lnTo>
                    <a:lnTo>
                      <a:pt x="112" y="170"/>
                    </a:lnTo>
                    <a:lnTo>
                      <a:pt x="109" y="173"/>
                    </a:lnTo>
                    <a:lnTo>
                      <a:pt x="110" y="180"/>
                    </a:lnTo>
                    <a:lnTo>
                      <a:pt x="107" y="182"/>
                    </a:lnTo>
                    <a:lnTo>
                      <a:pt x="107" y="188"/>
                    </a:lnTo>
                    <a:lnTo>
                      <a:pt x="108" y="191"/>
                    </a:lnTo>
                    <a:lnTo>
                      <a:pt x="106" y="193"/>
                    </a:lnTo>
                    <a:lnTo>
                      <a:pt x="101" y="194"/>
                    </a:lnTo>
                    <a:lnTo>
                      <a:pt x="101" y="197"/>
                    </a:lnTo>
                    <a:lnTo>
                      <a:pt x="104" y="198"/>
                    </a:lnTo>
                    <a:lnTo>
                      <a:pt x="106" y="203"/>
                    </a:lnTo>
                    <a:lnTo>
                      <a:pt x="109" y="206"/>
                    </a:lnTo>
                    <a:lnTo>
                      <a:pt x="110" y="209"/>
                    </a:lnTo>
                    <a:lnTo>
                      <a:pt x="115" y="212"/>
                    </a:lnTo>
                    <a:lnTo>
                      <a:pt x="120" y="221"/>
                    </a:lnTo>
                    <a:lnTo>
                      <a:pt x="123" y="222"/>
                    </a:lnTo>
                    <a:lnTo>
                      <a:pt x="125" y="227"/>
                    </a:lnTo>
                    <a:lnTo>
                      <a:pt x="126" y="231"/>
                    </a:lnTo>
                    <a:lnTo>
                      <a:pt x="129" y="233"/>
                    </a:lnTo>
                    <a:lnTo>
                      <a:pt x="129" y="236"/>
                    </a:lnTo>
                    <a:lnTo>
                      <a:pt x="127" y="237"/>
                    </a:lnTo>
                    <a:lnTo>
                      <a:pt x="125" y="240"/>
                    </a:lnTo>
                    <a:lnTo>
                      <a:pt x="127" y="249"/>
                    </a:lnTo>
                    <a:lnTo>
                      <a:pt x="127" y="252"/>
                    </a:lnTo>
                    <a:lnTo>
                      <a:pt x="123" y="254"/>
                    </a:lnTo>
                    <a:lnTo>
                      <a:pt x="126" y="260"/>
                    </a:lnTo>
                    <a:lnTo>
                      <a:pt x="126" y="263"/>
                    </a:lnTo>
                    <a:lnTo>
                      <a:pt x="130" y="269"/>
                    </a:lnTo>
                    <a:lnTo>
                      <a:pt x="135" y="274"/>
                    </a:lnTo>
                    <a:lnTo>
                      <a:pt x="141" y="278"/>
                    </a:lnTo>
                    <a:lnTo>
                      <a:pt x="143" y="285"/>
                    </a:lnTo>
                    <a:lnTo>
                      <a:pt x="142" y="288"/>
                    </a:lnTo>
                    <a:lnTo>
                      <a:pt x="143" y="292"/>
                    </a:lnTo>
                    <a:lnTo>
                      <a:pt x="142" y="296"/>
                    </a:lnTo>
                    <a:lnTo>
                      <a:pt x="144" y="298"/>
                    </a:lnTo>
                    <a:lnTo>
                      <a:pt x="145" y="303"/>
                    </a:lnTo>
                    <a:lnTo>
                      <a:pt x="147" y="306"/>
                    </a:lnTo>
                    <a:lnTo>
                      <a:pt x="147" y="311"/>
                    </a:lnTo>
                    <a:lnTo>
                      <a:pt x="149" y="316"/>
                    </a:lnTo>
                    <a:lnTo>
                      <a:pt x="149" y="322"/>
                    </a:lnTo>
                    <a:lnTo>
                      <a:pt x="147" y="323"/>
                    </a:lnTo>
                    <a:lnTo>
                      <a:pt x="142" y="334"/>
                    </a:lnTo>
                    <a:lnTo>
                      <a:pt x="138" y="337"/>
                    </a:lnTo>
                    <a:lnTo>
                      <a:pt x="137" y="341"/>
                    </a:lnTo>
                    <a:lnTo>
                      <a:pt x="136" y="344"/>
                    </a:lnTo>
                    <a:lnTo>
                      <a:pt x="135" y="346"/>
                    </a:lnTo>
                    <a:lnTo>
                      <a:pt x="135" y="346"/>
                    </a:lnTo>
                    <a:lnTo>
                      <a:pt x="133" y="349"/>
                    </a:lnTo>
                    <a:lnTo>
                      <a:pt x="132" y="355"/>
                    </a:lnTo>
                    <a:lnTo>
                      <a:pt x="131" y="349"/>
                    </a:lnTo>
                    <a:lnTo>
                      <a:pt x="130" y="345"/>
                    </a:lnTo>
                    <a:lnTo>
                      <a:pt x="129" y="342"/>
                    </a:lnTo>
                    <a:lnTo>
                      <a:pt x="129" y="341"/>
                    </a:lnTo>
                    <a:lnTo>
                      <a:pt x="130" y="341"/>
                    </a:lnTo>
                    <a:lnTo>
                      <a:pt x="132" y="340"/>
                    </a:lnTo>
                    <a:lnTo>
                      <a:pt x="134" y="336"/>
                    </a:lnTo>
                    <a:lnTo>
                      <a:pt x="134" y="333"/>
                    </a:lnTo>
                    <a:lnTo>
                      <a:pt x="133" y="332"/>
                    </a:lnTo>
                    <a:lnTo>
                      <a:pt x="134" y="327"/>
                    </a:lnTo>
                    <a:lnTo>
                      <a:pt x="135" y="327"/>
                    </a:lnTo>
                    <a:lnTo>
                      <a:pt x="136" y="325"/>
                    </a:lnTo>
                    <a:lnTo>
                      <a:pt x="134" y="321"/>
                    </a:lnTo>
                    <a:lnTo>
                      <a:pt x="137" y="319"/>
                    </a:lnTo>
                    <a:lnTo>
                      <a:pt x="134" y="316"/>
                    </a:lnTo>
                    <a:lnTo>
                      <a:pt x="132" y="313"/>
                    </a:lnTo>
                    <a:lnTo>
                      <a:pt x="132" y="308"/>
                    </a:lnTo>
                    <a:lnTo>
                      <a:pt x="133" y="306"/>
                    </a:lnTo>
                    <a:lnTo>
                      <a:pt x="132" y="303"/>
                    </a:lnTo>
                    <a:lnTo>
                      <a:pt x="130" y="302"/>
                    </a:lnTo>
                    <a:lnTo>
                      <a:pt x="129" y="291"/>
                    </a:lnTo>
                    <a:lnTo>
                      <a:pt x="127" y="289"/>
                    </a:lnTo>
                    <a:lnTo>
                      <a:pt x="126" y="285"/>
                    </a:lnTo>
                    <a:lnTo>
                      <a:pt x="124" y="281"/>
                    </a:lnTo>
                    <a:lnTo>
                      <a:pt x="123" y="286"/>
                    </a:lnTo>
                    <a:lnTo>
                      <a:pt x="122" y="287"/>
                    </a:lnTo>
                    <a:lnTo>
                      <a:pt x="122" y="284"/>
                    </a:lnTo>
                    <a:lnTo>
                      <a:pt x="120" y="281"/>
                    </a:lnTo>
                    <a:lnTo>
                      <a:pt x="120" y="274"/>
                    </a:lnTo>
                    <a:lnTo>
                      <a:pt x="118" y="270"/>
                    </a:lnTo>
                    <a:lnTo>
                      <a:pt x="117" y="267"/>
                    </a:lnTo>
                    <a:lnTo>
                      <a:pt x="119" y="265"/>
                    </a:lnTo>
                    <a:lnTo>
                      <a:pt x="114" y="262"/>
                    </a:lnTo>
                    <a:lnTo>
                      <a:pt x="114" y="257"/>
                    </a:lnTo>
                    <a:lnTo>
                      <a:pt x="113" y="257"/>
                    </a:lnTo>
                    <a:lnTo>
                      <a:pt x="111" y="243"/>
                    </a:lnTo>
                    <a:lnTo>
                      <a:pt x="109" y="242"/>
                    </a:lnTo>
                    <a:lnTo>
                      <a:pt x="108" y="238"/>
                    </a:lnTo>
                    <a:lnTo>
                      <a:pt x="109" y="238"/>
                    </a:lnTo>
                    <a:lnTo>
                      <a:pt x="109" y="236"/>
                    </a:lnTo>
                    <a:lnTo>
                      <a:pt x="107" y="232"/>
                    </a:lnTo>
                    <a:lnTo>
                      <a:pt x="108" y="230"/>
                    </a:lnTo>
                    <a:lnTo>
                      <a:pt x="108" y="228"/>
                    </a:lnTo>
                    <a:lnTo>
                      <a:pt x="107" y="230"/>
                    </a:lnTo>
                    <a:lnTo>
                      <a:pt x="105" y="231"/>
                    </a:lnTo>
                    <a:lnTo>
                      <a:pt x="102" y="231"/>
                    </a:lnTo>
                    <a:lnTo>
                      <a:pt x="101" y="227"/>
                    </a:lnTo>
                    <a:lnTo>
                      <a:pt x="99" y="225"/>
                    </a:lnTo>
                    <a:lnTo>
                      <a:pt x="96" y="218"/>
                    </a:lnTo>
                    <a:lnTo>
                      <a:pt x="95" y="216"/>
                    </a:lnTo>
                    <a:lnTo>
                      <a:pt x="93" y="216"/>
                    </a:lnTo>
                    <a:lnTo>
                      <a:pt x="93" y="215"/>
                    </a:lnTo>
                    <a:lnTo>
                      <a:pt x="89" y="213"/>
                    </a:lnTo>
                    <a:lnTo>
                      <a:pt x="92" y="215"/>
                    </a:lnTo>
                    <a:lnTo>
                      <a:pt x="91" y="215"/>
                    </a:lnTo>
                    <a:lnTo>
                      <a:pt x="91" y="217"/>
                    </a:lnTo>
                    <a:lnTo>
                      <a:pt x="93" y="219"/>
                    </a:lnTo>
                    <a:lnTo>
                      <a:pt x="92" y="223"/>
                    </a:lnTo>
                    <a:lnTo>
                      <a:pt x="91" y="225"/>
                    </a:lnTo>
                    <a:lnTo>
                      <a:pt x="91" y="227"/>
                    </a:lnTo>
                    <a:lnTo>
                      <a:pt x="86" y="231"/>
                    </a:lnTo>
                    <a:lnTo>
                      <a:pt x="84" y="230"/>
                    </a:lnTo>
                    <a:lnTo>
                      <a:pt x="82" y="227"/>
                    </a:lnTo>
                    <a:lnTo>
                      <a:pt x="81" y="227"/>
                    </a:lnTo>
                    <a:lnTo>
                      <a:pt x="82" y="230"/>
                    </a:lnTo>
                    <a:lnTo>
                      <a:pt x="82" y="232"/>
                    </a:lnTo>
                    <a:lnTo>
                      <a:pt x="84" y="233"/>
                    </a:lnTo>
                    <a:lnTo>
                      <a:pt x="81" y="235"/>
                    </a:lnTo>
                    <a:lnTo>
                      <a:pt x="78" y="235"/>
                    </a:lnTo>
                    <a:lnTo>
                      <a:pt x="76" y="234"/>
                    </a:lnTo>
                    <a:lnTo>
                      <a:pt x="75" y="237"/>
                    </a:lnTo>
                    <a:lnTo>
                      <a:pt x="67" y="241"/>
                    </a:lnTo>
                    <a:lnTo>
                      <a:pt x="64" y="240"/>
                    </a:lnTo>
                    <a:lnTo>
                      <a:pt x="63" y="241"/>
                    </a:lnTo>
                    <a:lnTo>
                      <a:pt x="62" y="241"/>
                    </a:lnTo>
                    <a:lnTo>
                      <a:pt x="62" y="240"/>
                    </a:lnTo>
                    <a:lnTo>
                      <a:pt x="61" y="242"/>
                    </a:lnTo>
                    <a:lnTo>
                      <a:pt x="59" y="243"/>
                    </a:lnTo>
                    <a:lnTo>
                      <a:pt x="57" y="240"/>
                    </a:lnTo>
                    <a:lnTo>
                      <a:pt x="52" y="243"/>
                    </a:lnTo>
                    <a:lnTo>
                      <a:pt x="51" y="245"/>
                    </a:lnTo>
                    <a:lnTo>
                      <a:pt x="49" y="245"/>
                    </a:lnTo>
                    <a:lnTo>
                      <a:pt x="49" y="240"/>
                    </a:lnTo>
                    <a:lnTo>
                      <a:pt x="54" y="237"/>
                    </a:lnTo>
                    <a:lnTo>
                      <a:pt x="55" y="231"/>
                    </a:lnTo>
                    <a:lnTo>
                      <a:pt x="52" y="236"/>
                    </a:lnTo>
                    <a:lnTo>
                      <a:pt x="48" y="238"/>
                    </a:lnTo>
                    <a:lnTo>
                      <a:pt x="45" y="243"/>
                    </a:lnTo>
                    <a:lnTo>
                      <a:pt x="45" y="241"/>
                    </a:lnTo>
                    <a:lnTo>
                      <a:pt x="45" y="240"/>
                    </a:lnTo>
                    <a:lnTo>
                      <a:pt x="44" y="237"/>
                    </a:lnTo>
                    <a:lnTo>
                      <a:pt x="47" y="218"/>
                    </a:lnTo>
                    <a:lnTo>
                      <a:pt x="52" y="216"/>
                    </a:lnTo>
                    <a:lnTo>
                      <a:pt x="50" y="215"/>
                    </a:lnTo>
                    <a:lnTo>
                      <a:pt x="47" y="207"/>
                    </a:lnTo>
                    <a:lnTo>
                      <a:pt x="46" y="200"/>
                    </a:lnTo>
                    <a:lnTo>
                      <a:pt x="44" y="199"/>
                    </a:lnTo>
                    <a:lnTo>
                      <a:pt x="43" y="197"/>
                    </a:lnTo>
                    <a:lnTo>
                      <a:pt x="44" y="196"/>
                    </a:lnTo>
                    <a:lnTo>
                      <a:pt x="42" y="194"/>
                    </a:lnTo>
                    <a:lnTo>
                      <a:pt x="41" y="190"/>
                    </a:lnTo>
                    <a:lnTo>
                      <a:pt x="39" y="187"/>
                    </a:lnTo>
                    <a:lnTo>
                      <a:pt x="37" y="184"/>
                    </a:lnTo>
                    <a:lnTo>
                      <a:pt x="37" y="181"/>
                    </a:lnTo>
                    <a:lnTo>
                      <a:pt x="33" y="178"/>
                    </a:lnTo>
                    <a:lnTo>
                      <a:pt x="34" y="181"/>
                    </a:lnTo>
                    <a:lnTo>
                      <a:pt x="35" y="188"/>
                    </a:lnTo>
                    <a:lnTo>
                      <a:pt x="28" y="186"/>
                    </a:lnTo>
                    <a:lnTo>
                      <a:pt x="25" y="182"/>
                    </a:lnTo>
                    <a:lnTo>
                      <a:pt x="25" y="180"/>
                    </a:lnTo>
                    <a:lnTo>
                      <a:pt x="21" y="176"/>
                    </a:lnTo>
                    <a:lnTo>
                      <a:pt x="20" y="175"/>
                    </a:lnTo>
                    <a:lnTo>
                      <a:pt x="24" y="175"/>
                    </a:lnTo>
                    <a:lnTo>
                      <a:pt x="25" y="178"/>
                    </a:lnTo>
                    <a:lnTo>
                      <a:pt x="28" y="179"/>
                    </a:lnTo>
                    <a:lnTo>
                      <a:pt x="29" y="178"/>
                    </a:lnTo>
                    <a:lnTo>
                      <a:pt x="28" y="177"/>
                    </a:lnTo>
                    <a:lnTo>
                      <a:pt x="25" y="175"/>
                    </a:lnTo>
                    <a:lnTo>
                      <a:pt x="28" y="173"/>
                    </a:lnTo>
                    <a:lnTo>
                      <a:pt x="30" y="175"/>
                    </a:lnTo>
                    <a:lnTo>
                      <a:pt x="33" y="174"/>
                    </a:lnTo>
                    <a:lnTo>
                      <a:pt x="33" y="172"/>
                    </a:lnTo>
                    <a:lnTo>
                      <a:pt x="29" y="167"/>
                    </a:lnTo>
                    <a:lnTo>
                      <a:pt x="23" y="166"/>
                    </a:lnTo>
                    <a:lnTo>
                      <a:pt x="21" y="163"/>
                    </a:lnTo>
                    <a:lnTo>
                      <a:pt x="19" y="163"/>
                    </a:lnTo>
                    <a:lnTo>
                      <a:pt x="18" y="160"/>
                    </a:lnTo>
                    <a:lnTo>
                      <a:pt x="18" y="163"/>
                    </a:lnTo>
                    <a:lnTo>
                      <a:pt x="14" y="163"/>
                    </a:lnTo>
                    <a:lnTo>
                      <a:pt x="14" y="162"/>
                    </a:lnTo>
                    <a:lnTo>
                      <a:pt x="17" y="158"/>
                    </a:lnTo>
                    <a:lnTo>
                      <a:pt x="13" y="159"/>
                    </a:lnTo>
                    <a:lnTo>
                      <a:pt x="10" y="156"/>
                    </a:lnTo>
                    <a:lnTo>
                      <a:pt x="10" y="158"/>
                    </a:lnTo>
                    <a:lnTo>
                      <a:pt x="12" y="161"/>
                    </a:lnTo>
                    <a:lnTo>
                      <a:pt x="3" y="154"/>
                    </a:lnTo>
                    <a:lnTo>
                      <a:pt x="2" y="150"/>
                    </a:lnTo>
                    <a:lnTo>
                      <a:pt x="0" y="146"/>
                    </a:lnTo>
                    <a:lnTo>
                      <a:pt x="0" y="146"/>
                    </a:lnTo>
                    <a:lnTo>
                      <a:pt x="0" y="145"/>
                    </a:lnTo>
                    <a:lnTo>
                      <a:pt x="0" y="141"/>
                    </a:lnTo>
                    <a:lnTo>
                      <a:pt x="4" y="137"/>
                    </a:lnTo>
                    <a:lnTo>
                      <a:pt x="6" y="138"/>
                    </a:lnTo>
                    <a:lnTo>
                      <a:pt x="8" y="133"/>
                    </a:lnTo>
                    <a:lnTo>
                      <a:pt x="8" y="128"/>
                    </a:lnTo>
                    <a:lnTo>
                      <a:pt x="8" y="125"/>
                    </a:lnTo>
                    <a:lnTo>
                      <a:pt x="10" y="125"/>
                    </a:lnTo>
                    <a:lnTo>
                      <a:pt x="12" y="124"/>
                    </a:lnTo>
                    <a:lnTo>
                      <a:pt x="15" y="118"/>
                    </a:lnTo>
                    <a:lnTo>
                      <a:pt x="14" y="114"/>
                    </a:lnTo>
                    <a:lnTo>
                      <a:pt x="14" y="110"/>
                    </a:lnTo>
                    <a:lnTo>
                      <a:pt x="14" y="106"/>
                    </a:lnTo>
                    <a:lnTo>
                      <a:pt x="18" y="106"/>
                    </a:lnTo>
                    <a:lnTo>
                      <a:pt x="18" y="100"/>
                    </a:lnTo>
                    <a:lnTo>
                      <a:pt x="18" y="95"/>
                    </a:lnTo>
                    <a:lnTo>
                      <a:pt x="16" y="86"/>
                    </a:lnTo>
                    <a:lnTo>
                      <a:pt x="20" y="86"/>
                    </a:lnTo>
                    <a:lnTo>
                      <a:pt x="22" y="87"/>
                    </a:lnTo>
                    <a:lnTo>
                      <a:pt x="27" y="87"/>
                    </a:lnTo>
                    <a:lnTo>
                      <a:pt x="30" y="81"/>
                    </a:lnTo>
                    <a:lnTo>
                      <a:pt x="32" y="73"/>
                    </a:lnTo>
                    <a:lnTo>
                      <a:pt x="36" y="64"/>
                    </a:lnTo>
                    <a:lnTo>
                      <a:pt x="32" y="62"/>
                    </a:lnTo>
                    <a:lnTo>
                      <a:pt x="31" y="60"/>
                    </a:lnTo>
                    <a:lnTo>
                      <a:pt x="37" y="51"/>
                    </a:lnTo>
                    <a:lnTo>
                      <a:pt x="39" y="44"/>
                    </a:lnTo>
                    <a:lnTo>
                      <a:pt x="38" y="42"/>
                    </a:lnTo>
                    <a:lnTo>
                      <a:pt x="39" y="38"/>
                    </a:lnTo>
                    <a:lnTo>
                      <a:pt x="44" y="28"/>
                    </a:lnTo>
                    <a:lnTo>
                      <a:pt x="48" y="27"/>
                    </a:lnTo>
                    <a:lnTo>
                      <a:pt x="53" y="21"/>
                    </a:lnTo>
                    <a:lnTo>
                      <a:pt x="55" y="18"/>
                    </a:lnTo>
                    <a:lnTo>
                      <a:pt x="61" y="16"/>
                    </a:lnTo>
                    <a:lnTo>
                      <a:pt x="65" y="12"/>
                    </a:lnTo>
                    <a:lnTo>
                      <a:pt x="69" y="15"/>
                    </a:lnTo>
                    <a:lnTo>
                      <a:pt x="72" y="17"/>
                    </a:lnTo>
                    <a:lnTo>
                      <a:pt x="71" y="13"/>
                    </a:lnTo>
                    <a:lnTo>
                      <a:pt x="71" y="8"/>
                    </a:lnTo>
                    <a:lnTo>
                      <a:pt x="75" y="5"/>
                    </a:lnTo>
                    <a:lnTo>
                      <a:pt x="75" y="2"/>
                    </a:lnTo>
                    <a:lnTo>
                      <a:pt x="74" y="1"/>
                    </a:lnTo>
                    <a:lnTo>
                      <a:pt x="74" y="1"/>
                    </a:lnTo>
                    <a:lnTo>
                      <a:pt x="74" y="1"/>
                    </a:lnTo>
                    <a:close/>
                    <a:moveTo>
                      <a:pt x="24" y="189"/>
                    </a:moveTo>
                    <a:lnTo>
                      <a:pt x="25" y="192"/>
                    </a:lnTo>
                    <a:lnTo>
                      <a:pt x="29" y="194"/>
                    </a:lnTo>
                    <a:lnTo>
                      <a:pt x="30" y="191"/>
                    </a:lnTo>
                    <a:lnTo>
                      <a:pt x="27" y="188"/>
                    </a:lnTo>
                    <a:lnTo>
                      <a:pt x="24" y="189"/>
                    </a:lnTo>
                    <a:lnTo>
                      <a:pt x="24" y="189"/>
                    </a:lnTo>
                    <a:close/>
                  </a:path>
                </a:pathLst>
              </a:custGeom>
              <a:solidFill>
                <a:srgbClr val="F68B1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755" name="Freeform 559"/>
              <p:cNvSpPr>
                <a:spLocks/>
              </p:cNvSpPr>
              <p:nvPr userDrawn="1"/>
            </p:nvSpPr>
            <p:spPr bwMode="auto">
              <a:xfrm>
                <a:off x="3785" y="1391"/>
                <a:ext cx="5" cy="2"/>
              </a:xfrm>
              <a:custGeom>
                <a:avLst/>
                <a:gdLst>
                  <a:gd name="T0" fmla="*/ 6 w 6"/>
                  <a:gd name="T1" fmla="*/ 0 h 2"/>
                  <a:gd name="T2" fmla="*/ 5 w 6"/>
                  <a:gd name="T3" fmla="*/ 2 h 2"/>
                  <a:gd name="T4" fmla="*/ 0 w 6"/>
                  <a:gd name="T5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2">
                    <a:moveTo>
                      <a:pt x="6" y="0"/>
                    </a:moveTo>
                    <a:cubicBezTo>
                      <a:pt x="5" y="2"/>
                      <a:pt x="5" y="2"/>
                      <a:pt x="5" y="2"/>
                    </a:cubicBezTo>
                    <a:cubicBezTo>
                      <a:pt x="0" y="2"/>
                      <a:pt x="0" y="2"/>
                      <a:pt x="0" y="2"/>
                    </a:cubicBezTo>
                  </a:path>
                </a:pathLst>
              </a:custGeom>
              <a:solidFill>
                <a:srgbClr val="F68B1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756" name="Freeform 560"/>
              <p:cNvSpPr>
                <a:spLocks noEditPoints="1"/>
              </p:cNvSpPr>
              <p:nvPr userDrawn="1"/>
            </p:nvSpPr>
            <p:spPr bwMode="auto">
              <a:xfrm>
                <a:off x="3637" y="1424"/>
                <a:ext cx="183" cy="400"/>
              </a:xfrm>
              <a:custGeom>
                <a:avLst/>
                <a:gdLst>
                  <a:gd name="T0" fmla="*/ 7 w 183"/>
                  <a:gd name="T1" fmla="*/ 289 h 400"/>
                  <a:gd name="T2" fmla="*/ 19 w 183"/>
                  <a:gd name="T3" fmla="*/ 270 h 400"/>
                  <a:gd name="T4" fmla="*/ 22 w 183"/>
                  <a:gd name="T5" fmla="*/ 236 h 400"/>
                  <a:gd name="T6" fmla="*/ 9 w 183"/>
                  <a:gd name="T7" fmla="*/ 196 h 400"/>
                  <a:gd name="T8" fmla="*/ 27 w 183"/>
                  <a:gd name="T9" fmla="*/ 162 h 400"/>
                  <a:gd name="T10" fmla="*/ 37 w 183"/>
                  <a:gd name="T11" fmla="*/ 113 h 400"/>
                  <a:gd name="T12" fmla="*/ 51 w 183"/>
                  <a:gd name="T13" fmla="*/ 90 h 400"/>
                  <a:gd name="T14" fmla="*/ 59 w 183"/>
                  <a:gd name="T15" fmla="*/ 52 h 400"/>
                  <a:gd name="T16" fmla="*/ 78 w 183"/>
                  <a:gd name="T17" fmla="*/ 35 h 400"/>
                  <a:gd name="T18" fmla="*/ 86 w 183"/>
                  <a:gd name="T19" fmla="*/ 24 h 400"/>
                  <a:gd name="T20" fmla="*/ 108 w 183"/>
                  <a:gd name="T21" fmla="*/ 21 h 400"/>
                  <a:gd name="T22" fmla="*/ 115 w 183"/>
                  <a:gd name="T23" fmla="*/ 10 h 400"/>
                  <a:gd name="T24" fmla="*/ 124 w 183"/>
                  <a:gd name="T25" fmla="*/ 4 h 400"/>
                  <a:gd name="T26" fmla="*/ 155 w 183"/>
                  <a:gd name="T27" fmla="*/ 24 h 400"/>
                  <a:gd name="T28" fmla="*/ 166 w 183"/>
                  <a:gd name="T29" fmla="*/ 38 h 400"/>
                  <a:gd name="T30" fmla="*/ 171 w 183"/>
                  <a:gd name="T31" fmla="*/ 61 h 400"/>
                  <a:gd name="T32" fmla="*/ 175 w 183"/>
                  <a:gd name="T33" fmla="*/ 91 h 400"/>
                  <a:gd name="T34" fmla="*/ 176 w 183"/>
                  <a:gd name="T35" fmla="*/ 106 h 400"/>
                  <a:gd name="T36" fmla="*/ 158 w 183"/>
                  <a:gd name="T37" fmla="*/ 107 h 400"/>
                  <a:gd name="T38" fmla="*/ 146 w 183"/>
                  <a:gd name="T39" fmla="*/ 108 h 400"/>
                  <a:gd name="T40" fmla="*/ 145 w 183"/>
                  <a:gd name="T41" fmla="*/ 122 h 400"/>
                  <a:gd name="T42" fmla="*/ 145 w 183"/>
                  <a:gd name="T43" fmla="*/ 126 h 400"/>
                  <a:gd name="T44" fmla="*/ 146 w 183"/>
                  <a:gd name="T45" fmla="*/ 143 h 400"/>
                  <a:gd name="T46" fmla="*/ 140 w 183"/>
                  <a:gd name="T47" fmla="*/ 160 h 400"/>
                  <a:gd name="T48" fmla="*/ 125 w 183"/>
                  <a:gd name="T49" fmla="*/ 176 h 400"/>
                  <a:gd name="T50" fmla="*/ 113 w 183"/>
                  <a:gd name="T51" fmla="*/ 187 h 400"/>
                  <a:gd name="T52" fmla="*/ 103 w 183"/>
                  <a:gd name="T53" fmla="*/ 191 h 400"/>
                  <a:gd name="T54" fmla="*/ 94 w 183"/>
                  <a:gd name="T55" fmla="*/ 207 h 400"/>
                  <a:gd name="T56" fmla="*/ 89 w 183"/>
                  <a:gd name="T57" fmla="*/ 227 h 400"/>
                  <a:gd name="T58" fmla="*/ 89 w 183"/>
                  <a:gd name="T59" fmla="*/ 242 h 400"/>
                  <a:gd name="T60" fmla="*/ 94 w 183"/>
                  <a:gd name="T61" fmla="*/ 257 h 400"/>
                  <a:gd name="T62" fmla="*/ 110 w 183"/>
                  <a:gd name="T63" fmla="*/ 269 h 400"/>
                  <a:gd name="T64" fmla="*/ 110 w 183"/>
                  <a:gd name="T65" fmla="*/ 294 h 400"/>
                  <a:gd name="T66" fmla="*/ 94 w 183"/>
                  <a:gd name="T67" fmla="*/ 290 h 400"/>
                  <a:gd name="T68" fmla="*/ 79 w 183"/>
                  <a:gd name="T69" fmla="*/ 292 h 400"/>
                  <a:gd name="T70" fmla="*/ 90 w 183"/>
                  <a:gd name="T71" fmla="*/ 295 h 400"/>
                  <a:gd name="T72" fmla="*/ 111 w 183"/>
                  <a:gd name="T73" fmla="*/ 299 h 400"/>
                  <a:gd name="T74" fmla="*/ 101 w 183"/>
                  <a:gd name="T75" fmla="*/ 304 h 400"/>
                  <a:gd name="T76" fmla="*/ 92 w 183"/>
                  <a:gd name="T77" fmla="*/ 315 h 400"/>
                  <a:gd name="T78" fmla="*/ 85 w 183"/>
                  <a:gd name="T79" fmla="*/ 323 h 400"/>
                  <a:gd name="T80" fmla="*/ 87 w 183"/>
                  <a:gd name="T81" fmla="*/ 337 h 400"/>
                  <a:gd name="T82" fmla="*/ 89 w 183"/>
                  <a:gd name="T83" fmla="*/ 359 h 400"/>
                  <a:gd name="T84" fmla="*/ 72 w 183"/>
                  <a:gd name="T85" fmla="*/ 381 h 400"/>
                  <a:gd name="T86" fmla="*/ 53 w 183"/>
                  <a:gd name="T87" fmla="*/ 393 h 400"/>
                  <a:gd name="T88" fmla="*/ 33 w 183"/>
                  <a:gd name="T89" fmla="*/ 395 h 400"/>
                  <a:gd name="T90" fmla="*/ 32 w 183"/>
                  <a:gd name="T91" fmla="*/ 374 h 400"/>
                  <a:gd name="T92" fmla="*/ 15 w 183"/>
                  <a:gd name="T93" fmla="*/ 352 h 400"/>
                  <a:gd name="T94" fmla="*/ 7 w 183"/>
                  <a:gd name="T95" fmla="*/ 334 h 400"/>
                  <a:gd name="T96" fmla="*/ 6 w 183"/>
                  <a:gd name="T97" fmla="*/ 326 h 400"/>
                  <a:gd name="T98" fmla="*/ 1 w 183"/>
                  <a:gd name="T99" fmla="*/ 316 h 400"/>
                  <a:gd name="T100" fmla="*/ 113 w 183"/>
                  <a:gd name="T101" fmla="*/ 299 h 400"/>
                  <a:gd name="T102" fmla="*/ 110 w 183"/>
                  <a:gd name="T103" fmla="*/ 296 h 400"/>
                  <a:gd name="T104" fmla="*/ 4 w 183"/>
                  <a:gd name="T105" fmla="*/ 331 h 400"/>
                  <a:gd name="T106" fmla="*/ 127 w 183"/>
                  <a:gd name="T107" fmla="*/ 320 h 400"/>
                  <a:gd name="T108" fmla="*/ 130 w 183"/>
                  <a:gd name="T109" fmla="*/ 335 h 400"/>
                  <a:gd name="T110" fmla="*/ 119 w 183"/>
                  <a:gd name="T111" fmla="*/ 360 h 400"/>
                  <a:gd name="T112" fmla="*/ 126 w 183"/>
                  <a:gd name="T113" fmla="*/ 342 h 400"/>
                  <a:gd name="T114" fmla="*/ 115 w 183"/>
                  <a:gd name="T115" fmla="*/ 345 h 400"/>
                  <a:gd name="T116" fmla="*/ 115 w 183"/>
                  <a:gd name="T117" fmla="*/ 363 h 400"/>
                  <a:gd name="T118" fmla="*/ 89 w 183"/>
                  <a:gd name="T119" fmla="*/ 382 h 400"/>
                  <a:gd name="T120" fmla="*/ 91 w 183"/>
                  <a:gd name="T121" fmla="*/ 357 h 4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83" h="400">
                    <a:moveTo>
                      <a:pt x="3" y="306"/>
                    </a:moveTo>
                    <a:lnTo>
                      <a:pt x="4" y="308"/>
                    </a:lnTo>
                    <a:lnTo>
                      <a:pt x="7" y="311"/>
                    </a:lnTo>
                    <a:lnTo>
                      <a:pt x="9" y="308"/>
                    </a:lnTo>
                    <a:lnTo>
                      <a:pt x="8" y="297"/>
                    </a:lnTo>
                    <a:lnTo>
                      <a:pt x="5" y="292"/>
                    </a:lnTo>
                    <a:lnTo>
                      <a:pt x="7" y="289"/>
                    </a:lnTo>
                    <a:lnTo>
                      <a:pt x="9" y="288"/>
                    </a:lnTo>
                    <a:lnTo>
                      <a:pt x="7" y="284"/>
                    </a:lnTo>
                    <a:lnTo>
                      <a:pt x="8" y="282"/>
                    </a:lnTo>
                    <a:lnTo>
                      <a:pt x="14" y="281"/>
                    </a:lnTo>
                    <a:lnTo>
                      <a:pt x="16" y="278"/>
                    </a:lnTo>
                    <a:lnTo>
                      <a:pt x="16" y="276"/>
                    </a:lnTo>
                    <a:lnTo>
                      <a:pt x="19" y="270"/>
                    </a:lnTo>
                    <a:lnTo>
                      <a:pt x="16" y="266"/>
                    </a:lnTo>
                    <a:lnTo>
                      <a:pt x="14" y="258"/>
                    </a:lnTo>
                    <a:lnTo>
                      <a:pt x="11" y="252"/>
                    </a:lnTo>
                    <a:lnTo>
                      <a:pt x="11" y="249"/>
                    </a:lnTo>
                    <a:lnTo>
                      <a:pt x="20" y="246"/>
                    </a:lnTo>
                    <a:lnTo>
                      <a:pt x="20" y="240"/>
                    </a:lnTo>
                    <a:lnTo>
                      <a:pt x="22" y="236"/>
                    </a:lnTo>
                    <a:lnTo>
                      <a:pt x="15" y="230"/>
                    </a:lnTo>
                    <a:lnTo>
                      <a:pt x="10" y="227"/>
                    </a:lnTo>
                    <a:lnTo>
                      <a:pt x="9" y="220"/>
                    </a:lnTo>
                    <a:lnTo>
                      <a:pt x="11" y="213"/>
                    </a:lnTo>
                    <a:lnTo>
                      <a:pt x="10" y="207"/>
                    </a:lnTo>
                    <a:lnTo>
                      <a:pt x="7" y="202"/>
                    </a:lnTo>
                    <a:lnTo>
                      <a:pt x="9" y="196"/>
                    </a:lnTo>
                    <a:lnTo>
                      <a:pt x="8" y="187"/>
                    </a:lnTo>
                    <a:lnTo>
                      <a:pt x="6" y="178"/>
                    </a:lnTo>
                    <a:lnTo>
                      <a:pt x="8" y="170"/>
                    </a:lnTo>
                    <a:lnTo>
                      <a:pt x="12" y="163"/>
                    </a:lnTo>
                    <a:lnTo>
                      <a:pt x="16" y="161"/>
                    </a:lnTo>
                    <a:lnTo>
                      <a:pt x="21" y="162"/>
                    </a:lnTo>
                    <a:lnTo>
                      <a:pt x="27" y="162"/>
                    </a:lnTo>
                    <a:lnTo>
                      <a:pt x="30" y="158"/>
                    </a:lnTo>
                    <a:lnTo>
                      <a:pt x="29" y="151"/>
                    </a:lnTo>
                    <a:lnTo>
                      <a:pt x="28" y="148"/>
                    </a:lnTo>
                    <a:lnTo>
                      <a:pt x="28" y="145"/>
                    </a:lnTo>
                    <a:lnTo>
                      <a:pt x="34" y="129"/>
                    </a:lnTo>
                    <a:lnTo>
                      <a:pt x="35" y="121"/>
                    </a:lnTo>
                    <a:lnTo>
                      <a:pt x="37" y="113"/>
                    </a:lnTo>
                    <a:lnTo>
                      <a:pt x="39" y="108"/>
                    </a:lnTo>
                    <a:lnTo>
                      <a:pt x="38" y="103"/>
                    </a:lnTo>
                    <a:lnTo>
                      <a:pt x="36" y="101"/>
                    </a:lnTo>
                    <a:lnTo>
                      <a:pt x="36" y="98"/>
                    </a:lnTo>
                    <a:lnTo>
                      <a:pt x="42" y="94"/>
                    </a:lnTo>
                    <a:lnTo>
                      <a:pt x="47" y="93"/>
                    </a:lnTo>
                    <a:lnTo>
                      <a:pt x="51" y="90"/>
                    </a:lnTo>
                    <a:lnTo>
                      <a:pt x="51" y="86"/>
                    </a:lnTo>
                    <a:lnTo>
                      <a:pt x="56" y="78"/>
                    </a:lnTo>
                    <a:lnTo>
                      <a:pt x="61" y="71"/>
                    </a:lnTo>
                    <a:lnTo>
                      <a:pt x="63" y="67"/>
                    </a:lnTo>
                    <a:lnTo>
                      <a:pt x="61" y="61"/>
                    </a:lnTo>
                    <a:lnTo>
                      <a:pt x="59" y="60"/>
                    </a:lnTo>
                    <a:lnTo>
                      <a:pt x="59" y="52"/>
                    </a:lnTo>
                    <a:lnTo>
                      <a:pt x="61" y="50"/>
                    </a:lnTo>
                    <a:lnTo>
                      <a:pt x="64" y="47"/>
                    </a:lnTo>
                    <a:lnTo>
                      <a:pt x="65" y="43"/>
                    </a:lnTo>
                    <a:lnTo>
                      <a:pt x="67" y="41"/>
                    </a:lnTo>
                    <a:lnTo>
                      <a:pt x="69" y="36"/>
                    </a:lnTo>
                    <a:lnTo>
                      <a:pt x="73" y="33"/>
                    </a:lnTo>
                    <a:lnTo>
                      <a:pt x="78" y="35"/>
                    </a:lnTo>
                    <a:lnTo>
                      <a:pt x="79" y="37"/>
                    </a:lnTo>
                    <a:lnTo>
                      <a:pt x="82" y="37"/>
                    </a:lnTo>
                    <a:lnTo>
                      <a:pt x="85" y="34"/>
                    </a:lnTo>
                    <a:lnTo>
                      <a:pt x="82" y="30"/>
                    </a:lnTo>
                    <a:lnTo>
                      <a:pt x="85" y="28"/>
                    </a:lnTo>
                    <a:lnTo>
                      <a:pt x="85" y="26"/>
                    </a:lnTo>
                    <a:lnTo>
                      <a:pt x="86" y="24"/>
                    </a:lnTo>
                    <a:lnTo>
                      <a:pt x="83" y="20"/>
                    </a:lnTo>
                    <a:lnTo>
                      <a:pt x="85" y="18"/>
                    </a:lnTo>
                    <a:lnTo>
                      <a:pt x="89" y="19"/>
                    </a:lnTo>
                    <a:lnTo>
                      <a:pt x="93" y="17"/>
                    </a:lnTo>
                    <a:lnTo>
                      <a:pt x="100" y="18"/>
                    </a:lnTo>
                    <a:lnTo>
                      <a:pt x="104" y="21"/>
                    </a:lnTo>
                    <a:lnTo>
                      <a:pt x="108" y="21"/>
                    </a:lnTo>
                    <a:lnTo>
                      <a:pt x="110" y="23"/>
                    </a:lnTo>
                    <a:lnTo>
                      <a:pt x="111" y="22"/>
                    </a:lnTo>
                    <a:lnTo>
                      <a:pt x="113" y="23"/>
                    </a:lnTo>
                    <a:lnTo>
                      <a:pt x="113" y="19"/>
                    </a:lnTo>
                    <a:lnTo>
                      <a:pt x="111" y="17"/>
                    </a:lnTo>
                    <a:lnTo>
                      <a:pt x="112" y="11"/>
                    </a:lnTo>
                    <a:lnTo>
                      <a:pt x="115" y="10"/>
                    </a:lnTo>
                    <a:lnTo>
                      <a:pt x="114" y="6"/>
                    </a:lnTo>
                    <a:lnTo>
                      <a:pt x="111" y="4"/>
                    </a:lnTo>
                    <a:lnTo>
                      <a:pt x="110" y="0"/>
                    </a:lnTo>
                    <a:lnTo>
                      <a:pt x="115" y="2"/>
                    </a:lnTo>
                    <a:lnTo>
                      <a:pt x="119" y="1"/>
                    </a:lnTo>
                    <a:lnTo>
                      <a:pt x="121" y="0"/>
                    </a:lnTo>
                    <a:lnTo>
                      <a:pt x="124" y="4"/>
                    </a:lnTo>
                    <a:lnTo>
                      <a:pt x="129" y="6"/>
                    </a:lnTo>
                    <a:lnTo>
                      <a:pt x="134" y="14"/>
                    </a:lnTo>
                    <a:lnTo>
                      <a:pt x="139" y="17"/>
                    </a:lnTo>
                    <a:lnTo>
                      <a:pt x="147" y="17"/>
                    </a:lnTo>
                    <a:lnTo>
                      <a:pt x="150" y="19"/>
                    </a:lnTo>
                    <a:lnTo>
                      <a:pt x="152" y="19"/>
                    </a:lnTo>
                    <a:lnTo>
                      <a:pt x="155" y="24"/>
                    </a:lnTo>
                    <a:lnTo>
                      <a:pt x="157" y="27"/>
                    </a:lnTo>
                    <a:lnTo>
                      <a:pt x="158" y="27"/>
                    </a:lnTo>
                    <a:lnTo>
                      <a:pt x="160" y="27"/>
                    </a:lnTo>
                    <a:lnTo>
                      <a:pt x="163" y="31"/>
                    </a:lnTo>
                    <a:lnTo>
                      <a:pt x="166" y="32"/>
                    </a:lnTo>
                    <a:lnTo>
                      <a:pt x="167" y="34"/>
                    </a:lnTo>
                    <a:lnTo>
                      <a:pt x="166" y="38"/>
                    </a:lnTo>
                    <a:lnTo>
                      <a:pt x="167" y="42"/>
                    </a:lnTo>
                    <a:lnTo>
                      <a:pt x="165" y="46"/>
                    </a:lnTo>
                    <a:lnTo>
                      <a:pt x="166" y="50"/>
                    </a:lnTo>
                    <a:lnTo>
                      <a:pt x="171" y="50"/>
                    </a:lnTo>
                    <a:lnTo>
                      <a:pt x="172" y="54"/>
                    </a:lnTo>
                    <a:lnTo>
                      <a:pt x="170" y="57"/>
                    </a:lnTo>
                    <a:lnTo>
                      <a:pt x="171" y="61"/>
                    </a:lnTo>
                    <a:lnTo>
                      <a:pt x="173" y="64"/>
                    </a:lnTo>
                    <a:lnTo>
                      <a:pt x="174" y="71"/>
                    </a:lnTo>
                    <a:lnTo>
                      <a:pt x="173" y="74"/>
                    </a:lnTo>
                    <a:lnTo>
                      <a:pt x="174" y="77"/>
                    </a:lnTo>
                    <a:lnTo>
                      <a:pt x="174" y="83"/>
                    </a:lnTo>
                    <a:lnTo>
                      <a:pt x="173" y="86"/>
                    </a:lnTo>
                    <a:lnTo>
                      <a:pt x="175" y="91"/>
                    </a:lnTo>
                    <a:lnTo>
                      <a:pt x="177" y="92"/>
                    </a:lnTo>
                    <a:lnTo>
                      <a:pt x="181" y="99"/>
                    </a:lnTo>
                    <a:lnTo>
                      <a:pt x="183" y="101"/>
                    </a:lnTo>
                    <a:lnTo>
                      <a:pt x="183" y="104"/>
                    </a:lnTo>
                    <a:lnTo>
                      <a:pt x="182" y="104"/>
                    </a:lnTo>
                    <a:lnTo>
                      <a:pt x="180" y="106"/>
                    </a:lnTo>
                    <a:lnTo>
                      <a:pt x="176" y="106"/>
                    </a:lnTo>
                    <a:lnTo>
                      <a:pt x="175" y="103"/>
                    </a:lnTo>
                    <a:lnTo>
                      <a:pt x="171" y="106"/>
                    </a:lnTo>
                    <a:lnTo>
                      <a:pt x="168" y="104"/>
                    </a:lnTo>
                    <a:lnTo>
                      <a:pt x="166" y="107"/>
                    </a:lnTo>
                    <a:lnTo>
                      <a:pt x="163" y="106"/>
                    </a:lnTo>
                    <a:lnTo>
                      <a:pt x="161" y="103"/>
                    </a:lnTo>
                    <a:lnTo>
                      <a:pt x="158" y="107"/>
                    </a:lnTo>
                    <a:lnTo>
                      <a:pt x="156" y="103"/>
                    </a:lnTo>
                    <a:lnTo>
                      <a:pt x="154" y="104"/>
                    </a:lnTo>
                    <a:lnTo>
                      <a:pt x="154" y="108"/>
                    </a:lnTo>
                    <a:lnTo>
                      <a:pt x="153" y="111"/>
                    </a:lnTo>
                    <a:lnTo>
                      <a:pt x="150" y="111"/>
                    </a:lnTo>
                    <a:lnTo>
                      <a:pt x="149" y="109"/>
                    </a:lnTo>
                    <a:lnTo>
                      <a:pt x="146" y="108"/>
                    </a:lnTo>
                    <a:lnTo>
                      <a:pt x="149" y="113"/>
                    </a:lnTo>
                    <a:lnTo>
                      <a:pt x="151" y="114"/>
                    </a:lnTo>
                    <a:lnTo>
                      <a:pt x="148" y="117"/>
                    </a:lnTo>
                    <a:lnTo>
                      <a:pt x="145" y="117"/>
                    </a:lnTo>
                    <a:lnTo>
                      <a:pt x="142" y="119"/>
                    </a:lnTo>
                    <a:lnTo>
                      <a:pt x="145" y="120"/>
                    </a:lnTo>
                    <a:lnTo>
                      <a:pt x="145" y="122"/>
                    </a:lnTo>
                    <a:lnTo>
                      <a:pt x="144" y="123"/>
                    </a:lnTo>
                    <a:lnTo>
                      <a:pt x="143" y="121"/>
                    </a:lnTo>
                    <a:lnTo>
                      <a:pt x="140" y="120"/>
                    </a:lnTo>
                    <a:lnTo>
                      <a:pt x="139" y="122"/>
                    </a:lnTo>
                    <a:lnTo>
                      <a:pt x="141" y="124"/>
                    </a:lnTo>
                    <a:lnTo>
                      <a:pt x="143" y="124"/>
                    </a:lnTo>
                    <a:lnTo>
                      <a:pt x="145" y="126"/>
                    </a:lnTo>
                    <a:lnTo>
                      <a:pt x="144" y="128"/>
                    </a:lnTo>
                    <a:lnTo>
                      <a:pt x="142" y="134"/>
                    </a:lnTo>
                    <a:lnTo>
                      <a:pt x="142" y="137"/>
                    </a:lnTo>
                    <a:lnTo>
                      <a:pt x="138" y="138"/>
                    </a:lnTo>
                    <a:lnTo>
                      <a:pt x="142" y="141"/>
                    </a:lnTo>
                    <a:lnTo>
                      <a:pt x="145" y="141"/>
                    </a:lnTo>
                    <a:lnTo>
                      <a:pt x="146" y="143"/>
                    </a:lnTo>
                    <a:lnTo>
                      <a:pt x="143" y="144"/>
                    </a:lnTo>
                    <a:lnTo>
                      <a:pt x="146" y="147"/>
                    </a:lnTo>
                    <a:lnTo>
                      <a:pt x="148" y="147"/>
                    </a:lnTo>
                    <a:lnTo>
                      <a:pt x="145" y="151"/>
                    </a:lnTo>
                    <a:lnTo>
                      <a:pt x="142" y="151"/>
                    </a:lnTo>
                    <a:lnTo>
                      <a:pt x="139" y="154"/>
                    </a:lnTo>
                    <a:lnTo>
                      <a:pt x="140" y="160"/>
                    </a:lnTo>
                    <a:lnTo>
                      <a:pt x="136" y="166"/>
                    </a:lnTo>
                    <a:lnTo>
                      <a:pt x="134" y="166"/>
                    </a:lnTo>
                    <a:lnTo>
                      <a:pt x="131" y="169"/>
                    </a:lnTo>
                    <a:lnTo>
                      <a:pt x="129" y="167"/>
                    </a:lnTo>
                    <a:lnTo>
                      <a:pt x="128" y="170"/>
                    </a:lnTo>
                    <a:lnTo>
                      <a:pt x="130" y="173"/>
                    </a:lnTo>
                    <a:lnTo>
                      <a:pt x="125" y="176"/>
                    </a:lnTo>
                    <a:lnTo>
                      <a:pt x="123" y="179"/>
                    </a:lnTo>
                    <a:lnTo>
                      <a:pt x="121" y="179"/>
                    </a:lnTo>
                    <a:lnTo>
                      <a:pt x="120" y="177"/>
                    </a:lnTo>
                    <a:lnTo>
                      <a:pt x="117" y="177"/>
                    </a:lnTo>
                    <a:lnTo>
                      <a:pt x="116" y="180"/>
                    </a:lnTo>
                    <a:lnTo>
                      <a:pt x="116" y="185"/>
                    </a:lnTo>
                    <a:lnTo>
                      <a:pt x="113" y="187"/>
                    </a:lnTo>
                    <a:lnTo>
                      <a:pt x="111" y="184"/>
                    </a:lnTo>
                    <a:lnTo>
                      <a:pt x="110" y="184"/>
                    </a:lnTo>
                    <a:lnTo>
                      <a:pt x="110" y="188"/>
                    </a:lnTo>
                    <a:lnTo>
                      <a:pt x="108" y="189"/>
                    </a:lnTo>
                    <a:lnTo>
                      <a:pt x="107" y="187"/>
                    </a:lnTo>
                    <a:lnTo>
                      <a:pt x="104" y="189"/>
                    </a:lnTo>
                    <a:lnTo>
                      <a:pt x="103" y="191"/>
                    </a:lnTo>
                    <a:lnTo>
                      <a:pt x="105" y="192"/>
                    </a:lnTo>
                    <a:lnTo>
                      <a:pt x="105" y="194"/>
                    </a:lnTo>
                    <a:lnTo>
                      <a:pt x="100" y="198"/>
                    </a:lnTo>
                    <a:lnTo>
                      <a:pt x="96" y="198"/>
                    </a:lnTo>
                    <a:lnTo>
                      <a:pt x="95" y="199"/>
                    </a:lnTo>
                    <a:lnTo>
                      <a:pt x="97" y="203"/>
                    </a:lnTo>
                    <a:lnTo>
                      <a:pt x="94" y="207"/>
                    </a:lnTo>
                    <a:lnTo>
                      <a:pt x="89" y="208"/>
                    </a:lnTo>
                    <a:lnTo>
                      <a:pt x="86" y="207"/>
                    </a:lnTo>
                    <a:lnTo>
                      <a:pt x="90" y="212"/>
                    </a:lnTo>
                    <a:lnTo>
                      <a:pt x="90" y="216"/>
                    </a:lnTo>
                    <a:lnTo>
                      <a:pt x="89" y="217"/>
                    </a:lnTo>
                    <a:lnTo>
                      <a:pt x="90" y="222"/>
                    </a:lnTo>
                    <a:lnTo>
                      <a:pt x="89" y="227"/>
                    </a:lnTo>
                    <a:lnTo>
                      <a:pt x="92" y="230"/>
                    </a:lnTo>
                    <a:lnTo>
                      <a:pt x="91" y="233"/>
                    </a:lnTo>
                    <a:lnTo>
                      <a:pt x="89" y="232"/>
                    </a:lnTo>
                    <a:lnTo>
                      <a:pt x="89" y="233"/>
                    </a:lnTo>
                    <a:lnTo>
                      <a:pt x="89" y="237"/>
                    </a:lnTo>
                    <a:lnTo>
                      <a:pt x="87" y="241"/>
                    </a:lnTo>
                    <a:lnTo>
                      <a:pt x="89" y="242"/>
                    </a:lnTo>
                    <a:lnTo>
                      <a:pt x="89" y="244"/>
                    </a:lnTo>
                    <a:lnTo>
                      <a:pt x="88" y="245"/>
                    </a:lnTo>
                    <a:lnTo>
                      <a:pt x="89" y="249"/>
                    </a:lnTo>
                    <a:lnTo>
                      <a:pt x="88" y="252"/>
                    </a:lnTo>
                    <a:lnTo>
                      <a:pt x="89" y="255"/>
                    </a:lnTo>
                    <a:lnTo>
                      <a:pt x="91" y="256"/>
                    </a:lnTo>
                    <a:lnTo>
                      <a:pt x="94" y="257"/>
                    </a:lnTo>
                    <a:lnTo>
                      <a:pt x="94" y="260"/>
                    </a:lnTo>
                    <a:lnTo>
                      <a:pt x="95" y="259"/>
                    </a:lnTo>
                    <a:lnTo>
                      <a:pt x="97" y="263"/>
                    </a:lnTo>
                    <a:lnTo>
                      <a:pt x="101" y="259"/>
                    </a:lnTo>
                    <a:lnTo>
                      <a:pt x="103" y="261"/>
                    </a:lnTo>
                    <a:lnTo>
                      <a:pt x="104" y="264"/>
                    </a:lnTo>
                    <a:lnTo>
                      <a:pt x="110" y="269"/>
                    </a:lnTo>
                    <a:lnTo>
                      <a:pt x="110" y="271"/>
                    </a:lnTo>
                    <a:lnTo>
                      <a:pt x="115" y="274"/>
                    </a:lnTo>
                    <a:lnTo>
                      <a:pt x="115" y="277"/>
                    </a:lnTo>
                    <a:lnTo>
                      <a:pt x="119" y="280"/>
                    </a:lnTo>
                    <a:lnTo>
                      <a:pt x="116" y="285"/>
                    </a:lnTo>
                    <a:lnTo>
                      <a:pt x="111" y="290"/>
                    </a:lnTo>
                    <a:lnTo>
                      <a:pt x="110" y="294"/>
                    </a:lnTo>
                    <a:lnTo>
                      <a:pt x="106" y="295"/>
                    </a:lnTo>
                    <a:lnTo>
                      <a:pt x="103" y="294"/>
                    </a:lnTo>
                    <a:lnTo>
                      <a:pt x="103" y="291"/>
                    </a:lnTo>
                    <a:lnTo>
                      <a:pt x="99" y="290"/>
                    </a:lnTo>
                    <a:lnTo>
                      <a:pt x="97" y="288"/>
                    </a:lnTo>
                    <a:lnTo>
                      <a:pt x="97" y="290"/>
                    </a:lnTo>
                    <a:lnTo>
                      <a:pt x="94" y="290"/>
                    </a:lnTo>
                    <a:lnTo>
                      <a:pt x="93" y="289"/>
                    </a:lnTo>
                    <a:lnTo>
                      <a:pt x="89" y="288"/>
                    </a:lnTo>
                    <a:lnTo>
                      <a:pt x="89" y="290"/>
                    </a:lnTo>
                    <a:lnTo>
                      <a:pt x="86" y="291"/>
                    </a:lnTo>
                    <a:lnTo>
                      <a:pt x="85" y="290"/>
                    </a:lnTo>
                    <a:lnTo>
                      <a:pt x="82" y="293"/>
                    </a:lnTo>
                    <a:lnTo>
                      <a:pt x="79" y="292"/>
                    </a:lnTo>
                    <a:lnTo>
                      <a:pt x="76" y="293"/>
                    </a:lnTo>
                    <a:lnTo>
                      <a:pt x="76" y="294"/>
                    </a:lnTo>
                    <a:lnTo>
                      <a:pt x="82" y="295"/>
                    </a:lnTo>
                    <a:lnTo>
                      <a:pt x="83" y="296"/>
                    </a:lnTo>
                    <a:lnTo>
                      <a:pt x="84" y="294"/>
                    </a:lnTo>
                    <a:lnTo>
                      <a:pt x="89" y="294"/>
                    </a:lnTo>
                    <a:lnTo>
                      <a:pt x="90" y="295"/>
                    </a:lnTo>
                    <a:lnTo>
                      <a:pt x="94" y="296"/>
                    </a:lnTo>
                    <a:lnTo>
                      <a:pt x="97" y="298"/>
                    </a:lnTo>
                    <a:lnTo>
                      <a:pt x="100" y="298"/>
                    </a:lnTo>
                    <a:lnTo>
                      <a:pt x="102" y="298"/>
                    </a:lnTo>
                    <a:lnTo>
                      <a:pt x="105" y="297"/>
                    </a:lnTo>
                    <a:lnTo>
                      <a:pt x="110" y="298"/>
                    </a:lnTo>
                    <a:lnTo>
                      <a:pt x="111" y="299"/>
                    </a:lnTo>
                    <a:lnTo>
                      <a:pt x="111" y="302"/>
                    </a:lnTo>
                    <a:lnTo>
                      <a:pt x="110" y="305"/>
                    </a:lnTo>
                    <a:lnTo>
                      <a:pt x="107" y="305"/>
                    </a:lnTo>
                    <a:lnTo>
                      <a:pt x="104" y="309"/>
                    </a:lnTo>
                    <a:lnTo>
                      <a:pt x="102" y="309"/>
                    </a:lnTo>
                    <a:lnTo>
                      <a:pt x="102" y="306"/>
                    </a:lnTo>
                    <a:lnTo>
                      <a:pt x="101" y="304"/>
                    </a:lnTo>
                    <a:lnTo>
                      <a:pt x="100" y="306"/>
                    </a:lnTo>
                    <a:lnTo>
                      <a:pt x="100" y="309"/>
                    </a:lnTo>
                    <a:lnTo>
                      <a:pt x="98" y="309"/>
                    </a:lnTo>
                    <a:lnTo>
                      <a:pt x="95" y="312"/>
                    </a:lnTo>
                    <a:lnTo>
                      <a:pt x="95" y="315"/>
                    </a:lnTo>
                    <a:lnTo>
                      <a:pt x="91" y="313"/>
                    </a:lnTo>
                    <a:lnTo>
                      <a:pt x="92" y="315"/>
                    </a:lnTo>
                    <a:lnTo>
                      <a:pt x="89" y="317"/>
                    </a:lnTo>
                    <a:lnTo>
                      <a:pt x="89" y="317"/>
                    </a:lnTo>
                    <a:lnTo>
                      <a:pt x="88" y="317"/>
                    </a:lnTo>
                    <a:lnTo>
                      <a:pt x="86" y="319"/>
                    </a:lnTo>
                    <a:lnTo>
                      <a:pt x="89" y="320"/>
                    </a:lnTo>
                    <a:lnTo>
                      <a:pt x="92" y="322"/>
                    </a:lnTo>
                    <a:lnTo>
                      <a:pt x="85" y="323"/>
                    </a:lnTo>
                    <a:lnTo>
                      <a:pt x="90" y="325"/>
                    </a:lnTo>
                    <a:lnTo>
                      <a:pt x="90" y="327"/>
                    </a:lnTo>
                    <a:lnTo>
                      <a:pt x="89" y="331"/>
                    </a:lnTo>
                    <a:lnTo>
                      <a:pt x="92" y="335"/>
                    </a:lnTo>
                    <a:lnTo>
                      <a:pt x="89" y="336"/>
                    </a:lnTo>
                    <a:lnTo>
                      <a:pt x="85" y="334"/>
                    </a:lnTo>
                    <a:lnTo>
                      <a:pt x="87" y="337"/>
                    </a:lnTo>
                    <a:lnTo>
                      <a:pt x="85" y="341"/>
                    </a:lnTo>
                    <a:lnTo>
                      <a:pt x="89" y="342"/>
                    </a:lnTo>
                    <a:lnTo>
                      <a:pt x="86" y="345"/>
                    </a:lnTo>
                    <a:lnTo>
                      <a:pt x="89" y="349"/>
                    </a:lnTo>
                    <a:lnTo>
                      <a:pt x="86" y="352"/>
                    </a:lnTo>
                    <a:lnTo>
                      <a:pt x="85" y="356"/>
                    </a:lnTo>
                    <a:lnTo>
                      <a:pt x="89" y="359"/>
                    </a:lnTo>
                    <a:lnTo>
                      <a:pt x="87" y="362"/>
                    </a:lnTo>
                    <a:lnTo>
                      <a:pt x="86" y="370"/>
                    </a:lnTo>
                    <a:lnTo>
                      <a:pt x="83" y="373"/>
                    </a:lnTo>
                    <a:lnTo>
                      <a:pt x="82" y="380"/>
                    </a:lnTo>
                    <a:lnTo>
                      <a:pt x="78" y="385"/>
                    </a:lnTo>
                    <a:lnTo>
                      <a:pt x="76" y="383"/>
                    </a:lnTo>
                    <a:lnTo>
                      <a:pt x="72" y="381"/>
                    </a:lnTo>
                    <a:lnTo>
                      <a:pt x="68" y="384"/>
                    </a:lnTo>
                    <a:lnTo>
                      <a:pt x="62" y="382"/>
                    </a:lnTo>
                    <a:lnTo>
                      <a:pt x="61" y="380"/>
                    </a:lnTo>
                    <a:lnTo>
                      <a:pt x="60" y="385"/>
                    </a:lnTo>
                    <a:lnTo>
                      <a:pt x="54" y="385"/>
                    </a:lnTo>
                    <a:lnTo>
                      <a:pt x="51" y="391"/>
                    </a:lnTo>
                    <a:lnTo>
                      <a:pt x="53" y="393"/>
                    </a:lnTo>
                    <a:lnTo>
                      <a:pt x="54" y="396"/>
                    </a:lnTo>
                    <a:lnTo>
                      <a:pt x="50" y="400"/>
                    </a:lnTo>
                    <a:lnTo>
                      <a:pt x="46" y="398"/>
                    </a:lnTo>
                    <a:lnTo>
                      <a:pt x="36" y="400"/>
                    </a:lnTo>
                    <a:lnTo>
                      <a:pt x="32" y="400"/>
                    </a:lnTo>
                    <a:lnTo>
                      <a:pt x="30" y="399"/>
                    </a:lnTo>
                    <a:lnTo>
                      <a:pt x="33" y="395"/>
                    </a:lnTo>
                    <a:lnTo>
                      <a:pt x="31" y="387"/>
                    </a:lnTo>
                    <a:lnTo>
                      <a:pt x="27" y="385"/>
                    </a:lnTo>
                    <a:lnTo>
                      <a:pt x="26" y="383"/>
                    </a:lnTo>
                    <a:lnTo>
                      <a:pt x="24" y="381"/>
                    </a:lnTo>
                    <a:lnTo>
                      <a:pt x="24" y="380"/>
                    </a:lnTo>
                    <a:lnTo>
                      <a:pt x="29" y="379"/>
                    </a:lnTo>
                    <a:lnTo>
                      <a:pt x="32" y="374"/>
                    </a:lnTo>
                    <a:lnTo>
                      <a:pt x="31" y="369"/>
                    </a:lnTo>
                    <a:lnTo>
                      <a:pt x="27" y="372"/>
                    </a:lnTo>
                    <a:lnTo>
                      <a:pt x="24" y="368"/>
                    </a:lnTo>
                    <a:lnTo>
                      <a:pt x="23" y="365"/>
                    </a:lnTo>
                    <a:lnTo>
                      <a:pt x="19" y="363"/>
                    </a:lnTo>
                    <a:lnTo>
                      <a:pt x="19" y="359"/>
                    </a:lnTo>
                    <a:lnTo>
                      <a:pt x="15" y="352"/>
                    </a:lnTo>
                    <a:lnTo>
                      <a:pt x="14" y="351"/>
                    </a:lnTo>
                    <a:lnTo>
                      <a:pt x="12" y="346"/>
                    </a:lnTo>
                    <a:lnTo>
                      <a:pt x="8" y="345"/>
                    </a:lnTo>
                    <a:lnTo>
                      <a:pt x="6" y="342"/>
                    </a:lnTo>
                    <a:lnTo>
                      <a:pt x="8" y="341"/>
                    </a:lnTo>
                    <a:lnTo>
                      <a:pt x="9" y="337"/>
                    </a:lnTo>
                    <a:lnTo>
                      <a:pt x="7" y="334"/>
                    </a:lnTo>
                    <a:lnTo>
                      <a:pt x="8" y="331"/>
                    </a:lnTo>
                    <a:lnTo>
                      <a:pt x="12" y="328"/>
                    </a:lnTo>
                    <a:lnTo>
                      <a:pt x="11" y="326"/>
                    </a:lnTo>
                    <a:lnTo>
                      <a:pt x="8" y="325"/>
                    </a:lnTo>
                    <a:lnTo>
                      <a:pt x="9" y="323"/>
                    </a:lnTo>
                    <a:lnTo>
                      <a:pt x="7" y="323"/>
                    </a:lnTo>
                    <a:lnTo>
                      <a:pt x="6" y="326"/>
                    </a:lnTo>
                    <a:lnTo>
                      <a:pt x="9" y="328"/>
                    </a:lnTo>
                    <a:lnTo>
                      <a:pt x="5" y="330"/>
                    </a:lnTo>
                    <a:lnTo>
                      <a:pt x="5" y="326"/>
                    </a:lnTo>
                    <a:lnTo>
                      <a:pt x="4" y="325"/>
                    </a:lnTo>
                    <a:lnTo>
                      <a:pt x="2" y="323"/>
                    </a:lnTo>
                    <a:lnTo>
                      <a:pt x="2" y="318"/>
                    </a:lnTo>
                    <a:lnTo>
                      <a:pt x="1" y="316"/>
                    </a:lnTo>
                    <a:lnTo>
                      <a:pt x="0" y="308"/>
                    </a:lnTo>
                    <a:lnTo>
                      <a:pt x="3" y="306"/>
                    </a:lnTo>
                    <a:lnTo>
                      <a:pt x="3" y="306"/>
                    </a:lnTo>
                    <a:lnTo>
                      <a:pt x="3" y="306"/>
                    </a:lnTo>
                    <a:lnTo>
                      <a:pt x="3" y="306"/>
                    </a:lnTo>
                    <a:close/>
                    <a:moveTo>
                      <a:pt x="110" y="296"/>
                    </a:moveTo>
                    <a:lnTo>
                      <a:pt x="113" y="299"/>
                    </a:lnTo>
                    <a:lnTo>
                      <a:pt x="114" y="301"/>
                    </a:lnTo>
                    <a:lnTo>
                      <a:pt x="114" y="297"/>
                    </a:lnTo>
                    <a:lnTo>
                      <a:pt x="118" y="294"/>
                    </a:lnTo>
                    <a:lnTo>
                      <a:pt x="118" y="291"/>
                    </a:lnTo>
                    <a:lnTo>
                      <a:pt x="114" y="291"/>
                    </a:lnTo>
                    <a:lnTo>
                      <a:pt x="110" y="296"/>
                    </a:lnTo>
                    <a:lnTo>
                      <a:pt x="110" y="296"/>
                    </a:lnTo>
                    <a:lnTo>
                      <a:pt x="110" y="296"/>
                    </a:lnTo>
                    <a:close/>
                    <a:moveTo>
                      <a:pt x="4" y="331"/>
                    </a:moveTo>
                    <a:lnTo>
                      <a:pt x="4" y="334"/>
                    </a:lnTo>
                    <a:lnTo>
                      <a:pt x="6" y="334"/>
                    </a:lnTo>
                    <a:lnTo>
                      <a:pt x="7" y="331"/>
                    </a:lnTo>
                    <a:lnTo>
                      <a:pt x="4" y="331"/>
                    </a:lnTo>
                    <a:lnTo>
                      <a:pt x="4" y="331"/>
                    </a:lnTo>
                    <a:lnTo>
                      <a:pt x="4" y="331"/>
                    </a:lnTo>
                    <a:close/>
                    <a:moveTo>
                      <a:pt x="127" y="320"/>
                    </a:moveTo>
                    <a:lnTo>
                      <a:pt x="128" y="323"/>
                    </a:lnTo>
                    <a:lnTo>
                      <a:pt x="130" y="320"/>
                    </a:lnTo>
                    <a:lnTo>
                      <a:pt x="128" y="320"/>
                    </a:lnTo>
                    <a:lnTo>
                      <a:pt x="127" y="320"/>
                    </a:lnTo>
                    <a:lnTo>
                      <a:pt x="127" y="320"/>
                    </a:lnTo>
                    <a:lnTo>
                      <a:pt x="127" y="320"/>
                    </a:lnTo>
                    <a:close/>
                    <a:moveTo>
                      <a:pt x="128" y="337"/>
                    </a:moveTo>
                    <a:lnTo>
                      <a:pt x="129" y="339"/>
                    </a:lnTo>
                    <a:lnTo>
                      <a:pt x="132" y="337"/>
                    </a:lnTo>
                    <a:lnTo>
                      <a:pt x="134" y="336"/>
                    </a:lnTo>
                    <a:lnTo>
                      <a:pt x="133" y="334"/>
                    </a:lnTo>
                    <a:lnTo>
                      <a:pt x="130" y="335"/>
                    </a:lnTo>
                    <a:lnTo>
                      <a:pt x="128" y="337"/>
                    </a:lnTo>
                    <a:lnTo>
                      <a:pt x="128" y="337"/>
                    </a:lnTo>
                    <a:lnTo>
                      <a:pt x="128" y="337"/>
                    </a:lnTo>
                    <a:close/>
                    <a:moveTo>
                      <a:pt x="115" y="364"/>
                    </a:moveTo>
                    <a:lnTo>
                      <a:pt x="119" y="363"/>
                    </a:lnTo>
                    <a:lnTo>
                      <a:pt x="120" y="361"/>
                    </a:lnTo>
                    <a:lnTo>
                      <a:pt x="119" y="360"/>
                    </a:lnTo>
                    <a:lnTo>
                      <a:pt x="120" y="358"/>
                    </a:lnTo>
                    <a:lnTo>
                      <a:pt x="124" y="355"/>
                    </a:lnTo>
                    <a:lnTo>
                      <a:pt x="125" y="352"/>
                    </a:lnTo>
                    <a:lnTo>
                      <a:pt x="127" y="349"/>
                    </a:lnTo>
                    <a:lnTo>
                      <a:pt x="127" y="347"/>
                    </a:lnTo>
                    <a:lnTo>
                      <a:pt x="124" y="345"/>
                    </a:lnTo>
                    <a:lnTo>
                      <a:pt x="126" y="342"/>
                    </a:lnTo>
                    <a:lnTo>
                      <a:pt x="126" y="341"/>
                    </a:lnTo>
                    <a:lnTo>
                      <a:pt x="128" y="339"/>
                    </a:lnTo>
                    <a:lnTo>
                      <a:pt x="126" y="338"/>
                    </a:lnTo>
                    <a:lnTo>
                      <a:pt x="124" y="339"/>
                    </a:lnTo>
                    <a:lnTo>
                      <a:pt x="119" y="339"/>
                    </a:lnTo>
                    <a:lnTo>
                      <a:pt x="117" y="341"/>
                    </a:lnTo>
                    <a:lnTo>
                      <a:pt x="115" y="345"/>
                    </a:lnTo>
                    <a:lnTo>
                      <a:pt x="113" y="347"/>
                    </a:lnTo>
                    <a:lnTo>
                      <a:pt x="114" y="351"/>
                    </a:lnTo>
                    <a:lnTo>
                      <a:pt x="112" y="352"/>
                    </a:lnTo>
                    <a:lnTo>
                      <a:pt x="116" y="358"/>
                    </a:lnTo>
                    <a:lnTo>
                      <a:pt x="118" y="357"/>
                    </a:lnTo>
                    <a:lnTo>
                      <a:pt x="117" y="360"/>
                    </a:lnTo>
                    <a:lnTo>
                      <a:pt x="115" y="363"/>
                    </a:lnTo>
                    <a:lnTo>
                      <a:pt x="115" y="364"/>
                    </a:lnTo>
                    <a:lnTo>
                      <a:pt x="115" y="364"/>
                    </a:lnTo>
                    <a:lnTo>
                      <a:pt x="115" y="364"/>
                    </a:lnTo>
                    <a:close/>
                    <a:moveTo>
                      <a:pt x="88" y="375"/>
                    </a:moveTo>
                    <a:lnTo>
                      <a:pt x="89" y="378"/>
                    </a:lnTo>
                    <a:lnTo>
                      <a:pt x="89" y="381"/>
                    </a:lnTo>
                    <a:lnTo>
                      <a:pt x="89" y="382"/>
                    </a:lnTo>
                    <a:lnTo>
                      <a:pt x="90" y="379"/>
                    </a:lnTo>
                    <a:lnTo>
                      <a:pt x="93" y="373"/>
                    </a:lnTo>
                    <a:lnTo>
                      <a:pt x="93" y="367"/>
                    </a:lnTo>
                    <a:lnTo>
                      <a:pt x="95" y="361"/>
                    </a:lnTo>
                    <a:lnTo>
                      <a:pt x="96" y="356"/>
                    </a:lnTo>
                    <a:lnTo>
                      <a:pt x="94" y="354"/>
                    </a:lnTo>
                    <a:lnTo>
                      <a:pt x="91" y="357"/>
                    </a:lnTo>
                    <a:lnTo>
                      <a:pt x="92" y="359"/>
                    </a:lnTo>
                    <a:lnTo>
                      <a:pt x="91" y="363"/>
                    </a:lnTo>
                    <a:lnTo>
                      <a:pt x="89" y="365"/>
                    </a:lnTo>
                    <a:lnTo>
                      <a:pt x="88" y="375"/>
                    </a:lnTo>
                    <a:lnTo>
                      <a:pt x="88" y="375"/>
                    </a:lnTo>
                    <a:close/>
                  </a:path>
                </a:pathLst>
              </a:custGeom>
              <a:solidFill>
                <a:schemeClr val="accent6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757" name="Freeform 561"/>
              <p:cNvSpPr>
                <a:spLocks noEditPoints="1"/>
              </p:cNvSpPr>
              <p:nvPr userDrawn="1"/>
            </p:nvSpPr>
            <p:spPr bwMode="auto">
              <a:xfrm>
                <a:off x="3758" y="1386"/>
                <a:ext cx="183" cy="318"/>
              </a:xfrm>
              <a:custGeom>
                <a:avLst/>
                <a:gdLst>
                  <a:gd name="T0" fmla="*/ 175 w 192"/>
                  <a:gd name="T1" fmla="*/ 276 h 333"/>
                  <a:gd name="T2" fmla="*/ 178 w 192"/>
                  <a:gd name="T3" fmla="*/ 224 h 333"/>
                  <a:gd name="T4" fmla="*/ 166 w 192"/>
                  <a:gd name="T5" fmla="*/ 188 h 333"/>
                  <a:gd name="T6" fmla="*/ 158 w 192"/>
                  <a:gd name="T7" fmla="*/ 166 h 333"/>
                  <a:gd name="T8" fmla="*/ 153 w 192"/>
                  <a:gd name="T9" fmla="*/ 127 h 333"/>
                  <a:gd name="T10" fmla="*/ 147 w 192"/>
                  <a:gd name="T11" fmla="*/ 82 h 333"/>
                  <a:gd name="T12" fmla="*/ 124 w 192"/>
                  <a:gd name="T13" fmla="*/ 64 h 333"/>
                  <a:gd name="T14" fmla="*/ 120 w 192"/>
                  <a:gd name="T15" fmla="*/ 38 h 333"/>
                  <a:gd name="T16" fmla="*/ 124 w 192"/>
                  <a:gd name="T17" fmla="*/ 13 h 333"/>
                  <a:gd name="T18" fmla="*/ 94 w 192"/>
                  <a:gd name="T19" fmla="*/ 0 h 333"/>
                  <a:gd name="T20" fmla="*/ 79 w 192"/>
                  <a:gd name="T21" fmla="*/ 8 h 333"/>
                  <a:gd name="T22" fmla="*/ 76 w 192"/>
                  <a:gd name="T23" fmla="*/ 35 h 333"/>
                  <a:gd name="T24" fmla="*/ 63 w 192"/>
                  <a:gd name="T25" fmla="*/ 46 h 333"/>
                  <a:gd name="T26" fmla="*/ 39 w 192"/>
                  <a:gd name="T27" fmla="*/ 52 h 333"/>
                  <a:gd name="T28" fmla="*/ 9 w 192"/>
                  <a:gd name="T29" fmla="*/ 31 h 333"/>
                  <a:gd name="T30" fmla="*/ 0 w 192"/>
                  <a:gd name="T31" fmla="*/ 39 h 333"/>
                  <a:gd name="T32" fmla="*/ 27 w 192"/>
                  <a:gd name="T33" fmla="*/ 58 h 333"/>
                  <a:gd name="T34" fmla="*/ 41 w 192"/>
                  <a:gd name="T35" fmla="*/ 68 h 333"/>
                  <a:gd name="T36" fmla="*/ 46 w 192"/>
                  <a:gd name="T37" fmla="*/ 88 h 333"/>
                  <a:gd name="T38" fmla="*/ 54 w 192"/>
                  <a:gd name="T39" fmla="*/ 107 h 333"/>
                  <a:gd name="T40" fmla="*/ 56 w 192"/>
                  <a:gd name="T41" fmla="*/ 135 h 333"/>
                  <a:gd name="T42" fmla="*/ 70 w 192"/>
                  <a:gd name="T43" fmla="*/ 151 h 333"/>
                  <a:gd name="T44" fmla="*/ 85 w 192"/>
                  <a:gd name="T45" fmla="*/ 168 h 333"/>
                  <a:gd name="T46" fmla="*/ 88 w 192"/>
                  <a:gd name="T47" fmla="*/ 181 h 333"/>
                  <a:gd name="T48" fmla="*/ 69 w 192"/>
                  <a:gd name="T49" fmla="*/ 190 h 333"/>
                  <a:gd name="T50" fmla="*/ 57 w 192"/>
                  <a:gd name="T51" fmla="*/ 202 h 333"/>
                  <a:gd name="T52" fmla="*/ 55 w 192"/>
                  <a:gd name="T53" fmla="*/ 218 h 333"/>
                  <a:gd name="T54" fmla="*/ 43 w 192"/>
                  <a:gd name="T55" fmla="*/ 221 h 333"/>
                  <a:gd name="T56" fmla="*/ 37 w 192"/>
                  <a:gd name="T57" fmla="*/ 233 h 333"/>
                  <a:gd name="T58" fmla="*/ 29 w 192"/>
                  <a:gd name="T59" fmla="*/ 236 h 333"/>
                  <a:gd name="T60" fmla="*/ 28 w 192"/>
                  <a:gd name="T61" fmla="*/ 251 h 333"/>
                  <a:gd name="T62" fmla="*/ 30 w 192"/>
                  <a:gd name="T63" fmla="*/ 264 h 333"/>
                  <a:gd name="T64" fmla="*/ 38 w 192"/>
                  <a:gd name="T65" fmla="*/ 283 h 333"/>
                  <a:gd name="T66" fmla="*/ 34 w 192"/>
                  <a:gd name="T67" fmla="*/ 306 h 333"/>
                  <a:gd name="T68" fmla="*/ 48 w 192"/>
                  <a:gd name="T69" fmla="*/ 313 h 333"/>
                  <a:gd name="T70" fmla="*/ 61 w 192"/>
                  <a:gd name="T71" fmla="*/ 317 h 333"/>
                  <a:gd name="T72" fmla="*/ 68 w 192"/>
                  <a:gd name="T73" fmla="*/ 332 h 333"/>
                  <a:gd name="T74" fmla="*/ 80 w 192"/>
                  <a:gd name="T75" fmla="*/ 327 h 333"/>
                  <a:gd name="T76" fmla="*/ 106 w 192"/>
                  <a:gd name="T77" fmla="*/ 317 h 333"/>
                  <a:gd name="T78" fmla="*/ 114 w 192"/>
                  <a:gd name="T79" fmla="*/ 314 h 333"/>
                  <a:gd name="T80" fmla="*/ 121 w 192"/>
                  <a:gd name="T81" fmla="*/ 314 h 333"/>
                  <a:gd name="T82" fmla="*/ 134 w 192"/>
                  <a:gd name="T83" fmla="*/ 310 h 333"/>
                  <a:gd name="T84" fmla="*/ 146 w 192"/>
                  <a:gd name="T85" fmla="*/ 308 h 333"/>
                  <a:gd name="T86" fmla="*/ 75 w 192"/>
                  <a:gd name="T87" fmla="*/ 175 h 333"/>
                  <a:gd name="T88" fmla="*/ 80 w 192"/>
                  <a:gd name="T89" fmla="*/ 173 h 333"/>
                  <a:gd name="T90" fmla="*/ 24 w 192"/>
                  <a:gd name="T91" fmla="*/ 228 h 333"/>
                  <a:gd name="T92" fmla="*/ 24 w 192"/>
                  <a:gd name="T93" fmla="*/ 228 h 333"/>
                  <a:gd name="T94" fmla="*/ 64 w 192"/>
                  <a:gd name="T95" fmla="*/ 326 h 333"/>
                  <a:gd name="T96" fmla="*/ 57 w 192"/>
                  <a:gd name="T97" fmla="*/ 317 h 333"/>
                  <a:gd name="T98" fmla="*/ 47 w 192"/>
                  <a:gd name="T99" fmla="*/ 315 h 333"/>
                  <a:gd name="T100" fmla="*/ 36 w 192"/>
                  <a:gd name="T101" fmla="*/ 314 h 333"/>
                  <a:gd name="T102" fmla="*/ 12 w 192"/>
                  <a:gd name="T103" fmla="*/ 314 h 333"/>
                  <a:gd name="T104" fmla="*/ 18 w 192"/>
                  <a:gd name="T105" fmla="*/ 324 h 333"/>
                  <a:gd name="T106" fmla="*/ 10 w 192"/>
                  <a:gd name="T107" fmla="*/ 322 h 3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92" h="333">
                    <a:moveTo>
                      <a:pt x="152" y="308"/>
                    </a:moveTo>
                    <a:cubicBezTo>
                      <a:pt x="151" y="303"/>
                      <a:pt x="151" y="303"/>
                      <a:pt x="151" y="303"/>
                    </a:cubicBezTo>
                    <a:cubicBezTo>
                      <a:pt x="160" y="295"/>
                      <a:pt x="160" y="295"/>
                      <a:pt x="160" y="295"/>
                    </a:cubicBezTo>
                    <a:cubicBezTo>
                      <a:pt x="165" y="292"/>
                      <a:pt x="165" y="292"/>
                      <a:pt x="165" y="292"/>
                    </a:cubicBezTo>
                    <a:cubicBezTo>
                      <a:pt x="170" y="284"/>
                      <a:pt x="170" y="284"/>
                      <a:pt x="170" y="284"/>
                    </a:cubicBezTo>
                    <a:cubicBezTo>
                      <a:pt x="175" y="276"/>
                      <a:pt x="175" y="276"/>
                      <a:pt x="175" y="276"/>
                    </a:cubicBezTo>
                    <a:cubicBezTo>
                      <a:pt x="179" y="267"/>
                      <a:pt x="179" y="267"/>
                      <a:pt x="179" y="267"/>
                    </a:cubicBezTo>
                    <a:cubicBezTo>
                      <a:pt x="187" y="254"/>
                      <a:pt x="187" y="254"/>
                      <a:pt x="187" y="254"/>
                    </a:cubicBezTo>
                    <a:cubicBezTo>
                      <a:pt x="192" y="241"/>
                      <a:pt x="192" y="241"/>
                      <a:pt x="192" y="241"/>
                    </a:cubicBezTo>
                    <a:cubicBezTo>
                      <a:pt x="191" y="235"/>
                      <a:pt x="191" y="235"/>
                      <a:pt x="191" y="235"/>
                    </a:cubicBezTo>
                    <a:cubicBezTo>
                      <a:pt x="183" y="226"/>
                      <a:pt x="183" y="226"/>
                      <a:pt x="183" y="226"/>
                    </a:cubicBezTo>
                    <a:cubicBezTo>
                      <a:pt x="178" y="224"/>
                      <a:pt x="178" y="224"/>
                      <a:pt x="178" y="224"/>
                    </a:cubicBezTo>
                    <a:cubicBezTo>
                      <a:pt x="169" y="212"/>
                      <a:pt x="169" y="212"/>
                      <a:pt x="169" y="212"/>
                    </a:cubicBezTo>
                    <a:cubicBezTo>
                      <a:pt x="170" y="207"/>
                      <a:pt x="170" y="207"/>
                      <a:pt x="170" y="207"/>
                    </a:cubicBezTo>
                    <a:cubicBezTo>
                      <a:pt x="174" y="202"/>
                      <a:pt x="174" y="202"/>
                      <a:pt x="174" y="202"/>
                    </a:cubicBezTo>
                    <a:cubicBezTo>
                      <a:pt x="174" y="197"/>
                      <a:pt x="174" y="197"/>
                      <a:pt x="174" y="197"/>
                    </a:cubicBezTo>
                    <a:cubicBezTo>
                      <a:pt x="168" y="193"/>
                      <a:pt x="168" y="193"/>
                      <a:pt x="168" y="193"/>
                    </a:cubicBezTo>
                    <a:cubicBezTo>
                      <a:pt x="166" y="188"/>
                      <a:pt x="166" y="188"/>
                      <a:pt x="166" y="188"/>
                    </a:cubicBezTo>
                    <a:cubicBezTo>
                      <a:pt x="165" y="182"/>
                      <a:pt x="165" y="182"/>
                      <a:pt x="165" y="182"/>
                    </a:cubicBezTo>
                    <a:cubicBezTo>
                      <a:pt x="167" y="180"/>
                      <a:pt x="167" y="180"/>
                      <a:pt x="167" y="180"/>
                    </a:cubicBezTo>
                    <a:cubicBezTo>
                      <a:pt x="165" y="176"/>
                      <a:pt x="165" y="176"/>
                      <a:pt x="165" y="176"/>
                    </a:cubicBezTo>
                    <a:cubicBezTo>
                      <a:pt x="161" y="176"/>
                      <a:pt x="161" y="176"/>
                      <a:pt x="161" y="176"/>
                    </a:cubicBezTo>
                    <a:cubicBezTo>
                      <a:pt x="158" y="172"/>
                      <a:pt x="158" y="172"/>
                      <a:pt x="158" y="172"/>
                    </a:cubicBezTo>
                    <a:cubicBezTo>
                      <a:pt x="158" y="166"/>
                      <a:pt x="158" y="166"/>
                      <a:pt x="158" y="166"/>
                    </a:cubicBezTo>
                    <a:cubicBezTo>
                      <a:pt x="161" y="163"/>
                      <a:pt x="161" y="163"/>
                      <a:pt x="161" y="163"/>
                    </a:cubicBezTo>
                    <a:cubicBezTo>
                      <a:pt x="157" y="162"/>
                      <a:pt x="157" y="162"/>
                      <a:pt x="157" y="162"/>
                    </a:cubicBezTo>
                    <a:cubicBezTo>
                      <a:pt x="157" y="159"/>
                      <a:pt x="157" y="159"/>
                      <a:pt x="157" y="159"/>
                    </a:cubicBezTo>
                    <a:cubicBezTo>
                      <a:pt x="158" y="147"/>
                      <a:pt x="158" y="147"/>
                      <a:pt x="158" y="147"/>
                    </a:cubicBezTo>
                    <a:cubicBezTo>
                      <a:pt x="161" y="146"/>
                      <a:pt x="161" y="146"/>
                      <a:pt x="161" y="146"/>
                    </a:cubicBezTo>
                    <a:cubicBezTo>
                      <a:pt x="153" y="127"/>
                      <a:pt x="153" y="127"/>
                      <a:pt x="153" y="127"/>
                    </a:cubicBezTo>
                    <a:cubicBezTo>
                      <a:pt x="145" y="113"/>
                      <a:pt x="145" y="113"/>
                      <a:pt x="145" y="113"/>
                    </a:cubicBezTo>
                    <a:cubicBezTo>
                      <a:pt x="143" y="108"/>
                      <a:pt x="143" y="108"/>
                      <a:pt x="143" y="108"/>
                    </a:cubicBezTo>
                    <a:cubicBezTo>
                      <a:pt x="138" y="103"/>
                      <a:pt x="138" y="103"/>
                      <a:pt x="138" y="103"/>
                    </a:cubicBezTo>
                    <a:cubicBezTo>
                      <a:pt x="142" y="94"/>
                      <a:pt x="142" y="94"/>
                      <a:pt x="142" y="94"/>
                    </a:cubicBezTo>
                    <a:cubicBezTo>
                      <a:pt x="146" y="88"/>
                      <a:pt x="146" y="88"/>
                      <a:pt x="146" y="88"/>
                    </a:cubicBezTo>
                    <a:cubicBezTo>
                      <a:pt x="147" y="82"/>
                      <a:pt x="147" y="82"/>
                      <a:pt x="147" y="82"/>
                    </a:cubicBezTo>
                    <a:cubicBezTo>
                      <a:pt x="145" y="80"/>
                      <a:pt x="145" y="80"/>
                      <a:pt x="145" y="80"/>
                    </a:cubicBezTo>
                    <a:cubicBezTo>
                      <a:pt x="136" y="75"/>
                      <a:pt x="136" y="75"/>
                      <a:pt x="136" y="75"/>
                    </a:cubicBezTo>
                    <a:cubicBezTo>
                      <a:pt x="135" y="72"/>
                      <a:pt x="135" y="72"/>
                      <a:pt x="135" y="72"/>
                    </a:cubicBezTo>
                    <a:cubicBezTo>
                      <a:pt x="132" y="67"/>
                      <a:pt x="132" y="67"/>
                      <a:pt x="132" y="67"/>
                    </a:cubicBezTo>
                    <a:cubicBezTo>
                      <a:pt x="127" y="64"/>
                      <a:pt x="127" y="64"/>
                      <a:pt x="127" y="64"/>
                    </a:cubicBezTo>
                    <a:cubicBezTo>
                      <a:pt x="124" y="64"/>
                      <a:pt x="124" y="64"/>
                      <a:pt x="124" y="64"/>
                    </a:cubicBezTo>
                    <a:cubicBezTo>
                      <a:pt x="121" y="56"/>
                      <a:pt x="121" y="56"/>
                      <a:pt x="121" y="56"/>
                    </a:cubicBezTo>
                    <a:cubicBezTo>
                      <a:pt x="118" y="53"/>
                      <a:pt x="118" y="53"/>
                      <a:pt x="118" y="53"/>
                    </a:cubicBezTo>
                    <a:cubicBezTo>
                      <a:pt x="119" y="46"/>
                      <a:pt x="119" y="46"/>
                      <a:pt x="119" y="46"/>
                    </a:cubicBezTo>
                    <a:cubicBezTo>
                      <a:pt x="120" y="41"/>
                      <a:pt x="120" y="41"/>
                      <a:pt x="120" y="41"/>
                    </a:cubicBezTo>
                    <a:cubicBezTo>
                      <a:pt x="117" y="40"/>
                      <a:pt x="117" y="40"/>
                      <a:pt x="117" y="40"/>
                    </a:cubicBezTo>
                    <a:cubicBezTo>
                      <a:pt x="120" y="38"/>
                      <a:pt x="120" y="38"/>
                      <a:pt x="120" y="38"/>
                    </a:cubicBezTo>
                    <a:cubicBezTo>
                      <a:pt x="125" y="36"/>
                      <a:pt x="125" y="36"/>
                      <a:pt x="125" y="36"/>
                    </a:cubicBezTo>
                    <a:cubicBezTo>
                      <a:pt x="125" y="29"/>
                      <a:pt x="125" y="29"/>
                      <a:pt x="125" y="29"/>
                    </a:cubicBezTo>
                    <a:cubicBezTo>
                      <a:pt x="128" y="23"/>
                      <a:pt x="128" y="23"/>
                      <a:pt x="128" y="23"/>
                    </a:cubicBezTo>
                    <a:cubicBezTo>
                      <a:pt x="129" y="20"/>
                      <a:pt x="129" y="20"/>
                      <a:pt x="129" y="20"/>
                    </a:cubicBezTo>
                    <a:cubicBezTo>
                      <a:pt x="125" y="16"/>
                      <a:pt x="125" y="16"/>
                      <a:pt x="125" y="16"/>
                    </a:cubicBezTo>
                    <a:cubicBezTo>
                      <a:pt x="124" y="13"/>
                      <a:pt x="124" y="13"/>
                      <a:pt x="124" y="13"/>
                    </a:cubicBezTo>
                    <a:cubicBezTo>
                      <a:pt x="117" y="12"/>
                      <a:pt x="117" y="12"/>
                      <a:pt x="117" y="12"/>
                    </a:cubicBezTo>
                    <a:cubicBezTo>
                      <a:pt x="113" y="11"/>
                      <a:pt x="113" y="11"/>
                      <a:pt x="113" y="11"/>
                    </a:cubicBezTo>
                    <a:cubicBezTo>
                      <a:pt x="110" y="8"/>
                      <a:pt x="110" y="8"/>
                      <a:pt x="110" y="8"/>
                    </a:cubicBezTo>
                    <a:cubicBezTo>
                      <a:pt x="106" y="2"/>
                      <a:pt x="106" y="2"/>
                      <a:pt x="106" y="2"/>
                    </a:cubicBezTo>
                    <a:cubicBezTo>
                      <a:pt x="102" y="0"/>
                      <a:pt x="102" y="0"/>
                      <a:pt x="102" y="0"/>
                    </a:cubicBezTo>
                    <a:cubicBezTo>
                      <a:pt x="94" y="0"/>
                      <a:pt x="94" y="0"/>
                      <a:pt x="94" y="0"/>
                    </a:cubicBezTo>
                    <a:cubicBezTo>
                      <a:pt x="91" y="3"/>
                      <a:pt x="91" y="3"/>
                      <a:pt x="91" y="3"/>
                    </a:cubicBezTo>
                    <a:cubicBezTo>
                      <a:pt x="91" y="5"/>
                      <a:pt x="91" y="5"/>
                      <a:pt x="91" y="5"/>
                    </a:cubicBezTo>
                    <a:cubicBezTo>
                      <a:pt x="88" y="6"/>
                      <a:pt x="88" y="6"/>
                      <a:pt x="88" y="6"/>
                    </a:cubicBezTo>
                    <a:cubicBezTo>
                      <a:pt x="83" y="5"/>
                      <a:pt x="83" y="5"/>
                      <a:pt x="83" y="5"/>
                    </a:cubicBezTo>
                    <a:cubicBezTo>
                      <a:pt x="79" y="6"/>
                      <a:pt x="79" y="6"/>
                      <a:pt x="79" y="6"/>
                    </a:cubicBezTo>
                    <a:cubicBezTo>
                      <a:pt x="79" y="8"/>
                      <a:pt x="79" y="8"/>
                      <a:pt x="79" y="8"/>
                    </a:cubicBezTo>
                    <a:cubicBezTo>
                      <a:pt x="76" y="12"/>
                      <a:pt x="76" y="12"/>
                      <a:pt x="76" y="12"/>
                    </a:cubicBezTo>
                    <a:cubicBezTo>
                      <a:pt x="74" y="14"/>
                      <a:pt x="74" y="14"/>
                      <a:pt x="74" y="14"/>
                    </a:cubicBezTo>
                    <a:cubicBezTo>
                      <a:pt x="76" y="17"/>
                      <a:pt x="76" y="17"/>
                      <a:pt x="76" y="17"/>
                    </a:cubicBezTo>
                    <a:cubicBezTo>
                      <a:pt x="75" y="20"/>
                      <a:pt x="75" y="20"/>
                      <a:pt x="75" y="20"/>
                    </a:cubicBezTo>
                    <a:cubicBezTo>
                      <a:pt x="74" y="29"/>
                      <a:pt x="74" y="29"/>
                      <a:pt x="74" y="29"/>
                    </a:cubicBezTo>
                    <a:cubicBezTo>
                      <a:pt x="76" y="35"/>
                      <a:pt x="76" y="35"/>
                      <a:pt x="76" y="35"/>
                    </a:cubicBezTo>
                    <a:cubicBezTo>
                      <a:pt x="77" y="38"/>
                      <a:pt x="77" y="38"/>
                      <a:pt x="77" y="38"/>
                    </a:cubicBezTo>
                    <a:cubicBezTo>
                      <a:pt x="76" y="40"/>
                      <a:pt x="76" y="40"/>
                      <a:pt x="76" y="40"/>
                    </a:cubicBezTo>
                    <a:cubicBezTo>
                      <a:pt x="72" y="42"/>
                      <a:pt x="72" y="42"/>
                      <a:pt x="72" y="42"/>
                    </a:cubicBezTo>
                    <a:cubicBezTo>
                      <a:pt x="69" y="42"/>
                      <a:pt x="69" y="42"/>
                      <a:pt x="69" y="42"/>
                    </a:cubicBezTo>
                    <a:cubicBezTo>
                      <a:pt x="66" y="45"/>
                      <a:pt x="66" y="45"/>
                      <a:pt x="66" y="45"/>
                    </a:cubicBezTo>
                    <a:cubicBezTo>
                      <a:pt x="63" y="46"/>
                      <a:pt x="63" y="46"/>
                      <a:pt x="63" y="46"/>
                    </a:cubicBezTo>
                    <a:cubicBezTo>
                      <a:pt x="61" y="50"/>
                      <a:pt x="61" y="50"/>
                      <a:pt x="61" y="50"/>
                    </a:cubicBezTo>
                    <a:cubicBezTo>
                      <a:pt x="57" y="50"/>
                      <a:pt x="57" y="50"/>
                      <a:pt x="57" y="50"/>
                    </a:cubicBezTo>
                    <a:cubicBezTo>
                      <a:pt x="50" y="45"/>
                      <a:pt x="50" y="45"/>
                      <a:pt x="50" y="45"/>
                    </a:cubicBezTo>
                    <a:cubicBezTo>
                      <a:pt x="46" y="45"/>
                      <a:pt x="46" y="45"/>
                      <a:pt x="46" y="45"/>
                    </a:cubicBezTo>
                    <a:cubicBezTo>
                      <a:pt x="44" y="48"/>
                      <a:pt x="44" y="48"/>
                      <a:pt x="44" y="48"/>
                    </a:cubicBezTo>
                    <a:cubicBezTo>
                      <a:pt x="39" y="52"/>
                      <a:pt x="39" y="52"/>
                      <a:pt x="39" y="52"/>
                    </a:cubicBezTo>
                    <a:cubicBezTo>
                      <a:pt x="30" y="52"/>
                      <a:pt x="30" y="52"/>
                      <a:pt x="30" y="52"/>
                    </a:cubicBezTo>
                    <a:cubicBezTo>
                      <a:pt x="25" y="50"/>
                      <a:pt x="25" y="50"/>
                      <a:pt x="25" y="50"/>
                    </a:cubicBezTo>
                    <a:cubicBezTo>
                      <a:pt x="22" y="46"/>
                      <a:pt x="22" y="46"/>
                      <a:pt x="22" y="46"/>
                    </a:cubicBezTo>
                    <a:cubicBezTo>
                      <a:pt x="20" y="42"/>
                      <a:pt x="20" y="42"/>
                      <a:pt x="20" y="42"/>
                    </a:cubicBezTo>
                    <a:cubicBezTo>
                      <a:pt x="12" y="36"/>
                      <a:pt x="12" y="36"/>
                      <a:pt x="12" y="36"/>
                    </a:cubicBezTo>
                    <a:cubicBezTo>
                      <a:pt x="9" y="31"/>
                      <a:pt x="9" y="31"/>
                      <a:pt x="9" y="31"/>
                    </a:cubicBezTo>
                    <a:cubicBezTo>
                      <a:pt x="5" y="31"/>
                      <a:pt x="5" y="31"/>
                      <a:pt x="5" y="31"/>
                    </a:cubicBezTo>
                    <a:cubicBezTo>
                      <a:pt x="3" y="33"/>
                      <a:pt x="3" y="33"/>
                      <a:pt x="3" y="33"/>
                    </a:cubicBezTo>
                    <a:cubicBezTo>
                      <a:pt x="2" y="36"/>
                      <a:pt x="2" y="36"/>
                      <a:pt x="2" y="36"/>
                    </a:cubicBezTo>
                    <a:cubicBezTo>
                      <a:pt x="3" y="39"/>
                      <a:pt x="3" y="39"/>
                      <a:pt x="3" y="39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0" y="39"/>
                      <a:pt x="0" y="39"/>
                      <a:pt x="0" y="39"/>
                    </a:cubicBezTo>
                    <a:cubicBezTo>
                      <a:pt x="0" y="40"/>
                      <a:pt x="0" y="40"/>
                      <a:pt x="0" y="40"/>
                    </a:cubicBezTo>
                    <a:cubicBezTo>
                      <a:pt x="3" y="44"/>
                      <a:pt x="3" y="44"/>
                      <a:pt x="3" y="44"/>
                    </a:cubicBezTo>
                    <a:cubicBezTo>
                      <a:pt x="8" y="46"/>
                      <a:pt x="8" y="46"/>
                      <a:pt x="8" y="46"/>
                    </a:cubicBezTo>
                    <a:cubicBezTo>
                      <a:pt x="14" y="54"/>
                      <a:pt x="14" y="54"/>
                      <a:pt x="14" y="54"/>
                    </a:cubicBezTo>
                    <a:cubicBezTo>
                      <a:pt x="19" y="57"/>
                      <a:pt x="19" y="57"/>
                      <a:pt x="19" y="57"/>
                    </a:cubicBezTo>
                    <a:cubicBezTo>
                      <a:pt x="27" y="58"/>
                      <a:pt x="27" y="58"/>
                      <a:pt x="27" y="58"/>
                    </a:cubicBezTo>
                    <a:cubicBezTo>
                      <a:pt x="30" y="60"/>
                      <a:pt x="30" y="60"/>
                      <a:pt x="30" y="60"/>
                    </a:cubicBezTo>
                    <a:cubicBezTo>
                      <a:pt x="32" y="60"/>
                      <a:pt x="32" y="60"/>
                      <a:pt x="32" y="60"/>
                    </a:cubicBezTo>
                    <a:cubicBezTo>
                      <a:pt x="36" y="65"/>
                      <a:pt x="36" y="65"/>
                      <a:pt x="36" y="65"/>
                    </a:cubicBezTo>
                    <a:cubicBezTo>
                      <a:pt x="38" y="68"/>
                      <a:pt x="38" y="68"/>
                      <a:pt x="38" y="68"/>
                    </a:cubicBezTo>
                    <a:cubicBezTo>
                      <a:pt x="39" y="68"/>
                      <a:pt x="39" y="68"/>
                      <a:pt x="39" y="68"/>
                    </a:cubicBezTo>
                    <a:cubicBezTo>
                      <a:pt x="41" y="68"/>
                      <a:pt x="41" y="68"/>
                      <a:pt x="41" y="68"/>
                    </a:cubicBezTo>
                    <a:cubicBezTo>
                      <a:pt x="44" y="72"/>
                      <a:pt x="44" y="72"/>
                      <a:pt x="44" y="72"/>
                    </a:cubicBezTo>
                    <a:cubicBezTo>
                      <a:pt x="47" y="73"/>
                      <a:pt x="47" y="73"/>
                      <a:pt x="47" y="73"/>
                    </a:cubicBezTo>
                    <a:cubicBezTo>
                      <a:pt x="48" y="75"/>
                      <a:pt x="48" y="75"/>
                      <a:pt x="48" y="75"/>
                    </a:cubicBezTo>
                    <a:cubicBezTo>
                      <a:pt x="47" y="79"/>
                      <a:pt x="47" y="79"/>
                      <a:pt x="47" y="79"/>
                    </a:cubicBezTo>
                    <a:cubicBezTo>
                      <a:pt x="48" y="84"/>
                      <a:pt x="48" y="84"/>
                      <a:pt x="48" y="84"/>
                    </a:cubicBezTo>
                    <a:cubicBezTo>
                      <a:pt x="46" y="88"/>
                      <a:pt x="46" y="88"/>
                      <a:pt x="46" y="88"/>
                    </a:cubicBezTo>
                    <a:cubicBezTo>
                      <a:pt x="47" y="92"/>
                      <a:pt x="47" y="92"/>
                      <a:pt x="47" y="92"/>
                    </a:cubicBezTo>
                    <a:cubicBezTo>
                      <a:pt x="52" y="92"/>
                      <a:pt x="52" y="92"/>
                      <a:pt x="52" y="92"/>
                    </a:cubicBezTo>
                    <a:cubicBezTo>
                      <a:pt x="53" y="96"/>
                      <a:pt x="53" y="96"/>
                      <a:pt x="53" y="96"/>
                    </a:cubicBezTo>
                    <a:cubicBezTo>
                      <a:pt x="51" y="99"/>
                      <a:pt x="51" y="99"/>
                      <a:pt x="51" y="99"/>
                    </a:cubicBezTo>
                    <a:cubicBezTo>
                      <a:pt x="52" y="104"/>
                      <a:pt x="52" y="104"/>
                      <a:pt x="52" y="104"/>
                    </a:cubicBezTo>
                    <a:cubicBezTo>
                      <a:pt x="54" y="107"/>
                      <a:pt x="54" y="107"/>
                      <a:pt x="54" y="107"/>
                    </a:cubicBezTo>
                    <a:cubicBezTo>
                      <a:pt x="55" y="114"/>
                      <a:pt x="55" y="114"/>
                      <a:pt x="55" y="114"/>
                    </a:cubicBezTo>
                    <a:cubicBezTo>
                      <a:pt x="54" y="117"/>
                      <a:pt x="54" y="117"/>
                      <a:pt x="54" y="117"/>
                    </a:cubicBezTo>
                    <a:cubicBezTo>
                      <a:pt x="55" y="120"/>
                      <a:pt x="55" y="120"/>
                      <a:pt x="55" y="120"/>
                    </a:cubicBezTo>
                    <a:cubicBezTo>
                      <a:pt x="55" y="127"/>
                      <a:pt x="55" y="127"/>
                      <a:pt x="55" y="127"/>
                    </a:cubicBezTo>
                    <a:cubicBezTo>
                      <a:pt x="54" y="130"/>
                      <a:pt x="54" y="130"/>
                      <a:pt x="54" y="130"/>
                    </a:cubicBezTo>
                    <a:cubicBezTo>
                      <a:pt x="56" y="135"/>
                      <a:pt x="56" y="135"/>
                      <a:pt x="56" y="135"/>
                    </a:cubicBezTo>
                    <a:cubicBezTo>
                      <a:pt x="59" y="136"/>
                      <a:pt x="59" y="136"/>
                      <a:pt x="59" y="136"/>
                    </a:cubicBezTo>
                    <a:cubicBezTo>
                      <a:pt x="63" y="143"/>
                      <a:pt x="63" y="143"/>
                      <a:pt x="63" y="143"/>
                    </a:cubicBezTo>
                    <a:cubicBezTo>
                      <a:pt x="65" y="145"/>
                      <a:pt x="65" y="145"/>
                      <a:pt x="65" y="145"/>
                    </a:cubicBezTo>
                    <a:cubicBezTo>
                      <a:pt x="65" y="149"/>
                      <a:pt x="65" y="149"/>
                      <a:pt x="65" y="149"/>
                    </a:cubicBezTo>
                    <a:cubicBezTo>
                      <a:pt x="66" y="151"/>
                      <a:pt x="66" y="151"/>
                      <a:pt x="66" y="151"/>
                    </a:cubicBezTo>
                    <a:cubicBezTo>
                      <a:pt x="70" y="151"/>
                      <a:pt x="70" y="151"/>
                      <a:pt x="70" y="151"/>
                    </a:cubicBezTo>
                    <a:cubicBezTo>
                      <a:pt x="73" y="154"/>
                      <a:pt x="73" y="154"/>
                      <a:pt x="73" y="154"/>
                    </a:cubicBezTo>
                    <a:cubicBezTo>
                      <a:pt x="80" y="154"/>
                      <a:pt x="80" y="154"/>
                      <a:pt x="80" y="154"/>
                    </a:cubicBezTo>
                    <a:cubicBezTo>
                      <a:pt x="85" y="159"/>
                      <a:pt x="85" y="159"/>
                      <a:pt x="85" y="159"/>
                    </a:cubicBezTo>
                    <a:cubicBezTo>
                      <a:pt x="83" y="160"/>
                      <a:pt x="83" y="160"/>
                      <a:pt x="83" y="160"/>
                    </a:cubicBezTo>
                    <a:cubicBezTo>
                      <a:pt x="84" y="163"/>
                      <a:pt x="84" y="163"/>
                      <a:pt x="84" y="163"/>
                    </a:cubicBezTo>
                    <a:cubicBezTo>
                      <a:pt x="85" y="168"/>
                      <a:pt x="85" y="168"/>
                      <a:pt x="85" y="168"/>
                    </a:cubicBezTo>
                    <a:cubicBezTo>
                      <a:pt x="83" y="170"/>
                      <a:pt x="83" y="170"/>
                      <a:pt x="83" y="170"/>
                    </a:cubicBezTo>
                    <a:cubicBezTo>
                      <a:pt x="89" y="175"/>
                      <a:pt x="89" y="175"/>
                      <a:pt x="89" y="175"/>
                    </a:cubicBezTo>
                    <a:cubicBezTo>
                      <a:pt x="85" y="174"/>
                      <a:pt x="85" y="174"/>
                      <a:pt x="85" y="174"/>
                    </a:cubicBezTo>
                    <a:cubicBezTo>
                      <a:pt x="83" y="174"/>
                      <a:pt x="83" y="174"/>
                      <a:pt x="83" y="174"/>
                    </a:cubicBezTo>
                    <a:cubicBezTo>
                      <a:pt x="88" y="178"/>
                      <a:pt x="88" y="178"/>
                      <a:pt x="88" y="178"/>
                    </a:cubicBezTo>
                    <a:cubicBezTo>
                      <a:pt x="88" y="181"/>
                      <a:pt x="88" y="181"/>
                      <a:pt x="88" y="181"/>
                    </a:cubicBezTo>
                    <a:cubicBezTo>
                      <a:pt x="83" y="178"/>
                      <a:pt x="83" y="178"/>
                      <a:pt x="83" y="178"/>
                    </a:cubicBezTo>
                    <a:cubicBezTo>
                      <a:pt x="78" y="178"/>
                      <a:pt x="78" y="178"/>
                      <a:pt x="78" y="178"/>
                    </a:cubicBezTo>
                    <a:cubicBezTo>
                      <a:pt x="73" y="181"/>
                      <a:pt x="73" y="181"/>
                      <a:pt x="73" y="181"/>
                    </a:cubicBezTo>
                    <a:cubicBezTo>
                      <a:pt x="73" y="184"/>
                      <a:pt x="73" y="184"/>
                      <a:pt x="73" y="184"/>
                    </a:cubicBezTo>
                    <a:cubicBezTo>
                      <a:pt x="69" y="187"/>
                      <a:pt x="69" y="187"/>
                      <a:pt x="69" y="187"/>
                    </a:cubicBezTo>
                    <a:cubicBezTo>
                      <a:pt x="69" y="190"/>
                      <a:pt x="69" y="190"/>
                      <a:pt x="69" y="190"/>
                    </a:cubicBezTo>
                    <a:cubicBezTo>
                      <a:pt x="68" y="191"/>
                      <a:pt x="68" y="191"/>
                      <a:pt x="68" y="191"/>
                    </a:cubicBezTo>
                    <a:cubicBezTo>
                      <a:pt x="62" y="197"/>
                      <a:pt x="62" y="197"/>
                      <a:pt x="62" y="197"/>
                    </a:cubicBezTo>
                    <a:cubicBezTo>
                      <a:pt x="61" y="203"/>
                      <a:pt x="61" y="203"/>
                      <a:pt x="61" y="203"/>
                    </a:cubicBezTo>
                    <a:cubicBezTo>
                      <a:pt x="60" y="203"/>
                      <a:pt x="60" y="203"/>
                      <a:pt x="60" y="203"/>
                    </a:cubicBezTo>
                    <a:cubicBezTo>
                      <a:pt x="59" y="202"/>
                      <a:pt x="59" y="202"/>
                      <a:pt x="59" y="202"/>
                    </a:cubicBezTo>
                    <a:cubicBezTo>
                      <a:pt x="57" y="202"/>
                      <a:pt x="57" y="202"/>
                      <a:pt x="57" y="202"/>
                    </a:cubicBezTo>
                    <a:cubicBezTo>
                      <a:pt x="58" y="206"/>
                      <a:pt x="58" y="206"/>
                      <a:pt x="58" y="206"/>
                    </a:cubicBezTo>
                    <a:cubicBezTo>
                      <a:pt x="57" y="209"/>
                      <a:pt x="57" y="209"/>
                      <a:pt x="57" y="209"/>
                    </a:cubicBezTo>
                    <a:cubicBezTo>
                      <a:pt x="53" y="209"/>
                      <a:pt x="53" y="209"/>
                      <a:pt x="53" y="209"/>
                    </a:cubicBezTo>
                    <a:cubicBezTo>
                      <a:pt x="51" y="212"/>
                      <a:pt x="51" y="212"/>
                      <a:pt x="51" y="212"/>
                    </a:cubicBezTo>
                    <a:cubicBezTo>
                      <a:pt x="52" y="217"/>
                      <a:pt x="52" y="217"/>
                      <a:pt x="52" y="217"/>
                    </a:cubicBezTo>
                    <a:cubicBezTo>
                      <a:pt x="55" y="218"/>
                      <a:pt x="55" y="218"/>
                      <a:pt x="55" y="218"/>
                    </a:cubicBezTo>
                    <a:cubicBezTo>
                      <a:pt x="50" y="217"/>
                      <a:pt x="50" y="217"/>
                      <a:pt x="50" y="217"/>
                    </a:cubicBezTo>
                    <a:cubicBezTo>
                      <a:pt x="49" y="215"/>
                      <a:pt x="49" y="215"/>
                      <a:pt x="49" y="215"/>
                    </a:cubicBezTo>
                    <a:cubicBezTo>
                      <a:pt x="46" y="216"/>
                      <a:pt x="46" y="216"/>
                      <a:pt x="46" y="216"/>
                    </a:cubicBezTo>
                    <a:cubicBezTo>
                      <a:pt x="45" y="220"/>
                      <a:pt x="45" y="220"/>
                      <a:pt x="45" y="220"/>
                    </a:cubicBezTo>
                    <a:cubicBezTo>
                      <a:pt x="45" y="222"/>
                      <a:pt x="45" y="222"/>
                      <a:pt x="45" y="222"/>
                    </a:cubicBezTo>
                    <a:cubicBezTo>
                      <a:pt x="43" y="221"/>
                      <a:pt x="43" y="221"/>
                      <a:pt x="43" y="221"/>
                    </a:cubicBezTo>
                    <a:cubicBezTo>
                      <a:pt x="42" y="222"/>
                      <a:pt x="42" y="222"/>
                      <a:pt x="42" y="222"/>
                    </a:cubicBezTo>
                    <a:cubicBezTo>
                      <a:pt x="44" y="225"/>
                      <a:pt x="44" y="225"/>
                      <a:pt x="44" y="225"/>
                    </a:cubicBezTo>
                    <a:cubicBezTo>
                      <a:pt x="44" y="227"/>
                      <a:pt x="44" y="227"/>
                      <a:pt x="44" y="227"/>
                    </a:cubicBezTo>
                    <a:cubicBezTo>
                      <a:pt x="42" y="229"/>
                      <a:pt x="42" y="229"/>
                      <a:pt x="42" y="229"/>
                    </a:cubicBezTo>
                    <a:cubicBezTo>
                      <a:pt x="41" y="231"/>
                      <a:pt x="41" y="231"/>
                      <a:pt x="41" y="231"/>
                    </a:cubicBezTo>
                    <a:cubicBezTo>
                      <a:pt x="37" y="233"/>
                      <a:pt x="37" y="233"/>
                      <a:pt x="37" y="233"/>
                    </a:cubicBezTo>
                    <a:cubicBezTo>
                      <a:pt x="36" y="232"/>
                      <a:pt x="36" y="232"/>
                      <a:pt x="36" y="232"/>
                    </a:cubicBezTo>
                    <a:cubicBezTo>
                      <a:pt x="35" y="231"/>
                      <a:pt x="35" y="231"/>
                      <a:pt x="35" y="231"/>
                    </a:cubicBezTo>
                    <a:cubicBezTo>
                      <a:pt x="33" y="230"/>
                      <a:pt x="33" y="230"/>
                      <a:pt x="33" y="230"/>
                    </a:cubicBezTo>
                    <a:cubicBezTo>
                      <a:pt x="30" y="231"/>
                      <a:pt x="30" y="231"/>
                      <a:pt x="30" y="231"/>
                    </a:cubicBezTo>
                    <a:cubicBezTo>
                      <a:pt x="31" y="234"/>
                      <a:pt x="31" y="234"/>
                      <a:pt x="31" y="234"/>
                    </a:cubicBezTo>
                    <a:cubicBezTo>
                      <a:pt x="29" y="236"/>
                      <a:pt x="29" y="236"/>
                      <a:pt x="29" y="236"/>
                    </a:cubicBezTo>
                    <a:cubicBezTo>
                      <a:pt x="30" y="239"/>
                      <a:pt x="30" y="239"/>
                      <a:pt x="30" y="239"/>
                    </a:cubicBezTo>
                    <a:cubicBezTo>
                      <a:pt x="29" y="243"/>
                      <a:pt x="29" y="243"/>
                      <a:pt x="29" y="243"/>
                    </a:cubicBezTo>
                    <a:cubicBezTo>
                      <a:pt x="27" y="243"/>
                      <a:pt x="27" y="243"/>
                      <a:pt x="27" y="243"/>
                    </a:cubicBezTo>
                    <a:cubicBezTo>
                      <a:pt x="25" y="246"/>
                      <a:pt x="25" y="246"/>
                      <a:pt x="25" y="246"/>
                    </a:cubicBezTo>
                    <a:cubicBezTo>
                      <a:pt x="27" y="250"/>
                      <a:pt x="27" y="250"/>
                      <a:pt x="27" y="250"/>
                    </a:cubicBezTo>
                    <a:cubicBezTo>
                      <a:pt x="28" y="251"/>
                      <a:pt x="28" y="251"/>
                      <a:pt x="28" y="251"/>
                    </a:cubicBezTo>
                    <a:cubicBezTo>
                      <a:pt x="26" y="254"/>
                      <a:pt x="26" y="254"/>
                      <a:pt x="26" y="254"/>
                    </a:cubicBezTo>
                    <a:cubicBezTo>
                      <a:pt x="27" y="257"/>
                      <a:pt x="27" y="257"/>
                      <a:pt x="27" y="257"/>
                    </a:cubicBezTo>
                    <a:cubicBezTo>
                      <a:pt x="30" y="256"/>
                      <a:pt x="30" y="256"/>
                      <a:pt x="30" y="256"/>
                    </a:cubicBezTo>
                    <a:cubicBezTo>
                      <a:pt x="32" y="258"/>
                      <a:pt x="32" y="258"/>
                      <a:pt x="32" y="258"/>
                    </a:cubicBezTo>
                    <a:cubicBezTo>
                      <a:pt x="31" y="262"/>
                      <a:pt x="31" y="262"/>
                      <a:pt x="31" y="262"/>
                    </a:cubicBezTo>
                    <a:cubicBezTo>
                      <a:pt x="30" y="264"/>
                      <a:pt x="30" y="264"/>
                      <a:pt x="30" y="264"/>
                    </a:cubicBezTo>
                    <a:cubicBezTo>
                      <a:pt x="31" y="267"/>
                      <a:pt x="31" y="267"/>
                      <a:pt x="31" y="267"/>
                    </a:cubicBezTo>
                    <a:cubicBezTo>
                      <a:pt x="30" y="269"/>
                      <a:pt x="30" y="269"/>
                      <a:pt x="30" y="269"/>
                    </a:cubicBezTo>
                    <a:cubicBezTo>
                      <a:pt x="34" y="275"/>
                      <a:pt x="34" y="275"/>
                      <a:pt x="34" y="275"/>
                    </a:cubicBezTo>
                    <a:cubicBezTo>
                      <a:pt x="36" y="276"/>
                      <a:pt x="36" y="276"/>
                      <a:pt x="36" y="276"/>
                    </a:cubicBezTo>
                    <a:cubicBezTo>
                      <a:pt x="35" y="279"/>
                      <a:pt x="35" y="279"/>
                      <a:pt x="35" y="279"/>
                    </a:cubicBezTo>
                    <a:cubicBezTo>
                      <a:pt x="38" y="283"/>
                      <a:pt x="38" y="283"/>
                      <a:pt x="38" y="283"/>
                    </a:cubicBezTo>
                    <a:cubicBezTo>
                      <a:pt x="35" y="284"/>
                      <a:pt x="35" y="284"/>
                      <a:pt x="35" y="284"/>
                    </a:cubicBezTo>
                    <a:cubicBezTo>
                      <a:pt x="36" y="290"/>
                      <a:pt x="36" y="290"/>
                      <a:pt x="36" y="290"/>
                    </a:cubicBezTo>
                    <a:cubicBezTo>
                      <a:pt x="34" y="292"/>
                      <a:pt x="34" y="292"/>
                      <a:pt x="34" y="292"/>
                    </a:cubicBezTo>
                    <a:cubicBezTo>
                      <a:pt x="34" y="300"/>
                      <a:pt x="34" y="300"/>
                      <a:pt x="34" y="300"/>
                    </a:cubicBezTo>
                    <a:cubicBezTo>
                      <a:pt x="36" y="302"/>
                      <a:pt x="36" y="302"/>
                      <a:pt x="36" y="302"/>
                    </a:cubicBezTo>
                    <a:cubicBezTo>
                      <a:pt x="34" y="306"/>
                      <a:pt x="34" y="306"/>
                      <a:pt x="34" y="306"/>
                    </a:cubicBezTo>
                    <a:cubicBezTo>
                      <a:pt x="34" y="309"/>
                      <a:pt x="34" y="309"/>
                      <a:pt x="34" y="309"/>
                    </a:cubicBezTo>
                    <a:cubicBezTo>
                      <a:pt x="36" y="311"/>
                      <a:pt x="36" y="311"/>
                      <a:pt x="36" y="311"/>
                    </a:cubicBezTo>
                    <a:cubicBezTo>
                      <a:pt x="41" y="309"/>
                      <a:pt x="41" y="309"/>
                      <a:pt x="41" y="309"/>
                    </a:cubicBezTo>
                    <a:cubicBezTo>
                      <a:pt x="43" y="310"/>
                      <a:pt x="43" y="310"/>
                      <a:pt x="43" y="310"/>
                    </a:cubicBezTo>
                    <a:cubicBezTo>
                      <a:pt x="44" y="308"/>
                      <a:pt x="44" y="308"/>
                      <a:pt x="44" y="308"/>
                    </a:cubicBezTo>
                    <a:cubicBezTo>
                      <a:pt x="48" y="313"/>
                      <a:pt x="48" y="313"/>
                      <a:pt x="48" y="313"/>
                    </a:cubicBezTo>
                    <a:cubicBezTo>
                      <a:pt x="51" y="312"/>
                      <a:pt x="51" y="312"/>
                      <a:pt x="51" y="312"/>
                    </a:cubicBezTo>
                    <a:cubicBezTo>
                      <a:pt x="53" y="314"/>
                      <a:pt x="53" y="314"/>
                      <a:pt x="53" y="314"/>
                    </a:cubicBezTo>
                    <a:cubicBezTo>
                      <a:pt x="59" y="314"/>
                      <a:pt x="59" y="314"/>
                      <a:pt x="59" y="314"/>
                    </a:cubicBezTo>
                    <a:cubicBezTo>
                      <a:pt x="60" y="315"/>
                      <a:pt x="60" y="315"/>
                      <a:pt x="60" y="315"/>
                    </a:cubicBezTo>
                    <a:cubicBezTo>
                      <a:pt x="59" y="317"/>
                      <a:pt x="59" y="317"/>
                      <a:pt x="59" y="317"/>
                    </a:cubicBezTo>
                    <a:cubicBezTo>
                      <a:pt x="61" y="317"/>
                      <a:pt x="61" y="317"/>
                      <a:pt x="61" y="317"/>
                    </a:cubicBezTo>
                    <a:cubicBezTo>
                      <a:pt x="66" y="314"/>
                      <a:pt x="66" y="314"/>
                      <a:pt x="66" y="314"/>
                    </a:cubicBezTo>
                    <a:cubicBezTo>
                      <a:pt x="66" y="317"/>
                      <a:pt x="66" y="317"/>
                      <a:pt x="66" y="317"/>
                    </a:cubicBezTo>
                    <a:cubicBezTo>
                      <a:pt x="63" y="320"/>
                      <a:pt x="63" y="320"/>
                      <a:pt x="63" y="320"/>
                    </a:cubicBezTo>
                    <a:cubicBezTo>
                      <a:pt x="68" y="326"/>
                      <a:pt x="68" y="326"/>
                      <a:pt x="68" y="326"/>
                    </a:cubicBezTo>
                    <a:cubicBezTo>
                      <a:pt x="69" y="329"/>
                      <a:pt x="69" y="329"/>
                      <a:pt x="69" y="329"/>
                    </a:cubicBezTo>
                    <a:cubicBezTo>
                      <a:pt x="68" y="332"/>
                      <a:pt x="68" y="332"/>
                      <a:pt x="68" y="332"/>
                    </a:cubicBezTo>
                    <a:cubicBezTo>
                      <a:pt x="69" y="333"/>
                      <a:pt x="69" y="333"/>
                      <a:pt x="69" y="333"/>
                    </a:cubicBezTo>
                    <a:cubicBezTo>
                      <a:pt x="71" y="328"/>
                      <a:pt x="71" y="328"/>
                      <a:pt x="71" y="328"/>
                    </a:cubicBezTo>
                    <a:cubicBezTo>
                      <a:pt x="73" y="326"/>
                      <a:pt x="73" y="326"/>
                      <a:pt x="73" y="326"/>
                    </a:cubicBezTo>
                    <a:cubicBezTo>
                      <a:pt x="74" y="329"/>
                      <a:pt x="74" y="329"/>
                      <a:pt x="74" y="329"/>
                    </a:cubicBezTo>
                    <a:cubicBezTo>
                      <a:pt x="77" y="327"/>
                      <a:pt x="77" y="327"/>
                      <a:pt x="77" y="327"/>
                    </a:cubicBezTo>
                    <a:cubicBezTo>
                      <a:pt x="80" y="327"/>
                      <a:pt x="80" y="327"/>
                      <a:pt x="80" y="327"/>
                    </a:cubicBezTo>
                    <a:cubicBezTo>
                      <a:pt x="86" y="323"/>
                      <a:pt x="86" y="323"/>
                      <a:pt x="86" y="323"/>
                    </a:cubicBezTo>
                    <a:cubicBezTo>
                      <a:pt x="90" y="323"/>
                      <a:pt x="90" y="323"/>
                      <a:pt x="90" y="323"/>
                    </a:cubicBezTo>
                    <a:cubicBezTo>
                      <a:pt x="97" y="318"/>
                      <a:pt x="97" y="318"/>
                      <a:pt x="97" y="318"/>
                    </a:cubicBezTo>
                    <a:cubicBezTo>
                      <a:pt x="98" y="316"/>
                      <a:pt x="98" y="316"/>
                      <a:pt x="98" y="316"/>
                    </a:cubicBezTo>
                    <a:cubicBezTo>
                      <a:pt x="103" y="318"/>
                      <a:pt x="103" y="318"/>
                      <a:pt x="103" y="318"/>
                    </a:cubicBezTo>
                    <a:cubicBezTo>
                      <a:pt x="106" y="317"/>
                      <a:pt x="106" y="317"/>
                      <a:pt x="106" y="317"/>
                    </a:cubicBezTo>
                    <a:cubicBezTo>
                      <a:pt x="109" y="313"/>
                      <a:pt x="109" y="313"/>
                      <a:pt x="109" y="313"/>
                    </a:cubicBezTo>
                    <a:cubicBezTo>
                      <a:pt x="110" y="314"/>
                      <a:pt x="110" y="314"/>
                      <a:pt x="110" y="314"/>
                    </a:cubicBezTo>
                    <a:cubicBezTo>
                      <a:pt x="108" y="317"/>
                      <a:pt x="108" y="317"/>
                      <a:pt x="108" y="317"/>
                    </a:cubicBezTo>
                    <a:cubicBezTo>
                      <a:pt x="110" y="318"/>
                      <a:pt x="110" y="318"/>
                      <a:pt x="110" y="318"/>
                    </a:cubicBezTo>
                    <a:cubicBezTo>
                      <a:pt x="112" y="314"/>
                      <a:pt x="112" y="314"/>
                      <a:pt x="112" y="314"/>
                    </a:cubicBezTo>
                    <a:cubicBezTo>
                      <a:pt x="114" y="314"/>
                      <a:pt x="114" y="314"/>
                      <a:pt x="114" y="314"/>
                    </a:cubicBezTo>
                    <a:cubicBezTo>
                      <a:pt x="112" y="310"/>
                      <a:pt x="112" y="310"/>
                      <a:pt x="112" y="310"/>
                    </a:cubicBezTo>
                    <a:cubicBezTo>
                      <a:pt x="114" y="309"/>
                      <a:pt x="114" y="309"/>
                      <a:pt x="114" y="309"/>
                    </a:cubicBezTo>
                    <a:cubicBezTo>
                      <a:pt x="116" y="312"/>
                      <a:pt x="116" y="312"/>
                      <a:pt x="116" y="312"/>
                    </a:cubicBezTo>
                    <a:cubicBezTo>
                      <a:pt x="118" y="313"/>
                      <a:pt x="118" y="313"/>
                      <a:pt x="118" y="313"/>
                    </a:cubicBezTo>
                    <a:cubicBezTo>
                      <a:pt x="119" y="310"/>
                      <a:pt x="119" y="310"/>
                      <a:pt x="119" y="310"/>
                    </a:cubicBezTo>
                    <a:cubicBezTo>
                      <a:pt x="121" y="314"/>
                      <a:pt x="121" y="314"/>
                      <a:pt x="121" y="314"/>
                    </a:cubicBezTo>
                    <a:cubicBezTo>
                      <a:pt x="123" y="313"/>
                      <a:pt x="123" y="313"/>
                      <a:pt x="123" y="313"/>
                    </a:cubicBezTo>
                    <a:cubicBezTo>
                      <a:pt x="124" y="311"/>
                      <a:pt x="124" y="311"/>
                      <a:pt x="124" y="311"/>
                    </a:cubicBezTo>
                    <a:cubicBezTo>
                      <a:pt x="126" y="311"/>
                      <a:pt x="126" y="311"/>
                      <a:pt x="126" y="311"/>
                    </a:cubicBezTo>
                    <a:cubicBezTo>
                      <a:pt x="127" y="313"/>
                      <a:pt x="127" y="313"/>
                      <a:pt x="127" y="313"/>
                    </a:cubicBezTo>
                    <a:cubicBezTo>
                      <a:pt x="129" y="311"/>
                      <a:pt x="129" y="311"/>
                      <a:pt x="129" y="311"/>
                    </a:cubicBezTo>
                    <a:cubicBezTo>
                      <a:pt x="134" y="310"/>
                      <a:pt x="134" y="310"/>
                      <a:pt x="134" y="310"/>
                    </a:cubicBezTo>
                    <a:cubicBezTo>
                      <a:pt x="137" y="312"/>
                      <a:pt x="137" y="312"/>
                      <a:pt x="137" y="312"/>
                    </a:cubicBezTo>
                    <a:cubicBezTo>
                      <a:pt x="143" y="312"/>
                      <a:pt x="143" y="312"/>
                      <a:pt x="143" y="312"/>
                    </a:cubicBezTo>
                    <a:cubicBezTo>
                      <a:pt x="143" y="310"/>
                      <a:pt x="143" y="310"/>
                      <a:pt x="143" y="310"/>
                    </a:cubicBezTo>
                    <a:cubicBezTo>
                      <a:pt x="142" y="308"/>
                      <a:pt x="142" y="308"/>
                      <a:pt x="142" y="308"/>
                    </a:cubicBezTo>
                    <a:cubicBezTo>
                      <a:pt x="143" y="307"/>
                      <a:pt x="143" y="307"/>
                      <a:pt x="143" y="307"/>
                    </a:cubicBezTo>
                    <a:cubicBezTo>
                      <a:pt x="146" y="308"/>
                      <a:pt x="146" y="308"/>
                      <a:pt x="146" y="308"/>
                    </a:cubicBezTo>
                    <a:cubicBezTo>
                      <a:pt x="147" y="310"/>
                      <a:pt x="147" y="310"/>
                      <a:pt x="147" y="310"/>
                    </a:cubicBezTo>
                    <a:cubicBezTo>
                      <a:pt x="150" y="311"/>
                      <a:pt x="150" y="311"/>
                      <a:pt x="150" y="311"/>
                    </a:cubicBezTo>
                    <a:cubicBezTo>
                      <a:pt x="150" y="311"/>
                      <a:pt x="151" y="309"/>
                      <a:pt x="152" y="308"/>
                    </a:cubicBezTo>
                    <a:close/>
                    <a:moveTo>
                      <a:pt x="80" y="173"/>
                    </a:moveTo>
                    <a:cubicBezTo>
                      <a:pt x="79" y="175"/>
                      <a:pt x="79" y="175"/>
                      <a:pt x="79" y="175"/>
                    </a:cubicBezTo>
                    <a:cubicBezTo>
                      <a:pt x="75" y="175"/>
                      <a:pt x="75" y="175"/>
                      <a:pt x="75" y="175"/>
                    </a:cubicBezTo>
                    <a:cubicBezTo>
                      <a:pt x="73" y="171"/>
                      <a:pt x="73" y="171"/>
                      <a:pt x="73" y="171"/>
                    </a:cubicBezTo>
                    <a:cubicBezTo>
                      <a:pt x="76" y="168"/>
                      <a:pt x="76" y="168"/>
                      <a:pt x="76" y="168"/>
                    </a:cubicBezTo>
                    <a:cubicBezTo>
                      <a:pt x="82" y="169"/>
                      <a:pt x="82" y="169"/>
                      <a:pt x="82" y="169"/>
                    </a:cubicBezTo>
                    <a:cubicBezTo>
                      <a:pt x="82" y="171"/>
                      <a:pt x="82" y="171"/>
                      <a:pt x="82" y="171"/>
                    </a:cubicBezTo>
                    <a:cubicBezTo>
                      <a:pt x="78" y="171"/>
                      <a:pt x="78" y="171"/>
                      <a:pt x="78" y="171"/>
                    </a:cubicBezTo>
                    <a:cubicBezTo>
                      <a:pt x="80" y="173"/>
                      <a:pt x="80" y="173"/>
                      <a:pt x="80" y="173"/>
                    </a:cubicBezTo>
                    <a:close/>
                    <a:moveTo>
                      <a:pt x="26" y="226"/>
                    </a:moveTo>
                    <a:cubicBezTo>
                      <a:pt x="26" y="223"/>
                      <a:pt x="26" y="223"/>
                      <a:pt x="26" y="223"/>
                    </a:cubicBezTo>
                    <a:cubicBezTo>
                      <a:pt x="29" y="225"/>
                      <a:pt x="29" y="225"/>
                      <a:pt x="29" y="225"/>
                    </a:cubicBezTo>
                    <a:cubicBezTo>
                      <a:pt x="27" y="227"/>
                      <a:pt x="27" y="227"/>
                      <a:pt x="27" y="227"/>
                    </a:cubicBezTo>
                    <a:cubicBezTo>
                      <a:pt x="26" y="226"/>
                      <a:pt x="26" y="226"/>
                      <a:pt x="26" y="226"/>
                    </a:cubicBezTo>
                    <a:close/>
                    <a:moveTo>
                      <a:pt x="24" y="228"/>
                    </a:moveTo>
                    <a:cubicBezTo>
                      <a:pt x="27" y="230"/>
                      <a:pt x="27" y="230"/>
                      <a:pt x="27" y="230"/>
                    </a:cubicBezTo>
                    <a:cubicBezTo>
                      <a:pt x="29" y="229"/>
                      <a:pt x="29" y="229"/>
                      <a:pt x="29" y="229"/>
                    </a:cubicBezTo>
                    <a:cubicBezTo>
                      <a:pt x="29" y="232"/>
                      <a:pt x="29" y="232"/>
                      <a:pt x="29" y="232"/>
                    </a:cubicBezTo>
                    <a:cubicBezTo>
                      <a:pt x="25" y="234"/>
                      <a:pt x="25" y="234"/>
                      <a:pt x="25" y="234"/>
                    </a:cubicBezTo>
                    <a:cubicBezTo>
                      <a:pt x="23" y="231"/>
                      <a:pt x="23" y="231"/>
                      <a:pt x="23" y="231"/>
                    </a:cubicBezTo>
                    <a:cubicBezTo>
                      <a:pt x="24" y="228"/>
                      <a:pt x="24" y="228"/>
                      <a:pt x="24" y="228"/>
                    </a:cubicBezTo>
                    <a:close/>
                    <a:moveTo>
                      <a:pt x="64" y="326"/>
                    </a:moveTo>
                    <a:cubicBezTo>
                      <a:pt x="65" y="328"/>
                      <a:pt x="65" y="328"/>
                      <a:pt x="65" y="328"/>
                    </a:cubicBezTo>
                    <a:cubicBezTo>
                      <a:pt x="62" y="330"/>
                      <a:pt x="62" y="330"/>
                      <a:pt x="62" y="330"/>
                    </a:cubicBezTo>
                    <a:cubicBezTo>
                      <a:pt x="61" y="328"/>
                      <a:pt x="61" y="328"/>
                      <a:pt x="61" y="328"/>
                    </a:cubicBezTo>
                    <a:cubicBezTo>
                      <a:pt x="63" y="327"/>
                      <a:pt x="63" y="327"/>
                      <a:pt x="63" y="327"/>
                    </a:cubicBezTo>
                    <a:cubicBezTo>
                      <a:pt x="64" y="326"/>
                      <a:pt x="64" y="326"/>
                      <a:pt x="64" y="326"/>
                    </a:cubicBezTo>
                    <a:close/>
                    <a:moveTo>
                      <a:pt x="59" y="321"/>
                    </a:moveTo>
                    <a:cubicBezTo>
                      <a:pt x="60" y="324"/>
                      <a:pt x="60" y="324"/>
                      <a:pt x="60" y="324"/>
                    </a:cubicBezTo>
                    <a:cubicBezTo>
                      <a:pt x="59" y="324"/>
                      <a:pt x="59" y="324"/>
                      <a:pt x="59" y="324"/>
                    </a:cubicBezTo>
                    <a:cubicBezTo>
                      <a:pt x="59" y="321"/>
                      <a:pt x="59" y="321"/>
                      <a:pt x="59" y="321"/>
                    </a:cubicBezTo>
                    <a:close/>
                    <a:moveTo>
                      <a:pt x="51" y="318"/>
                    </a:moveTo>
                    <a:cubicBezTo>
                      <a:pt x="57" y="317"/>
                      <a:pt x="57" y="317"/>
                      <a:pt x="57" y="317"/>
                    </a:cubicBezTo>
                    <a:cubicBezTo>
                      <a:pt x="57" y="319"/>
                      <a:pt x="57" y="319"/>
                      <a:pt x="57" y="319"/>
                    </a:cubicBezTo>
                    <a:cubicBezTo>
                      <a:pt x="53" y="321"/>
                      <a:pt x="53" y="321"/>
                      <a:pt x="53" y="321"/>
                    </a:cubicBezTo>
                    <a:cubicBezTo>
                      <a:pt x="50" y="320"/>
                      <a:pt x="50" y="320"/>
                      <a:pt x="50" y="320"/>
                    </a:cubicBezTo>
                    <a:cubicBezTo>
                      <a:pt x="51" y="318"/>
                      <a:pt x="51" y="318"/>
                      <a:pt x="51" y="318"/>
                    </a:cubicBezTo>
                    <a:close/>
                    <a:moveTo>
                      <a:pt x="43" y="312"/>
                    </a:moveTo>
                    <a:cubicBezTo>
                      <a:pt x="47" y="315"/>
                      <a:pt x="47" y="315"/>
                      <a:pt x="47" y="315"/>
                    </a:cubicBezTo>
                    <a:cubicBezTo>
                      <a:pt x="45" y="316"/>
                      <a:pt x="45" y="316"/>
                      <a:pt x="45" y="316"/>
                    </a:cubicBezTo>
                    <a:cubicBezTo>
                      <a:pt x="43" y="315"/>
                      <a:pt x="43" y="315"/>
                      <a:pt x="43" y="315"/>
                    </a:cubicBezTo>
                    <a:cubicBezTo>
                      <a:pt x="43" y="312"/>
                      <a:pt x="43" y="312"/>
                      <a:pt x="43" y="312"/>
                    </a:cubicBezTo>
                    <a:close/>
                    <a:moveTo>
                      <a:pt x="35" y="313"/>
                    </a:moveTo>
                    <a:cubicBezTo>
                      <a:pt x="38" y="314"/>
                      <a:pt x="38" y="314"/>
                      <a:pt x="38" y="314"/>
                    </a:cubicBezTo>
                    <a:cubicBezTo>
                      <a:pt x="36" y="314"/>
                      <a:pt x="36" y="314"/>
                      <a:pt x="36" y="314"/>
                    </a:cubicBezTo>
                    <a:cubicBezTo>
                      <a:pt x="36" y="314"/>
                      <a:pt x="34" y="313"/>
                      <a:pt x="35" y="313"/>
                    </a:cubicBezTo>
                    <a:close/>
                    <a:moveTo>
                      <a:pt x="9" y="318"/>
                    </a:moveTo>
                    <a:cubicBezTo>
                      <a:pt x="13" y="320"/>
                      <a:pt x="13" y="320"/>
                      <a:pt x="13" y="320"/>
                    </a:cubicBezTo>
                    <a:cubicBezTo>
                      <a:pt x="15" y="318"/>
                      <a:pt x="15" y="318"/>
                      <a:pt x="15" y="318"/>
                    </a:cubicBezTo>
                    <a:cubicBezTo>
                      <a:pt x="12" y="316"/>
                      <a:pt x="12" y="316"/>
                      <a:pt x="12" y="316"/>
                    </a:cubicBezTo>
                    <a:cubicBezTo>
                      <a:pt x="12" y="314"/>
                      <a:pt x="12" y="314"/>
                      <a:pt x="12" y="314"/>
                    </a:cubicBezTo>
                    <a:cubicBezTo>
                      <a:pt x="14" y="313"/>
                      <a:pt x="14" y="313"/>
                      <a:pt x="14" y="313"/>
                    </a:cubicBezTo>
                    <a:cubicBezTo>
                      <a:pt x="19" y="317"/>
                      <a:pt x="19" y="317"/>
                      <a:pt x="19" y="317"/>
                    </a:cubicBezTo>
                    <a:cubicBezTo>
                      <a:pt x="20" y="320"/>
                      <a:pt x="20" y="320"/>
                      <a:pt x="20" y="320"/>
                    </a:cubicBezTo>
                    <a:cubicBezTo>
                      <a:pt x="17" y="320"/>
                      <a:pt x="17" y="320"/>
                      <a:pt x="17" y="320"/>
                    </a:cubicBezTo>
                    <a:cubicBezTo>
                      <a:pt x="16" y="321"/>
                      <a:pt x="16" y="321"/>
                      <a:pt x="16" y="321"/>
                    </a:cubicBezTo>
                    <a:cubicBezTo>
                      <a:pt x="18" y="324"/>
                      <a:pt x="18" y="324"/>
                      <a:pt x="18" y="324"/>
                    </a:cubicBezTo>
                    <a:cubicBezTo>
                      <a:pt x="21" y="324"/>
                      <a:pt x="21" y="324"/>
                      <a:pt x="21" y="324"/>
                    </a:cubicBezTo>
                    <a:cubicBezTo>
                      <a:pt x="22" y="327"/>
                      <a:pt x="22" y="327"/>
                      <a:pt x="22" y="327"/>
                    </a:cubicBezTo>
                    <a:cubicBezTo>
                      <a:pt x="19" y="329"/>
                      <a:pt x="19" y="329"/>
                      <a:pt x="19" y="329"/>
                    </a:cubicBezTo>
                    <a:cubicBezTo>
                      <a:pt x="16" y="326"/>
                      <a:pt x="16" y="326"/>
                      <a:pt x="16" y="326"/>
                    </a:cubicBezTo>
                    <a:cubicBezTo>
                      <a:pt x="12" y="324"/>
                      <a:pt x="12" y="324"/>
                      <a:pt x="12" y="324"/>
                    </a:cubicBezTo>
                    <a:cubicBezTo>
                      <a:pt x="10" y="322"/>
                      <a:pt x="10" y="322"/>
                      <a:pt x="10" y="322"/>
                    </a:cubicBezTo>
                    <a:cubicBezTo>
                      <a:pt x="8" y="320"/>
                      <a:pt x="8" y="320"/>
                      <a:pt x="8" y="320"/>
                    </a:cubicBezTo>
                    <a:lnTo>
                      <a:pt x="9" y="318"/>
                    </a:lnTo>
                    <a:close/>
                  </a:path>
                </a:pathLst>
              </a:custGeom>
              <a:solidFill>
                <a:schemeClr val="accent6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758" name="Freeform 562"/>
              <p:cNvSpPr>
                <a:spLocks/>
              </p:cNvSpPr>
              <p:nvPr userDrawn="1"/>
            </p:nvSpPr>
            <p:spPr bwMode="auto">
              <a:xfrm>
                <a:off x="3834" y="1891"/>
                <a:ext cx="303" cy="181"/>
              </a:xfrm>
              <a:custGeom>
                <a:avLst/>
                <a:gdLst>
                  <a:gd name="T0" fmla="*/ 44 w 303"/>
                  <a:gd name="T1" fmla="*/ 16 h 181"/>
                  <a:gd name="T2" fmla="*/ 71 w 303"/>
                  <a:gd name="T3" fmla="*/ 17 h 181"/>
                  <a:gd name="T4" fmla="*/ 88 w 303"/>
                  <a:gd name="T5" fmla="*/ 21 h 181"/>
                  <a:gd name="T6" fmla="*/ 108 w 303"/>
                  <a:gd name="T7" fmla="*/ 19 h 181"/>
                  <a:gd name="T8" fmla="*/ 123 w 303"/>
                  <a:gd name="T9" fmla="*/ 21 h 181"/>
                  <a:gd name="T10" fmla="*/ 138 w 303"/>
                  <a:gd name="T11" fmla="*/ 8 h 181"/>
                  <a:gd name="T12" fmla="*/ 159 w 303"/>
                  <a:gd name="T13" fmla="*/ 3 h 181"/>
                  <a:gd name="T14" fmla="*/ 189 w 303"/>
                  <a:gd name="T15" fmla="*/ 1 h 181"/>
                  <a:gd name="T16" fmla="*/ 209 w 303"/>
                  <a:gd name="T17" fmla="*/ 21 h 181"/>
                  <a:gd name="T18" fmla="*/ 218 w 303"/>
                  <a:gd name="T19" fmla="*/ 39 h 181"/>
                  <a:gd name="T20" fmla="*/ 243 w 303"/>
                  <a:gd name="T21" fmla="*/ 46 h 181"/>
                  <a:gd name="T22" fmla="*/ 264 w 303"/>
                  <a:gd name="T23" fmla="*/ 56 h 181"/>
                  <a:gd name="T24" fmla="*/ 285 w 303"/>
                  <a:gd name="T25" fmla="*/ 56 h 181"/>
                  <a:gd name="T26" fmla="*/ 302 w 303"/>
                  <a:gd name="T27" fmla="*/ 63 h 181"/>
                  <a:gd name="T28" fmla="*/ 301 w 303"/>
                  <a:gd name="T29" fmla="*/ 84 h 181"/>
                  <a:gd name="T30" fmla="*/ 287 w 303"/>
                  <a:gd name="T31" fmla="*/ 103 h 181"/>
                  <a:gd name="T32" fmla="*/ 276 w 303"/>
                  <a:gd name="T33" fmla="*/ 117 h 181"/>
                  <a:gd name="T34" fmla="*/ 261 w 303"/>
                  <a:gd name="T35" fmla="*/ 124 h 181"/>
                  <a:gd name="T36" fmla="*/ 246 w 303"/>
                  <a:gd name="T37" fmla="*/ 131 h 181"/>
                  <a:gd name="T38" fmla="*/ 230 w 303"/>
                  <a:gd name="T39" fmla="*/ 130 h 181"/>
                  <a:gd name="T40" fmla="*/ 226 w 303"/>
                  <a:gd name="T41" fmla="*/ 142 h 181"/>
                  <a:gd name="T42" fmla="*/ 228 w 303"/>
                  <a:gd name="T43" fmla="*/ 135 h 181"/>
                  <a:gd name="T44" fmla="*/ 215 w 303"/>
                  <a:gd name="T45" fmla="*/ 145 h 181"/>
                  <a:gd name="T46" fmla="*/ 202 w 303"/>
                  <a:gd name="T47" fmla="*/ 145 h 181"/>
                  <a:gd name="T48" fmla="*/ 217 w 303"/>
                  <a:gd name="T49" fmla="*/ 150 h 181"/>
                  <a:gd name="T50" fmla="*/ 220 w 303"/>
                  <a:gd name="T51" fmla="*/ 154 h 181"/>
                  <a:gd name="T52" fmla="*/ 226 w 303"/>
                  <a:gd name="T53" fmla="*/ 162 h 181"/>
                  <a:gd name="T54" fmla="*/ 218 w 303"/>
                  <a:gd name="T55" fmla="*/ 145 h 181"/>
                  <a:gd name="T56" fmla="*/ 235 w 303"/>
                  <a:gd name="T57" fmla="*/ 162 h 181"/>
                  <a:gd name="T58" fmla="*/ 251 w 303"/>
                  <a:gd name="T59" fmla="*/ 157 h 181"/>
                  <a:gd name="T60" fmla="*/ 252 w 303"/>
                  <a:gd name="T61" fmla="*/ 167 h 181"/>
                  <a:gd name="T62" fmla="*/ 225 w 303"/>
                  <a:gd name="T63" fmla="*/ 173 h 181"/>
                  <a:gd name="T64" fmla="*/ 201 w 303"/>
                  <a:gd name="T65" fmla="*/ 177 h 181"/>
                  <a:gd name="T66" fmla="*/ 192 w 303"/>
                  <a:gd name="T67" fmla="*/ 162 h 181"/>
                  <a:gd name="T68" fmla="*/ 201 w 303"/>
                  <a:gd name="T69" fmla="*/ 153 h 181"/>
                  <a:gd name="T70" fmla="*/ 196 w 303"/>
                  <a:gd name="T71" fmla="*/ 147 h 181"/>
                  <a:gd name="T72" fmla="*/ 178 w 303"/>
                  <a:gd name="T73" fmla="*/ 145 h 181"/>
                  <a:gd name="T74" fmla="*/ 170 w 303"/>
                  <a:gd name="T75" fmla="*/ 137 h 181"/>
                  <a:gd name="T76" fmla="*/ 175 w 303"/>
                  <a:gd name="T77" fmla="*/ 135 h 181"/>
                  <a:gd name="T78" fmla="*/ 172 w 303"/>
                  <a:gd name="T79" fmla="*/ 131 h 181"/>
                  <a:gd name="T80" fmla="*/ 164 w 303"/>
                  <a:gd name="T81" fmla="*/ 133 h 181"/>
                  <a:gd name="T82" fmla="*/ 151 w 303"/>
                  <a:gd name="T83" fmla="*/ 142 h 181"/>
                  <a:gd name="T84" fmla="*/ 137 w 303"/>
                  <a:gd name="T85" fmla="*/ 156 h 181"/>
                  <a:gd name="T86" fmla="*/ 136 w 303"/>
                  <a:gd name="T87" fmla="*/ 164 h 181"/>
                  <a:gd name="T88" fmla="*/ 118 w 303"/>
                  <a:gd name="T89" fmla="*/ 164 h 181"/>
                  <a:gd name="T90" fmla="*/ 115 w 303"/>
                  <a:gd name="T91" fmla="*/ 155 h 181"/>
                  <a:gd name="T92" fmla="*/ 125 w 303"/>
                  <a:gd name="T93" fmla="*/ 137 h 181"/>
                  <a:gd name="T94" fmla="*/ 136 w 303"/>
                  <a:gd name="T95" fmla="*/ 134 h 181"/>
                  <a:gd name="T96" fmla="*/ 126 w 303"/>
                  <a:gd name="T97" fmla="*/ 118 h 181"/>
                  <a:gd name="T98" fmla="*/ 110 w 303"/>
                  <a:gd name="T99" fmla="*/ 98 h 181"/>
                  <a:gd name="T100" fmla="*/ 91 w 303"/>
                  <a:gd name="T101" fmla="*/ 94 h 181"/>
                  <a:gd name="T102" fmla="*/ 79 w 303"/>
                  <a:gd name="T103" fmla="*/ 91 h 181"/>
                  <a:gd name="T104" fmla="*/ 76 w 303"/>
                  <a:gd name="T105" fmla="*/ 103 h 181"/>
                  <a:gd name="T106" fmla="*/ 48 w 303"/>
                  <a:gd name="T107" fmla="*/ 112 h 181"/>
                  <a:gd name="T108" fmla="*/ 27 w 303"/>
                  <a:gd name="T109" fmla="*/ 107 h 181"/>
                  <a:gd name="T110" fmla="*/ 9 w 303"/>
                  <a:gd name="T111" fmla="*/ 102 h 181"/>
                  <a:gd name="T112" fmla="*/ 5 w 303"/>
                  <a:gd name="T113" fmla="*/ 81 h 181"/>
                  <a:gd name="T114" fmla="*/ 21 w 303"/>
                  <a:gd name="T115" fmla="*/ 53 h 181"/>
                  <a:gd name="T116" fmla="*/ 26 w 303"/>
                  <a:gd name="T117" fmla="*/ 40 h 181"/>
                  <a:gd name="T118" fmla="*/ 19 w 303"/>
                  <a:gd name="T119" fmla="*/ 20 h 1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303" h="181">
                    <a:moveTo>
                      <a:pt x="20" y="17"/>
                    </a:moveTo>
                    <a:lnTo>
                      <a:pt x="22" y="17"/>
                    </a:lnTo>
                    <a:lnTo>
                      <a:pt x="28" y="20"/>
                    </a:lnTo>
                    <a:lnTo>
                      <a:pt x="31" y="18"/>
                    </a:lnTo>
                    <a:lnTo>
                      <a:pt x="44" y="16"/>
                    </a:lnTo>
                    <a:lnTo>
                      <a:pt x="50" y="16"/>
                    </a:lnTo>
                    <a:lnTo>
                      <a:pt x="54" y="13"/>
                    </a:lnTo>
                    <a:lnTo>
                      <a:pt x="56" y="13"/>
                    </a:lnTo>
                    <a:lnTo>
                      <a:pt x="61" y="15"/>
                    </a:lnTo>
                    <a:lnTo>
                      <a:pt x="71" y="17"/>
                    </a:lnTo>
                    <a:lnTo>
                      <a:pt x="76" y="19"/>
                    </a:lnTo>
                    <a:lnTo>
                      <a:pt x="77" y="21"/>
                    </a:lnTo>
                    <a:lnTo>
                      <a:pt x="83" y="19"/>
                    </a:lnTo>
                    <a:lnTo>
                      <a:pt x="86" y="22"/>
                    </a:lnTo>
                    <a:lnTo>
                      <a:pt x="88" y="21"/>
                    </a:lnTo>
                    <a:lnTo>
                      <a:pt x="90" y="20"/>
                    </a:lnTo>
                    <a:lnTo>
                      <a:pt x="95" y="21"/>
                    </a:lnTo>
                    <a:lnTo>
                      <a:pt x="98" y="22"/>
                    </a:lnTo>
                    <a:lnTo>
                      <a:pt x="104" y="18"/>
                    </a:lnTo>
                    <a:lnTo>
                      <a:pt x="108" y="19"/>
                    </a:lnTo>
                    <a:lnTo>
                      <a:pt x="109" y="22"/>
                    </a:lnTo>
                    <a:lnTo>
                      <a:pt x="112" y="23"/>
                    </a:lnTo>
                    <a:lnTo>
                      <a:pt x="116" y="19"/>
                    </a:lnTo>
                    <a:lnTo>
                      <a:pt x="120" y="19"/>
                    </a:lnTo>
                    <a:lnTo>
                      <a:pt x="123" y="21"/>
                    </a:lnTo>
                    <a:lnTo>
                      <a:pt x="129" y="20"/>
                    </a:lnTo>
                    <a:lnTo>
                      <a:pt x="131" y="22"/>
                    </a:lnTo>
                    <a:lnTo>
                      <a:pt x="135" y="22"/>
                    </a:lnTo>
                    <a:lnTo>
                      <a:pt x="136" y="16"/>
                    </a:lnTo>
                    <a:lnTo>
                      <a:pt x="138" y="8"/>
                    </a:lnTo>
                    <a:lnTo>
                      <a:pt x="144" y="8"/>
                    </a:lnTo>
                    <a:lnTo>
                      <a:pt x="151" y="6"/>
                    </a:lnTo>
                    <a:lnTo>
                      <a:pt x="155" y="7"/>
                    </a:lnTo>
                    <a:lnTo>
                      <a:pt x="159" y="6"/>
                    </a:lnTo>
                    <a:lnTo>
                      <a:pt x="159" y="3"/>
                    </a:lnTo>
                    <a:lnTo>
                      <a:pt x="162" y="0"/>
                    </a:lnTo>
                    <a:lnTo>
                      <a:pt x="171" y="3"/>
                    </a:lnTo>
                    <a:lnTo>
                      <a:pt x="180" y="3"/>
                    </a:lnTo>
                    <a:lnTo>
                      <a:pt x="185" y="1"/>
                    </a:lnTo>
                    <a:lnTo>
                      <a:pt x="189" y="1"/>
                    </a:lnTo>
                    <a:lnTo>
                      <a:pt x="192" y="9"/>
                    </a:lnTo>
                    <a:lnTo>
                      <a:pt x="195" y="12"/>
                    </a:lnTo>
                    <a:lnTo>
                      <a:pt x="193" y="16"/>
                    </a:lnTo>
                    <a:lnTo>
                      <a:pt x="198" y="23"/>
                    </a:lnTo>
                    <a:lnTo>
                      <a:pt x="209" y="21"/>
                    </a:lnTo>
                    <a:lnTo>
                      <a:pt x="213" y="24"/>
                    </a:lnTo>
                    <a:lnTo>
                      <a:pt x="213" y="27"/>
                    </a:lnTo>
                    <a:lnTo>
                      <a:pt x="216" y="28"/>
                    </a:lnTo>
                    <a:lnTo>
                      <a:pt x="216" y="33"/>
                    </a:lnTo>
                    <a:lnTo>
                      <a:pt x="218" y="39"/>
                    </a:lnTo>
                    <a:lnTo>
                      <a:pt x="227" y="47"/>
                    </a:lnTo>
                    <a:lnTo>
                      <a:pt x="230" y="43"/>
                    </a:lnTo>
                    <a:lnTo>
                      <a:pt x="236" y="46"/>
                    </a:lnTo>
                    <a:lnTo>
                      <a:pt x="239" y="45"/>
                    </a:lnTo>
                    <a:lnTo>
                      <a:pt x="243" y="46"/>
                    </a:lnTo>
                    <a:lnTo>
                      <a:pt x="250" y="41"/>
                    </a:lnTo>
                    <a:lnTo>
                      <a:pt x="253" y="41"/>
                    </a:lnTo>
                    <a:lnTo>
                      <a:pt x="257" y="49"/>
                    </a:lnTo>
                    <a:lnTo>
                      <a:pt x="262" y="52"/>
                    </a:lnTo>
                    <a:lnTo>
                      <a:pt x="264" y="56"/>
                    </a:lnTo>
                    <a:lnTo>
                      <a:pt x="267" y="53"/>
                    </a:lnTo>
                    <a:lnTo>
                      <a:pt x="274" y="55"/>
                    </a:lnTo>
                    <a:lnTo>
                      <a:pt x="279" y="55"/>
                    </a:lnTo>
                    <a:lnTo>
                      <a:pt x="281" y="57"/>
                    </a:lnTo>
                    <a:lnTo>
                      <a:pt x="285" y="56"/>
                    </a:lnTo>
                    <a:lnTo>
                      <a:pt x="290" y="59"/>
                    </a:lnTo>
                    <a:lnTo>
                      <a:pt x="296" y="60"/>
                    </a:lnTo>
                    <a:lnTo>
                      <a:pt x="299" y="58"/>
                    </a:lnTo>
                    <a:lnTo>
                      <a:pt x="301" y="62"/>
                    </a:lnTo>
                    <a:lnTo>
                      <a:pt x="302" y="63"/>
                    </a:lnTo>
                    <a:lnTo>
                      <a:pt x="303" y="68"/>
                    </a:lnTo>
                    <a:lnTo>
                      <a:pt x="300" y="71"/>
                    </a:lnTo>
                    <a:lnTo>
                      <a:pt x="296" y="72"/>
                    </a:lnTo>
                    <a:lnTo>
                      <a:pt x="295" y="80"/>
                    </a:lnTo>
                    <a:lnTo>
                      <a:pt x="301" y="84"/>
                    </a:lnTo>
                    <a:lnTo>
                      <a:pt x="301" y="89"/>
                    </a:lnTo>
                    <a:lnTo>
                      <a:pt x="299" y="95"/>
                    </a:lnTo>
                    <a:lnTo>
                      <a:pt x="300" y="100"/>
                    </a:lnTo>
                    <a:lnTo>
                      <a:pt x="296" y="102"/>
                    </a:lnTo>
                    <a:lnTo>
                      <a:pt x="287" y="103"/>
                    </a:lnTo>
                    <a:lnTo>
                      <a:pt x="283" y="109"/>
                    </a:lnTo>
                    <a:lnTo>
                      <a:pt x="280" y="110"/>
                    </a:lnTo>
                    <a:lnTo>
                      <a:pt x="280" y="118"/>
                    </a:lnTo>
                    <a:lnTo>
                      <a:pt x="277" y="119"/>
                    </a:lnTo>
                    <a:lnTo>
                      <a:pt x="276" y="117"/>
                    </a:lnTo>
                    <a:lnTo>
                      <a:pt x="274" y="117"/>
                    </a:lnTo>
                    <a:lnTo>
                      <a:pt x="269" y="119"/>
                    </a:lnTo>
                    <a:lnTo>
                      <a:pt x="265" y="119"/>
                    </a:lnTo>
                    <a:lnTo>
                      <a:pt x="262" y="120"/>
                    </a:lnTo>
                    <a:lnTo>
                      <a:pt x="261" y="124"/>
                    </a:lnTo>
                    <a:lnTo>
                      <a:pt x="257" y="124"/>
                    </a:lnTo>
                    <a:lnTo>
                      <a:pt x="255" y="127"/>
                    </a:lnTo>
                    <a:lnTo>
                      <a:pt x="251" y="131"/>
                    </a:lnTo>
                    <a:lnTo>
                      <a:pt x="250" y="131"/>
                    </a:lnTo>
                    <a:lnTo>
                      <a:pt x="246" y="131"/>
                    </a:lnTo>
                    <a:lnTo>
                      <a:pt x="243" y="133"/>
                    </a:lnTo>
                    <a:lnTo>
                      <a:pt x="238" y="132"/>
                    </a:lnTo>
                    <a:lnTo>
                      <a:pt x="235" y="134"/>
                    </a:lnTo>
                    <a:lnTo>
                      <a:pt x="232" y="134"/>
                    </a:lnTo>
                    <a:lnTo>
                      <a:pt x="230" y="130"/>
                    </a:lnTo>
                    <a:lnTo>
                      <a:pt x="228" y="130"/>
                    </a:lnTo>
                    <a:lnTo>
                      <a:pt x="229" y="132"/>
                    </a:lnTo>
                    <a:lnTo>
                      <a:pt x="231" y="134"/>
                    </a:lnTo>
                    <a:lnTo>
                      <a:pt x="230" y="137"/>
                    </a:lnTo>
                    <a:lnTo>
                      <a:pt x="226" y="142"/>
                    </a:lnTo>
                    <a:lnTo>
                      <a:pt x="224" y="143"/>
                    </a:lnTo>
                    <a:lnTo>
                      <a:pt x="223" y="142"/>
                    </a:lnTo>
                    <a:lnTo>
                      <a:pt x="225" y="141"/>
                    </a:lnTo>
                    <a:lnTo>
                      <a:pt x="228" y="137"/>
                    </a:lnTo>
                    <a:lnTo>
                      <a:pt x="228" y="135"/>
                    </a:lnTo>
                    <a:lnTo>
                      <a:pt x="226" y="134"/>
                    </a:lnTo>
                    <a:lnTo>
                      <a:pt x="225" y="136"/>
                    </a:lnTo>
                    <a:lnTo>
                      <a:pt x="219" y="142"/>
                    </a:lnTo>
                    <a:lnTo>
                      <a:pt x="216" y="142"/>
                    </a:lnTo>
                    <a:lnTo>
                      <a:pt x="215" y="145"/>
                    </a:lnTo>
                    <a:lnTo>
                      <a:pt x="212" y="145"/>
                    </a:lnTo>
                    <a:lnTo>
                      <a:pt x="209" y="143"/>
                    </a:lnTo>
                    <a:lnTo>
                      <a:pt x="207" y="145"/>
                    </a:lnTo>
                    <a:lnTo>
                      <a:pt x="203" y="144"/>
                    </a:lnTo>
                    <a:lnTo>
                      <a:pt x="202" y="145"/>
                    </a:lnTo>
                    <a:lnTo>
                      <a:pt x="205" y="147"/>
                    </a:lnTo>
                    <a:lnTo>
                      <a:pt x="211" y="147"/>
                    </a:lnTo>
                    <a:lnTo>
                      <a:pt x="213" y="149"/>
                    </a:lnTo>
                    <a:lnTo>
                      <a:pt x="215" y="151"/>
                    </a:lnTo>
                    <a:lnTo>
                      <a:pt x="217" y="150"/>
                    </a:lnTo>
                    <a:lnTo>
                      <a:pt x="218" y="152"/>
                    </a:lnTo>
                    <a:lnTo>
                      <a:pt x="216" y="154"/>
                    </a:lnTo>
                    <a:lnTo>
                      <a:pt x="216" y="156"/>
                    </a:lnTo>
                    <a:lnTo>
                      <a:pt x="218" y="154"/>
                    </a:lnTo>
                    <a:lnTo>
                      <a:pt x="220" y="154"/>
                    </a:lnTo>
                    <a:lnTo>
                      <a:pt x="219" y="156"/>
                    </a:lnTo>
                    <a:lnTo>
                      <a:pt x="221" y="155"/>
                    </a:lnTo>
                    <a:lnTo>
                      <a:pt x="223" y="156"/>
                    </a:lnTo>
                    <a:lnTo>
                      <a:pt x="224" y="160"/>
                    </a:lnTo>
                    <a:lnTo>
                      <a:pt x="226" y="162"/>
                    </a:lnTo>
                    <a:lnTo>
                      <a:pt x="231" y="163"/>
                    </a:lnTo>
                    <a:lnTo>
                      <a:pt x="233" y="162"/>
                    </a:lnTo>
                    <a:lnTo>
                      <a:pt x="226" y="156"/>
                    </a:lnTo>
                    <a:lnTo>
                      <a:pt x="220" y="150"/>
                    </a:lnTo>
                    <a:lnTo>
                      <a:pt x="218" y="145"/>
                    </a:lnTo>
                    <a:lnTo>
                      <a:pt x="219" y="144"/>
                    </a:lnTo>
                    <a:lnTo>
                      <a:pt x="222" y="148"/>
                    </a:lnTo>
                    <a:lnTo>
                      <a:pt x="224" y="153"/>
                    </a:lnTo>
                    <a:lnTo>
                      <a:pt x="233" y="161"/>
                    </a:lnTo>
                    <a:lnTo>
                      <a:pt x="235" y="162"/>
                    </a:lnTo>
                    <a:lnTo>
                      <a:pt x="237" y="159"/>
                    </a:lnTo>
                    <a:lnTo>
                      <a:pt x="240" y="159"/>
                    </a:lnTo>
                    <a:lnTo>
                      <a:pt x="243" y="161"/>
                    </a:lnTo>
                    <a:lnTo>
                      <a:pt x="245" y="157"/>
                    </a:lnTo>
                    <a:lnTo>
                      <a:pt x="251" y="157"/>
                    </a:lnTo>
                    <a:lnTo>
                      <a:pt x="256" y="157"/>
                    </a:lnTo>
                    <a:lnTo>
                      <a:pt x="254" y="159"/>
                    </a:lnTo>
                    <a:lnTo>
                      <a:pt x="253" y="161"/>
                    </a:lnTo>
                    <a:lnTo>
                      <a:pt x="254" y="164"/>
                    </a:lnTo>
                    <a:lnTo>
                      <a:pt x="252" y="167"/>
                    </a:lnTo>
                    <a:lnTo>
                      <a:pt x="245" y="167"/>
                    </a:lnTo>
                    <a:lnTo>
                      <a:pt x="238" y="166"/>
                    </a:lnTo>
                    <a:lnTo>
                      <a:pt x="234" y="169"/>
                    </a:lnTo>
                    <a:lnTo>
                      <a:pt x="231" y="173"/>
                    </a:lnTo>
                    <a:lnTo>
                      <a:pt x="225" y="173"/>
                    </a:lnTo>
                    <a:lnTo>
                      <a:pt x="216" y="178"/>
                    </a:lnTo>
                    <a:lnTo>
                      <a:pt x="210" y="181"/>
                    </a:lnTo>
                    <a:lnTo>
                      <a:pt x="203" y="181"/>
                    </a:lnTo>
                    <a:lnTo>
                      <a:pt x="200" y="179"/>
                    </a:lnTo>
                    <a:lnTo>
                      <a:pt x="201" y="177"/>
                    </a:lnTo>
                    <a:lnTo>
                      <a:pt x="203" y="171"/>
                    </a:lnTo>
                    <a:lnTo>
                      <a:pt x="203" y="169"/>
                    </a:lnTo>
                    <a:lnTo>
                      <a:pt x="197" y="164"/>
                    </a:lnTo>
                    <a:lnTo>
                      <a:pt x="195" y="164"/>
                    </a:lnTo>
                    <a:lnTo>
                      <a:pt x="192" y="162"/>
                    </a:lnTo>
                    <a:lnTo>
                      <a:pt x="189" y="165"/>
                    </a:lnTo>
                    <a:lnTo>
                      <a:pt x="186" y="163"/>
                    </a:lnTo>
                    <a:lnTo>
                      <a:pt x="190" y="157"/>
                    </a:lnTo>
                    <a:lnTo>
                      <a:pt x="195" y="154"/>
                    </a:lnTo>
                    <a:lnTo>
                      <a:pt x="201" y="153"/>
                    </a:lnTo>
                    <a:lnTo>
                      <a:pt x="203" y="152"/>
                    </a:lnTo>
                    <a:lnTo>
                      <a:pt x="200" y="150"/>
                    </a:lnTo>
                    <a:lnTo>
                      <a:pt x="200" y="145"/>
                    </a:lnTo>
                    <a:lnTo>
                      <a:pt x="198" y="145"/>
                    </a:lnTo>
                    <a:lnTo>
                      <a:pt x="196" y="147"/>
                    </a:lnTo>
                    <a:lnTo>
                      <a:pt x="193" y="146"/>
                    </a:lnTo>
                    <a:lnTo>
                      <a:pt x="190" y="144"/>
                    </a:lnTo>
                    <a:lnTo>
                      <a:pt x="185" y="144"/>
                    </a:lnTo>
                    <a:lnTo>
                      <a:pt x="181" y="147"/>
                    </a:lnTo>
                    <a:lnTo>
                      <a:pt x="178" y="145"/>
                    </a:lnTo>
                    <a:lnTo>
                      <a:pt x="175" y="144"/>
                    </a:lnTo>
                    <a:lnTo>
                      <a:pt x="172" y="142"/>
                    </a:lnTo>
                    <a:lnTo>
                      <a:pt x="174" y="141"/>
                    </a:lnTo>
                    <a:lnTo>
                      <a:pt x="175" y="139"/>
                    </a:lnTo>
                    <a:lnTo>
                      <a:pt x="170" y="137"/>
                    </a:lnTo>
                    <a:lnTo>
                      <a:pt x="164" y="137"/>
                    </a:lnTo>
                    <a:lnTo>
                      <a:pt x="162" y="135"/>
                    </a:lnTo>
                    <a:lnTo>
                      <a:pt x="166" y="135"/>
                    </a:lnTo>
                    <a:lnTo>
                      <a:pt x="172" y="134"/>
                    </a:lnTo>
                    <a:lnTo>
                      <a:pt x="175" y="135"/>
                    </a:lnTo>
                    <a:lnTo>
                      <a:pt x="178" y="134"/>
                    </a:lnTo>
                    <a:lnTo>
                      <a:pt x="182" y="133"/>
                    </a:lnTo>
                    <a:lnTo>
                      <a:pt x="176" y="134"/>
                    </a:lnTo>
                    <a:lnTo>
                      <a:pt x="173" y="133"/>
                    </a:lnTo>
                    <a:lnTo>
                      <a:pt x="172" y="131"/>
                    </a:lnTo>
                    <a:lnTo>
                      <a:pt x="170" y="129"/>
                    </a:lnTo>
                    <a:lnTo>
                      <a:pt x="169" y="132"/>
                    </a:lnTo>
                    <a:lnTo>
                      <a:pt x="167" y="134"/>
                    </a:lnTo>
                    <a:lnTo>
                      <a:pt x="164" y="134"/>
                    </a:lnTo>
                    <a:lnTo>
                      <a:pt x="164" y="133"/>
                    </a:lnTo>
                    <a:lnTo>
                      <a:pt x="162" y="131"/>
                    </a:lnTo>
                    <a:lnTo>
                      <a:pt x="158" y="135"/>
                    </a:lnTo>
                    <a:lnTo>
                      <a:pt x="153" y="135"/>
                    </a:lnTo>
                    <a:lnTo>
                      <a:pt x="151" y="137"/>
                    </a:lnTo>
                    <a:lnTo>
                      <a:pt x="151" y="142"/>
                    </a:lnTo>
                    <a:lnTo>
                      <a:pt x="148" y="147"/>
                    </a:lnTo>
                    <a:lnTo>
                      <a:pt x="146" y="147"/>
                    </a:lnTo>
                    <a:lnTo>
                      <a:pt x="147" y="149"/>
                    </a:lnTo>
                    <a:lnTo>
                      <a:pt x="140" y="156"/>
                    </a:lnTo>
                    <a:lnTo>
                      <a:pt x="137" y="156"/>
                    </a:lnTo>
                    <a:lnTo>
                      <a:pt x="136" y="155"/>
                    </a:lnTo>
                    <a:lnTo>
                      <a:pt x="135" y="157"/>
                    </a:lnTo>
                    <a:lnTo>
                      <a:pt x="135" y="159"/>
                    </a:lnTo>
                    <a:lnTo>
                      <a:pt x="137" y="161"/>
                    </a:lnTo>
                    <a:lnTo>
                      <a:pt x="136" y="164"/>
                    </a:lnTo>
                    <a:lnTo>
                      <a:pt x="136" y="164"/>
                    </a:lnTo>
                    <a:lnTo>
                      <a:pt x="133" y="162"/>
                    </a:lnTo>
                    <a:lnTo>
                      <a:pt x="128" y="162"/>
                    </a:lnTo>
                    <a:lnTo>
                      <a:pt x="125" y="165"/>
                    </a:lnTo>
                    <a:lnTo>
                      <a:pt x="118" y="164"/>
                    </a:lnTo>
                    <a:lnTo>
                      <a:pt x="112" y="163"/>
                    </a:lnTo>
                    <a:lnTo>
                      <a:pt x="109" y="158"/>
                    </a:lnTo>
                    <a:lnTo>
                      <a:pt x="112" y="156"/>
                    </a:lnTo>
                    <a:lnTo>
                      <a:pt x="115" y="157"/>
                    </a:lnTo>
                    <a:lnTo>
                      <a:pt x="115" y="155"/>
                    </a:lnTo>
                    <a:lnTo>
                      <a:pt x="119" y="148"/>
                    </a:lnTo>
                    <a:lnTo>
                      <a:pt x="121" y="149"/>
                    </a:lnTo>
                    <a:lnTo>
                      <a:pt x="121" y="144"/>
                    </a:lnTo>
                    <a:lnTo>
                      <a:pt x="121" y="137"/>
                    </a:lnTo>
                    <a:lnTo>
                      <a:pt x="125" y="137"/>
                    </a:lnTo>
                    <a:lnTo>
                      <a:pt x="129" y="136"/>
                    </a:lnTo>
                    <a:lnTo>
                      <a:pt x="132" y="138"/>
                    </a:lnTo>
                    <a:lnTo>
                      <a:pt x="138" y="138"/>
                    </a:lnTo>
                    <a:lnTo>
                      <a:pt x="138" y="136"/>
                    </a:lnTo>
                    <a:lnTo>
                      <a:pt x="136" y="134"/>
                    </a:lnTo>
                    <a:lnTo>
                      <a:pt x="137" y="131"/>
                    </a:lnTo>
                    <a:lnTo>
                      <a:pt x="136" y="127"/>
                    </a:lnTo>
                    <a:lnTo>
                      <a:pt x="131" y="124"/>
                    </a:lnTo>
                    <a:lnTo>
                      <a:pt x="127" y="120"/>
                    </a:lnTo>
                    <a:lnTo>
                      <a:pt x="126" y="118"/>
                    </a:lnTo>
                    <a:lnTo>
                      <a:pt x="122" y="116"/>
                    </a:lnTo>
                    <a:lnTo>
                      <a:pt x="122" y="112"/>
                    </a:lnTo>
                    <a:lnTo>
                      <a:pt x="121" y="106"/>
                    </a:lnTo>
                    <a:lnTo>
                      <a:pt x="116" y="104"/>
                    </a:lnTo>
                    <a:lnTo>
                      <a:pt x="110" y="98"/>
                    </a:lnTo>
                    <a:lnTo>
                      <a:pt x="109" y="98"/>
                    </a:lnTo>
                    <a:lnTo>
                      <a:pt x="108" y="100"/>
                    </a:lnTo>
                    <a:lnTo>
                      <a:pt x="102" y="99"/>
                    </a:lnTo>
                    <a:lnTo>
                      <a:pt x="96" y="94"/>
                    </a:lnTo>
                    <a:lnTo>
                      <a:pt x="91" y="94"/>
                    </a:lnTo>
                    <a:lnTo>
                      <a:pt x="89" y="91"/>
                    </a:lnTo>
                    <a:lnTo>
                      <a:pt x="87" y="91"/>
                    </a:lnTo>
                    <a:lnTo>
                      <a:pt x="84" y="91"/>
                    </a:lnTo>
                    <a:lnTo>
                      <a:pt x="83" y="93"/>
                    </a:lnTo>
                    <a:lnTo>
                      <a:pt x="79" y="91"/>
                    </a:lnTo>
                    <a:lnTo>
                      <a:pt x="78" y="92"/>
                    </a:lnTo>
                    <a:lnTo>
                      <a:pt x="75" y="91"/>
                    </a:lnTo>
                    <a:lnTo>
                      <a:pt x="76" y="96"/>
                    </a:lnTo>
                    <a:lnTo>
                      <a:pt x="75" y="98"/>
                    </a:lnTo>
                    <a:lnTo>
                      <a:pt x="76" y="103"/>
                    </a:lnTo>
                    <a:lnTo>
                      <a:pt x="72" y="103"/>
                    </a:lnTo>
                    <a:lnTo>
                      <a:pt x="67" y="106"/>
                    </a:lnTo>
                    <a:lnTo>
                      <a:pt x="55" y="108"/>
                    </a:lnTo>
                    <a:lnTo>
                      <a:pt x="52" y="112"/>
                    </a:lnTo>
                    <a:lnTo>
                      <a:pt x="48" y="112"/>
                    </a:lnTo>
                    <a:lnTo>
                      <a:pt x="43" y="113"/>
                    </a:lnTo>
                    <a:lnTo>
                      <a:pt x="39" y="112"/>
                    </a:lnTo>
                    <a:lnTo>
                      <a:pt x="37" y="109"/>
                    </a:lnTo>
                    <a:lnTo>
                      <a:pt x="32" y="107"/>
                    </a:lnTo>
                    <a:lnTo>
                      <a:pt x="27" y="107"/>
                    </a:lnTo>
                    <a:lnTo>
                      <a:pt x="21" y="103"/>
                    </a:lnTo>
                    <a:lnTo>
                      <a:pt x="17" y="103"/>
                    </a:lnTo>
                    <a:lnTo>
                      <a:pt x="14" y="105"/>
                    </a:lnTo>
                    <a:lnTo>
                      <a:pt x="11" y="105"/>
                    </a:lnTo>
                    <a:lnTo>
                      <a:pt x="9" y="102"/>
                    </a:lnTo>
                    <a:lnTo>
                      <a:pt x="4" y="99"/>
                    </a:lnTo>
                    <a:lnTo>
                      <a:pt x="0" y="95"/>
                    </a:lnTo>
                    <a:lnTo>
                      <a:pt x="1" y="94"/>
                    </a:lnTo>
                    <a:lnTo>
                      <a:pt x="2" y="89"/>
                    </a:lnTo>
                    <a:lnTo>
                      <a:pt x="5" y="81"/>
                    </a:lnTo>
                    <a:lnTo>
                      <a:pt x="9" y="81"/>
                    </a:lnTo>
                    <a:lnTo>
                      <a:pt x="9" y="75"/>
                    </a:lnTo>
                    <a:lnTo>
                      <a:pt x="9" y="70"/>
                    </a:lnTo>
                    <a:lnTo>
                      <a:pt x="20" y="59"/>
                    </a:lnTo>
                    <a:lnTo>
                      <a:pt x="21" y="53"/>
                    </a:lnTo>
                    <a:lnTo>
                      <a:pt x="24" y="50"/>
                    </a:lnTo>
                    <a:lnTo>
                      <a:pt x="27" y="50"/>
                    </a:lnTo>
                    <a:lnTo>
                      <a:pt x="28" y="45"/>
                    </a:lnTo>
                    <a:lnTo>
                      <a:pt x="27" y="43"/>
                    </a:lnTo>
                    <a:lnTo>
                      <a:pt x="26" y="40"/>
                    </a:lnTo>
                    <a:lnTo>
                      <a:pt x="28" y="38"/>
                    </a:lnTo>
                    <a:lnTo>
                      <a:pt x="23" y="35"/>
                    </a:lnTo>
                    <a:lnTo>
                      <a:pt x="21" y="30"/>
                    </a:lnTo>
                    <a:lnTo>
                      <a:pt x="20" y="28"/>
                    </a:lnTo>
                    <a:lnTo>
                      <a:pt x="19" y="20"/>
                    </a:lnTo>
                    <a:lnTo>
                      <a:pt x="20" y="17"/>
                    </a:lnTo>
                    <a:lnTo>
                      <a:pt x="20" y="17"/>
                    </a:lnTo>
                    <a:close/>
                  </a:path>
                </a:pathLst>
              </a:custGeom>
              <a:solidFill>
                <a:schemeClr val="accent6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759" name="Freeform 563"/>
              <p:cNvSpPr>
                <a:spLocks/>
              </p:cNvSpPr>
              <p:nvPr userDrawn="1"/>
            </p:nvSpPr>
            <p:spPr bwMode="auto">
              <a:xfrm>
                <a:off x="3693" y="1834"/>
                <a:ext cx="169" cy="138"/>
              </a:xfrm>
              <a:custGeom>
                <a:avLst/>
                <a:gdLst>
                  <a:gd name="T0" fmla="*/ 103 w 169"/>
                  <a:gd name="T1" fmla="*/ 138 h 138"/>
                  <a:gd name="T2" fmla="*/ 108 w 169"/>
                  <a:gd name="T3" fmla="*/ 134 h 138"/>
                  <a:gd name="T4" fmla="*/ 115 w 169"/>
                  <a:gd name="T5" fmla="*/ 134 h 138"/>
                  <a:gd name="T6" fmla="*/ 121 w 169"/>
                  <a:gd name="T7" fmla="*/ 136 h 138"/>
                  <a:gd name="T8" fmla="*/ 126 w 169"/>
                  <a:gd name="T9" fmla="*/ 133 h 138"/>
                  <a:gd name="T10" fmla="*/ 132 w 169"/>
                  <a:gd name="T11" fmla="*/ 133 h 138"/>
                  <a:gd name="T12" fmla="*/ 146 w 169"/>
                  <a:gd name="T13" fmla="*/ 138 h 138"/>
                  <a:gd name="T14" fmla="*/ 150 w 169"/>
                  <a:gd name="T15" fmla="*/ 132 h 138"/>
                  <a:gd name="T16" fmla="*/ 161 w 169"/>
                  <a:gd name="T17" fmla="*/ 116 h 138"/>
                  <a:gd name="T18" fmla="*/ 165 w 169"/>
                  <a:gd name="T19" fmla="*/ 107 h 138"/>
                  <a:gd name="T20" fmla="*/ 169 w 169"/>
                  <a:gd name="T21" fmla="*/ 102 h 138"/>
                  <a:gd name="T22" fmla="*/ 167 w 169"/>
                  <a:gd name="T23" fmla="*/ 97 h 138"/>
                  <a:gd name="T24" fmla="*/ 164 w 169"/>
                  <a:gd name="T25" fmla="*/ 92 h 138"/>
                  <a:gd name="T26" fmla="*/ 161 w 169"/>
                  <a:gd name="T27" fmla="*/ 85 h 138"/>
                  <a:gd name="T28" fmla="*/ 161 w 169"/>
                  <a:gd name="T29" fmla="*/ 72 h 138"/>
                  <a:gd name="T30" fmla="*/ 155 w 169"/>
                  <a:gd name="T31" fmla="*/ 61 h 138"/>
                  <a:gd name="T32" fmla="*/ 162 w 169"/>
                  <a:gd name="T33" fmla="*/ 56 h 138"/>
                  <a:gd name="T34" fmla="*/ 160 w 169"/>
                  <a:gd name="T35" fmla="*/ 42 h 138"/>
                  <a:gd name="T36" fmla="*/ 156 w 169"/>
                  <a:gd name="T37" fmla="*/ 35 h 138"/>
                  <a:gd name="T38" fmla="*/ 150 w 169"/>
                  <a:gd name="T39" fmla="*/ 21 h 138"/>
                  <a:gd name="T40" fmla="*/ 148 w 169"/>
                  <a:gd name="T41" fmla="*/ 11 h 138"/>
                  <a:gd name="T42" fmla="*/ 141 w 169"/>
                  <a:gd name="T43" fmla="*/ 7 h 138"/>
                  <a:gd name="T44" fmla="*/ 95 w 169"/>
                  <a:gd name="T45" fmla="*/ 8 h 138"/>
                  <a:gd name="T46" fmla="*/ 86 w 169"/>
                  <a:gd name="T47" fmla="*/ 15 h 138"/>
                  <a:gd name="T48" fmla="*/ 79 w 169"/>
                  <a:gd name="T49" fmla="*/ 15 h 138"/>
                  <a:gd name="T50" fmla="*/ 90 w 169"/>
                  <a:gd name="T51" fmla="*/ 7 h 138"/>
                  <a:gd name="T52" fmla="*/ 84 w 169"/>
                  <a:gd name="T53" fmla="*/ 11 h 138"/>
                  <a:gd name="T54" fmla="*/ 69 w 169"/>
                  <a:gd name="T55" fmla="*/ 12 h 138"/>
                  <a:gd name="T56" fmla="*/ 69 w 169"/>
                  <a:gd name="T57" fmla="*/ 4 h 138"/>
                  <a:gd name="T58" fmla="*/ 75 w 169"/>
                  <a:gd name="T59" fmla="*/ 6 h 138"/>
                  <a:gd name="T60" fmla="*/ 70 w 169"/>
                  <a:gd name="T61" fmla="*/ 2 h 138"/>
                  <a:gd name="T62" fmla="*/ 54 w 169"/>
                  <a:gd name="T63" fmla="*/ 4 h 138"/>
                  <a:gd name="T64" fmla="*/ 43 w 169"/>
                  <a:gd name="T65" fmla="*/ 6 h 138"/>
                  <a:gd name="T66" fmla="*/ 33 w 169"/>
                  <a:gd name="T67" fmla="*/ 10 h 138"/>
                  <a:gd name="T68" fmla="*/ 31 w 169"/>
                  <a:gd name="T69" fmla="*/ 17 h 138"/>
                  <a:gd name="T70" fmla="*/ 16 w 169"/>
                  <a:gd name="T71" fmla="*/ 21 h 138"/>
                  <a:gd name="T72" fmla="*/ 9 w 169"/>
                  <a:gd name="T73" fmla="*/ 26 h 138"/>
                  <a:gd name="T74" fmla="*/ 6 w 169"/>
                  <a:gd name="T75" fmla="*/ 31 h 138"/>
                  <a:gd name="T76" fmla="*/ 4 w 169"/>
                  <a:gd name="T77" fmla="*/ 33 h 138"/>
                  <a:gd name="T78" fmla="*/ 6 w 169"/>
                  <a:gd name="T79" fmla="*/ 46 h 138"/>
                  <a:gd name="T80" fmla="*/ 0 w 169"/>
                  <a:gd name="T81" fmla="*/ 52 h 138"/>
                  <a:gd name="T82" fmla="*/ 6 w 169"/>
                  <a:gd name="T83" fmla="*/ 61 h 138"/>
                  <a:gd name="T84" fmla="*/ 9 w 169"/>
                  <a:gd name="T85" fmla="*/ 67 h 138"/>
                  <a:gd name="T86" fmla="*/ 9 w 169"/>
                  <a:gd name="T87" fmla="*/ 74 h 138"/>
                  <a:gd name="T88" fmla="*/ 14 w 169"/>
                  <a:gd name="T89" fmla="*/ 83 h 138"/>
                  <a:gd name="T90" fmla="*/ 16 w 169"/>
                  <a:gd name="T91" fmla="*/ 95 h 138"/>
                  <a:gd name="T92" fmla="*/ 17 w 169"/>
                  <a:gd name="T93" fmla="*/ 99 h 138"/>
                  <a:gd name="T94" fmla="*/ 22 w 169"/>
                  <a:gd name="T95" fmla="*/ 98 h 138"/>
                  <a:gd name="T96" fmla="*/ 31 w 169"/>
                  <a:gd name="T97" fmla="*/ 98 h 138"/>
                  <a:gd name="T98" fmla="*/ 33 w 169"/>
                  <a:gd name="T99" fmla="*/ 103 h 138"/>
                  <a:gd name="T100" fmla="*/ 39 w 169"/>
                  <a:gd name="T101" fmla="*/ 105 h 138"/>
                  <a:gd name="T102" fmla="*/ 39 w 169"/>
                  <a:gd name="T103" fmla="*/ 111 h 138"/>
                  <a:gd name="T104" fmla="*/ 40 w 169"/>
                  <a:gd name="T105" fmla="*/ 115 h 138"/>
                  <a:gd name="T106" fmla="*/ 45 w 169"/>
                  <a:gd name="T107" fmla="*/ 114 h 138"/>
                  <a:gd name="T108" fmla="*/ 43 w 169"/>
                  <a:gd name="T109" fmla="*/ 109 h 138"/>
                  <a:gd name="T110" fmla="*/ 53 w 169"/>
                  <a:gd name="T111" fmla="*/ 112 h 138"/>
                  <a:gd name="T112" fmla="*/ 57 w 169"/>
                  <a:gd name="T113" fmla="*/ 115 h 138"/>
                  <a:gd name="T114" fmla="*/ 69 w 169"/>
                  <a:gd name="T115" fmla="*/ 116 h 138"/>
                  <a:gd name="T116" fmla="*/ 85 w 169"/>
                  <a:gd name="T117" fmla="*/ 126 h 138"/>
                  <a:gd name="T118" fmla="*/ 92 w 169"/>
                  <a:gd name="T119" fmla="*/ 131 h 138"/>
                  <a:gd name="T120" fmla="*/ 98 w 169"/>
                  <a:gd name="T121" fmla="*/ 130 h 138"/>
                  <a:gd name="T122" fmla="*/ 102 w 169"/>
                  <a:gd name="T123" fmla="*/ 137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69" h="138">
                    <a:moveTo>
                      <a:pt x="102" y="137"/>
                    </a:moveTo>
                    <a:lnTo>
                      <a:pt x="103" y="138"/>
                    </a:lnTo>
                    <a:lnTo>
                      <a:pt x="106" y="138"/>
                    </a:lnTo>
                    <a:lnTo>
                      <a:pt x="108" y="134"/>
                    </a:lnTo>
                    <a:lnTo>
                      <a:pt x="112" y="133"/>
                    </a:lnTo>
                    <a:lnTo>
                      <a:pt x="115" y="134"/>
                    </a:lnTo>
                    <a:lnTo>
                      <a:pt x="119" y="134"/>
                    </a:lnTo>
                    <a:lnTo>
                      <a:pt x="121" y="136"/>
                    </a:lnTo>
                    <a:lnTo>
                      <a:pt x="123" y="133"/>
                    </a:lnTo>
                    <a:lnTo>
                      <a:pt x="126" y="133"/>
                    </a:lnTo>
                    <a:lnTo>
                      <a:pt x="129" y="134"/>
                    </a:lnTo>
                    <a:lnTo>
                      <a:pt x="132" y="133"/>
                    </a:lnTo>
                    <a:lnTo>
                      <a:pt x="139" y="133"/>
                    </a:lnTo>
                    <a:lnTo>
                      <a:pt x="146" y="138"/>
                    </a:lnTo>
                    <a:lnTo>
                      <a:pt x="150" y="138"/>
                    </a:lnTo>
                    <a:lnTo>
                      <a:pt x="150" y="132"/>
                    </a:lnTo>
                    <a:lnTo>
                      <a:pt x="150" y="127"/>
                    </a:lnTo>
                    <a:lnTo>
                      <a:pt x="161" y="116"/>
                    </a:lnTo>
                    <a:lnTo>
                      <a:pt x="162" y="110"/>
                    </a:lnTo>
                    <a:lnTo>
                      <a:pt x="165" y="107"/>
                    </a:lnTo>
                    <a:lnTo>
                      <a:pt x="168" y="107"/>
                    </a:lnTo>
                    <a:lnTo>
                      <a:pt x="169" y="102"/>
                    </a:lnTo>
                    <a:lnTo>
                      <a:pt x="168" y="100"/>
                    </a:lnTo>
                    <a:lnTo>
                      <a:pt x="167" y="97"/>
                    </a:lnTo>
                    <a:lnTo>
                      <a:pt x="169" y="95"/>
                    </a:lnTo>
                    <a:lnTo>
                      <a:pt x="164" y="92"/>
                    </a:lnTo>
                    <a:lnTo>
                      <a:pt x="162" y="87"/>
                    </a:lnTo>
                    <a:lnTo>
                      <a:pt x="161" y="85"/>
                    </a:lnTo>
                    <a:lnTo>
                      <a:pt x="160" y="77"/>
                    </a:lnTo>
                    <a:lnTo>
                      <a:pt x="161" y="72"/>
                    </a:lnTo>
                    <a:lnTo>
                      <a:pt x="157" y="66"/>
                    </a:lnTo>
                    <a:lnTo>
                      <a:pt x="155" y="61"/>
                    </a:lnTo>
                    <a:lnTo>
                      <a:pt x="158" y="57"/>
                    </a:lnTo>
                    <a:lnTo>
                      <a:pt x="162" y="56"/>
                    </a:lnTo>
                    <a:lnTo>
                      <a:pt x="162" y="44"/>
                    </a:lnTo>
                    <a:lnTo>
                      <a:pt x="160" y="42"/>
                    </a:lnTo>
                    <a:lnTo>
                      <a:pt x="159" y="39"/>
                    </a:lnTo>
                    <a:lnTo>
                      <a:pt x="156" y="35"/>
                    </a:lnTo>
                    <a:lnTo>
                      <a:pt x="153" y="26"/>
                    </a:lnTo>
                    <a:lnTo>
                      <a:pt x="150" y="21"/>
                    </a:lnTo>
                    <a:lnTo>
                      <a:pt x="150" y="18"/>
                    </a:lnTo>
                    <a:lnTo>
                      <a:pt x="148" y="11"/>
                    </a:lnTo>
                    <a:lnTo>
                      <a:pt x="146" y="11"/>
                    </a:lnTo>
                    <a:lnTo>
                      <a:pt x="141" y="7"/>
                    </a:lnTo>
                    <a:lnTo>
                      <a:pt x="118" y="10"/>
                    </a:lnTo>
                    <a:lnTo>
                      <a:pt x="95" y="8"/>
                    </a:lnTo>
                    <a:lnTo>
                      <a:pt x="92" y="9"/>
                    </a:lnTo>
                    <a:lnTo>
                      <a:pt x="86" y="15"/>
                    </a:lnTo>
                    <a:lnTo>
                      <a:pt x="80" y="16"/>
                    </a:lnTo>
                    <a:lnTo>
                      <a:pt x="79" y="15"/>
                    </a:lnTo>
                    <a:lnTo>
                      <a:pt x="84" y="12"/>
                    </a:lnTo>
                    <a:lnTo>
                      <a:pt x="90" y="7"/>
                    </a:lnTo>
                    <a:lnTo>
                      <a:pt x="88" y="7"/>
                    </a:lnTo>
                    <a:lnTo>
                      <a:pt x="84" y="11"/>
                    </a:lnTo>
                    <a:lnTo>
                      <a:pt x="77" y="14"/>
                    </a:lnTo>
                    <a:lnTo>
                      <a:pt x="69" y="12"/>
                    </a:lnTo>
                    <a:lnTo>
                      <a:pt x="68" y="7"/>
                    </a:lnTo>
                    <a:lnTo>
                      <a:pt x="69" y="4"/>
                    </a:lnTo>
                    <a:lnTo>
                      <a:pt x="73" y="5"/>
                    </a:lnTo>
                    <a:lnTo>
                      <a:pt x="75" y="6"/>
                    </a:lnTo>
                    <a:lnTo>
                      <a:pt x="75" y="5"/>
                    </a:lnTo>
                    <a:lnTo>
                      <a:pt x="70" y="2"/>
                    </a:lnTo>
                    <a:lnTo>
                      <a:pt x="60" y="0"/>
                    </a:lnTo>
                    <a:lnTo>
                      <a:pt x="54" y="4"/>
                    </a:lnTo>
                    <a:lnTo>
                      <a:pt x="48" y="3"/>
                    </a:lnTo>
                    <a:lnTo>
                      <a:pt x="43" y="6"/>
                    </a:lnTo>
                    <a:lnTo>
                      <a:pt x="39" y="10"/>
                    </a:lnTo>
                    <a:lnTo>
                      <a:pt x="33" y="10"/>
                    </a:lnTo>
                    <a:lnTo>
                      <a:pt x="31" y="14"/>
                    </a:lnTo>
                    <a:lnTo>
                      <a:pt x="31" y="17"/>
                    </a:lnTo>
                    <a:lnTo>
                      <a:pt x="25" y="17"/>
                    </a:lnTo>
                    <a:lnTo>
                      <a:pt x="16" y="21"/>
                    </a:lnTo>
                    <a:lnTo>
                      <a:pt x="11" y="21"/>
                    </a:lnTo>
                    <a:lnTo>
                      <a:pt x="9" y="26"/>
                    </a:lnTo>
                    <a:lnTo>
                      <a:pt x="7" y="30"/>
                    </a:lnTo>
                    <a:lnTo>
                      <a:pt x="6" y="31"/>
                    </a:lnTo>
                    <a:lnTo>
                      <a:pt x="6" y="33"/>
                    </a:lnTo>
                    <a:lnTo>
                      <a:pt x="4" y="33"/>
                    </a:lnTo>
                    <a:lnTo>
                      <a:pt x="6" y="40"/>
                    </a:lnTo>
                    <a:lnTo>
                      <a:pt x="6" y="46"/>
                    </a:lnTo>
                    <a:lnTo>
                      <a:pt x="0" y="49"/>
                    </a:lnTo>
                    <a:lnTo>
                      <a:pt x="0" y="52"/>
                    </a:lnTo>
                    <a:lnTo>
                      <a:pt x="6" y="58"/>
                    </a:lnTo>
                    <a:lnTo>
                      <a:pt x="6" y="61"/>
                    </a:lnTo>
                    <a:lnTo>
                      <a:pt x="9" y="64"/>
                    </a:lnTo>
                    <a:lnTo>
                      <a:pt x="9" y="67"/>
                    </a:lnTo>
                    <a:lnTo>
                      <a:pt x="10" y="71"/>
                    </a:lnTo>
                    <a:lnTo>
                      <a:pt x="9" y="74"/>
                    </a:lnTo>
                    <a:lnTo>
                      <a:pt x="11" y="81"/>
                    </a:lnTo>
                    <a:lnTo>
                      <a:pt x="14" y="83"/>
                    </a:lnTo>
                    <a:lnTo>
                      <a:pt x="16" y="85"/>
                    </a:lnTo>
                    <a:lnTo>
                      <a:pt x="16" y="95"/>
                    </a:lnTo>
                    <a:lnTo>
                      <a:pt x="15" y="96"/>
                    </a:lnTo>
                    <a:lnTo>
                      <a:pt x="17" y="99"/>
                    </a:lnTo>
                    <a:lnTo>
                      <a:pt x="18" y="97"/>
                    </a:lnTo>
                    <a:lnTo>
                      <a:pt x="22" y="98"/>
                    </a:lnTo>
                    <a:lnTo>
                      <a:pt x="23" y="97"/>
                    </a:lnTo>
                    <a:lnTo>
                      <a:pt x="31" y="98"/>
                    </a:lnTo>
                    <a:lnTo>
                      <a:pt x="31" y="100"/>
                    </a:lnTo>
                    <a:lnTo>
                      <a:pt x="33" y="103"/>
                    </a:lnTo>
                    <a:lnTo>
                      <a:pt x="36" y="103"/>
                    </a:lnTo>
                    <a:lnTo>
                      <a:pt x="39" y="105"/>
                    </a:lnTo>
                    <a:lnTo>
                      <a:pt x="37" y="109"/>
                    </a:lnTo>
                    <a:lnTo>
                      <a:pt x="39" y="111"/>
                    </a:lnTo>
                    <a:lnTo>
                      <a:pt x="40" y="111"/>
                    </a:lnTo>
                    <a:lnTo>
                      <a:pt x="40" y="115"/>
                    </a:lnTo>
                    <a:lnTo>
                      <a:pt x="43" y="116"/>
                    </a:lnTo>
                    <a:lnTo>
                      <a:pt x="45" y="114"/>
                    </a:lnTo>
                    <a:lnTo>
                      <a:pt x="47" y="114"/>
                    </a:lnTo>
                    <a:lnTo>
                      <a:pt x="43" y="109"/>
                    </a:lnTo>
                    <a:lnTo>
                      <a:pt x="44" y="107"/>
                    </a:lnTo>
                    <a:lnTo>
                      <a:pt x="53" y="112"/>
                    </a:lnTo>
                    <a:lnTo>
                      <a:pt x="58" y="112"/>
                    </a:lnTo>
                    <a:lnTo>
                      <a:pt x="57" y="115"/>
                    </a:lnTo>
                    <a:lnTo>
                      <a:pt x="61" y="118"/>
                    </a:lnTo>
                    <a:lnTo>
                      <a:pt x="69" y="116"/>
                    </a:lnTo>
                    <a:lnTo>
                      <a:pt x="74" y="118"/>
                    </a:lnTo>
                    <a:lnTo>
                      <a:pt x="85" y="126"/>
                    </a:lnTo>
                    <a:lnTo>
                      <a:pt x="88" y="131"/>
                    </a:lnTo>
                    <a:lnTo>
                      <a:pt x="92" y="131"/>
                    </a:lnTo>
                    <a:lnTo>
                      <a:pt x="93" y="129"/>
                    </a:lnTo>
                    <a:lnTo>
                      <a:pt x="98" y="130"/>
                    </a:lnTo>
                    <a:lnTo>
                      <a:pt x="100" y="133"/>
                    </a:lnTo>
                    <a:lnTo>
                      <a:pt x="102" y="137"/>
                    </a:lnTo>
                    <a:lnTo>
                      <a:pt x="102" y="137"/>
                    </a:lnTo>
                    <a:close/>
                  </a:path>
                </a:pathLst>
              </a:custGeom>
              <a:solidFill>
                <a:schemeClr val="accent6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760" name="Freeform 564"/>
              <p:cNvSpPr>
                <a:spLocks/>
              </p:cNvSpPr>
              <p:nvPr userDrawn="1"/>
            </p:nvSpPr>
            <p:spPr bwMode="auto">
              <a:xfrm>
                <a:off x="3555" y="1835"/>
                <a:ext cx="154" cy="177"/>
              </a:xfrm>
              <a:custGeom>
                <a:avLst/>
                <a:gdLst>
                  <a:gd name="T0" fmla="*/ 57 w 154"/>
                  <a:gd name="T1" fmla="*/ 3 h 177"/>
                  <a:gd name="T2" fmla="*/ 65 w 154"/>
                  <a:gd name="T3" fmla="*/ 11 h 177"/>
                  <a:gd name="T4" fmla="*/ 68 w 154"/>
                  <a:gd name="T5" fmla="*/ 18 h 177"/>
                  <a:gd name="T6" fmla="*/ 76 w 154"/>
                  <a:gd name="T7" fmla="*/ 16 h 177"/>
                  <a:gd name="T8" fmla="*/ 85 w 154"/>
                  <a:gd name="T9" fmla="*/ 16 h 177"/>
                  <a:gd name="T10" fmla="*/ 78 w 154"/>
                  <a:gd name="T11" fmla="*/ 23 h 177"/>
                  <a:gd name="T12" fmla="*/ 88 w 154"/>
                  <a:gd name="T13" fmla="*/ 26 h 177"/>
                  <a:gd name="T14" fmla="*/ 103 w 154"/>
                  <a:gd name="T15" fmla="*/ 19 h 177"/>
                  <a:gd name="T16" fmla="*/ 108 w 154"/>
                  <a:gd name="T17" fmla="*/ 13 h 177"/>
                  <a:gd name="T18" fmla="*/ 107 w 154"/>
                  <a:gd name="T19" fmla="*/ 16 h 177"/>
                  <a:gd name="T20" fmla="*/ 114 w 154"/>
                  <a:gd name="T21" fmla="*/ 17 h 177"/>
                  <a:gd name="T22" fmla="*/ 125 w 154"/>
                  <a:gd name="T23" fmla="*/ 22 h 177"/>
                  <a:gd name="T24" fmla="*/ 133 w 154"/>
                  <a:gd name="T25" fmla="*/ 31 h 177"/>
                  <a:gd name="T26" fmla="*/ 144 w 154"/>
                  <a:gd name="T27" fmla="*/ 39 h 177"/>
                  <a:gd name="T28" fmla="*/ 144 w 154"/>
                  <a:gd name="T29" fmla="*/ 57 h 177"/>
                  <a:gd name="T30" fmla="*/ 148 w 154"/>
                  <a:gd name="T31" fmla="*/ 70 h 177"/>
                  <a:gd name="T32" fmla="*/ 154 w 154"/>
                  <a:gd name="T33" fmla="*/ 84 h 177"/>
                  <a:gd name="T34" fmla="*/ 148 w 154"/>
                  <a:gd name="T35" fmla="*/ 97 h 177"/>
                  <a:gd name="T36" fmla="*/ 136 w 154"/>
                  <a:gd name="T37" fmla="*/ 100 h 177"/>
                  <a:gd name="T38" fmla="*/ 121 w 154"/>
                  <a:gd name="T39" fmla="*/ 106 h 177"/>
                  <a:gd name="T40" fmla="*/ 106 w 154"/>
                  <a:gd name="T41" fmla="*/ 110 h 177"/>
                  <a:gd name="T42" fmla="*/ 113 w 154"/>
                  <a:gd name="T43" fmla="*/ 123 h 177"/>
                  <a:gd name="T44" fmla="*/ 125 w 154"/>
                  <a:gd name="T45" fmla="*/ 135 h 177"/>
                  <a:gd name="T46" fmla="*/ 134 w 154"/>
                  <a:gd name="T47" fmla="*/ 152 h 177"/>
                  <a:gd name="T48" fmla="*/ 121 w 154"/>
                  <a:gd name="T49" fmla="*/ 164 h 177"/>
                  <a:gd name="T50" fmla="*/ 124 w 154"/>
                  <a:gd name="T51" fmla="*/ 173 h 177"/>
                  <a:gd name="T52" fmla="*/ 108 w 154"/>
                  <a:gd name="T53" fmla="*/ 171 h 177"/>
                  <a:gd name="T54" fmla="*/ 93 w 154"/>
                  <a:gd name="T55" fmla="*/ 175 h 177"/>
                  <a:gd name="T56" fmla="*/ 81 w 154"/>
                  <a:gd name="T57" fmla="*/ 176 h 177"/>
                  <a:gd name="T58" fmla="*/ 69 w 154"/>
                  <a:gd name="T59" fmla="*/ 175 h 177"/>
                  <a:gd name="T60" fmla="*/ 60 w 154"/>
                  <a:gd name="T61" fmla="*/ 171 h 177"/>
                  <a:gd name="T62" fmla="*/ 51 w 154"/>
                  <a:gd name="T63" fmla="*/ 168 h 177"/>
                  <a:gd name="T64" fmla="*/ 42 w 154"/>
                  <a:gd name="T65" fmla="*/ 172 h 177"/>
                  <a:gd name="T66" fmla="*/ 35 w 154"/>
                  <a:gd name="T67" fmla="*/ 170 h 177"/>
                  <a:gd name="T68" fmla="*/ 36 w 154"/>
                  <a:gd name="T69" fmla="*/ 154 h 177"/>
                  <a:gd name="T70" fmla="*/ 38 w 154"/>
                  <a:gd name="T71" fmla="*/ 140 h 177"/>
                  <a:gd name="T72" fmla="*/ 24 w 154"/>
                  <a:gd name="T73" fmla="*/ 139 h 177"/>
                  <a:gd name="T74" fmla="*/ 15 w 154"/>
                  <a:gd name="T75" fmla="*/ 135 h 177"/>
                  <a:gd name="T76" fmla="*/ 10 w 154"/>
                  <a:gd name="T77" fmla="*/ 125 h 177"/>
                  <a:gd name="T78" fmla="*/ 5 w 154"/>
                  <a:gd name="T79" fmla="*/ 111 h 177"/>
                  <a:gd name="T80" fmla="*/ 1 w 154"/>
                  <a:gd name="T81" fmla="*/ 98 h 177"/>
                  <a:gd name="T82" fmla="*/ 3 w 154"/>
                  <a:gd name="T83" fmla="*/ 82 h 177"/>
                  <a:gd name="T84" fmla="*/ 18 w 154"/>
                  <a:gd name="T85" fmla="*/ 76 h 177"/>
                  <a:gd name="T86" fmla="*/ 20 w 154"/>
                  <a:gd name="T87" fmla="*/ 65 h 177"/>
                  <a:gd name="T88" fmla="*/ 15 w 154"/>
                  <a:gd name="T89" fmla="*/ 60 h 177"/>
                  <a:gd name="T90" fmla="*/ 22 w 154"/>
                  <a:gd name="T91" fmla="*/ 53 h 177"/>
                  <a:gd name="T92" fmla="*/ 25 w 154"/>
                  <a:gd name="T93" fmla="*/ 45 h 177"/>
                  <a:gd name="T94" fmla="*/ 20 w 154"/>
                  <a:gd name="T95" fmla="*/ 39 h 177"/>
                  <a:gd name="T96" fmla="*/ 35 w 154"/>
                  <a:gd name="T97" fmla="*/ 35 h 177"/>
                  <a:gd name="T98" fmla="*/ 38 w 154"/>
                  <a:gd name="T99" fmla="*/ 37 h 177"/>
                  <a:gd name="T100" fmla="*/ 42 w 154"/>
                  <a:gd name="T101" fmla="*/ 40 h 177"/>
                  <a:gd name="T102" fmla="*/ 43 w 154"/>
                  <a:gd name="T103" fmla="*/ 33 h 177"/>
                  <a:gd name="T104" fmla="*/ 56 w 154"/>
                  <a:gd name="T105" fmla="*/ 29 h 177"/>
                  <a:gd name="T106" fmla="*/ 56 w 154"/>
                  <a:gd name="T107" fmla="*/ 28 h 177"/>
                  <a:gd name="T108" fmla="*/ 52 w 154"/>
                  <a:gd name="T109" fmla="*/ 21 h 177"/>
                  <a:gd name="T110" fmla="*/ 45 w 154"/>
                  <a:gd name="T111" fmla="*/ 14 h 177"/>
                  <a:gd name="T112" fmla="*/ 48 w 154"/>
                  <a:gd name="T113" fmla="*/ 6 h 177"/>
                  <a:gd name="T114" fmla="*/ 43 w 154"/>
                  <a:gd name="T115" fmla="*/ 0 h 1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54" h="177">
                    <a:moveTo>
                      <a:pt x="43" y="0"/>
                    </a:moveTo>
                    <a:lnTo>
                      <a:pt x="48" y="0"/>
                    </a:lnTo>
                    <a:lnTo>
                      <a:pt x="55" y="2"/>
                    </a:lnTo>
                    <a:lnTo>
                      <a:pt x="57" y="3"/>
                    </a:lnTo>
                    <a:lnTo>
                      <a:pt x="61" y="2"/>
                    </a:lnTo>
                    <a:lnTo>
                      <a:pt x="63" y="6"/>
                    </a:lnTo>
                    <a:lnTo>
                      <a:pt x="67" y="7"/>
                    </a:lnTo>
                    <a:lnTo>
                      <a:pt x="65" y="11"/>
                    </a:lnTo>
                    <a:lnTo>
                      <a:pt x="63" y="13"/>
                    </a:lnTo>
                    <a:lnTo>
                      <a:pt x="64" y="15"/>
                    </a:lnTo>
                    <a:lnTo>
                      <a:pt x="67" y="16"/>
                    </a:lnTo>
                    <a:lnTo>
                      <a:pt x="68" y="18"/>
                    </a:lnTo>
                    <a:lnTo>
                      <a:pt x="71" y="17"/>
                    </a:lnTo>
                    <a:lnTo>
                      <a:pt x="72" y="15"/>
                    </a:lnTo>
                    <a:lnTo>
                      <a:pt x="74" y="14"/>
                    </a:lnTo>
                    <a:lnTo>
                      <a:pt x="76" y="16"/>
                    </a:lnTo>
                    <a:lnTo>
                      <a:pt x="81" y="18"/>
                    </a:lnTo>
                    <a:lnTo>
                      <a:pt x="82" y="17"/>
                    </a:lnTo>
                    <a:lnTo>
                      <a:pt x="85" y="15"/>
                    </a:lnTo>
                    <a:lnTo>
                      <a:pt x="85" y="16"/>
                    </a:lnTo>
                    <a:lnTo>
                      <a:pt x="85" y="18"/>
                    </a:lnTo>
                    <a:lnTo>
                      <a:pt x="84" y="21"/>
                    </a:lnTo>
                    <a:lnTo>
                      <a:pt x="81" y="21"/>
                    </a:lnTo>
                    <a:lnTo>
                      <a:pt x="78" y="23"/>
                    </a:lnTo>
                    <a:lnTo>
                      <a:pt x="83" y="25"/>
                    </a:lnTo>
                    <a:lnTo>
                      <a:pt x="85" y="24"/>
                    </a:lnTo>
                    <a:lnTo>
                      <a:pt x="87" y="24"/>
                    </a:lnTo>
                    <a:lnTo>
                      <a:pt x="88" y="26"/>
                    </a:lnTo>
                    <a:lnTo>
                      <a:pt x="92" y="26"/>
                    </a:lnTo>
                    <a:lnTo>
                      <a:pt x="93" y="23"/>
                    </a:lnTo>
                    <a:lnTo>
                      <a:pt x="96" y="20"/>
                    </a:lnTo>
                    <a:lnTo>
                      <a:pt x="103" y="19"/>
                    </a:lnTo>
                    <a:lnTo>
                      <a:pt x="103" y="17"/>
                    </a:lnTo>
                    <a:lnTo>
                      <a:pt x="106" y="16"/>
                    </a:lnTo>
                    <a:lnTo>
                      <a:pt x="106" y="14"/>
                    </a:lnTo>
                    <a:lnTo>
                      <a:pt x="108" y="13"/>
                    </a:lnTo>
                    <a:lnTo>
                      <a:pt x="113" y="14"/>
                    </a:lnTo>
                    <a:lnTo>
                      <a:pt x="109" y="15"/>
                    </a:lnTo>
                    <a:lnTo>
                      <a:pt x="107" y="17"/>
                    </a:lnTo>
                    <a:lnTo>
                      <a:pt x="107" y="16"/>
                    </a:lnTo>
                    <a:lnTo>
                      <a:pt x="106" y="17"/>
                    </a:lnTo>
                    <a:lnTo>
                      <a:pt x="106" y="19"/>
                    </a:lnTo>
                    <a:lnTo>
                      <a:pt x="110" y="17"/>
                    </a:lnTo>
                    <a:lnTo>
                      <a:pt x="114" y="17"/>
                    </a:lnTo>
                    <a:lnTo>
                      <a:pt x="116" y="16"/>
                    </a:lnTo>
                    <a:lnTo>
                      <a:pt x="117" y="17"/>
                    </a:lnTo>
                    <a:lnTo>
                      <a:pt x="121" y="17"/>
                    </a:lnTo>
                    <a:lnTo>
                      <a:pt x="125" y="22"/>
                    </a:lnTo>
                    <a:lnTo>
                      <a:pt x="128" y="21"/>
                    </a:lnTo>
                    <a:lnTo>
                      <a:pt x="131" y="24"/>
                    </a:lnTo>
                    <a:lnTo>
                      <a:pt x="130" y="28"/>
                    </a:lnTo>
                    <a:lnTo>
                      <a:pt x="133" y="31"/>
                    </a:lnTo>
                    <a:lnTo>
                      <a:pt x="137" y="30"/>
                    </a:lnTo>
                    <a:lnTo>
                      <a:pt x="139" y="32"/>
                    </a:lnTo>
                    <a:lnTo>
                      <a:pt x="142" y="32"/>
                    </a:lnTo>
                    <a:lnTo>
                      <a:pt x="144" y="39"/>
                    </a:lnTo>
                    <a:lnTo>
                      <a:pt x="144" y="45"/>
                    </a:lnTo>
                    <a:lnTo>
                      <a:pt x="138" y="48"/>
                    </a:lnTo>
                    <a:lnTo>
                      <a:pt x="138" y="51"/>
                    </a:lnTo>
                    <a:lnTo>
                      <a:pt x="144" y="57"/>
                    </a:lnTo>
                    <a:lnTo>
                      <a:pt x="144" y="60"/>
                    </a:lnTo>
                    <a:lnTo>
                      <a:pt x="147" y="63"/>
                    </a:lnTo>
                    <a:lnTo>
                      <a:pt x="147" y="66"/>
                    </a:lnTo>
                    <a:lnTo>
                      <a:pt x="148" y="70"/>
                    </a:lnTo>
                    <a:lnTo>
                      <a:pt x="147" y="73"/>
                    </a:lnTo>
                    <a:lnTo>
                      <a:pt x="149" y="80"/>
                    </a:lnTo>
                    <a:lnTo>
                      <a:pt x="152" y="82"/>
                    </a:lnTo>
                    <a:lnTo>
                      <a:pt x="154" y="84"/>
                    </a:lnTo>
                    <a:lnTo>
                      <a:pt x="154" y="94"/>
                    </a:lnTo>
                    <a:lnTo>
                      <a:pt x="152" y="96"/>
                    </a:lnTo>
                    <a:lnTo>
                      <a:pt x="150" y="95"/>
                    </a:lnTo>
                    <a:lnTo>
                      <a:pt x="148" y="97"/>
                    </a:lnTo>
                    <a:lnTo>
                      <a:pt x="142" y="95"/>
                    </a:lnTo>
                    <a:lnTo>
                      <a:pt x="142" y="99"/>
                    </a:lnTo>
                    <a:lnTo>
                      <a:pt x="139" y="100"/>
                    </a:lnTo>
                    <a:lnTo>
                      <a:pt x="136" y="100"/>
                    </a:lnTo>
                    <a:lnTo>
                      <a:pt x="130" y="100"/>
                    </a:lnTo>
                    <a:lnTo>
                      <a:pt x="128" y="103"/>
                    </a:lnTo>
                    <a:lnTo>
                      <a:pt x="125" y="103"/>
                    </a:lnTo>
                    <a:lnTo>
                      <a:pt x="121" y="106"/>
                    </a:lnTo>
                    <a:lnTo>
                      <a:pt x="118" y="107"/>
                    </a:lnTo>
                    <a:lnTo>
                      <a:pt x="111" y="113"/>
                    </a:lnTo>
                    <a:lnTo>
                      <a:pt x="108" y="111"/>
                    </a:lnTo>
                    <a:lnTo>
                      <a:pt x="106" y="110"/>
                    </a:lnTo>
                    <a:lnTo>
                      <a:pt x="105" y="111"/>
                    </a:lnTo>
                    <a:lnTo>
                      <a:pt x="105" y="114"/>
                    </a:lnTo>
                    <a:lnTo>
                      <a:pt x="109" y="116"/>
                    </a:lnTo>
                    <a:lnTo>
                      <a:pt x="113" y="123"/>
                    </a:lnTo>
                    <a:lnTo>
                      <a:pt x="113" y="126"/>
                    </a:lnTo>
                    <a:lnTo>
                      <a:pt x="114" y="129"/>
                    </a:lnTo>
                    <a:lnTo>
                      <a:pt x="118" y="131"/>
                    </a:lnTo>
                    <a:lnTo>
                      <a:pt x="125" y="135"/>
                    </a:lnTo>
                    <a:lnTo>
                      <a:pt x="128" y="138"/>
                    </a:lnTo>
                    <a:lnTo>
                      <a:pt x="135" y="146"/>
                    </a:lnTo>
                    <a:lnTo>
                      <a:pt x="134" y="149"/>
                    </a:lnTo>
                    <a:lnTo>
                      <a:pt x="134" y="152"/>
                    </a:lnTo>
                    <a:lnTo>
                      <a:pt x="131" y="152"/>
                    </a:lnTo>
                    <a:lnTo>
                      <a:pt x="129" y="156"/>
                    </a:lnTo>
                    <a:lnTo>
                      <a:pt x="126" y="158"/>
                    </a:lnTo>
                    <a:lnTo>
                      <a:pt x="121" y="164"/>
                    </a:lnTo>
                    <a:lnTo>
                      <a:pt x="121" y="167"/>
                    </a:lnTo>
                    <a:lnTo>
                      <a:pt x="125" y="168"/>
                    </a:lnTo>
                    <a:lnTo>
                      <a:pt x="126" y="172"/>
                    </a:lnTo>
                    <a:lnTo>
                      <a:pt x="124" y="173"/>
                    </a:lnTo>
                    <a:lnTo>
                      <a:pt x="120" y="170"/>
                    </a:lnTo>
                    <a:lnTo>
                      <a:pt x="115" y="172"/>
                    </a:lnTo>
                    <a:lnTo>
                      <a:pt x="111" y="170"/>
                    </a:lnTo>
                    <a:lnTo>
                      <a:pt x="108" y="171"/>
                    </a:lnTo>
                    <a:lnTo>
                      <a:pt x="103" y="175"/>
                    </a:lnTo>
                    <a:lnTo>
                      <a:pt x="99" y="175"/>
                    </a:lnTo>
                    <a:lnTo>
                      <a:pt x="96" y="174"/>
                    </a:lnTo>
                    <a:lnTo>
                      <a:pt x="93" y="175"/>
                    </a:lnTo>
                    <a:lnTo>
                      <a:pt x="90" y="174"/>
                    </a:lnTo>
                    <a:lnTo>
                      <a:pt x="85" y="173"/>
                    </a:lnTo>
                    <a:lnTo>
                      <a:pt x="81" y="173"/>
                    </a:lnTo>
                    <a:lnTo>
                      <a:pt x="81" y="176"/>
                    </a:lnTo>
                    <a:lnTo>
                      <a:pt x="80" y="177"/>
                    </a:lnTo>
                    <a:lnTo>
                      <a:pt x="75" y="176"/>
                    </a:lnTo>
                    <a:lnTo>
                      <a:pt x="73" y="173"/>
                    </a:lnTo>
                    <a:lnTo>
                      <a:pt x="69" y="175"/>
                    </a:lnTo>
                    <a:lnTo>
                      <a:pt x="67" y="176"/>
                    </a:lnTo>
                    <a:lnTo>
                      <a:pt x="66" y="176"/>
                    </a:lnTo>
                    <a:lnTo>
                      <a:pt x="64" y="174"/>
                    </a:lnTo>
                    <a:lnTo>
                      <a:pt x="60" y="171"/>
                    </a:lnTo>
                    <a:lnTo>
                      <a:pt x="57" y="171"/>
                    </a:lnTo>
                    <a:lnTo>
                      <a:pt x="55" y="172"/>
                    </a:lnTo>
                    <a:lnTo>
                      <a:pt x="53" y="172"/>
                    </a:lnTo>
                    <a:lnTo>
                      <a:pt x="51" y="168"/>
                    </a:lnTo>
                    <a:lnTo>
                      <a:pt x="48" y="169"/>
                    </a:lnTo>
                    <a:lnTo>
                      <a:pt x="48" y="172"/>
                    </a:lnTo>
                    <a:lnTo>
                      <a:pt x="47" y="174"/>
                    </a:lnTo>
                    <a:lnTo>
                      <a:pt x="42" y="172"/>
                    </a:lnTo>
                    <a:lnTo>
                      <a:pt x="39" y="174"/>
                    </a:lnTo>
                    <a:lnTo>
                      <a:pt x="36" y="173"/>
                    </a:lnTo>
                    <a:lnTo>
                      <a:pt x="36" y="173"/>
                    </a:lnTo>
                    <a:lnTo>
                      <a:pt x="35" y="170"/>
                    </a:lnTo>
                    <a:lnTo>
                      <a:pt x="31" y="168"/>
                    </a:lnTo>
                    <a:lnTo>
                      <a:pt x="31" y="163"/>
                    </a:lnTo>
                    <a:lnTo>
                      <a:pt x="33" y="157"/>
                    </a:lnTo>
                    <a:lnTo>
                      <a:pt x="36" y="154"/>
                    </a:lnTo>
                    <a:lnTo>
                      <a:pt x="36" y="152"/>
                    </a:lnTo>
                    <a:lnTo>
                      <a:pt x="38" y="147"/>
                    </a:lnTo>
                    <a:lnTo>
                      <a:pt x="42" y="143"/>
                    </a:lnTo>
                    <a:lnTo>
                      <a:pt x="38" y="140"/>
                    </a:lnTo>
                    <a:lnTo>
                      <a:pt x="35" y="140"/>
                    </a:lnTo>
                    <a:lnTo>
                      <a:pt x="30" y="138"/>
                    </a:lnTo>
                    <a:lnTo>
                      <a:pt x="27" y="139"/>
                    </a:lnTo>
                    <a:lnTo>
                      <a:pt x="24" y="139"/>
                    </a:lnTo>
                    <a:lnTo>
                      <a:pt x="21" y="139"/>
                    </a:lnTo>
                    <a:lnTo>
                      <a:pt x="19" y="140"/>
                    </a:lnTo>
                    <a:lnTo>
                      <a:pt x="15" y="137"/>
                    </a:lnTo>
                    <a:lnTo>
                      <a:pt x="15" y="135"/>
                    </a:lnTo>
                    <a:lnTo>
                      <a:pt x="12" y="132"/>
                    </a:lnTo>
                    <a:lnTo>
                      <a:pt x="12" y="132"/>
                    </a:lnTo>
                    <a:lnTo>
                      <a:pt x="12" y="126"/>
                    </a:lnTo>
                    <a:lnTo>
                      <a:pt x="10" y="125"/>
                    </a:lnTo>
                    <a:lnTo>
                      <a:pt x="9" y="121"/>
                    </a:lnTo>
                    <a:lnTo>
                      <a:pt x="4" y="116"/>
                    </a:lnTo>
                    <a:lnTo>
                      <a:pt x="3" y="116"/>
                    </a:lnTo>
                    <a:lnTo>
                      <a:pt x="5" y="111"/>
                    </a:lnTo>
                    <a:lnTo>
                      <a:pt x="3" y="107"/>
                    </a:lnTo>
                    <a:lnTo>
                      <a:pt x="3" y="105"/>
                    </a:lnTo>
                    <a:lnTo>
                      <a:pt x="0" y="100"/>
                    </a:lnTo>
                    <a:lnTo>
                      <a:pt x="1" y="98"/>
                    </a:lnTo>
                    <a:lnTo>
                      <a:pt x="1" y="97"/>
                    </a:lnTo>
                    <a:lnTo>
                      <a:pt x="3" y="93"/>
                    </a:lnTo>
                    <a:lnTo>
                      <a:pt x="4" y="87"/>
                    </a:lnTo>
                    <a:lnTo>
                      <a:pt x="3" y="82"/>
                    </a:lnTo>
                    <a:lnTo>
                      <a:pt x="5" y="80"/>
                    </a:lnTo>
                    <a:lnTo>
                      <a:pt x="8" y="76"/>
                    </a:lnTo>
                    <a:lnTo>
                      <a:pt x="13" y="75"/>
                    </a:lnTo>
                    <a:lnTo>
                      <a:pt x="18" y="76"/>
                    </a:lnTo>
                    <a:lnTo>
                      <a:pt x="20" y="75"/>
                    </a:lnTo>
                    <a:lnTo>
                      <a:pt x="18" y="71"/>
                    </a:lnTo>
                    <a:lnTo>
                      <a:pt x="20" y="69"/>
                    </a:lnTo>
                    <a:lnTo>
                      <a:pt x="20" y="65"/>
                    </a:lnTo>
                    <a:lnTo>
                      <a:pt x="21" y="63"/>
                    </a:lnTo>
                    <a:lnTo>
                      <a:pt x="20" y="61"/>
                    </a:lnTo>
                    <a:lnTo>
                      <a:pt x="16" y="61"/>
                    </a:lnTo>
                    <a:lnTo>
                      <a:pt x="15" y="60"/>
                    </a:lnTo>
                    <a:lnTo>
                      <a:pt x="17" y="56"/>
                    </a:lnTo>
                    <a:lnTo>
                      <a:pt x="20" y="58"/>
                    </a:lnTo>
                    <a:lnTo>
                      <a:pt x="22" y="56"/>
                    </a:lnTo>
                    <a:lnTo>
                      <a:pt x="22" y="53"/>
                    </a:lnTo>
                    <a:lnTo>
                      <a:pt x="24" y="49"/>
                    </a:lnTo>
                    <a:lnTo>
                      <a:pt x="24" y="47"/>
                    </a:lnTo>
                    <a:lnTo>
                      <a:pt x="25" y="46"/>
                    </a:lnTo>
                    <a:lnTo>
                      <a:pt x="25" y="45"/>
                    </a:lnTo>
                    <a:lnTo>
                      <a:pt x="26" y="45"/>
                    </a:lnTo>
                    <a:lnTo>
                      <a:pt x="25" y="42"/>
                    </a:lnTo>
                    <a:lnTo>
                      <a:pt x="21" y="41"/>
                    </a:lnTo>
                    <a:lnTo>
                      <a:pt x="20" y="39"/>
                    </a:lnTo>
                    <a:lnTo>
                      <a:pt x="20" y="35"/>
                    </a:lnTo>
                    <a:lnTo>
                      <a:pt x="28" y="33"/>
                    </a:lnTo>
                    <a:lnTo>
                      <a:pt x="31" y="32"/>
                    </a:lnTo>
                    <a:lnTo>
                      <a:pt x="35" y="35"/>
                    </a:lnTo>
                    <a:lnTo>
                      <a:pt x="35" y="39"/>
                    </a:lnTo>
                    <a:lnTo>
                      <a:pt x="38" y="42"/>
                    </a:lnTo>
                    <a:lnTo>
                      <a:pt x="40" y="40"/>
                    </a:lnTo>
                    <a:lnTo>
                      <a:pt x="38" y="37"/>
                    </a:lnTo>
                    <a:lnTo>
                      <a:pt x="38" y="35"/>
                    </a:lnTo>
                    <a:lnTo>
                      <a:pt x="40" y="34"/>
                    </a:lnTo>
                    <a:lnTo>
                      <a:pt x="42" y="36"/>
                    </a:lnTo>
                    <a:lnTo>
                      <a:pt x="42" y="40"/>
                    </a:lnTo>
                    <a:lnTo>
                      <a:pt x="46" y="44"/>
                    </a:lnTo>
                    <a:lnTo>
                      <a:pt x="44" y="41"/>
                    </a:lnTo>
                    <a:lnTo>
                      <a:pt x="44" y="36"/>
                    </a:lnTo>
                    <a:lnTo>
                      <a:pt x="43" y="33"/>
                    </a:lnTo>
                    <a:lnTo>
                      <a:pt x="45" y="30"/>
                    </a:lnTo>
                    <a:lnTo>
                      <a:pt x="49" y="29"/>
                    </a:lnTo>
                    <a:lnTo>
                      <a:pt x="52" y="31"/>
                    </a:lnTo>
                    <a:lnTo>
                      <a:pt x="56" y="29"/>
                    </a:lnTo>
                    <a:lnTo>
                      <a:pt x="62" y="36"/>
                    </a:lnTo>
                    <a:lnTo>
                      <a:pt x="69" y="37"/>
                    </a:lnTo>
                    <a:lnTo>
                      <a:pt x="62" y="34"/>
                    </a:lnTo>
                    <a:lnTo>
                      <a:pt x="56" y="28"/>
                    </a:lnTo>
                    <a:lnTo>
                      <a:pt x="51" y="28"/>
                    </a:lnTo>
                    <a:lnTo>
                      <a:pt x="49" y="26"/>
                    </a:lnTo>
                    <a:lnTo>
                      <a:pt x="49" y="23"/>
                    </a:lnTo>
                    <a:lnTo>
                      <a:pt x="52" y="21"/>
                    </a:lnTo>
                    <a:lnTo>
                      <a:pt x="48" y="19"/>
                    </a:lnTo>
                    <a:lnTo>
                      <a:pt x="48" y="16"/>
                    </a:lnTo>
                    <a:lnTo>
                      <a:pt x="45" y="17"/>
                    </a:lnTo>
                    <a:lnTo>
                      <a:pt x="45" y="14"/>
                    </a:lnTo>
                    <a:lnTo>
                      <a:pt x="48" y="14"/>
                    </a:lnTo>
                    <a:lnTo>
                      <a:pt x="52" y="13"/>
                    </a:lnTo>
                    <a:lnTo>
                      <a:pt x="47" y="9"/>
                    </a:lnTo>
                    <a:lnTo>
                      <a:pt x="48" y="6"/>
                    </a:lnTo>
                    <a:lnTo>
                      <a:pt x="46" y="6"/>
                    </a:lnTo>
                    <a:lnTo>
                      <a:pt x="43" y="4"/>
                    </a:lnTo>
                    <a:lnTo>
                      <a:pt x="43" y="1"/>
                    </a:lnTo>
                    <a:lnTo>
                      <a:pt x="43" y="0"/>
                    </a:lnTo>
                    <a:lnTo>
                      <a:pt x="43" y="0"/>
                    </a:lnTo>
                    <a:close/>
                  </a:path>
                </a:pathLst>
              </a:custGeom>
              <a:solidFill>
                <a:schemeClr val="accent6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761" name="Freeform 565"/>
              <p:cNvSpPr>
                <a:spLocks/>
              </p:cNvSpPr>
              <p:nvPr userDrawn="1"/>
            </p:nvSpPr>
            <p:spPr bwMode="auto">
              <a:xfrm>
                <a:off x="3397" y="1894"/>
                <a:ext cx="3" cy="2"/>
              </a:xfrm>
              <a:custGeom>
                <a:avLst/>
                <a:gdLst>
                  <a:gd name="T0" fmla="*/ 0 w 3"/>
                  <a:gd name="T1" fmla="*/ 0 h 3"/>
                  <a:gd name="T2" fmla="*/ 1 w 3"/>
                  <a:gd name="T3" fmla="*/ 2 h 3"/>
                  <a:gd name="T4" fmla="*/ 3 w 3"/>
                  <a:gd name="T5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" h="3">
                    <a:moveTo>
                      <a:pt x="0" y="0"/>
                    </a:moveTo>
                    <a:cubicBezTo>
                      <a:pt x="1" y="2"/>
                      <a:pt x="1" y="2"/>
                      <a:pt x="1" y="2"/>
                    </a:cubicBezTo>
                    <a:cubicBezTo>
                      <a:pt x="3" y="3"/>
                      <a:pt x="3" y="3"/>
                      <a:pt x="3" y="3"/>
                    </a:cubicBezTo>
                  </a:path>
                </a:pathLst>
              </a:custGeom>
              <a:solidFill>
                <a:srgbClr val="F68B1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762" name="Freeform 566"/>
              <p:cNvSpPr>
                <a:spLocks/>
              </p:cNvSpPr>
              <p:nvPr userDrawn="1"/>
            </p:nvSpPr>
            <p:spPr bwMode="auto">
              <a:xfrm>
                <a:off x="4074" y="2659"/>
                <a:ext cx="281" cy="206"/>
              </a:xfrm>
              <a:custGeom>
                <a:avLst/>
                <a:gdLst>
                  <a:gd name="T0" fmla="*/ 39 w 281"/>
                  <a:gd name="T1" fmla="*/ 163 h 206"/>
                  <a:gd name="T2" fmla="*/ 34 w 281"/>
                  <a:gd name="T3" fmla="*/ 150 h 206"/>
                  <a:gd name="T4" fmla="*/ 26 w 281"/>
                  <a:gd name="T5" fmla="*/ 146 h 206"/>
                  <a:gd name="T6" fmla="*/ 19 w 281"/>
                  <a:gd name="T7" fmla="*/ 137 h 206"/>
                  <a:gd name="T8" fmla="*/ 15 w 281"/>
                  <a:gd name="T9" fmla="*/ 131 h 206"/>
                  <a:gd name="T10" fmla="*/ 1 w 281"/>
                  <a:gd name="T11" fmla="*/ 127 h 206"/>
                  <a:gd name="T12" fmla="*/ 5 w 281"/>
                  <a:gd name="T13" fmla="*/ 121 h 206"/>
                  <a:gd name="T14" fmla="*/ 13 w 281"/>
                  <a:gd name="T15" fmla="*/ 117 h 206"/>
                  <a:gd name="T16" fmla="*/ 18 w 281"/>
                  <a:gd name="T17" fmla="*/ 116 h 206"/>
                  <a:gd name="T18" fmla="*/ 20 w 281"/>
                  <a:gd name="T19" fmla="*/ 100 h 206"/>
                  <a:gd name="T20" fmla="*/ 25 w 281"/>
                  <a:gd name="T21" fmla="*/ 86 h 206"/>
                  <a:gd name="T22" fmla="*/ 29 w 281"/>
                  <a:gd name="T23" fmla="*/ 76 h 206"/>
                  <a:gd name="T24" fmla="*/ 34 w 281"/>
                  <a:gd name="T25" fmla="*/ 74 h 206"/>
                  <a:gd name="T26" fmla="*/ 44 w 281"/>
                  <a:gd name="T27" fmla="*/ 51 h 206"/>
                  <a:gd name="T28" fmla="*/ 49 w 281"/>
                  <a:gd name="T29" fmla="*/ 38 h 206"/>
                  <a:gd name="T30" fmla="*/ 57 w 281"/>
                  <a:gd name="T31" fmla="*/ 33 h 206"/>
                  <a:gd name="T32" fmla="*/ 63 w 281"/>
                  <a:gd name="T33" fmla="*/ 13 h 206"/>
                  <a:gd name="T34" fmla="*/ 71 w 281"/>
                  <a:gd name="T35" fmla="*/ 13 h 206"/>
                  <a:gd name="T36" fmla="*/ 81 w 281"/>
                  <a:gd name="T37" fmla="*/ 0 h 206"/>
                  <a:gd name="T38" fmla="*/ 90 w 281"/>
                  <a:gd name="T39" fmla="*/ 6 h 206"/>
                  <a:gd name="T40" fmla="*/ 101 w 281"/>
                  <a:gd name="T41" fmla="*/ 2 h 206"/>
                  <a:gd name="T42" fmla="*/ 108 w 281"/>
                  <a:gd name="T43" fmla="*/ 3 h 206"/>
                  <a:gd name="T44" fmla="*/ 117 w 281"/>
                  <a:gd name="T45" fmla="*/ 6 h 206"/>
                  <a:gd name="T46" fmla="*/ 127 w 281"/>
                  <a:gd name="T47" fmla="*/ 11 h 206"/>
                  <a:gd name="T48" fmla="*/ 141 w 281"/>
                  <a:gd name="T49" fmla="*/ 19 h 206"/>
                  <a:gd name="T50" fmla="*/ 146 w 281"/>
                  <a:gd name="T51" fmla="*/ 23 h 206"/>
                  <a:gd name="T52" fmla="*/ 159 w 281"/>
                  <a:gd name="T53" fmla="*/ 31 h 206"/>
                  <a:gd name="T54" fmla="*/ 164 w 281"/>
                  <a:gd name="T55" fmla="*/ 41 h 206"/>
                  <a:gd name="T56" fmla="*/ 168 w 281"/>
                  <a:gd name="T57" fmla="*/ 49 h 206"/>
                  <a:gd name="T58" fmla="*/ 166 w 281"/>
                  <a:gd name="T59" fmla="*/ 61 h 206"/>
                  <a:gd name="T60" fmla="*/ 161 w 281"/>
                  <a:gd name="T61" fmla="*/ 72 h 206"/>
                  <a:gd name="T62" fmla="*/ 174 w 281"/>
                  <a:gd name="T63" fmla="*/ 71 h 206"/>
                  <a:gd name="T64" fmla="*/ 181 w 281"/>
                  <a:gd name="T65" fmla="*/ 74 h 206"/>
                  <a:gd name="T66" fmla="*/ 191 w 281"/>
                  <a:gd name="T67" fmla="*/ 92 h 206"/>
                  <a:gd name="T68" fmla="*/ 199 w 281"/>
                  <a:gd name="T69" fmla="*/ 104 h 206"/>
                  <a:gd name="T70" fmla="*/ 281 w 281"/>
                  <a:gd name="T71" fmla="*/ 124 h 206"/>
                  <a:gd name="T72" fmla="*/ 201 w 281"/>
                  <a:gd name="T73" fmla="*/ 179 h 206"/>
                  <a:gd name="T74" fmla="*/ 190 w 281"/>
                  <a:gd name="T75" fmla="*/ 183 h 206"/>
                  <a:gd name="T76" fmla="*/ 180 w 281"/>
                  <a:gd name="T77" fmla="*/ 191 h 206"/>
                  <a:gd name="T78" fmla="*/ 167 w 281"/>
                  <a:gd name="T79" fmla="*/ 197 h 206"/>
                  <a:gd name="T80" fmla="*/ 154 w 281"/>
                  <a:gd name="T81" fmla="*/ 199 h 206"/>
                  <a:gd name="T82" fmla="*/ 147 w 281"/>
                  <a:gd name="T83" fmla="*/ 191 h 206"/>
                  <a:gd name="T84" fmla="*/ 133 w 281"/>
                  <a:gd name="T85" fmla="*/ 194 h 206"/>
                  <a:gd name="T86" fmla="*/ 123 w 281"/>
                  <a:gd name="T87" fmla="*/ 205 h 206"/>
                  <a:gd name="T88" fmla="*/ 113 w 281"/>
                  <a:gd name="T89" fmla="*/ 204 h 206"/>
                  <a:gd name="T90" fmla="*/ 98 w 281"/>
                  <a:gd name="T91" fmla="*/ 203 h 206"/>
                  <a:gd name="T92" fmla="*/ 87 w 281"/>
                  <a:gd name="T93" fmla="*/ 196 h 206"/>
                  <a:gd name="T94" fmla="*/ 67 w 281"/>
                  <a:gd name="T95" fmla="*/ 188 h 206"/>
                  <a:gd name="T96" fmla="*/ 55 w 281"/>
                  <a:gd name="T97" fmla="*/ 187 h 206"/>
                  <a:gd name="T98" fmla="*/ 49 w 281"/>
                  <a:gd name="T99" fmla="*/ 172 h 206"/>
                  <a:gd name="T100" fmla="*/ 42 w 281"/>
                  <a:gd name="T101" fmla="*/ 171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281" h="206">
                    <a:moveTo>
                      <a:pt x="42" y="171"/>
                    </a:moveTo>
                    <a:lnTo>
                      <a:pt x="40" y="165"/>
                    </a:lnTo>
                    <a:lnTo>
                      <a:pt x="39" y="163"/>
                    </a:lnTo>
                    <a:lnTo>
                      <a:pt x="39" y="156"/>
                    </a:lnTo>
                    <a:lnTo>
                      <a:pt x="35" y="153"/>
                    </a:lnTo>
                    <a:lnTo>
                      <a:pt x="34" y="150"/>
                    </a:lnTo>
                    <a:lnTo>
                      <a:pt x="31" y="147"/>
                    </a:lnTo>
                    <a:lnTo>
                      <a:pt x="28" y="147"/>
                    </a:lnTo>
                    <a:lnTo>
                      <a:pt x="26" y="146"/>
                    </a:lnTo>
                    <a:lnTo>
                      <a:pt x="26" y="145"/>
                    </a:lnTo>
                    <a:lnTo>
                      <a:pt x="23" y="144"/>
                    </a:lnTo>
                    <a:lnTo>
                      <a:pt x="19" y="137"/>
                    </a:lnTo>
                    <a:lnTo>
                      <a:pt x="18" y="137"/>
                    </a:lnTo>
                    <a:lnTo>
                      <a:pt x="18" y="134"/>
                    </a:lnTo>
                    <a:lnTo>
                      <a:pt x="15" y="131"/>
                    </a:lnTo>
                    <a:lnTo>
                      <a:pt x="13" y="128"/>
                    </a:lnTo>
                    <a:lnTo>
                      <a:pt x="5" y="129"/>
                    </a:lnTo>
                    <a:lnTo>
                      <a:pt x="1" y="127"/>
                    </a:lnTo>
                    <a:lnTo>
                      <a:pt x="0" y="125"/>
                    </a:lnTo>
                    <a:lnTo>
                      <a:pt x="3" y="122"/>
                    </a:lnTo>
                    <a:lnTo>
                      <a:pt x="5" y="121"/>
                    </a:lnTo>
                    <a:lnTo>
                      <a:pt x="5" y="117"/>
                    </a:lnTo>
                    <a:lnTo>
                      <a:pt x="9" y="118"/>
                    </a:lnTo>
                    <a:lnTo>
                      <a:pt x="13" y="117"/>
                    </a:lnTo>
                    <a:lnTo>
                      <a:pt x="15" y="118"/>
                    </a:lnTo>
                    <a:lnTo>
                      <a:pt x="17" y="118"/>
                    </a:lnTo>
                    <a:lnTo>
                      <a:pt x="18" y="116"/>
                    </a:lnTo>
                    <a:lnTo>
                      <a:pt x="20" y="115"/>
                    </a:lnTo>
                    <a:lnTo>
                      <a:pt x="21" y="106"/>
                    </a:lnTo>
                    <a:lnTo>
                      <a:pt x="20" y="100"/>
                    </a:lnTo>
                    <a:lnTo>
                      <a:pt x="22" y="94"/>
                    </a:lnTo>
                    <a:lnTo>
                      <a:pt x="25" y="90"/>
                    </a:lnTo>
                    <a:lnTo>
                      <a:pt x="25" y="86"/>
                    </a:lnTo>
                    <a:lnTo>
                      <a:pt x="24" y="84"/>
                    </a:lnTo>
                    <a:lnTo>
                      <a:pt x="25" y="80"/>
                    </a:lnTo>
                    <a:lnTo>
                      <a:pt x="29" y="76"/>
                    </a:lnTo>
                    <a:lnTo>
                      <a:pt x="30" y="73"/>
                    </a:lnTo>
                    <a:lnTo>
                      <a:pt x="31" y="73"/>
                    </a:lnTo>
                    <a:lnTo>
                      <a:pt x="34" y="74"/>
                    </a:lnTo>
                    <a:lnTo>
                      <a:pt x="37" y="60"/>
                    </a:lnTo>
                    <a:lnTo>
                      <a:pt x="40" y="55"/>
                    </a:lnTo>
                    <a:lnTo>
                      <a:pt x="44" y="51"/>
                    </a:lnTo>
                    <a:lnTo>
                      <a:pt x="44" y="49"/>
                    </a:lnTo>
                    <a:lnTo>
                      <a:pt x="49" y="41"/>
                    </a:lnTo>
                    <a:lnTo>
                      <a:pt x="49" y="38"/>
                    </a:lnTo>
                    <a:lnTo>
                      <a:pt x="53" y="37"/>
                    </a:lnTo>
                    <a:lnTo>
                      <a:pt x="55" y="37"/>
                    </a:lnTo>
                    <a:lnTo>
                      <a:pt x="57" y="33"/>
                    </a:lnTo>
                    <a:lnTo>
                      <a:pt x="61" y="24"/>
                    </a:lnTo>
                    <a:lnTo>
                      <a:pt x="61" y="18"/>
                    </a:lnTo>
                    <a:lnTo>
                      <a:pt x="63" y="13"/>
                    </a:lnTo>
                    <a:lnTo>
                      <a:pt x="64" y="12"/>
                    </a:lnTo>
                    <a:lnTo>
                      <a:pt x="67" y="13"/>
                    </a:lnTo>
                    <a:lnTo>
                      <a:pt x="71" y="13"/>
                    </a:lnTo>
                    <a:lnTo>
                      <a:pt x="72" y="11"/>
                    </a:lnTo>
                    <a:lnTo>
                      <a:pt x="75" y="10"/>
                    </a:lnTo>
                    <a:lnTo>
                      <a:pt x="81" y="0"/>
                    </a:lnTo>
                    <a:lnTo>
                      <a:pt x="83" y="1"/>
                    </a:lnTo>
                    <a:lnTo>
                      <a:pt x="83" y="3"/>
                    </a:lnTo>
                    <a:lnTo>
                      <a:pt x="90" y="6"/>
                    </a:lnTo>
                    <a:lnTo>
                      <a:pt x="94" y="6"/>
                    </a:lnTo>
                    <a:lnTo>
                      <a:pt x="97" y="3"/>
                    </a:lnTo>
                    <a:lnTo>
                      <a:pt x="101" y="2"/>
                    </a:lnTo>
                    <a:lnTo>
                      <a:pt x="104" y="5"/>
                    </a:lnTo>
                    <a:lnTo>
                      <a:pt x="104" y="3"/>
                    </a:lnTo>
                    <a:lnTo>
                      <a:pt x="108" y="3"/>
                    </a:lnTo>
                    <a:lnTo>
                      <a:pt x="114" y="8"/>
                    </a:lnTo>
                    <a:lnTo>
                      <a:pt x="114" y="7"/>
                    </a:lnTo>
                    <a:lnTo>
                      <a:pt x="117" y="6"/>
                    </a:lnTo>
                    <a:lnTo>
                      <a:pt x="121" y="7"/>
                    </a:lnTo>
                    <a:lnTo>
                      <a:pt x="125" y="10"/>
                    </a:lnTo>
                    <a:lnTo>
                      <a:pt x="127" y="11"/>
                    </a:lnTo>
                    <a:lnTo>
                      <a:pt x="134" y="16"/>
                    </a:lnTo>
                    <a:lnTo>
                      <a:pt x="135" y="19"/>
                    </a:lnTo>
                    <a:lnTo>
                      <a:pt x="141" y="19"/>
                    </a:lnTo>
                    <a:lnTo>
                      <a:pt x="141" y="21"/>
                    </a:lnTo>
                    <a:lnTo>
                      <a:pt x="145" y="21"/>
                    </a:lnTo>
                    <a:lnTo>
                      <a:pt x="146" y="23"/>
                    </a:lnTo>
                    <a:lnTo>
                      <a:pt x="150" y="25"/>
                    </a:lnTo>
                    <a:lnTo>
                      <a:pt x="155" y="31"/>
                    </a:lnTo>
                    <a:lnTo>
                      <a:pt x="159" y="31"/>
                    </a:lnTo>
                    <a:lnTo>
                      <a:pt x="162" y="36"/>
                    </a:lnTo>
                    <a:lnTo>
                      <a:pt x="163" y="39"/>
                    </a:lnTo>
                    <a:lnTo>
                      <a:pt x="164" y="41"/>
                    </a:lnTo>
                    <a:lnTo>
                      <a:pt x="167" y="41"/>
                    </a:lnTo>
                    <a:lnTo>
                      <a:pt x="171" y="48"/>
                    </a:lnTo>
                    <a:lnTo>
                      <a:pt x="168" y="49"/>
                    </a:lnTo>
                    <a:lnTo>
                      <a:pt x="167" y="54"/>
                    </a:lnTo>
                    <a:lnTo>
                      <a:pt x="166" y="57"/>
                    </a:lnTo>
                    <a:lnTo>
                      <a:pt x="166" y="61"/>
                    </a:lnTo>
                    <a:lnTo>
                      <a:pt x="164" y="64"/>
                    </a:lnTo>
                    <a:lnTo>
                      <a:pt x="164" y="67"/>
                    </a:lnTo>
                    <a:lnTo>
                      <a:pt x="161" y="72"/>
                    </a:lnTo>
                    <a:lnTo>
                      <a:pt x="163" y="74"/>
                    </a:lnTo>
                    <a:lnTo>
                      <a:pt x="169" y="73"/>
                    </a:lnTo>
                    <a:lnTo>
                      <a:pt x="174" y="71"/>
                    </a:lnTo>
                    <a:lnTo>
                      <a:pt x="179" y="70"/>
                    </a:lnTo>
                    <a:lnTo>
                      <a:pt x="182" y="72"/>
                    </a:lnTo>
                    <a:lnTo>
                      <a:pt x="181" y="74"/>
                    </a:lnTo>
                    <a:lnTo>
                      <a:pt x="182" y="80"/>
                    </a:lnTo>
                    <a:lnTo>
                      <a:pt x="185" y="90"/>
                    </a:lnTo>
                    <a:lnTo>
                      <a:pt x="191" y="92"/>
                    </a:lnTo>
                    <a:lnTo>
                      <a:pt x="190" y="97"/>
                    </a:lnTo>
                    <a:lnTo>
                      <a:pt x="192" y="102"/>
                    </a:lnTo>
                    <a:lnTo>
                      <a:pt x="199" y="104"/>
                    </a:lnTo>
                    <a:lnTo>
                      <a:pt x="203" y="108"/>
                    </a:lnTo>
                    <a:lnTo>
                      <a:pt x="257" y="124"/>
                    </a:lnTo>
                    <a:lnTo>
                      <a:pt x="281" y="124"/>
                    </a:lnTo>
                    <a:lnTo>
                      <a:pt x="224" y="178"/>
                    </a:lnTo>
                    <a:lnTo>
                      <a:pt x="212" y="178"/>
                    </a:lnTo>
                    <a:lnTo>
                      <a:pt x="201" y="179"/>
                    </a:lnTo>
                    <a:lnTo>
                      <a:pt x="197" y="181"/>
                    </a:lnTo>
                    <a:lnTo>
                      <a:pt x="194" y="181"/>
                    </a:lnTo>
                    <a:lnTo>
                      <a:pt x="190" y="183"/>
                    </a:lnTo>
                    <a:lnTo>
                      <a:pt x="188" y="187"/>
                    </a:lnTo>
                    <a:lnTo>
                      <a:pt x="185" y="188"/>
                    </a:lnTo>
                    <a:lnTo>
                      <a:pt x="180" y="191"/>
                    </a:lnTo>
                    <a:lnTo>
                      <a:pt x="174" y="192"/>
                    </a:lnTo>
                    <a:lnTo>
                      <a:pt x="169" y="195"/>
                    </a:lnTo>
                    <a:lnTo>
                      <a:pt x="167" y="197"/>
                    </a:lnTo>
                    <a:lnTo>
                      <a:pt x="167" y="198"/>
                    </a:lnTo>
                    <a:lnTo>
                      <a:pt x="162" y="197"/>
                    </a:lnTo>
                    <a:lnTo>
                      <a:pt x="154" y="199"/>
                    </a:lnTo>
                    <a:lnTo>
                      <a:pt x="151" y="197"/>
                    </a:lnTo>
                    <a:lnTo>
                      <a:pt x="149" y="193"/>
                    </a:lnTo>
                    <a:lnTo>
                      <a:pt x="147" y="191"/>
                    </a:lnTo>
                    <a:lnTo>
                      <a:pt x="138" y="193"/>
                    </a:lnTo>
                    <a:lnTo>
                      <a:pt x="136" y="194"/>
                    </a:lnTo>
                    <a:lnTo>
                      <a:pt x="133" y="194"/>
                    </a:lnTo>
                    <a:lnTo>
                      <a:pt x="129" y="195"/>
                    </a:lnTo>
                    <a:lnTo>
                      <a:pt x="127" y="198"/>
                    </a:lnTo>
                    <a:lnTo>
                      <a:pt x="123" y="205"/>
                    </a:lnTo>
                    <a:lnTo>
                      <a:pt x="119" y="206"/>
                    </a:lnTo>
                    <a:lnTo>
                      <a:pt x="117" y="206"/>
                    </a:lnTo>
                    <a:lnTo>
                      <a:pt x="113" y="204"/>
                    </a:lnTo>
                    <a:lnTo>
                      <a:pt x="108" y="205"/>
                    </a:lnTo>
                    <a:lnTo>
                      <a:pt x="104" y="203"/>
                    </a:lnTo>
                    <a:lnTo>
                      <a:pt x="98" y="203"/>
                    </a:lnTo>
                    <a:lnTo>
                      <a:pt x="95" y="202"/>
                    </a:lnTo>
                    <a:lnTo>
                      <a:pt x="92" y="199"/>
                    </a:lnTo>
                    <a:lnTo>
                      <a:pt x="87" y="196"/>
                    </a:lnTo>
                    <a:lnTo>
                      <a:pt x="80" y="188"/>
                    </a:lnTo>
                    <a:lnTo>
                      <a:pt x="76" y="187"/>
                    </a:lnTo>
                    <a:lnTo>
                      <a:pt x="67" y="188"/>
                    </a:lnTo>
                    <a:lnTo>
                      <a:pt x="62" y="187"/>
                    </a:lnTo>
                    <a:lnTo>
                      <a:pt x="59" y="188"/>
                    </a:lnTo>
                    <a:lnTo>
                      <a:pt x="55" y="187"/>
                    </a:lnTo>
                    <a:lnTo>
                      <a:pt x="52" y="184"/>
                    </a:lnTo>
                    <a:lnTo>
                      <a:pt x="52" y="172"/>
                    </a:lnTo>
                    <a:lnTo>
                      <a:pt x="49" y="172"/>
                    </a:lnTo>
                    <a:lnTo>
                      <a:pt x="45" y="173"/>
                    </a:lnTo>
                    <a:lnTo>
                      <a:pt x="43" y="169"/>
                    </a:lnTo>
                    <a:lnTo>
                      <a:pt x="42" y="171"/>
                    </a:lnTo>
                    <a:lnTo>
                      <a:pt x="42" y="171"/>
                    </a:lnTo>
                    <a:close/>
                  </a:path>
                </a:pathLst>
              </a:custGeom>
              <a:solidFill>
                <a:schemeClr val="accent6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763" name="Freeform 567"/>
              <p:cNvSpPr>
                <a:spLocks noEditPoints="1"/>
              </p:cNvSpPr>
              <p:nvPr userDrawn="1"/>
            </p:nvSpPr>
            <p:spPr bwMode="auto">
              <a:xfrm>
                <a:off x="4047" y="2828"/>
                <a:ext cx="194" cy="182"/>
              </a:xfrm>
              <a:custGeom>
                <a:avLst/>
                <a:gdLst>
                  <a:gd name="T0" fmla="*/ 50 w 194"/>
                  <a:gd name="T1" fmla="*/ 20 h 182"/>
                  <a:gd name="T2" fmla="*/ 53 w 194"/>
                  <a:gd name="T3" fmla="*/ 18 h 182"/>
                  <a:gd name="T4" fmla="*/ 58 w 194"/>
                  <a:gd name="T5" fmla="*/ 16 h 182"/>
                  <a:gd name="T6" fmla="*/ 70 w 194"/>
                  <a:gd name="T7" fmla="*/ 0 h 182"/>
                  <a:gd name="T8" fmla="*/ 76 w 194"/>
                  <a:gd name="T9" fmla="*/ 3 h 182"/>
                  <a:gd name="T10" fmla="*/ 79 w 194"/>
                  <a:gd name="T11" fmla="*/ 15 h 182"/>
                  <a:gd name="T12" fmla="*/ 86 w 194"/>
                  <a:gd name="T13" fmla="*/ 19 h 182"/>
                  <a:gd name="T14" fmla="*/ 94 w 194"/>
                  <a:gd name="T15" fmla="*/ 19 h 182"/>
                  <a:gd name="T16" fmla="*/ 107 w 194"/>
                  <a:gd name="T17" fmla="*/ 19 h 182"/>
                  <a:gd name="T18" fmla="*/ 119 w 194"/>
                  <a:gd name="T19" fmla="*/ 30 h 182"/>
                  <a:gd name="T20" fmla="*/ 125 w 194"/>
                  <a:gd name="T21" fmla="*/ 34 h 182"/>
                  <a:gd name="T22" fmla="*/ 135 w 194"/>
                  <a:gd name="T23" fmla="*/ 36 h 182"/>
                  <a:gd name="T24" fmla="*/ 144 w 194"/>
                  <a:gd name="T25" fmla="*/ 37 h 182"/>
                  <a:gd name="T26" fmla="*/ 150 w 194"/>
                  <a:gd name="T27" fmla="*/ 36 h 182"/>
                  <a:gd name="T28" fmla="*/ 156 w 194"/>
                  <a:gd name="T29" fmla="*/ 26 h 182"/>
                  <a:gd name="T30" fmla="*/ 163 w 194"/>
                  <a:gd name="T31" fmla="*/ 25 h 182"/>
                  <a:gd name="T32" fmla="*/ 174 w 194"/>
                  <a:gd name="T33" fmla="*/ 22 h 182"/>
                  <a:gd name="T34" fmla="*/ 178 w 194"/>
                  <a:gd name="T35" fmla="*/ 28 h 182"/>
                  <a:gd name="T36" fmla="*/ 189 w 194"/>
                  <a:gd name="T37" fmla="*/ 28 h 182"/>
                  <a:gd name="T38" fmla="*/ 176 w 194"/>
                  <a:gd name="T39" fmla="*/ 44 h 182"/>
                  <a:gd name="T40" fmla="*/ 189 w 194"/>
                  <a:gd name="T41" fmla="*/ 126 h 182"/>
                  <a:gd name="T42" fmla="*/ 182 w 194"/>
                  <a:gd name="T43" fmla="*/ 134 h 182"/>
                  <a:gd name="T44" fmla="*/ 179 w 194"/>
                  <a:gd name="T45" fmla="*/ 137 h 182"/>
                  <a:gd name="T46" fmla="*/ 174 w 194"/>
                  <a:gd name="T47" fmla="*/ 141 h 182"/>
                  <a:gd name="T48" fmla="*/ 165 w 194"/>
                  <a:gd name="T49" fmla="*/ 145 h 182"/>
                  <a:gd name="T50" fmla="*/ 162 w 194"/>
                  <a:gd name="T51" fmla="*/ 147 h 182"/>
                  <a:gd name="T52" fmla="*/ 159 w 194"/>
                  <a:gd name="T53" fmla="*/ 152 h 182"/>
                  <a:gd name="T54" fmla="*/ 157 w 194"/>
                  <a:gd name="T55" fmla="*/ 157 h 182"/>
                  <a:gd name="T56" fmla="*/ 154 w 194"/>
                  <a:gd name="T57" fmla="*/ 165 h 182"/>
                  <a:gd name="T58" fmla="*/ 146 w 194"/>
                  <a:gd name="T59" fmla="*/ 180 h 182"/>
                  <a:gd name="T60" fmla="*/ 140 w 194"/>
                  <a:gd name="T61" fmla="*/ 182 h 182"/>
                  <a:gd name="T62" fmla="*/ 115 w 194"/>
                  <a:gd name="T63" fmla="*/ 164 h 182"/>
                  <a:gd name="T64" fmla="*/ 115 w 194"/>
                  <a:gd name="T65" fmla="*/ 160 h 182"/>
                  <a:gd name="T66" fmla="*/ 45 w 194"/>
                  <a:gd name="T67" fmla="*/ 116 h 182"/>
                  <a:gd name="T68" fmla="*/ 45 w 194"/>
                  <a:gd name="T69" fmla="*/ 99 h 182"/>
                  <a:gd name="T70" fmla="*/ 48 w 194"/>
                  <a:gd name="T71" fmla="*/ 91 h 182"/>
                  <a:gd name="T72" fmla="*/ 53 w 194"/>
                  <a:gd name="T73" fmla="*/ 84 h 182"/>
                  <a:gd name="T74" fmla="*/ 57 w 194"/>
                  <a:gd name="T75" fmla="*/ 79 h 182"/>
                  <a:gd name="T76" fmla="*/ 63 w 194"/>
                  <a:gd name="T77" fmla="*/ 78 h 182"/>
                  <a:gd name="T78" fmla="*/ 65 w 194"/>
                  <a:gd name="T79" fmla="*/ 71 h 182"/>
                  <a:gd name="T80" fmla="*/ 69 w 194"/>
                  <a:gd name="T81" fmla="*/ 63 h 182"/>
                  <a:gd name="T82" fmla="*/ 66 w 194"/>
                  <a:gd name="T83" fmla="*/ 57 h 182"/>
                  <a:gd name="T84" fmla="*/ 65 w 194"/>
                  <a:gd name="T85" fmla="*/ 53 h 182"/>
                  <a:gd name="T86" fmla="*/ 60 w 194"/>
                  <a:gd name="T87" fmla="*/ 46 h 182"/>
                  <a:gd name="T88" fmla="*/ 56 w 194"/>
                  <a:gd name="T89" fmla="*/ 39 h 182"/>
                  <a:gd name="T90" fmla="*/ 52 w 194"/>
                  <a:gd name="T91" fmla="*/ 34 h 182"/>
                  <a:gd name="T92" fmla="*/ 51 w 194"/>
                  <a:gd name="T93" fmla="*/ 30 h 182"/>
                  <a:gd name="T94" fmla="*/ 48 w 194"/>
                  <a:gd name="T95" fmla="*/ 23 h 182"/>
                  <a:gd name="T96" fmla="*/ 47 w 194"/>
                  <a:gd name="T97" fmla="*/ 23 h 182"/>
                  <a:gd name="T98" fmla="*/ 47 w 194"/>
                  <a:gd name="T99" fmla="*/ 23 h 182"/>
                  <a:gd name="T100" fmla="*/ 7 w 194"/>
                  <a:gd name="T101" fmla="*/ 118 h 182"/>
                  <a:gd name="T102" fmla="*/ 1 w 194"/>
                  <a:gd name="T103" fmla="*/ 118 h 182"/>
                  <a:gd name="T104" fmla="*/ 0 w 194"/>
                  <a:gd name="T105" fmla="*/ 118 h 1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94" h="182">
                    <a:moveTo>
                      <a:pt x="47" y="23"/>
                    </a:moveTo>
                    <a:lnTo>
                      <a:pt x="50" y="20"/>
                    </a:lnTo>
                    <a:lnTo>
                      <a:pt x="51" y="20"/>
                    </a:lnTo>
                    <a:lnTo>
                      <a:pt x="53" y="18"/>
                    </a:lnTo>
                    <a:lnTo>
                      <a:pt x="56" y="15"/>
                    </a:lnTo>
                    <a:lnTo>
                      <a:pt x="58" y="16"/>
                    </a:lnTo>
                    <a:lnTo>
                      <a:pt x="63" y="9"/>
                    </a:lnTo>
                    <a:lnTo>
                      <a:pt x="70" y="0"/>
                    </a:lnTo>
                    <a:lnTo>
                      <a:pt x="72" y="4"/>
                    </a:lnTo>
                    <a:lnTo>
                      <a:pt x="76" y="3"/>
                    </a:lnTo>
                    <a:lnTo>
                      <a:pt x="79" y="3"/>
                    </a:lnTo>
                    <a:lnTo>
                      <a:pt x="79" y="15"/>
                    </a:lnTo>
                    <a:lnTo>
                      <a:pt x="82" y="18"/>
                    </a:lnTo>
                    <a:lnTo>
                      <a:pt x="86" y="19"/>
                    </a:lnTo>
                    <a:lnTo>
                      <a:pt x="89" y="18"/>
                    </a:lnTo>
                    <a:lnTo>
                      <a:pt x="94" y="19"/>
                    </a:lnTo>
                    <a:lnTo>
                      <a:pt x="103" y="18"/>
                    </a:lnTo>
                    <a:lnTo>
                      <a:pt x="107" y="19"/>
                    </a:lnTo>
                    <a:lnTo>
                      <a:pt x="114" y="27"/>
                    </a:lnTo>
                    <a:lnTo>
                      <a:pt x="119" y="30"/>
                    </a:lnTo>
                    <a:lnTo>
                      <a:pt x="122" y="33"/>
                    </a:lnTo>
                    <a:lnTo>
                      <a:pt x="125" y="34"/>
                    </a:lnTo>
                    <a:lnTo>
                      <a:pt x="131" y="34"/>
                    </a:lnTo>
                    <a:lnTo>
                      <a:pt x="135" y="36"/>
                    </a:lnTo>
                    <a:lnTo>
                      <a:pt x="140" y="35"/>
                    </a:lnTo>
                    <a:lnTo>
                      <a:pt x="144" y="37"/>
                    </a:lnTo>
                    <a:lnTo>
                      <a:pt x="146" y="37"/>
                    </a:lnTo>
                    <a:lnTo>
                      <a:pt x="150" y="36"/>
                    </a:lnTo>
                    <a:lnTo>
                      <a:pt x="154" y="29"/>
                    </a:lnTo>
                    <a:lnTo>
                      <a:pt x="156" y="26"/>
                    </a:lnTo>
                    <a:lnTo>
                      <a:pt x="160" y="25"/>
                    </a:lnTo>
                    <a:lnTo>
                      <a:pt x="163" y="25"/>
                    </a:lnTo>
                    <a:lnTo>
                      <a:pt x="165" y="24"/>
                    </a:lnTo>
                    <a:lnTo>
                      <a:pt x="174" y="22"/>
                    </a:lnTo>
                    <a:lnTo>
                      <a:pt x="176" y="24"/>
                    </a:lnTo>
                    <a:lnTo>
                      <a:pt x="178" y="28"/>
                    </a:lnTo>
                    <a:lnTo>
                      <a:pt x="181" y="30"/>
                    </a:lnTo>
                    <a:lnTo>
                      <a:pt x="189" y="28"/>
                    </a:lnTo>
                    <a:lnTo>
                      <a:pt x="194" y="29"/>
                    </a:lnTo>
                    <a:lnTo>
                      <a:pt x="176" y="44"/>
                    </a:lnTo>
                    <a:lnTo>
                      <a:pt x="176" y="114"/>
                    </a:lnTo>
                    <a:lnTo>
                      <a:pt x="189" y="126"/>
                    </a:lnTo>
                    <a:lnTo>
                      <a:pt x="189" y="127"/>
                    </a:lnTo>
                    <a:lnTo>
                      <a:pt x="182" y="134"/>
                    </a:lnTo>
                    <a:lnTo>
                      <a:pt x="181" y="134"/>
                    </a:lnTo>
                    <a:lnTo>
                      <a:pt x="179" y="137"/>
                    </a:lnTo>
                    <a:lnTo>
                      <a:pt x="180" y="138"/>
                    </a:lnTo>
                    <a:lnTo>
                      <a:pt x="174" y="141"/>
                    </a:lnTo>
                    <a:lnTo>
                      <a:pt x="171" y="145"/>
                    </a:lnTo>
                    <a:lnTo>
                      <a:pt x="165" y="145"/>
                    </a:lnTo>
                    <a:lnTo>
                      <a:pt x="163" y="146"/>
                    </a:lnTo>
                    <a:lnTo>
                      <a:pt x="162" y="147"/>
                    </a:lnTo>
                    <a:lnTo>
                      <a:pt x="160" y="150"/>
                    </a:lnTo>
                    <a:lnTo>
                      <a:pt x="159" y="152"/>
                    </a:lnTo>
                    <a:lnTo>
                      <a:pt x="161" y="153"/>
                    </a:lnTo>
                    <a:lnTo>
                      <a:pt x="157" y="157"/>
                    </a:lnTo>
                    <a:lnTo>
                      <a:pt x="154" y="161"/>
                    </a:lnTo>
                    <a:lnTo>
                      <a:pt x="154" y="165"/>
                    </a:lnTo>
                    <a:lnTo>
                      <a:pt x="153" y="171"/>
                    </a:lnTo>
                    <a:lnTo>
                      <a:pt x="146" y="180"/>
                    </a:lnTo>
                    <a:lnTo>
                      <a:pt x="142" y="182"/>
                    </a:lnTo>
                    <a:lnTo>
                      <a:pt x="140" y="182"/>
                    </a:lnTo>
                    <a:lnTo>
                      <a:pt x="117" y="166"/>
                    </a:lnTo>
                    <a:lnTo>
                      <a:pt x="115" y="164"/>
                    </a:lnTo>
                    <a:lnTo>
                      <a:pt x="115" y="162"/>
                    </a:lnTo>
                    <a:lnTo>
                      <a:pt x="115" y="160"/>
                    </a:lnTo>
                    <a:lnTo>
                      <a:pt x="112" y="154"/>
                    </a:lnTo>
                    <a:lnTo>
                      <a:pt x="45" y="116"/>
                    </a:lnTo>
                    <a:lnTo>
                      <a:pt x="40" y="117"/>
                    </a:lnTo>
                    <a:lnTo>
                      <a:pt x="45" y="99"/>
                    </a:lnTo>
                    <a:lnTo>
                      <a:pt x="45" y="94"/>
                    </a:lnTo>
                    <a:lnTo>
                      <a:pt x="48" y="91"/>
                    </a:lnTo>
                    <a:lnTo>
                      <a:pt x="50" y="87"/>
                    </a:lnTo>
                    <a:lnTo>
                      <a:pt x="53" y="84"/>
                    </a:lnTo>
                    <a:lnTo>
                      <a:pt x="55" y="81"/>
                    </a:lnTo>
                    <a:lnTo>
                      <a:pt x="57" y="79"/>
                    </a:lnTo>
                    <a:lnTo>
                      <a:pt x="57" y="78"/>
                    </a:lnTo>
                    <a:lnTo>
                      <a:pt x="63" y="78"/>
                    </a:lnTo>
                    <a:lnTo>
                      <a:pt x="65" y="73"/>
                    </a:lnTo>
                    <a:lnTo>
                      <a:pt x="65" y="71"/>
                    </a:lnTo>
                    <a:lnTo>
                      <a:pt x="69" y="66"/>
                    </a:lnTo>
                    <a:lnTo>
                      <a:pt x="69" y="63"/>
                    </a:lnTo>
                    <a:lnTo>
                      <a:pt x="68" y="59"/>
                    </a:lnTo>
                    <a:lnTo>
                      <a:pt x="66" y="57"/>
                    </a:lnTo>
                    <a:lnTo>
                      <a:pt x="67" y="54"/>
                    </a:lnTo>
                    <a:lnTo>
                      <a:pt x="65" y="53"/>
                    </a:lnTo>
                    <a:lnTo>
                      <a:pt x="63" y="52"/>
                    </a:lnTo>
                    <a:lnTo>
                      <a:pt x="60" y="46"/>
                    </a:lnTo>
                    <a:lnTo>
                      <a:pt x="56" y="42"/>
                    </a:lnTo>
                    <a:lnTo>
                      <a:pt x="56" y="39"/>
                    </a:lnTo>
                    <a:lnTo>
                      <a:pt x="55" y="35"/>
                    </a:lnTo>
                    <a:lnTo>
                      <a:pt x="52" y="34"/>
                    </a:lnTo>
                    <a:lnTo>
                      <a:pt x="53" y="31"/>
                    </a:lnTo>
                    <a:lnTo>
                      <a:pt x="51" y="30"/>
                    </a:lnTo>
                    <a:lnTo>
                      <a:pt x="49" y="25"/>
                    </a:lnTo>
                    <a:lnTo>
                      <a:pt x="48" y="23"/>
                    </a:lnTo>
                    <a:lnTo>
                      <a:pt x="47" y="23"/>
                    </a:lnTo>
                    <a:lnTo>
                      <a:pt x="47" y="23"/>
                    </a:lnTo>
                    <a:lnTo>
                      <a:pt x="47" y="23"/>
                    </a:lnTo>
                    <a:lnTo>
                      <a:pt x="47" y="23"/>
                    </a:lnTo>
                    <a:close/>
                    <a:moveTo>
                      <a:pt x="0" y="118"/>
                    </a:moveTo>
                    <a:lnTo>
                      <a:pt x="7" y="118"/>
                    </a:lnTo>
                    <a:lnTo>
                      <a:pt x="14" y="118"/>
                    </a:lnTo>
                    <a:lnTo>
                      <a:pt x="1" y="118"/>
                    </a:lnTo>
                    <a:lnTo>
                      <a:pt x="0" y="118"/>
                    </a:lnTo>
                    <a:lnTo>
                      <a:pt x="0" y="118"/>
                    </a:lnTo>
                    <a:close/>
                  </a:path>
                </a:pathLst>
              </a:custGeom>
              <a:solidFill>
                <a:schemeClr val="accent6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764" name="Freeform 568"/>
              <p:cNvSpPr>
                <a:spLocks/>
              </p:cNvSpPr>
              <p:nvPr userDrawn="1"/>
            </p:nvSpPr>
            <p:spPr bwMode="auto">
              <a:xfrm>
                <a:off x="4005" y="2944"/>
                <a:ext cx="205" cy="204"/>
              </a:xfrm>
              <a:custGeom>
                <a:avLst/>
                <a:gdLst>
                  <a:gd name="T0" fmla="*/ 25 w 205"/>
                  <a:gd name="T1" fmla="*/ 4 h 204"/>
                  <a:gd name="T2" fmla="*/ 87 w 205"/>
                  <a:gd name="T3" fmla="*/ 0 h 204"/>
                  <a:gd name="T4" fmla="*/ 157 w 205"/>
                  <a:gd name="T5" fmla="*/ 46 h 204"/>
                  <a:gd name="T6" fmla="*/ 182 w 205"/>
                  <a:gd name="T7" fmla="*/ 66 h 204"/>
                  <a:gd name="T8" fmla="*/ 182 w 205"/>
                  <a:gd name="T9" fmla="*/ 69 h 204"/>
                  <a:gd name="T10" fmla="*/ 174 w 205"/>
                  <a:gd name="T11" fmla="*/ 90 h 204"/>
                  <a:gd name="T12" fmla="*/ 184 w 205"/>
                  <a:gd name="T13" fmla="*/ 103 h 204"/>
                  <a:gd name="T14" fmla="*/ 188 w 205"/>
                  <a:gd name="T15" fmla="*/ 111 h 204"/>
                  <a:gd name="T16" fmla="*/ 182 w 205"/>
                  <a:gd name="T17" fmla="*/ 117 h 204"/>
                  <a:gd name="T18" fmla="*/ 185 w 205"/>
                  <a:gd name="T19" fmla="*/ 130 h 204"/>
                  <a:gd name="T20" fmla="*/ 185 w 205"/>
                  <a:gd name="T21" fmla="*/ 141 h 204"/>
                  <a:gd name="T22" fmla="*/ 186 w 205"/>
                  <a:gd name="T23" fmla="*/ 146 h 204"/>
                  <a:gd name="T24" fmla="*/ 188 w 205"/>
                  <a:gd name="T25" fmla="*/ 153 h 204"/>
                  <a:gd name="T26" fmla="*/ 195 w 205"/>
                  <a:gd name="T27" fmla="*/ 167 h 204"/>
                  <a:gd name="T28" fmla="*/ 205 w 205"/>
                  <a:gd name="T29" fmla="*/ 172 h 204"/>
                  <a:gd name="T30" fmla="*/ 203 w 205"/>
                  <a:gd name="T31" fmla="*/ 175 h 204"/>
                  <a:gd name="T32" fmla="*/ 195 w 205"/>
                  <a:gd name="T33" fmla="*/ 179 h 204"/>
                  <a:gd name="T34" fmla="*/ 184 w 205"/>
                  <a:gd name="T35" fmla="*/ 183 h 204"/>
                  <a:gd name="T36" fmla="*/ 177 w 205"/>
                  <a:gd name="T37" fmla="*/ 184 h 204"/>
                  <a:gd name="T38" fmla="*/ 165 w 205"/>
                  <a:gd name="T39" fmla="*/ 187 h 204"/>
                  <a:gd name="T40" fmla="*/ 157 w 205"/>
                  <a:gd name="T41" fmla="*/ 185 h 204"/>
                  <a:gd name="T42" fmla="*/ 155 w 205"/>
                  <a:gd name="T43" fmla="*/ 191 h 204"/>
                  <a:gd name="T44" fmla="*/ 144 w 205"/>
                  <a:gd name="T45" fmla="*/ 192 h 204"/>
                  <a:gd name="T46" fmla="*/ 139 w 205"/>
                  <a:gd name="T47" fmla="*/ 189 h 204"/>
                  <a:gd name="T48" fmla="*/ 131 w 205"/>
                  <a:gd name="T49" fmla="*/ 194 h 204"/>
                  <a:gd name="T50" fmla="*/ 125 w 205"/>
                  <a:gd name="T51" fmla="*/ 192 h 204"/>
                  <a:gd name="T52" fmla="*/ 118 w 205"/>
                  <a:gd name="T53" fmla="*/ 189 h 204"/>
                  <a:gd name="T54" fmla="*/ 114 w 205"/>
                  <a:gd name="T55" fmla="*/ 190 h 204"/>
                  <a:gd name="T56" fmla="*/ 90 w 205"/>
                  <a:gd name="T57" fmla="*/ 204 h 204"/>
                  <a:gd name="T58" fmla="*/ 84 w 205"/>
                  <a:gd name="T59" fmla="*/ 161 h 204"/>
                  <a:gd name="T60" fmla="*/ 79 w 205"/>
                  <a:gd name="T61" fmla="*/ 156 h 204"/>
                  <a:gd name="T62" fmla="*/ 74 w 205"/>
                  <a:gd name="T63" fmla="*/ 155 h 204"/>
                  <a:gd name="T64" fmla="*/ 69 w 205"/>
                  <a:gd name="T65" fmla="*/ 154 h 204"/>
                  <a:gd name="T66" fmla="*/ 66 w 205"/>
                  <a:gd name="T67" fmla="*/ 152 h 204"/>
                  <a:gd name="T68" fmla="*/ 61 w 205"/>
                  <a:gd name="T69" fmla="*/ 148 h 204"/>
                  <a:gd name="T70" fmla="*/ 56 w 205"/>
                  <a:gd name="T71" fmla="*/ 143 h 204"/>
                  <a:gd name="T72" fmla="*/ 42 w 205"/>
                  <a:gd name="T73" fmla="*/ 141 h 204"/>
                  <a:gd name="T74" fmla="*/ 37 w 205"/>
                  <a:gd name="T75" fmla="*/ 136 h 204"/>
                  <a:gd name="T76" fmla="*/ 29 w 205"/>
                  <a:gd name="T77" fmla="*/ 135 h 204"/>
                  <a:gd name="T78" fmla="*/ 6 w 205"/>
                  <a:gd name="T79" fmla="*/ 100 h 204"/>
                  <a:gd name="T80" fmla="*/ 8 w 205"/>
                  <a:gd name="T81" fmla="*/ 65 h 204"/>
                  <a:gd name="T82" fmla="*/ 22 w 205"/>
                  <a:gd name="T83" fmla="*/ 54 h 204"/>
                  <a:gd name="T84" fmla="*/ 30 w 205"/>
                  <a:gd name="T85" fmla="*/ 47 h 204"/>
                  <a:gd name="T86" fmla="*/ 27 w 205"/>
                  <a:gd name="T87" fmla="*/ 38 h 204"/>
                  <a:gd name="T88" fmla="*/ 23 w 205"/>
                  <a:gd name="T89" fmla="*/ 33 h 204"/>
                  <a:gd name="T90" fmla="*/ 23 w 205"/>
                  <a:gd name="T91" fmla="*/ 30 h 204"/>
                  <a:gd name="T92" fmla="*/ 29 w 205"/>
                  <a:gd name="T93" fmla="*/ 28 h 204"/>
                  <a:gd name="T94" fmla="*/ 30 w 205"/>
                  <a:gd name="T95" fmla="*/ 19 h 204"/>
                  <a:gd name="T96" fmla="*/ 26 w 205"/>
                  <a:gd name="T97" fmla="*/ 10 h 204"/>
                  <a:gd name="T98" fmla="*/ 22 w 205"/>
                  <a:gd name="T99" fmla="*/ 5 h 2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205" h="204">
                    <a:moveTo>
                      <a:pt x="22" y="5"/>
                    </a:moveTo>
                    <a:lnTo>
                      <a:pt x="23" y="4"/>
                    </a:lnTo>
                    <a:lnTo>
                      <a:pt x="25" y="4"/>
                    </a:lnTo>
                    <a:lnTo>
                      <a:pt x="26" y="2"/>
                    </a:lnTo>
                    <a:lnTo>
                      <a:pt x="49" y="2"/>
                    </a:lnTo>
                    <a:lnTo>
                      <a:pt x="87" y="0"/>
                    </a:lnTo>
                    <a:lnTo>
                      <a:pt x="154" y="38"/>
                    </a:lnTo>
                    <a:lnTo>
                      <a:pt x="157" y="44"/>
                    </a:lnTo>
                    <a:lnTo>
                      <a:pt x="157" y="46"/>
                    </a:lnTo>
                    <a:lnTo>
                      <a:pt x="157" y="48"/>
                    </a:lnTo>
                    <a:lnTo>
                      <a:pt x="159" y="50"/>
                    </a:lnTo>
                    <a:lnTo>
                      <a:pt x="182" y="66"/>
                    </a:lnTo>
                    <a:lnTo>
                      <a:pt x="181" y="66"/>
                    </a:lnTo>
                    <a:lnTo>
                      <a:pt x="182" y="67"/>
                    </a:lnTo>
                    <a:lnTo>
                      <a:pt x="182" y="69"/>
                    </a:lnTo>
                    <a:lnTo>
                      <a:pt x="181" y="71"/>
                    </a:lnTo>
                    <a:lnTo>
                      <a:pt x="177" y="83"/>
                    </a:lnTo>
                    <a:lnTo>
                      <a:pt x="174" y="90"/>
                    </a:lnTo>
                    <a:lnTo>
                      <a:pt x="174" y="95"/>
                    </a:lnTo>
                    <a:lnTo>
                      <a:pt x="179" y="98"/>
                    </a:lnTo>
                    <a:lnTo>
                      <a:pt x="184" y="103"/>
                    </a:lnTo>
                    <a:lnTo>
                      <a:pt x="186" y="102"/>
                    </a:lnTo>
                    <a:lnTo>
                      <a:pt x="189" y="109"/>
                    </a:lnTo>
                    <a:lnTo>
                      <a:pt x="188" y="111"/>
                    </a:lnTo>
                    <a:lnTo>
                      <a:pt x="186" y="111"/>
                    </a:lnTo>
                    <a:lnTo>
                      <a:pt x="184" y="112"/>
                    </a:lnTo>
                    <a:lnTo>
                      <a:pt x="182" y="117"/>
                    </a:lnTo>
                    <a:lnTo>
                      <a:pt x="183" y="123"/>
                    </a:lnTo>
                    <a:lnTo>
                      <a:pt x="186" y="125"/>
                    </a:lnTo>
                    <a:lnTo>
                      <a:pt x="185" y="130"/>
                    </a:lnTo>
                    <a:lnTo>
                      <a:pt x="183" y="132"/>
                    </a:lnTo>
                    <a:lnTo>
                      <a:pt x="183" y="136"/>
                    </a:lnTo>
                    <a:lnTo>
                      <a:pt x="185" y="141"/>
                    </a:lnTo>
                    <a:lnTo>
                      <a:pt x="184" y="141"/>
                    </a:lnTo>
                    <a:lnTo>
                      <a:pt x="185" y="142"/>
                    </a:lnTo>
                    <a:lnTo>
                      <a:pt x="186" y="146"/>
                    </a:lnTo>
                    <a:lnTo>
                      <a:pt x="188" y="148"/>
                    </a:lnTo>
                    <a:lnTo>
                      <a:pt x="187" y="151"/>
                    </a:lnTo>
                    <a:lnTo>
                      <a:pt x="188" y="153"/>
                    </a:lnTo>
                    <a:lnTo>
                      <a:pt x="190" y="158"/>
                    </a:lnTo>
                    <a:lnTo>
                      <a:pt x="190" y="161"/>
                    </a:lnTo>
                    <a:lnTo>
                      <a:pt x="195" y="167"/>
                    </a:lnTo>
                    <a:lnTo>
                      <a:pt x="200" y="167"/>
                    </a:lnTo>
                    <a:lnTo>
                      <a:pt x="205" y="171"/>
                    </a:lnTo>
                    <a:lnTo>
                      <a:pt x="205" y="172"/>
                    </a:lnTo>
                    <a:lnTo>
                      <a:pt x="205" y="173"/>
                    </a:lnTo>
                    <a:lnTo>
                      <a:pt x="204" y="173"/>
                    </a:lnTo>
                    <a:lnTo>
                      <a:pt x="203" y="175"/>
                    </a:lnTo>
                    <a:lnTo>
                      <a:pt x="199" y="174"/>
                    </a:lnTo>
                    <a:lnTo>
                      <a:pt x="197" y="177"/>
                    </a:lnTo>
                    <a:lnTo>
                      <a:pt x="195" y="179"/>
                    </a:lnTo>
                    <a:lnTo>
                      <a:pt x="191" y="180"/>
                    </a:lnTo>
                    <a:lnTo>
                      <a:pt x="188" y="182"/>
                    </a:lnTo>
                    <a:lnTo>
                      <a:pt x="184" y="183"/>
                    </a:lnTo>
                    <a:lnTo>
                      <a:pt x="183" y="185"/>
                    </a:lnTo>
                    <a:lnTo>
                      <a:pt x="180" y="185"/>
                    </a:lnTo>
                    <a:lnTo>
                      <a:pt x="177" y="184"/>
                    </a:lnTo>
                    <a:lnTo>
                      <a:pt x="171" y="186"/>
                    </a:lnTo>
                    <a:lnTo>
                      <a:pt x="169" y="187"/>
                    </a:lnTo>
                    <a:lnTo>
                      <a:pt x="165" y="187"/>
                    </a:lnTo>
                    <a:lnTo>
                      <a:pt x="163" y="186"/>
                    </a:lnTo>
                    <a:lnTo>
                      <a:pt x="160" y="186"/>
                    </a:lnTo>
                    <a:lnTo>
                      <a:pt x="157" y="185"/>
                    </a:lnTo>
                    <a:lnTo>
                      <a:pt x="155" y="186"/>
                    </a:lnTo>
                    <a:lnTo>
                      <a:pt x="156" y="188"/>
                    </a:lnTo>
                    <a:lnTo>
                      <a:pt x="155" y="191"/>
                    </a:lnTo>
                    <a:lnTo>
                      <a:pt x="150" y="192"/>
                    </a:lnTo>
                    <a:lnTo>
                      <a:pt x="146" y="193"/>
                    </a:lnTo>
                    <a:lnTo>
                      <a:pt x="144" y="192"/>
                    </a:lnTo>
                    <a:lnTo>
                      <a:pt x="142" y="191"/>
                    </a:lnTo>
                    <a:lnTo>
                      <a:pt x="141" y="190"/>
                    </a:lnTo>
                    <a:lnTo>
                      <a:pt x="139" y="189"/>
                    </a:lnTo>
                    <a:lnTo>
                      <a:pt x="138" y="190"/>
                    </a:lnTo>
                    <a:lnTo>
                      <a:pt x="135" y="191"/>
                    </a:lnTo>
                    <a:lnTo>
                      <a:pt x="131" y="194"/>
                    </a:lnTo>
                    <a:lnTo>
                      <a:pt x="127" y="195"/>
                    </a:lnTo>
                    <a:lnTo>
                      <a:pt x="127" y="194"/>
                    </a:lnTo>
                    <a:lnTo>
                      <a:pt x="125" y="192"/>
                    </a:lnTo>
                    <a:lnTo>
                      <a:pt x="123" y="192"/>
                    </a:lnTo>
                    <a:lnTo>
                      <a:pt x="120" y="190"/>
                    </a:lnTo>
                    <a:lnTo>
                      <a:pt x="118" y="189"/>
                    </a:lnTo>
                    <a:lnTo>
                      <a:pt x="118" y="188"/>
                    </a:lnTo>
                    <a:lnTo>
                      <a:pt x="115" y="188"/>
                    </a:lnTo>
                    <a:lnTo>
                      <a:pt x="114" y="190"/>
                    </a:lnTo>
                    <a:lnTo>
                      <a:pt x="111" y="190"/>
                    </a:lnTo>
                    <a:lnTo>
                      <a:pt x="94" y="190"/>
                    </a:lnTo>
                    <a:lnTo>
                      <a:pt x="90" y="204"/>
                    </a:lnTo>
                    <a:lnTo>
                      <a:pt x="90" y="173"/>
                    </a:lnTo>
                    <a:lnTo>
                      <a:pt x="89" y="166"/>
                    </a:lnTo>
                    <a:lnTo>
                      <a:pt x="84" y="161"/>
                    </a:lnTo>
                    <a:lnTo>
                      <a:pt x="82" y="159"/>
                    </a:lnTo>
                    <a:lnTo>
                      <a:pt x="79" y="157"/>
                    </a:lnTo>
                    <a:lnTo>
                      <a:pt x="79" y="156"/>
                    </a:lnTo>
                    <a:lnTo>
                      <a:pt x="77" y="156"/>
                    </a:lnTo>
                    <a:lnTo>
                      <a:pt x="76" y="155"/>
                    </a:lnTo>
                    <a:lnTo>
                      <a:pt x="74" y="155"/>
                    </a:lnTo>
                    <a:lnTo>
                      <a:pt x="73" y="155"/>
                    </a:lnTo>
                    <a:lnTo>
                      <a:pt x="72" y="154"/>
                    </a:lnTo>
                    <a:lnTo>
                      <a:pt x="69" y="154"/>
                    </a:lnTo>
                    <a:lnTo>
                      <a:pt x="68" y="152"/>
                    </a:lnTo>
                    <a:lnTo>
                      <a:pt x="66" y="151"/>
                    </a:lnTo>
                    <a:lnTo>
                      <a:pt x="66" y="152"/>
                    </a:lnTo>
                    <a:lnTo>
                      <a:pt x="66" y="152"/>
                    </a:lnTo>
                    <a:lnTo>
                      <a:pt x="65" y="152"/>
                    </a:lnTo>
                    <a:lnTo>
                      <a:pt x="61" y="148"/>
                    </a:lnTo>
                    <a:lnTo>
                      <a:pt x="60" y="145"/>
                    </a:lnTo>
                    <a:lnTo>
                      <a:pt x="58" y="145"/>
                    </a:lnTo>
                    <a:lnTo>
                      <a:pt x="56" y="143"/>
                    </a:lnTo>
                    <a:lnTo>
                      <a:pt x="54" y="143"/>
                    </a:lnTo>
                    <a:lnTo>
                      <a:pt x="45" y="141"/>
                    </a:lnTo>
                    <a:lnTo>
                      <a:pt x="42" y="141"/>
                    </a:lnTo>
                    <a:lnTo>
                      <a:pt x="40" y="139"/>
                    </a:lnTo>
                    <a:lnTo>
                      <a:pt x="40" y="138"/>
                    </a:lnTo>
                    <a:lnTo>
                      <a:pt x="37" y="136"/>
                    </a:lnTo>
                    <a:lnTo>
                      <a:pt x="35" y="136"/>
                    </a:lnTo>
                    <a:lnTo>
                      <a:pt x="32" y="135"/>
                    </a:lnTo>
                    <a:lnTo>
                      <a:pt x="29" y="135"/>
                    </a:lnTo>
                    <a:lnTo>
                      <a:pt x="23" y="132"/>
                    </a:lnTo>
                    <a:lnTo>
                      <a:pt x="19" y="118"/>
                    </a:lnTo>
                    <a:lnTo>
                      <a:pt x="6" y="100"/>
                    </a:lnTo>
                    <a:lnTo>
                      <a:pt x="1" y="79"/>
                    </a:lnTo>
                    <a:lnTo>
                      <a:pt x="0" y="64"/>
                    </a:lnTo>
                    <a:lnTo>
                      <a:pt x="8" y="65"/>
                    </a:lnTo>
                    <a:lnTo>
                      <a:pt x="15" y="63"/>
                    </a:lnTo>
                    <a:lnTo>
                      <a:pt x="18" y="58"/>
                    </a:lnTo>
                    <a:lnTo>
                      <a:pt x="22" y="54"/>
                    </a:lnTo>
                    <a:lnTo>
                      <a:pt x="24" y="52"/>
                    </a:lnTo>
                    <a:lnTo>
                      <a:pt x="27" y="50"/>
                    </a:lnTo>
                    <a:lnTo>
                      <a:pt x="30" y="47"/>
                    </a:lnTo>
                    <a:lnTo>
                      <a:pt x="30" y="44"/>
                    </a:lnTo>
                    <a:lnTo>
                      <a:pt x="29" y="38"/>
                    </a:lnTo>
                    <a:lnTo>
                      <a:pt x="27" y="38"/>
                    </a:lnTo>
                    <a:lnTo>
                      <a:pt x="26" y="36"/>
                    </a:lnTo>
                    <a:lnTo>
                      <a:pt x="23" y="34"/>
                    </a:lnTo>
                    <a:lnTo>
                      <a:pt x="23" y="33"/>
                    </a:lnTo>
                    <a:lnTo>
                      <a:pt x="22" y="31"/>
                    </a:lnTo>
                    <a:lnTo>
                      <a:pt x="22" y="29"/>
                    </a:lnTo>
                    <a:lnTo>
                      <a:pt x="23" y="30"/>
                    </a:lnTo>
                    <a:lnTo>
                      <a:pt x="25" y="31"/>
                    </a:lnTo>
                    <a:lnTo>
                      <a:pt x="27" y="29"/>
                    </a:lnTo>
                    <a:lnTo>
                      <a:pt x="29" y="28"/>
                    </a:lnTo>
                    <a:lnTo>
                      <a:pt x="29" y="26"/>
                    </a:lnTo>
                    <a:lnTo>
                      <a:pt x="31" y="23"/>
                    </a:lnTo>
                    <a:lnTo>
                      <a:pt x="30" y="19"/>
                    </a:lnTo>
                    <a:lnTo>
                      <a:pt x="28" y="14"/>
                    </a:lnTo>
                    <a:lnTo>
                      <a:pt x="27" y="12"/>
                    </a:lnTo>
                    <a:lnTo>
                      <a:pt x="26" y="10"/>
                    </a:lnTo>
                    <a:lnTo>
                      <a:pt x="24" y="8"/>
                    </a:lnTo>
                    <a:lnTo>
                      <a:pt x="22" y="5"/>
                    </a:lnTo>
                    <a:lnTo>
                      <a:pt x="22" y="5"/>
                    </a:lnTo>
                    <a:close/>
                  </a:path>
                </a:pathLst>
              </a:custGeom>
              <a:solidFill>
                <a:schemeClr val="accent6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765" name="Freeform 569"/>
              <p:cNvSpPr>
                <a:spLocks/>
              </p:cNvSpPr>
              <p:nvPr userDrawn="1"/>
            </p:nvSpPr>
            <p:spPr bwMode="auto">
              <a:xfrm>
                <a:off x="3879" y="3237"/>
                <a:ext cx="4" cy="3"/>
              </a:xfrm>
              <a:custGeom>
                <a:avLst/>
                <a:gdLst>
                  <a:gd name="T0" fmla="*/ 4 w 4"/>
                  <a:gd name="T1" fmla="*/ 3 h 3"/>
                  <a:gd name="T2" fmla="*/ 3 w 4"/>
                  <a:gd name="T3" fmla="*/ 1 h 3"/>
                  <a:gd name="T4" fmla="*/ 0 w 4"/>
                  <a:gd name="T5" fmla="*/ 0 h 3"/>
                  <a:gd name="T6" fmla="*/ 4 w 4"/>
                  <a:gd name="T7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" h="3">
                    <a:moveTo>
                      <a:pt x="4" y="3"/>
                    </a:moveTo>
                    <a:lnTo>
                      <a:pt x="3" y="1"/>
                    </a:lnTo>
                    <a:lnTo>
                      <a:pt x="0" y="0"/>
                    </a:lnTo>
                    <a:lnTo>
                      <a:pt x="4" y="3"/>
                    </a:lnTo>
                    <a:close/>
                  </a:path>
                </a:pathLst>
              </a:custGeom>
              <a:solidFill>
                <a:srgbClr val="F68B1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766" name="Freeform 570"/>
              <p:cNvSpPr>
                <a:spLocks/>
              </p:cNvSpPr>
              <p:nvPr userDrawn="1"/>
            </p:nvSpPr>
            <p:spPr bwMode="auto">
              <a:xfrm>
                <a:off x="3879" y="3237"/>
                <a:ext cx="4" cy="3"/>
              </a:xfrm>
              <a:custGeom>
                <a:avLst/>
                <a:gdLst>
                  <a:gd name="T0" fmla="*/ 4 w 4"/>
                  <a:gd name="T1" fmla="*/ 3 h 3"/>
                  <a:gd name="T2" fmla="*/ 3 w 4"/>
                  <a:gd name="T3" fmla="*/ 1 h 3"/>
                  <a:gd name="T4" fmla="*/ 0 w 4"/>
                  <a:gd name="T5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3">
                    <a:moveTo>
                      <a:pt x="4" y="3"/>
                    </a:moveTo>
                    <a:lnTo>
                      <a:pt x="3" y="1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767" name="Freeform 571"/>
              <p:cNvSpPr>
                <a:spLocks/>
              </p:cNvSpPr>
              <p:nvPr userDrawn="1"/>
            </p:nvSpPr>
            <p:spPr bwMode="auto">
              <a:xfrm>
                <a:off x="4019" y="3117"/>
                <a:ext cx="193" cy="297"/>
              </a:xfrm>
              <a:custGeom>
                <a:avLst/>
                <a:gdLst>
                  <a:gd name="T0" fmla="*/ 34 w 193"/>
                  <a:gd name="T1" fmla="*/ 185 h 297"/>
                  <a:gd name="T2" fmla="*/ 39 w 193"/>
                  <a:gd name="T3" fmla="*/ 175 h 297"/>
                  <a:gd name="T4" fmla="*/ 42 w 193"/>
                  <a:gd name="T5" fmla="*/ 162 h 297"/>
                  <a:gd name="T6" fmla="*/ 42 w 193"/>
                  <a:gd name="T7" fmla="*/ 152 h 297"/>
                  <a:gd name="T8" fmla="*/ 44 w 193"/>
                  <a:gd name="T9" fmla="*/ 142 h 297"/>
                  <a:gd name="T10" fmla="*/ 46 w 193"/>
                  <a:gd name="T11" fmla="*/ 126 h 297"/>
                  <a:gd name="T12" fmla="*/ 47 w 193"/>
                  <a:gd name="T13" fmla="*/ 114 h 297"/>
                  <a:gd name="T14" fmla="*/ 29 w 193"/>
                  <a:gd name="T15" fmla="*/ 107 h 297"/>
                  <a:gd name="T16" fmla="*/ 12 w 193"/>
                  <a:gd name="T17" fmla="*/ 101 h 297"/>
                  <a:gd name="T18" fmla="*/ 0 w 193"/>
                  <a:gd name="T19" fmla="*/ 85 h 297"/>
                  <a:gd name="T20" fmla="*/ 34 w 193"/>
                  <a:gd name="T21" fmla="*/ 71 h 297"/>
                  <a:gd name="T22" fmla="*/ 58 w 193"/>
                  <a:gd name="T23" fmla="*/ 67 h 297"/>
                  <a:gd name="T24" fmla="*/ 67 w 193"/>
                  <a:gd name="T25" fmla="*/ 72 h 297"/>
                  <a:gd name="T26" fmla="*/ 78 w 193"/>
                  <a:gd name="T27" fmla="*/ 79 h 297"/>
                  <a:gd name="T28" fmla="*/ 72 w 193"/>
                  <a:gd name="T29" fmla="*/ 98 h 297"/>
                  <a:gd name="T30" fmla="*/ 82 w 193"/>
                  <a:gd name="T31" fmla="*/ 112 h 297"/>
                  <a:gd name="T32" fmla="*/ 90 w 193"/>
                  <a:gd name="T33" fmla="*/ 120 h 297"/>
                  <a:gd name="T34" fmla="*/ 94 w 193"/>
                  <a:gd name="T35" fmla="*/ 102 h 297"/>
                  <a:gd name="T36" fmla="*/ 99 w 193"/>
                  <a:gd name="T37" fmla="*/ 88 h 297"/>
                  <a:gd name="T38" fmla="*/ 102 w 193"/>
                  <a:gd name="T39" fmla="*/ 81 h 297"/>
                  <a:gd name="T40" fmla="*/ 97 w 193"/>
                  <a:gd name="T41" fmla="*/ 66 h 297"/>
                  <a:gd name="T42" fmla="*/ 84 w 193"/>
                  <a:gd name="T43" fmla="*/ 53 h 297"/>
                  <a:gd name="T44" fmla="*/ 100 w 193"/>
                  <a:gd name="T45" fmla="*/ 17 h 297"/>
                  <a:gd name="T46" fmla="*/ 109 w 193"/>
                  <a:gd name="T47" fmla="*/ 19 h 297"/>
                  <a:gd name="T48" fmla="*/ 121 w 193"/>
                  <a:gd name="T49" fmla="*/ 18 h 297"/>
                  <a:gd name="T50" fmla="*/ 130 w 193"/>
                  <a:gd name="T51" fmla="*/ 19 h 297"/>
                  <a:gd name="T52" fmla="*/ 141 w 193"/>
                  <a:gd name="T53" fmla="*/ 13 h 297"/>
                  <a:gd name="T54" fmla="*/ 155 w 193"/>
                  <a:gd name="T55" fmla="*/ 14 h 297"/>
                  <a:gd name="T56" fmla="*/ 170 w 193"/>
                  <a:gd name="T57" fmla="*/ 10 h 297"/>
                  <a:gd name="T58" fmla="*/ 185 w 193"/>
                  <a:gd name="T59" fmla="*/ 1 h 297"/>
                  <a:gd name="T60" fmla="*/ 192 w 193"/>
                  <a:gd name="T61" fmla="*/ 5 h 297"/>
                  <a:gd name="T62" fmla="*/ 188 w 193"/>
                  <a:gd name="T63" fmla="*/ 16 h 297"/>
                  <a:gd name="T64" fmla="*/ 189 w 193"/>
                  <a:gd name="T65" fmla="*/ 30 h 297"/>
                  <a:gd name="T66" fmla="*/ 189 w 193"/>
                  <a:gd name="T67" fmla="*/ 46 h 297"/>
                  <a:gd name="T68" fmla="*/ 185 w 193"/>
                  <a:gd name="T69" fmla="*/ 65 h 297"/>
                  <a:gd name="T70" fmla="*/ 191 w 193"/>
                  <a:gd name="T71" fmla="*/ 75 h 297"/>
                  <a:gd name="T72" fmla="*/ 186 w 193"/>
                  <a:gd name="T73" fmla="*/ 82 h 297"/>
                  <a:gd name="T74" fmla="*/ 185 w 193"/>
                  <a:gd name="T75" fmla="*/ 87 h 297"/>
                  <a:gd name="T76" fmla="*/ 175 w 193"/>
                  <a:gd name="T77" fmla="*/ 103 h 297"/>
                  <a:gd name="T78" fmla="*/ 158 w 193"/>
                  <a:gd name="T79" fmla="*/ 116 h 297"/>
                  <a:gd name="T80" fmla="*/ 128 w 193"/>
                  <a:gd name="T81" fmla="*/ 129 h 297"/>
                  <a:gd name="T82" fmla="*/ 118 w 193"/>
                  <a:gd name="T83" fmla="*/ 134 h 297"/>
                  <a:gd name="T84" fmla="*/ 107 w 193"/>
                  <a:gd name="T85" fmla="*/ 148 h 297"/>
                  <a:gd name="T86" fmla="*/ 90 w 193"/>
                  <a:gd name="T87" fmla="*/ 159 h 297"/>
                  <a:gd name="T88" fmla="*/ 77 w 193"/>
                  <a:gd name="T89" fmla="*/ 165 h 297"/>
                  <a:gd name="T90" fmla="*/ 75 w 193"/>
                  <a:gd name="T91" fmla="*/ 174 h 297"/>
                  <a:gd name="T92" fmla="*/ 77 w 193"/>
                  <a:gd name="T93" fmla="*/ 190 h 297"/>
                  <a:gd name="T94" fmla="*/ 82 w 193"/>
                  <a:gd name="T95" fmla="*/ 213 h 297"/>
                  <a:gd name="T96" fmla="*/ 87 w 193"/>
                  <a:gd name="T97" fmla="*/ 213 h 297"/>
                  <a:gd name="T98" fmla="*/ 87 w 193"/>
                  <a:gd name="T99" fmla="*/ 226 h 297"/>
                  <a:gd name="T100" fmla="*/ 81 w 193"/>
                  <a:gd name="T101" fmla="*/ 240 h 297"/>
                  <a:gd name="T102" fmla="*/ 82 w 193"/>
                  <a:gd name="T103" fmla="*/ 250 h 297"/>
                  <a:gd name="T104" fmla="*/ 36 w 193"/>
                  <a:gd name="T105" fmla="*/ 272 h 297"/>
                  <a:gd name="T106" fmla="*/ 28 w 193"/>
                  <a:gd name="T107" fmla="*/ 282 h 297"/>
                  <a:gd name="T108" fmla="*/ 34 w 193"/>
                  <a:gd name="T109" fmla="*/ 289 h 297"/>
                  <a:gd name="T110" fmla="*/ 34 w 193"/>
                  <a:gd name="T111" fmla="*/ 294 h 297"/>
                  <a:gd name="T112" fmla="*/ 22 w 193"/>
                  <a:gd name="T113" fmla="*/ 295 h 297"/>
                  <a:gd name="T114" fmla="*/ 20 w 193"/>
                  <a:gd name="T115" fmla="*/ 284 h 297"/>
                  <a:gd name="T116" fmla="*/ 20 w 193"/>
                  <a:gd name="T117" fmla="*/ 266 h 297"/>
                  <a:gd name="T118" fmla="*/ 18 w 193"/>
                  <a:gd name="T119" fmla="*/ 241 h 297"/>
                  <a:gd name="T120" fmla="*/ 12 w 193"/>
                  <a:gd name="T121" fmla="*/ 218 h 2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93" h="297">
                    <a:moveTo>
                      <a:pt x="12" y="218"/>
                    </a:moveTo>
                    <a:lnTo>
                      <a:pt x="33" y="199"/>
                    </a:lnTo>
                    <a:lnTo>
                      <a:pt x="33" y="192"/>
                    </a:lnTo>
                    <a:lnTo>
                      <a:pt x="34" y="190"/>
                    </a:lnTo>
                    <a:lnTo>
                      <a:pt x="34" y="185"/>
                    </a:lnTo>
                    <a:lnTo>
                      <a:pt x="35" y="183"/>
                    </a:lnTo>
                    <a:lnTo>
                      <a:pt x="34" y="180"/>
                    </a:lnTo>
                    <a:lnTo>
                      <a:pt x="35" y="178"/>
                    </a:lnTo>
                    <a:lnTo>
                      <a:pt x="37" y="177"/>
                    </a:lnTo>
                    <a:lnTo>
                      <a:pt x="39" y="175"/>
                    </a:lnTo>
                    <a:lnTo>
                      <a:pt x="42" y="172"/>
                    </a:lnTo>
                    <a:lnTo>
                      <a:pt x="45" y="169"/>
                    </a:lnTo>
                    <a:lnTo>
                      <a:pt x="44" y="166"/>
                    </a:lnTo>
                    <a:lnTo>
                      <a:pt x="42" y="165"/>
                    </a:lnTo>
                    <a:lnTo>
                      <a:pt x="42" y="162"/>
                    </a:lnTo>
                    <a:lnTo>
                      <a:pt x="44" y="161"/>
                    </a:lnTo>
                    <a:lnTo>
                      <a:pt x="43" y="158"/>
                    </a:lnTo>
                    <a:lnTo>
                      <a:pt x="40" y="155"/>
                    </a:lnTo>
                    <a:lnTo>
                      <a:pt x="40" y="153"/>
                    </a:lnTo>
                    <a:lnTo>
                      <a:pt x="42" y="152"/>
                    </a:lnTo>
                    <a:lnTo>
                      <a:pt x="43" y="148"/>
                    </a:lnTo>
                    <a:lnTo>
                      <a:pt x="43" y="145"/>
                    </a:lnTo>
                    <a:lnTo>
                      <a:pt x="45" y="143"/>
                    </a:lnTo>
                    <a:lnTo>
                      <a:pt x="47" y="141"/>
                    </a:lnTo>
                    <a:lnTo>
                      <a:pt x="44" y="142"/>
                    </a:lnTo>
                    <a:lnTo>
                      <a:pt x="42" y="140"/>
                    </a:lnTo>
                    <a:lnTo>
                      <a:pt x="44" y="137"/>
                    </a:lnTo>
                    <a:lnTo>
                      <a:pt x="45" y="131"/>
                    </a:lnTo>
                    <a:lnTo>
                      <a:pt x="46" y="129"/>
                    </a:lnTo>
                    <a:lnTo>
                      <a:pt x="46" y="126"/>
                    </a:lnTo>
                    <a:lnTo>
                      <a:pt x="46" y="124"/>
                    </a:lnTo>
                    <a:lnTo>
                      <a:pt x="46" y="121"/>
                    </a:lnTo>
                    <a:lnTo>
                      <a:pt x="46" y="120"/>
                    </a:lnTo>
                    <a:lnTo>
                      <a:pt x="48" y="117"/>
                    </a:lnTo>
                    <a:lnTo>
                      <a:pt x="47" y="114"/>
                    </a:lnTo>
                    <a:lnTo>
                      <a:pt x="43" y="113"/>
                    </a:lnTo>
                    <a:lnTo>
                      <a:pt x="41" y="111"/>
                    </a:lnTo>
                    <a:lnTo>
                      <a:pt x="38" y="108"/>
                    </a:lnTo>
                    <a:lnTo>
                      <a:pt x="32" y="108"/>
                    </a:lnTo>
                    <a:lnTo>
                      <a:pt x="29" y="107"/>
                    </a:lnTo>
                    <a:lnTo>
                      <a:pt x="26" y="103"/>
                    </a:lnTo>
                    <a:lnTo>
                      <a:pt x="20" y="100"/>
                    </a:lnTo>
                    <a:lnTo>
                      <a:pt x="15" y="99"/>
                    </a:lnTo>
                    <a:lnTo>
                      <a:pt x="14" y="101"/>
                    </a:lnTo>
                    <a:lnTo>
                      <a:pt x="12" y="101"/>
                    </a:lnTo>
                    <a:lnTo>
                      <a:pt x="11" y="99"/>
                    </a:lnTo>
                    <a:lnTo>
                      <a:pt x="8" y="99"/>
                    </a:lnTo>
                    <a:lnTo>
                      <a:pt x="2" y="98"/>
                    </a:lnTo>
                    <a:lnTo>
                      <a:pt x="2" y="91"/>
                    </a:lnTo>
                    <a:lnTo>
                      <a:pt x="0" y="85"/>
                    </a:lnTo>
                    <a:lnTo>
                      <a:pt x="2" y="82"/>
                    </a:lnTo>
                    <a:lnTo>
                      <a:pt x="8" y="78"/>
                    </a:lnTo>
                    <a:lnTo>
                      <a:pt x="12" y="78"/>
                    </a:lnTo>
                    <a:lnTo>
                      <a:pt x="31" y="72"/>
                    </a:lnTo>
                    <a:lnTo>
                      <a:pt x="34" y="71"/>
                    </a:lnTo>
                    <a:lnTo>
                      <a:pt x="46" y="66"/>
                    </a:lnTo>
                    <a:lnTo>
                      <a:pt x="51" y="65"/>
                    </a:lnTo>
                    <a:lnTo>
                      <a:pt x="56" y="63"/>
                    </a:lnTo>
                    <a:lnTo>
                      <a:pt x="57" y="65"/>
                    </a:lnTo>
                    <a:lnTo>
                      <a:pt x="58" y="67"/>
                    </a:lnTo>
                    <a:lnTo>
                      <a:pt x="59" y="69"/>
                    </a:lnTo>
                    <a:lnTo>
                      <a:pt x="60" y="71"/>
                    </a:lnTo>
                    <a:lnTo>
                      <a:pt x="63" y="73"/>
                    </a:lnTo>
                    <a:lnTo>
                      <a:pt x="64" y="72"/>
                    </a:lnTo>
                    <a:lnTo>
                      <a:pt x="67" y="72"/>
                    </a:lnTo>
                    <a:lnTo>
                      <a:pt x="68" y="71"/>
                    </a:lnTo>
                    <a:lnTo>
                      <a:pt x="72" y="70"/>
                    </a:lnTo>
                    <a:lnTo>
                      <a:pt x="76" y="72"/>
                    </a:lnTo>
                    <a:lnTo>
                      <a:pt x="78" y="75"/>
                    </a:lnTo>
                    <a:lnTo>
                      <a:pt x="78" y="79"/>
                    </a:lnTo>
                    <a:lnTo>
                      <a:pt x="78" y="83"/>
                    </a:lnTo>
                    <a:lnTo>
                      <a:pt x="74" y="87"/>
                    </a:lnTo>
                    <a:lnTo>
                      <a:pt x="73" y="91"/>
                    </a:lnTo>
                    <a:lnTo>
                      <a:pt x="71" y="95"/>
                    </a:lnTo>
                    <a:lnTo>
                      <a:pt x="72" y="98"/>
                    </a:lnTo>
                    <a:lnTo>
                      <a:pt x="73" y="101"/>
                    </a:lnTo>
                    <a:lnTo>
                      <a:pt x="73" y="104"/>
                    </a:lnTo>
                    <a:lnTo>
                      <a:pt x="76" y="108"/>
                    </a:lnTo>
                    <a:lnTo>
                      <a:pt x="79" y="111"/>
                    </a:lnTo>
                    <a:lnTo>
                      <a:pt x="82" y="112"/>
                    </a:lnTo>
                    <a:lnTo>
                      <a:pt x="84" y="114"/>
                    </a:lnTo>
                    <a:lnTo>
                      <a:pt x="87" y="117"/>
                    </a:lnTo>
                    <a:lnTo>
                      <a:pt x="85" y="119"/>
                    </a:lnTo>
                    <a:lnTo>
                      <a:pt x="86" y="121"/>
                    </a:lnTo>
                    <a:lnTo>
                      <a:pt x="90" y="120"/>
                    </a:lnTo>
                    <a:lnTo>
                      <a:pt x="91" y="118"/>
                    </a:lnTo>
                    <a:lnTo>
                      <a:pt x="89" y="113"/>
                    </a:lnTo>
                    <a:lnTo>
                      <a:pt x="91" y="110"/>
                    </a:lnTo>
                    <a:lnTo>
                      <a:pt x="92" y="107"/>
                    </a:lnTo>
                    <a:lnTo>
                      <a:pt x="94" y="102"/>
                    </a:lnTo>
                    <a:lnTo>
                      <a:pt x="97" y="101"/>
                    </a:lnTo>
                    <a:lnTo>
                      <a:pt x="99" y="98"/>
                    </a:lnTo>
                    <a:lnTo>
                      <a:pt x="101" y="96"/>
                    </a:lnTo>
                    <a:lnTo>
                      <a:pt x="101" y="90"/>
                    </a:lnTo>
                    <a:lnTo>
                      <a:pt x="99" y="88"/>
                    </a:lnTo>
                    <a:lnTo>
                      <a:pt x="99" y="86"/>
                    </a:lnTo>
                    <a:lnTo>
                      <a:pt x="98" y="84"/>
                    </a:lnTo>
                    <a:lnTo>
                      <a:pt x="99" y="83"/>
                    </a:lnTo>
                    <a:lnTo>
                      <a:pt x="101" y="83"/>
                    </a:lnTo>
                    <a:lnTo>
                      <a:pt x="102" y="81"/>
                    </a:lnTo>
                    <a:lnTo>
                      <a:pt x="104" y="80"/>
                    </a:lnTo>
                    <a:lnTo>
                      <a:pt x="104" y="78"/>
                    </a:lnTo>
                    <a:lnTo>
                      <a:pt x="103" y="76"/>
                    </a:lnTo>
                    <a:lnTo>
                      <a:pt x="101" y="72"/>
                    </a:lnTo>
                    <a:lnTo>
                      <a:pt x="97" y="66"/>
                    </a:lnTo>
                    <a:lnTo>
                      <a:pt x="96" y="63"/>
                    </a:lnTo>
                    <a:lnTo>
                      <a:pt x="90" y="57"/>
                    </a:lnTo>
                    <a:lnTo>
                      <a:pt x="88" y="57"/>
                    </a:lnTo>
                    <a:lnTo>
                      <a:pt x="87" y="55"/>
                    </a:lnTo>
                    <a:lnTo>
                      <a:pt x="84" y="53"/>
                    </a:lnTo>
                    <a:lnTo>
                      <a:pt x="78" y="50"/>
                    </a:lnTo>
                    <a:lnTo>
                      <a:pt x="75" y="33"/>
                    </a:lnTo>
                    <a:lnTo>
                      <a:pt x="80" y="17"/>
                    </a:lnTo>
                    <a:lnTo>
                      <a:pt x="97" y="17"/>
                    </a:lnTo>
                    <a:lnTo>
                      <a:pt x="100" y="17"/>
                    </a:lnTo>
                    <a:lnTo>
                      <a:pt x="101" y="15"/>
                    </a:lnTo>
                    <a:lnTo>
                      <a:pt x="104" y="15"/>
                    </a:lnTo>
                    <a:lnTo>
                      <a:pt x="104" y="16"/>
                    </a:lnTo>
                    <a:lnTo>
                      <a:pt x="106" y="17"/>
                    </a:lnTo>
                    <a:lnTo>
                      <a:pt x="109" y="19"/>
                    </a:lnTo>
                    <a:lnTo>
                      <a:pt x="111" y="19"/>
                    </a:lnTo>
                    <a:lnTo>
                      <a:pt x="113" y="21"/>
                    </a:lnTo>
                    <a:lnTo>
                      <a:pt x="113" y="22"/>
                    </a:lnTo>
                    <a:lnTo>
                      <a:pt x="117" y="21"/>
                    </a:lnTo>
                    <a:lnTo>
                      <a:pt x="121" y="18"/>
                    </a:lnTo>
                    <a:lnTo>
                      <a:pt x="124" y="17"/>
                    </a:lnTo>
                    <a:lnTo>
                      <a:pt x="125" y="16"/>
                    </a:lnTo>
                    <a:lnTo>
                      <a:pt x="127" y="17"/>
                    </a:lnTo>
                    <a:lnTo>
                      <a:pt x="128" y="18"/>
                    </a:lnTo>
                    <a:lnTo>
                      <a:pt x="130" y="19"/>
                    </a:lnTo>
                    <a:lnTo>
                      <a:pt x="132" y="20"/>
                    </a:lnTo>
                    <a:lnTo>
                      <a:pt x="136" y="19"/>
                    </a:lnTo>
                    <a:lnTo>
                      <a:pt x="141" y="18"/>
                    </a:lnTo>
                    <a:lnTo>
                      <a:pt x="142" y="15"/>
                    </a:lnTo>
                    <a:lnTo>
                      <a:pt x="141" y="13"/>
                    </a:lnTo>
                    <a:lnTo>
                      <a:pt x="143" y="12"/>
                    </a:lnTo>
                    <a:lnTo>
                      <a:pt x="146" y="13"/>
                    </a:lnTo>
                    <a:lnTo>
                      <a:pt x="149" y="13"/>
                    </a:lnTo>
                    <a:lnTo>
                      <a:pt x="151" y="14"/>
                    </a:lnTo>
                    <a:lnTo>
                      <a:pt x="155" y="14"/>
                    </a:lnTo>
                    <a:lnTo>
                      <a:pt x="157" y="13"/>
                    </a:lnTo>
                    <a:lnTo>
                      <a:pt x="163" y="11"/>
                    </a:lnTo>
                    <a:lnTo>
                      <a:pt x="166" y="12"/>
                    </a:lnTo>
                    <a:lnTo>
                      <a:pt x="169" y="12"/>
                    </a:lnTo>
                    <a:lnTo>
                      <a:pt x="170" y="10"/>
                    </a:lnTo>
                    <a:lnTo>
                      <a:pt x="174" y="9"/>
                    </a:lnTo>
                    <a:lnTo>
                      <a:pt x="177" y="7"/>
                    </a:lnTo>
                    <a:lnTo>
                      <a:pt x="181" y="6"/>
                    </a:lnTo>
                    <a:lnTo>
                      <a:pt x="183" y="4"/>
                    </a:lnTo>
                    <a:lnTo>
                      <a:pt x="185" y="1"/>
                    </a:lnTo>
                    <a:lnTo>
                      <a:pt x="189" y="2"/>
                    </a:lnTo>
                    <a:lnTo>
                      <a:pt x="190" y="0"/>
                    </a:lnTo>
                    <a:lnTo>
                      <a:pt x="191" y="0"/>
                    </a:lnTo>
                    <a:lnTo>
                      <a:pt x="193" y="1"/>
                    </a:lnTo>
                    <a:lnTo>
                      <a:pt x="192" y="5"/>
                    </a:lnTo>
                    <a:lnTo>
                      <a:pt x="191" y="7"/>
                    </a:lnTo>
                    <a:lnTo>
                      <a:pt x="192" y="8"/>
                    </a:lnTo>
                    <a:lnTo>
                      <a:pt x="188" y="12"/>
                    </a:lnTo>
                    <a:lnTo>
                      <a:pt x="187" y="14"/>
                    </a:lnTo>
                    <a:lnTo>
                      <a:pt x="188" y="16"/>
                    </a:lnTo>
                    <a:lnTo>
                      <a:pt x="188" y="17"/>
                    </a:lnTo>
                    <a:lnTo>
                      <a:pt x="187" y="18"/>
                    </a:lnTo>
                    <a:lnTo>
                      <a:pt x="188" y="25"/>
                    </a:lnTo>
                    <a:lnTo>
                      <a:pt x="190" y="29"/>
                    </a:lnTo>
                    <a:lnTo>
                      <a:pt x="189" y="30"/>
                    </a:lnTo>
                    <a:lnTo>
                      <a:pt x="189" y="34"/>
                    </a:lnTo>
                    <a:lnTo>
                      <a:pt x="190" y="35"/>
                    </a:lnTo>
                    <a:lnTo>
                      <a:pt x="190" y="39"/>
                    </a:lnTo>
                    <a:lnTo>
                      <a:pt x="188" y="41"/>
                    </a:lnTo>
                    <a:lnTo>
                      <a:pt x="189" y="46"/>
                    </a:lnTo>
                    <a:lnTo>
                      <a:pt x="187" y="55"/>
                    </a:lnTo>
                    <a:lnTo>
                      <a:pt x="187" y="55"/>
                    </a:lnTo>
                    <a:lnTo>
                      <a:pt x="188" y="56"/>
                    </a:lnTo>
                    <a:lnTo>
                      <a:pt x="188" y="64"/>
                    </a:lnTo>
                    <a:lnTo>
                      <a:pt x="185" y="65"/>
                    </a:lnTo>
                    <a:lnTo>
                      <a:pt x="185" y="66"/>
                    </a:lnTo>
                    <a:lnTo>
                      <a:pt x="186" y="67"/>
                    </a:lnTo>
                    <a:lnTo>
                      <a:pt x="190" y="67"/>
                    </a:lnTo>
                    <a:lnTo>
                      <a:pt x="191" y="68"/>
                    </a:lnTo>
                    <a:lnTo>
                      <a:pt x="191" y="75"/>
                    </a:lnTo>
                    <a:lnTo>
                      <a:pt x="190" y="77"/>
                    </a:lnTo>
                    <a:lnTo>
                      <a:pt x="188" y="78"/>
                    </a:lnTo>
                    <a:lnTo>
                      <a:pt x="189" y="80"/>
                    </a:lnTo>
                    <a:lnTo>
                      <a:pt x="188" y="82"/>
                    </a:lnTo>
                    <a:lnTo>
                      <a:pt x="186" y="82"/>
                    </a:lnTo>
                    <a:lnTo>
                      <a:pt x="183" y="84"/>
                    </a:lnTo>
                    <a:lnTo>
                      <a:pt x="184" y="85"/>
                    </a:lnTo>
                    <a:lnTo>
                      <a:pt x="185" y="84"/>
                    </a:lnTo>
                    <a:lnTo>
                      <a:pt x="187" y="85"/>
                    </a:lnTo>
                    <a:lnTo>
                      <a:pt x="185" y="87"/>
                    </a:lnTo>
                    <a:lnTo>
                      <a:pt x="185" y="91"/>
                    </a:lnTo>
                    <a:lnTo>
                      <a:pt x="182" y="91"/>
                    </a:lnTo>
                    <a:lnTo>
                      <a:pt x="179" y="97"/>
                    </a:lnTo>
                    <a:lnTo>
                      <a:pt x="179" y="98"/>
                    </a:lnTo>
                    <a:lnTo>
                      <a:pt x="175" y="103"/>
                    </a:lnTo>
                    <a:lnTo>
                      <a:pt x="172" y="103"/>
                    </a:lnTo>
                    <a:lnTo>
                      <a:pt x="172" y="107"/>
                    </a:lnTo>
                    <a:lnTo>
                      <a:pt x="160" y="113"/>
                    </a:lnTo>
                    <a:lnTo>
                      <a:pt x="159" y="114"/>
                    </a:lnTo>
                    <a:lnTo>
                      <a:pt x="158" y="116"/>
                    </a:lnTo>
                    <a:lnTo>
                      <a:pt x="146" y="122"/>
                    </a:lnTo>
                    <a:lnTo>
                      <a:pt x="141" y="121"/>
                    </a:lnTo>
                    <a:lnTo>
                      <a:pt x="141" y="122"/>
                    </a:lnTo>
                    <a:lnTo>
                      <a:pt x="136" y="124"/>
                    </a:lnTo>
                    <a:lnTo>
                      <a:pt x="128" y="129"/>
                    </a:lnTo>
                    <a:lnTo>
                      <a:pt x="126" y="128"/>
                    </a:lnTo>
                    <a:lnTo>
                      <a:pt x="126" y="130"/>
                    </a:lnTo>
                    <a:lnTo>
                      <a:pt x="122" y="136"/>
                    </a:lnTo>
                    <a:lnTo>
                      <a:pt x="119" y="137"/>
                    </a:lnTo>
                    <a:lnTo>
                      <a:pt x="118" y="134"/>
                    </a:lnTo>
                    <a:lnTo>
                      <a:pt x="117" y="139"/>
                    </a:lnTo>
                    <a:lnTo>
                      <a:pt x="116" y="139"/>
                    </a:lnTo>
                    <a:lnTo>
                      <a:pt x="115" y="142"/>
                    </a:lnTo>
                    <a:lnTo>
                      <a:pt x="107" y="146"/>
                    </a:lnTo>
                    <a:lnTo>
                      <a:pt x="107" y="148"/>
                    </a:lnTo>
                    <a:lnTo>
                      <a:pt x="105" y="149"/>
                    </a:lnTo>
                    <a:lnTo>
                      <a:pt x="103" y="150"/>
                    </a:lnTo>
                    <a:lnTo>
                      <a:pt x="104" y="152"/>
                    </a:lnTo>
                    <a:lnTo>
                      <a:pt x="99" y="152"/>
                    </a:lnTo>
                    <a:lnTo>
                      <a:pt x="90" y="159"/>
                    </a:lnTo>
                    <a:lnTo>
                      <a:pt x="90" y="163"/>
                    </a:lnTo>
                    <a:lnTo>
                      <a:pt x="87" y="165"/>
                    </a:lnTo>
                    <a:lnTo>
                      <a:pt x="82" y="165"/>
                    </a:lnTo>
                    <a:lnTo>
                      <a:pt x="80" y="167"/>
                    </a:lnTo>
                    <a:lnTo>
                      <a:pt x="77" y="165"/>
                    </a:lnTo>
                    <a:lnTo>
                      <a:pt x="75" y="165"/>
                    </a:lnTo>
                    <a:lnTo>
                      <a:pt x="75" y="167"/>
                    </a:lnTo>
                    <a:lnTo>
                      <a:pt x="77" y="169"/>
                    </a:lnTo>
                    <a:lnTo>
                      <a:pt x="77" y="172"/>
                    </a:lnTo>
                    <a:lnTo>
                      <a:pt x="75" y="174"/>
                    </a:lnTo>
                    <a:lnTo>
                      <a:pt x="76" y="176"/>
                    </a:lnTo>
                    <a:lnTo>
                      <a:pt x="74" y="179"/>
                    </a:lnTo>
                    <a:lnTo>
                      <a:pt x="79" y="185"/>
                    </a:lnTo>
                    <a:lnTo>
                      <a:pt x="79" y="188"/>
                    </a:lnTo>
                    <a:lnTo>
                      <a:pt x="77" y="190"/>
                    </a:lnTo>
                    <a:lnTo>
                      <a:pt x="79" y="191"/>
                    </a:lnTo>
                    <a:lnTo>
                      <a:pt x="81" y="194"/>
                    </a:lnTo>
                    <a:lnTo>
                      <a:pt x="81" y="198"/>
                    </a:lnTo>
                    <a:lnTo>
                      <a:pt x="83" y="202"/>
                    </a:lnTo>
                    <a:lnTo>
                      <a:pt x="82" y="213"/>
                    </a:lnTo>
                    <a:lnTo>
                      <a:pt x="83" y="217"/>
                    </a:lnTo>
                    <a:lnTo>
                      <a:pt x="85" y="217"/>
                    </a:lnTo>
                    <a:lnTo>
                      <a:pt x="85" y="214"/>
                    </a:lnTo>
                    <a:lnTo>
                      <a:pt x="87" y="209"/>
                    </a:lnTo>
                    <a:lnTo>
                      <a:pt x="87" y="213"/>
                    </a:lnTo>
                    <a:lnTo>
                      <a:pt x="88" y="213"/>
                    </a:lnTo>
                    <a:lnTo>
                      <a:pt x="88" y="218"/>
                    </a:lnTo>
                    <a:lnTo>
                      <a:pt x="86" y="220"/>
                    </a:lnTo>
                    <a:lnTo>
                      <a:pt x="86" y="225"/>
                    </a:lnTo>
                    <a:lnTo>
                      <a:pt x="87" y="226"/>
                    </a:lnTo>
                    <a:lnTo>
                      <a:pt x="85" y="231"/>
                    </a:lnTo>
                    <a:lnTo>
                      <a:pt x="85" y="234"/>
                    </a:lnTo>
                    <a:lnTo>
                      <a:pt x="83" y="236"/>
                    </a:lnTo>
                    <a:lnTo>
                      <a:pt x="83" y="240"/>
                    </a:lnTo>
                    <a:lnTo>
                      <a:pt x="81" y="240"/>
                    </a:lnTo>
                    <a:lnTo>
                      <a:pt x="82" y="243"/>
                    </a:lnTo>
                    <a:lnTo>
                      <a:pt x="85" y="241"/>
                    </a:lnTo>
                    <a:lnTo>
                      <a:pt x="86" y="243"/>
                    </a:lnTo>
                    <a:lnTo>
                      <a:pt x="83" y="247"/>
                    </a:lnTo>
                    <a:lnTo>
                      <a:pt x="82" y="250"/>
                    </a:lnTo>
                    <a:lnTo>
                      <a:pt x="75" y="258"/>
                    </a:lnTo>
                    <a:lnTo>
                      <a:pt x="64" y="263"/>
                    </a:lnTo>
                    <a:lnTo>
                      <a:pt x="48" y="266"/>
                    </a:lnTo>
                    <a:lnTo>
                      <a:pt x="41" y="271"/>
                    </a:lnTo>
                    <a:lnTo>
                      <a:pt x="36" y="272"/>
                    </a:lnTo>
                    <a:lnTo>
                      <a:pt x="35" y="275"/>
                    </a:lnTo>
                    <a:lnTo>
                      <a:pt x="33" y="277"/>
                    </a:lnTo>
                    <a:lnTo>
                      <a:pt x="31" y="281"/>
                    </a:lnTo>
                    <a:lnTo>
                      <a:pt x="30" y="281"/>
                    </a:lnTo>
                    <a:lnTo>
                      <a:pt x="28" y="282"/>
                    </a:lnTo>
                    <a:lnTo>
                      <a:pt x="29" y="283"/>
                    </a:lnTo>
                    <a:lnTo>
                      <a:pt x="30" y="287"/>
                    </a:lnTo>
                    <a:lnTo>
                      <a:pt x="30" y="290"/>
                    </a:lnTo>
                    <a:lnTo>
                      <a:pt x="32" y="288"/>
                    </a:lnTo>
                    <a:lnTo>
                      <a:pt x="34" y="289"/>
                    </a:lnTo>
                    <a:lnTo>
                      <a:pt x="35" y="285"/>
                    </a:lnTo>
                    <a:lnTo>
                      <a:pt x="36" y="285"/>
                    </a:lnTo>
                    <a:lnTo>
                      <a:pt x="37" y="287"/>
                    </a:lnTo>
                    <a:lnTo>
                      <a:pt x="36" y="292"/>
                    </a:lnTo>
                    <a:lnTo>
                      <a:pt x="34" y="294"/>
                    </a:lnTo>
                    <a:lnTo>
                      <a:pt x="34" y="297"/>
                    </a:lnTo>
                    <a:lnTo>
                      <a:pt x="30" y="297"/>
                    </a:lnTo>
                    <a:lnTo>
                      <a:pt x="24" y="296"/>
                    </a:lnTo>
                    <a:lnTo>
                      <a:pt x="23" y="296"/>
                    </a:lnTo>
                    <a:lnTo>
                      <a:pt x="22" y="295"/>
                    </a:lnTo>
                    <a:lnTo>
                      <a:pt x="23" y="293"/>
                    </a:lnTo>
                    <a:lnTo>
                      <a:pt x="23" y="290"/>
                    </a:lnTo>
                    <a:lnTo>
                      <a:pt x="24" y="289"/>
                    </a:lnTo>
                    <a:lnTo>
                      <a:pt x="22" y="286"/>
                    </a:lnTo>
                    <a:lnTo>
                      <a:pt x="20" y="284"/>
                    </a:lnTo>
                    <a:lnTo>
                      <a:pt x="18" y="283"/>
                    </a:lnTo>
                    <a:lnTo>
                      <a:pt x="18" y="283"/>
                    </a:lnTo>
                    <a:lnTo>
                      <a:pt x="18" y="276"/>
                    </a:lnTo>
                    <a:lnTo>
                      <a:pt x="18" y="271"/>
                    </a:lnTo>
                    <a:lnTo>
                      <a:pt x="20" y="266"/>
                    </a:lnTo>
                    <a:lnTo>
                      <a:pt x="20" y="252"/>
                    </a:lnTo>
                    <a:lnTo>
                      <a:pt x="19" y="249"/>
                    </a:lnTo>
                    <a:lnTo>
                      <a:pt x="17" y="245"/>
                    </a:lnTo>
                    <a:lnTo>
                      <a:pt x="17" y="242"/>
                    </a:lnTo>
                    <a:lnTo>
                      <a:pt x="18" y="241"/>
                    </a:lnTo>
                    <a:lnTo>
                      <a:pt x="17" y="232"/>
                    </a:lnTo>
                    <a:lnTo>
                      <a:pt x="15" y="228"/>
                    </a:lnTo>
                    <a:lnTo>
                      <a:pt x="14" y="224"/>
                    </a:lnTo>
                    <a:lnTo>
                      <a:pt x="13" y="218"/>
                    </a:lnTo>
                    <a:lnTo>
                      <a:pt x="12" y="218"/>
                    </a:lnTo>
                    <a:lnTo>
                      <a:pt x="12" y="218"/>
                    </a:lnTo>
                    <a:close/>
                  </a:path>
                </a:pathLst>
              </a:custGeom>
              <a:solidFill>
                <a:schemeClr val="accent6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768" name="Freeform 572"/>
              <p:cNvSpPr>
                <a:spLocks noEditPoints="1"/>
              </p:cNvSpPr>
              <p:nvPr userDrawn="1"/>
            </p:nvSpPr>
            <p:spPr bwMode="auto">
              <a:xfrm>
                <a:off x="5514" y="3120"/>
                <a:ext cx="747" cy="772"/>
              </a:xfrm>
              <a:custGeom>
                <a:avLst/>
                <a:gdLst>
                  <a:gd name="T0" fmla="*/ 774 w 781"/>
                  <a:gd name="T1" fmla="*/ 339 h 808"/>
                  <a:gd name="T2" fmla="*/ 667 w 781"/>
                  <a:gd name="T3" fmla="*/ 174 h 808"/>
                  <a:gd name="T4" fmla="*/ 533 w 781"/>
                  <a:gd name="T5" fmla="*/ 136 h 808"/>
                  <a:gd name="T6" fmla="*/ 480 w 781"/>
                  <a:gd name="T7" fmla="*/ 77 h 808"/>
                  <a:gd name="T8" fmla="*/ 485 w 781"/>
                  <a:gd name="T9" fmla="*/ 81 h 808"/>
                  <a:gd name="T10" fmla="*/ 473 w 781"/>
                  <a:gd name="T11" fmla="*/ 32 h 808"/>
                  <a:gd name="T12" fmla="*/ 371 w 781"/>
                  <a:gd name="T13" fmla="*/ 22 h 808"/>
                  <a:gd name="T14" fmla="*/ 370 w 781"/>
                  <a:gd name="T15" fmla="*/ 21 h 808"/>
                  <a:gd name="T16" fmla="*/ 251 w 781"/>
                  <a:gd name="T17" fmla="*/ 104 h 808"/>
                  <a:gd name="T18" fmla="*/ 4 w 781"/>
                  <a:gd name="T19" fmla="*/ 304 h 808"/>
                  <a:gd name="T20" fmla="*/ 425 w 781"/>
                  <a:gd name="T21" fmla="*/ 577 h 808"/>
                  <a:gd name="T22" fmla="*/ 573 w 781"/>
                  <a:gd name="T23" fmla="*/ 668 h 808"/>
                  <a:gd name="T24" fmla="*/ 527 w 781"/>
                  <a:gd name="T25" fmla="*/ 712 h 808"/>
                  <a:gd name="T26" fmla="*/ 591 w 781"/>
                  <a:gd name="T27" fmla="*/ 698 h 808"/>
                  <a:gd name="T28" fmla="*/ 569 w 781"/>
                  <a:gd name="T29" fmla="*/ 780 h 808"/>
                  <a:gd name="T30" fmla="*/ 519 w 781"/>
                  <a:gd name="T31" fmla="*/ 775 h 808"/>
                  <a:gd name="T32" fmla="*/ 530 w 781"/>
                  <a:gd name="T33" fmla="*/ 722 h 808"/>
                  <a:gd name="T34" fmla="*/ 585 w 781"/>
                  <a:gd name="T35" fmla="*/ 727 h 808"/>
                  <a:gd name="T36" fmla="*/ 564 w 781"/>
                  <a:gd name="T37" fmla="*/ 785 h 808"/>
                  <a:gd name="T38" fmla="*/ 541 w 781"/>
                  <a:gd name="T39" fmla="*/ 803 h 808"/>
                  <a:gd name="T40" fmla="*/ 39 w 781"/>
                  <a:gd name="T41" fmla="*/ 532 h 808"/>
                  <a:gd name="T42" fmla="*/ 92 w 781"/>
                  <a:gd name="T43" fmla="*/ 514 h 808"/>
                  <a:gd name="T44" fmla="*/ 164 w 781"/>
                  <a:gd name="T45" fmla="*/ 509 h 808"/>
                  <a:gd name="T46" fmla="*/ 252 w 781"/>
                  <a:gd name="T47" fmla="*/ 473 h 808"/>
                  <a:gd name="T48" fmla="*/ 359 w 781"/>
                  <a:gd name="T49" fmla="*/ 473 h 808"/>
                  <a:gd name="T50" fmla="*/ 393 w 781"/>
                  <a:gd name="T51" fmla="*/ 535 h 808"/>
                  <a:gd name="T52" fmla="*/ 426 w 781"/>
                  <a:gd name="T53" fmla="*/ 517 h 808"/>
                  <a:gd name="T54" fmla="*/ 432 w 781"/>
                  <a:gd name="T55" fmla="*/ 540 h 808"/>
                  <a:gd name="T56" fmla="*/ 439 w 781"/>
                  <a:gd name="T57" fmla="*/ 570 h 808"/>
                  <a:gd name="T58" fmla="*/ 458 w 781"/>
                  <a:gd name="T59" fmla="*/ 615 h 808"/>
                  <a:gd name="T60" fmla="*/ 520 w 781"/>
                  <a:gd name="T61" fmla="*/ 662 h 808"/>
                  <a:gd name="T62" fmla="*/ 561 w 781"/>
                  <a:gd name="T63" fmla="*/ 656 h 808"/>
                  <a:gd name="T64" fmla="*/ 602 w 781"/>
                  <a:gd name="T65" fmla="*/ 649 h 808"/>
                  <a:gd name="T66" fmla="*/ 661 w 781"/>
                  <a:gd name="T67" fmla="*/ 598 h 808"/>
                  <a:gd name="T68" fmla="*/ 722 w 781"/>
                  <a:gd name="T69" fmla="*/ 509 h 808"/>
                  <a:gd name="T70" fmla="*/ 761 w 781"/>
                  <a:gd name="T71" fmla="*/ 426 h 808"/>
                  <a:gd name="T72" fmla="*/ 771 w 781"/>
                  <a:gd name="T73" fmla="*/ 332 h 808"/>
                  <a:gd name="T74" fmla="*/ 736 w 781"/>
                  <a:gd name="T75" fmla="*/ 277 h 808"/>
                  <a:gd name="T76" fmla="*/ 717 w 781"/>
                  <a:gd name="T77" fmla="*/ 245 h 808"/>
                  <a:gd name="T78" fmla="*/ 687 w 781"/>
                  <a:gd name="T79" fmla="*/ 201 h 808"/>
                  <a:gd name="T80" fmla="*/ 659 w 781"/>
                  <a:gd name="T81" fmla="*/ 143 h 808"/>
                  <a:gd name="T82" fmla="*/ 633 w 781"/>
                  <a:gd name="T83" fmla="*/ 83 h 808"/>
                  <a:gd name="T84" fmla="*/ 612 w 781"/>
                  <a:gd name="T85" fmla="*/ 25 h 808"/>
                  <a:gd name="T86" fmla="*/ 586 w 781"/>
                  <a:gd name="T87" fmla="*/ 61 h 808"/>
                  <a:gd name="T88" fmla="*/ 562 w 781"/>
                  <a:gd name="T89" fmla="*/ 153 h 808"/>
                  <a:gd name="T90" fmla="*/ 490 w 781"/>
                  <a:gd name="T91" fmla="*/ 117 h 808"/>
                  <a:gd name="T92" fmla="*/ 475 w 781"/>
                  <a:gd name="T93" fmla="*/ 63 h 808"/>
                  <a:gd name="T94" fmla="*/ 483 w 781"/>
                  <a:gd name="T95" fmla="*/ 42 h 808"/>
                  <a:gd name="T96" fmla="*/ 454 w 781"/>
                  <a:gd name="T97" fmla="*/ 36 h 808"/>
                  <a:gd name="T98" fmla="*/ 404 w 781"/>
                  <a:gd name="T99" fmla="*/ 22 h 808"/>
                  <a:gd name="T100" fmla="*/ 381 w 781"/>
                  <a:gd name="T101" fmla="*/ 45 h 808"/>
                  <a:gd name="T102" fmla="*/ 353 w 781"/>
                  <a:gd name="T103" fmla="*/ 71 h 808"/>
                  <a:gd name="T104" fmla="*/ 342 w 781"/>
                  <a:gd name="T105" fmla="*/ 96 h 808"/>
                  <a:gd name="T106" fmla="*/ 318 w 781"/>
                  <a:gd name="T107" fmla="*/ 102 h 808"/>
                  <a:gd name="T108" fmla="*/ 281 w 781"/>
                  <a:gd name="T109" fmla="*/ 78 h 808"/>
                  <a:gd name="T110" fmla="*/ 257 w 781"/>
                  <a:gd name="T111" fmla="*/ 103 h 808"/>
                  <a:gd name="T112" fmla="*/ 241 w 781"/>
                  <a:gd name="T113" fmla="*/ 126 h 808"/>
                  <a:gd name="T114" fmla="*/ 219 w 781"/>
                  <a:gd name="T115" fmla="*/ 132 h 808"/>
                  <a:gd name="T116" fmla="*/ 186 w 781"/>
                  <a:gd name="T117" fmla="*/ 173 h 808"/>
                  <a:gd name="T118" fmla="*/ 90 w 781"/>
                  <a:gd name="T119" fmla="*/ 212 h 808"/>
                  <a:gd name="T120" fmla="*/ 29 w 781"/>
                  <a:gd name="T121" fmla="*/ 242 h 808"/>
                  <a:gd name="T122" fmla="*/ 16 w 781"/>
                  <a:gd name="T123" fmla="*/ 322 h 808"/>
                  <a:gd name="T124" fmla="*/ 27 w 781"/>
                  <a:gd name="T125" fmla="*/ 428 h 8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781" h="808">
                    <a:moveTo>
                      <a:pt x="772" y="385"/>
                    </a:moveTo>
                    <a:cubicBezTo>
                      <a:pt x="774" y="378"/>
                      <a:pt x="774" y="378"/>
                      <a:pt x="774" y="378"/>
                    </a:cubicBezTo>
                    <a:cubicBezTo>
                      <a:pt x="774" y="383"/>
                      <a:pt x="774" y="383"/>
                      <a:pt x="774" y="383"/>
                    </a:cubicBezTo>
                    <a:cubicBezTo>
                      <a:pt x="772" y="385"/>
                      <a:pt x="772" y="385"/>
                      <a:pt x="772" y="385"/>
                    </a:cubicBezTo>
                    <a:close/>
                    <a:moveTo>
                      <a:pt x="774" y="339"/>
                    </a:moveTo>
                    <a:cubicBezTo>
                      <a:pt x="772" y="333"/>
                      <a:pt x="772" y="333"/>
                      <a:pt x="772" y="333"/>
                    </a:cubicBezTo>
                    <a:cubicBezTo>
                      <a:pt x="773" y="330"/>
                      <a:pt x="773" y="330"/>
                      <a:pt x="773" y="330"/>
                    </a:cubicBezTo>
                    <a:cubicBezTo>
                      <a:pt x="773" y="326"/>
                      <a:pt x="773" y="326"/>
                      <a:pt x="773" y="326"/>
                    </a:cubicBezTo>
                    <a:cubicBezTo>
                      <a:pt x="777" y="322"/>
                      <a:pt x="777" y="322"/>
                      <a:pt x="777" y="322"/>
                    </a:cubicBezTo>
                    <a:cubicBezTo>
                      <a:pt x="779" y="318"/>
                      <a:pt x="779" y="318"/>
                      <a:pt x="779" y="318"/>
                    </a:cubicBezTo>
                    <a:cubicBezTo>
                      <a:pt x="778" y="316"/>
                      <a:pt x="778" y="316"/>
                      <a:pt x="778" y="316"/>
                    </a:cubicBezTo>
                    <a:cubicBezTo>
                      <a:pt x="779" y="313"/>
                      <a:pt x="779" y="313"/>
                      <a:pt x="779" y="313"/>
                    </a:cubicBezTo>
                    <a:cubicBezTo>
                      <a:pt x="781" y="313"/>
                      <a:pt x="781" y="313"/>
                      <a:pt x="781" y="313"/>
                    </a:cubicBezTo>
                    <a:cubicBezTo>
                      <a:pt x="781" y="318"/>
                      <a:pt x="781" y="318"/>
                      <a:pt x="781" y="318"/>
                    </a:cubicBezTo>
                    <a:cubicBezTo>
                      <a:pt x="780" y="323"/>
                      <a:pt x="780" y="323"/>
                      <a:pt x="780" y="323"/>
                    </a:cubicBezTo>
                    <a:cubicBezTo>
                      <a:pt x="776" y="328"/>
                      <a:pt x="776" y="328"/>
                      <a:pt x="776" y="328"/>
                    </a:cubicBezTo>
                    <a:cubicBezTo>
                      <a:pt x="775" y="336"/>
                      <a:pt x="775" y="336"/>
                      <a:pt x="775" y="336"/>
                    </a:cubicBezTo>
                    <a:cubicBezTo>
                      <a:pt x="776" y="339"/>
                      <a:pt x="776" y="339"/>
                      <a:pt x="776" y="339"/>
                    </a:cubicBezTo>
                    <a:cubicBezTo>
                      <a:pt x="774" y="339"/>
                      <a:pt x="774" y="339"/>
                      <a:pt x="774" y="339"/>
                    </a:cubicBezTo>
                    <a:close/>
                    <a:moveTo>
                      <a:pt x="742" y="284"/>
                    </a:moveTo>
                    <a:cubicBezTo>
                      <a:pt x="745" y="288"/>
                      <a:pt x="745" y="288"/>
                      <a:pt x="745" y="288"/>
                    </a:cubicBezTo>
                    <a:cubicBezTo>
                      <a:pt x="747" y="292"/>
                      <a:pt x="747" y="292"/>
                      <a:pt x="747" y="292"/>
                    </a:cubicBezTo>
                    <a:cubicBezTo>
                      <a:pt x="748" y="288"/>
                      <a:pt x="748" y="288"/>
                      <a:pt x="748" y="288"/>
                    </a:cubicBezTo>
                    <a:cubicBezTo>
                      <a:pt x="747" y="287"/>
                      <a:pt x="747" y="287"/>
                      <a:pt x="747" y="287"/>
                    </a:cubicBezTo>
                    <a:cubicBezTo>
                      <a:pt x="747" y="284"/>
                      <a:pt x="747" y="284"/>
                      <a:pt x="747" y="284"/>
                    </a:cubicBezTo>
                    <a:cubicBezTo>
                      <a:pt x="744" y="284"/>
                      <a:pt x="744" y="284"/>
                      <a:pt x="744" y="284"/>
                    </a:cubicBezTo>
                    <a:cubicBezTo>
                      <a:pt x="743" y="283"/>
                      <a:pt x="743" y="283"/>
                      <a:pt x="743" y="283"/>
                    </a:cubicBezTo>
                    <a:cubicBezTo>
                      <a:pt x="742" y="284"/>
                      <a:pt x="742" y="284"/>
                      <a:pt x="742" y="284"/>
                    </a:cubicBezTo>
                    <a:close/>
                    <a:moveTo>
                      <a:pt x="737" y="258"/>
                    </a:moveTo>
                    <a:cubicBezTo>
                      <a:pt x="736" y="255"/>
                      <a:pt x="736" y="255"/>
                      <a:pt x="736" y="255"/>
                    </a:cubicBezTo>
                    <a:cubicBezTo>
                      <a:pt x="735" y="257"/>
                      <a:pt x="735" y="257"/>
                      <a:pt x="735" y="257"/>
                    </a:cubicBezTo>
                    <a:cubicBezTo>
                      <a:pt x="737" y="258"/>
                      <a:pt x="737" y="258"/>
                      <a:pt x="737" y="258"/>
                    </a:cubicBezTo>
                    <a:close/>
                    <a:moveTo>
                      <a:pt x="664" y="176"/>
                    </a:moveTo>
                    <a:cubicBezTo>
                      <a:pt x="665" y="173"/>
                      <a:pt x="665" y="173"/>
                      <a:pt x="665" y="173"/>
                    </a:cubicBezTo>
                    <a:cubicBezTo>
                      <a:pt x="662" y="169"/>
                      <a:pt x="662" y="169"/>
                      <a:pt x="662" y="169"/>
                    </a:cubicBezTo>
                    <a:cubicBezTo>
                      <a:pt x="665" y="169"/>
                      <a:pt x="665" y="169"/>
                      <a:pt x="665" y="169"/>
                    </a:cubicBezTo>
                    <a:cubicBezTo>
                      <a:pt x="667" y="168"/>
                      <a:pt x="667" y="168"/>
                      <a:pt x="667" y="168"/>
                    </a:cubicBezTo>
                    <a:cubicBezTo>
                      <a:pt x="667" y="174"/>
                      <a:pt x="667" y="174"/>
                      <a:pt x="667" y="174"/>
                    </a:cubicBezTo>
                    <a:cubicBezTo>
                      <a:pt x="665" y="178"/>
                      <a:pt x="665" y="178"/>
                      <a:pt x="665" y="178"/>
                    </a:cubicBezTo>
                    <a:cubicBezTo>
                      <a:pt x="664" y="176"/>
                      <a:pt x="664" y="176"/>
                      <a:pt x="664" y="176"/>
                    </a:cubicBezTo>
                    <a:close/>
                    <a:moveTo>
                      <a:pt x="601" y="0"/>
                    </a:moveTo>
                    <a:cubicBezTo>
                      <a:pt x="602" y="2"/>
                      <a:pt x="602" y="2"/>
                      <a:pt x="602" y="2"/>
                    </a:cubicBezTo>
                    <a:cubicBezTo>
                      <a:pt x="603" y="0"/>
                      <a:pt x="603" y="0"/>
                      <a:pt x="603" y="0"/>
                    </a:cubicBezTo>
                    <a:cubicBezTo>
                      <a:pt x="601" y="0"/>
                      <a:pt x="601" y="0"/>
                      <a:pt x="601" y="0"/>
                    </a:cubicBezTo>
                    <a:close/>
                    <a:moveTo>
                      <a:pt x="598" y="9"/>
                    </a:moveTo>
                    <a:cubicBezTo>
                      <a:pt x="598" y="14"/>
                      <a:pt x="598" y="14"/>
                      <a:pt x="598" y="14"/>
                    </a:cubicBezTo>
                    <a:cubicBezTo>
                      <a:pt x="600" y="13"/>
                      <a:pt x="600" y="13"/>
                      <a:pt x="600" y="13"/>
                    </a:cubicBezTo>
                    <a:cubicBezTo>
                      <a:pt x="602" y="12"/>
                      <a:pt x="602" y="12"/>
                      <a:pt x="602" y="12"/>
                    </a:cubicBezTo>
                    <a:cubicBezTo>
                      <a:pt x="600" y="9"/>
                      <a:pt x="600" y="9"/>
                      <a:pt x="600" y="9"/>
                    </a:cubicBezTo>
                    <a:cubicBezTo>
                      <a:pt x="598" y="9"/>
                      <a:pt x="598" y="9"/>
                      <a:pt x="598" y="9"/>
                    </a:cubicBezTo>
                    <a:close/>
                    <a:moveTo>
                      <a:pt x="536" y="143"/>
                    </a:moveTo>
                    <a:cubicBezTo>
                      <a:pt x="537" y="144"/>
                      <a:pt x="537" y="144"/>
                      <a:pt x="537" y="144"/>
                    </a:cubicBezTo>
                    <a:cubicBezTo>
                      <a:pt x="539" y="143"/>
                      <a:pt x="539" y="143"/>
                      <a:pt x="539" y="143"/>
                    </a:cubicBezTo>
                    <a:cubicBezTo>
                      <a:pt x="539" y="141"/>
                      <a:pt x="539" y="141"/>
                      <a:pt x="539" y="141"/>
                    </a:cubicBezTo>
                    <a:cubicBezTo>
                      <a:pt x="536" y="143"/>
                      <a:pt x="536" y="143"/>
                      <a:pt x="536" y="143"/>
                    </a:cubicBezTo>
                    <a:close/>
                    <a:moveTo>
                      <a:pt x="532" y="135"/>
                    </a:moveTo>
                    <a:cubicBezTo>
                      <a:pt x="533" y="136"/>
                      <a:pt x="533" y="136"/>
                      <a:pt x="533" y="136"/>
                    </a:cubicBezTo>
                    <a:cubicBezTo>
                      <a:pt x="535" y="135"/>
                      <a:pt x="535" y="135"/>
                      <a:pt x="535" y="135"/>
                    </a:cubicBezTo>
                    <a:cubicBezTo>
                      <a:pt x="538" y="133"/>
                      <a:pt x="538" y="133"/>
                      <a:pt x="538" y="133"/>
                    </a:cubicBezTo>
                    <a:cubicBezTo>
                      <a:pt x="542" y="132"/>
                      <a:pt x="542" y="132"/>
                      <a:pt x="542" y="132"/>
                    </a:cubicBezTo>
                    <a:cubicBezTo>
                      <a:pt x="542" y="131"/>
                      <a:pt x="542" y="131"/>
                      <a:pt x="542" y="131"/>
                    </a:cubicBezTo>
                    <a:cubicBezTo>
                      <a:pt x="537" y="130"/>
                      <a:pt x="537" y="130"/>
                      <a:pt x="537" y="130"/>
                    </a:cubicBezTo>
                    <a:cubicBezTo>
                      <a:pt x="532" y="132"/>
                      <a:pt x="532" y="132"/>
                      <a:pt x="532" y="132"/>
                    </a:cubicBezTo>
                    <a:cubicBezTo>
                      <a:pt x="532" y="132"/>
                      <a:pt x="531" y="135"/>
                      <a:pt x="532" y="135"/>
                    </a:cubicBezTo>
                    <a:close/>
                    <a:moveTo>
                      <a:pt x="492" y="117"/>
                    </a:moveTo>
                    <a:cubicBezTo>
                      <a:pt x="491" y="114"/>
                      <a:pt x="491" y="114"/>
                      <a:pt x="491" y="114"/>
                    </a:cubicBezTo>
                    <a:cubicBezTo>
                      <a:pt x="492" y="111"/>
                      <a:pt x="492" y="111"/>
                      <a:pt x="492" y="111"/>
                    </a:cubicBezTo>
                    <a:cubicBezTo>
                      <a:pt x="494" y="114"/>
                      <a:pt x="494" y="114"/>
                      <a:pt x="494" y="114"/>
                    </a:cubicBezTo>
                    <a:cubicBezTo>
                      <a:pt x="492" y="117"/>
                      <a:pt x="492" y="117"/>
                      <a:pt x="492" y="117"/>
                    </a:cubicBezTo>
                    <a:close/>
                    <a:moveTo>
                      <a:pt x="480" y="77"/>
                    </a:moveTo>
                    <a:cubicBezTo>
                      <a:pt x="479" y="75"/>
                      <a:pt x="479" y="75"/>
                      <a:pt x="479" y="75"/>
                    </a:cubicBezTo>
                    <a:cubicBezTo>
                      <a:pt x="478" y="76"/>
                      <a:pt x="478" y="76"/>
                      <a:pt x="478" y="76"/>
                    </a:cubicBezTo>
                    <a:cubicBezTo>
                      <a:pt x="478" y="74"/>
                      <a:pt x="478" y="74"/>
                      <a:pt x="478" y="74"/>
                    </a:cubicBezTo>
                    <a:cubicBezTo>
                      <a:pt x="480" y="72"/>
                      <a:pt x="480" y="72"/>
                      <a:pt x="480" y="72"/>
                    </a:cubicBezTo>
                    <a:cubicBezTo>
                      <a:pt x="482" y="75"/>
                      <a:pt x="482" y="75"/>
                      <a:pt x="482" y="75"/>
                    </a:cubicBezTo>
                    <a:cubicBezTo>
                      <a:pt x="480" y="77"/>
                      <a:pt x="480" y="77"/>
                      <a:pt x="480" y="77"/>
                    </a:cubicBezTo>
                    <a:close/>
                    <a:moveTo>
                      <a:pt x="485" y="81"/>
                    </a:moveTo>
                    <a:cubicBezTo>
                      <a:pt x="483" y="83"/>
                      <a:pt x="483" y="83"/>
                      <a:pt x="483" y="83"/>
                    </a:cubicBezTo>
                    <a:cubicBezTo>
                      <a:pt x="484" y="83"/>
                      <a:pt x="484" y="83"/>
                      <a:pt x="484" y="83"/>
                    </a:cubicBezTo>
                    <a:cubicBezTo>
                      <a:pt x="487" y="82"/>
                      <a:pt x="487" y="82"/>
                      <a:pt x="487" y="82"/>
                    </a:cubicBezTo>
                    <a:cubicBezTo>
                      <a:pt x="492" y="83"/>
                      <a:pt x="492" y="83"/>
                      <a:pt x="492" y="83"/>
                    </a:cubicBezTo>
                    <a:cubicBezTo>
                      <a:pt x="493" y="80"/>
                      <a:pt x="493" y="80"/>
                      <a:pt x="493" y="80"/>
                    </a:cubicBezTo>
                    <a:cubicBezTo>
                      <a:pt x="492" y="79"/>
                      <a:pt x="492" y="79"/>
                      <a:pt x="492" y="79"/>
                    </a:cubicBezTo>
                    <a:cubicBezTo>
                      <a:pt x="490" y="80"/>
                      <a:pt x="490" y="80"/>
                      <a:pt x="490" y="80"/>
                    </a:cubicBezTo>
                    <a:cubicBezTo>
                      <a:pt x="490" y="79"/>
                      <a:pt x="490" y="79"/>
                      <a:pt x="490" y="79"/>
                    </a:cubicBezTo>
                    <a:cubicBezTo>
                      <a:pt x="493" y="76"/>
                      <a:pt x="493" y="76"/>
                      <a:pt x="493" y="76"/>
                    </a:cubicBezTo>
                    <a:cubicBezTo>
                      <a:pt x="492" y="75"/>
                      <a:pt x="492" y="75"/>
                      <a:pt x="492" y="75"/>
                    </a:cubicBezTo>
                    <a:cubicBezTo>
                      <a:pt x="489" y="76"/>
                      <a:pt x="489" y="76"/>
                      <a:pt x="489" y="76"/>
                    </a:cubicBezTo>
                    <a:cubicBezTo>
                      <a:pt x="489" y="73"/>
                      <a:pt x="489" y="73"/>
                      <a:pt x="489" y="73"/>
                    </a:cubicBezTo>
                    <a:cubicBezTo>
                      <a:pt x="487" y="74"/>
                      <a:pt x="487" y="74"/>
                      <a:pt x="487" y="74"/>
                    </a:cubicBezTo>
                    <a:cubicBezTo>
                      <a:pt x="486" y="76"/>
                      <a:pt x="486" y="76"/>
                      <a:pt x="486" y="76"/>
                    </a:cubicBezTo>
                    <a:cubicBezTo>
                      <a:pt x="483" y="75"/>
                      <a:pt x="483" y="75"/>
                      <a:pt x="483" y="75"/>
                    </a:cubicBezTo>
                    <a:cubicBezTo>
                      <a:pt x="484" y="76"/>
                      <a:pt x="484" y="76"/>
                      <a:pt x="484" y="76"/>
                    </a:cubicBezTo>
                    <a:cubicBezTo>
                      <a:pt x="483" y="77"/>
                      <a:pt x="483" y="77"/>
                      <a:pt x="483" y="77"/>
                    </a:cubicBezTo>
                    <a:cubicBezTo>
                      <a:pt x="485" y="81"/>
                      <a:pt x="485" y="81"/>
                      <a:pt x="485" y="81"/>
                    </a:cubicBezTo>
                    <a:close/>
                    <a:moveTo>
                      <a:pt x="487" y="24"/>
                    </a:moveTo>
                    <a:cubicBezTo>
                      <a:pt x="490" y="26"/>
                      <a:pt x="490" y="26"/>
                      <a:pt x="490" y="26"/>
                    </a:cubicBezTo>
                    <a:cubicBezTo>
                      <a:pt x="491" y="23"/>
                      <a:pt x="491" y="23"/>
                      <a:pt x="491" y="23"/>
                    </a:cubicBezTo>
                    <a:cubicBezTo>
                      <a:pt x="494" y="20"/>
                      <a:pt x="494" y="20"/>
                      <a:pt x="494" y="20"/>
                    </a:cubicBezTo>
                    <a:cubicBezTo>
                      <a:pt x="492" y="18"/>
                      <a:pt x="492" y="18"/>
                      <a:pt x="492" y="18"/>
                    </a:cubicBezTo>
                    <a:cubicBezTo>
                      <a:pt x="488" y="22"/>
                      <a:pt x="488" y="22"/>
                      <a:pt x="488" y="22"/>
                    </a:cubicBezTo>
                    <a:cubicBezTo>
                      <a:pt x="487" y="24"/>
                      <a:pt x="487" y="24"/>
                      <a:pt x="487" y="24"/>
                    </a:cubicBezTo>
                    <a:close/>
                    <a:moveTo>
                      <a:pt x="483" y="28"/>
                    </a:moveTo>
                    <a:cubicBezTo>
                      <a:pt x="485" y="29"/>
                      <a:pt x="485" y="29"/>
                      <a:pt x="485" y="29"/>
                    </a:cubicBezTo>
                    <a:cubicBezTo>
                      <a:pt x="485" y="27"/>
                      <a:pt x="485" y="27"/>
                      <a:pt x="485" y="27"/>
                    </a:cubicBezTo>
                    <a:cubicBezTo>
                      <a:pt x="483" y="28"/>
                      <a:pt x="483" y="28"/>
                      <a:pt x="483" y="28"/>
                    </a:cubicBezTo>
                    <a:close/>
                    <a:moveTo>
                      <a:pt x="480" y="29"/>
                    </a:moveTo>
                    <a:cubicBezTo>
                      <a:pt x="481" y="30"/>
                      <a:pt x="481" y="30"/>
                      <a:pt x="481" y="30"/>
                    </a:cubicBezTo>
                    <a:cubicBezTo>
                      <a:pt x="483" y="29"/>
                      <a:pt x="483" y="29"/>
                      <a:pt x="483" y="29"/>
                    </a:cubicBezTo>
                    <a:cubicBezTo>
                      <a:pt x="480" y="29"/>
                      <a:pt x="480" y="29"/>
                      <a:pt x="480" y="29"/>
                    </a:cubicBezTo>
                    <a:close/>
                    <a:moveTo>
                      <a:pt x="473" y="32"/>
                    </a:moveTo>
                    <a:cubicBezTo>
                      <a:pt x="476" y="33"/>
                      <a:pt x="476" y="33"/>
                      <a:pt x="476" y="33"/>
                    </a:cubicBezTo>
                    <a:cubicBezTo>
                      <a:pt x="476" y="31"/>
                      <a:pt x="476" y="31"/>
                      <a:pt x="476" y="31"/>
                    </a:cubicBezTo>
                    <a:cubicBezTo>
                      <a:pt x="473" y="32"/>
                      <a:pt x="473" y="32"/>
                      <a:pt x="473" y="32"/>
                    </a:cubicBezTo>
                    <a:close/>
                    <a:moveTo>
                      <a:pt x="468" y="38"/>
                    </a:moveTo>
                    <a:cubicBezTo>
                      <a:pt x="468" y="36"/>
                      <a:pt x="468" y="36"/>
                      <a:pt x="468" y="36"/>
                    </a:cubicBezTo>
                    <a:cubicBezTo>
                      <a:pt x="472" y="34"/>
                      <a:pt x="472" y="34"/>
                      <a:pt x="472" y="34"/>
                    </a:cubicBezTo>
                    <a:cubicBezTo>
                      <a:pt x="475" y="34"/>
                      <a:pt x="475" y="34"/>
                      <a:pt x="475" y="34"/>
                    </a:cubicBezTo>
                    <a:cubicBezTo>
                      <a:pt x="474" y="36"/>
                      <a:pt x="474" y="36"/>
                      <a:pt x="474" y="36"/>
                    </a:cubicBezTo>
                    <a:cubicBezTo>
                      <a:pt x="471" y="36"/>
                      <a:pt x="471" y="36"/>
                      <a:pt x="471" y="36"/>
                    </a:cubicBezTo>
                    <a:cubicBezTo>
                      <a:pt x="468" y="38"/>
                      <a:pt x="468" y="38"/>
                      <a:pt x="468" y="38"/>
                    </a:cubicBezTo>
                    <a:close/>
                    <a:moveTo>
                      <a:pt x="462" y="39"/>
                    </a:moveTo>
                    <a:cubicBezTo>
                      <a:pt x="464" y="40"/>
                      <a:pt x="464" y="40"/>
                      <a:pt x="464" y="40"/>
                    </a:cubicBezTo>
                    <a:cubicBezTo>
                      <a:pt x="467" y="39"/>
                      <a:pt x="467" y="39"/>
                      <a:pt x="467" y="39"/>
                    </a:cubicBezTo>
                    <a:cubicBezTo>
                      <a:pt x="467" y="38"/>
                      <a:pt x="467" y="38"/>
                      <a:pt x="467" y="38"/>
                    </a:cubicBezTo>
                    <a:cubicBezTo>
                      <a:pt x="462" y="39"/>
                      <a:pt x="462" y="39"/>
                      <a:pt x="462" y="39"/>
                    </a:cubicBezTo>
                    <a:close/>
                    <a:moveTo>
                      <a:pt x="413" y="24"/>
                    </a:moveTo>
                    <a:cubicBezTo>
                      <a:pt x="411" y="21"/>
                      <a:pt x="411" y="21"/>
                      <a:pt x="411" y="21"/>
                    </a:cubicBezTo>
                    <a:cubicBezTo>
                      <a:pt x="412" y="18"/>
                      <a:pt x="412" y="18"/>
                      <a:pt x="412" y="18"/>
                    </a:cubicBezTo>
                    <a:cubicBezTo>
                      <a:pt x="415" y="17"/>
                      <a:pt x="415" y="17"/>
                      <a:pt x="415" y="17"/>
                    </a:cubicBezTo>
                    <a:cubicBezTo>
                      <a:pt x="414" y="21"/>
                      <a:pt x="414" y="21"/>
                      <a:pt x="414" y="21"/>
                    </a:cubicBezTo>
                    <a:cubicBezTo>
                      <a:pt x="413" y="24"/>
                      <a:pt x="413" y="24"/>
                      <a:pt x="413" y="24"/>
                    </a:cubicBezTo>
                    <a:close/>
                    <a:moveTo>
                      <a:pt x="371" y="22"/>
                    </a:moveTo>
                    <a:cubicBezTo>
                      <a:pt x="371" y="27"/>
                      <a:pt x="371" y="27"/>
                      <a:pt x="371" y="27"/>
                    </a:cubicBezTo>
                    <a:cubicBezTo>
                      <a:pt x="374" y="30"/>
                      <a:pt x="374" y="30"/>
                      <a:pt x="374" y="30"/>
                    </a:cubicBezTo>
                    <a:cubicBezTo>
                      <a:pt x="377" y="34"/>
                      <a:pt x="377" y="34"/>
                      <a:pt x="377" y="34"/>
                    </a:cubicBezTo>
                    <a:cubicBezTo>
                      <a:pt x="383" y="36"/>
                      <a:pt x="383" y="36"/>
                      <a:pt x="383" y="36"/>
                    </a:cubicBezTo>
                    <a:cubicBezTo>
                      <a:pt x="389" y="29"/>
                      <a:pt x="389" y="29"/>
                      <a:pt x="389" y="29"/>
                    </a:cubicBezTo>
                    <a:cubicBezTo>
                      <a:pt x="391" y="29"/>
                      <a:pt x="391" y="29"/>
                      <a:pt x="391" y="29"/>
                    </a:cubicBezTo>
                    <a:cubicBezTo>
                      <a:pt x="391" y="27"/>
                      <a:pt x="391" y="27"/>
                      <a:pt x="391" y="27"/>
                    </a:cubicBezTo>
                    <a:cubicBezTo>
                      <a:pt x="393" y="26"/>
                      <a:pt x="393" y="26"/>
                      <a:pt x="393" y="26"/>
                    </a:cubicBezTo>
                    <a:cubicBezTo>
                      <a:pt x="391" y="25"/>
                      <a:pt x="391" y="25"/>
                      <a:pt x="391" y="25"/>
                    </a:cubicBezTo>
                    <a:cubicBezTo>
                      <a:pt x="390" y="22"/>
                      <a:pt x="390" y="22"/>
                      <a:pt x="390" y="22"/>
                    </a:cubicBezTo>
                    <a:cubicBezTo>
                      <a:pt x="388" y="22"/>
                      <a:pt x="388" y="22"/>
                      <a:pt x="388" y="22"/>
                    </a:cubicBezTo>
                    <a:cubicBezTo>
                      <a:pt x="386" y="23"/>
                      <a:pt x="386" y="23"/>
                      <a:pt x="386" y="23"/>
                    </a:cubicBezTo>
                    <a:cubicBezTo>
                      <a:pt x="381" y="24"/>
                      <a:pt x="381" y="24"/>
                      <a:pt x="381" y="24"/>
                    </a:cubicBezTo>
                    <a:cubicBezTo>
                      <a:pt x="379" y="26"/>
                      <a:pt x="379" y="26"/>
                      <a:pt x="379" y="26"/>
                    </a:cubicBezTo>
                    <a:cubicBezTo>
                      <a:pt x="376" y="25"/>
                      <a:pt x="376" y="25"/>
                      <a:pt x="376" y="25"/>
                    </a:cubicBezTo>
                    <a:cubicBezTo>
                      <a:pt x="376" y="24"/>
                      <a:pt x="376" y="24"/>
                      <a:pt x="376" y="24"/>
                    </a:cubicBezTo>
                    <a:cubicBezTo>
                      <a:pt x="374" y="23"/>
                      <a:pt x="374" y="23"/>
                      <a:pt x="374" y="23"/>
                    </a:cubicBezTo>
                    <a:cubicBezTo>
                      <a:pt x="371" y="21"/>
                      <a:pt x="371" y="21"/>
                      <a:pt x="371" y="21"/>
                    </a:cubicBezTo>
                    <a:cubicBezTo>
                      <a:pt x="370" y="21"/>
                      <a:pt x="370" y="21"/>
                      <a:pt x="370" y="21"/>
                    </a:cubicBezTo>
                    <a:cubicBezTo>
                      <a:pt x="371" y="22"/>
                      <a:pt x="371" y="22"/>
                      <a:pt x="371" y="22"/>
                    </a:cubicBezTo>
                    <a:close/>
                    <a:moveTo>
                      <a:pt x="370" y="23"/>
                    </a:moveTo>
                    <a:cubicBezTo>
                      <a:pt x="371" y="30"/>
                      <a:pt x="371" y="30"/>
                      <a:pt x="371" y="30"/>
                    </a:cubicBezTo>
                    <a:cubicBezTo>
                      <a:pt x="374" y="31"/>
                      <a:pt x="374" y="31"/>
                      <a:pt x="374" y="31"/>
                    </a:cubicBezTo>
                    <a:cubicBezTo>
                      <a:pt x="375" y="32"/>
                      <a:pt x="375" y="32"/>
                      <a:pt x="375" y="32"/>
                    </a:cubicBezTo>
                    <a:cubicBezTo>
                      <a:pt x="370" y="31"/>
                      <a:pt x="370" y="31"/>
                      <a:pt x="370" y="31"/>
                    </a:cubicBezTo>
                    <a:cubicBezTo>
                      <a:pt x="369" y="31"/>
                      <a:pt x="369" y="31"/>
                      <a:pt x="369" y="31"/>
                    </a:cubicBezTo>
                    <a:cubicBezTo>
                      <a:pt x="365" y="30"/>
                      <a:pt x="365" y="30"/>
                      <a:pt x="365" y="30"/>
                    </a:cubicBezTo>
                    <a:cubicBezTo>
                      <a:pt x="365" y="28"/>
                      <a:pt x="365" y="28"/>
                      <a:pt x="365" y="28"/>
                    </a:cubicBezTo>
                    <a:cubicBezTo>
                      <a:pt x="366" y="28"/>
                      <a:pt x="366" y="28"/>
                      <a:pt x="366" y="28"/>
                    </a:cubicBezTo>
                    <a:cubicBezTo>
                      <a:pt x="368" y="28"/>
                      <a:pt x="368" y="28"/>
                      <a:pt x="368" y="28"/>
                    </a:cubicBezTo>
                    <a:cubicBezTo>
                      <a:pt x="368" y="27"/>
                      <a:pt x="368" y="27"/>
                      <a:pt x="368" y="27"/>
                    </a:cubicBezTo>
                    <a:cubicBezTo>
                      <a:pt x="367" y="27"/>
                      <a:pt x="367" y="27"/>
                      <a:pt x="367" y="27"/>
                    </a:cubicBezTo>
                    <a:cubicBezTo>
                      <a:pt x="367" y="25"/>
                      <a:pt x="367" y="25"/>
                      <a:pt x="367" y="25"/>
                    </a:cubicBezTo>
                    <a:cubicBezTo>
                      <a:pt x="367" y="24"/>
                      <a:pt x="367" y="24"/>
                      <a:pt x="367" y="24"/>
                    </a:cubicBezTo>
                    <a:cubicBezTo>
                      <a:pt x="370" y="23"/>
                      <a:pt x="370" y="23"/>
                      <a:pt x="370" y="23"/>
                    </a:cubicBezTo>
                    <a:close/>
                    <a:moveTo>
                      <a:pt x="247" y="103"/>
                    </a:moveTo>
                    <a:cubicBezTo>
                      <a:pt x="248" y="105"/>
                      <a:pt x="248" y="105"/>
                      <a:pt x="248" y="105"/>
                    </a:cubicBezTo>
                    <a:cubicBezTo>
                      <a:pt x="251" y="104"/>
                      <a:pt x="251" y="104"/>
                      <a:pt x="251" y="104"/>
                    </a:cubicBezTo>
                    <a:cubicBezTo>
                      <a:pt x="248" y="101"/>
                      <a:pt x="248" y="101"/>
                      <a:pt x="248" y="101"/>
                    </a:cubicBezTo>
                    <a:cubicBezTo>
                      <a:pt x="248" y="101"/>
                      <a:pt x="246" y="103"/>
                      <a:pt x="247" y="103"/>
                    </a:cubicBezTo>
                    <a:close/>
                    <a:moveTo>
                      <a:pt x="248" y="116"/>
                    </a:moveTo>
                    <a:cubicBezTo>
                      <a:pt x="247" y="112"/>
                      <a:pt x="247" y="112"/>
                      <a:pt x="247" y="112"/>
                    </a:cubicBezTo>
                    <a:cubicBezTo>
                      <a:pt x="245" y="109"/>
                      <a:pt x="245" y="109"/>
                      <a:pt x="245" y="109"/>
                    </a:cubicBezTo>
                    <a:cubicBezTo>
                      <a:pt x="246" y="115"/>
                      <a:pt x="246" y="115"/>
                      <a:pt x="246" y="115"/>
                    </a:cubicBezTo>
                    <a:cubicBezTo>
                      <a:pt x="248" y="116"/>
                      <a:pt x="248" y="116"/>
                      <a:pt x="248" y="116"/>
                    </a:cubicBezTo>
                    <a:close/>
                    <a:moveTo>
                      <a:pt x="264" y="89"/>
                    </a:moveTo>
                    <a:cubicBezTo>
                      <a:pt x="261" y="88"/>
                      <a:pt x="261" y="88"/>
                      <a:pt x="261" y="88"/>
                    </a:cubicBezTo>
                    <a:cubicBezTo>
                      <a:pt x="263" y="86"/>
                      <a:pt x="263" y="86"/>
                      <a:pt x="263" y="86"/>
                    </a:cubicBezTo>
                    <a:cubicBezTo>
                      <a:pt x="264" y="87"/>
                      <a:pt x="264" y="87"/>
                      <a:pt x="264" y="87"/>
                    </a:cubicBezTo>
                    <a:cubicBezTo>
                      <a:pt x="264" y="89"/>
                      <a:pt x="264" y="89"/>
                      <a:pt x="264" y="89"/>
                    </a:cubicBezTo>
                    <a:close/>
                    <a:moveTo>
                      <a:pt x="60" y="216"/>
                    </a:moveTo>
                    <a:cubicBezTo>
                      <a:pt x="59" y="214"/>
                      <a:pt x="59" y="214"/>
                      <a:pt x="59" y="214"/>
                    </a:cubicBezTo>
                    <a:cubicBezTo>
                      <a:pt x="62" y="209"/>
                      <a:pt x="62" y="209"/>
                      <a:pt x="62" y="209"/>
                    </a:cubicBezTo>
                    <a:cubicBezTo>
                      <a:pt x="62" y="213"/>
                      <a:pt x="62" y="213"/>
                      <a:pt x="62" y="213"/>
                    </a:cubicBezTo>
                    <a:cubicBezTo>
                      <a:pt x="60" y="216"/>
                      <a:pt x="60" y="216"/>
                      <a:pt x="60" y="216"/>
                    </a:cubicBezTo>
                    <a:close/>
                    <a:moveTo>
                      <a:pt x="3" y="312"/>
                    </a:moveTo>
                    <a:cubicBezTo>
                      <a:pt x="4" y="304"/>
                      <a:pt x="4" y="304"/>
                      <a:pt x="4" y="304"/>
                    </a:cubicBezTo>
                    <a:cubicBezTo>
                      <a:pt x="5" y="309"/>
                      <a:pt x="5" y="309"/>
                      <a:pt x="5" y="309"/>
                    </a:cubicBezTo>
                    <a:cubicBezTo>
                      <a:pt x="3" y="312"/>
                      <a:pt x="3" y="312"/>
                      <a:pt x="3" y="312"/>
                    </a:cubicBezTo>
                    <a:close/>
                    <a:moveTo>
                      <a:pt x="2" y="326"/>
                    </a:moveTo>
                    <a:cubicBezTo>
                      <a:pt x="0" y="319"/>
                      <a:pt x="0" y="319"/>
                      <a:pt x="0" y="319"/>
                    </a:cubicBezTo>
                    <a:cubicBezTo>
                      <a:pt x="2" y="315"/>
                      <a:pt x="2" y="315"/>
                      <a:pt x="2" y="315"/>
                    </a:cubicBezTo>
                    <a:cubicBezTo>
                      <a:pt x="4" y="321"/>
                      <a:pt x="4" y="321"/>
                      <a:pt x="4" y="321"/>
                    </a:cubicBezTo>
                    <a:cubicBezTo>
                      <a:pt x="2" y="326"/>
                      <a:pt x="2" y="326"/>
                      <a:pt x="2" y="326"/>
                    </a:cubicBezTo>
                    <a:close/>
                    <a:moveTo>
                      <a:pt x="428" y="567"/>
                    </a:moveTo>
                    <a:cubicBezTo>
                      <a:pt x="428" y="570"/>
                      <a:pt x="428" y="570"/>
                      <a:pt x="428" y="570"/>
                    </a:cubicBezTo>
                    <a:cubicBezTo>
                      <a:pt x="429" y="572"/>
                      <a:pt x="429" y="572"/>
                      <a:pt x="429" y="572"/>
                    </a:cubicBezTo>
                    <a:cubicBezTo>
                      <a:pt x="431" y="572"/>
                      <a:pt x="431" y="572"/>
                      <a:pt x="431" y="572"/>
                    </a:cubicBezTo>
                    <a:cubicBezTo>
                      <a:pt x="430" y="573"/>
                      <a:pt x="430" y="573"/>
                      <a:pt x="430" y="573"/>
                    </a:cubicBezTo>
                    <a:cubicBezTo>
                      <a:pt x="433" y="573"/>
                      <a:pt x="433" y="573"/>
                      <a:pt x="433" y="573"/>
                    </a:cubicBezTo>
                    <a:cubicBezTo>
                      <a:pt x="435" y="572"/>
                      <a:pt x="435" y="572"/>
                      <a:pt x="435" y="572"/>
                    </a:cubicBezTo>
                    <a:cubicBezTo>
                      <a:pt x="438" y="574"/>
                      <a:pt x="438" y="574"/>
                      <a:pt x="438" y="574"/>
                    </a:cubicBezTo>
                    <a:cubicBezTo>
                      <a:pt x="435" y="576"/>
                      <a:pt x="435" y="576"/>
                      <a:pt x="435" y="576"/>
                    </a:cubicBezTo>
                    <a:cubicBezTo>
                      <a:pt x="428" y="575"/>
                      <a:pt x="428" y="575"/>
                      <a:pt x="428" y="575"/>
                    </a:cubicBezTo>
                    <a:cubicBezTo>
                      <a:pt x="427" y="577"/>
                      <a:pt x="427" y="577"/>
                      <a:pt x="427" y="577"/>
                    </a:cubicBezTo>
                    <a:cubicBezTo>
                      <a:pt x="425" y="577"/>
                      <a:pt x="425" y="577"/>
                      <a:pt x="425" y="577"/>
                    </a:cubicBezTo>
                    <a:cubicBezTo>
                      <a:pt x="425" y="578"/>
                      <a:pt x="425" y="578"/>
                      <a:pt x="425" y="578"/>
                    </a:cubicBezTo>
                    <a:cubicBezTo>
                      <a:pt x="423" y="578"/>
                      <a:pt x="423" y="578"/>
                      <a:pt x="423" y="578"/>
                    </a:cubicBezTo>
                    <a:cubicBezTo>
                      <a:pt x="421" y="576"/>
                      <a:pt x="421" y="576"/>
                      <a:pt x="421" y="576"/>
                    </a:cubicBezTo>
                    <a:cubicBezTo>
                      <a:pt x="419" y="577"/>
                      <a:pt x="419" y="577"/>
                      <a:pt x="419" y="577"/>
                    </a:cubicBezTo>
                    <a:cubicBezTo>
                      <a:pt x="416" y="576"/>
                      <a:pt x="416" y="576"/>
                      <a:pt x="416" y="576"/>
                    </a:cubicBezTo>
                    <a:cubicBezTo>
                      <a:pt x="414" y="577"/>
                      <a:pt x="414" y="577"/>
                      <a:pt x="414" y="577"/>
                    </a:cubicBezTo>
                    <a:cubicBezTo>
                      <a:pt x="410" y="577"/>
                      <a:pt x="410" y="577"/>
                      <a:pt x="410" y="577"/>
                    </a:cubicBezTo>
                    <a:cubicBezTo>
                      <a:pt x="407" y="575"/>
                      <a:pt x="407" y="575"/>
                      <a:pt x="407" y="575"/>
                    </a:cubicBezTo>
                    <a:cubicBezTo>
                      <a:pt x="407" y="573"/>
                      <a:pt x="407" y="573"/>
                      <a:pt x="407" y="573"/>
                    </a:cubicBezTo>
                    <a:cubicBezTo>
                      <a:pt x="412" y="570"/>
                      <a:pt x="412" y="570"/>
                      <a:pt x="412" y="570"/>
                    </a:cubicBezTo>
                    <a:cubicBezTo>
                      <a:pt x="422" y="568"/>
                      <a:pt x="422" y="568"/>
                      <a:pt x="422" y="568"/>
                    </a:cubicBezTo>
                    <a:cubicBezTo>
                      <a:pt x="425" y="568"/>
                      <a:pt x="425" y="568"/>
                      <a:pt x="425" y="568"/>
                    </a:cubicBezTo>
                    <a:cubicBezTo>
                      <a:pt x="428" y="567"/>
                      <a:pt x="428" y="567"/>
                      <a:pt x="428" y="567"/>
                    </a:cubicBezTo>
                    <a:close/>
                    <a:moveTo>
                      <a:pt x="554" y="655"/>
                    </a:moveTo>
                    <a:cubicBezTo>
                      <a:pt x="556" y="654"/>
                      <a:pt x="556" y="654"/>
                      <a:pt x="556" y="654"/>
                    </a:cubicBezTo>
                    <a:cubicBezTo>
                      <a:pt x="557" y="656"/>
                      <a:pt x="557" y="656"/>
                      <a:pt x="557" y="656"/>
                    </a:cubicBezTo>
                    <a:cubicBezTo>
                      <a:pt x="556" y="657"/>
                      <a:pt x="556" y="657"/>
                      <a:pt x="556" y="657"/>
                    </a:cubicBezTo>
                    <a:cubicBezTo>
                      <a:pt x="554" y="655"/>
                      <a:pt x="554" y="655"/>
                      <a:pt x="554" y="655"/>
                    </a:cubicBezTo>
                    <a:close/>
                    <a:moveTo>
                      <a:pt x="573" y="668"/>
                    </a:moveTo>
                    <a:cubicBezTo>
                      <a:pt x="575" y="669"/>
                      <a:pt x="575" y="669"/>
                      <a:pt x="575" y="669"/>
                    </a:cubicBezTo>
                    <a:cubicBezTo>
                      <a:pt x="577" y="667"/>
                      <a:pt x="577" y="667"/>
                      <a:pt x="577" y="667"/>
                    </a:cubicBezTo>
                    <a:cubicBezTo>
                      <a:pt x="573" y="668"/>
                      <a:pt x="573" y="668"/>
                      <a:pt x="573" y="668"/>
                    </a:cubicBezTo>
                    <a:close/>
                    <a:moveTo>
                      <a:pt x="527" y="717"/>
                    </a:moveTo>
                    <a:cubicBezTo>
                      <a:pt x="528" y="720"/>
                      <a:pt x="528" y="720"/>
                      <a:pt x="528" y="720"/>
                    </a:cubicBezTo>
                    <a:cubicBezTo>
                      <a:pt x="531" y="720"/>
                      <a:pt x="531" y="720"/>
                      <a:pt x="531" y="720"/>
                    </a:cubicBezTo>
                    <a:cubicBezTo>
                      <a:pt x="532" y="719"/>
                      <a:pt x="532" y="719"/>
                      <a:pt x="532" y="719"/>
                    </a:cubicBezTo>
                    <a:cubicBezTo>
                      <a:pt x="530" y="716"/>
                      <a:pt x="530" y="716"/>
                      <a:pt x="530" y="716"/>
                    </a:cubicBezTo>
                    <a:cubicBezTo>
                      <a:pt x="527" y="717"/>
                      <a:pt x="527" y="717"/>
                      <a:pt x="527" y="717"/>
                    </a:cubicBezTo>
                    <a:close/>
                    <a:moveTo>
                      <a:pt x="529" y="710"/>
                    </a:moveTo>
                    <a:cubicBezTo>
                      <a:pt x="529" y="713"/>
                      <a:pt x="529" y="713"/>
                      <a:pt x="529" y="713"/>
                    </a:cubicBezTo>
                    <a:cubicBezTo>
                      <a:pt x="531" y="712"/>
                      <a:pt x="531" y="712"/>
                      <a:pt x="531" y="712"/>
                    </a:cubicBezTo>
                    <a:cubicBezTo>
                      <a:pt x="531" y="709"/>
                      <a:pt x="531" y="709"/>
                      <a:pt x="531" y="709"/>
                    </a:cubicBezTo>
                    <a:cubicBezTo>
                      <a:pt x="529" y="710"/>
                      <a:pt x="529" y="710"/>
                      <a:pt x="529" y="710"/>
                    </a:cubicBezTo>
                    <a:close/>
                    <a:moveTo>
                      <a:pt x="526" y="714"/>
                    </a:moveTo>
                    <a:cubicBezTo>
                      <a:pt x="524" y="713"/>
                      <a:pt x="524" y="713"/>
                      <a:pt x="524" y="713"/>
                    </a:cubicBezTo>
                    <a:cubicBezTo>
                      <a:pt x="525" y="710"/>
                      <a:pt x="525" y="710"/>
                      <a:pt x="525" y="710"/>
                    </a:cubicBezTo>
                    <a:cubicBezTo>
                      <a:pt x="527" y="709"/>
                      <a:pt x="527" y="709"/>
                      <a:pt x="527" y="709"/>
                    </a:cubicBezTo>
                    <a:cubicBezTo>
                      <a:pt x="527" y="712"/>
                      <a:pt x="527" y="712"/>
                      <a:pt x="527" y="712"/>
                    </a:cubicBezTo>
                    <a:cubicBezTo>
                      <a:pt x="526" y="714"/>
                      <a:pt x="526" y="714"/>
                      <a:pt x="526" y="714"/>
                    </a:cubicBezTo>
                    <a:close/>
                    <a:moveTo>
                      <a:pt x="514" y="701"/>
                    </a:moveTo>
                    <a:cubicBezTo>
                      <a:pt x="514" y="698"/>
                      <a:pt x="514" y="698"/>
                      <a:pt x="514" y="698"/>
                    </a:cubicBezTo>
                    <a:cubicBezTo>
                      <a:pt x="513" y="695"/>
                      <a:pt x="513" y="695"/>
                      <a:pt x="513" y="695"/>
                    </a:cubicBezTo>
                    <a:cubicBezTo>
                      <a:pt x="516" y="692"/>
                      <a:pt x="516" y="692"/>
                      <a:pt x="516" y="692"/>
                    </a:cubicBezTo>
                    <a:cubicBezTo>
                      <a:pt x="515" y="689"/>
                      <a:pt x="515" y="689"/>
                      <a:pt x="515" y="689"/>
                    </a:cubicBezTo>
                    <a:cubicBezTo>
                      <a:pt x="518" y="686"/>
                      <a:pt x="518" y="686"/>
                      <a:pt x="518" y="686"/>
                    </a:cubicBezTo>
                    <a:cubicBezTo>
                      <a:pt x="520" y="684"/>
                      <a:pt x="520" y="684"/>
                      <a:pt x="520" y="684"/>
                    </a:cubicBezTo>
                    <a:cubicBezTo>
                      <a:pt x="522" y="686"/>
                      <a:pt x="522" y="686"/>
                      <a:pt x="522" y="686"/>
                    </a:cubicBezTo>
                    <a:cubicBezTo>
                      <a:pt x="521" y="691"/>
                      <a:pt x="521" y="691"/>
                      <a:pt x="521" y="691"/>
                    </a:cubicBezTo>
                    <a:cubicBezTo>
                      <a:pt x="523" y="694"/>
                      <a:pt x="523" y="694"/>
                      <a:pt x="523" y="694"/>
                    </a:cubicBezTo>
                    <a:cubicBezTo>
                      <a:pt x="520" y="698"/>
                      <a:pt x="520" y="698"/>
                      <a:pt x="520" y="698"/>
                    </a:cubicBezTo>
                    <a:cubicBezTo>
                      <a:pt x="519" y="700"/>
                      <a:pt x="519" y="700"/>
                      <a:pt x="519" y="700"/>
                    </a:cubicBezTo>
                    <a:cubicBezTo>
                      <a:pt x="516" y="702"/>
                      <a:pt x="516" y="702"/>
                      <a:pt x="516" y="702"/>
                    </a:cubicBezTo>
                    <a:cubicBezTo>
                      <a:pt x="514" y="701"/>
                      <a:pt x="514" y="701"/>
                      <a:pt x="514" y="701"/>
                    </a:cubicBezTo>
                    <a:close/>
                    <a:moveTo>
                      <a:pt x="590" y="710"/>
                    </a:moveTo>
                    <a:cubicBezTo>
                      <a:pt x="597" y="707"/>
                      <a:pt x="597" y="707"/>
                      <a:pt x="597" y="707"/>
                    </a:cubicBezTo>
                    <a:cubicBezTo>
                      <a:pt x="597" y="704"/>
                      <a:pt x="597" y="704"/>
                      <a:pt x="597" y="704"/>
                    </a:cubicBezTo>
                    <a:cubicBezTo>
                      <a:pt x="591" y="698"/>
                      <a:pt x="591" y="698"/>
                      <a:pt x="591" y="698"/>
                    </a:cubicBezTo>
                    <a:cubicBezTo>
                      <a:pt x="588" y="699"/>
                      <a:pt x="588" y="699"/>
                      <a:pt x="588" y="699"/>
                    </a:cubicBezTo>
                    <a:cubicBezTo>
                      <a:pt x="589" y="702"/>
                      <a:pt x="589" y="702"/>
                      <a:pt x="589" y="702"/>
                    </a:cubicBezTo>
                    <a:cubicBezTo>
                      <a:pt x="588" y="705"/>
                      <a:pt x="588" y="705"/>
                      <a:pt x="588" y="705"/>
                    </a:cubicBezTo>
                    <a:cubicBezTo>
                      <a:pt x="589" y="707"/>
                      <a:pt x="589" y="707"/>
                      <a:pt x="589" y="707"/>
                    </a:cubicBezTo>
                    <a:cubicBezTo>
                      <a:pt x="590" y="710"/>
                      <a:pt x="590" y="710"/>
                      <a:pt x="590" y="710"/>
                    </a:cubicBezTo>
                    <a:close/>
                    <a:moveTo>
                      <a:pt x="587" y="714"/>
                    </a:moveTo>
                    <a:cubicBezTo>
                      <a:pt x="588" y="717"/>
                      <a:pt x="588" y="717"/>
                      <a:pt x="588" y="717"/>
                    </a:cubicBezTo>
                    <a:cubicBezTo>
                      <a:pt x="593" y="717"/>
                      <a:pt x="593" y="717"/>
                      <a:pt x="593" y="717"/>
                    </a:cubicBezTo>
                    <a:cubicBezTo>
                      <a:pt x="596" y="718"/>
                      <a:pt x="596" y="718"/>
                      <a:pt x="596" y="718"/>
                    </a:cubicBezTo>
                    <a:cubicBezTo>
                      <a:pt x="597" y="716"/>
                      <a:pt x="597" y="716"/>
                      <a:pt x="597" y="716"/>
                    </a:cubicBezTo>
                    <a:cubicBezTo>
                      <a:pt x="593" y="712"/>
                      <a:pt x="593" y="712"/>
                      <a:pt x="593" y="712"/>
                    </a:cubicBezTo>
                    <a:cubicBezTo>
                      <a:pt x="589" y="713"/>
                      <a:pt x="589" y="713"/>
                      <a:pt x="589" y="713"/>
                    </a:cubicBezTo>
                    <a:cubicBezTo>
                      <a:pt x="587" y="714"/>
                      <a:pt x="587" y="714"/>
                      <a:pt x="587" y="714"/>
                    </a:cubicBezTo>
                    <a:close/>
                    <a:moveTo>
                      <a:pt x="590" y="723"/>
                    </a:moveTo>
                    <a:cubicBezTo>
                      <a:pt x="588" y="721"/>
                      <a:pt x="588" y="721"/>
                      <a:pt x="588" y="721"/>
                    </a:cubicBezTo>
                    <a:cubicBezTo>
                      <a:pt x="591" y="720"/>
                      <a:pt x="591" y="720"/>
                      <a:pt x="591" y="720"/>
                    </a:cubicBezTo>
                    <a:cubicBezTo>
                      <a:pt x="590" y="723"/>
                      <a:pt x="590" y="723"/>
                      <a:pt x="590" y="723"/>
                    </a:cubicBezTo>
                    <a:close/>
                    <a:moveTo>
                      <a:pt x="569" y="783"/>
                    </a:moveTo>
                    <a:cubicBezTo>
                      <a:pt x="569" y="780"/>
                      <a:pt x="569" y="780"/>
                      <a:pt x="569" y="780"/>
                    </a:cubicBezTo>
                    <a:cubicBezTo>
                      <a:pt x="572" y="782"/>
                      <a:pt x="572" y="782"/>
                      <a:pt x="572" y="782"/>
                    </a:cubicBezTo>
                    <a:cubicBezTo>
                      <a:pt x="569" y="783"/>
                      <a:pt x="569" y="783"/>
                      <a:pt x="569" y="783"/>
                    </a:cubicBezTo>
                    <a:close/>
                    <a:moveTo>
                      <a:pt x="547" y="805"/>
                    </a:moveTo>
                    <a:cubicBezTo>
                      <a:pt x="545" y="803"/>
                      <a:pt x="545" y="803"/>
                      <a:pt x="545" y="803"/>
                    </a:cubicBezTo>
                    <a:cubicBezTo>
                      <a:pt x="548" y="799"/>
                      <a:pt x="548" y="799"/>
                      <a:pt x="548" y="799"/>
                    </a:cubicBezTo>
                    <a:cubicBezTo>
                      <a:pt x="548" y="796"/>
                      <a:pt x="548" y="796"/>
                      <a:pt x="548" y="796"/>
                    </a:cubicBezTo>
                    <a:cubicBezTo>
                      <a:pt x="549" y="795"/>
                      <a:pt x="549" y="795"/>
                      <a:pt x="549" y="795"/>
                    </a:cubicBezTo>
                    <a:cubicBezTo>
                      <a:pt x="550" y="797"/>
                      <a:pt x="550" y="797"/>
                      <a:pt x="550" y="797"/>
                    </a:cubicBezTo>
                    <a:cubicBezTo>
                      <a:pt x="549" y="799"/>
                      <a:pt x="549" y="799"/>
                      <a:pt x="549" y="799"/>
                    </a:cubicBezTo>
                    <a:cubicBezTo>
                      <a:pt x="547" y="805"/>
                      <a:pt x="547" y="805"/>
                      <a:pt x="547" y="805"/>
                    </a:cubicBezTo>
                    <a:close/>
                    <a:moveTo>
                      <a:pt x="522" y="803"/>
                    </a:moveTo>
                    <a:cubicBezTo>
                      <a:pt x="522" y="799"/>
                      <a:pt x="522" y="799"/>
                      <a:pt x="522" y="799"/>
                    </a:cubicBezTo>
                    <a:cubicBezTo>
                      <a:pt x="524" y="797"/>
                      <a:pt x="524" y="797"/>
                      <a:pt x="524" y="797"/>
                    </a:cubicBezTo>
                    <a:cubicBezTo>
                      <a:pt x="521" y="795"/>
                      <a:pt x="521" y="795"/>
                      <a:pt x="521" y="795"/>
                    </a:cubicBezTo>
                    <a:cubicBezTo>
                      <a:pt x="520" y="790"/>
                      <a:pt x="520" y="790"/>
                      <a:pt x="520" y="790"/>
                    </a:cubicBezTo>
                    <a:cubicBezTo>
                      <a:pt x="521" y="789"/>
                      <a:pt x="521" y="789"/>
                      <a:pt x="521" y="789"/>
                    </a:cubicBezTo>
                    <a:cubicBezTo>
                      <a:pt x="519" y="787"/>
                      <a:pt x="519" y="787"/>
                      <a:pt x="519" y="787"/>
                    </a:cubicBezTo>
                    <a:cubicBezTo>
                      <a:pt x="518" y="777"/>
                      <a:pt x="518" y="777"/>
                      <a:pt x="518" y="777"/>
                    </a:cubicBezTo>
                    <a:cubicBezTo>
                      <a:pt x="519" y="775"/>
                      <a:pt x="519" y="775"/>
                      <a:pt x="519" y="775"/>
                    </a:cubicBezTo>
                    <a:cubicBezTo>
                      <a:pt x="517" y="773"/>
                      <a:pt x="517" y="773"/>
                      <a:pt x="517" y="773"/>
                    </a:cubicBezTo>
                    <a:cubicBezTo>
                      <a:pt x="516" y="767"/>
                      <a:pt x="516" y="767"/>
                      <a:pt x="516" y="767"/>
                    </a:cubicBezTo>
                    <a:cubicBezTo>
                      <a:pt x="518" y="763"/>
                      <a:pt x="518" y="763"/>
                      <a:pt x="518" y="763"/>
                    </a:cubicBezTo>
                    <a:cubicBezTo>
                      <a:pt x="521" y="766"/>
                      <a:pt x="521" y="766"/>
                      <a:pt x="521" y="766"/>
                    </a:cubicBezTo>
                    <a:cubicBezTo>
                      <a:pt x="525" y="767"/>
                      <a:pt x="525" y="767"/>
                      <a:pt x="525" y="767"/>
                    </a:cubicBezTo>
                    <a:cubicBezTo>
                      <a:pt x="522" y="763"/>
                      <a:pt x="522" y="763"/>
                      <a:pt x="522" y="763"/>
                    </a:cubicBezTo>
                    <a:cubicBezTo>
                      <a:pt x="522" y="761"/>
                      <a:pt x="522" y="761"/>
                      <a:pt x="522" y="761"/>
                    </a:cubicBezTo>
                    <a:cubicBezTo>
                      <a:pt x="520" y="760"/>
                      <a:pt x="520" y="760"/>
                      <a:pt x="520" y="760"/>
                    </a:cubicBezTo>
                    <a:cubicBezTo>
                      <a:pt x="521" y="755"/>
                      <a:pt x="521" y="755"/>
                      <a:pt x="521" y="755"/>
                    </a:cubicBezTo>
                    <a:cubicBezTo>
                      <a:pt x="520" y="748"/>
                      <a:pt x="520" y="748"/>
                      <a:pt x="520" y="748"/>
                    </a:cubicBezTo>
                    <a:cubicBezTo>
                      <a:pt x="520" y="740"/>
                      <a:pt x="520" y="740"/>
                      <a:pt x="520" y="740"/>
                    </a:cubicBezTo>
                    <a:cubicBezTo>
                      <a:pt x="521" y="735"/>
                      <a:pt x="521" y="735"/>
                      <a:pt x="521" y="735"/>
                    </a:cubicBezTo>
                    <a:cubicBezTo>
                      <a:pt x="520" y="728"/>
                      <a:pt x="520" y="728"/>
                      <a:pt x="520" y="728"/>
                    </a:cubicBezTo>
                    <a:cubicBezTo>
                      <a:pt x="520" y="724"/>
                      <a:pt x="520" y="724"/>
                      <a:pt x="520" y="724"/>
                    </a:cubicBezTo>
                    <a:cubicBezTo>
                      <a:pt x="521" y="723"/>
                      <a:pt x="521" y="723"/>
                      <a:pt x="521" y="723"/>
                    </a:cubicBezTo>
                    <a:cubicBezTo>
                      <a:pt x="521" y="719"/>
                      <a:pt x="521" y="719"/>
                      <a:pt x="521" y="719"/>
                    </a:cubicBezTo>
                    <a:cubicBezTo>
                      <a:pt x="522" y="717"/>
                      <a:pt x="522" y="717"/>
                      <a:pt x="522" y="717"/>
                    </a:cubicBezTo>
                    <a:cubicBezTo>
                      <a:pt x="526" y="720"/>
                      <a:pt x="526" y="720"/>
                      <a:pt x="526" y="720"/>
                    </a:cubicBezTo>
                    <a:cubicBezTo>
                      <a:pt x="530" y="722"/>
                      <a:pt x="530" y="722"/>
                      <a:pt x="530" y="722"/>
                    </a:cubicBezTo>
                    <a:cubicBezTo>
                      <a:pt x="533" y="724"/>
                      <a:pt x="533" y="724"/>
                      <a:pt x="533" y="724"/>
                    </a:cubicBezTo>
                    <a:cubicBezTo>
                      <a:pt x="533" y="722"/>
                      <a:pt x="533" y="722"/>
                      <a:pt x="533" y="722"/>
                    </a:cubicBezTo>
                    <a:cubicBezTo>
                      <a:pt x="535" y="720"/>
                      <a:pt x="535" y="720"/>
                      <a:pt x="535" y="720"/>
                    </a:cubicBezTo>
                    <a:cubicBezTo>
                      <a:pt x="535" y="725"/>
                      <a:pt x="535" y="725"/>
                      <a:pt x="535" y="725"/>
                    </a:cubicBezTo>
                    <a:cubicBezTo>
                      <a:pt x="541" y="729"/>
                      <a:pt x="541" y="729"/>
                      <a:pt x="541" y="729"/>
                    </a:cubicBezTo>
                    <a:cubicBezTo>
                      <a:pt x="547" y="734"/>
                      <a:pt x="547" y="734"/>
                      <a:pt x="547" y="734"/>
                    </a:cubicBezTo>
                    <a:cubicBezTo>
                      <a:pt x="550" y="736"/>
                      <a:pt x="550" y="736"/>
                      <a:pt x="550" y="736"/>
                    </a:cubicBezTo>
                    <a:cubicBezTo>
                      <a:pt x="553" y="734"/>
                      <a:pt x="553" y="734"/>
                      <a:pt x="553" y="734"/>
                    </a:cubicBezTo>
                    <a:cubicBezTo>
                      <a:pt x="556" y="734"/>
                      <a:pt x="556" y="734"/>
                      <a:pt x="556" y="734"/>
                    </a:cubicBezTo>
                    <a:cubicBezTo>
                      <a:pt x="559" y="737"/>
                      <a:pt x="559" y="737"/>
                      <a:pt x="559" y="737"/>
                    </a:cubicBezTo>
                    <a:cubicBezTo>
                      <a:pt x="559" y="733"/>
                      <a:pt x="559" y="733"/>
                      <a:pt x="559" y="733"/>
                    </a:cubicBezTo>
                    <a:cubicBezTo>
                      <a:pt x="562" y="732"/>
                      <a:pt x="562" y="732"/>
                      <a:pt x="562" y="732"/>
                    </a:cubicBezTo>
                    <a:cubicBezTo>
                      <a:pt x="573" y="733"/>
                      <a:pt x="573" y="733"/>
                      <a:pt x="573" y="733"/>
                    </a:cubicBezTo>
                    <a:cubicBezTo>
                      <a:pt x="575" y="731"/>
                      <a:pt x="575" y="731"/>
                      <a:pt x="575" y="731"/>
                    </a:cubicBezTo>
                    <a:cubicBezTo>
                      <a:pt x="578" y="729"/>
                      <a:pt x="578" y="729"/>
                      <a:pt x="578" y="729"/>
                    </a:cubicBezTo>
                    <a:cubicBezTo>
                      <a:pt x="580" y="730"/>
                      <a:pt x="580" y="730"/>
                      <a:pt x="580" y="730"/>
                    </a:cubicBezTo>
                    <a:cubicBezTo>
                      <a:pt x="581" y="730"/>
                      <a:pt x="581" y="730"/>
                      <a:pt x="581" y="730"/>
                    </a:cubicBezTo>
                    <a:cubicBezTo>
                      <a:pt x="583" y="727"/>
                      <a:pt x="583" y="727"/>
                      <a:pt x="583" y="727"/>
                    </a:cubicBezTo>
                    <a:cubicBezTo>
                      <a:pt x="585" y="727"/>
                      <a:pt x="585" y="727"/>
                      <a:pt x="585" y="727"/>
                    </a:cubicBezTo>
                    <a:cubicBezTo>
                      <a:pt x="589" y="730"/>
                      <a:pt x="589" y="730"/>
                      <a:pt x="589" y="730"/>
                    </a:cubicBezTo>
                    <a:cubicBezTo>
                      <a:pt x="588" y="733"/>
                      <a:pt x="588" y="733"/>
                      <a:pt x="588" y="733"/>
                    </a:cubicBezTo>
                    <a:cubicBezTo>
                      <a:pt x="586" y="743"/>
                      <a:pt x="586" y="743"/>
                      <a:pt x="586" y="743"/>
                    </a:cubicBezTo>
                    <a:cubicBezTo>
                      <a:pt x="583" y="747"/>
                      <a:pt x="583" y="747"/>
                      <a:pt x="583" y="747"/>
                    </a:cubicBezTo>
                    <a:cubicBezTo>
                      <a:pt x="583" y="753"/>
                      <a:pt x="583" y="753"/>
                      <a:pt x="583" y="753"/>
                    </a:cubicBezTo>
                    <a:cubicBezTo>
                      <a:pt x="580" y="757"/>
                      <a:pt x="580" y="757"/>
                      <a:pt x="580" y="757"/>
                    </a:cubicBezTo>
                    <a:cubicBezTo>
                      <a:pt x="581" y="762"/>
                      <a:pt x="581" y="762"/>
                      <a:pt x="581" y="762"/>
                    </a:cubicBezTo>
                    <a:cubicBezTo>
                      <a:pt x="580" y="764"/>
                      <a:pt x="580" y="764"/>
                      <a:pt x="580" y="764"/>
                    </a:cubicBezTo>
                    <a:cubicBezTo>
                      <a:pt x="580" y="767"/>
                      <a:pt x="580" y="767"/>
                      <a:pt x="580" y="767"/>
                    </a:cubicBezTo>
                    <a:cubicBezTo>
                      <a:pt x="578" y="771"/>
                      <a:pt x="578" y="771"/>
                      <a:pt x="578" y="771"/>
                    </a:cubicBezTo>
                    <a:cubicBezTo>
                      <a:pt x="577" y="768"/>
                      <a:pt x="577" y="768"/>
                      <a:pt x="577" y="768"/>
                    </a:cubicBezTo>
                    <a:cubicBezTo>
                      <a:pt x="576" y="763"/>
                      <a:pt x="576" y="763"/>
                      <a:pt x="576" y="763"/>
                    </a:cubicBezTo>
                    <a:cubicBezTo>
                      <a:pt x="574" y="767"/>
                      <a:pt x="574" y="767"/>
                      <a:pt x="574" y="767"/>
                    </a:cubicBezTo>
                    <a:cubicBezTo>
                      <a:pt x="572" y="768"/>
                      <a:pt x="572" y="768"/>
                      <a:pt x="572" y="768"/>
                    </a:cubicBezTo>
                    <a:cubicBezTo>
                      <a:pt x="571" y="776"/>
                      <a:pt x="571" y="776"/>
                      <a:pt x="571" y="776"/>
                    </a:cubicBezTo>
                    <a:cubicBezTo>
                      <a:pt x="570" y="778"/>
                      <a:pt x="570" y="778"/>
                      <a:pt x="570" y="778"/>
                    </a:cubicBezTo>
                    <a:cubicBezTo>
                      <a:pt x="567" y="778"/>
                      <a:pt x="567" y="778"/>
                      <a:pt x="567" y="778"/>
                    </a:cubicBezTo>
                    <a:cubicBezTo>
                      <a:pt x="567" y="782"/>
                      <a:pt x="567" y="782"/>
                      <a:pt x="567" y="782"/>
                    </a:cubicBezTo>
                    <a:cubicBezTo>
                      <a:pt x="564" y="785"/>
                      <a:pt x="564" y="785"/>
                      <a:pt x="564" y="785"/>
                    </a:cubicBezTo>
                    <a:cubicBezTo>
                      <a:pt x="567" y="787"/>
                      <a:pt x="567" y="787"/>
                      <a:pt x="567" y="787"/>
                    </a:cubicBezTo>
                    <a:cubicBezTo>
                      <a:pt x="567" y="790"/>
                      <a:pt x="567" y="790"/>
                      <a:pt x="567" y="790"/>
                    </a:cubicBezTo>
                    <a:cubicBezTo>
                      <a:pt x="563" y="796"/>
                      <a:pt x="563" y="796"/>
                      <a:pt x="563" y="796"/>
                    </a:cubicBezTo>
                    <a:cubicBezTo>
                      <a:pt x="561" y="795"/>
                      <a:pt x="561" y="795"/>
                      <a:pt x="561" y="795"/>
                    </a:cubicBezTo>
                    <a:cubicBezTo>
                      <a:pt x="558" y="797"/>
                      <a:pt x="558" y="797"/>
                      <a:pt x="558" y="797"/>
                    </a:cubicBezTo>
                    <a:cubicBezTo>
                      <a:pt x="558" y="791"/>
                      <a:pt x="558" y="791"/>
                      <a:pt x="558" y="791"/>
                    </a:cubicBezTo>
                    <a:cubicBezTo>
                      <a:pt x="562" y="793"/>
                      <a:pt x="562" y="793"/>
                      <a:pt x="562" y="793"/>
                    </a:cubicBezTo>
                    <a:cubicBezTo>
                      <a:pt x="562" y="790"/>
                      <a:pt x="562" y="790"/>
                      <a:pt x="562" y="790"/>
                    </a:cubicBezTo>
                    <a:cubicBezTo>
                      <a:pt x="560" y="788"/>
                      <a:pt x="560" y="788"/>
                      <a:pt x="560" y="788"/>
                    </a:cubicBezTo>
                    <a:cubicBezTo>
                      <a:pt x="557" y="789"/>
                      <a:pt x="557" y="789"/>
                      <a:pt x="557" y="789"/>
                    </a:cubicBezTo>
                    <a:cubicBezTo>
                      <a:pt x="555" y="792"/>
                      <a:pt x="555" y="792"/>
                      <a:pt x="555" y="792"/>
                    </a:cubicBezTo>
                    <a:cubicBezTo>
                      <a:pt x="552" y="791"/>
                      <a:pt x="552" y="791"/>
                      <a:pt x="552" y="791"/>
                    </a:cubicBezTo>
                    <a:cubicBezTo>
                      <a:pt x="552" y="787"/>
                      <a:pt x="552" y="787"/>
                      <a:pt x="552" y="787"/>
                    </a:cubicBezTo>
                    <a:cubicBezTo>
                      <a:pt x="551" y="791"/>
                      <a:pt x="551" y="791"/>
                      <a:pt x="551" y="791"/>
                    </a:cubicBezTo>
                    <a:cubicBezTo>
                      <a:pt x="547" y="794"/>
                      <a:pt x="547" y="794"/>
                      <a:pt x="547" y="794"/>
                    </a:cubicBezTo>
                    <a:cubicBezTo>
                      <a:pt x="546" y="796"/>
                      <a:pt x="546" y="796"/>
                      <a:pt x="546" y="796"/>
                    </a:cubicBezTo>
                    <a:cubicBezTo>
                      <a:pt x="544" y="793"/>
                      <a:pt x="544" y="793"/>
                      <a:pt x="544" y="793"/>
                    </a:cubicBezTo>
                    <a:cubicBezTo>
                      <a:pt x="542" y="799"/>
                      <a:pt x="542" y="799"/>
                      <a:pt x="542" y="799"/>
                    </a:cubicBezTo>
                    <a:cubicBezTo>
                      <a:pt x="541" y="803"/>
                      <a:pt x="541" y="803"/>
                      <a:pt x="541" y="803"/>
                    </a:cubicBezTo>
                    <a:cubicBezTo>
                      <a:pt x="538" y="808"/>
                      <a:pt x="538" y="808"/>
                      <a:pt x="538" y="808"/>
                    </a:cubicBezTo>
                    <a:cubicBezTo>
                      <a:pt x="535" y="808"/>
                      <a:pt x="535" y="808"/>
                      <a:pt x="535" y="808"/>
                    </a:cubicBezTo>
                    <a:cubicBezTo>
                      <a:pt x="533" y="805"/>
                      <a:pt x="533" y="805"/>
                      <a:pt x="533" y="805"/>
                    </a:cubicBezTo>
                    <a:cubicBezTo>
                      <a:pt x="533" y="801"/>
                      <a:pt x="533" y="801"/>
                      <a:pt x="533" y="801"/>
                    </a:cubicBezTo>
                    <a:cubicBezTo>
                      <a:pt x="530" y="805"/>
                      <a:pt x="530" y="805"/>
                      <a:pt x="530" y="805"/>
                    </a:cubicBezTo>
                    <a:cubicBezTo>
                      <a:pt x="527" y="803"/>
                      <a:pt x="527" y="803"/>
                      <a:pt x="527" y="803"/>
                    </a:cubicBezTo>
                    <a:cubicBezTo>
                      <a:pt x="524" y="804"/>
                      <a:pt x="524" y="804"/>
                      <a:pt x="524" y="804"/>
                    </a:cubicBezTo>
                    <a:cubicBezTo>
                      <a:pt x="522" y="803"/>
                      <a:pt x="522" y="803"/>
                      <a:pt x="522" y="803"/>
                    </a:cubicBezTo>
                    <a:close/>
                    <a:moveTo>
                      <a:pt x="9" y="512"/>
                    </a:moveTo>
                    <a:cubicBezTo>
                      <a:pt x="11" y="514"/>
                      <a:pt x="11" y="514"/>
                      <a:pt x="11" y="514"/>
                    </a:cubicBezTo>
                    <a:cubicBezTo>
                      <a:pt x="14" y="515"/>
                      <a:pt x="14" y="515"/>
                      <a:pt x="14" y="515"/>
                    </a:cubicBezTo>
                    <a:cubicBezTo>
                      <a:pt x="22" y="523"/>
                      <a:pt x="22" y="523"/>
                      <a:pt x="22" y="523"/>
                    </a:cubicBezTo>
                    <a:cubicBezTo>
                      <a:pt x="22" y="526"/>
                      <a:pt x="22" y="526"/>
                      <a:pt x="22" y="526"/>
                    </a:cubicBezTo>
                    <a:cubicBezTo>
                      <a:pt x="24" y="527"/>
                      <a:pt x="24" y="527"/>
                      <a:pt x="24" y="527"/>
                    </a:cubicBezTo>
                    <a:cubicBezTo>
                      <a:pt x="28" y="528"/>
                      <a:pt x="28" y="528"/>
                      <a:pt x="28" y="528"/>
                    </a:cubicBezTo>
                    <a:cubicBezTo>
                      <a:pt x="30" y="530"/>
                      <a:pt x="30" y="530"/>
                      <a:pt x="30" y="530"/>
                    </a:cubicBezTo>
                    <a:cubicBezTo>
                      <a:pt x="35" y="531"/>
                      <a:pt x="35" y="531"/>
                      <a:pt x="35" y="531"/>
                    </a:cubicBezTo>
                    <a:cubicBezTo>
                      <a:pt x="38" y="531"/>
                      <a:pt x="38" y="531"/>
                      <a:pt x="38" y="531"/>
                    </a:cubicBezTo>
                    <a:cubicBezTo>
                      <a:pt x="39" y="532"/>
                      <a:pt x="39" y="532"/>
                      <a:pt x="39" y="532"/>
                    </a:cubicBezTo>
                    <a:cubicBezTo>
                      <a:pt x="43" y="533"/>
                      <a:pt x="43" y="533"/>
                      <a:pt x="43" y="533"/>
                    </a:cubicBezTo>
                    <a:cubicBezTo>
                      <a:pt x="48" y="532"/>
                      <a:pt x="48" y="532"/>
                      <a:pt x="48" y="532"/>
                    </a:cubicBezTo>
                    <a:cubicBezTo>
                      <a:pt x="49" y="534"/>
                      <a:pt x="49" y="534"/>
                      <a:pt x="49" y="534"/>
                    </a:cubicBezTo>
                    <a:cubicBezTo>
                      <a:pt x="51" y="533"/>
                      <a:pt x="51" y="533"/>
                      <a:pt x="51" y="533"/>
                    </a:cubicBezTo>
                    <a:cubicBezTo>
                      <a:pt x="53" y="533"/>
                      <a:pt x="53" y="533"/>
                      <a:pt x="53" y="533"/>
                    </a:cubicBezTo>
                    <a:cubicBezTo>
                      <a:pt x="58" y="532"/>
                      <a:pt x="58" y="532"/>
                      <a:pt x="58" y="532"/>
                    </a:cubicBezTo>
                    <a:cubicBezTo>
                      <a:pt x="63" y="532"/>
                      <a:pt x="63" y="532"/>
                      <a:pt x="63" y="532"/>
                    </a:cubicBezTo>
                    <a:cubicBezTo>
                      <a:pt x="63" y="530"/>
                      <a:pt x="63" y="530"/>
                      <a:pt x="63" y="530"/>
                    </a:cubicBezTo>
                    <a:cubicBezTo>
                      <a:pt x="66" y="529"/>
                      <a:pt x="66" y="529"/>
                      <a:pt x="66" y="529"/>
                    </a:cubicBezTo>
                    <a:cubicBezTo>
                      <a:pt x="70" y="525"/>
                      <a:pt x="70" y="525"/>
                      <a:pt x="70" y="525"/>
                    </a:cubicBezTo>
                    <a:cubicBezTo>
                      <a:pt x="75" y="525"/>
                      <a:pt x="75" y="525"/>
                      <a:pt x="75" y="525"/>
                    </a:cubicBezTo>
                    <a:cubicBezTo>
                      <a:pt x="75" y="522"/>
                      <a:pt x="75" y="522"/>
                      <a:pt x="75" y="522"/>
                    </a:cubicBezTo>
                    <a:cubicBezTo>
                      <a:pt x="79" y="520"/>
                      <a:pt x="79" y="520"/>
                      <a:pt x="79" y="520"/>
                    </a:cubicBezTo>
                    <a:cubicBezTo>
                      <a:pt x="82" y="520"/>
                      <a:pt x="82" y="520"/>
                      <a:pt x="82" y="520"/>
                    </a:cubicBezTo>
                    <a:cubicBezTo>
                      <a:pt x="85" y="523"/>
                      <a:pt x="85" y="523"/>
                      <a:pt x="85" y="523"/>
                    </a:cubicBezTo>
                    <a:cubicBezTo>
                      <a:pt x="88" y="519"/>
                      <a:pt x="88" y="519"/>
                      <a:pt x="88" y="519"/>
                    </a:cubicBezTo>
                    <a:cubicBezTo>
                      <a:pt x="89" y="520"/>
                      <a:pt x="89" y="520"/>
                      <a:pt x="89" y="520"/>
                    </a:cubicBezTo>
                    <a:cubicBezTo>
                      <a:pt x="91" y="519"/>
                      <a:pt x="91" y="519"/>
                      <a:pt x="91" y="519"/>
                    </a:cubicBezTo>
                    <a:cubicBezTo>
                      <a:pt x="92" y="514"/>
                      <a:pt x="92" y="514"/>
                      <a:pt x="92" y="514"/>
                    </a:cubicBezTo>
                    <a:cubicBezTo>
                      <a:pt x="103" y="508"/>
                      <a:pt x="103" y="508"/>
                      <a:pt x="103" y="508"/>
                    </a:cubicBezTo>
                    <a:cubicBezTo>
                      <a:pt x="107" y="509"/>
                      <a:pt x="107" y="509"/>
                      <a:pt x="107" y="509"/>
                    </a:cubicBezTo>
                    <a:cubicBezTo>
                      <a:pt x="110" y="510"/>
                      <a:pt x="110" y="510"/>
                      <a:pt x="110" y="510"/>
                    </a:cubicBezTo>
                    <a:cubicBezTo>
                      <a:pt x="113" y="508"/>
                      <a:pt x="113" y="508"/>
                      <a:pt x="113" y="508"/>
                    </a:cubicBezTo>
                    <a:cubicBezTo>
                      <a:pt x="123" y="506"/>
                      <a:pt x="123" y="506"/>
                      <a:pt x="123" y="506"/>
                    </a:cubicBezTo>
                    <a:cubicBezTo>
                      <a:pt x="125" y="508"/>
                      <a:pt x="125" y="508"/>
                      <a:pt x="125" y="508"/>
                    </a:cubicBezTo>
                    <a:cubicBezTo>
                      <a:pt x="131" y="506"/>
                      <a:pt x="131" y="506"/>
                      <a:pt x="131" y="506"/>
                    </a:cubicBezTo>
                    <a:cubicBezTo>
                      <a:pt x="133" y="508"/>
                      <a:pt x="133" y="508"/>
                      <a:pt x="133" y="508"/>
                    </a:cubicBezTo>
                    <a:cubicBezTo>
                      <a:pt x="136" y="508"/>
                      <a:pt x="136" y="508"/>
                      <a:pt x="136" y="508"/>
                    </a:cubicBezTo>
                    <a:cubicBezTo>
                      <a:pt x="140" y="506"/>
                      <a:pt x="140" y="506"/>
                      <a:pt x="140" y="506"/>
                    </a:cubicBezTo>
                    <a:cubicBezTo>
                      <a:pt x="141" y="510"/>
                      <a:pt x="141" y="510"/>
                      <a:pt x="141" y="510"/>
                    </a:cubicBezTo>
                    <a:cubicBezTo>
                      <a:pt x="144" y="510"/>
                      <a:pt x="144" y="510"/>
                      <a:pt x="144" y="510"/>
                    </a:cubicBezTo>
                    <a:cubicBezTo>
                      <a:pt x="147" y="509"/>
                      <a:pt x="147" y="509"/>
                      <a:pt x="147" y="509"/>
                    </a:cubicBezTo>
                    <a:cubicBezTo>
                      <a:pt x="149" y="511"/>
                      <a:pt x="149" y="511"/>
                      <a:pt x="149" y="511"/>
                    </a:cubicBezTo>
                    <a:cubicBezTo>
                      <a:pt x="152" y="509"/>
                      <a:pt x="152" y="509"/>
                      <a:pt x="152" y="509"/>
                    </a:cubicBezTo>
                    <a:cubicBezTo>
                      <a:pt x="159" y="509"/>
                      <a:pt x="159" y="509"/>
                      <a:pt x="159" y="509"/>
                    </a:cubicBezTo>
                    <a:cubicBezTo>
                      <a:pt x="159" y="512"/>
                      <a:pt x="159" y="512"/>
                      <a:pt x="159" y="512"/>
                    </a:cubicBezTo>
                    <a:cubicBezTo>
                      <a:pt x="160" y="512"/>
                      <a:pt x="160" y="512"/>
                      <a:pt x="160" y="512"/>
                    </a:cubicBezTo>
                    <a:cubicBezTo>
                      <a:pt x="164" y="509"/>
                      <a:pt x="164" y="509"/>
                      <a:pt x="164" y="509"/>
                    </a:cubicBezTo>
                    <a:cubicBezTo>
                      <a:pt x="168" y="510"/>
                      <a:pt x="168" y="510"/>
                      <a:pt x="168" y="510"/>
                    </a:cubicBezTo>
                    <a:cubicBezTo>
                      <a:pt x="174" y="506"/>
                      <a:pt x="174" y="506"/>
                      <a:pt x="174" y="506"/>
                    </a:cubicBezTo>
                    <a:cubicBezTo>
                      <a:pt x="175" y="502"/>
                      <a:pt x="175" y="502"/>
                      <a:pt x="175" y="502"/>
                    </a:cubicBezTo>
                    <a:cubicBezTo>
                      <a:pt x="177" y="501"/>
                      <a:pt x="177" y="501"/>
                      <a:pt x="177" y="501"/>
                    </a:cubicBezTo>
                    <a:cubicBezTo>
                      <a:pt x="181" y="497"/>
                      <a:pt x="181" y="497"/>
                      <a:pt x="181" y="497"/>
                    </a:cubicBezTo>
                    <a:cubicBezTo>
                      <a:pt x="184" y="491"/>
                      <a:pt x="184" y="491"/>
                      <a:pt x="184" y="491"/>
                    </a:cubicBezTo>
                    <a:cubicBezTo>
                      <a:pt x="188" y="487"/>
                      <a:pt x="188" y="487"/>
                      <a:pt x="188" y="487"/>
                    </a:cubicBezTo>
                    <a:cubicBezTo>
                      <a:pt x="194" y="486"/>
                      <a:pt x="194" y="486"/>
                      <a:pt x="194" y="486"/>
                    </a:cubicBezTo>
                    <a:cubicBezTo>
                      <a:pt x="196" y="487"/>
                      <a:pt x="196" y="487"/>
                      <a:pt x="196" y="487"/>
                    </a:cubicBezTo>
                    <a:cubicBezTo>
                      <a:pt x="204" y="484"/>
                      <a:pt x="204" y="484"/>
                      <a:pt x="204" y="484"/>
                    </a:cubicBezTo>
                    <a:cubicBezTo>
                      <a:pt x="214" y="478"/>
                      <a:pt x="214" y="478"/>
                      <a:pt x="214" y="478"/>
                    </a:cubicBezTo>
                    <a:cubicBezTo>
                      <a:pt x="220" y="473"/>
                      <a:pt x="220" y="473"/>
                      <a:pt x="220" y="473"/>
                    </a:cubicBezTo>
                    <a:cubicBezTo>
                      <a:pt x="223" y="472"/>
                      <a:pt x="223" y="472"/>
                      <a:pt x="223" y="472"/>
                    </a:cubicBezTo>
                    <a:cubicBezTo>
                      <a:pt x="226" y="472"/>
                      <a:pt x="226" y="472"/>
                      <a:pt x="226" y="472"/>
                    </a:cubicBezTo>
                    <a:cubicBezTo>
                      <a:pt x="229" y="472"/>
                      <a:pt x="229" y="472"/>
                      <a:pt x="229" y="472"/>
                    </a:cubicBezTo>
                    <a:cubicBezTo>
                      <a:pt x="235" y="474"/>
                      <a:pt x="235" y="474"/>
                      <a:pt x="235" y="474"/>
                    </a:cubicBezTo>
                    <a:cubicBezTo>
                      <a:pt x="240" y="474"/>
                      <a:pt x="240" y="474"/>
                      <a:pt x="240" y="474"/>
                    </a:cubicBezTo>
                    <a:cubicBezTo>
                      <a:pt x="244" y="473"/>
                      <a:pt x="244" y="473"/>
                      <a:pt x="244" y="473"/>
                    </a:cubicBezTo>
                    <a:cubicBezTo>
                      <a:pt x="252" y="473"/>
                      <a:pt x="252" y="473"/>
                      <a:pt x="252" y="473"/>
                    </a:cubicBezTo>
                    <a:cubicBezTo>
                      <a:pt x="262" y="470"/>
                      <a:pt x="262" y="470"/>
                      <a:pt x="262" y="470"/>
                    </a:cubicBezTo>
                    <a:cubicBezTo>
                      <a:pt x="268" y="468"/>
                      <a:pt x="268" y="468"/>
                      <a:pt x="268" y="468"/>
                    </a:cubicBezTo>
                    <a:cubicBezTo>
                      <a:pt x="273" y="465"/>
                      <a:pt x="273" y="465"/>
                      <a:pt x="273" y="465"/>
                    </a:cubicBezTo>
                    <a:cubicBezTo>
                      <a:pt x="276" y="465"/>
                      <a:pt x="276" y="465"/>
                      <a:pt x="276" y="465"/>
                    </a:cubicBezTo>
                    <a:cubicBezTo>
                      <a:pt x="281" y="461"/>
                      <a:pt x="281" y="461"/>
                      <a:pt x="281" y="461"/>
                    </a:cubicBezTo>
                    <a:cubicBezTo>
                      <a:pt x="289" y="461"/>
                      <a:pt x="289" y="461"/>
                      <a:pt x="289" y="461"/>
                    </a:cubicBezTo>
                    <a:cubicBezTo>
                      <a:pt x="311" y="459"/>
                      <a:pt x="311" y="459"/>
                      <a:pt x="311" y="459"/>
                    </a:cubicBezTo>
                    <a:cubicBezTo>
                      <a:pt x="317" y="461"/>
                      <a:pt x="317" y="461"/>
                      <a:pt x="317" y="461"/>
                    </a:cubicBezTo>
                    <a:cubicBezTo>
                      <a:pt x="322" y="461"/>
                      <a:pt x="322" y="461"/>
                      <a:pt x="322" y="461"/>
                    </a:cubicBezTo>
                    <a:cubicBezTo>
                      <a:pt x="328" y="459"/>
                      <a:pt x="328" y="459"/>
                      <a:pt x="328" y="459"/>
                    </a:cubicBezTo>
                    <a:cubicBezTo>
                      <a:pt x="332" y="460"/>
                      <a:pt x="332" y="460"/>
                      <a:pt x="332" y="460"/>
                    </a:cubicBezTo>
                    <a:cubicBezTo>
                      <a:pt x="338" y="465"/>
                      <a:pt x="338" y="465"/>
                      <a:pt x="338" y="465"/>
                    </a:cubicBezTo>
                    <a:cubicBezTo>
                      <a:pt x="343" y="472"/>
                      <a:pt x="343" y="472"/>
                      <a:pt x="343" y="472"/>
                    </a:cubicBezTo>
                    <a:cubicBezTo>
                      <a:pt x="346" y="474"/>
                      <a:pt x="346" y="474"/>
                      <a:pt x="346" y="474"/>
                    </a:cubicBezTo>
                    <a:cubicBezTo>
                      <a:pt x="349" y="472"/>
                      <a:pt x="349" y="472"/>
                      <a:pt x="349" y="472"/>
                    </a:cubicBezTo>
                    <a:cubicBezTo>
                      <a:pt x="351" y="471"/>
                      <a:pt x="351" y="471"/>
                      <a:pt x="351" y="471"/>
                    </a:cubicBezTo>
                    <a:cubicBezTo>
                      <a:pt x="353" y="473"/>
                      <a:pt x="353" y="473"/>
                      <a:pt x="353" y="473"/>
                    </a:cubicBezTo>
                    <a:cubicBezTo>
                      <a:pt x="355" y="472"/>
                      <a:pt x="355" y="472"/>
                      <a:pt x="355" y="472"/>
                    </a:cubicBezTo>
                    <a:cubicBezTo>
                      <a:pt x="359" y="473"/>
                      <a:pt x="359" y="473"/>
                      <a:pt x="359" y="473"/>
                    </a:cubicBezTo>
                    <a:cubicBezTo>
                      <a:pt x="363" y="477"/>
                      <a:pt x="363" y="477"/>
                      <a:pt x="363" y="477"/>
                    </a:cubicBezTo>
                    <a:cubicBezTo>
                      <a:pt x="368" y="478"/>
                      <a:pt x="368" y="478"/>
                      <a:pt x="368" y="478"/>
                    </a:cubicBezTo>
                    <a:cubicBezTo>
                      <a:pt x="370" y="477"/>
                      <a:pt x="370" y="477"/>
                      <a:pt x="370" y="477"/>
                    </a:cubicBezTo>
                    <a:cubicBezTo>
                      <a:pt x="378" y="483"/>
                      <a:pt x="378" y="483"/>
                      <a:pt x="378" y="483"/>
                    </a:cubicBezTo>
                    <a:cubicBezTo>
                      <a:pt x="377" y="486"/>
                      <a:pt x="377" y="486"/>
                      <a:pt x="377" y="486"/>
                    </a:cubicBezTo>
                    <a:cubicBezTo>
                      <a:pt x="380" y="486"/>
                      <a:pt x="380" y="486"/>
                      <a:pt x="380" y="486"/>
                    </a:cubicBezTo>
                    <a:cubicBezTo>
                      <a:pt x="383" y="489"/>
                      <a:pt x="383" y="489"/>
                      <a:pt x="383" y="489"/>
                    </a:cubicBezTo>
                    <a:cubicBezTo>
                      <a:pt x="382" y="492"/>
                      <a:pt x="382" y="492"/>
                      <a:pt x="382" y="492"/>
                    </a:cubicBezTo>
                    <a:cubicBezTo>
                      <a:pt x="379" y="492"/>
                      <a:pt x="379" y="492"/>
                      <a:pt x="379" y="492"/>
                    </a:cubicBezTo>
                    <a:cubicBezTo>
                      <a:pt x="378" y="494"/>
                      <a:pt x="378" y="494"/>
                      <a:pt x="378" y="494"/>
                    </a:cubicBezTo>
                    <a:cubicBezTo>
                      <a:pt x="381" y="502"/>
                      <a:pt x="381" y="502"/>
                      <a:pt x="381" y="502"/>
                    </a:cubicBezTo>
                    <a:cubicBezTo>
                      <a:pt x="385" y="502"/>
                      <a:pt x="385" y="502"/>
                      <a:pt x="385" y="502"/>
                    </a:cubicBezTo>
                    <a:cubicBezTo>
                      <a:pt x="389" y="506"/>
                      <a:pt x="389" y="506"/>
                      <a:pt x="389" y="506"/>
                    </a:cubicBezTo>
                    <a:cubicBezTo>
                      <a:pt x="390" y="511"/>
                      <a:pt x="390" y="511"/>
                      <a:pt x="390" y="511"/>
                    </a:cubicBezTo>
                    <a:cubicBezTo>
                      <a:pt x="389" y="515"/>
                      <a:pt x="389" y="515"/>
                      <a:pt x="389" y="515"/>
                    </a:cubicBezTo>
                    <a:cubicBezTo>
                      <a:pt x="393" y="524"/>
                      <a:pt x="393" y="524"/>
                      <a:pt x="393" y="524"/>
                    </a:cubicBezTo>
                    <a:cubicBezTo>
                      <a:pt x="392" y="528"/>
                      <a:pt x="392" y="528"/>
                      <a:pt x="392" y="528"/>
                    </a:cubicBezTo>
                    <a:cubicBezTo>
                      <a:pt x="394" y="530"/>
                      <a:pt x="394" y="530"/>
                      <a:pt x="394" y="530"/>
                    </a:cubicBezTo>
                    <a:cubicBezTo>
                      <a:pt x="393" y="535"/>
                      <a:pt x="393" y="535"/>
                      <a:pt x="393" y="535"/>
                    </a:cubicBezTo>
                    <a:cubicBezTo>
                      <a:pt x="391" y="538"/>
                      <a:pt x="391" y="538"/>
                      <a:pt x="391" y="538"/>
                    </a:cubicBezTo>
                    <a:cubicBezTo>
                      <a:pt x="389" y="536"/>
                      <a:pt x="389" y="536"/>
                      <a:pt x="389" y="536"/>
                    </a:cubicBezTo>
                    <a:cubicBezTo>
                      <a:pt x="388" y="538"/>
                      <a:pt x="388" y="538"/>
                      <a:pt x="388" y="538"/>
                    </a:cubicBezTo>
                    <a:cubicBezTo>
                      <a:pt x="391" y="541"/>
                      <a:pt x="391" y="541"/>
                      <a:pt x="391" y="541"/>
                    </a:cubicBezTo>
                    <a:cubicBezTo>
                      <a:pt x="394" y="543"/>
                      <a:pt x="394" y="543"/>
                      <a:pt x="394" y="543"/>
                    </a:cubicBezTo>
                    <a:cubicBezTo>
                      <a:pt x="395" y="547"/>
                      <a:pt x="395" y="547"/>
                      <a:pt x="395" y="547"/>
                    </a:cubicBezTo>
                    <a:cubicBezTo>
                      <a:pt x="398" y="546"/>
                      <a:pt x="398" y="546"/>
                      <a:pt x="398" y="546"/>
                    </a:cubicBezTo>
                    <a:cubicBezTo>
                      <a:pt x="402" y="548"/>
                      <a:pt x="402" y="548"/>
                      <a:pt x="402" y="548"/>
                    </a:cubicBezTo>
                    <a:cubicBezTo>
                      <a:pt x="402" y="545"/>
                      <a:pt x="402" y="545"/>
                      <a:pt x="402" y="545"/>
                    </a:cubicBezTo>
                    <a:cubicBezTo>
                      <a:pt x="400" y="542"/>
                      <a:pt x="400" y="542"/>
                      <a:pt x="400" y="542"/>
                    </a:cubicBezTo>
                    <a:cubicBezTo>
                      <a:pt x="402" y="540"/>
                      <a:pt x="402" y="540"/>
                      <a:pt x="402" y="540"/>
                    </a:cubicBezTo>
                    <a:cubicBezTo>
                      <a:pt x="404" y="536"/>
                      <a:pt x="404" y="536"/>
                      <a:pt x="404" y="536"/>
                    </a:cubicBezTo>
                    <a:cubicBezTo>
                      <a:pt x="407" y="535"/>
                      <a:pt x="407" y="535"/>
                      <a:pt x="407" y="535"/>
                    </a:cubicBezTo>
                    <a:cubicBezTo>
                      <a:pt x="409" y="532"/>
                      <a:pt x="409" y="532"/>
                      <a:pt x="409" y="532"/>
                    </a:cubicBezTo>
                    <a:cubicBezTo>
                      <a:pt x="412" y="531"/>
                      <a:pt x="412" y="531"/>
                      <a:pt x="412" y="531"/>
                    </a:cubicBezTo>
                    <a:cubicBezTo>
                      <a:pt x="413" y="528"/>
                      <a:pt x="413" y="528"/>
                      <a:pt x="413" y="528"/>
                    </a:cubicBezTo>
                    <a:cubicBezTo>
                      <a:pt x="417" y="523"/>
                      <a:pt x="417" y="523"/>
                      <a:pt x="417" y="523"/>
                    </a:cubicBezTo>
                    <a:cubicBezTo>
                      <a:pt x="425" y="519"/>
                      <a:pt x="425" y="519"/>
                      <a:pt x="425" y="519"/>
                    </a:cubicBezTo>
                    <a:cubicBezTo>
                      <a:pt x="426" y="517"/>
                      <a:pt x="426" y="517"/>
                      <a:pt x="426" y="517"/>
                    </a:cubicBezTo>
                    <a:cubicBezTo>
                      <a:pt x="427" y="517"/>
                      <a:pt x="427" y="517"/>
                      <a:pt x="427" y="517"/>
                    </a:cubicBezTo>
                    <a:cubicBezTo>
                      <a:pt x="434" y="514"/>
                      <a:pt x="434" y="514"/>
                      <a:pt x="434" y="514"/>
                    </a:cubicBezTo>
                    <a:cubicBezTo>
                      <a:pt x="435" y="509"/>
                      <a:pt x="435" y="509"/>
                      <a:pt x="435" y="509"/>
                    </a:cubicBezTo>
                    <a:cubicBezTo>
                      <a:pt x="441" y="501"/>
                      <a:pt x="441" y="501"/>
                      <a:pt x="441" y="501"/>
                    </a:cubicBezTo>
                    <a:cubicBezTo>
                      <a:pt x="446" y="500"/>
                      <a:pt x="446" y="500"/>
                      <a:pt x="446" y="500"/>
                    </a:cubicBezTo>
                    <a:cubicBezTo>
                      <a:pt x="448" y="497"/>
                      <a:pt x="448" y="497"/>
                      <a:pt x="448" y="497"/>
                    </a:cubicBezTo>
                    <a:cubicBezTo>
                      <a:pt x="447" y="493"/>
                      <a:pt x="447" y="493"/>
                      <a:pt x="447" y="493"/>
                    </a:cubicBezTo>
                    <a:cubicBezTo>
                      <a:pt x="448" y="489"/>
                      <a:pt x="448" y="489"/>
                      <a:pt x="448" y="489"/>
                    </a:cubicBezTo>
                    <a:cubicBezTo>
                      <a:pt x="450" y="494"/>
                      <a:pt x="450" y="494"/>
                      <a:pt x="450" y="494"/>
                    </a:cubicBezTo>
                    <a:cubicBezTo>
                      <a:pt x="450" y="499"/>
                      <a:pt x="450" y="499"/>
                      <a:pt x="450" y="499"/>
                    </a:cubicBezTo>
                    <a:cubicBezTo>
                      <a:pt x="450" y="503"/>
                      <a:pt x="450" y="503"/>
                      <a:pt x="450" y="503"/>
                    </a:cubicBezTo>
                    <a:cubicBezTo>
                      <a:pt x="448" y="506"/>
                      <a:pt x="448" y="506"/>
                      <a:pt x="448" y="506"/>
                    </a:cubicBezTo>
                    <a:cubicBezTo>
                      <a:pt x="447" y="516"/>
                      <a:pt x="447" y="516"/>
                      <a:pt x="447" y="516"/>
                    </a:cubicBezTo>
                    <a:cubicBezTo>
                      <a:pt x="439" y="521"/>
                      <a:pt x="439" y="521"/>
                      <a:pt x="439" y="521"/>
                    </a:cubicBezTo>
                    <a:cubicBezTo>
                      <a:pt x="437" y="525"/>
                      <a:pt x="437" y="525"/>
                      <a:pt x="437" y="525"/>
                    </a:cubicBezTo>
                    <a:cubicBezTo>
                      <a:pt x="435" y="528"/>
                      <a:pt x="435" y="528"/>
                      <a:pt x="435" y="528"/>
                    </a:cubicBezTo>
                    <a:cubicBezTo>
                      <a:pt x="435" y="532"/>
                      <a:pt x="435" y="532"/>
                      <a:pt x="435" y="532"/>
                    </a:cubicBezTo>
                    <a:cubicBezTo>
                      <a:pt x="431" y="538"/>
                      <a:pt x="431" y="538"/>
                      <a:pt x="431" y="538"/>
                    </a:cubicBezTo>
                    <a:cubicBezTo>
                      <a:pt x="432" y="540"/>
                      <a:pt x="432" y="540"/>
                      <a:pt x="432" y="540"/>
                    </a:cubicBezTo>
                    <a:cubicBezTo>
                      <a:pt x="429" y="549"/>
                      <a:pt x="429" y="549"/>
                      <a:pt x="429" y="549"/>
                    </a:cubicBezTo>
                    <a:cubicBezTo>
                      <a:pt x="420" y="548"/>
                      <a:pt x="420" y="548"/>
                      <a:pt x="420" y="548"/>
                    </a:cubicBezTo>
                    <a:cubicBezTo>
                      <a:pt x="418" y="553"/>
                      <a:pt x="418" y="553"/>
                      <a:pt x="418" y="553"/>
                    </a:cubicBezTo>
                    <a:cubicBezTo>
                      <a:pt x="416" y="557"/>
                      <a:pt x="416" y="557"/>
                      <a:pt x="416" y="557"/>
                    </a:cubicBezTo>
                    <a:cubicBezTo>
                      <a:pt x="416" y="558"/>
                      <a:pt x="416" y="558"/>
                      <a:pt x="416" y="558"/>
                    </a:cubicBezTo>
                    <a:cubicBezTo>
                      <a:pt x="421" y="557"/>
                      <a:pt x="421" y="557"/>
                      <a:pt x="421" y="557"/>
                    </a:cubicBezTo>
                    <a:cubicBezTo>
                      <a:pt x="427" y="555"/>
                      <a:pt x="427" y="555"/>
                      <a:pt x="427" y="555"/>
                    </a:cubicBezTo>
                    <a:cubicBezTo>
                      <a:pt x="433" y="557"/>
                      <a:pt x="433" y="557"/>
                      <a:pt x="433" y="557"/>
                    </a:cubicBezTo>
                    <a:cubicBezTo>
                      <a:pt x="440" y="546"/>
                      <a:pt x="440" y="546"/>
                      <a:pt x="440" y="546"/>
                    </a:cubicBezTo>
                    <a:cubicBezTo>
                      <a:pt x="441" y="537"/>
                      <a:pt x="441" y="537"/>
                      <a:pt x="441" y="537"/>
                    </a:cubicBezTo>
                    <a:cubicBezTo>
                      <a:pt x="447" y="532"/>
                      <a:pt x="447" y="532"/>
                      <a:pt x="447" y="532"/>
                    </a:cubicBezTo>
                    <a:cubicBezTo>
                      <a:pt x="448" y="533"/>
                      <a:pt x="448" y="533"/>
                      <a:pt x="448" y="533"/>
                    </a:cubicBezTo>
                    <a:cubicBezTo>
                      <a:pt x="448" y="542"/>
                      <a:pt x="448" y="542"/>
                      <a:pt x="448" y="542"/>
                    </a:cubicBezTo>
                    <a:cubicBezTo>
                      <a:pt x="450" y="547"/>
                      <a:pt x="450" y="547"/>
                      <a:pt x="450" y="547"/>
                    </a:cubicBezTo>
                    <a:cubicBezTo>
                      <a:pt x="449" y="548"/>
                      <a:pt x="449" y="548"/>
                      <a:pt x="449" y="548"/>
                    </a:cubicBezTo>
                    <a:cubicBezTo>
                      <a:pt x="449" y="557"/>
                      <a:pt x="449" y="557"/>
                      <a:pt x="449" y="557"/>
                    </a:cubicBezTo>
                    <a:cubicBezTo>
                      <a:pt x="445" y="564"/>
                      <a:pt x="445" y="564"/>
                      <a:pt x="445" y="564"/>
                    </a:cubicBezTo>
                    <a:cubicBezTo>
                      <a:pt x="438" y="567"/>
                      <a:pt x="438" y="567"/>
                      <a:pt x="438" y="567"/>
                    </a:cubicBezTo>
                    <a:cubicBezTo>
                      <a:pt x="439" y="570"/>
                      <a:pt x="439" y="570"/>
                      <a:pt x="439" y="570"/>
                    </a:cubicBezTo>
                    <a:cubicBezTo>
                      <a:pt x="444" y="569"/>
                      <a:pt x="444" y="569"/>
                      <a:pt x="444" y="569"/>
                    </a:cubicBezTo>
                    <a:cubicBezTo>
                      <a:pt x="449" y="569"/>
                      <a:pt x="449" y="569"/>
                      <a:pt x="449" y="569"/>
                    </a:cubicBezTo>
                    <a:cubicBezTo>
                      <a:pt x="451" y="567"/>
                      <a:pt x="451" y="567"/>
                      <a:pt x="451" y="567"/>
                    </a:cubicBezTo>
                    <a:cubicBezTo>
                      <a:pt x="454" y="566"/>
                      <a:pt x="454" y="566"/>
                      <a:pt x="454" y="566"/>
                    </a:cubicBezTo>
                    <a:cubicBezTo>
                      <a:pt x="458" y="563"/>
                      <a:pt x="458" y="563"/>
                      <a:pt x="458" y="563"/>
                    </a:cubicBezTo>
                    <a:cubicBezTo>
                      <a:pt x="461" y="564"/>
                      <a:pt x="461" y="564"/>
                      <a:pt x="461" y="564"/>
                    </a:cubicBezTo>
                    <a:cubicBezTo>
                      <a:pt x="464" y="563"/>
                      <a:pt x="464" y="563"/>
                      <a:pt x="464" y="563"/>
                    </a:cubicBezTo>
                    <a:cubicBezTo>
                      <a:pt x="462" y="567"/>
                      <a:pt x="462" y="567"/>
                      <a:pt x="462" y="567"/>
                    </a:cubicBezTo>
                    <a:cubicBezTo>
                      <a:pt x="460" y="570"/>
                      <a:pt x="460" y="570"/>
                      <a:pt x="460" y="570"/>
                    </a:cubicBezTo>
                    <a:cubicBezTo>
                      <a:pt x="457" y="570"/>
                      <a:pt x="457" y="570"/>
                      <a:pt x="457" y="570"/>
                    </a:cubicBezTo>
                    <a:cubicBezTo>
                      <a:pt x="456" y="571"/>
                      <a:pt x="456" y="571"/>
                      <a:pt x="456" y="571"/>
                    </a:cubicBezTo>
                    <a:cubicBezTo>
                      <a:pt x="459" y="576"/>
                      <a:pt x="459" y="576"/>
                      <a:pt x="459" y="576"/>
                    </a:cubicBezTo>
                    <a:cubicBezTo>
                      <a:pt x="460" y="580"/>
                      <a:pt x="460" y="580"/>
                      <a:pt x="460" y="580"/>
                    </a:cubicBezTo>
                    <a:cubicBezTo>
                      <a:pt x="463" y="586"/>
                      <a:pt x="463" y="586"/>
                      <a:pt x="463" y="586"/>
                    </a:cubicBezTo>
                    <a:cubicBezTo>
                      <a:pt x="463" y="593"/>
                      <a:pt x="463" y="593"/>
                      <a:pt x="463" y="593"/>
                    </a:cubicBezTo>
                    <a:cubicBezTo>
                      <a:pt x="462" y="602"/>
                      <a:pt x="462" y="602"/>
                      <a:pt x="462" y="602"/>
                    </a:cubicBezTo>
                    <a:cubicBezTo>
                      <a:pt x="458" y="607"/>
                      <a:pt x="458" y="607"/>
                      <a:pt x="458" y="607"/>
                    </a:cubicBezTo>
                    <a:cubicBezTo>
                      <a:pt x="459" y="609"/>
                      <a:pt x="459" y="609"/>
                      <a:pt x="459" y="609"/>
                    </a:cubicBezTo>
                    <a:cubicBezTo>
                      <a:pt x="458" y="615"/>
                      <a:pt x="458" y="615"/>
                      <a:pt x="458" y="615"/>
                    </a:cubicBezTo>
                    <a:cubicBezTo>
                      <a:pt x="461" y="618"/>
                      <a:pt x="461" y="618"/>
                      <a:pt x="461" y="618"/>
                    </a:cubicBezTo>
                    <a:cubicBezTo>
                      <a:pt x="464" y="623"/>
                      <a:pt x="464" y="623"/>
                      <a:pt x="464" y="623"/>
                    </a:cubicBezTo>
                    <a:cubicBezTo>
                      <a:pt x="465" y="629"/>
                      <a:pt x="465" y="629"/>
                      <a:pt x="465" y="629"/>
                    </a:cubicBezTo>
                    <a:cubicBezTo>
                      <a:pt x="472" y="638"/>
                      <a:pt x="472" y="638"/>
                      <a:pt x="472" y="638"/>
                    </a:cubicBezTo>
                    <a:cubicBezTo>
                      <a:pt x="477" y="639"/>
                      <a:pt x="477" y="639"/>
                      <a:pt x="477" y="639"/>
                    </a:cubicBezTo>
                    <a:cubicBezTo>
                      <a:pt x="481" y="642"/>
                      <a:pt x="481" y="642"/>
                      <a:pt x="481" y="642"/>
                    </a:cubicBezTo>
                    <a:cubicBezTo>
                      <a:pt x="482" y="646"/>
                      <a:pt x="482" y="646"/>
                      <a:pt x="482" y="646"/>
                    </a:cubicBezTo>
                    <a:cubicBezTo>
                      <a:pt x="486" y="646"/>
                      <a:pt x="486" y="646"/>
                      <a:pt x="486" y="646"/>
                    </a:cubicBezTo>
                    <a:cubicBezTo>
                      <a:pt x="487" y="645"/>
                      <a:pt x="487" y="645"/>
                      <a:pt x="487" y="645"/>
                    </a:cubicBezTo>
                    <a:cubicBezTo>
                      <a:pt x="490" y="644"/>
                      <a:pt x="490" y="644"/>
                      <a:pt x="490" y="644"/>
                    </a:cubicBezTo>
                    <a:cubicBezTo>
                      <a:pt x="495" y="646"/>
                      <a:pt x="495" y="646"/>
                      <a:pt x="495" y="646"/>
                    </a:cubicBezTo>
                    <a:cubicBezTo>
                      <a:pt x="499" y="650"/>
                      <a:pt x="499" y="650"/>
                      <a:pt x="499" y="650"/>
                    </a:cubicBezTo>
                    <a:cubicBezTo>
                      <a:pt x="503" y="651"/>
                      <a:pt x="503" y="651"/>
                      <a:pt x="503" y="651"/>
                    </a:cubicBezTo>
                    <a:cubicBezTo>
                      <a:pt x="508" y="655"/>
                      <a:pt x="508" y="655"/>
                      <a:pt x="508" y="655"/>
                    </a:cubicBezTo>
                    <a:cubicBezTo>
                      <a:pt x="508" y="659"/>
                      <a:pt x="508" y="659"/>
                      <a:pt x="508" y="659"/>
                    </a:cubicBezTo>
                    <a:cubicBezTo>
                      <a:pt x="512" y="660"/>
                      <a:pt x="512" y="660"/>
                      <a:pt x="512" y="660"/>
                    </a:cubicBezTo>
                    <a:cubicBezTo>
                      <a:pt x="516" y="665"/>
                      <a:pt x="516" y="665"/>
                      <a:pt x="516" y="665"/>
                    </a:cubicBezTo>
                    <a:cubicBezTo>
                      <a:pt x="519" y="665"/>
                      <a:pt x="519" y="665"/>
                      <a:pt x="519" y="665"/>
                    </a:cubicBezTo>
                    <a:cubicBezTo>
                      <a:pt x="520" y="662"/>
                      <a:pt x="520" y="662"/>
                      <a:pt x="520" y="662"/>
                    </a:cubicBezTo>
                    <a:cubicBezTo>
                      <a:pt x="528" y="659"/>
                      <a:pt x="528" y="659"/>
                      <a:pt x="528" y="659"/>
                    </a:cubicBezTo>
                    <a:cubicBezTo>
                      <a:pt x="530" y="655"/>
                      <a:pt x="530" y="655"/>
                      <a:pt x="530" y="655"/>
                    </a:cubicBezTo>
                    <a:cubicBezTo>
                      <a:pt x="535" y="655"/>
                      <a:pt x="535" y="655"/>
                      <a:pt x="535" y="655"/>
                    </a:cubicBezTo>
                    <a:cubicBezTo>
                      <a:pt x="540" y="651"/>
                      <a:pt x="540" y="651"/>
                      <a:pt x="540" y="651"/>
                    </a:cubicBezTo>
                    <a:cubicBezTo>
                      <a:pt x="543" y="651"/>
                      <a:pt x="543" y="651"/>
                      <a:pt x="543" y="651"/>
                    </a:cubicBezTo>
                    <a:cubicBezTo>
                      <a:pt x="545" y="649"/>
                      <a:pt x="545" y="649"/>
                      <a:pt x="545" y="649"/>
                    </a:cubicBezTo>
                    <a:cubicBezTo>
                      <a:pt x="544" y="648"/>
                      <a:pt x="544" y="648"/>
                      <a:pt x="544" y="648"/>
                    </a:cubicBezTo>
                    <a:cubicBezTo>
                      <a:pt x="540" y="646"/>
                      <a:pt x="540" y="646"/>
                      <a:pt x="540" y="646"/>
                    </a:cubicBezTo>
                    <a:cubicBezTo>
                      <a:pt x="541" y="644"/>
                      <a:pt x="541" y="644"/>
                      <a:pt x="541" y="644"/>
                    </a:cubicBezTo>
                    <a:cubicBezTo>
                      <a:pt x="549" y="639"/>
                      <a:pt x="549" y="639"/>
                      <a:pt x="549" y="639"/>
                    </a:cubicBezTo>
                    <a:cubicBezTo>
                      <a:pt x="555" y="643"/>
                      <a:pt x="555" y="643"/>
                      <a:pt x="555" y="643"/>
                    </a:cubicBezTo>
                    <a:cubicBezTo>
                      <a:pt x="555" y="648"/>
                      <a:pt x="555" y="648"/>
                      <a:pt x="555" y="648"/>
                    </a:cubicBezTo>
                    <a:cubicBezTo>
                      <a:pt x="547" y="652"/>
                      <a:pt x="547" y="652"/>
                      <a:pt x="547" y="652"/>
                    </a:cubicBezTo>
                    <a:cubicBezTo>
                      <a:pt x="549" y="655"/>
                      <a:pt x="549" y="655"/>
                      <a:pt x="549" y="655"/>
                    </a:cubicBezTo>
                    <a:cubicBezTo>
                      <a:pt x="551" y="656"/>
                      <a:pt x="551" y="656"/>
                      <a:pt x="551" y="656"/>
                    </a:cubicBezTo>
                    <a:cubicBezTo>
                      <a:pt x="554" y="653"/>
                      <a:pt x="554" y="653"/>
                      <a:pt x="554" y="653"/>
                    </a:cubicBezTo>
                    <a:cubicBezTo>
                      <a:pt x="557" y="650"/>
                      <a:pt x="557" y="650"/>
                      <a:pt x="557" y="650"/>
                    </a:cubicBezTo>
                    <a:cubicBezTo>
                      <a:pt x="561" y="653"/>
                      <a:pt x="561" y="653"/>
                      <a:pt x="561" y="653"/>
                    </a:cubicBezTo>
                    <a:cubicBezTo>
                      <a:pt x="561" y="656"/>
                      <a:pt x="561" y="656"/>
                      <a:pt x="561" y="656"/>
                    </a:cubicBezTo>
                    <a:cubicBezTo>
                      <a:pt x="558" y="656"/>
                      <a:pt x="558" y="656"/>
                      <a:pt x="558" y="656"/>
                    </a:cubicBezTo>
                    <a:cubicBezTo>
                      <a:pt x="555" y="659"/>
                      <a:pt x="555" y="659"/>
                      <a:pt x="555" y="659"/>
                    </a:cubicBezTo>
                    <a:cubicBezTo>
                      <a:pt x="560" y="665"/>
                      <a:pt x="560" y="665"/>
                      <a:pt x="560" y="665"/>
                    </a:cubicBezTo>
                    <a:cubicBezTo>
                      <a:pt x="561" y="671"/>
                      <a:pt x="561" y="671"/>
                      <a:pt x="561" y="671"/>
                    </a:cubicBezTo>
                    <a:cubicBezTo>
                      <a:pt x="563" y="670"/>
                      <a:pt x="563" y="670"/>
                      <a:pt x="563" y="670"/>
                    </a:cubicBezTo>
                    <a:cubicBezTo>
                      <a:pt x="566" y="670"/>
                      <a:pt x="566" y="670"/>
                      <a:pt x="566" y="670"/>
                    </a:cubicBezTo>
                    <a:cubicBezTo>
                      <a:pt x="566" y="674"/>
                      <a:pt x="566" y="674"/>
                      <a:pt x="566" y="674"/>
                    </a:cubicBezTo>
                    <a:cubicBezTo>
                      <a:pt x="569" y="678"/>
                      <a:pt x="569" y="678"/>
                      <a:pt x="569" y="678"/>
                    </a:cubicBezTo>
                    <a:cubicBezTo>
                      <a:pt x="572" y="673"/>
                      <a:pt x="572" y="673"/>
                      <a:pt x="572" y="673"/>
                    </a:cubicBezTo>
                    <a:cubicBezTo>
                      <a:pt x="571" y="668"/>
                      <a:pt x="571" y="668"/>
                      <a:pt x="571" y="668"/>
                    </a:cubicBezTo>
                    <a:cubicBezTo>
                      <a:pt x="568" y="670"/>
                      <a:pt x="568" y="670"/>
                      <a:pt x="568" y="670"/>
                    </a:cubicBezTo>
                    <a:cubicBezTo>
                      <a:pt x="568" y="668"/>
                      <a:pt x="568" y="668"/>
                      <a:pt x="568" y="668"/>
                    </a:cubicBezTo>
                    <a:cubicBezTo>
                      <a:pt x="570" y="666"/>
                      <a:pt x="570" y="666"/>
                      <a:pt x="570" y="666"/>
                    </a:cubicBezTo>
                    <a:cubicBezTo>
                      <a:pt x="579" y="666"/>
                      <a:pt x="579" y="666"/>
                      <a:pt x="579" y="666"/>
                    </a:cubicBezTo>
                    <a:cubicBezTo>
                      <a:pt x="581" y="668"/>
                      <a:pt x="581" y="668"/>
                      <a:pt x="581" y="668"/>
                    </a:cubicBezTo>
                    <a:cubicBezTo>
                      <a:pt x="582" y="666"/>
                      <a:pt x="582" y="666"/>
                      <a:pt x="582" y="666"/>
                    </a:cubicBezTo>
                    <a:cubicBezTo>
                      <a:pt x="587" y="660"/>
                      <a:pt x="587" y="660"/>
                      <a:pt x="587" y="660"/>
                    </a:cubicBezTo>
                    <a:cubicBezTo>
                      <a:pt x="597" y="654"/>
                      <a:pt x="597" y="654"/>
                      <a:pt x="597" y="654"/>
                    </a:cubicBezTo>
                    <a:cubicBezTo>
                      <a:pt x="602" y="649"/>
                      <a:pt x="602" y="649"/>
                      <a:pt x="602" y="649"/>
                    </a:cubicBezTo>
                    <a:cubicBezTo>
                      <a:pt x="599" y="649"/>
                      <a:pt x="599" y="649"/>
                      <a:pt x="599" y="649"/>
                    </a:cubicBezTo>
                    <a:cubicBezTo>
                      <a:pt x="597" y="650"/>
                      <a:pt x="597" y="650"/>
                      <a:pt x="597" y="650"/>
                    </a:cubicBezTo>
                    <a:cubicBezTo>
                      <a:pt x="598" y="649"/>
                      <a:pt x="598" y="649"/>
                      <a:pt x="598" y="649"/>
                    </a:cubicBezTo>
                    <a:cubicBezTo>
                      <a:pt x="595" y="648"/>
                      <a:pt x="595" y="648"/>
                      <a:pt x="595" y="648"/>
                    </a:cubicBezTo>
                    <a:cubicBezTo>
                      <a:pt x="598" y="648"/>
                      <a:pt x="598" y="648"/>
                      <a:pt x="598" y="648"/>
                    </a:cubicBezTo>
                    <a:cubicBezTo>
                      <a:pt x="603" y="648"/>
                      <a:pt x="603" y="648"/>
                      <a:pt x="603" y="648"/>
                    </a:cubicBezTo>
                    <a:cubicBezTo>
                      <a:pt x="610" y="646"/>
                      <a:pt x="610" y="646"/>
                      <a:pt x="610" y="646"/>
                    </a:cubicBezTo>
                    <a:cubicBezTo>
                      <a:pt x="625" y="643"/>
                      <a:pt x="625" y="643"/>
                      <a:pt x="625" y="643"/>
                    </a:cubicBezTo>
                    <a:cubicBezTo>
                      <a:pt x="637" y="645"/>
                      <a:pt x="637" y="645"/>
                      <a:pt x="637" y="645"/>
                    </a:cubicBezTo>
                    <a:cubicBezTo>
                      <a:pt x="642" y="642"/>
                      <a:pt x="642" y="642"/>
                      <a:pt x="642" y="642"/>
                    </a:cubicBezTo>
                    <a:cubicBezTo>
                      <a:pt x="642" y="639"/>
                      <a:pt x="642" y="639"/>
                      <a:pt x="642" y="639"/>
                    </a:cubicBezTo>
                    <a:cubicBezTo>
                      <a:pt x="646" y="639"/>
                      <a:pt x="646" y="639"/>
                      <a:pt x="646" y="639"/>
                    </a:cubicBezTo>
                    <a:cubicBezTo>
                      <a:pt x="649" y="637"/>
                      <a:pt x="649" y="637"/>
                      <a:pt x="649" y="637"/>
                    </a:cubicBezTo>
                    <a:cubicBezTo>
                      <a:pt x="653" y="630"/>
                      <a:pt x="653" y="630"/>
                      <a:pt x="653" y="630"/>
                    </a:cubicBezTo>
                    <a:cubicBezTo>
                      <a:pt x="651" y="623"/>
                      <a:pt x="651" y="623"/>
                      <a:pt x="651" y="623"/>
                    </a:cubicBezTo>
                    <a:cubicBezTo>
                      <a:pt x="651" y="619"/>
                      <a:pt x="651" y="619"/>
                      <a:pt x="651" y="619"/>
                    </a:cubicBezTo>
                    <a:cubicBezTo>
                      <a:pt x="657" y="613"/>
                      <a:pt x="657" y="613"/>
                      <a:pt x="657" y="613"/>
                    </a:cubicBezTo>
                    <a:cubicBezTo>
                      <a:pt x="657" y="602"/>
                      <a:pt x="657" y="602"/>
                      <a:pt x="657" y="602"/>
                    </a:cubicBezTo>
                    <a:cubicBezTo>
                      <a:pt x="661" y="598"/>
                      <a:pt x="661" y="598"/>
                      <a:pt x="661" y="598"/>
                    </a:cubicBezTo>
                    <a:cubicBezTo>
                      <a:pt x="662" y="590"/>
                      <a:pt x="662" y="590"/>
                      <a:pt x="662" y="590"/>
                    </a:cubicBezTo>
                    <a:cubicBezTo>
                      <a:pt x="666" y="588"/>
                      <a:pt x="666" y="588"/>
                      <a:pt x="666" y="588"/>
                    </a:cubicBezTo>
                    <a:cubicBezTo>
                      <a:pt x="665" y="585"/>
                      <a:pt x="665" y="585"/>
                      <a:pt x="665" y="585"/>
                    </a:cubicBezTo>
                    <a:cubicBezTo>
                      <a:pt x="677" y="571"/>
                      <a:pt x="677" y="571"/>
                      <a:pt x="677" y="571"/>
                    </a:cubicBezTo>
                    <a:cubicBezTo>
                      <a:pt x="680" y="570"/>
                      <a:pt x="680" y="570"/>
                      <a:pt x="680" y="570"/>
                    </a:cubicBezTo>
                    <a:cubicBezTo>
                      <a:pt x="682" y="563"/>
                      <a:pt x="682" y="563"/>
                      <a:pt x="682" y="563"/>
                    </a:cubicBezTo>
                    <a:cubicBezTo>
                      <a:pt x="687" y="557"/>
                      <a:pt x="687" y="557"/>
                      <a:pt x="687" y="557"/>
                    </a:cubicBezTo>
                    <a:cubicBezTo>
                      <a:pt x="690" y="549"/>
                      <a:pt x="690" y="549"/>
                      <a:pt x="690" y="549"/>
                    </a:cubicBezTo>
                    <a:cubicBezTo>
                      <a:pt x="694" y="544"/>
                      <a:pt x="694" y="544"/>
                      <a:pt x="694" y="544"/>
                    </a:cubicBezTo>
                    <a:cubicBezTo>
                      <a:pt x="694" y="540"/>
                      <a:pt x="694" y="540"/>
                      <a:pt x="694" y="540"/>
                    </a:cubicBezTo>
                    <a:cubicBezTo>
                      <a:pt x="697" y="539"/>
                      <a:pt x="697" y="539"/>
                      <a:pt x="697" y="539"/>
                    </a:cubicBezTo>
                    <a:cubicBezTo>
                      <a:pt x="700" y="532"/>
                      <a:pt x="700" y="532"/>
                      <a:pt x="700" y="532"/>
                    </a:cubicBezTo>
                    <a:cubicBezTo>
                      <a:pt x="698" y="529"/>
                      <a:pt x="698" y="529"/>
                      <a:pt x="698" y="529"/>
                    </a:cubicBezTo>
                    <a:cubicBezTo>
                      <a:pt x="704" y="527"/>
                      <a:pt x="704" y="527"/>
                      <a:pt x="704" y="527"/>
                    </a:cubicBezTo>
                    <a:cubicBezTo>
                      <a:pt x="708" y="521"/>
                      <a:pt x="708" y="521"/>
                      <a:pt x="708" y="521"/>
                    </a:cubicBezTo>
                    <a:cubicBezTo>
                      <a:pt x="710" y="518"/>
                      <a:pt x="710" y="518"/>
                      <a:pt x="710" y="518"/>
                    </a:cubicBezTo>
                    <a:cubicBezTo>
                      <a:pt x="713" y="512"/>
                      <a:pt x="713" y="512"/>
                      <a:pt x="713" y="512"/>
                    </a:cubicBezTo>
                    <a:cubicBezTo>
                      <a:pt x="719" y="511"/>
                      <a:pt x="719" y="511"/>
                      <a:pt x="719" y="511"/>
                    </a:cubicBezTo>
                    <a:cubicBezTo>
                      <a:pt x="722" y="509"/>
                      <a:pt x="722" y="509"/>
                      <a:pt x="722" y="509"/>
                    </a:cubicBezTo>
                    <a:cubicBezTo>
                      <a:pt x="717" y="509"/>
                      <a:pt x="717" y="509"/>
                      <a:pt x="717" y="509"/>
                    </a:cubicBezTo>
                    <a:cubicBezTo>
                      <a:pt x="718" y="507"/>
                      <a:pt x="718" y="507"/>
                      <a:pt x="718" y="507"/>
                    </a:cubicBezTo>
                    <a:cubicBezTo>
                      <a:pt x="725" y="507"/>
                      <a:pt x="725" y="507"/>
                      <a:pt x="725" y="507"/>
                    </a:cubicBezTo>
                    <a:cubicBezTo>
                      <a:pt x="731" y="503"/>
                      <a:pt x="731" y="503"/>
                      <a:pt x="731" y="503"/>
                    </a:cubicBezTo>
                    <a:cubicBezTo>
                      <a:pt x="732" y="498"/>
                      <a:pt x="732" y="498"/>
                      <a:pt x="732" y="498"/>
                    </a:cubicBezTo>
                    <a:cubicBezTo>
                      <a:pt x="731" y="496"/>
                      <a:pt x="731" y="496"/>
                      <a:pt x="731" y="496"/>
                    </a:cubicBezTo>
                    <a:cubicBezTo>
                      <a:pt x="732" y="492"/>
                      <a:pt x="732" y="492"/>
                      <a:pt x="732" y="492"/>
                    </a:cubicBezTo>
                    <a:cubicBezTo>
                      <a:pt x="739" y="487"/>
                      <a:pt x="739" y="487"/>
                      <a:pt x="739" y="487"/>
                    </a:cubicBezTo>
                    <a:cubicBezTo>
                      <a:pt x="739" y="484"/>
                      <a:pt x="739" y="484"/>
                      <a:pt x="739" y="484"/>
                    </a:cubicBezTo>
                    <a:cubicBezTo>
                      <a:pt x="743" y="482"/>
                      <a:pt x="743" y="482"/>
                      <a:pt x="743" y="482"/>
                    </a:cubicBezTo>
                    <a:cubicBezTo>
                      <a:pt x="747" y="475"/>
                      <a:pt x="747" y="475"/>
                      <a:pt x="747" y="475"/>
                    </a:cubicBezTo>
                    <a:cubicBezTo>
                      <a:pt x="747" y="472"/>
                      <a:pt x="747" y="472"/>
                      <a:pt x="747" y="472"/>
                    </a:cubicBezTo>
                    <a:cubicBezTo>
                      <a:pt x="749" y="466"/>
                      <a:pt x="749" y="466"/>
                      <a:pt x="749" y="466"/>
                    </a:cubicBezTo>
                    <a:cubicBezTo>
                      <a:pt x="747" y="464"/>
                      <a:pt x="747" y="464"/>
                      <a:pt x="747" y="464"/>
                    </a:cubicBezTo>
                    <a:cubicBezTo>
                      <a:pt x="748" y="461"/>
                      <a:pt x="748" y="461"/>
                      <a:pt x="748" y="461"/>
                    </a:cubicBezTo>
                    <a:cubicBezTo>
                      <a:pt x="753" y="449"/>
                      <a:pt x="753" y="449"/>
                      <a:pt x="753" y="449"/>
                    </a:cubicBezTo>
                    <a:cubicBezTo>
                      <a:pt x="755" y="443"/>
                      <a:pt x="755" y="443"/>
                      <a:pt x="755" y="443"/>
                    </a:cubicBezTo>
                    <a:cubicBezTo>
                      <a:pt x="762" y="431"/>
                      <a:pt x="762" y="431"/>
                      <a:pt x="762" y="431"/>
                    </a:cubicBezTo>
                    <a:cubicBezTo>
                      <a:pt x="761" y="426"/>
                      <a:pt x="761" y="426"/>
                      <a:pt x="761" y="426"/>
                    </a:cubicBezTo>
                    <a:cubicBezTo>
                      <a:pt x="765" y="417"/>
                      <a:pt x="765" y="417"/>
                      <a:pt x="765" y="417"/>
                    </a:cubicBezTo>
                    <a:cubicBezTo>
                      <a:pt x="770" y="413"/>
                      <a:pt x="770" y="413"/>
                      <a:pt x="770" y="413"/>
                    </a:cubicBezTo>
                    <a:cubicBezTo>
                      <a:pt x="772" y="408"/>
                      <a:pt x="772" y="408"/>
                      <a:pt x="772" y="408"/>
                    </a:cubicBezTo>
                    <a:cubicBezTo>
                      <a:pt x="771" y="403"/>
                      <a:pt x="771" y="403"/>
                      <a:pt x="771" y="403"/>
                    </a:cubicBezTo>
                    <a:cubicBezTo>
                      <a:pt x="774" y="399"/>
                      <a:pt x="774" y="399"/>
                      <a:pt x="774" y="399"/>
                    </a:cubicBezTo>
                    <a:cubicBezTo>
                      <a:pt x="771" y="390"/>
                      <a:pt x="771" y="390"/>
                      <a:pt x="771" y="390"/>
                    </a:cubicBezTo>
                    <a:cubicBezTo>
                      <a:pt x="771" y="386"/>
                      <a:pt x="771" y="386"/>
                      <a:pt x="771" y="386"/>
                    </a:cubicBezTo>
                    <a:cubicBezTo>
                      <a:pt x="769" y="379"/>
                      <a:pt x="769" y="379"/>
                      <a:pt x="769" y="379"/>
                    </a:cubicBezTo>
                    <a:cubicBezTo>
                      <a:pt x="767" y="377"/>
                      <a:pt x="767" y="377"/>
                      <a:pt x="767" y="377"/>
                    </a:cubicBezTo>
                    <a:cubicBezTo>
                      <a:pt x="767" y="373"/>
                      <a:pt x="767" y="373"/>
                      <a:pt x="767" y="373"/>
                    </a:cubicBezTo>
                    <a:cubicBezTo>
                      <a:pt x="769" y="371"/>
                      <a:pt x="769" y="371"/>
                      <a:pt x="769" y="371"/>
                    </a:cubicBezTo>
                    <a:cubicBezTo>
                      <a:pt x="769" y="367"/>
                      <a:pt x="769" y="367"/>
                      <a:pt x="769" y="367"/>
                    </a:cubicBezTo>
                    <a:cubicBezTo>
                      <a:pt x="772" y="361"/>
                      <a:pt x="772" y="361"/>
                      <a:pt x="772" y="361"/>
                    </a:cubicBezTo>
                    <a:cubicBezTo>
                      <a:pt x="772" y="360"/>
                      <a:pt x="772" y="360"/>
                      <a:pt x="772" y="360"/>
                    </a:cubicBezTo>
                    <a:cubicBezTo>
                      <a:pt x="771" y="349"/>
                      <a:pt x="771" y="349"/>
                      <a:pt x="771" y="349"/>
                    </a:cubicBezTo>
                    <a:cubicBezTo>
                      <a:pt x="774" y="345"/>
                      <a:pt x="774" y="345"/>
                      <a:pt x="774" y="345"/>
                    </a:cubicBezTo>
                    <a:cubicBezTo>
                      <a:pt x="772" y="343"/>
                      <a:pt x="772" y="343"/>
                      <a:pt x="772" y="343"/>
                    </a:cubicBezTo>
                    <a:cubicBezTo>
                      <a:pt x="771" y="339"/>
                      <a:pt x="771" y="339"/>
                      <a:pt x="771" y="339"/>
                    </a:cubicBezTo>
                    <a:cubicBezTo>
                      <a:pt x="771" y="332"/>
                      <a:pt x="771" y="332"/>
                      <a:pt x="771" y="332"/>
                    </a:cubicBezTo>
                    <a:cubicBezTo>
                      <a:pt x="770" y="331"/>
                      <a:pt x="770" y="331"/>
                      <a:pt x="770" y="331"/>
                    </a:cubicBezTo>
                    <a:cubicBezTo>
                      <a:pt x="772" y="327"/>
                      <a:pt x="772" y="327"/>
                      <a:pt x="772" y="327"/>
                    </a:cubicBezTo>
                    <a:cubicBezTo>
                      <a:pt x="768" y="326"/>
                      <a:pt x="768" y="326"/>
                      <a:pt x="768" y="326"/>
                    </a:cubicBezTo>
                    <a:cubicBezTo>
                      <a:pt x="766" y="322"/>
                      <a:pt x="766" y="322"/>
                      <a:pt x="766" y="322"/>
                    </a:cubicBezTo>
                    <a:cubicBezTo>
                      <a:pt x="766" y="318"/>
                      <a:pt x="766" y="318"/>
                      <a:pt x="766" y="318"/>
                    </a:cubicBezTo>
                    <a:cubicBezTo>
                      <a:pt x="762" y="314"/>
                      <a:pt x="762" y="314"/>
                      <a:pt x="762" y="314"/>
                    </a:cubicBezTo>
                    <a:cubicBezTo>
                      <a:pt x="759" y="309"/>
                      <a:pt x="759" y="309"/>
                      <a:pt x="759" y="309"/>
                    </a:cubicBezTo>
                    <a:cubicBezTo>
                      <a:pt x="758" y="304"/>
                      <a:pt x="758" y="304"/>
                      <a:pt x="758" y="304"/>
                    </a:cubicBezTo>
                    <a:cubicBezTo>
                      <a:pt x="755" y="299"/>
                      <a:pt x="755" y="299"/>
                      <a:pt x="755" y="299"/>
                    </a:cubicBezTo>
                    <a:cubicBezTo>
                      <a:pt x="753" y="299"/>
                      <a:pt x="753" y="299"/>
                      <a:pt x="753" y="299"/>
                    </a:cubicBezTo>
                    <a:cubicBezTo>
                      <a:pt x="750" y="300"/>
                      <a:pt x="750" y="300"/>
                      <a:pt x="750" y="300"/>
                    </a:cubicBezTo>
                    <a:cubicBezTo>
                      <a:pt x="747" y="298"/>
                      <a:pt x="747" y="298"/>
                      <a:pt x="747" y="298"/>
                    </a:cubicBezTo>
                    <a:cubicBezTo>
                      <a:pt x="747" y="293"/>
                      <a:pt x="747" y="293"/>
                      <a:pt x="747" y="293"/>
                    </a:cubicBezTo>
                    <a:cubicBezTo>
                      <a:pt x="745" y="292"/>
                      <a:pt x="745" y="292"/>
                      <a:pt x="745" y="292"/>
                    </a:cubicBezTo>
                    <a:cubicBezTo>
                      <a:pt x="744" y="290"/>
                      <a:pt x="744" y="290"/>
                      <a:pt x="744" y="290"/>
                    </a:cubicBezTo>
                    <a:cubicBezTo>
                      <a:pt x="740" y="286"/>
                      <a:pt x="740" y="286"/>
                      <a:pt x="740" y="286"/>
                    </a:cubicBezTo>
                    <a:cubicBezTo>
                      <a:pt x="738" y="284"/>
                      <a:pt x="738" y="284"/>
                      <a:pt x="738" y="284"/>
                    </a:cubicBezTo>
                    <a:cubicBezTo>
                      <a:pt x="739" y="281"/>
                      <a:pt x="739" y="281"/>
                      <a:pt x="739" y="281"/>
                    </a:cubicBezTo>
                    <a:cubicBezTo>
                      <a:pt x="736" y="277"/>
                      <a:pt x="736" y="277"/>
                      <a:pt x="736" y="277"/>
                    </a:cubicBezTo>
                    <a:cubicBezTo>
                      <a:pt x="740" y="272"/>
                      <a:pt x="740" y="272"/>
                      <a:pt x="740" y="272"/>
                    </a:cubicBezTo>
                    <a:cubicBezTo>
                      <a:pt x="740" y="267"/>
                      <a:pt x="740" y="267"/>
                      <a:pt x="740" y="267"/>
                    </a:cubicBezTo>
                    <a:cubicBezTo>
                      <a:pt x="739" y="264"/>
                      <a:pt x="739" y="264"/>
                      <a:pt x="739" y="264"/>
                    </a:cubicBezTo>
                    <a:cubicBezTo>
                      <a:pt x="740" y="260"/>
                      <a:pt x="740" y="260"/>
                      <a:pt x="740" y="260"/>
                    </a:cubicBezTo>
                    <a:cubicBezTo>
                      <a:pt x="737" y="259"/>
                      <a:pt x="737" y="259"/>
                      <a:pt x="737" y="259"/>
                    </a:cubicBezTo>
                    <a:cubicBezTo>
                      <a:pt x="737" y="261"/>
                      <a:pt x="737" y="261"/>
                      <a:pt x="737" y="261"/>
                    </a:cubicBezTo>
                    <a:cubicBezTo>
                      <a:pt x="738" y="262"/>
                      <a:pt x="738" y="262"/>
                      <a:pt x="738" y="262"/>
                    </a:cubicBezTo>
                    <a:cubicBezTo>
                      <a:pt x="736" y="264"/>
                      <a:pt x="736" y="264"/>
                      <a:pt x="736" y="264"/>
                    </a:cubicBezTo>
                    <a:cubicBezTo>
                      <a:pt x="728" y="257"/>
                      <a:pt x="728" y="257"/>
                      <a:pt x="728" y="257"/>
                    </a:cubicBezTo>
                    <a:cubicBezTo>
                      <a:pt x="726" y="252"/>
                      <a:pt x="726" y="252"/>
                      <a:pt x="726" y="252"/>
                    </a:cubicBezTo>
                    <a:cubicBezTo>
                      <a:pt x="724" y="253"/>
                      <a:pt x="724" y="253"/>
                      <a:pt x="724" y="253"/>
                    </a:cubicBezTo>
                    <a:cubicBezTo>
                      <a:pt x="724" y="256"/>
                      <a:pt x="724" y="256"/>
                      <a:pt x="724" y="256"/>
                    </a:cubicBezTo>
                    <a:cubicBezTo>
                      <a:pt x="723" y="259"/>
                      <a:pt x="723" y="259"/>
                      <a:pt x="723" y="259"/>
                    </a:cubicBezTo>
                    <a:cubicBezTo>
                      <a:pt x="725" y="264"/>
                      <a:pt x="725" y="264"/>
                      <a:pt x="725" y="264"/>
                    </a:cubicBezTo>
                    <a:cubicBezTo>
                      <a:pt x="721" y="259"/>
                      <a:pt x="721" y="259"/>
                      <a:pt x="721" y="259"/>
                    </a:cubicBezTo>
                    <a:cubicBezTo>
                      <a:pt x="719" y="262"/>
                      <a:pt x="719" y="262"/>
                      <a:pt x="719" y="262"/>
                    </a:cubicBezTo>
                    <a:cubicBezTo>
                      <a:pt x="719" y="258"/>
                      <a:pt x="719" y="258"/>
                      <a:pt x="719" y="258"/>
                    </a:cubicBezTo>
                    <a:cubicBezTo>
                      <a:pt x="717" y="255"/>
                      <a:pt x="717" y="255"/>
                      <a:pt x="717" y="255"/>
                    </a:cubicBezTo>
                    <a:cubicBezTo>
                      <a:pt x="717" y="245"/>
                      <a:pt x="717" y="245"/>
                      <a:pt x="717" y="245"/>
                    </a:cubicBezTo>
                    <a:cubicBezTo>
                      <a:pt x="718" y="244"/>
                      <a:pt x="718" y="244"/>
                      <a:pt x="718" y="244"/>
                    </a:cubicBezTo>
                    <a:cubicBezTo>
                      <a:pt x="718" y="241"/>
                      <a:pt x="718" y="241"/>
                      <a:pt x="718" y="241"/>
                    </a:cubicBezTo>
                    <a:cubicBezTo>
                      <a:pt x="714" y="239"/>
                      <a:pt x="714" y="239"/>
                      <a:pt x="714" y="239"/>
                    </a:cubicBezTo>
                    <a:cubicBezTo>
                      <a:pt x="716" y="236"/>
                      <a:pt x="716" y="236"/>
                      <a:pt x="716" y="236"/>
                    </a:cubicBezTo>
                    <a:cubicBezTo>
                      <a:pt x="713" y="234"/>
                      <a:pt x="713" y="234"/>
                      <a:pt x="713" y="234"/>
                    </a:cubicBezTo>
                    <a:cubicBezTo>
                      <a:pt x="714" y="231"/>
                      <a:pt x="714" y="231"/>
                      <a:pt x="714" y="231"/>
                    </a:cubicBezTo>
                    <a:cubicBezTo>
                      <a:pt x="707" y="225"/>
                      <a:pt x="707" y="225"/>
                      <a:pt x="707" y="225"/>
                    </a:cubicBezTo>
                    <a:cubicBezTo>
                      <a:pt x="706" y="222"/>
                      <a:pt x="706" y="222"/>
                      <a:pt x="706" y="222"/>
                    </a:cubicBezTo>
                    <a:cubicBezTo>
                      <a:pt x="705" y="217"/>
                      <a:pt x="705" y="217"/>
                      <a:pt x="705" y="217"/>
                    </a:cubicBezTo>
                    <a:cubicBezTo>
                      <a:pt x="709" y="218"/>
                      <a:pt x="709" y="218"/>
                      <a:pt x="709" y="218"/>
                    </a:cubicBezTo>
                    <a:cubicBezTo>
                      <a:pt x="709" y="215"/>
                      <a:pt x="709" y="215"/>
                      <a:pt x="709" y="215"/>
                    </a:cubicBezTo>
                    <a:cubicBezTo>
                      <a:pt x="706" y="209"/>
                      <a:pt x="706" y="209"/>
                      <a:pt x="706" y="209"/>
                    </a:cubicBezTo>
                    <a:cubicBezTo>
                      <a:pt x="704" y="210"/>
                      <a:pt x="704" y="210"/>
                      <a:pt x="704" y="210"/>
                    </a:cubicBezTo>
                    <a:cubicBezTo>
                      <a:pt x="701" y="210"/>
                      <a:pt x="701" y="210"/>
                      <a:pt x="701" y="210"/>
                    </a:cubicBezTo>
                    <a:cubicBezTo>
                      <a:pt x="697" y="205"/>
                      <a:pt x="697" y="205"/>
                      <a:pt x="697" y="205"/>
                    </a:cubicBezTo>
                    <a:cubicBezTo>
                      <a:pt x="694" y="204"/>
                      <a:pt x="694" y="204"/>
                      <a:pt x="694" y="204"/>
                    </a:cubicBezTo>
                    <a:cubicBezTo>
                      <a:pt x="691" y="201"/>
                      <a:pt x="691" y="201"/>
                      <a:pt x="691" y="201"/>
                    </a:cubicBezTo>
                    <a:cubicBezTo>
                      <a:pt x="689" y="204"/>
                      <a:pt x="689" y="204"/>
                      <a:pt x="689" y="204"/>
                    </a:cubicBezTo>
                    <a:cubicBezTo>
                      <a:pt x="687" y="201"/>
                      <a:pt x="687" y="201"/>
                      <a:pt x="687" y="201"/>
                    </a:cubicBezTo>
                    <a:cubicBezTo>
                      <a:pt x="683" y="200"/>
                      <a:pt x="683" y="200"/>
                      <a:pt x="683" y="200"/>
                    </a:cubicBezTo>
                    <a:cubicBezTo>
                      <a:pt x="680" y="202"/>
                      <a:pt x="680" y="202"/>
                      <a:pt x="680" y="202"/>
                    </a:cubicBezTo>
                    <a:cubicBezTo>
                      <a:pt x="682" y="199"/>
                      <a:pt x="682" y="199"/>
                      <a:pt x="682" y="199"/>
                    </a:cubicBezTo>
                    <a:cubicBezTo>
                      <a:pt x="686" y="198"/>
                      <a:pt x="686" y="198"/>
                      <a:pt x="686" y="198"/>
                    </a:cubicBezTo>
                    <a:cubicBezTo>
                      <a:pt x="687" y="195"/>
                      <a:pt x="687" y="195"/>
                      <a:pt x="687" y="195"/>
                    </a:cubicBezTo>
                    <a:cubicBezTo>
                      <a:pt x="685" y="193"/>
                      <a:pt x="685" y="193"/>
                      <a:pt x="685" y="193"/>
                    </a:cubicBezTo>
                    <a:cubicBezTo>
                      <a:pt x="681" y="194"/>
                      <a:pt x="681" y="194"/>
                      <a:pt x="681" y="194"/>
                    </a:cubicBezTo>
                    <a:cubicBezTo>
                      <a:pt x="678" y="193"/>
                      <a:pt x="678" y="193"/>
                      <a:pt x="678" y="193"/>
                    </a:cubicBezTo>
                    <a:cubicBezTo>
                      <a:pt x="677" y="191"/>
                      <a:pt x="677" y="191"/>
                      <a:pt x="677" y="191"/>
                    </a:cubicBezTo>
                    <a:cubicBezTo>
                      <a:pt x="675" y="191"/>
                      <a:pt x="675" y="191"/>
                      <a:pt x="675" y="191"/>
                    </a:cubicBezTo>
                    <a:cubicBezTo>
                      <a:pt x="667" y="187"/>
                      <a:pt x="667" y="187"/>
                      <a:pt x="667" y="187"/>
                    </a:cubicBezTo>
                    <a:cubicBezTo>
                      <a:pt x="663" y="180"/>
                      <a:pt x="663" y="180"/>
                      <a:pt x="663" y="180"/>
                    </a:cubicBezTo>
                    <a:cubicBezTo>
                      <a:pt x="663" y="173"/>
                      <a:pt x="663" y="173"/>
                      <a:pt x="663" y="173"/>
                    </a:cubicBezTo>
                    <a:cubicBezTo>
                      <a:pt x="660" y="169"/>
                      <a:pt x="660" y="169"/>
                      <a:pt x="660" y="169"/>
                    </a:cubicBezTo>
                    <a:cubicBezTo>
                      <a:pt x="660" y="166"/>
                      <a:pt x="660" y="166"/>
                      <a:pt x="660" y="166"/>
                    </a:cubicBezTo>
                    <a:cubicBezTo>
                      <a:pt x="662" y="165"/>
                      <a:pt x="662" y="165"/>
                      <a:pt x="662" y="165"/>
                    </a:cubicBezTo>
                    <a:cubicBezTo>
                      <a:pt x="664" y="157"/>
                      <a:pt x="664" y="157"/>
                      <a:pt x="664" y="157"/>
                    </a:cubicBezTo>
                    <a:cubicBezTo>
                      <a:pt x="662" y="148"/>
                      <a:pt x="662" y="148"/>
                      <a:pt x="662" y="148"/>
                    </a:cubicBezTo>
                    <a:cubicBezTo>
                      <a:pt x="659" y="143"/>
                      <a:pt x="659" y="143"/>
                      <a:pt x="659" y="143"/>
                    </a:cubicBezTo>
                    <a:cubicBezTo>
                      <a:pt x="661" y="142"/>
                      <a:pt x="661" y="142"/>
                      <a:pt x="661" y="142"/>
                    </a:cubicBezTo>
                    <a:cubicBezTo>
                      <a:pt x="659" y="140"/>
                      <a:pt x="659" y="140"/>
                      <a:pt x="659" y="140"/>
                    </a:cubicBezTo>
                    <a:cubicBezTo>
                      <a:pt x="656" y="140"/>
                      <a:pt x="656" y="140"/>
                      <a:pt x="656" y="140"/>
                    </a:cubicBezTo>
                    <a:cubicBezTo>
                      <a:pt x="652" y="133"/>
                      <a:pt x="652" y="133"/>
                      <a:pt x="652" y="133"/>
                    </a:cubicBezTo>
                    <a:cubicBezTo>
                      <a:pt x="652" y="123"/>
                      <a:pt x="652" y="123"/>
                      <a:pt x="652" y="123"/>
                    </a:cubicBezTo>
                    <a:cubicBezTo>
                      <a:pt x="654" y="122"/>
                      <a:pt x="654" y="122"/>
                      <a:pt x="654" y="122"/>
                    </a:cubicBezTo>
                    <a:cubicBezTo>
                      <a:pt x="654" y="120"/>
                      <a:pt x="654" y="120"/>
                      <a:pt x="654" y="120"/>
                    </a:cubicBezTo>
                    <a:cubicBezTo>
                      <a:pt x="652" y="118"/>
                      <a:pt x="652" y="118"/>
                      <a:pt x="652" y="118"/>
                    </a:cubicBezTo>
                    <a:cubicBezTo>
                      <a:pt x="651" y="107"/>
                      <a:pt x="651" y="107"/>
                      <a:pt x="651" y="107"/>
                    </a:cubicBezTo>
                    <a:cubicBezTo>
                      <a:pt x="652" y="104"/>
                      <a:pt x="652" y="104"/>
                      <a:pt x="652" y="104"/>
                    </a:cubicBezTo>
                    <a:cubicBezTo>
                      <a:pt x="651" y="100"/>
                      <a:pt x="651" y="100"/>
                      <a:pt x="651" y="100"/>
                    </a:cubicBezTo>
                    <a:cubicBezTo>
                      <a:pt x="653" y="99"/>
                      <a:pt x="653" y="99"/>
                      <a:pt x="653" y="99"/>
                    </a:cubicBezTo>
                    <a:cubicBezTo>
                      <a:pt x="653" y="96"/>
                      <a:pt x="653" y="96"/>
                      <a:pt x="653" y="96"/>
                    </a:cubicBezTo>
                    <a:cubicBezTo>
                      <a:pt x="646" y="90"/>
                      <a:pt x="646" y="90"/>
                      <a:pt x="646" y="90"/>
                    </a:cubicBezTo>
                    <a:cubicBezTo>
                      <a:pt x="642" y="88"/>
                      <a:pt x="642" y="88"/>
                      <a:pt x="642" y="88"/>
                    </a:cubicBezTo>
                    <a:cubicBezTo>
                      <a:pt x="643" y="86"/>
                      <a:pt x="643" y="86"/>
                      <a:pt x="643" y="86"/>
                    </a:cubicBezTo>
                    <a:cubicBezTo>
                      <a:pt x="639" y="82"/>
                      <a:pt x="639" y="82"/>
                      <a:pt x="639" y="82"/>
                    </a:cubicBezTo>
                    <a:cubicBezTo>
                      <a:pt x="635" y="84"/>
                      <a:pt x="635" y="84"/>
                      <a:pt x="635" y="84"/>
                    </a:cubicBezTo>
                    <a:cubicBezTo>
                      <a:pt x="633" y="83"/>
                      <a:pt x="633" y="83"/>
                      <a:pt x="633" y="83"/>
                    </a:cubicBezTo>
                    <a:cubicBezTo>
                      <a:pt x="631" y="87"/>
                      <a:pt x="631" y="87"/>
                      <a:pt x="631" y="87"/>
                    </a:cubicBezTo>
                    <a:cubicBezTo>
                      <a:pt x="628" y="87"/>
                      <a:pt x="628" y="87"/>
                      <a:pt x="628" y="87"/>
                    </a:cubicBezTo>
                    <a:cubicBezTo>
                      <a:pt x="624" y="82"/>
                      <a:pt x="624" y="82"/>
                      <a:pt x="624" y="82"/>
                    </a:cubicBezTo>
                    <a:cubicBezTo>
                      <a:pt x="624" y="78"/>
                      <a:pt x="624" y="78"/>
                      <a:pt x="624" y="78"/>
                    </a:cubicBezTo>
                    <a:cubicBezTo>
                      <a:pt x="622" y="73"/>
                      <a:pt x="622" y="73"/>
                      <a:pt x="622" y="73"/>
                    </a:cubicBezTo>
                    <a:cubicBezTo>
                      <a:pt x="623" y="66"/>
                      <a:pt x="623" y="66"/>
                      <a:pt x="623" y="66"/>
                    </a:cubicBezTo>
                    <a:cubicBezTo>
                      <a:pt x="622" y="58"/>
                      <a:pt x="622" y="58"/>
                      <a:pt x="622" y="58"/>
                    </a:cubicBezTo>
                    <a:cubicBezTo>
                      <a:pt x="621" y="59"/>
                      <a:pt x="621" y="59"/>
                      <a:pt x="621" y="59"/>
                    </a:cubicBezTo>
                    <a:cubicBezTo>
                      <a:pt x="619" y="55"/>
                      <a:pt x="619" y="55"/>
                      <a:pt x="619" y="55"/>
                    </a:cubicBezTo>
                    <a:cubicBezTo>
                      <a:pt x="621" y="52"/>
                      <a:pt x="621" y="52"/>
                      <a:pt x="621" y="52"/>
                    </a:cubicBezTo>
                    <a:cubicBezTo>
                      <a:pt x="618" y="48"/>
                      <a:pt x="618" y="48"/>
                      <a:pt x="618" y="48"/>
                    </a:cubicBezTo>
                    <a:cubicBezTo>
                      <a:pt x="618" y="45"/>
                      <a:pt x="618" y="45"/>
                      <a:pt x="618" y="45"/>
                    </a:cubicBezTo>
                    <a:cubicBezTo>
                      <a:pt x="616" y="44"/>
                      <a:pt x="616" y="44"/>
                      <a:pt x="616" y="44"/>
                    </a:cubicBezTo>
                    <a:cubicBezTo>
                      <a:pt x="616" y="39"/>
                      <a:pt x="616" y="39"/>
                      <a:pt x="616" y="39"/>
                    </a:cubicBezTo>
                    <a:cubicBezTo>
                      <a:pt x="619" y="37"/>
                      <a:pt x="619" y="37"/>
                      <a:pt x="619" y="37"/>
                    </a:cubicBezTo>
                    <a:cubicBezTo>
                      <a:pt x="616" y="36"/>
                      <a:pt x="616" y="36"/>
                      <a:pt x="616" y="36"/>
                    </a:cubicBezTo>
                    <a:cubicBezTo>
                      <a:pt x="613" y="36"/>
                      <a:pt x="613" y="36"/>
                      <a:pt x="613" y="36"/>
                    </a:cubicBezTo>
                    <a:cubicBezTo>
                      <a:pt x="610" y="34"/>
                      <a:pt x="610" y="34"/>
                      <a:pt x="610" y="34"/>
                    </a:cubicBezTo>
                    <a:cubicBezTo>
                      <a:pt x="612" y="25"/>
                      <a:pt x="612" y="25"/>
                      <a:pt x="612" y="25"/>
                    </a:cubicBezTo>
                    <a:cubicBezTo>
                      <a:pt x="611" y="23"/>
                      <a:pt x="611" y="23"/>
                      <a:pt x="611" y="23"/>
                    </a:cubicBezTo>
                    <a:cubicBezTo>
                      <a:pt x="609" y="18"/>
                      <a:pt x="609" y="18"/>
                      <a:pt x="609" y="18"/>
                    </a:cubicBezTo>
                    <a:cubicBezTo>
                      <a:pt x="605" y="17"/>
                      <a:pt x="605" y="17"/>
                      <a:pt x="605" y="17"/>
                    </a:cubicBezTo>
                    <a:cubicBezTo>
                      <a:pt x="605" y="15"/>
                      <a:pt x="605" y="15"/>
                      <a:pt x="605" y="15"/>
                    </a:cubicBezTo>
                    <a:cubicBezTo>
                      <a:pt x="601" y="17"/>
                      <a:pt x="601" y="17"/>
                      <a:pt x="601" y="17"/>
                    </a:cubicBezTo>
                    <a:cubicBezTo>
                      <a:pt x="599" y="20"/>
                      <a:pt x="599" y="20"/>
                      <a:pt x="599" y="20"/>
                    </a:cubicBezTo>
                    <a:cubicBezTo>
                      <a:pt x="599" y="26"/>
                      <a:pt x="599" y="26"/>
                      <a:pt x="599" y="26"/>
                    </a:cubicBezTo>
                    <a:cubicBezTo>
                      <a:pt x="597" y="32"/>
                      <a:pt x="597" y="32"/>
                      <a:pt x="597" y="32"/>
                    </a:cubicBezTo>
                    <a:cubicBezTo>
                      <a:pt x="597" y="33"/>
                      <a:pt x="597" y="33"/>
                      <a:pt x="597" y="33"/>
                    </a:cubicBezTo>
                    <a:cubicBezTo>
                      <a:pt x="596" y="37"/>
                      <a:pt x="596" y="37"/>
                      <a:pt x="596" y="37"/>
                    </a:cubicBezTo>
                    <a:cubicBezTo>
                      <a:pt x="594" y="37"/>
                      <a:pt x="594" y="37"/>
                      <a:pt x="594" y="37"/>
                    </a:cubicBezTo>
                    <a:cubicBezTo>
                      <a:pt x="591" y="43"/>
                      <a:pt x="591" y="43"/>
                      <a:pt x="591" y="43"/>
                    </a:cubicBezTo>
                    <a:cubicBezTo>
                      <a:pt x="588" y="47"/>
                      <a:pt x="588" y="47"/>
                      <a:pt x="588" y="47"/>
                    </a:cubicBezTo>
                    <a:cubicBezTo>
                      <a:pt x="591" y="50"/>
                      <a:pt x="591" y="50"/>
                      <a:pt x="591" y="50"/>
                    </a:cubicBezTo>
                    <a:cubicBezTo>
                      <a:pt x="594" y="53"/>
                      <a:pt x="594" y="53"/>
                      <a:pt x="594" y="53"/>
                    </a:cubicBezTo>
                    <a:cubicBezTo>
                      <a:pt x="592" y="54"/>
                      <a:pt x="592" y="54"/>
                      <a:pt x="592" y="54"/>
                    </a:cubicBezTo>
                    <a:cubicBezTo>
                      <a:pt x="590" y="54"/>
                      <a:pt x="590" y="54"/>
                      <a:pt x="590" y="54"/>
                    </a:cubicBezTo>
                    <a:cubicBezTo>
                      <a:pt x="588" y="58"/>
                      <a:pt x="588" y="58"/>
                      <a:pt x="588" y="58"/>
                    </a:cubicBezTo>
                    <a:cubicBezTo>
                      <a:pt x="586" y="61"/>
                      <a:pt x="586" y="61"/>
                      <a:pt x="586" y="61"/>
                    </a:cubicBezTo>
                    <a:cubicBezTo>
                      <a:pt x="589" y="66"/>
                      <a:pt x="589" y="66"/>
                      <a:pt x="589" y="66"/>
                    </a:cubicBezTo>
                    <a:cubicBezTo>
                      <a:pt x="589" y="69"/>
                      <a:pt x="589" y="69"/>
                      <a:pt x="589" y="69"/>
                    </a:cubicBezTo>
                    <a:cubicBezTo>
                      <a:pt x="586" y="68"/>
                      <a:pt x="586" y="68"/>
                      <a:pt x="586" y="68"/>
                    </a:cubicBezTo>
                    <a:cubicBezTo>
                      <a:pt x="584" y="69"/>
                      <a:pt x="584" y="69"/>
                      <a:pt x="584" y="69"/>
                    </a:cubicBezTo>
                    <a:cubicBezTo>
                      <a:pt x="582" y="78"/>
                      <a:pt x="582" y="78"/>
                      <a:pt x="582" y="78"/>
                    </a:cubicBezTo>
                    <a:cubicBezTo>
                      <a:pt x="584" y="84"/>
                      <a:pt x="584" y="84"/>
                      <a:pt x="584" y="84"/>
                    </a:cubicBezTo>
                    <a:cubicBezTo>
                      <a:pt x="583" y="91"/>
                      <a:pt x="583" y="91"/>
                      <a:pt x="583" y="91"/>
                    </a:cubicBezTo>
                    <a:cubicBezTo>
                      <a:pt x="585" y="96"/>
                      <a:pt x="585" y="96"/>
                      <a:pt x="585" y="96"/>
                    </a:cubicBezTo>
                    <a:cubicBezTo>
                      <a:pt x="584" y="101"/>
                      <a:pt x="584" y="101"/>
                      <a:pt x="584" y="101"/>
                    </a:cubicBezTo>
                    <a:cubicBezTo>
                      <a:pt x="581" y="105"/>
                      <a:pt x="581" y="105"/>
                      <a:pt x="581" y="105"/>
                    </a:cubicBezTo>
                    <a:cubicBezTo>
                      <a:pt x="581" y="108"/>
                      <a:pt x="581" y="108"/>
                      <a:pt x="581" y="108"/>
                    </a:cubicBezTo>
                    <a:cubicBezTo>
                      <a:pt x="577" y="115"/>
                      <a:pt x="577" y="115"/>
                      <a:pt x="577" y="115"/>
                    </a:cubicBezTo>
                    <a:cubicBezTo>
                      <a:pt x="576" y="125"/>
                      <a:pt x="576" y="125"/>
                      <a:pt x="576" y="125"/>
                    </a:cubicBezTo>
                    <a:cubicBezTo>
                      <a:pt x="573" y="129"/>
                      <a:pt x="573" y="129"/>
                      <a:pt x="573" y="129"/>
                    </a:cubicBezTo>
                    <a:cubicBezTo>
                      <a:pt x="574" y="133"/>
                      <a:pt x="574" y="133"/>
                      <a:pt x="574" y="133"/>
                    </a:cubicBezTo>
                    <a:cubicBezTo>
                      <a:pt x="572" y="139"/>
                      <a:pt x="572" y="139"/>
                      <a:pt x="572" y="139"/>
                    </a:cubicBezTo>
                    <a:cubicBezTo>
                      <a:pt x="568" y="142"/>
                      <a:pt x="568" y="142"/>
                      <a:pt x="568" y="142"/>
                    </a:cubicBezTo>
                    <a:cubicBezTo>
                      <a:pt x="568" y="149"/>
                      <a:pt x="568" y="149"/>
                      <a:pt x="568" y="149"/>
                    </a:cubicBezTo>
                    <a:cubicBezTo>
                      <a:pt x="562" y="153"/>
                      <a:pt x="562" y="153"/>
                      <a:pt x="562" y="153"/>
                    </a:cubicBezTo>
                    <a:cubicBezTo>
                      <a:pt x="549" y="158"/>
                      <a:pt x="549" y="158"/>
                      <a:pt x="549" y="158"/>
                    </a:cubicBezTo>
                    <a:cubicBezTo>
                      <a:pt x="544" y="154"/>
                      <a:pt x="544" y="154"/>
                      <a:pt x="544" y="154"/>
                    </a:cubicBezTo>
                    <a:cubicBezTo>
                      <a:pt x="539" y="154"/>
                      <a:pt x="539" y="154"/>
                      <a:pt x="539" y="154"/>
                    </a:cubicBezTo>
                    <a:cubicBezTo>
                      <a:pt x="537" y="151"/>
                      <a:pt x="537" y="151"/>
                      <a:pt x="537" y="151"/>
                    </a:cubicBezTo>
                    <a:cubicBezTo>
                      <a:pt x="532" y="147"/>
                      <a:pt x="532" y="147"/>
                      <a:pt x="532" y="147"/>
                    </a:cubicBezTo>
                    <a:cubicBezTo>
                      <a:pt x="532" y="145"/>
                      <a:pt x="532" y="145"/>
                      <a:pt x="532" y="145"/>
                    </a:cubicBezTo>
                    <a:cubicBezTo>
                      <a:pt x="531" y="143"/>
                      <a:pt x="531" y="143"/>
                      <a:pt x="531" y="143"/>
                    </a:cubicBezTo>
                    <a:cubicBezTo>
                      <a:pt x="530" y="139"/>
                      <a:pt x="530" y="139"/>
                      <a:pt x="530" y="139"/>
                    </a:cubicBezTo>
                    <a:cubicBezTo>
                      <a:pt x="525" y="139"/>
                      <a:pt x="525" y="139"/>
                      <a:pt x="525" y="139"/>
                    </a:cubicBezTo>
                    <a:cubicBezTo>
                      <a:pt x="521" y="137"/>
                      <a:pt x="521" y="137"/>
                      <a:pt x="521" y="137"/>
                    </a:cubicBezTo>
                    <a:cubicBezTo>
                      <a:pt x="515" y="137"/>
                      <a:pt x="515" y="137"/>
                      <a:pt x="515" y="137"/>
                    </a:cubicBezTo>
                    <a:cubicBezTo>
                      <a:pt x="510" y="133"/>
                      <a:pt x="510" y="133"/>
                      <a:pt x="510" y="133"/>
                    </a:cubicBezTo>
                    <a:cubicBezTo>
                      <a:pt x="509" y="130"/>
                      <a:pt x="509" y="130"/>
                      <a:pt x="509" y="130"/>
                    </a:cubicBezTo>
                    <a:cubicBezTo>
                      <a:pt x="505" y="125"/>
                      <a:pt x="505" y="125"/>
                      <a:pt x="505" y="125"/>
                    </a:cubicBezTo>
                    <a:cubicBezTo>
                      <a:pt x="499" y="124"/>
                      <a:pt x="499" y="124"/>
                      <a:pt x="499" y="124"/>
                    </a:cubicBezTo>
                    <a:cubicBezTo>
                      <a:pt x="495" y="122"/>
                      <a:pt x="495" y="122"/>
                      <a:pt x="495" y="122"/>
                    </a:cubicBezTo>
                    <a:cubicBezTo>
                      <a:pt x="495" y="119"/>
                      <a:pt x="495" y="119"/>
                      <a:pt x="495" y="119"/>
                    </a:cubicBezTo>
                    <a:cubicBezTo>
                      <a:pt x="492" y="119"/>
                      <a:pt x="492" y="119"/>
                      <a:pt x="492" y="119"/>
                    </a:cubicBezTo>
                    <a:cubicBezTo>
                      <a:pt x="490" y="117"/>
                      <a:pt x="490" y="117"/>
                      <a:pt x="490" y="117"/>
                    </a:cubicBezTo>
                    <a:cubicBezTo>
                      <a:pt x="486" y="117"/>
                      <a:pt x="486" y="117"/>
                      <a:pt x="486" y="117"/>
                    </a:cubicBezTo>
                    <a:cubicBezTo>
                      <a:pt x="482" y="117"/>
                      <a:pt x="482" y="117"/>
                      <a:pt x="482" y="117"/>
                    </a:cubicBezTo>
                    <a:cubicBezTo>
                      <a:pt x="483" y="115"/>
                      <a:pt x="483" y="115"/>
                      <a:pt x="483" y="115"/>
                    </a:cubicBezTo>
                    <a:cubicBezTo>
                      <a:pt x="478" y="111"/>
                      <a:pt x="478" y="111"/>
                      <a:pt x="478" y="111"/>
                    </a:cubicBezTo>
                    <a:cubicBezTo>
                      <a:pt x="478" y="108"/>
                      <a:pt x="478" y="108"/>
                      <a:pt x="478" y="108"/>
                    </a:cubicBezTo>
                    <a:cubicBezTo>
                      <a:pt x="473" y="103"/>
                      <a:pt x="473" y="103"/>
                      <a:pt x="473" y="103"/>
                    </a:cubicBezTo>
                    <a:cubicBezTo>
                      <a:pt x="469" y="102"/>
                      <a:pt x="469" y="102"/>
                      <a:pt x="469" y="102"/>
                    </a:cubicBezTo>
                    <a:cubicBezTo>
                      <a:pt x="465" y="98"/>
                      <a:pt x="465" y="98"/>
                      <a:pt x="465" y="98"/>
                    </a:cubicBezTo>
                    <a:cubicBezTo>
                      <a:pt x="465" y="93"/>
                      <a:pt x="465" y="93"/>
                      <a:pt x="465" y="93"/>
                    </a:cubicBezTo>
                    <a:cubicBezTo>
                      <a:pt x="469" y="87"/>
                      <a:pt x="469" y="87"/>
                      <a:pt x="469" y="87"/>
                    </a:cubicBezTo>
                    <a:cubicBezTo>
                      <a:pt x="470" y="83"/>
                      <a:pt x="470" y="83"/>
                      <a:pt x="470" y="83"/>
                    </a:cubicBezTo>
                    <a:cubicBezTo>
                      <a:pt x="473" y="80"/>
                      <a:pt x="473" y="80"/>
                      <a:pt x="473" y="80"/>
                    </a:cubicBezTo>
                    <a:cubicBezTo>
                      <a:pt x="475" y="75"/>
                      <a:pt x="475" y="75"/>
                      <a:pt x="475" y="75"/>
                    </a:cubicBezTo>
                    <a:cubicBezTo>
                      <a:pt x="476" y="72"/>
                      <a:pt x="476" y="72"/>
                      <a:pt x="476" y="72"/>
                    </a:cubicBezTo>
                    <a:cubicBezTo>
                      <a:pt x="473" y="74"/>
                      <a:pt x="473" y="74"/>
                      <a:pt x="473" y="74"/>
                    </a:cubicBezTo>
                    <a:cubicBezTo>
                      <a:pt x="470" y="69"/>
                      <a:pt x="470" y="69"/>
                      <a:pt x="470" y="69"/>
                    </a:cubicBezTo>
                    <a:cubicBezTo>
                      <a:pt x="474" y="67"/>
                      <a:pt x="474" y="67"/>
                      <a:pt x="474" y="67"/>
                    </a:cubicBezTo>
                    <a:cubicBezTo>
                      <a:pt x="473" y="63"/>
                      <a:pt x="473" y="63"/>
                      <a:pt x="473" y="63"/>
                    </a:cubicBezTo>
                    <a:cubicBezTo>
                      <a:pt x="475" y="63"/>
                      <a:pt x="475" y="63"/>
                      <a:pt x="475" y="63"/>
                    </a:cubicBezTo>
                    <a:cubicBezTo>
                      <a:pt x="478" y="62"/>
                      <a:pt x="478" y="62"/>
                      <a:pt x="478" y="62"/>
                    </a:cubicBezTo>
                    <a:cubicBezTo>
                      <a:pt x="479" y="63"/>
                      <a:pt x="479" y="63"/>
                      <a:pt x="479" y="63"/>
                    </a:cubicBezTo>
                    <a:cubicBezTo>
                      <a:pt x="482" y="64"/>
                      <a:pt x="482" y="64"/>
                      <a:pt x="482" y="64"/>
                    </a:cubicBezTo>
                    <a:cubicBezTo>
                      <a:pt x="487" y="62"/>
                      <a:pt x="487" y="62"/>
                      <a:pt x="487" y="62"/>
                    </a:cubicBezTo>
                    <a:cubicBezTo>
                      <a:pt x="489" y="58"/>
                      <a:pt x="489" y="58"/>
                      <a:pt x="489" y="58"/>
                    </a:cubicBezTo>
                    <a:cubicBezTo>
                      <a:pt x="485" y="55"/>
                      <a:pt x="485" y="55"/>
                      <a:pt x="485" y="55"/>
                    </a:cubicBezTo>
                    <a:cubicBezTo>
                      <a:pt x="488" y="53"/>
                      <a:pt x="488" y="53"/>
                      <a:pt x="488" y="53"/>
                    </a:cubicBezTo>
                    <a:cubicBezTo>
                      <a:pt x="491" y="54"/>
                      <a:pt x="491" y="54"/>
                      <a:pt x="491" y="54"/>
                    </a:cubicBezTo>
                    <a:cubicBezTo>
                      <a:pt x="492" y="47"/>
                      <a:pt x="492" y="47"/>
                      <a:pt x="492" y="47"/>
                    </a:cubicBezTo>
                    <a:cubicBezTo>
                      <a:pt x="495" y="46"/>
                      <a:pt x="495" y="46"/>
                      <a:pt x="495" y="46"/>
                    </a:cubicBezTo>
                    <a:cubicBezTo>
                      <a:pt x="498" y="43"/>
                      <a:pt x="498" y="43"/>
                      <a:pt x="498" y="43"/>
                    </a:cubicBezTo>
                    <a:cubicBezTo>
                      <a:pt x="498" y="41"/>
                      <a:pt x="498" y="41"/>
                      <a:pt x="498" y="41"/>
                    </a:cubicBezTo>
                    <a:cubicBezTo>
                      <a:pt x="494" y="39"/>
                      <a:pt x="494" y="39"/>
                      <a:pt x="494" y="39"/>
                    </a:cubicBezTo>
                    <a:cubicBezTo>
                      <a:pt x="491" y="42"/>
                      <a:pt x="491" y="42"/>
                      <a:pt x="491" y="42"/>
                    </a:cubicBezTo>
                    <a:cubicBezTo>
                      <a:pt x="489" y="41"/>
                      <a:pt x="489" y="41"/>
                      <a:pt x="489" y="41"/>
                    </a:cubicBezTo>
                    <a:cubicBezTo>
                      <a:pt x="488" y="35"/>
                      <a:pt x="488" y="35"/>
                      <a:pt x="488" y="35"/>
                    </a:cubicBezTo>
                    <a:cubicBezTo>
                      <a:pt x="485" y="36"/>
                      <a:pt x="485" y="36"/>
                      <a:pt x="485" y="36"/>
                    </a:cubicBezTo>
                    <a:cubicBezTo>
                      <a:pt x="481" y="41"/>
                      <a:pt x="481" y="41"/>
                      <a:pt x="481" y="41"/>
                    </a:cubicBezTo>
                    <a:cubicBezTo>
                      <a:pt x="483" y="42"/>
                      <a:pt x="483" y="42"/>
                      <a:pt x="483" y="42"/>
                    </a:cubicBezTo>
                    <a:cubicBezTo>
                      <a:pt x="483" y="45"/>
                      <a:pt x="483" y="45"/>
                      <a:pt x="483" y="45"/>
                    </a:cubicBezTo>
                    <a:cubicBezTo>
                      <a:pt x="480" y="46"/>
                      <a:pt x="480" y="46"/>
                      <a:pt x="480" y="46"/>
                    </a:cubicBezTo>
                    <a:cubicBezTo>
                      <a:pt x="477" y="44"/>
                      <a:pt x="477" y="44"/>
                      <a:pt x="477" y="44"/>
                    </a:cubicBezTo>
                    <a:cubicBezTo>
                      <a:pt x="476" y="42"/>
                      <a:pt x="476" y="42"/>
                      <a:pt x="476" y="42"/>
                    </a:cubicBezTo>
                    <a:cubicBezTo>
                      <a:pt x="474" y="40"/>
                      <a:pt x="474" y="40"/>
                      <a:pt x="474" y="40"/>
                    </a:cubicBezTo>
                    <a:cubicBezTo>
                      <a:pt x="473" y="42"/>
                      <a:pt x="473" y="42"/>
                      <a:pt x="473" y="42"/>
                    </a:cubicBezTo>
                    <a:cubicBezTo>
                      <a:pt x="470" y="43"/>
                      <a:pt x="470" y="43"/>
                      <a:pt x="470" y="43"/>
                    </a:cubicBezTo>
                    <a:cubicBezTo>
                      <a:pt x="470" y="41"/>
                      <a:pt x="470" y="41"/>
                      <a:pt x="470" y="41"/>
                    </a:cubicBezTo>
                    <a:cubicBezTo>
                      <a:pt x="473" y="39"/>
                      <a:pt x="473" y="39"/>
                      <a:pt x="473" y="39"/>
                    </a:cubicBezTo>
                    <a:cubicBezTo>
                      <a:pt x="474" y="37"/>
                      <a:pt x="474" y="37"/>
                      <a:pt x="474" y="37"/>
                    </a:cubicBezTo>
                    <a:cubicBezTo>
                      <a:pt x="471" y="38"/>
                      <a:pt x="471" y="38"/>
                      <a:pt x="471" y="38"/>
                    </a:cubicBezTo>
                    <a:cubicBezTo>
                      <a:pt x="469" y="40"/>
                      <a:pt x="469" y="40"/>
                      <a:pt x="469" y="40"/>
                    </a:cubicBezTo>
                    <a:cubicBezTo>
                      <a:pt x="464" y="41"/>
                      <a:pt x="464" y="41"/>
                      <a:pt x="464" y="41"/>
                    </a:cubicBezTo>
                    <a:cubicBezTo>
                      <a:pt x="464" y="43"/>
                      <a:pt x="464" y="43"/>
                      <a:pt x="464" y="43"/>
                    </a:cubicBezTo>
                    <a:cubicBezTo>
                      <a:pt x="461" y="43"/>
                      <a:pt x="461" y="43"/>
                      <a:pt x="461" y="43"/>
                    </a:cubicBezTo>
                    <a:cubicBezTo>
                      <a:pt x="460" y="42"/>
                      <a:pt x="460" y="42"/>
                      <a:pt x="460" y="42"/>
                    </a:cubicBezTo>
                    <a:cubicBezTo>
                      <a:pt x="457" y="42"/>
                      <a:pt x="457" y="42"/>
                      <a:pt x="457" y="42"/>
                    </a:cubicBezTo>
                    <a:cubicBezTo>
                      <a:pt x="457" y="40"/>
                      <a:pt x="457" y="40"/>
                      <a:pt x="457" y="40"/>
                    </a:cubicBezTo>
                    <a:cubicBezTo>
                      <a:pt x="454" y="36"/>
                      <a:pt x="454" y="36"/>
                      <a:pt x="454" y="36"/>
                    </a:cubicBezTo>
                    <a:cubicBezTo>
                      <a:pt x="452" y="36"/>
                      <a:pt x="452" y="36"/>
                      <a:pt x="452" y="36"/>
                    </a:cubicBezTo>
                    <a:cubicBezTo>
                      <a:pt x="448" y="38"/>
                      <a:pt x="448" y="38"/>
                      <a:pt x="448" y="38"/>
                    </a:cubicBezTo>
                    <a:cubicBezTo>
                      <a:pt x="444" y="37"/>
                      <a:pt x="444" y="37"/>
                      <a:pt x="444" y="37"/>
                    </a:cubicBezTo>
                    <a:cubicBezTo>
                      <a:pt x="442" y="38"/>
                      <a:pt x="442" y="38"/>
                      <a:pt x="442" y="38"/>
                    </a:cubicBezTo>
                    <a:cubicBezTo>
                      <a:pt x="441" y="35"/>
                      <a:pt x="441" y="35"/>
                      <a:pt x="441" y="35"/>
                    </a:cubicBezTo>
                    <a:cubicBezTo>
                      <a:pt x="439" y="35"/>
                      <a:pt x="439" y="35"/>
                      <a:pt x="439" y="35"/>
                    </a:cubicBezTo>
                    <a:cubicBezTo>
                      <a:pt x="437" y="31"/>
                      <a:pt x="437" y="31"/>
                      <a:pt x="437" y="31"/>
                    </a:cubicBezTo>
                    <a:cubicBezTo>
                      <a:pt x="433" y="33"/>
                      <a:pt x="433" y="33"/>
                      <a:pt x="433" y="33"/>
                    </a:cubicBezTo>
                    <a:cubicBezTo>
                      <a:pt x="428" y="32"/>
                      <a:pt x="428" y="32"/>
                      <a:pt x="428" y="32"/>
                    </a:cubicBezTo>
                    <a:cubicBezTo>
                      <a:pt x="424" y="30"/>
                      <a:pt x="424" y="30"/>
                      <a:pt x="424" y="30"/>
                    </a:cubicBezTo>
                    <a:cubicBezTo>
                      <a:pt x="424" y="28"/>
                      <a:pt x="424" y="28"/>
                      <a:pt x="424" y="28"/>
                    </a:cubicBezTo>
                    <a:cubicBezTo>
                      <a:pt x="421" y="24"/>
                      <a:pt x="421" y="24"/>
                      <a:pt x="421" y="24"/>
                    </a:cubicBezTo>
                    <a:cubicBezTo>
                      <a:pt x="419" y="25"/>
                      <a:pt x="419" y="25"/>
                      <a:pt x="419" y="25"/>
                    </a:cubicBezTo>
                    <a:cubicBezTo>
                      <a:pt x="420" y="26"/>
                      <a:pt x="420" y="26"/>
                      <a:pt x="420" y="26"/>
                    </a:cubicBezTo>
                    <a:cubicBezTo>
                      <a:pt x="414" y="28"/>
                      <a:pt x="414" y="28"/>
                      <a:pt x="414" y="28"/>
                    </a:cubicBezTo>
                    <a:cubicBezTo>
                      <a:pt x="413" y="24"/>
                      <a:pt x="413" y="24"/>
                      <a:pt x="413" y="24"/>
                    </a:cubicBezTo>
                    <a:cubicBezTo>
                      <a:pt x="409" y="23"/>
                      <a:pt x="409" y="23"/>
                      <a:pt x="409" y="23"/>
                    </a:cubicBezTo>
                    <a:cubicBezTo>
                      <a:pt x="404" y="20"/>
                      <a:pt x="404" y="20"/>
                      <a:pt x="404" y="20"/>
                    </a:cubicBezTo>
                    <a:cubicBezTo>
                      <a:pt x="404" y="22"/>
                      <a:pt x="404" y="22"/>
                      <a:pt x="404" y="22"/>
                    </a:cubicBezTo>
                    <a:cubicBezTo>
                      <a:pt x="401" y="20"/>
                      <a:pt x="401" y="20"/>
                      <a:pt x="401" y="20"/>
                    </a:cubicBezTo>
                    <a:cubicBezTo>
                      <a:pt x="398" y="22"/>
                      <a:pt x="398" y="22"/>
                      <a:pt x="398" y="22"/>
                    </a:cubicBezTo>
                    <a:cubicBezTo>
                      <a:pt x="402" y="25"/>
                      <a:pt x="402" y="25"/>
                      <a:pt x="402" y="25"/>
                    </a:cubicBezTo>
                    <a:cubicBezTo>
                      <a:pt x="400" y="26"/>
                      <a:pt x="400" y="26"/>
                      <a:pt x="400" y="26"/>
                    </a:cubicBezTo>
                    <a:cubicBezTo>
                      <a:pt x="404" y="27"/>
                      <a:pt x="404" y="27"/>
                      <a:pt x="404" y="27"/>
                    </a:cubicBezTo>
                    <a:cubicBezTo>
                      <a:pt x="407" y="26"/>
                      <a:pt x="407" y="26"/>
                      <a:pt x="407" y="26"/>
                    </a:cubicBezTo>
                    <a:cubicBezTo>
                      <a:pt x="413" y="30"/>
                      <a:pt x="413" y="30"/>
                      <a:pt x="413" y="30"/>
                    </a:cubicBezTo>
                    <a:cubicBezTo>
                      <a:pt x="412" y="33"/>
                      <a:pt x="412" y="33"/>
                      <a:pt x="412" y="33"/>
                    </a:cubicBezTo>
                    <a:cubicBezTo>
                      <a:pt x="413" y="39"/>
                      <a:pt x="413" y="39"/>
                      <a:pt x="413" y="39"/>
                    </a:cubicBezTo>
                    <a:cubicBezTo>
                      <a:pt x="410" y="39"/>
                      <a:pt x="410" y="39"/>
                      <a:pt x="410" y="39"/>
                    </a:cubicBezTo>
                    <a:cubicBezTo>
                      <a:pt x="408" y="43"/>
                      <a:pt x="408" y="43"/>
                      <a:pt x="408" y="43"/>
                    </a:cubicBezTo>
                    <a:cubicBezTo>
                      <a:pt x="407" y="40"/>
                      <a:pt x="407" y="40"/>
                      <a:pt x="407" y="40"/>
                    </a:cubicBezTo>
                    <a:cubicBezTo>
                      <a:pt x="404" y="40"/>
                      <a:pt x="404" y="40"/>
                      <a:pt x="404" y="40"/>
                    </a:cubicBezTo>
                    <a:cubicBezTo>
                      <a:pt x="401" y="42"/>
                      <a:pt x="401" y="42"/>
                      <a:pt x="401" y="42"/>
                    </a:cubicBezTo>
                    <a:cubicBezTo>
                      <a:pt x="390" y="42"/>
                      <a:pt x="390" y="42"/>
                      <a:pt x="390" y="42"/>
                    </a:cubicBezTo>
                    <a:cubicBezTo>
                      <a:pt x="386" y="39"/>
                      <a:pt x="386" y="39"/>
                      <a:pt x="386" y="39"/>
                    </a:cubicBezTo>
                    <a:cubicBezTo>
                      <a:pt x="385" y="40"/>
                      <a:pt x="385" y="40"/>
                      <a:pt x="385" y="40"/>
                    </a:cubicBezTo>
                    <a:cubicBezTo>
                      <a:pt x="381" y="42"/>
                      <a:pt x="381" y="42"/>
                      <a:pt x="381" y="42"/>
                    </a:cubicBezTo>
                    <a:cubicBezTo>
                      <a:pt x="381" y="45"/>
                      <a:pt x="381" y="45"/>
                      <a:pt x="381" y="45"/>
                    </a:cubicBezTo>
                    <a:cubicBezTo>
                      <a:pt x="377" y="45"/>
                      <a:pt x="377" y="45"/>
                      <a:pt x="377" y="45"/>
                    </a:cubicBezTo>
                    <a:cubicBezTo>
                      <a:pt x="379" y="49"/>
                      <a:pt x="379" y="49"/>
                      <a:pt x="379" y="49"/>
                    </a:cubicBezTo>
                    <a:cubicBezTo>
                      <a:pt x="377" y="48"/>
                      <a:pt x="377" y="48"/>
                      <a:pt x="377" y="48"/>
                    </a:cubicBezTo>
                    <a:cubicBezTo>
                      <a:pt x="373" y="46"/>
                      <a:pt x="373" y="46"/>
                      <a:pt x="373" y="46"/>
                    </a:cubicBezTo>
                    <a:cubicBezTo>
                      <a:pt x="371" y="49"/>
                      <a:pt x="371" y="49"/>
                      <a:pt x="371" y="49"/>
                    </a:cubicBezTo>
                    <a:cubicBezTo>
                      <a:pt x="373" y="51"/>
                      <a:pt x="373" y="51"/>
                      <a:pt x="373" y="51"/>
                    </a:cubicBezTo>
                    <a:cubicBezTo>
                      <a:pt x="372" y="53"/>
                      <a:pt x="372" y="53"/>
                      <a:pt x="372" y="53"/>
                    </a:cubicBezTo>
                    <a:cubicBezTo>
                      <a:pt x="368" y="51"/>
                      <a:pt x="368" y="51"/>
                      <a:pt x="368" y="51"/>
                    </a:cubicBezTo>
                    <a:cubicBezTo>
                      <a:pt x="365" y="54"/>
                      <a:pt x="365" y="54"/>
                      <a:pt x="365" y="54"/>
                    </a:cubicBezTo>
                    <a:cubicBezTo>
                      <a:pt x="367" y="56"/>
                      <a:pt x="367" y="56"/>
                      <a:pt x="367" y="56"/>
                    </a:cubicBezTo>
                    <a:cubicBezTo>
                      <a:pt x="365" y="57"/>
                      <a:pt x="365" y="57"/>
                      <a:pt x="365" y="57"/>
                    </a:cubicBezTo>
                    <a:cubicBezTo>
                      <a:pt x="362" y="58"/>
                      <a:pt x="362" y="58"/>
                      <a:pt x="362" y="58"/>
                    </a:cubicBezTo>
                    <a:cubicBezTo>
                      <a:pt x="362" y="61"/>
                      <a:pt x="362" y="61"/>
                      <a:pt x="362" y="61"/>
                    </a:cubicBezTo>
                    <a:cubicBezTo>
                      <a:pt x="365" y="64"/>
                      <a:pt x="365" y="64"/>
                      <a:pt x="365" y="64"/>
                    </a:cubicBezTo>
                    <a:cubicBezTo>
                      <a:pt x="366" y="66"/>
                      <a:pt x="366" y="66"/>
                      <a:pt x="366" y="66"/>
                    </a:cubicBezTo>
                    <a:cubicBezTo>
                      <a:pt x="362" y="64"/>
                      <a:pt x="362" y="64"/>
                      <a:pt x="362" y="64"/>
                    </a:cubicBezTo>
                    <a:cubicBezTo>
                      <a:pt x="360" y="66"/>
                      <a:pt x="360" y="66"/>
                      <a:pt x="360" y="66"/>
                    </a:cubicBezTo>
                    <a:cubicBezTo>
                      <a:pt x="356" y="66"/>
                      <a:pt x="356" y="66"/>
                      <a:pt x="356" y="66"/>
                    </a:cubicBezTo>
                    <a:cubicBezTo>
                      <a:pt x="353" y="71"/>
                      <a:pt x="353" y="71"/>
                      <a:pt x="353" y="71"/>
                    </a:cubicBezTo>
                    <a:cubicBezTo>
                      <a:pt x="350" y="77"/>
                      <a:pt x="350" y="77"/>
                      <a:pt x="350" y="77"/>
                    </a:cubicBezTo>
                    <a:cubicBezTo>
                      <a:pt x="347" y="78"/>
                      <a:pt x="347" y="78"/>
                      <a:pt x="347" y="78"/>
                    </a:cubicBezTo>
                    <a:cubicBezTo>
                      <a:pt x="346" y="83"/>
                      <a:pt x="346" y="83"/>
                      <a:pt x="346" y="83"/>
                    </a:cubicBezTo>
                    <a:cubicBezTo>
                      <a:pt x="343" y="85"/>
                      <a:pt x="343" y="85"/>
                      <a:pt x="343" y="85"/>
                    </a:cubicBezTo>
                    <a:cubicBezTo>
                      <a:pt x="346" y="87"/>
                      <a:pt x="346" y="87"/>
                      <a:pt x="346" y="87"/>
                    </a:cubicBezTo>
                    <a:cubicBezTo>
                      <a:pt x="352" y="88"/>
                      <a:pt x="352" y="88"/>
                      <a:pt x="352" y="88"/>
                    </a:cubicBezTo>
                    <a:cubicBezTo>
                      <a:pt x="350" y="89"/>
                      <a:pt x="350" y="89"/>
                      <a:pt x="350" y="89"/>
                    </a:cubicBezTo>
                    <a:cubicBezTo>
                      <a:pt x="348" y="92"/>
                      <a:pt x="348" y="92"/>
                      <a:pt x="348" y="92"/>
                    </a:cubicBezTo>
                    <a:cubicBezTo>
                      <a:pt x="356" y="94"/>
                      <a:pt x="356" y="94"/>
                      <a:pt x="356" y="94"/>
                    </a:cubicBezTo>
                    <a:cubicBezTo>
                      <a:pt x="353" y="95"/>
                      <a:pt x="353" y="95"/>
                      <a:pt x="353" y="95"/>
                    </a:cubicBezTo>
                    <a:cubicBezTo>
                      <a:pt x="348" y="95"/>
                      <a:pt x="348" y="95"/>
                      <a:pt x="348" y="95"/>
                    </a:cubicBezTo>
                    <a:cubicBezTo>
                      <a:pt x="347" y="93"/>
                      <a:pt x="347" y="93"/>
                      <a:pt x="347" y="93"/>
                    </a:cubicBezTo>
                    <a:cubicBezTo>
                      <a:pt x="347" y="95"/>
                      <a:pt x="347" y="95"/>
                      <a:pt x="347" y="95"/>
                    </a:cubicBezTo>
                    <a:cubicBezTo>
                      <a:pt x="350" y="97"/>
                      <a:pt x="350" y="97"/>
                      <a:pt x="350" y="97"/>
                    </a:cubicBezTo>
                    <a:cubicBezTo>
                      <a:pt x="350" y="101"/>
                      <a:pt x="350" y="101"/>
                      <a:pt x="350" y="101"/>
                    </a:cubicBezTo>
                    <a:cubicBezTo>
                      <a:pt x="353" y="106"/>
                      <a:pt x="353" y="106"/>
                      <a:pt x="353" y="106"/>
                    </a:cubicBezTo>
                    <a:cubicBezTo>
                      <a:pt x="348" y="102"/>
                      <a:pt x="348" y="102"/>
                      <a:pt x="348" y="102"/>
                    </a:cubicBezTo>
                    <a:cubicBezTo>
                      <a:pt x="345" y="96"/>
                      <a:pt x="345" y="96"/>
                      <a:pt x="345" y="96"/>
                    </a:cubicBezTo>
                    <a:cubicBezTo>
                      <a:pt x="342" y="96"/>
                      <a:pt x="342" y="96"/>
                      <a:pt x="342" y="96"/>
                    </a:cubicBezTo>
                    <a:cubicBezTo>
                      <a:pt x="341" y="98"/>
                      <a:pt x="341" y="98"/>
                      <a:pt x="341" y="98"/>
                    </a:cubicBezTo>
                    <a:cubicBezTo>
                      <a:pt x="340" y="101"/>
                      <a:pt x="340" y="101"/>
                      <a:pt x="340" y="101"/>
                    </a:cubicBezTo>
                    <a:cubicBezTo>
                      <a:pt x="340" y="98"/>
                      <a:pt x="340" y="98"/>
                      <a:pt x="340" y="98"/>
                    </a:cubicBezTo>
                    <a:cubicBezTo>
                      <a:pt x="331" y="93"/>
                      <a:pt x="331" y="93"/>
                      <a:pt x="331" y="93"/>
                    </a:cubicBezTo>
                    <a:cubicBezTo>
                      <a:pt x="326" y="94"/>
                      <a:pt x="326" y="94"/>
                      <a:pt x="326" y="94"/>
                    </a:cubicBezTo>
                    <a:cubicBezTo>
                      <a:pt x="327" y="96"/>
                      <a:pt x="327" y="96"/>
                      <a:pt x="327" y="96"/>
                    </a:cubicBezTo>
                    <a:cubicBezTo>
                      <a:pt x="325" y="98"/>
                      <a:pt x="325" y="98"/>
                      <a:pt x="325" y="98"/>
                    </a:cubicBezTo>
                    <a:cubicBezTo>
                      <a:pt x="323" y="96"/>
                      <a:pt x="323" y="96"/>
                      <a:pt x="323" y="96"/>
                    </a:cubicBezTo>
                    <a:cubicBezTo>
                      <a:pt x="322" y="96"/>
                      <a:pt x="322" y="96"/>
                      <a:pt x="322" y="96"/>
                    </a:cubicBezTo>
                    <a:cubicBezTo>
                      <a:pt x="320" y="99"/>
                      <a:pt x="320" y="99"/>
                      <a:pt x="320" y="99"/>
                    </a:cubicBezTo>
                    <a:cubicBezTo>
                      <a:pt x="323" y="102"/>
                      <a:pt x="323" y="102"/>
                      <a:pt x="323" y="102"/>
                    </a:cubicBezTo>
                    <a:cubicBezTo>
                      <a:pt x="322" y="104"/>
                      <a:pt x="322" y="104"/>
                      <a:pt x="322" y="104"/>
                    </a:cubicBezTo>
                    <a:cubicBezTo>
                      <a:pt x="321" y="103"/>
                      <a:pt x="321" y="103"/>
                      <a:pt x="321" y="103"/>
                    </a:cubicBezTo>
                    <a:cubicBezTo>
                      <a:pt x="320" y="103"/>
                      <a:pt x="320" y="103"/>
                      <a:pt x="320" y="103"/>
                    </a:cubicBezTo>
                    <a:cubicBezTo>
                      <a:pt x="320" y="105"/>
                      <a:pt x="320" y="105"/>
                      <a:pt x="320" y="105"/>
                    </a:cubicBezTo>
                    <a:cubicBezTo>
                      <a:pt x="316" y="107"/>
                      <a:pt x="316" y="107"/>
                      <a:pt x="316" y="107"/>
                    </a:cubicBezTo>
                    <a:cubicBezTo>
                      <a:pt x="310" y="108"/>
                      <a:pt x="310" y="108"/>
                      <a:pt x="310" y="108"/>
                    </a:cubicBezTo>
                    <a:cubicBezTo>
                      <a:pt x="315" y="106"/>
                      <a:pt x="315" y="106"/>
                      <a:pt x="315" y="106"/>
                    </a:cubicBezTo>
                    <a:cubicBezTo>
                      <a:pt x="318" y="102"/>
                      <a:pt x="318" y="102"/>
                      <a:pt x="318" y="102"/>
                    </a:cubicBezTo>
                    <a:cubicBezTo>
                      <a:pt x="317" y="96"/>
                      <a:pt x="317" y="96"/>
                      <a:pt x="317" y="96"/>
                    </a:cubicBezTo>
                    <a:cubicBezTo>
                      <a:pt x="320" y="93"/>
                      <a:pt x="320" y="93"/>
                      <a:pt x="320" y="93"/>
                    </a:cubicBezTo>
                    <a:cubicBezTo>
                      <a:pt x="318" y="90"/>
                      <a:pt x="318" y="90"/>
                      <a:pt x="318" y="90"/>
                    </a:cubicBezTo>
                    <a:cubicBezTo>
                      <a:pt x="315" y="90"/>
                      <a:pt x="315" y="90"/>
                      <a:pt x="315" y="90"/>
                    </a:cubicBezTo>
                    <a:cubicBezTo>
                      <a:pt x="310" y="80"/>
                      <a:pt x="310" y="80"/>
                      <a:pt x="310" y="80"/>
                    </a:cubicBezTo>
                    <a:cubicBezTo>
                      <a:pt x="307" y="76"/>
                      <a:pt x="307" y="76"/>
                      <a:pt x="307" y="76"/>
                    </a:cubicBezTo>
                    <a:cubicBezTo>
                      <a:pt x="301" y="75"/>
                      <a:pt x="301" y="75"/>
                      <a:pt x="301" y="75"/>
                    </a:cubicBezTo>
                    <a:cubicBezTo>
                      <a:pt x="298" y="73"/>
                      <a:pt x="298" y="73"/>
                      <a:pt x="298" y="73"/>
                    </a:cubicBezTo>
                    <a:cubicBezTo>
                      <a:pt x="295" y="74"/>
                      <a:pt x="295" y="74"/>
                      <a:pt x="295" y="74"/>
                    </a:cubicBezTo>
                    <a:cubicBezTo>
                      <a:pt x="297" y="76"/>
                      <a:pt x="297" y="76"/>
                      <a:pt x="297" y="76"/>
                    </a:cubicBezTo>
                    <a:cubicBezTo>
                      <a:pt x="295" y="77"/>
                      <a:pt x="295" y="77"/>
                      <a:pt x="295" y="77"/>
                    </a:cubicBezTo>
                    <a:cubicBezTo>
                      <a:pt x="292" y="80"/>
                      <a:pt x="292" y="80"/>
                      <a:pt x="292" y="80"/>
                    </a:cubicBezTo>
                    <a:cubicBezTo>
                      <a:pt x="290" y="80"/>
                      <a:pt x="290" y="80"/>
                      <a:pt x="290" y="80"/>
                    </a:cubicBezTo>
                    <a:cubicBezTo>
                      <a:pt x="291" y="78"/>
                      <a:pt x="291" y="78"/>
                      <a:pt x="291" y="78"/>
                    </a:cubicBezTo>
                    <a:cubicBezTo>
                      <a:pt x="287" y="79"/>
                      <a:pt x="287" y="79"/>
                      <a:pt x="287" y="79"/>
                    </a:cubicBezTo>
                    <a:cubicBezTo>
                      <a:pt x="286" y="81"/>
                      <a:pt x="286" y="81"/>
                      <a:pt x="286" y="81"/>
                    </a:cubicBezTo>
                    <a:cubicBezTo>
                      <a:pt x="284" y="76"/>
                      <a:pt x="284" y="76"/>
                      <a:pt x="284" y="76"/>
                    </a:cubicBezTo>
                    <a:cubicBezTo>
                      <a:pt x="282" y="75"/>
                      <a:pt x="282" y="75"/>
                      <a:pt x="282" y="75"/>
                    </a:cubicBezTo>
                    <a:cubicBezTo>
                      <a:pt x="281" y="78"/>
                      <a:pt x="281" y="78"/>
                      <a:pt x="281" y="78"/>
                    </a:cubicBezTo>
                    <a:cubicBezTo>
                      <a:pt x="284" y="80"/>
                      <a:pt x="284" y="80"/>
                      <a:pt x="284" y="80"/>
                    </a:cubicBezTo>
                    <a:cubicBezTo>
                      <a:pt x="280" y="82"/>
                      <a:pt x="280" y="82"/>
                      <a:pt x="280" y="82"/>
                    </a:cubicBezTo>
                    <a:cubicBezTo>
                      <a:pt x="279" y="86"/>
                      <a:pt x="279" y="86"/>
                      <a:pt x="279" y="86"/>
                    </a:cubicBezTo>
                    <a:cubicBezTo>
                      <a:pt x="280" y="88"/>
                      <a:pt x="280" y="88"/>
                      <a:pt x="280" y="88"/>
                    </a:cubicBezTo>
                    <a:cubicBezTo>
                      <a:pt x="276" y="91"/>
                      <a:pt x="276" y="91"/>
                      <a:pt x="276" y="91"/>
                    </a:cubicBezTo>
                    <a:cubicBezTo>
                      <a:pt x="274" y="88"/>
                      <a:pt x="274" y="88"/>
                      <a:pt x="274" y="88"/>
                    </a:cubicBezTo>
                    <a:cubicBezTo>
                      <a:pt x="272" y="88"/>
                      <a:pt x="272" y="88"/>
                      <a:pt x="272" y="88"/>
                    </a:cubicBezTo>
                    <a:cubicBezTo>
                      <a:pt x="271" y="86"/>
                      <a:pt x="271" y="86"/>
                      <a:pt x="271" y="86"/>
                    </a:cubicBezTo>
                    <a:cubicBezTo>
                      <a:pt x="274" y="83"/>
                      <a:pt x="274" y="83"/>
                      <a:pt x="274" y="83"/>
                    </a:cubicBezTo>
                    <a:cubicBezTo>
                      <a:pt x="271" y="83"/>
                      <a:pt x="271" y="83"/>
                      <a:pt x="271" y="83"/>
                    </a:cubicBezTo>
                    <a:cubicBezTo>
                      <a:pt x="270" y="87"/>
                      <a:pt x="270" y="87"/>
                      <a:pt x="270" y="87"/>
                    </a:cubicBezTo>
                    <a:cubicBezTo>
                      <a:pt x="266" y="88"/>
                      <a:pt x="266" y="88"/>
                      <a:pt x="266" y="88"/>
                    </a:cubicBezTo>
                    <a:cubicBezTo>
                      <a:pt x="264" y="90"/>
                      <a:pt x="264" y="90"/>
                      <a:pt x="264" y="90"/>
                    </a:cubicBezTo>
                    <a:cubicBezTo>
                      <a:pt x="263" y="94"/>
                      <a:pt x="263" y="94"/>
                      <a:pt x="263" y="94"/>
                    </a:cubicBezTo>
                    <a:cubicBezTo>
                      <a:pt x="269" y="96"/>
                      <a:pt x="269" y="96"/>
                      <a:pt x="269" y="96"/>
                    </a:cubicBezTo>
                    <a:cubicBezTo>
                      <a:pt x="264" y="100"/>
                      <a:pt x="264" y="100"/>
                      <a:pt x="264" y="100"/>
                    </a:cubicBezTo>
                    <a:cubicBezTo>
                      <a:pt x="260" y="98"/>
                      <a:pt x="260" y="98"/>
                      <a:pt x="260" y="98"/>
                    </a:cubicBezTo>
                    <a:cubicBezTo>
                      <a:pt x="256" y="101"/>
                      <a:pt x="256" y="101"/>
                      <a:pt x="256" y="101"/>
                    </a:cubicBezTo>
                    <a:cubicBezTo>
                      <a:pt x="257" y="103"/>
                      <a:pt x="257" y="103"/>
                      <a:pt x="257" y="103"/>
                    </a:cubicBezTo>
                    <a:cubicBezTo>
                      <a:pt x="262" y="104"/>
                      <a:pt x="262" y="104"/>
                      <a:pt x="262" y="104"/>
                    </a:cubicBezTo>
                    <a:cubicBezTo>
                      <a:pt x="260" y="107"/>
                      <a:pt x="260" y="107"/>
                      <a:pt x="260" y="107"/>
                    </a:cubicBezTo>
                    <a:cubicBezTo>
                      <a:pt x="258" y="108"/>
                      <a:pt x="258" y="108"/>
                      <a:pt x="258" y="108"/>
                    </a:cubicBezTo>
                    <a:cubicBezTo>
                      <a:pt x="254" y="103"/>
                      <a:pt x="254" y="103"/>
                      <a:pt x="254" y="103"/>
                    </a:cubicBezTo>
                    <a:cubicBezTo>
                      <a:pt x="251" y="107"/>
                      <a:pt x="251" y="107"/>
                      <a:pt x="251" y="107"/>
                    </a:cubicBezTo>
                    <a:cubicBezTo>
                      <a:pt x="247" y="107"/>
                      <a:pt x="247" y="107"/>
                      <a:pt x="247" y="107"/>
                    </a:cubicBezTo>
                    <a:cubicBezTo>
                      <a:pt x="248" y="110"/>
                      <a:pt x="248" y="110"/>
                      <a:pt x="248" y="110"/>
                    </a:cubicBezTo>
                    <a:cubicBezTo>
                      <a:pt x="248" y="113"/>
                      <a:pt x="248" y="113"/>
                      <a:pt x="248" y="113"/>
                    </a:cubicBezTo>
                    <a:cubicBezTo>
                      <a:pt x="249" y="115"/>
                      <a:pt x="249" y="115"/>
                      <a:pt x="249" y="115"/>
                    </a:cubicBezTo>
                    <a:cubicBezTo>
                      <a:pt x="251" y="114"/>
                      <a:pt x="251" y="114"/>
                      <a:pt x="251" y="114"/>
                    </a:cubicBezTo>
                    <a:cubicBezTo>
                      <a:pt x="248" y="118"/>
                      <a:pt x="248" y="118"/>
                      <a:pt x="248" y="118"/>
                    </a:cubicBezTo>
                    <a:cubicBezTo>
                      <a:pt x="250" y="121"/>
                      <a:pt x="250" y="121"/>
                      <a:pt x="250" y="121"/>
                    </a:cubicBezTo>
                    <a:cubicBezTo>
                      <a:pt x="247" y="122"/>
                      <a:pt x="247" y="122"/>
                      <a:pt x="247" y="122"/>
                    </a:cubicBezTo>
                    <a:cubicBezTo>
                      <a:pt x="245" y="125"/>
                      <a:pt x="245" y="125"/>
                      <a:pt x="245" y="125"/>
                    </a:cubicBezTo>
                    <a:cubicBezTo>
                      <a:pt x="252" y="126"/>
                      <a:pt x="252" y="126"/>
                      <a:pt x="252" y="126"/>
                    </a:cubicBezTo>
                    <a:cubicBezTo>
                      <a:pt x="247" y="128"/>
                      <a:pt x="247" y="128"/>
                      <a:pt x="247" y="128"/>
                    </a:cubicBezTo>
                    <a:cubicBezTo>
                      <a:pt x="247" y="130"/>
                      <a:pt x="247" y="130"/>
                      <a:pt x="247" y="130"/>
                    </a:cubicBezTo>
                    <a:cubicBezTo>
                      <a:pt x="243" y="129"/>
                      <a:pt x="243" y="129"/>
                      <a:pt x="243" y="129"/>
                    </a:cubicBezTo>
                    <a:cubicBezTo>
                      <a:pt x="241" y="126"/>
                      <a:pt x="241" y="126"/>
                      <a:pt x="241" y="126"/>
                    </a:cubicBezTo>
                    <a:cubicBezTo>
                      <a:pt x="238" y="124"/>
                      <a:pt x="238" y="124"/>
                      <a:pt x="238" y="124"/>
                    </a:cubicBezTo>
                    <a:cubicBezTo>
                      <a:pt x="235" y="126"/>
                      <a:pt x="235" y="126"/>
                      <a:pt x="235" y="126"/>
                    </a:cubicBezTo>
                    <a:cubicBezTo>
                      <a:pt x="234" y="124"/>
                      <a:pt x="234" y="124"/>
                      <a:pt x="234" y="124"/>
                    </a:cubicBezTo>
                    <a:cubicBezTo>
                      <a:pt x="230" y="122"/>
                      <a:pt x="230" y="122"/>
                      <a:pt x="230" y="122"/>
                    </a:cubicBezTo>
                    <a:cubicBezTo>
                      <a:pt x="227" y="124"/>
                      <a:pt x="227" y="124"/>
                      <a:pt x="227" y="124"/>
                    </a:cubicBezTo>
                    <a:cubicBezTo>
                      <a:pt x="232" y="127"/>
                      <a:pt x="232" y="127"/>
                      <a:pt x="232" y="127"/>
                    </a:cubicBezTo>
                    <a:cubicBezTo>
                      <a:pt x="230" y="128"/>
                      <a:pt x="230" y="128"/>
                      <a:pt x="230" y="128"/>
                    </a:cubicBezTo>
                    <a:cubicBezTo>
                      <a:pt x="228" y="131"/>
                      <a:pt x="228" y="131"/>
                      <a:pt x="228" y="131"/>
                    </a:cubicBezTo>
                    <a:cubicBezTo>
                      <a:pt x="232" y="135"/>
                      <a:pt x="232" y="135"/>
                      <a:pt x="232" y="135"/>
                    </a:cubicBezTo>
                    <a:cubicBezTo>
                      <a:pt x="236" y="135"/>
                      <a:pt x="236" y="135"/>
                      <a:pt x="236" y="135"/>
                    </a:cubicBezTo>
                    <a:cubicBezTo>
                      <a:pt x="234" y="138"/>
                      <a:pt x="234" y="138"/>
                      <a:pt x="234" y="138"/>
                    </a:cubicBezTo>
                    <a:cubicBezTo>
                      <a:pt x="234" y="141"/>
                      <a:pt x="234" y="141"/>
                      <a:pt x="234" y="141"/>
                    </a:cubicBezTo>
                    <a:cubicBezTo>
                      <a:pt x="233" y="140"/>
                      <a:pt x="233" y="140"/>
                      <a:pt x="233" y="140"/>
                    </a:cubicBezTo>
                    <a:cubicBezTo>
                      <a:pt x="231" y="140"/>
                      <a:pt x="231" y="140"/>
                      <a:pt x="231" y="140"/>
                    </a:cubicBezTo>
                    <a:cubicBezTo>
                      <a:pt x="231" y="144"/>
                      <a:pt x="231" y="144"/>
                      <a:pt x="231" y="144"/>
                    </a:cubicBezTo>
                    <a:cubicBezTo>
                      <a:pt x="230" y="148"/>
                      <a:pt x="230" y="148"/>
                      <a:pt x="230" y="148"/>
                    </a:cubicBezTo>
                    <a:cubicBezTo>
                      <a:pt x="229" y="152"/>
                      <a:pt x="229" y="152"/>
                      <a:pt x="229" y="152"/>
                    </a:cubicBezTo>
                    <a:cubicBezTo>
                      <a:pt x="223" y="140"/>
                      <a:pt x="223" y="140"/>
                      <a:pt x="223" y="140"/>
                    </a:cubicBezTo>
                    <a:cubicBezTo>
                      <a:pt x="219" y="132"/>
                      <a:pt x="219" y="132"/>
                      <a:pt x="219" y="132"/>
                    </a:cubicBezTo>
                    <a:cubicBezTo>
                      <a:pt x="217" y="129"/>
                      <a:pt x="217" y="129"/>
                      <a:pt x="217" y="129"/>
                    </a:cubicBezTo>
                    <a:cubicBezTo>
                      <a:pt x="218" y="125"/>
                      <a:pt x="218" y="125"/>
                      <a:pt x="218" y="125"/>
                    </a:cubicBezTo>
                    <a:cubicBezTo>
                      <a:pt x="216" y="127"/>
                      <a:pt x="216" y="127"/>
                      <a:pt x="216" y="127"/>
                    </a:cubicBezTo>
                    <a:cubicBezTo>
                      <a:pt x="212" y="130"/>
                      <a:pt x="212" y="130"/>
                      <a:pt x="212" y="130"/>
                    </a:cubicBezTo>
                    <a:cubicBezTo>
                      <a:pt x="211" y="135"/>
                      <a:pt x="211" y="135"/>
                      <a:pt x="211" y="135"/>
                    </a:cubicBezTo>
                    <a:cubicBezTo>
                      <a:pt x="208" y="135"/>
                      <a:pt x="208" y="135"/>
                      <a:pt x="208" y="135"/>
                    </a:cubicBezTo>
                    <a:cubicBezTo>
                      <a:pt x="208" y="137"/>
                      <a:pt x="208" y="137"/>
                      <a:pt x="208" y="137"/>
                    </a:cubicBezTo>
                    <a:cubicBezTo>
                      <a:pt x="204" y="137"/>
                      <a:pt x="204" y="137"/>
                      <a:pt x="204" y="137"/>
                    </a:cubicBezTo>
                    <a:cubicBezTo>
                      <a:pt x="202" y="140"/>
                      <a:pt x="202" y="140"/>
                      <a:pt x="202" y="140"/>
                    </a:cubicBezTo>
                    <a:cubicBezTo>
                      <a:pt x="199" y="143"/>
                      <a:pt x="199" y="143"/>
                      <a:pt x="199" y="143"/>
                    </a:cubicBezTo>
                    <a:cubicBezTo>
                      <a:pt x="199" y="147"/>
                      <a:pt x="199" y="147"/>
                      <a:pt x="199" y="147"/>
                    </a:cubicBezTo>
                    <a:cubicBezTo>
                      <a:pt x="199" y="157"/>
                      <a:pt x="199" y="157"/>
                      <a:pt x="199" y="157"/>
                    </a:cubicBezTo>
                    <a:cubicBezTo>
                      <a:pt x="201" y="158"/>
                      <a:pt x="201" y="158"/>
                      <a:pt x="201" y="158"/>
                    </a:cubicBezTo>
                    <a:cubicBezTo>
                      <a:pt x="201" y="161"/>
                      <a:pt x="201" y="161"/>
                      <a:pt x="201" y="161"/>
                    </a:cubicBezTo>
                    <a:cubicBezTo>
                      <a:pt x="198" y="163"/>
                      <a:pt x="198" y="163"/>
                      <a:pt x="198" y="163"/>
                    </a:cubicBezTo>
                    <a:cubicBezTo>
                      <a:pt x="196" y="167"/>
                      <a:pt x="196" y="167"/>
                      <a:pt x="196" y="167"/>
                    </a:cubicBezTo>
                    <a:cubicBezTo>
                      <a:pt x="191" y="168"/>
                      <a:pt x="191" y="168"/>
                      <a:pt x="191" y="168"/>
                    </a:cubicBezTo>
                    <a:cubicBezTo>
                      <a:pt x="191" y="170"/>
                      <a:pt x="191" y="170"/>
                      <a:pt x="191" y="170"/>
                    </a:cubicBezTo>
                    <a:cubicBezTo>
                      <a:pt x="186" y="173"/>
                      <a:pt x="186" y="173"/>
                      <a:pt x="186" y="173"/>
                    </a:cubicBezTo>
                    <a:cubicBezTo>
                      <a:pt x="187" y="178"/>
                      <a:pt x="187" y="178"/>
                      <a:pt x="187" y="178"/>
                    </a:cubicBezTo>
                    <a:cubicBezTo>
                      <a:pt x="184" y="180"/>
                      <a:pt x="184" y="180"/>
                      <a:pt x="184" y="180"/>
                    </a:cubicBezTo>
                    <a:cubicBezTo>
                      <a:pt x="178" y="188"/>
                      <a:pt x="178" y="188"/>
                      <a:pt x="178" y="188"/>
                    </a:cubicBezTo>
                    <a:cubicBezTo>
                      <a:pt x="167" y="195"/>
                      <a:pt x="167" y="195"/>
                      <a:pt x="167" y="195"/>
                    </a:cubicBezTo>
                    <a:cubicBezTo>
                      <a:pt x="157" y="196"/>
                      <a:pt x="157" y="196"/>
                      <a:pt x="157" y="196"/>
                    </a:cubicBezTo>
                    <a:cubicBezTo>
                      <a:pt x="153" y="197"/>
                      <a:pt x="153" y="197"/>
                      <a:pt x="153" y="197"/>
                    </a:cubicBezTo>
                    <a:cubicBezTo>
                      <a:pt x="147" y="197"/>
                      <a:pt x="147" y="197"/>
                      <a:pt x="147" y="197"/>
                    </a:cubicBezTo>
                    <a:cubicBezTo>
                      <a:pt x="142" y="199"/>
                      <a:pt x="142" y="199"/>
                      <a:pt x="142" y="199"/>
                    </a:cubicBezTo>
                    <a:cubicBezTo>
                      <a:pt x="138" y="197"/>
                      <a:pt x="138" y="197"/>
                      <a:pt x="138" y="197"/>
                    </a:cubicBezTo>
                    <a:cubicBezTo>
                      <a:pt x="132" y="200"/>
                      <a:pt x="132" y="200"/>
                      <a:pt x="132" y="200"/>
                    </a:cubicBezTo>
                    <a:cubicBezTo>
                      <a:pt x="131" y="203"/>
                      <a:pt x="131" y="203"/>
                      <a:pt x="131" y="203"/>
                    </a:cubicBezTo>
                    <a:cubicBezTo>
                      <a:pt x="127" y="205"/>
                      <a:pt x="127" y="205"/>
                      <a:pt x="127" y="205"/>
                    </a:cubicBezTo>
                    <a:cubicBezTo>
                      <a:pt x="115" y="204"/>
                      <a:pt x="115" y="204"/>
                      <a:pt x="115" y="204"/>
                    </a:cubicBezTo>
                    <a:cubicBezTo>
                      <a:pt x="111" y="206"/>
                      <a:pt x="111" y="206"/>
                      <a:pt x="111" y="206"/>
                    </a:cubicBezTo>
                    <a:cubicBezTo>
                      <a:pt x="110" y="209"/>
                      <a:pt x="110" y="209"/>
                      <a:pt x="110" y="209"/>
                    </a:cubicBezTo>
                    <a:cubicBezTo>
                      <a:pt x="102" y="213"/>
                      <a:pt x="102" y="213"/>
                      <a:pt x="102" y="213"/>
                    </a:cubicBezTo>
                    <a:cubicBezTo>
                      <a:pt x="96" y="213"/>
                      <a:pt x="96" y="213"/>
                      <a:pt x="96" y="213"/>
                    </a:cubicBezTo>
                    <a:cubicBezTo>
                      <a:pt x="93" y="211"/>
                      <a:pt x="93" y="211"/>
                      <a:pt x="93" y="211"/>
                    </a:cubicBezTo>
                    <a:cubicBezTo>
                      <a:pt x="90" y="212"/>
                      <a:pt x="90" y="212"/>
                      <a:pt x="90" y="212"/>
                    </a:cubicBezTo>
                    <a:cubicBezTo>
                      <a:pt x="89" y="209"/>
                      <a:pt x="89" y="209"/>
                      <a:pt x="89" y="209"/>
                    </a:cubicBezTo>
                    <a:cubicBezTo>
                      <a:pt x="86" y="211"/>
                      <a:pt x="86" y="211"/>
                      <a:pt x="86" y="211"/>
                    </a:cubicBezTo>
                    <a:cubicBezTo>
                      <a:pt x="83" y="215"/>
                      <a:pt x="83" y="215"/>
                      <a:pt x="83" y="215"/>
                    </a:cubicBezTo>
                    <a:cubicBezTo>
                      <a:pt x="75" y="217"/>
                      <a:pt x="75" y="217"/>
                      <a:pt x="75" y="217"/>
                    </a:cubicBezTo>
                    <a:cubicBezTo>
                      <a:pt x="74" y="219"/>
                      <a:pt x="74" y="219"/>
                      <a:pt x="74" y="219"/>
                    </a:cubicBezTo>
                    <a:cubicBezTo>
                      <a:pt x="72" y="219"/>
                      <a:pt x="72" y="219"/>
                      <a:pt x="72" y="219"/>
                    </a:cubicBezTo>
                    <a:cubicBezTo>
                      <a:pt x="65" y="224"/>
                      <a:pt x="65" y="224"/>
                      <a:pt x="65" y="224"/>
                    </a:cubicBezTo>
                    <a:cubicBezTo>
                      <a:pt x="57" y="228"/>
                      <a:pt x="57" y="228"/>
                      <a:pt x="57" y="228"/>
                    </a:cubicBezTo>
                    <a:cubicBezTo>
                      <a:pt x="46" y="231"/>
                      <a:pt x="46" y="231"/>
                      <a:pt x="46" y="231"/>
                    </a:cubicBezTo>
                    <a:cubicBezTo>
                      <a:pt x="41" y="237"/>
                      <a:pt x="41" y="237"/>
                      <a:pt x="41" y="237"/>
                    </a:cubicBezTo>
                    <a:cubicBezTo>
                      <a:pt x="41" y="243"/>
                      <a:pt x="41" y="243"/>
                      <a:pt x="41" y="243"/>
                    </a:cubicBezTo>
                    <a:cubicBezTo>
                      <a:pt x="37" y="247"/>
                      <a:pt x="37" y="247"/>
                      <a:pt x="37" y="247"/>
                    </a:cubicBezTo>
                    <a:cubicBezTo>
                      <a:pt x="34" y="245"/>
                      <a:pt x="34" y="245"/>
                      <a:pt x="34" y="245"/>
                    </a:cubicBezTo>
                    <a:cubicBezTo>
                      <a:pt x="35" y="243"/>
                      <a:pt x="35" y="243"/>
                      <a:pt x="35" y="243"/>
                    </a:cubicBezTo>
                    <a:cubicBezTo>
                      <a:pt x="35" y="240"/>
                      <a:pt x="35" y="240"/>
                      <a:pt x="35" y="240"/>
                    </a:cubicBezTo>
                    <a:cubicBezTo>
                      <a:pt x="37" y="235"/>
                      <a:pt x="37" y="235"/>
                      <a:pt x="37" y="235"/>
                    </a:cubicBezTo>
                    <a:cubicBezTo>
                      <a:pt x="37" y="232"/>
                      <a:pt x="37" y="232"/>
                      <a:pt x="37" y="232"/>
                    </a:cubicBezTo>
                    <a:cubicBezTo>
                      <a:pt x="30" y="237"/>
                      <a:pt x="30" y="237"/>
                      <a:pt x="30" y="237"/>
                    </a:cubicBezTo>
                    <a:cubicBezTo>
                      <a:pt x="29" y="242"/>
                      <a:pt x="29" y="242"/>
                      <a:pt x="29" y="242"/>
                    </a:cubicBezTo>
                    <a:cubicBezTo>
                      <a:pt x="25" y="250"/>
                      <a:pt x="25" y="250"/>
                      <a:pt x="25" y="250"/>
                    </a:cubicBezTo>
                    <a:cubicBezTo>
                      <a:pt x="28" y="256"/>
                      <a:pt x="28" y="256"/>
                      <a:pt x="28" y="256"/>
                    </a:cubicBezTo>
                    <a:cubicBezTo>
                      <a:pt x="26" y="260"/>
                      <a:pt x="26" y="260"/>
                      <a:pt x="26" y="260"/>
                    </a:cubicBezTo>
                    <a:cubicBezTo>
                      <a:pt x="26" y="269"/>
                      <a:pt x="26" y="269"/>
                      <a:pt x="26" y="269"/>
                    </a:cubicBezTo>
                    <a:cubicBezTo>
                      <a:pt x="18" y="278"/>
                      <a:pt x="18" y="278"/>
                      <a:pt x="18" y="278"/>
                    </a:cubicBezTo>
                    <a:cubicBezTo>
                      <a:pt x="15" y="290"/>
                      <a:pt x="15" y="290"/>
                      <a:pt x="15" y="290"/>
                    </a:cubicBezTo>
                    <a:cubicBezTo>
                      <a:pt x="18" y="296"/>
                      <a:pt x="18" y="296"/>
                      <a:pt x="18" y="296"/>
                    </a:cubicBezTo>
                    <a:cubicBezTo>
                      <a:pt x="16" y="305"/>
                      <a:pt x="16" y="305"/>
                      <a:pt x="16" y="305"/>
                    </a:cubicBezTo>
                    <a:cubicBezTo>
                      <a:pt x="23" y="316"/>
                      <a:pt x="23" y="316"/>
                      <a:pt x="23" y="316"/>
                    </a:cubicBezTo>
                    <a:cubicBezTo>
                      <a:pt x="23" y="320"/>
                      <a:pt x="23" y="320"/>
                      <a:pt x="23" y="320"/>
                    </a:cubicBezTo>
                    <a:cubicBezTo>
                      <a:pt x="26" y="323"/>
                      <a:pt x="26" y="323"/>
                      <a:pt x="26" y="323"/>
                    </a:cubicBezTo>
                    <a:cubicBezTo>
                      <a:pt x="24" y="329"/>
                      <a:pt x="24" y="329"/>
                      <a:pt x="24" y="329"/>
                    </a:cubicBezTo>
                    <a:cubicBezTo>
                      <a:pt x="25" y="334"/>
                      <a:pt x="25" y="334"/>
                      <a:pt x="25" y="334"/>
                    </a:cubicBezTo>
                    <a:cubicBezTo>
                      <a:pt x="21" y="335"/>
                      <a:pt x="21" y="335"/>
                      <a:pt x="21" y="335"/>
                    </a:cubicBezTo>
                    <a:cubicBezTo>
                      <a:pt x="19" y="332"/>
                      <a:pt x="19" y="332"/>
                      <a:pt x="19" y="332"/>
                    </a:cubicBezTo>
                    <a:cubicBezTo>
                      <a:pt x="19" y="326"/>
                      <a:pt x="19" y="326"/>
                      <a:pt x="19" y="326"/>
                    </a:cubicBezTo>
                    <a:cubicBezTo>
                      <a:pt x="17" y="329"/>
                      <a:pt x="17" y="329"/>
                      <a:pt x="17" y="329"/>
                    </a:cubicBezTo>
                    <a:cubicBezTo>
                      <a:pt x="15" y="328"/>
                      <a:pt x="15" y="328"/>
                      <a:pt x="15" y="328"/>
                    </a:cubicBezTo>
                    <a:cubicBezTo>
                      <a:pt x="16" y="322"/>
                      <a:pt x="16" y="322"/>
                      <a:pt x="16" y="322"/>
                    </a:cubicBezTo>
                    <a:cubicBezTo>
                      <a:pt x="12" y="314"/>
                      <a:pt x="12" y="314"/>
                      <a:pt x="12" y="314"/>
                    </a:cubicBezTo>
                    <a:cubicBezTo>
                      <a:pt x="9" y="318"/>
                      <a:pt x="9" y="318"/>
                      <a:pt x="9" y="318"/>
                    </a:cubicBezTo>
                    <a:cubicBezTo>
                      <a:pt x="10" y="326"/>
                      <a:pt x="10" y="326"/>
                      <a:pt x="10" y="326"/>
                    </a:cubicBezTo>
                    <a:cubicBezTo>
                      <a:pt x="15" y="331"/>
                      <a:pt x="15" y="331"/>
                      <a:pt x="15" y="331"/>
                    </a:cubicBezTo>
                    <a:cubicBezTo>
                      <a:pt x="19" y="338"/>
                      <a:pt x="19" y="338"/>
                      <a:pt x="19" y="338"/>
                    </a:cubicBezTo>
                    <a:cubicBezTo>
                      <a:pt x="14" y="339"/>
                      <a:pt x="14" y="339"/>
                      <a:pt x="14" y="339"/>
                    </a:cubicBezTo>
                    <a:cubicBezTo>
                      <a:pt x="9" y="334"/>
                      <a:pt x="9" y="334"/>
                      <a:pt x="9" y="334"/>
                    </a:cubicBezTo>
                    <a:cubicBezTo>
                      <a:pt x="8" y="327"/>
                      <a:pt x="8" y="327"/>
                      <a:pt x="8" y="327"/>
                    </a:cubicBezTo>
                    <a:cubicBezTo>
                      <a:pt x="7" y="330"/>
                      <a:pt x="7" y="330"/>
                      <a:pt x="7" y="330"/>
                    </a:cubicBezTo>
                    <a:cubicBezTo>
                      <a:pt x="4" y="331"/>
                      <a:pt x="4" y="331"/>
                      <a:pt x="4" y="331"/>
                    </a:cubicBezTo>
                    <a:cubicBezTo>
                      <a:pt x="8" y="337"/>
                      <a:pt x="8" y="337"/>
                      <a:pt x="8" y="337"/>
                    </a:cubicBezTo>
                    <a:cubicBezTo>
                      <a:pt x="14" y="345"/>
                      <a:pt x="14" y="345"/>
                      <a:pt x="14" y="345"/>
                    </a:cubicBezTo>
                    <a:cubicBezTo>
                      <a:pt x="18" y="356"/>
                      <a:pt x="18" y="356"/>
                      <a:pt x="18" y="356"/>
                    </a:cubicBezTo>
                    <a:cubicBezTo>
                      <a:pt x="18" y="374"/>
                      <a:pt x="18" y="374"/>
                      <a:pt x="18" y="374"/>
                    </a:cubicBezTo>
                    <a:cubicBezTo>
                      <a:pt x="20" y="378"/>
                      <a:pt x="20" y="378"/>
                      <a:pt x="20" y="378"/>
                    </a:cubicBezTo>
                    <a:cubicBezTo>
                      <a:pt x="22" y="388"/>
                      <a:pt x="22" y="388"/>
                      <a:pt x="22" y="388"/>
                    </a:cubicBezTo>
                    <a:cubicBezTo>
                      <a:pt x="28" y="402"/>
                      <a:pt x="28" y="402"/>
                      <a:pt x="28" y="402"/>
                    </a:cubicBezTo>
                    <a:cubicBezTo>
                      <a:pt x="26" y="407"/>
                      <a:pt x="26" y="407"/>
                      <a:pt x="26" y="407"/>
                    </a:cubicBezTo>
                    <a:cubicBezTo>
                      <a:pt x="27" y="428"/>
                      <a:pt x="27" y="428"/>
                      <a:pt x="27" y="428"/>
                    </a:cubicBezTo>
                    <a:cubicBezTo>
                      <a:pt x="26" y="431"/>
                      <a:pt x="26" y="431"/>
                      <a:pt x="26" y="431"/>
                    </a:cubicBezTo>
                    <a:cubicBezTo>
                      <a:pt x="28" y="436"/>
                      <a:pt x="28" y="436"/>
                      <a:pt x="28" y="436"/>
                    </a:cubicBezTo>
                    <a:cubicBezTo>
                      <a:pt x="28" y="443"/>
                      <a:pt x="28" y="443"/>
                      <a:pt x="28" y="443"/>
                    </a:cubicBezTo>
                    <a:cubicBezTo>
                      <a:pt x="32" y="452"/>
                      <a:pt x="32" y="452"/>
                      <a:pt x="32" y="452"/>
                    </a:cubicBezTo>
                    <a:cubicBezTo>
                      <a:pt x="32" y="457"/>
                      <a:pt x="32" y="457"/>
                      <a:pt x="32" y="457"/>
                    </a:cubicBezTo>
                    <a:cubicBezTo>
                      <a:pt x="28" y="459"/>
                      <a:pt x="28" y="459"/>
                      <a:pt x="28" y="459"/>
                    </a:cubicBezTo>
                    <a:cubicBezTo>
                      <a:pt x="30" y="461"/>
                      <a:pt x="30" y="461"/>
                      <a:pt x="30" y="461"/>
                    </a:cubicBezTo>
                    <a:cubicBezTo>
                      <a:pt x="29" y="466"/>
                      <a:pt x="29" y="466"/>
                      <a:pt x="29" y="466"/>
                    </a:cubicBezTo>
                    <a:cubicBezTo>
                      <a:pt x="28" y="474"/>
                      <a:pt x="28" y="474"/>
                      <a:pt x="28" y="474"/>
                    </a:cubicBezTo>
                    <a:cubicBezTo>
                      <a:pt x="25" y="477"/>
                      <a:pt x="25" y="477"/>
                      <a:pt x="25" y="477"/>
                    </a:cubicBezTo>
                    <a:cubicBezTo>
                      <a:pt x="26" y="479"/>
                      <a:pt x="26" y="479"/>
                      <a:pt x="26" y="479"/>
                    </a:cubicBezTo>
                    <a:cubicBezTo>
                      <a:pt x="25" y="484"/>
                      <a:pt x="25" y="484"/>
                      <a:pt x="25" y="484"/>
                    </a:cubicBezTo>
                    <a:cubicBezTo>
                      <a:pt x="22" y="487"/>
                      <a:pt x="22" y="487"/>
                      <a:pt x="22" y="487"/>
                    </a:cubicBezTo>
                    <a:cubicBezTo>
                      <a:pt x="22" y="491"/>
                      <a:pt x="22" y="491"/>
                      <a:pt x="22" y="491"/>
                    </a:cubicBezTo>
                    <a:cubicBezTo>
                      <a:pt x="16" y="496"/>
                      <a:pt x="16" y="496"/>
                      <a:pt x="16" y="496"/>
                    </a:cubicBezTo>
                    <a:cubicBezTo>
                      <a:pt x="13" y="494"/>
                      <a:pt x="13" y="494"/>
                      <a:pt x="13" y="494"/>
                    </a:cubicBezTo>
                    <a:cubicBezTo>
                      <a:pt x="9" y="501"/>
                      <a:pt x="9" y="501"/>
                      <a:pt x="9" y="501"/>
                    </a:cubicBezTo>
                    <a:lnTo>
                      <a:pt x="9" y="512"/>
                    </a:lnTo>
                    <a:close/>
                  </a:path>
                </a:pathLst>
              </a:custGeom>
              <a:solidFill>
                <a:schemeClr val="accent6"/>
              </a:solidFill>
              <a:ln w="1651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769" name="Freeform 573"/>
              <p:cNvSpPr>
                <a:spLocks noEditPoints="1"/>
              </p:cNvSpPr>
              <p:nvPr userDrawn="1"/>
            </p:nvSpPr>
            <p:spPr bwMode="auto">
              <a:xfrm>
                <a:off x="2552" y="725"/>
                <a:ext cx="778" cy="963"/>
              </a:xfrm>
              <a:custGeom>
                <a:avLst/>
                <a:gdLst>
                  <a:gd name="T0" fmla="*/ 204 w 814"/>
                  <a:gd name="T1" fmla="*/ 967 h 1008"/>
                  <a:gd name="T2" fmla="*/ 159 w 814"/>
                  <a:gd name="T3" fmla="*/ 927 h 1008"/>
                  <a:gd name="T4" fmla="*/ 137 w 814"/>
                  <a:gd name="T5" fmla="*/ 877 h 1008"/>
                  <a:gd name="T6" fmla="*/ 127 w 814"/>
                  <a:gd name="T7" fmla="*/ 854 h 1008"/>
                  <a:gd name="T8" fmla="*/ 142 w 814"/>
                  <a:gd name="T9" fmla="*/ 799 h 1008"/>
                  <a:gd name="T10" fmla="*/ 135 w 814"/>
                  <a:gd name="T11" fmla="*/ 770 h 1008"/>
                  <a:gd name="T12" fmla="*/ 169 w 814"/>
                  <a:gd name="T13" fmla="*/ 743 h 1008"/>
                  <a:gd name="T14" fmla="*/ 176 w 814"/>
                  <a:gd name="T15" fmla="*/ 733 h 1008"/>
                  <a:gd name="T16" fmla="*/ 189 w 814"/>
                  <a:gd name="T17" fmla="*/ 689 h 1008"/>
                  <a:gd name="T18" fmla="*/ 196 w 814"/>
                  <a:gd name="T19" fmla="*/ 651 h 1008"/>
                  <a:gd name="T20" fmla="*/ 193 w 814"/>
                  <a:gd name="T21" fmla="*/ 598 h 1008"/>
                  <a:gd name="T22" fmla="*/ 147 w 814"/>
                  <a:gd name="T23" fmla="*/ 586 h 1008"/>
                  <a:gd name="T24" fmla="*/ 164 w 814"/>
                  <a:gd name="T25" fmla="*/ 500 h 1008"/>
                  <a:gd name="T26" fmla="*/ 129 w 814"/>
                  <a:gd name="T27" fmla="*/ 390 h 1008"/>
                  <a:gd name="T28" fmla="*/ 27 w 814"/>
                  <a:gd name="T29" fmla="*/ 344 h 1008"/>
                  <a:gd name="T30" fmla="*/ 83 w 814"/>
                  <a:gd name="T31" fmla="*/ 298 h 1008"/>
                  <a:gd name="T32" fmla="*/ 30 w 814"/>
                  <a:gd name="T33" fmla="*/ 233 h 1008"/>
                  <a:gd name="T34" fmla="*/ 163 w 814"/>
                  <a:gd name="T35" fmla="*/ 172 h 1008"/>
                  <a:gd name="T36" fmla="*/ 210 w 814"/>
                  <a:gd name="T37" fmla="*/ 116 h 1008"/>
                  <a:gd name="T38" fmla="*/ 319 w 814"/>
                  <a:gd name="T39" fmla="*/ 61 h 1008"/>
                  <a:gd name="T40" fmla="*/ 374 w 814"/>
                  <a:gd name="T41" fmla="*/ 109 h 1008"/>
                  <a:gd name="T42" fmla="*/ 438 w 814"/>
                  <a:gd name="T43" fmla="*/ 108 h 1008"/>
                  <a:gd name="T44" fmla="*/ 465 w 814"/>
                  <a:gd name="T45" fmla="*/ 44 h 1008"/>
                  <a:gd name="T46" fmla="*/ 549 w 814"/>
                  <a:gd name="T47" fmla="*/ 6 h 1008"/>
                  <a:gd name="T48" fmla="*/ 601 w 814"/>
                  <a:gd name="T49" fmla="*/ 40 h 1008"/>
                  <a:gd name="T50" fmla="*/ 643 w 814"/>
                  <a:gd name="T51" fmla="*/ 50 h 1008"/>
                  <a:gd name="T52" fmla="*/ 718 w 814"/>
                  <a:gd name="T53" fmla="*/ 105 h 1008"/>
                  <a:gd name="T54" fmla="*/ 561 w 814"/>
                  <a:gd name="T55" fmla="*/ 130 h 1008"/>
                  <a:gd name="T56" fmla="*/ 684 w 814"/>
                  <a:gd name="T57" fmla="*/ 139 h 1008"/>
                  <a:gd name="T58" fmla="*/ 709 w 814"/>
                  <a:gd name="T59" fmla="*/ 176 h 1008"/>
                  <a:gd name="T60" fmla="*/ 782 w 814"/>
                  <a:gd name="T61" fmla="*/ 197 h 1008"/>
                  <a:gd name="T62" fmla="*/ 711 w 814"/>
                  <a:gd name="T63" fmla="*/ 239 h 1008"/>
                  <a:gd name="T64" fmla="*/ 681 w 814"/>
                  <a:gd name="T65" fmla="*/ 357 h 1008"/>
                  <a:gd name="T66" fmla="*/ 675 w 814"/>
                  <a:gd name="T67" fmla="*/ 408 h 1008"/>
                  <a:gd name="T68" fmla="*/ 679 w 814"/>
                  <a:gd name="T69" fmla="*/ 456 h 1008"/>
                  <a:gd name="T70" fmla="*/ 661 w 814"/>
                  <a:gd name="T71" fmla="*/ 491 h 1008"/>
                  <a:gd name="T72" fmla="*/ 656 w 814"/>
                  <a:gd name="T73" fmla="*/ 541 h 1008"/>
                  <a:gd name="T74" fmla="*/ 600 w 814"/>
                  <a:gd name="T75" fmla="*/ 551 h 1008"/>
                  <a:gd name="T76" fmla="*/ 573 w 814"/>
                  <a:gd name="T77" fmla="*/ 580 h 1008"/>
                  <a:gd name="T78" fmla="*/ 632 w 814"/>
                  <a:gd name="T79" fmla="*/ 629 h 1008"/>
                  <a:gd name="T80" fmla="*/ 595 w 814"/>
                  <a:gd name="T81" fmla="*/ 659 h 1008"/>
                  <a:gd name="T82" fmla="*/ 544 w 814"/>
                  <a:gd name="T83" fmla="*/ 653 h 1008"/>
                  <a:gd name="T84" fmla="*/ 583 w 814"/>
                  <a:gd name="T85" fmla="*/ 681 h 1008"/>
                  <a:gd name="T86" fmla="*/ 552 w 814"/>
                  <a:gd name="T87" fmla="*/ 737 h 1008"/>
                  <a:gd name="T88" fmla="*/ 462 w 814"/>
                  <a:gd name="T89" fmla="*/ 749 h 1008"/>
                  <a:gd name="T90" fmla="*/ 385 w 814"/>
                  <a:gd name="T91" fmla="*/ 822 h 1008"/>
                  <a:gd name="T92" fmla="*/ 325 w 814"/>
                  <a:gd name="T93" fmla="*/ 835 h 1008"/>
                  <a:gd name="T94" fmla="*/ 284 w 814"/>
                  <a:gd name="T95" fmla="*/ 892 h 1008"/>
                  <a:gd name="T96" fmla="*/ 269 w 814"/>
                  <a:gd name="T97" fmla="*/ 940 h 1008"/>
                  <a:gd name="T98" fmla="*/ 235 w 814"/>
                  <a:gd name="T99" fmla="*/ 982 h 1008"/>
                  <a:gd name="T100" fmla="*/ 272 w 814"/>
                  <a:gd name="T101" fmla="*/ 921 h 1008"/>
                  <a:gd name="T102" fmla="*/ 607 w 814"/>
                  <a:gd name="T103" fmla="*/ 708 h 1008"/>
                  <a:gd name="T104" fmla="*/ 615 w 814"/>
                  <a:gd name="T105" fmla="*/ 581 h 1008"/>
                  <a:gd name="T106" fmla="*/ 650 w 814"/>
                  <a:gd name="T107" fmla="*/ 519 h 1008"/>
                  <a:gd name="T108" fmla="*/ 670 w 814"/>
                  <a:gd name="T109" fmla="*/ 434 h 1008"/>
                  <a:gd name="T110" fmla="*/ 753 w 814"/>
                  <a:gd name="T111" fmla="*/ 134 h 1008"/>
                  <a:gd name="T112" fmla="*/ 462 w 814"/>
                  <a:gd name="T113" fmla="*/ 38 h 1008"/>
                  <a:gd name="T114" fmla="*/ 366 w 814"/>
                  <a:gd name="T115" fmla="*/ 78 h 1008"/>
                  <a:gd name="T116" fmla="*/ 153 w 814"/>
                  <a:gd name="T117" fmla="*/ 469 h 1008"/>
                  <a:gd name="T118" fmla="*/ 152 w 814"/>
                  <a:gd name="T119" fmla="*/ 547 h 1008"/>
                  <a:gd name="T120" fmla="*/ 164 w 814"/>
                  <a:gd name="T121" fmla="*/ 974 h 1008"/>
                  <a:gd name="T122" fmla="*/ 151 w 814"/>
                  <a:gd name="T123" fmla="*/ 712 h 1008"/>
                  <a:gd name="T124" fmla="*/ 188 w 814"/>
                  <a:gd name="T125" fmla="*/ 669 h 10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814" h="1008">
                    <a:moveTo>
                      <a:pt x="242" y="998"/>
                    </a:moveTo>
                    <a:cubicBezTo>
                      <a:pt x="233" y="994"/>
                      <a:pt x="233" y="994"/>
                      <a:pt x="233" y="994"/>
                    </a:cubicBezTo>
                    <a:cubicBezTo>
                      <a:pt x="228" y="994"/>
                      <a:pt x="228" y="994"/>
                      <a:pt x="228" y="994"/>
                    </a:cubicBezTo>
                    <a:cubicBezTo>
                      <a:pt x="228" y="992"/>
                      <a:pt x="228" y="992"/>
                      <a:pt x="228" y="992"/>
                    </a:cubicBezTo>
                    <a:cubicBezTo>
                      <a:pt x="229" y="989"/>
                      <a:pt x="229" y="989"/>
                      <a:pt x="229" y="989"/>
                    </a:cubicBezTo>
                    <a:cubicBezTo>
                      <a:pt x="230" y="989"/>
                      <a:pt x="230" y="989"/>
                      <a:pt x="230" y="989"/>
                    </a:cubicBezTo>
                    <a:cubicBezTo>
                      <a:pt x="230" y="988"/>
                      <a:pt x="230" y="988"/>
                      <a:pt x="230" y="988"/>
                    </a:cubicBezTo>
                    <a:cubicBezTo>
                      <a:pt x="228" y="987"/>
                      <a:pt x="228" y="987"/>
                      <a:pt x="228" y="987"/>
                    </a:cubicBezTo>
                    <a:cubicBezTo>
                      <a:pt x="226" y="990"/>
                      <a:pt x="226" y="990"/>
                      <a:pt x="226" y="990"/>
                    </a:cubicBezTo>
                    <a:cubicBezTo>
                      <a:pt x="225" y="990"/>
                      <a:pt x="225" y="990"/>
                      <a:pt x="225" y="990"/>
                    </a:cubicBezTo>
                    <a:cubicBezTo>
                      <a:pt x="225" y="994"/>
                      <a:pt x="225" y="994"/>
                      <a:pt x="225" y="994"/>
                    </a:cubicBezTo>
                    <a:cubicBezTo>
                      <a:pt x="222" y="993"/>
                      <a:pt x="222" y="993"/>
                      <a:pt x="222" y="993"/>
                    </a:cubicBezTo>
                    <a:cubicBezTo>
                      <a:pt x="221" y="993"/>
                      <a:pt x="221" y="993"/>
                      <a:pt x="221" y="993"/>
                    </a:cubicBezTo>
                    <a:cubicBezTo>
                      <a:pt x="220" y="995"/>
                      <a:pt x="220" y="995"/>
                      <a:pt x="220" y="995"/>
                    </a:cubicBezTo>
                    <a:cubicBezTo>
                      <a:pt x="220" y="998"/>
                      <a:pt x="220" y="998"/>
                      <a:pt x="220" y="998"/>
                    </a:cubicBezTo>
                    <a:cubicBezTo>
                      <a:pt x="219" y="999"/>
                      <a:pt x="219" y="999"/>
                      <a:pt x="219" y="999"/>
                    </a:cubicBezTo>
                    <a:cubicBezTo>
                      <a:pt x="217" y="998"/>
                      <a:pt x="217" y="998"/>
                      <a:pt x="217" y="998"/>
                    </a:cubicBezTo>
                    <a:cubicBezTo>
                      <a:pt x="218" y="995"/>
                      <a:pt x="218" y="995"/>
                      <a:pt x="218" y="995"/>
                    </a:cubicBezTo>
                    <a:cubicBezTo>
                      <a:pt x="219" y="993"/>
                      <a:pt x="219" y="993"/>
                      <a:pt x="219" y="993"/>
                    </a:cubicBezTo>
                    <a:cubicBezTo>
                      <a:pt x="219" y="990"/>
                      <a:pt x="219" y="990"/>
                      <a:pt x="219" y="990"/>
                    </a:cubicBezTo>
                    <a:cubicBezTo>
                      <a:pt x="222" y="985"/>
                      <a:pt x="222" y="985"/>
                      <a:pt x="222" y="985"/>
                    </a:cubicBezTo>
                    <a:cubicBezTo>
                      <a:pt x="222" y="984"/>
                      <a:pt x="222" y="984"/>
                      <a:pt x="222" y="984"/>
                    </a:cubicBezTo>
                    <a:cubicBezTo>
                      <a:pt x="219" y="986"/>
                      <a:pt x="219" y="986"/>
                      <a:pt x="219" y="986"/>
                    </a:cubicBezTo>
                    <a:cubicBezTo>
                      <a:pt x="217" y="992"/>
                      <a:pt x="217" y="992"/>
                      <a:pt x="217" y="992"/>
                    </a:cubicBezTo>
                    <a:cubicBezTo>
                      <a:pt x="213" y="995"/>
                      <a:pt x="213" y="995"/>
                      <a:pt x="213" y="995"/>
                    </a:cubicBezTo>
                    <a:cubicBezTo>
                      <a:pt x="212" y="994"/>
                      <a:pt x="212" y="994"/>
                      <a:pt x="212" y="994"/>
                    </a:cubicBezTo>
                    <a:cubicBezTo>
                      <a:pt x="213" y="992"/>
                      <a:pt x="213" y="992"/>
                      <a:pt x="213" y="992"/>
                    </a:cubicBezTo>
                    <a:cubicBezTo>
                      <a:pt x="216" y="989"/>
                      <a:pt x="216" y="989"/>
                      <a:pt x="216" y="989"/>
                    </a:cubicBezTo>
                    <a:cubicBezTo>
                      <a:pt x="217" y="985"/>
                      <a:pt x="217" y="985"/>
                      <a:pt x="217" y="985"/>
                    </a:cubicBezTo>
                    <a:cubicBezTo>
                      <a:pt x="219" y="982"/>
                      <a:pt x="219" y="982"/>
                      <a:pt x="219" y="982"/>
                    </a:cubicBezTo>
                    <a:cubicBezTo>
                      <a:pt x="217" y="983"/>
                      <a:pt x="217" y="983"/>
                      <a:pt x="217" y="983"/>
                    </a:cubicBezTo>
                    <a:cubicBezTo>
                      <a:pt x="215" y="983"/>
                      <a:pt x="215" y="983"/>
                      <a:pt x="215" y="983"/>
                    </a:cubicBezTo>
                    <a:cubicBezTo>
                      <a:pt x="214" y="985"/>
                      <a:pt x="214" y="985"/>
                      <a:pt x="214" y="985"/>
                    </a:cubicBezTo>
                    <a:cubicBezTo>
                      <a:pt x="211" y="986"/>
                      <a:pt x="211" y="986"/>
                      <a:pt x="211" y="986"/>
                    </a:cubicBezTo>
                    <a:cubicBezTo>
                      <a:pt x="210" y="985"/>
                      <a:pt x="210" y="985"/>
                      <a:pt x="210" y="985"/>
                    </a:cubicBezTo>
                    <a:cubicBezTo>
                      <a:pt x="211" y="982"/>
                      <a:pt x="211" y="982"/>
                      <a:pt x="211" y="982"/>
                    </a:cubicBezTo>
                    <a:cubicBezTo>
                      <a:pt x="214" y="980"/>
                      <a:pt x="214" y="980"/>
                      <a:pt x="214" y="980"/>
                    </a:cubicBezTo>
                    <a:cubicBezTo>
                      <a:pt x="213" y="979"/>
                      <a:pt x="213" y="979"/>
                      <a:pt x="213" y="979"/>
                    </a:cubicBezTo>
                    <a:cubicBezTo>
                      <a:pt x="211" y="980"/>
                      <a:pt x="211" y="980"/>
                      <a:pt x="211" y="980"/>
                    </a:cubicBezTo>
                    <a:cubicBezTo>
                      <a:pt x="210" y="981"/>
                      <a:pt x="210" y="981"/>
                      <a:pt x="210" y="981"/>
                    </a:cubicBezTo>
                    <a:cubicBezTo>
                      <a:pt x="208" y="983"/>
                      <a:pt x="208" y="983"/>
                      <a:pt x="208" y="983"/>
                    </a:cubicBezTo>
                    <a:cubicBezTo>
                      <a:pt x="207" y="985"/>
                      <a:pt x="207" y="985"/>
                      <a:pt x="207" y="985"/>
                    </a:cubicBezTo>
                    <a:cubicBezTo>
                      <a:pt x="206" y="982"/>
                      <a:pt x="206" y="982"/>
                      <a:pt x="206" y="982"/>
                    </a:cubicBezTo>
                    <a:cubicBezTo>
                      <a:pt x="205" y="981"/>
                      <a:pt x="205" y="981"/>
                      <a:pt x="205" y="981"/>
                    </a:cubicBezTo>
                    <a:cubicBezTo>
                      <a:pt x="204" y="981"/>
                      <a:pt x="204" y="981"/>
                      <a:pt x="204" y="981"/>
                    </a:cubicBezTo>
                    <a:cubicBezTo>
                      <a:pt x="202" y="983"/>
                      <a:pt x="202" y="983"/>
                      <a:pt x="202" y="983"/>
                    </a:cubicBezTo>
                    <a:cubicBezTo>
                      <a:pt x="201" y="983"/>
                      <a:pt x="201" y="983"/>
                      <a:pt x="201" y="983"/>
                    </a:cubicBezTo>
                    <a:cubicBezTo>
                      <a:pt x="201" y="981"/>
                      <a:pt x="201" y="981"/>
                      <a:pt x="201" y="981"/>
                    </a:cubicBezTo>
                    <a:cubicBezTo>
                      <a:pt x="207" y="977"/>
                      <a:pt x="207" y="977"/>
                      <a:pt x="207" y="977"/>
                    </a:cubicBezTo>
                    <a:cubicBezTo>
                      <a:pt x="207" y="974"/>
                      <a:pt x="207" y="974"/>
                      <a:pt x="207" y="974"/>
                    </a:cubicBezTo>
                    <a:cubicBezTo>
                      <a:pt x="209" y="974"/>
                      <a:pt x="209" y="974"/>
                      <a:pt x="209" y="974"/>
                    </a:cubicBezTo>
                    <a:cubicBezTo>
                      <a:pt x="213" y="971"/>
                      <a:pt x="213" y="971"/>
                      <a:pt x="213" y="971"/>
                    </a:cubicBezTo>
                    <a:cubicBezTo>
                      <a:pt x="213" y="970"/>
                      <a:pt x="213" y="970"/>
                      <a:pt x="213" y="970"/>
                    </a:cubicBezTo>
                    <a:cubicBezTo>
                      <a:pt x="208" y="972"/>
                      <a:pt x="208" y="972"/>
                      <a:pt x="208" y="972"/>
                    </a:cubicBezTo>
                    <a:cubicBezTo>
                      <a:pt x="205" y="974"/>
                      <a:pt x="205" y="974"/>
                      <a:pt x="205" y="974"/>
                    </a:cubicBezTo>
                    <a:cubicBezTo>
                      <a:pt x="204" y="973"/>
                      <a:pt x="204" y="973"/>
                      <a:pt x="204" y="973"/>
                    </a:cubicBezTo>
                    <a:cubicBezTo>
                      <a:pt x="205" y="972"/>
                      <a:pt x="205" y="972"/>
                      <a:pt x="205" y="972"/>
                    </a:cubicBezTo>
                    <a:cubicBezTo>
                      <a:pt x="209" y="971"/>
                      <a:pt x="209" y="971"/>
                      <a:pt x="209" y="971"/>
                    </a:cubicBezTo>
                    <a:cubicBezTo>
                      <a:pt x="212" y="969"/>
                      <a:pt x="212" y="969"/>
                      <a:pt x="212" y="969"/>
                    </a:cubicBezTo>
                    <a:cubicBezTo>
                      <a:pt x="214" y="967"/>
                      <a:pt x="214" y="967"/>
                      <a:pt x="214" y="967"/>
                    </a:cubicBezTo>
                    <a:cubicBezTo>
                      <a:pt x="217" y="966"/>
                      <a:pt x="217" y="966"/>
                      <a:pt x="217" y="966"/>
                    </a:cubicBezTo>
                    <a:cubicBezTo>
                      <a:pt x="217" y="963"/>
                      <a:pt x="217" y="963"/>
                      <a:pt x="217" y="963"/>
                    </a:cubicBezTo>
                    <a:cubicBezTo>
                      <a:pt x="216" y="961"/>
                      <a:pt x="216" y="961"/>
                      <a:pt x="216" y="961"/>
                    </a:cubicBezTo>
                    <a:cubicBezTo>
                      <a:pt x="214" y="961"/>
                      <a:pt x="214" y="961"/>
                      <a:pt x="214" y="961"/>
                    </a:cubicBezTo>
                    <a:cubicBezTo>
                      <a:pt x="211" y="965"/>
                      <a:pt x="211" y="965"/>
                      <a:pt x="211" y="965"/>
                    </a:cubicBezTo>
                    <a:cubicBezTo>
                      <a:pt x="205" y="969"/>
                      <a:pt x="205" y="969"/>
                      <a:pt x="205" y="969"/>
                    </a:cubicBezTo>
                    <a:cubicBezTo>
                      <a:pt x="201" y="970"/>
                      <a:pt x="201" y="970"/>
                      <a:pt x="201" y="970"/>
                    </a:cubicBezTo>
                    <a:cubicBezTo>
                      <a:pt x="200" y="969"/>
                      <a:pt x="200" y="969"/>
                      <a:pt x="200" y="969"/>
                    </a:cubicBezTo>
                    <a:cubicBezTo>
                      <a:pt x="202" y="968"/>
                      <a:pt x="202" y="968"/>
                      <a:pt x="202" y="968"/>
                    </a:cubicBezTo>
                    <a:cubicBezTo>
                      <a:pt x="204" y="967"/>
                      <a:pt x="204" y="967"/>
                      <a:pt x="204" y="967"/>
                    </a:cubicBezTo>
                    <a:cubicBezTo>
                      <a:pt x="207" y="964"/>
                      <a:pt x="207" y="964"/>
                      <a:pt x="207" y="964"/>
                    </a:cubicBezTo>
                    <a:cubicBezTo>
                      <a:pt x="207" y="961"/>
                      <a:pt x="207" y="961"/>
                      <a:pt x="207" y="961"/>
                    </a:cubicBezTo>
                    <a:cubicBezTo>
                      <a:pt x="206" y="958"/>
                      <a:pt x="206" y="958"/>
                      <a:pt x="206" y="958"/>
                    </a:cubicBezTo>
                    <a:cubicBezTo>
                      <a:pt x="204" y="957"/>
                      <a:pt x="204" y="957"/>
                      <a:pt x="204" y="957"/>
                    </a:cubicBezTo>
                    <a:cubicBezTo>
                      <a:pt x="202" y="958"/>
                      <a:pt x="202" y="958"/>
                      <a:pt x="202" y="958"/>
                    </a:cubicBezTo>
                    <a:cubicBezTo>
                      <a:pt x="202" y="960"/>
                      <a:pt x="202" y="960"/>
                      <a:pt x="202" y="960"/>
                    </a:cubicBezTo>
                    <a:cubicBezTo>
                      <a:pt x="204" y="962"/>
                      <a:pt x="204" y="962"/>
                      <a:pt x="204" y="962"/>
                    </a:cubicBezTo>
                    <a:cubicBezTo>
                      <a:pt x="204" y="963"/>
                      <a:pt x="204" y="963"/>
                      <a:pt x="204" y="963"/>
                    </a:cubicBezTo>
                    <a:cubicBezTo>
                      <a:pt x="201" y="965"/>
                      <a:pt x="201" y="965"/>
                      <a:pt x="201" y="965"/>
                    </a:cubicBezTo>
                    <a:cubicBezTo>
                      <a:pt x="199" y="964"/>
                      <a:pt x="199" y="964"/>
                      <a:pt x="199" y="964"/>
                    </a:cubicBezTo>
                    <a:cubicBezTo>
                      <a:pt x="196" y="964"/>
                      <a:pt x="196" y="964"/>
                      <a:pt x="196" y="964"/>
                    </a:cubicBezTo>
                    <a:cubicBezTo>
                      <a:pt x="194" y="965"/>
                      <a:pt x="194" y="965"/>
                      <a:pt x="194" y="965"/>
                    </a:cubicBezTo>
                    <a:cubicBezTo>
                      <a:pt x="192" y="966"/>
                      <a:pt x="192" y="966"/>
                      <a:pt x="192" y="966"/>
                    </a:cubicBezTo>
                    <a:cubicBezTo>
                      <a:pt x="191" y="968"/>
                      <a:pt x="191" y="968"/>
                      <a:pt x="191" y="968"/>
                    </a:cubicBezTo>
                    <a:cubicBezTo>
                      <a:pt x="189" y="969"/>
                      <a:pt x="189" y="969"/>
                      <a:pt x="189" y="969"/>
                    </a:cubicBezTo>
                    <a:cubicBezTo>
                      <a:pt x="187" y="968"/>
                      <a:pt x="187" y="968"/>
                      <a:pt x="187" y="968"/>
                    </a:cubicBezTo>
                    <a:cubicBezTo>
                      <a:pt x="185" y="967"/>
                      <a:pt x="185" y="967"/>
                      <a:pt x="185" y="967"/>
                    </a:cubicBezTo>
                    <a:cubicBezTo>
                      <a:pt x="182" y="967"/>
                      <a:pt x="182" y="967"/>
                      <a:pt x="182" y="967"/>
                    </a:cubicBezTo>
                    <a:cubicBezTo>
                      <a:pt x="180" y="969"/>
                      <a:pt x="180" y="969"/>
                      <a:pt x="180" y="969"/>
                    </a:cubicBezTo>
                    <a:cubicBezTo>
                      <a:pt x="178" y="968"/>
                      <a:pt x="178" y="968"/>
                      <a:pt x="178" y="968"/>
                    </a:cubicBezTo>
                    <a:cubicBezTo>
                      <a:pt x="176" y="969"/>
                      <a:pt x="176" y="969"/>
                      <a:pt x="176" y="969"/>
                    </a:cubicBezTo>
                    <a:cubicBezTo>
                      <a:pt x="176" y="971"/>
                      <a:pt x="176" y="971"/>
                      <a:pt x="176" y="971"/>
                    </a:cubicBezTo>
                    <a:cubicBezTo>
                      <a:pt x="177" y="972"/>
                      <a:pt x="177" y="972"/>
                      <a:pt x="177" y="972"/>
                    </a:cubicBezTo>
                    <a:cubicBezTo>
                      <a:pt x="175" y="973"/>
                      <a:pt x="175" y="973"/>
                      <a:pt x="175" y="973"/>
                    </a:cubicBezTo>
                    <a:cubicBezTo>
                      <a:pt x="170" y="972"/>
                      <a:pt x="170" y="972"/>
                      <a:pt x="170" y="972"/>
                    </a:cubicBezTo>
                    <a:cubicBezTo>
                      <a:pt x="169" y="970"/>
                      <a:pt x="169" y="970"/>
                      <a:pt x="169" y="970"/>
                    </a:cubicBezTo>
                    <a:cubicBezTo>
                      <a:pt x="171" y="968"/>
                      <a:pt x="171" y="968"/>
                      <a:pt x="171" y="968"/>
                    </a:cubicBezTo>
                    <a:cubicBezTo>
                      <a:pt x="174" y="967"/>
                      <a:pt x="174" y="967"/>
                      <a:pt x="174" y="967"/>
                    </a:cubicBezTo>
                    <a:cubicBezTo>
                      <a:pt x="176" y="966"/>
                      <a:pt x="176" y="966"/>
                      <a:pt x="176" y="966"/>
                    </a:cubicBezTo>
                    <a:cubicBezTo>
                      <a:pt x="175" y="964"/>
                      <a:pt x="175" y="964"/>
                      <a:pt x="175" y="964"/>
                    </a:cubicBezTo>
                    <a:cubicBezTo>
                      <a:pt x="172" y="963"/>
                      <a:pt x="172" y="963"/>
                      <a:pt x="172" y="963"/>
                    </a:cubicBezTo>
                    <a:cubicBezTo>
                      <a:pt x="172" y="959"/>
                      <a:pt x="172" y="959"/>
                      <a:pt x="172" y="959"/>
                    </a:cubicBezTo>
                    <a:cubicBezTo>
                      <a:pt x="169" y="957"/>
                      <a:pt x="169" y="957"/>
                      <a:pt x="169" y="957"/>
                    </a:cubicBezTo>
                    <a:cubicBezTo>
                      <a:pt x="169" y="956"/>
                      <a:pt x="169" y="956"/>
                      <a:pt x="169" y="956"/>
                    </a:cubicBezTo>
                    <a:cubicBezTo>
                      <a:pt x="167" y="957"/>
                      <a:pt x="167" y="957"/>
                      <a:pt x="167" y="957"/>
                    </a:cubicBezTo>
                    <a:cubicBezTo>
                      <a:pt x="162" y="960"/>
                      <a:pt x="162" y="960"/>
                      <a:pt x="162" y="960"/>
                    </a:cubicBezTo>
                    <a:cubicBezTo>
                      <a:pt x="159" y="959"/>
                      <a:pt x="159" y="959"/>
                      <a:pt x="159" y="959"/>
                    </a:cubicBezTo>
                    <a:cubicBezTo>
                      <a:pt x="158" y="957"/>
                      <a:pt x="158" y="957"/>
                      <a:pt x="158" y="957"/>
                    </a:cubicBezTo>
                    <a:cubicBezTo>
                      <a:pt x="161" y="954"/>
                      <a:pt x="161" y="954"/>
                      <a:pt x="161" y="954"/>
                    </a:cubicBezTo>
                    <a:cubicBezTo>
                      <a:pt x="160" y="953"/>
                      <a:pt x="160" y="953"/>
                      <a:pt x="160" y="953"/>
                    </a:cubicBezTo>
                    <a:cubicBezTo>
                      <a:pt x="158" y="952"/>
                      <a:pt x="158" y="952"/>
                      <a:pt x="158" y="952"/>
                    </a:cubicBezTo>
                    <a:cubicBezTo>
                      <a:pt x="158" y="951"/>
                      <a:pt x="158" y="951"/>
                      <a:pt x="158" y="951"/>
                    </a:cubicBezTo>
                    <a:cubicBezTo>
                      <a:pt x="162" y="949"/>
                      <a:pt x="162" y="949"/>
                      <a:pt x="162" y="949"/>
                    </a:cubicBezTo>
                    <a:cubicBezTo>
                      <a:pt x="164" y="949"/>
                      <a:pt x="164" y="949"/>
                      <a:pt x="164" y="949"/>
                    </a:cubicBezTo>
                    <a:cubicBezTo>
                      <a:pt x="166" y="948"/>
                      <a:pt x="166" y="948"/>
                      <a:pt x="166" y="948"/>
                    </a:cubicBezTo>
                    <a:cubicBezTo>
                      <a:pt x="165" y="946"/>
                      <a:pt x="165" y="946"/>
                      <a:pt x="165" y="946"/>
                    </a:cubicBezTo>
                    <a:cubicBezTo>
                      <a:pt x="163" y="946"/>
                      <a:pt x="163" y="946"/>
                      <a:pt x="163" y="946"/>
                    </a:cubicBezTo>
                    <a:cubicBezTo>
                      <a:pt x="159" y="947"/>
                      <a:pt x="159" y="947"/>
                      <a:pt x="159" y="947"/>
                    </a:cubicBezTo>
                    <a:cubicBezTo>
                      <a:pt x="156" y="949"/>
                      <a:pt x="156" y="949"/>
                      <a:pt x="156" y="949"/>
                    </a:cubicBezTo>
                    <a:cubicBezTo>
                      <a:pt x="152" y="950"/>
                      <a:pt x="152" y="950"/>
                      <a:pt x="152" y="950"/>
                    </a:cubicBezTo>
                    <a:cubicBezTo>
                      <a:pt x="149" y="948"/>
                      <a:pt x="149" y="948"/>
                      <a:pt x="149" y="948"/>
                    </a:cubicBezTo>
                    <a:cubicBezTo>
                      <a:pt x="150" y="947"/>
                      <a:pt x="150" y="947"/>
                      <a:pt x="150" y="947"/>
                    </a:cubicBezTo>
                    <a:cubicBezTo>
                      <a:pt x="153" y="946"/>
                      <a:pt x="153" y="946"/>
                      <a:pt x="153" y="946"/>
                    </a:cubicBezTo>
                    <a:cubicBezTo>
                      <a:pt x="155" y="944"/>
                      <a:pt x="155" y="944"/>
                      <a:pt x="155" y="944"/>
                    </a:cubicBezTo>
                    <a:cubicBezTo>
                      <a:pt x="154" y="941"/>
                      <a:pt x="154" y="941"/>
                      <a:pt x="154" y="941"/>
                    </a:cubicBezTo>
                    <a:cubicBezTo>
                      <a:pt x="159" y="940"/>
                      <a:pt x="159" y="940"/>
                      <a:pt x="159" y="940"/>
                    </a:cubicBezTo>
                    <a:cubicBezTo>
                      <a:pt x="160" y="938"/>
                      <a:pt x="160" y="938"/>
                      <a:pt x="160" y="938"/>
                    </a:cubicBezTo>
                    <a:cubicBezTo>
                      <a:pt x="159" y="937"/>
                      <a:pt x="159" y="937"/>
                      <a:pt x="159" y="937"/>
                    </a:cubicBezTo>
                    <a:cubicBezTo>
                      <a:pt x="156" y="936"/>
                      <a:pt x="156" y="936"/>
                      <a:pt x="156" y="936"/>
                    </a:cubicBezTo>
                    <a:cubicBezTo>
                      <a:pt x="154" y="938"/>
                      <a:pt x="154" y="938"/>
                      <a:pt x="154" y="938"/>
                    </a:cubicBezTo>
                    <a:cubicBezTo>
                      <a:pt x="151" y="939"/>
                      <a:pt x="151" y="939"/>
                      <a:pt x="151" y="939"/>
                    </a:cubicBezTo>
                    <a:cubicBezTo>
                      <a:pt x="149" y="937"/>
                      <a:pt x="149" y="937"/>
                      <a:pt x="149" y="937"/>
                    </a:cubicBezTo>
                    <a:cubicBezTo>
                      <a:pt x="150" y="935"/>
                      <a:pt x="150" y="935"/>
                      <a:pt x="150" y="935"/>
                    </a:cubicBezTo>
                    <a:cubicBezTo>
                      <a:pt x="153" y="935"/>
                      <a:pt x="153" y="935"/>
                      <a:pt x="153" y="935"/>
                    </a:cubicBezTo>
                    <a:cubicBezTo>
                      <a:pt x="155" y="935"/>
                      <a:pt x="155" y="935"/>
                      <a:pt x="155" y="935"/>
                    </a:cubicBezTo>
                    <a:cubicBezTo>
                      <a:pt x="157" y="933"/>
                      <a:pt x="157" y="933"/>
                      <a:pt x="157" y="933"/>
                    </a:cubicBezTo>
                    <a:cubicBezTo>
                      <a:pt x="159" y="932"/>
                      <a:pt x="159" y="932"/>
                      <a:pt x="159" y="932"/>
                    </a:cubicBezTo>
                    <a:cubicBezTo>
                      <a:pt x="159" y="930"/>
                      <a:pt x="159" y="930"/>
                      <a:pt x="159" y="930"/>
                    </a:cubicBezTo>
                    <a:cubicBezTo>
                      <a:pt x="160" y="928"/>
                      <a:pt x="160" y="928"/>
                      <a:pt x="160" y="928"/>
                    </a:cubicBezTo>
                    <a:cubicBezTo>
                      <a:pt x="159" y="927"/>
                      <a:pt x="159" y="927"/>
                      <a:pt x="159" y="927"/>
                    </a:cubicBezTo>
                    <a:cubicBezTo>
                      <a:pt x="154" y="929"/>
                      <a:pt x="154" y="929"/>
                      <a:pt x="154" y="929"/>
                    </a:cubicBezTo>
                    <a:cubicBezTo>
                      <a:pt x="153" y="930"/>
                      <a:pt x="153" y="930"/>
                      <a:pt x="153" y="930"/>
                    </a:cubicBezTo>
                    <a:cubicBezTo>
                      <a:pt x="152" y="932"/>
                      <a:pt x="152" y="932"/>
                      <a:pt x="152" y="932"/>
                    </a:cubicBezTo>
                    <a:cubicBezTo>
                      <a:pt x="148" y="932"/>
                      <a:pt x="148" y="932"/>
                      <a:pt x="148" y="932"/>
                    </a:cubicBezTo>
                    <a:cubicBezTo>
                      <a:pt x="149" y="931"/>
                      <a:pt x="149" y="931"/>
                      <a:pt x="149" y="931"/>
                    </a:cubicBezTo>
                    <a:cubicBezTo>
                      <a:pt x="152" y="929"/>
                      <a:pt x="152" y="929"/>
                      <a:pt x="152" y="929"/>
                    </a:cubicBezTo>
                    <a:cubicBezTo>
                      <a:pt x="152" y="927"/>
                      <a:pt x="152" y="927"/>
                      <a:pt x="152" y="927"/>
                    </a:cubicBezTo>
                    <a:cubicBezTo>
                      <a:pt x="151" y="926"/>
                      <a:pt x="151" y="926"/>
                      <a:pt x="151" y="926"/>
                    </a:cubicBezTo>
                    <a:cubicBezTo>
                      <a:pt x="153" y="924"/>
                      <a:pt x="153" y="924"/>
                      <a:pt x="153" y="924"/>
                    </a:cubicBezTo>
                    <a:cubicBezTo>
                      <a:pt x="153" y="923"/>
                      <a:pt x="153" y="923"/>
                      <a:pt x="153" y="923"/>
                    </a:cubicBezTo>
                    <a:cubicBezTo>
                      <a:pt x="151" y="922"/>
                      <a:pt x="151" y="922"/>
                      <a:pt x="151" y="922"/>
                    </a:cubicBezTo>
                    <a:cubicBezTo>
                      <a:pt x="148" y="922"/>
                      <a:pt x="148" y="922"/>
                      <a:pt x="148" y="922"/>
                    </a:cubicBezTo>
                    <a:cubicBezTo>
                      <a:pt x="148" y="921"/>
                      <a:pt x="148" y="921"/>
                      <a:pt x="148" y="921"/>
                    </a:cubicBezTo>
                    <a:cubicBezTo>
                      <a:pt x="150" y="919"/>
                      <a:pt x="150" y="919"/>
                      <a:pt x="150" y="919"/>
                    </a:cubicBezTo>
                    <a:cubicBezTo>
                      <a:pt x="149" y="917"/>
                      <a:pt x="149" y="917"/>
                      <a:pt x="149" y="917"/>
                    </a:cubicBezTo>
                    <a:cubicBezTo>
                      <a:pt x="147" y="916"/>
                      <a:pt x="147" y="916"/>
                      <a:pt x="147" y="916"/>
                    </a:cubicBezTo>
                    <a:cubicBezTo>
                      <a:pt x="146" y="918"/>
                      <a:pt x="146" y="918"/>
                      <a:pt x="146" y="918"/>
                    </a:cubicBezTo>
                    <a:cubicBezTo>
                      <a:pt x="143" y="918"/>
                      <a:pt x="143" y="918"/>
                      <a:pt x="143" y="918"/>
                    </a:cubicBezTo>
                    <a:cubicBezTo>
                      <a:pt x="142" y="917"/>
                      <a:pt x="142" y="917"/>
                      <a:pt x="142" y="917"/>
                    </a:cubicBezTo>
                    <a:cubicBezTo>
                      <a:pt x="144" y="914"/>
                      <a:pt x="144" y="914"/>
                      <a:pt x="144" y="914"/>
                    </a:cubicBezTo>
                    <a:cubicBezTo>
                      <a:pt x="146" y="912"/>
                      <a:pt x="146" y="912"/>
                      <a:pt x="146" y="912"/>
                    </a:cubicBezTo>
                    <a:cubicBezTo>
                      <a:pt x="147" y="912"/>
                      <a:pt x="147" y="912"/>
                      <a:pt x="147" y="912"/>
                    </a:cubicBezTo>
                    <a:cubicBezTo>
                      <a:pt x="151" y="907"/>
                      <a:pt x="151" y="907"/>
                      <a:pt x="151" y="907"/>
                    </a:cubicBezTo>
                    <a:cubicBezTo>
                      <a:pt x="149" y="906"/>
                      <a:pt x="149" y="906"/>
                      <a:pt x="149" y="906"/>
                    </a:cubicBezTo>
                    <a:cubicBezTo>
                      <a:pt x="149" y="904"/>
                      <a:pt x="149" y="904"/>
                      <a:pt x="149" y="904"/>
                    </a:cubicBezTo>
                    <a:cubicBezTo>
                      <a:pt x="151" y="902"/>
                      <a:pt x="151" y="902"/>
                      <a:pt x="151" y="902"/>
                    </a:cubicBezTo>
                    <a:cubicBezTo>
                      <a:pt x="149" y="901"/>
                      <a:pt x="149" y="901"/>
                      <a:pt x="149" y="901"/>
                    </a:cubicBezTo>
                    <a:cubicBezTo>
                      <a:pt x="148" y="902"/>
                      <a:pt x="148" y="902"/>
                      <a:pt x="148" y="902"/>
                    </a:cubicBezTo>
                    <a:cubicBezTo>
                      <a:pt x="148" y="903"/>
                      <a:pt x="148" y="903"/>
                      <a:pt x="148" y="903"/>
                    </a:cubicBezTo>
                    <a:cubicBezTo>
                      <a:pt x="146" y="901"/>
                      <a:pt x="146" y="901"/>
                      <a:pt x="146" y="901"/>
                    </a:cubicBezTo>
                    <a:cubicBezTo>
                      <a:pt x="143" y="901"/>
                      <a:pt x="143" y="901"/>
                      <a:pt x="143" y="901"/>
                    </a:cubicBezTo>
                    <a:cubicBezTo>
                      <a:pt x="143" y="902"/>
                      <a:pt x="143" y="902"/>
                      <a:pt x="143" y="902"/>
                    </a:cubicBezTo>
                    <a:cubicBezTo>
                      <a:pt x="141" y="902"/>
                      <a:pt x="141" y="902"/>
                      <a:pt x="141" y="902"/>
                    </a:cubicBezTo>
                    <a:cubicBezTo>
                      <a:pt x="140" y="898"/>
                      <a:pt x="140" y="898"/>
                      <a:pt x="140" y="898"/>
                    </a:cubicBezTo>
                    <a:cubicBezTo>
                      <a:pt x="140" y="896"/>
                      <a:pt x="140" y="896"/>
                      <a:pt x="140" y="896"/>
                    </a:cubicBezTo>
                    <a:cubicBezTo>
                      <a:pt x="145" y="895"/>
                      <a:pt x="145" y="895"/>
                      <a:pt x="145" y="895"/>
                    </a:cubicBezTo>
                    <a:cubicBezTo>
                      <a:pt x="146" y="894"/>
                      <a:pt x="146" y="894"/>
                      <a:pt x="146" y="894"/>
                    </a:cubicBezTo>
                    <a:cubicBezTo>
                      <a:pt x="143" y="892"/>
                      <a:pt x="143" y="892"/>
                      <a:pt x="143" y="892"/>
                    </a:cubicBezTo>
                    <a:cubicBezTo>
                      <a:pt x="140" y="892"/>
                      <a:pt x="140" y="892"/>
                      <a:pt x="140" y="892"/>
                    </a:cubicBezTo>
                    <a:cubicBezTo>
                      <a:pt x="137" y="894"/>
                      <a:pt x="137" y="894"/>
                      <a:pt x="137" y="894"/>
                    </a:cubicBezTo>
                    <a:cubicBezTo>
                      <a:pt x="135" y="894"/>
                      <a:pt x="135" y="894"/>
                      <a:pt x="135" y="894"/>
                    </a:cubicBezTo>
                    <a:cubicBezTo>
                      <a:pt x="134" y="892"/>
                      <a:pt x="134" y="892"/>
                      <a:pt x="134" y="892"/>
                    </a:cubicBezTo>
                    <a:cubicBezTo>
                      <a:pt x="135" y="890"/>
                      <a:pt x="135" y="890"/>
                      <a:pt x="135" y="890"/>
                    </a:cubicBezTo>
                    <a:cubicBezTo>
                      <a:pt x="138" y="889"/>
                      <a:pt x="138" y="889"/>
                      <a:pt x="138" y="889"/>
                    </a:cubicBezTo>
                    <a:cubicBezTo>
                      <a:pt x="141" y="890"/>
                      <a:pt x="141" y="890"/>
                      <a:pt x="141" y="890"/>
                    </a:cubicBezTo>
                    <a:cubicBezTo>
                      <a:pt x="145" y="889"/>
                      <a:pt x="145" y="889"/>
                      <a:pt x="145" y="889"/>
                    </a:cubicBezTo>
                    <a:cubicBezTo>
                      <a:pt x="147" y="888"/>
                      <a:pt x="147" y="888"/>
                      <a:pt x="147" y="888"/>
                    </a:cubicBezTo>
                    <a:cubicBezTo>
                      <a:pt x="145" y="887"/>
                      <a:pt x="145" y="887"/>
                      <a:pt x="145" y="887"/>
                    </a:cubicBezTo>
                    <a:cubicBezTo>
                      <a:pt x="143" y="887"/>
                      <a:pt x="143" y="887"/>
                      <a:pt x="143" y="887"/>
                    </a:cubicBezTo>
                    <a:cubicBezTo>
                      <a:pt x="139" y="887"/>
                      <a:pt x="139" y="887"/>
                      <a:pt x="139" y="887"/>
                    </a:cubicBezTo>
                    <a:cubicBezTo>
                      <a:pt x="137" y="888"/>
                      <a:pt x="137" y="888"/>
                      <a:pt x="137" y="888"/>
                    </a:cubicBezTo>
                    <a:cubicBezTo>
                      <a:pt x="135" y="887"/>
                      <a:pt x="135" y="887"/>
                      <a:pt x="135" y="887"/>
                    </a:cubicBezTo>
                    <a:cubicBezTo>
                      <a:pt x="133" y="886"/>
                      <a:pt x="133" y="886"/>
                      <a:pt x="133" y="886"/>
                    </a:cubicBezTo>
                    <a:cubicBezTo>
                      <a:pt x="137" y="883"/>
                      <a:pt x="137" y="883"/>
                      <a:pt x="137" y="883"/>
                    </a:cubicBezTo>
                    <a:cubicBezTo>
                      <a:pt x="142" y="883"/>
                      <a:pt x="142" y="883"/>
                      <a:pt x="142" y="883"/>
                    </a:cubicBezTo>
                    <a:cubicBezTo>
                      <a:pt x="143" y="882"/>
                      <a:pt x="143" y="882"/>
                      <a:pt x="143" y="882"/>
                    </a:cubicBezTo>
                    <a:cubicBezTo>
                      <a:pt x="142" y="882"/>
                      <a:pt x="142" y="882"/>
                      <a:pt x="142" y="882"/>
                    </a:cubicBezTo>
                    <a:cubicBezTo>
                      <a:pt x="139" y="881"/>
                      <a:pt x="139" y="881"/>
                      <a:pt x="139" y="881"/>
                    </a:cubicBezTo>
                    <a:cubicBezTo>
                      <a:pt x="137" y="880"/>
                      <a:pt x="137" y="880"/>
                      <a:pt x="137" y="880"/>
                    </a:cubicBezTo>
                    <a:cubicBezTo>
                      <a:pt x="139" y="879"/>
                      <a:pt x="139" y="879"/>
                      <a:pt x="139" y="879"/>
                    </a:cubicBezTo>
                    <a:cubicBezTo>
                      <a:pt x="141" y="880"/>
                      <a:pt x="141" y="880"/>
                      <a:pt x="141" y="880"/>
                    </a:cubicBezTo>
                    <a:cubicBezTo>
                      <a:pt x="143" y="881"/>
                      <a:pt x="143" y="881"/>
                      <a:pt x="143" y="881"/>
                    </a:cubicBezTo>
                    <a:cubicBezTo>
                      <a:pt x="147" y="879"/>
                      <a:pt x="147" y="879"/>
                      <a:pt x="147" y="879"/>
                    </a:cubicBezTo>
                    <a:cubicBezTo>
                      <a:pt x="149" y="877"/>
                      <a:pt x="149" y="877"/>
                      <a:pt x="149" y="877"/>
                    </a:cubicBezTo>
                    <a:cubicBezTo>
                      <a:pt x="148" y="876"/>
                      <a:pt x="148" y="876"/>
                      <a:pt x="148" y="876"/>
                    </a:cubicBezTo>
                    <a:cubicBezTo>
                      <a:pt x="146" y="877"/>
                      <a:pt x="146" y="877"/>
                      <a:pt x="146" y="877"/>
                    </a:cubicBezTo>
                    <a:cubicBezTo>
                      <a:pt x="144" y="878"/>
                      <a:pt x="144" y="878"/>
                      <a:pt x="144" y="878"/>
                    </a:cubicBezTo>
                    <a:cubicBezTo>
                      <a:pt x="142" y="878"/>
                      <a:pt x="142" y="878"/>
                      <a:pt x="142" y="878"/>
                    </a:cubicBezTo>
                    <a:cubicBezTo>
                      <a:pt x="140" y="877"/>
                      <a:pt x="140" y="877"/>
                      <a:pt x="140" y="877"/>
                    </a:cubicBezTo>
                    <a:cubicBezTo>
                      <a:pt x="137" y="877"/>
                      <a:pt x="137" y="877"/>
                      <a:pt x="137" y="877"/>
                    </a:cubicBezTo>
                    <a:cubicBezTo>
                      <a:pt x="136" y="879"/>
                      <a:pt x="136" y="879"/>
                      <a:pt x="136" y="879"/>
                    </a:cubicBezTo>
                    <a:cubicBezTo>
                      <a:pt x="134" y="881"/>
                      <a:pt x="134" y="881"/>
                      <a:pt x="134" y="881"/>
                    </a:cubicBezTo>
                    <a:cubicBezTo>
                      <a:pt x="131" y="879"/>
                      <a:pt x="131" y="879"/>
                      <a:pt x="131" y="879"/>
                    </a:cubicBezTo>
                    <a:cubicBezTo>
                      <a:pt x="131" y="877"/>
                      <a:pt x="131" y="877"/>
                      <a:pt x="131" y="877"/>
                    </a:cubicBezTo>
                    <a:cubicBezTo>
                      <a:pt x="133" y="874"/>
                      <a:pt x="133" y="874"/>
                      <a:pt x="133" y="874"/>
                    </a:cubicBezTo>
                    <a:cubicBezTo>
                      <a:pt x="136" y="873"/>
                      <a:pt x="136" y="873"/>
                      <a:pt x="136" y="873"/>
                    </a:cubicBezTo>
                    <a:cubicBezTo>
                      <a:pt x="140" y="872"/>
                      <a:pt x="140" y="872"/>
                      <a:pt x="140" y="872"/>
                    </a:cubicBezTo>
                    <a:cubicBezTo>
                      <a:pt x="139" y="871"/>
                      <a:pt x="139" y="871"/>
                      <a:pt x="139" y="871"/>
                    </a:cubicBezTo>
                    <a:cubicBezTo>
                      <a:pt x="135" y="872"/>
                      <a:pt x="135" y="872"/>
                      <a:pt x="135" y="872"/>
                    </a:cubicBezTo>
                    <a:cubicBezTo>
                      <a:pt x="132" y="871"/>
                      <a:pt x="132" y="871"/>
                      <a:pt x="132" y="871"/>
                    </a:cubicBezTo>
                    <a:cubicBezTo>
                      <a:pt x="131" y="868"/>
                      <a:pt x="131" y="868"/>
                      <a:pt x="131" y="868"/>
                    </a:cubicBezTo>
                    <a:cubicBezTo>
                      <a:pt x="132" y="866"/>
                      <a:pt x="132" y="866"/>
                      <a:pt x="132" y="866"/>
                    </a:cubicBezTo>
                    <a:cubicBezTo>
                      <a:pt x="135" y="865"/>
                      <a:pt x="135" y="865"/>
                      <a:pt x="135" y="865"/>
                    </a:cubicBezTo>
                    <a:cubicBezTo>
                      <a:pt x="142" y="866"/>
                      <a:pt x="142" y="866"/>
                      <a:pt x="142" y="866"/>
                    </a:cubicBezTo>
                    <a:cubicBezTo>
                      <a:pt x="147" y="864"/>
                      <a:pt x="147" y="864"/>
                      <a:pt x="147" y="864"/>
                    </a:cubicBezTo>
                    <a:cubicBezTo>
                      <a:pt x="151" y="864"/>
                      <a:pt x="151" y="864"/>
                      <a:pt x="151" y="864"/>
                    </a:cubicBezTo>
                    <a:cubicBezTo>
                      <a:pt x="154" y="862"/>
                      <a:pt x="154" y="862"/>
                      <a:pt x="154" y="862"/>
                    </a:cubicBezTo>
                    <a:cubicBezTo>
                      <a:pt x="155" y="861"/>
                      <a:pt x="155" y="861"/>
                      <a:pt x="155" y="861"/>
                    </a:cubicBezTo>
                    <a:cubicBezTo>
                      <a:pt x="152" y="861"/>
                      <a:pt x="152" y="861"/>
                      <a:pt x="152" y="861"/>
                    </a:cubicBezTo>
                    <a:cubicBezTo>
                      <a:pt x="149" y="860"/>
                      <a:pt x="149" y="860"/>
                      <a:pt x="149" y="860"/>
                    </a:cubicBezTo>
                    <a:cubicBezTo>
                      <a:pt x="145" y="862"/>
                      <a:pt x="145" y="862"/>
                      <a:pt x="145" y="862"/>
                    </a:cubicBezTo>
                    <a:cubicBezTo>
                      <a:pt x="140" y="863"/>
                      <a:pt x="140" y="863"/>
                      <a:pt x="140" y="863"/>
                    </a:cubicBezTo>
                    <a:cubicBezTo>
                      <a:pt x="137" y="864"/>
                      <a:pt x="137" y="864"/>
                      <a:pt x="137" y="864"/>
                    </a:cubicBezTo>
                    <a:cubicBezTo>
                      <a:pt x="134" y="864"/>
                      <a:pt x="134" y="864"/>
                      <a:pt x="134" y="864"/>
                    </a:cubicBezTo>
                    <a:cubicBezTo>
                      <a:pt x="132" y="863"/>
                      <a:pt x="132" y="863"/>
                      <a:pt x="132" y="863"/>
                    </a:cubicBezTo>
                    <a:cubicBezTo>
                      <a:pt x="133" y="862"/>
                      <a:pt x="133" y="862"/>
                      <a:pt x="133" y="862"/>
                    </a:cubicBezTo>
                    <a:cubicBezTo>
                      <a:pt x="139" y="862"/>
                      <a:pt x="139" y="862"/>
                      <a:pt x="139" y="862"/>
                    </a:cubicBezTo>
                    <a:cubicBezTo>
                      <a:pt x="142" y="861"/>
                      <a:pt x="142" y="861"/>
                      <a:pt x="142" y="861"/>
                    </a:cubicBezTo>
                    <a:cubicBezTo>
                      <a:pt x="145" y="856"/>
                      <a:pt x="145" y="856"/>
                      <a:pt x="145" y="856"/>
                    </a:cubicBezTo>
                    <a:cubicBezTo>
                      <a:pt x="148" y="856"/>
                      <a:pt x="148" y="856"/>
                      <a:pt x="148" y="856"/>
                    </a:cubicBezTo>
                    <a:cubicBezTo>
                      <a:pt x="150" y="857"/>
                      <a:pt x="150" y="857"/>
                      <a:pt x="150" y="857"/>
                    </a:cubicBezTo>
                    <a:cubicBezTo>
                      <a:pt x="152" y="859"/>
                      <a:pt x="152" y="859"/>
                      <a:pt x="152" y="859"/>
                    </a:cubicBezTo>
                    <a:cubicBezTo>
                      <a:pt x="154" y="859"/>
                      <a:pt x="154" y="859"/>
                      <a:pt x="154" y="859"/>
                    </a:cubicBezTo>
                    <a:cubicBezTo>
                      <a:pt x="155" y="858"/>
                      <a:pt x="155" y="858"/>
                      <a:pt x="155" y="858"/>
                    </a:cubicBezTo>
                    <a:cubicBezTo>
                      <a:pt x="153" y="857"/>
                      <a:pt x="153" y="857"/>
                      <a:pt x="153" y="857"/>
                    </a:cubicBezTo>
                    <a:cubicBezTo>
                      <a:pt x="150" y="854"/>
                      <a:pt x="150" y="854"/>
                      <a:pt x="150" y="854"/>
                    </a:cubicBezTo>
                    <a:cubicBezTo>
                      <a:pt x="149" y="854"/>
                      <a:pt x="149" y="854"/>
                      <a:pt x="149" y="854"/>
                    </a:cubicBezTo>
                    <a:cubicBezTo>
                      <a:pt x="147" y="852"/>
                      <a:pt x="147" y="852"/>
                      <a:pt x="147" y="852"/>
                    </a:cubicBezTo>
                    <a:cubicBezTo>
                      <a:pt x="148" y="851"/>
                      <a:pt x="148" y="851"/>
                      <a:pt x="148" y="851"/>
                    </a:cubicBezTo>
                    <a:cubicBezTo>
                      <a:pt x="150" y="851"/>
                      <a:pt x="150" y="851"/>
                      <a:pt x="150" y="851"/>
                    </a:cubicBezTo>
                    <a:cubicBezTo>
                      <a:pt x="152" y="850"/>
                      <a:pt x="152" y="850"/>
                      <a:pt x="152" y="850"/>
                    </a:cubicBezTo>
                    <a:cubicBezTo>
                      <a:pt x="153" y="850"/>
                      <a:pt x="153" y="850"/>
                      <a:pt x="153" y="850"/>
                    </a:cubicBezTo>
                    <a:cubicBezTo>
                      <a:pt x="154" y="852"/>
                      <a:pt x="154" y="852"/>
                      <a:pt x="154" y="852"/>
                    </a:cubicBezTo>
                    <a:cubicBezTo>
                      <a:pt x="158" y="856"/>
                      <a:pt x="158" y="856"/>
                      <a:pt x="158" y="856"/>
                    </a:cubicBezTo>
                    <a:cubicBezTo>
                      <a:pt x="160" y="857"/>
                      <a:pt x="160" y="857"/>
                      <a:pt x="160" y="857"/>
                    </a:cubicBezTo>
                    <a:cubicBezTo>
                      <a:pt x="161" y="857"/>
                      <a:pt x="161" y="857"/>
                      <a:pt x="161" y="857"/>
                    </a:cubicBezTo>
                    <a:cubicBezTo>
                      <a:pt x="159" y="854"/>
                      <a:pt x="159" y="854"/>
                      <a:pt x="159" y="854"/>
                    </a:cubicBezTo>
                    <a:cubicBezTo>
                      <a:pt x="158" y="853"/>
                      <a:pt x="158" y="853"/>
                      <a:pt x="158" y="853"/>
                    </a:cubicBezTo>
                    <a:cubicBezTo>
                      <a:pt x="157" y="847"/>
                      <a:pt x="157" y="847"/>
                      <a:pt x="157" y="847"/>
                    </a:cubicBezTo>
                    <a:cubicBezTo>
                      <a:pt x="160" y="845"/>
                      <a:pt x="160" y="845"/>
                      <a:pt x="160" y="845"/>
                    </a:cubicBezTo>
                    <a:cubicBezTo>
                      <a:pt x="160" y="843"/>
                      <a:pt x="160" y="843"/>
                      <a:pt x="160" y="843"/>
                    </a:cubicBezTo>
                    <a:cubicBezTo>
                      <a:pt x="158" y="843"/>
                      <a:pt x="158" y="843"/>
                      <a:pt x="158" y="843"/>
                    </a:cubicBezTo>
                    <a:cubicBezTo>
                      <a:pt x="156" y="845"/>
                      <a:pt x="156" y="845"/>
                      <a:pt x="156" y="845"/>
                    </a:cubicBezTo>
                    <a:cubicBezTo>
                      <a:pt x="154" y="845"/>
                      <a:pt x="154" y="845"/>
                      <a:pt x="154" y="845"/>
                    </a:cubicBezTo>
                    <a:cubicBezTo>
                      <a:pt x="152" y="843"/>
                      <a:pt x="152" y="843"/>
                      <a:pt x="152" y="843"/>
                    </a:cubicBezTo>
                    <a:cubicBezTo>
                      <a:pt x="151" y="844"/>
                      <a:pt x="151" y="844"/>
                      <a:pt x="151" y="844"/>
                    </a:cubicBezTo>
                    <a:cubicBezTo>
                      <a:pt x="147" y="849"/>
                      <a:pt x="147" y="849"/>
                      <a:pt x="147" y="849"/>
                    </a:cubicBezTo>
                    <a:cubicBezTo>
                      <a:pt x="144" y="850"/>
                      <a:pt x="144" y="850"/>
                      <a:pt x="144" y="850"/>
                    </a:cubicBezTo>
                    <a:cubicBezTo>
                      <a:pt x="143" y="849"/>
                      <a:pt x="143" y="849"/>
                      <a:pt x="143" y="849"/>
                    </a:cubicBezTo>
                    <a:cubicBezTo>
                      <a:pt x="143" y="847"/>
                      <a:pt x="143" y="847"/>
                      <a:pt x="143" y="847"/>
                    </a:cubicBezTo>
                    <a:cubicBezTo>
                      <a:pt x="145" y="846"/>
                      <a:pt x="145" y="846"/>
                      <a:pt x="145" y="846"/>
                    </a:cubicBezTo>
                    <a:cubicBezTo>
                      <a:pt x="145" y="845"/>
                      <a:pt x="145" y="845"/>
                      <a:pt x="145" y="845"/>
                    </a:cubicBezTo>
                    <a:cubicBezTo>
                      <a:pt x="142" y="846"/>
                      <a:pt x="142" y="846"/>
                      <a:pt x="142" y="846"/>
                    </a:cubicBezTo>
                    <a:cubicBezTo>
                      <a:pt x="140" y="849"/>
                      <a:pt x="140" y="849"/>
                      <a:pt x="140" y="849"/>
                    </a:cubicBezTo>
                    <a:cubicBezTo>
                      <a:pt x="139" y="849"/>
                      <a:pt x="139" y="849"/>
                      <a:pt x="139" y="849"/>
                    </a:cubicBezTo>
                    <a:cubicBezTo>
                      <a:pt x="135" y="853"/>
                      <a:pt x="135" y="853"/>
                      <a:pt x="135" y="853"/>
                    </a:cubicBezTo>
                    <a:cubicBezTo>
                      <a:pt x="133" y="854"/>
                      <a:pt x="133" y="854"/>
                      <a:pt x="133" y="854"/>
                    </a:cubicBezTo>
                    <a:cubicBezTo>
                      <a:pt x="130" y="859"/>
                      <a:pt x="130" y="859"/>
                      <a:pt x="130" y="859"/>
                    </a:cubicBezTo>
                    <a:cubicBezTo>
                      <a:pt x="129" y="859"/>
                      <a:pt x="129" y="859"/>
                      <a:pt x="129" y="859"/>
                    </a:cubicBezTo>
                    <a:cubicBezTo>
                      <a:pt x="127" y="854"/>
                      <a:pt x="127" y="854"/>
                      <a:pt x="127" y="854"/>
                    </a:cubicBezTo>
                    <a:cubicBezTo>
                      <a:pt x="128" y="851"/>
                      <a:pt x="128" y="851"/>
                      <a:pt x="128" y="851"/>
                    </a:cubicBezTo>
                    <a:cubicBezTo>
                      <a:pt x="130" y="849"/>
                      <a:pt x="130" y="849"/>
                      <a:pt x="130" y="849"/>
                    </a:cubicBezTo>
                    <a:cubicBezTo>
                      <a:pt x="127" y="847"/>
                      <a:pt x="127" y="847"/>
                      <a:pt x="127" y="847"/>
                    </a:cubicBezTo>
                    <a:cubicBezTo>
                      <a:pt x="128" y="845"/>
                      <a:pt x="128" y="845"/>
                      <a:pt x="128" y="845"/>
                    </a:cubicBezTo>
                    <a:cubicBezTo>
                      <a:pt x="128" y="843"/>
                      <a:pt x="128" y="843"/>
                      <a:pt x="128" y="843"/>
                    </a:cubicBezTo>
                    <a:cubicBezTo>
                      <a:pt x="131" y="841"/>
                      <a:pt x="131" y="841"/>
                      <a:pt x="131" y="841"/>
                    </a:cubicBezTo>
                    <a:cubicBezTo>
                      <a:pt x="136" y="840"/>
                      <a:pt x="136" y="840"/>
                      <a:pt x="136" y="840"/>
                    </a:cubicBezTo>
                    <a:cubicBezTo>
                      <a:pt x="139" y="840"/>
                      <a:pt x="139" y="840"/>
                      <a:pt x="139" y="840"/>
                    </a:cubicBezTo>
                    <a:cubicBezTo>
                      <a:pt x="142" y="837"/>
                      <a:pt x="142" y="837"/>
                      <a:pt x="142" y="837"/>
                    </a:cubicBezTo>
                    <a:cubicBezTo>
                      <a:pt x="143" y="836"/>
                      <a:pt x="143" y="836"/>
                      <a:pt x="143" y="836"/>
                    </a:cubicBezTo>
                    <a:cubicBezTo>
                      <a:pt x="141" y="835"/>
                      <a:pt x="141" y="835"/>
                      <a:pt x="141" y="835"/>
                    </a:cubicBezTo>
                    <a:cubicBezTo>
                      <a:pt x="139" y="835"/>
                      <a:pt x="139" y="835"/>
                      <a:pt x="139" y="835"/>
                    </a:cubicBezTo>
                    <a:cubicBezTo>
                      <a:pt x="137" y="836"/>
                      <a:pt x="137" y="836"/>
                      <a:pt x="137" y="836"/>
                    </a:cubicBezTo>
                    <a:cubicBezTo>
                      <a:pt x="135" y="836"/>
                      <a:pt x="135" y="836"/>
                      <a:pt x="135" y="836"/>
                    </a:cubicBezTo>
                    <a:cubicBezTo>
                      <a:pt x="134" y="838"/>
                      <a:pt x="134" y="838"/>
                      <a:pt x="134" y="838"/>
                    </a:cubicBezTo>
                    <a:cubicBezTo>
                      <a:pt x="132" y="840"/>
                      <a:pt x="132" y="840"/>
                      <a:pt x="132" y="840"/>
                    </a:cubicBezTo>
                    <a:cubicBezTo>
                      <a:pt x="129" y="839"/>
                      <a:pt x="129" y="839"/>
                      <a:pt x="129" y="839"/>
                    </a:cubicBezTo>
                    <a:cubicBezTo>
                      <a:pt x="128" y="837"/>
                      <a:pt x="128" y="837"/>
                      <a:pt x="128" y="837"/>
                    </a:cubicBezTo>
                    <a:cubicBezTo>
                      <a:pt x="128" y="832"/>
                      <a:pt x="128" y="832"/>
                      <a:pt x="128" y="832"/>
                    </a:cubicBezTo>
                    <a:cubicBezTo>
                      <a:pt x="130" y="831"/>
                      <a:pt x="130" y="831"/>
                      <a:pt x="130" y="831"/>
                    </a:cubicBezTo>
                    <a:cubicBezTo>
                      <a:pt x="130" y="828"/>
                      <a:pt x="130" y="828"/>
                      <a:pt x="130" y="828"/>
                    </a:cubicBezTo>
                    <a:cubicBezTo>
                      <a:pt x="129" y="825"/>
                      <a:pt x="129" y="825"/>
                      <a:pt x="129" y="825"/>
                    </a:cubicBezTo>
                    <a:cubicBezTo>
                      <a:pt x="128" y="825"/>
                      <a:pt x="128" y="825"/>
                      <a:pt x="128" y="825"/>
                    </a:cubicBezTo>
                    <a:cubicBezTo>
                      <a:pt x="126" y="827"/>
                      <a:pt x="126" y="827"/>
                      <a:pt x="126" y="827"/>
                    </a:cubicBezTo>
                    <a:cubicBezTo>
                      <a:pt x="124" y="827"/>
                      <a:pt x="124" y="827"/>
                      <a:pt x="124" y="827"/>
                    </a:cubicBezTo>
                    <a:cubicBezTo>
                      <a:pt x="124" y="824"/>
                      <a:pt x="124" y="824"/>
                      <a:pt x="124" y="824"/>
                    </a:cubicBezTo>
                    <a:cubicBezTo>
                      <a:pt x="126" y="822"/>
                      <a:pt x="126" y="822"/>
                      <a:pt x="126" y="822"/>
                    </a:cubicBezTo>
                    <a:cubicBezTo>
                      <a:pt x="130" y="822"/>
                      <a:pt x="130" y="822"/>
                      <a:pt x="130" y="822"/>
                    </a:cubicBezTo>
                    <a:cubicBezTo>
                      <a:pt x="132" y="820"/>
                      <a:pt x="132" y="820"/>
                      <a:pt x="132" y="820"/>
                    </a:cubicBezTo>
                    <a:cubicBezTo>
                      <a:pt x="137" y="819"/>
                      <a:pt x="137" y="819"/>
                      <a:pt x="137" y="819"/>
                    </a:cubicBezTo>
                    <a:cubicBezTo>
                      <a:pt x="138" y="817"/>
                      <a:pt x="138" y="817"/>
                      <a:pt x="138" y="817"/>
                    </a:cubicBezTo>
                    <a:cubicBezTo>
                      <a:pt x="140" y="816"/>
                      <a:pt x="140" y="816"/>
                      <a:pt x="140" y="816"/>
                    </a:cubicBezTo>
                    <a:cubicBezTo>
                      <a:pt x="141" y="813"/>
                      <a:pt x="141" y="813"/>
                      <a:pt x="141" y="813"/>
                    </a:cubicBezTo>
                    <a:cubicBezTo>
                      <a:pt x="143" y="813"/>
                      <a:pt x="143" y="813"/>
                      <a:pt x="143" y="813"/>
                    </a:cubicBezTo>
                    <a:cubicBezTo>
                      <a:pt x="144" y="814"/>
                      <a:pt x="144" y="814"/>
                      <a:pt x="144" y="814"/>
                    </a:cubicBezTo>
                    <a:cubicBezTo>
                      <a:pt x="146" y="812"/>
                      <a:pt x="146" y="812"/>
                      <a:pt x="146" y="812"/>
                    </a:cubicBezTo>
                    <a:cubicBezTo>
                      <a:pt x="152" y="812"/>
                      <a:pt x="152" y="812"/>
                      <a:pt x="152" y="812"/>
                    </a:cubicBezTo>
                    <a:cubicBezTo>
                      <a:pt x="153" y="813"/>
                      <a:pt x="153" y="813"/>
                      <a:pt x="153" y="813"/>
                    </a:cubicBezTo>
                    <a:cubicBezTo>
                      <a:pt x="156" y="813"/>
                      <a:pt x="156" y="813"/>
                      <a:pt x="156" y="813"/>
                    </a:cubicBezTo>
                    <a:cubicBezTo>
                      <a:pt x="155" y="811"/>
                      <a:pt x="155" y="811"/>
                      <a:pt x="155" y="811"/>
                    </a:cubicBezTo>
                    <a:cubicBezTo>
                      <a:pt x="152" y="810"/>
                      <a:pt x="152" y="810"/>
                      <a:pt x="152" y="810"/>
                    </a:cubicBezTo>
                    <a:cubicBezTo>
                      <a:pt x="151" y="808"/>
                      <a:pt x="151" y="808"/>
                      <a:pt x="151" y="808"/>
                    </a:cubicBezTo>
                    <a:cubicBezTo>
                      <a:pt x="149" y="808"/>
                      <a:pt x="149" y="808"/>
                      <a:pt x="149" y="808"/>
                    </a:cubicBezTo>
                    <a:cubicBezTo>
                      <a:pt x="142" y="812"/>
                      <a:pt x="142" y="812"/>
                      <a:pt x="142" y="812"/>
                    </a:cubicBezTo>
                    <a:cubicBezTo>
                      <a:pt x="140" y="812"/>
                      <a:pt x="140" y="812"/>
                      <a:pt x="140" y="812"/>
                    </a:cubicBezTo>
                    <a:cubicBezTo>
                      <a:pt x="138" y="813"/>
                      <a:pt x="138" y="813"/>
                      <a:pt x="138" y="813"/>
                    </a:cubicBezTo>
                    <a:cubicBezTo>
                      <a:pt x="137" y="815"/>
                      <a:pt x="137" y="815"/>
                      <a:pt x="137" y="815"/>
                    </a:cubicBezTo>
                    <a:cubicBezTo>
                      <a:pt x="135" y="817"/>
                      <a:pt x="135" y="817"/>
                      <a:pt x="135" y="817"/>
                    </a:cubicBezTo>
                    <a:cubicBezTo>
                      <a:pt x="132" y="818"/>
                      <a:pt x="132" y="818"/>
                      <a:pt x="132" y="818"/>
                    </a:cubicBezTo>
                    <a:cubicBezTo>
                      <a:pt x="129" y="820"/>
                      <a:pt x="129" y="820"/>
                      <a:pt x="129" y="820"/>
                    </a:cubicBezTo>
                    <a:cubicBezTo>
                      <a:pt x="128" y="820"/>
                      <a:pt x="128" y="820"/>
                      <a:pt x="128" y="820"/>
                    </a:cubicBezTo>
                    <a:cubicBezTo>
                      <a:pt x="127" y="819"/>
                      <a:pt x="127" y="819"/>
                      <a:pt x="127" y="819"/>
                    </a:cubicBezTo>
                    <a:cubicBezTo>
                      <a:pt x="128" y="817"/>
                      <a:pt x="128" y="817"/>
                      <a:pt x="128" y="817"/>
                    </a:cubicBezTo>
                    <a:cubicBezTo>
                      <a:pt x="125" y="816"/>
                      <a:pt x="125" y="816"/>
                      <a:pt x="125" y="816"/>
                    </a:cubicBezTo>
                    <a:cubicBezTo>
                      <a:pt x="125" y="815"/>
                      <a:pt x="125" y="815"/>
                      <a:pt x="125" y="815"/>
                    </a:cubicBezTo>
                    <a:cubicBezTo>
                      <a:pt x="128" y="812"/>
                      <a:pt x="128" y="812"/>
                      <a:pt x="128" y="812"/>
                    </a:cubicBezTo>
                    <a:cubicBezTo>
                      <a:pt x="125" y="810"/>
                      <a:pt x="125" y="810"/>
                      <a:pt x="125" y="810"/>
                    </a:cubicBezTo>
                    <a:cubicBezTo>
                      <a:pt x="123" y="810"/>
                      <a:pt x="123" y="810"/>
                      <a:pt x="123" y="810"/>
                    </a:cubicBezTo>
                    <a:cubicBezTo>
                      <a:pt x="120" y="808"/>
                      <a:pt x="120" y="808"/>
                      <a:pt x="120" y="808"/>
                    </a:cubicBezTo>
                    <a:cubicBezTo>
                      <a:pt x="121" y="807"/>
                      <a:pt x="121" y="807"/>
                      <a:pt x="121" y="807"/>
                    </a:cubicBezTo>
                    <a:cubicBezTo>
                      <a:pt x="125" y="806"/>
                      <a:pt x="125" y="806"/>
                      <a:pt x="125" y="806"/>
                    </a:cubicBezTo>
                    <a:cubicBezTo>
                      <a:pt x="127" y="803"/>
                      <a:pt x="127" y="803"/>
                      <a:pt x="127" y="803"/>
                    </a:cubicBezTo>
                    <a:cubicBezTo>
                      <a:pt x="129" y="803"/>
                      <a:pt x="129" y="803"/>
                      <a:pt x="129" y="803"/>
                    </a:cubicBezTo>
                    <a:cubicBezTo>
                      <a:pt x="131" y="804"/>
                      <a:pt x="131" y="804"/>
                      <a:pt x="131" y="804"/>
                    </a:cubicBezTo>
                    <a:cubicBezTo>
                      <a:pt x="134" y="805"/>
                      <a:pt x="134" y="805"/>
                      <a:pt x="134" y="805"/>
                    </a:cubicBezTo>
                    <a:cubicBezTo>
                      <a:pt x="137" y="804"/>
                      <a:pt x="137" y="804"/>
                      <a:pt x="137" y="804"/>
                    </a:cubicBezTo>
                    <a:cubicBezTo>
                      <a:pt x="140" y="802"/>
                      <a:pt x="140" y="802"/>
                      <a:pt x="140" y="802"/>
                    </a:cubicBezTo>
                    <a:cubicBezTo>
                      <a:pt x="142" y="802"/>
                      <a:pt x="142" y="802"/>
                      <a:pt x="142" y="802"/>
                    </a:cubicBezTo>
                    <a:cubicBezTo>
                      <a:pt x="143" y="800"/>
                      <a:pt x="143" y="800"/>
                      <a:pt x="143" y="800"/>
                    </a:cubicBezTo>
                    <a:cubicBezTo>
                      <a:pt x="142" y="799"/>
                      <a:pt x="142" y="799"/>
                      <a:pt x="142" y="799"/>
                    </a:cubicBezTo>
                    <a:cubicBezTo>
                      <a:pt x="140" y="798"/>
                      <a:pt x="140" y="798"/>
                      <a:pt x="140" y="798"/>
                    </a:cubicBezTo>
                    <a:cubicBezTo>
                      <a:pt x="136" y="801"/>
                      <a:pt x="136" y="801"/>
                      <a:pt x="136" y="801"/>
                    </a:cubicBezTo>
                    <a:cubicBezTo>
                      <a:pt x="133" y="802"/>
                      <a:pt x="133" y="802"/>
                      <a:pt x="133" y="802"/>
                    </a:cubicBezTo>
                    <a:cubicBezTo>
                      <a:pt x="132" y="802"/>
                      <a:pt x="132" y="802"/>
                      <a:pt x="132" y="802"/>
                    </a:cubicBezTo>
                    <a:cubicBezTo>
                      <a:pt x="129" y="799"/>
                      <a:pt x="129" y="799"/>
                      <a:pt x="129" y="799"/>
                    </a:cubicBezTo>
                    <a:cubicBezTo>
                      <a:pt x="128" y="799"/>
                      <a:pt x="128" y="799"/>
                      <a:pt x="128" y="799"/>
                    </a:cubicBezTo>
                    <a:cubicBezTo>
                      <a:pt x="126" y="801"/>
                      <a:pt x="126" y="801"/>
                      <a:pt x="126" y="801"/>
                    </a:cubicBezTo>
                    <a:cubicBezTo>
                      <a:pt x="123" y="803"/>
                      <a:pt x="123" y="803"/>
                      <a:pt x="123" y="803"/>
                    </a:cubicBezTo>
                    <a:cubicBezTo>
                      <a:pt x="123" y="802"/>
                      <a:pt x="123" y="802"/>
                      <a:pt x="123" y="802"/>
                    </a:cubicBezTo>
                    <a:cubicBezTo>
                      <a:pt x="121" y="801"/>
                      <a:pt x="121" y="801"/>
                      <a:pt x="121" y="801"/>
                    </a:cubicBezTo>
                    <a:cubicBezTo>
                      <a:pt x="119" y="802"/>
                      <a:pt x="119" y="802"/>
                      <a:pt x="119" y="802"/>
                    </a:cubicBezTo>
                    <a:cubicBezTo>
                      <a:pt x="117" y="802"/>
                      <a:pt x="117" y="802"/>
                      <a:pt x="117" y="802"/>
                    </a:cubicBezTo>
                    <a:cubicBezTo>
                      <a:pt x="117" y="800"/>
                      <a:pt x="117" y="800"/>
                      <a:pt x="117" y="800"/>
                    </a:cubicBezTo>
                    <a:cubicBezTo>
                      <a:pt x="120" y="800"/>
                      <a:pt x="120" y="800"/>
                      <a:pt x="120" y="800"/>
                    </a:cubicBezTo>
                    <a:cubicBezTo>
                      <a:pt x="125" y="798"/>
                      <a:pt x="125" y="798"/>
                      <a:pt x="125" y="798"/>
                    </a:cubicBezTo>
                    <a:cubicBezTo>
                      <a:pt x="130" y="795"/>
                      <a:pt x="130" y="795"/>
                      <a:pt x="130" y="795"/>
                    </a:cubicBezTo>
                    <a:cubicBezTo>
                      <a:pt x="133" y="794"/>
                      <a:pt x="133" y="794"/>
                      <a:pt x="133" y="794"/>
                    </a:cubicBezTo>
                    <a:cubicBezTo>
                      <a:pt x="138" y="793"/>
                      <a:pt x="138" y="793"/>
                      <a:pt x="138" y="793"/>
                    </a:cubicBezTo>
                    <a:cubicBezTo>
                      <a:pt x="141" y="789"/>
                      <a:pt x="141" y="789"/>
                      <a:pt x="141" y="789"/>
                    </a:cubicBezTo>
                    <a:cubicBezTo>
                      <a:pt x="148" y="783"/>
                      <a:pt x="148" y="783"/>
                      <a:pt x="148" y="783"/>
                    </a:cubicBezTo>
                    <a:cubicBezTo>
                      <a:pt x="154" y="780"/>
                      <a:pt x="154" y="780"/>
                      <a:pt x="154" y="780"/>
                    </a:cubicBezTo>
                    <a:cubicBezTo>
                      <a:pt x="158" y="778"/>
                      <a:pt x="158" y="778"/>
                      <a:pt x="158" y="778"/>
                    </a:cubicBezTo>
                    <a:cubicBezTo>
                      <a:pt x="161" y="778"/>
                      <a:pt x="161" y="778"/>
                      <a:pt x="161" y="778"/>
                    </a:cubicBezTo>
                    <a:cubicBezTo>
                      <a:pt x="163" y="777"/>
                      <a:pt x="163" y="777"/>
                      <a:pt x="163" y="777"/>
                    </a:cubicBezTo>
                    <a:cubicBezTo>
                      <a:pt x="163" y="776"/>
                      <a:pt x="163" y="776"/>
                      <a:pt x="163" y="776"/>
                    </a:cubicBezTo>
                    <a:cubicBezTo>
                      <a:pt x="160" y="775"/>
                      <a:pt x="160" y="775"/>
                      <a:pt x="160" y="775"/>
                    </a:cubicBezTo>
                    <a:cubicBezTo>
                      <a:pt x="155" y="776"/>
                      <a:pt x="155" y="776"/>
                      <a:pt x="155" y="776"/>
                    </a:cubicBezTo>
                    <a:cubicBezTo>
                      <a:pt x="146" y="781"/>
                      <a:pt x="146" y="781"/>
                      <a:pt x="146" y="781"/>
                    </a:cubicBezTo>
                    <a:cubicBezTo>
                      <a:pt x="141" y="785"/>
                      <a:pt x="141" y="785"/>
                      <a:pt x="141" y="785"/>
                    </a:cubicBezTo>
                    <a:cubicBezTo>
                      <a:pt x="138" y="789"/>
                      <a:pt x="138" y="789"/>
                      <a:pt x="138" y="789"/>
                    </a:cubicBezTo>
                    <a:cubicBezTo>
                      <a:pt x="135" y="791"/>
                      <a:pt x="135" y="791"/>
                      <a:pt x="135" y="791"/>
                    </a:cubicBezTo>
                    <a:cubicBezTo>
                      <a:pt x="128" y="792"/>
                      <a:pt x="128" y="792"/>
                      <a:pt x="128" y="792"/>
                    </a:cubicBezTo>
                    <a:cubicBezTo>
                      <a:pt x="126" y="793"/>
                      <a:pt x="126" y="793"/>
                      <a:pt x="126" y="793"/>
                    </a:cubicBezTo>
                    <a:cubicBezTo>
                      <a:pt x="119" y="797"/>
                      <a:pt x="119" y="797"/>
                      <a:pt x="119" y="797"/>
                    </a:cubicBezTo>
                    <a:cubicBezTo>
                      <a:pt x="116" y="797"/>
                      <a:pt x="116" y="797"/>
                      <a:pt x="116" y="797"/>
                    </a:cubicBezTo>
                    <a:cubicBezTo>
                      <a:pt x="116" y="795"/>
                      <a:pt x="116" y="795"/>
                      <a:pt x="116" y="795"/>
                    </a:cubicBezTo>
                    <a:cubicBezTo>
                      <a:pt x="117" y="793"/>
                      <a:pt x="117" y="793"/>
                      <a:pt x="117" y="793"/>
                    </a:cubicBezTo>
                    <a:cubicBezTo>
                      <a:pt x="117" y="787"/>
                      <a:pt x="117" y="787"/>
                      <a:pt x="117" y="787"/>
                    </a:cubicBezTo>
                    <a:cubicBezTo>
                      <a:pt x="119" y="785"/>
                      <a:pt x="119" y="785"/>
                      <a:pt x="119" y="785"/>
                    </a:cubicBezTo>
                    <a:cubicBezTo>
                      <a:pt x="121" y="785"/>
                      <a:pt x="121" y="785"/>
                      <a:pt x="121" y="785"/>
                    </a:cubicBezTo>
                    <a:cubicBezTo>
                      <a:pt x="124" y="787"/>
                      <a:pt x="124" y="787"/>
                      <a:pt x="124" y="787"/>
                    </a:cubicBezTo>
                    <a:cubicBezTo>
                      <a:pt x="126" y="786"/>
                      <a:pt x="126" y="786"/>
                      <a:pt x="126" y="786"/>
                    </a:cubicBezTo>
                    <a:cubicBezTo>
                      <a:pt x="130" y="786"/>
                      <a:pt x="130" y="786"/>
                      <a:pt x="130" y="786"/>
                    </a:cubicBezTo>
                    <a:cubicBezTo>
                      <a:pt x="133" y="786"/>
                      <a:pt x="133" y="786"/>
                      <a:pt x="133" y="786"/>
                    </a:cubicBezTo>
                    <a:cubicBezTo>
                      <a:pt x="133" y="784"/>
                      <a:pt x="133" y="784"/>
                      <a:pt x="133" y="784"/>
                    </a:cubicBezTo>
                    <a:cubicBezTo>
                      <a:pt x="130" y="783"/>
                      <a:pt x="130" y="783"/>
                      <a:pt x="130" y="783"/>
                    </a:cubicBezTo>
                    <a:cubicBezTo>
                      <a:pt x="127" y="783"/>
                      <a:pt x="127" y="783"/>
                      <a:pt x="127" y="783"/>
                    </a:cubicBezTo>
                    <a:cubicBezTo>
                      <a:pt x="125" y="784"/>
                      <a:pt x="125" y="784"/>
                      <a:pt x="125" y="784"/>
                    </a:cubicBezTo>
                    <a:cubicBezTo>
                      <a:pt x="122" y="783"/>
                      <a:pt x="122" y="783"/>
                      <a:pt x="122" y="783"/>
                    </a:cubicBezTo>
                    <a:cubicBezTo>
                      <a:pt x="121" y="781"/>
                      <a:pt x="121" y="781"/>
                      <a:pt x="121" y="781"/>
                    </a:cubicBezTo>
                    <a:cubicBezTo>
                      <a:pt x="122" y="779"/>
                      <a:pt x="122" y="779"/>
                      <a:pt x="122" y="779"/>
                    </a:cubicBezTo>
                    <a:cubicBezTo>
                      <a:pt x="125" y="779"/>
                      <a:pt x="125" y="779"/>
                      <a:pt x="125" y="779"/>
                    </a:cubicBezTo>
                    <a:cubicBezTo>
                      <a:pt x="128" y="781"/>
                      <a:pt x="128" y="781"/>
                      <a:pt x="128" y="781"/>
                    </a:cubicBezTo>
                    <a:cubicBezTo>
                      <a:pt x="131" y="781"/>
                      <a:pt x="131" y="781"/>
                      <a:pt x="131" y="781"/>
                    </a:cubicBezTo>
                    <a:cubicBezTo>
                      <a:pt x="135" y="779"/>
                      <a:pt x="135" y="779"/>
                      <a:pt x="135" y="779"/>
                    </a:cubicBezTo>
                    <a:cubicBezTo>
                      <a:pt x="134" y="778"/>
                      <a:pt x="134" y="778"/>
                      <a:pt x="134" y="778"/>
                    </a:cubicBezTo>
                    <a:cubicBezTo>
                      <a:pt x="132" y="777"/>
                      <a:pt x="132" y="777"/>
                      <a:pt x="132" y="777"/>
                    </a:cubicBezTo>
                    <a:cubicBezTo>
                      <a:pt x="131" y="778"/>
                      <a:pt x="131" y="778"/>
                      <a:pt x="131" y="778"/>
                    </a:cubicBezTo>
                    <a:cubicBezTo>
                      <a:pt x="130" y="777"/>
                      <a:pt x="130" y="777"/>
                      <a:pt x="130" y="777"/>
                    </a:cubicBezTo>
                    <a:cubicBezTo>
                      <a:pt x="130" y="775"/>
                      <a:pt x="130" y="775"/>
                      <a:pt x="130" y="775"/>
                    </a:cubicBezTo>
                    <a:cubicBezTo>
                      <a:pt x="133" y="774"/>
                      <a:pt x="133" y="774"/>
                      <a:pt x="133" y="774"/>
                    </a:cubicBezTo>
                    <a:cubicBezTo>
                      <a:pt x="134" y="775"/>
                      <a:pt x="134" y="775"/>
                      <a:pt x="134" y="775"/>
                    </a:cubicBezTo>
                    <a:cubicBezTo>
                      <a:pt x="135" y="774"/>
                      <a:pt x="135" y="774"/>
                      <a:pt x="135" y="774"/>
                    </a:cubicBezTo>
                    <a:cubicBezTo>
                      <a:pt x="138" y="775"/>
                      <a:pt x="138" y="775"/>
                      <a:pt x="138" y="775"/>
                    </a:cubicBezTo>
                    <a:cubicBezTo>
                      <a:pt x="140" y="775"/>
                      <a:pt x="140" y="775"/>
                      <a:pt x="140" y="775"/>
                    </a:cubicBezTo>
                    <a:cubicBezTo>
                      <a:pt x="139" y="772"/>
                      <a:pt x="139" y="772"/>
                      <a:pt x="139" y="772"/>
                    </a:cubicBezTo>
                    <a:cubicBezTo>
                      <a:pt x="139" y="770"/>
                      <a:pt x="139" y="770"/>
                      <a:pt x="139" y="770"/>
                    </a:cubicBezTo>
                    <a:cubicBezTo>
                      <a:pt x="138" y="769"/>
                      <a:pt x="138" y="769"/>
                      <a:pt x="138" y="769"/>
                    </a:cubicBezTo>
                    <a:cubicBezTo>
                      <a:pt x="136" y="769"/>
                      <a:pt x="136" y="769"/>
                      <a:pt x="136" y="769"/>
                    </a:cubicBezTo>
                    <a:cubicBezTo>
                      <a:pt x="135" y="770"/>
                      <a:pt x="135" y="770"/>
                      <a:pt x="135" y="770"/>
                    </a:cubicBezTo>
                    <a:cubicBezTo>
                      <a:pt x="132" y="771"/>
                      <a:pt x="132" y="771"/>
                      <a:pt x="132" y="771"/>
                    </a:cubicBezTo>
                    <a:cubicBezTo>
                      <a:pt x="124" y="768"/>
                      <a:pt x="124" y="768"/>
                      <a:pt x="124" y="768"/>
                    </a:cubicBezTo>
                    <a:cubicBezTo>
                      <a:pt x="120" y="768"/>
                      <a:pt x="120" y="768"/>
                      <a:pt x="120" y="768"/>
                    </a:cubicBezTo>
                    <a:cubicBezTo>
                      <a:pt x="118" y="766"/>
                      <a:pt x="118" y="766"/>
                      <a:pt x="118" y="766"/>
                    </a:cubicBezTo>
                    <a:cubicBezTo>
                      <a:pt x="118" y="765"/>
                      <a:pt x="118" y="765"/>
                      <a:pt x="118" y="765"/>
                    </a:cubicBezTo>
                    <a:cubicBezTo>
                      <a:pt x="122" y="765"/>
                      <a:pt x="122" y="765"/>
                      <a:pt x="122" y="765"/>
                    </a:cubicBezTo>
                    <a:cubicBezTo>
                      <a:pt x="124" y="766"/>
                      <a:pt x="124" y="766"/>
                      <a:pt x="124" y="766"/>
                    </a:cubicBezTo>
                    <a:cubicBezTo>
                      <a:pt x="126" y="765"/>
                      <a:pt x="126" y="765"/>
                      <a:pt x="126" y="765"/>
                    </a:cubicBezTo>
                    <a:cubicBezTo>
                      <a:pt x="125" y="764"/>
                      <a:pt x="125" y="764"/>
                      <a:pt x="125" y="764"/>
                    </a:cubicBezTo>
                    <a:cubicBezTo>
                      <a:pt x="122" y="764"/>
                      <a:pt x="122" y="764"/>
                      <a:pt x="122" y="764"/>
                    </a:cubicBezTo>
                    <a:cubicBezTo>
                      <a:pt x="121" y="763"/>
                      <a:pt x="121" y="763"/>
                      <a:pt x="121" y="763"/>
                    </a:cubicBezTo>
                    <a:cubicBezTo>
                      <a:pt x="121" y="761"/>
                      <a:pt x="121" y="761"/>
                      <a:pt x="121" y="761"/>
                    </a:cubicBezTo>
                    <a:cubicBezTo>
                      <a:pt x="126" y="761"/>
                      <a:pt x="126" y="761"/>
                      <a:pt x="126" y="761"/>
                    </a:cubicBezTo>
                    <a:cubicBezTo>
                      <a:pt x="127" y="760"/>
                      <a:pt x="127" y="760"/>
                      <a:pt x="127" y="760"/>
                    </a:cubicBezTo>
                    <a:cubicBezTo>
                      <a:pt x="131" y="760"/>
                      <a:pt x="131" y="760"/>
                      <a:pt x="131" y="760"/>
                    </a:cubicBezTo>
                    <a:cubicBezTo>
                      <a:pt x="143" y="760"/>
                      <a:pt x="143" y="760"/>
                      <a:pt x="143" y="760"/>
                    </a:cubicBezTo>
                    <a:cubicBezTo>
                      <a:pt x="146" y="760"/>
                      <a:pt x="146" y="760"/>
                      <a:pt x="146" y="760"/>
                    </a:cubicBezTo>
                    <a:cubicBezTo>
                      <a:pt x="150" y="760"/>
                      <a:pt x="150" y="760"/>
                      <a:pt x="150" y="760"/>
                    </a:cubicBezTo>
                    <a:cubicBezTo>
                      <a:pt x="152" y="760"/>
                      <a:pt x="152" y="760"/>
                      <a:pt x="152" y="760"/>
                    </a:cubicBezTo>
                    <a:cubicBezTo>
                      <a:pt x="152" y="758"/>
                      <a:pt x="152" y="758"/>
                      <a:pt x="152" y="758"/>
                    </a:cubicBezTo>
                    <a:cubicBezTo>
                      <a:pt x="147" y="756"/>
                      <a:pt x="147" y="756"/>
                      <a:pt x="147" y="756"/>
                    </a:cubicBezTo>
                    <a:cubicBezTo>
                      <a:pt x="142" y="756"/>
                      <a:pt x="142" y="756"/>
                      <a:pt x="142" y="756"/>
                    </a:cubicBezTo>
                    <a:cubicBezTo>
                      <a:pt x="135" y="758"/>
                      <a:pt x="135" y="758"/>
                      <a:pt x="135" y="758"/>
                    </a:cubicBezTo>
                    <a:cubicBezTo>
                      <a:pt x="131" y="758"/>
                      <a:pt x="131" y="758"/>
                      <a:pt x="131" y="758"/>
                    </a:cubicBezTo>
                    <a:cubicBezTo>
                      <a:pt x="131" y="757"/>
                      <a:pt x="131" y="757"/>
                      <a:pt x="131" y="757"/>
                    </a:cubicBezTo>
                    <a:cubicBezTo>
                      <a:pt x="129" y="757"/>
                      <a:pt x="129" y="757"/>
                      <a:pt x="129" y="757"/>
                    </a:cubicBezTo>
                    <a:cubicBezTo>
                      <a:pt x="125" y="757"/>
                      <a:pt x="125" y="757"/>
                      <a:pt x="125" y="757"/>
                    </a:cubicBezTo>
                    <a:cubicBezTo>
                      <a:pt x="122" y="759"/>
                      <a:pt x="122" y="759"/>
                      <a:pt x="122" y="759"/>
                    </a:cubicBezTo>
                    <a:cubicBezTo>
                      <a:pt x="121" y="759"/>
                      <a:pt x="121" y="759"/>
                      <a:pt x="121" y="759"/>
                    </a:cubicBezTo>
                    <a:cubicBezTo>
                      <a:pt x="122" y="756"/>
                      <a:pt x="122" y="756"/>
                      <a:pt x="122" y="756"/>
                    </a:cubicBezTo>
                    <a:cubicBezTo>
                      <a:pt x="124" y="753"/>
                      <a:pt x="124" y="753"/>
                      <a:pt x="124" y="753"/>
                    </a:cubicBezTo>
                    <a:cubicBezTo>
                      <a:pt x="127" y="751"/>
                      <a:pt x="127" y="751"/>
                      <a:pt x="127" y="751"/>
                    </a:cubicBezTo>
                    <a:cubicBezTo>
                      <a:pt x="130" y="750"/>
                      <a:pt x="130" y="750"/>
                      <a:pt x="130" y="750"/>
                    </a:cubicBezTo>
                    <a:cubicBezTo>
                      <a:pt x="133" y="748"/>
                      <a:pt x="133" y="748"/>
                      <a:pt x="133" y="748"/>
                    </a:cubicBezTo>
                    <a:cubicBezTo>
                      <a:pt x="135" y="745"/>
                      <a:pt x="135" y="745"/>
                      <a:pt x="135" y="745"/>
                    </a:cubicBezTo>
                    <a:cubicBezTo>
                      <a:pt x="138" y="743"/>
                      <a:pt x="138" y="743"/>
                      <a:pt x="138" y="743"/>
                    </a:cubicBezTo>
                    <a:cubicBezTo>
                      <a:pt x="140" y="743"/>
                      <a:pt x="140" y="743"/>
                      <a:pt x="140" y="743"/>
                    </a:cubicBezTo>
                    <a:cubicBezTo>
                      <a:pt x="141" y="744"/>
                      <a:pt x="141" y="744"/>
                      <a:pt x="141" y="744"/>
                    </a:cubicBezTo>
                    <a:cubicBezTo>
                      <a:pt x="144" y="744"/>
                      <a:pt x="144" y="744"/>
                      <a:pt x="144" y="744"/>
                    </a:cubicBezTo>
                    <a:cubicBezTo>
                      <a:pt x="146" y="743"/>
                      <a:pt x="146" y="743"/>
                      <a:pt x="146" y="743"/>
                    </a:cubicBezTo>
                    <a:cubicBezTo>
                      <a:pt x="148" y="743"/>
                      <a:pt x="148" y="743"/>
                      <a:pt x="148" y="743"/>
                    </a:cubicBezTo>
                    <a:cubicBezTo>
                      <a:pt x="149" y="744"/>
                      <a:pt x="149" y="744"/>
                      <a:pt x="149" y="744"/>
                    </a:cubicBezTo>
                    <a:cubicBezTo>
                      <a:pt x="153" y="745"/>
                      <a:pt x="153" y="745"/>
                      <a:pt x="153" y="745"/>
                    </a:cubicBezTo>
                    <a:cubicBezTo>
                      <a:pt x="157" y="748"/>
                      <a:pt x="157" y="748"/>
                      <a:pt x="157" y="748"/>
                    </a:cubicBezTo>
                    <a:cubicBezTo>
                      <a:pt x="160" y="748"/>
                      <a:pt x="160" y="748"/>
                      <a:pt x="160" y="748"/>
                    </a:cubicBezTo>
                    <a:cubicBezTo>
                      <a:pt x="164" y="749"/>
                      <a:pt x="164" y="749"/>
                      <a:pt x="164" y="749"/>
                    </a:cubicBezTo>
                    <a:cubicBezTo>
                      <a:pt x="168" y="753"/>
                      <a:pt x="168" y="753"/>
                      <a:pt x="168" y="753"/>
                    </a:cubicBezTo>
                    <a:cubicBezTo>
                      <a:pt x="172" y="755"/>
                      <a:pt x="172" y="755"/>
                      <a:pt x="172" y="755"/>
                    </a:cubicBezTo>
                    <a:cubicBezTo>
                      <a:pt x="177" y="757"/>
                      <a:pt x="177" y="757"/>
                      <a:pt x="177" y="757"/>
                    </a:cubicBezTo>
                    <a:cubicBezTo>
                      <a:pt x="180" y="756"/>
                      <a:pt x="180" y="756"/>
                      <a:pt x="180" y="756"/>
                    </a:cubicBezTo>
                    <a:cubicBezTo>
                      <a:pt x="181" y="756"/>
                      <a:pt x="181" y="756"/>
                      <a:pt x="181" y="756"/>
                    </a:cubicBezTo>
                    <a:cubicBezTo>
                      <a:pt x="182" y="755"/>
                      <a:pt x="182" y="755"/>
                      <a:pt x="182" y="755"/>
                    </a:cubicBezTo>
                    <a:cubicBezTo>
                      <a:pt x="181" y="753"/>
                      <a:pt x="181" y="753"/>
                      <a:pt x="181" y="753"/>
                    </a:cubicBezTo>
                    <a:cubicBezTo>
                      <a:pt x="178" y="754"/>
                      <a:pt x="178" y="754"/>
                      <a:pt x="178" y="754"/>
                    </a:cubicBezTo>
                    <a:cubicBezTo>
                      <a:pt x="177" y="755"/>
                      <a:pt x="177" y="755"/>
                      <a:pt x="177" y="755"/>
                    </a:cubicBezTo>
                    <a:cubicBezTo>
                      <a:pt x="174" y="755"/>
                      <a:pt x="174" y="755"/>
                      <a:pt x="174" y="755"/>
                    </a:cubicBezTo>
                    <a:cubicBezTo>
                      <a:pt x="170" y="752"/>
                      <a:pt x="170" y="752"/>
                      <a:pt x="170" y="752"/>
                    </a:cubicBezTo>
                    <a:cubicBezTo>
                      <a:pt x="167" y="747"/>
                      <a:pt x="167" y="747"/>
                      <a:pt x="167" y="747"/>
                    </a:cubicBezTo>
                    <a:cubicBezTo>
                      <a:pt x="167" y="746"/>
                      <a:pt x="167" y="746"/>
                      <a:pt x="167" y="746"/>
                    </a:cubicBezTo>
                    <a:cubicBezTo>
                      <a:pt x="169" y="746"/>
                      <a:pt x="169" y="746"/>
                      <a:pt x="169" y="746"/>
                    </a:cubicBezTo>
                    <a:cubicBezTo>
                      <a:pt x="174" y="746"/>
                      <a:pt x="174" y="746"/>
                      <a:pt x="174" y="746"/>
                    </a:cubicBezTo>
                    <a:cubicBezTo>
                      <a:pt x="179" y="744"/>
                      <a:pt x="179" y="744"/>
                      <a:pt x="179" y="744"/>
                    </a:cubicBezTo>
                    <a:cubicBezTo>
                      <a:pt x="181" y="742"/>
                      <a:pt x="181" y="742"/>
                      <a:pt x="181" y="742"/>
                    </a:cubicBezTo>
                    <a:cubicBezTo>
                      <a:pt x="180" y="740"/>
                      <a:pt x="180" y="740"/>
                      <a:pt x="180" y="740"/>
                    </a:cubicBezTo>
                    <a:cubicBezTo>
                      <a:pt x="176" y="739"/>
                      <a:pt x="176" y="739"/>
                      <a:pt x="176" y="739"/>
                    </a:cubicBezTo>
                    <a:cubicBezTo>
                      <a:pt x="174" y="740"/>
                      <a:pt x="174" y="740"/>
                      <a:pt x="174" y="740"/>
                    </a:cubicBezTo>
                    <a:cubicBezTo>
                      <a:pt x="174" y="741"/>
                      <a:pt x="174" y="741"/>
                      <a:pt x="174" y="741"/>
                    </a:cubicBezTo>
                    <a:cubicBezTo>
                      <a:pt x="175" y="743"/>
                      <a:pt x="175" y="743"/>
                      <a:pt x="175" y="743"/>
                    </a:cubicBezTo>
                    <a:cubicBezTo>
                      <a:pt x="174" y="743"/>
                      <a:pt x="174" y="743"/>
                      <a:pt x="174" y="743"/>
                    </a:cubicBezTo>
                    <a:cubicBezTo>
                      <a:pt x="169" y="743"/>
                      <a:pt x="169" y="743"/>
                      <a:pt x="169" y="743"/>
                    </a:cubicBezTo>
                    <a:cubicBezTo>
                      <a:pt x="167" y="742"/>
                      <a:pt x="167" y="742"/>
                      <a:pt x="167" y="742"/>
                    </a:cubicBezTo>
                    <a:cubicBezTo>
                      <a:pt x="166" y="740"/>
                      <a:pt x="166" y="740"/>
                      <a:pt x="166" y="740"/>
                    </a:cubicBezTo>
                    <a:cubicBezTo>
                      <a:pt x="168" y="739"/>
                      <a:pt x="168" y="739"/>
                      <a:pt x="168" y="739"/>
                    </a:cubicBezTo>
                    <a:cubicBezTo>
                      <a:pt x="170" y="739"/>
                      <a:pt x="170" y="739"/>
                      <a:pt x="170" y="739"/>
                    </a:cubicBezTo>
                    <a:cubicBezTo>
                      <a:pt x="171" y="738"/>
                      <a:pt x="171" y="738"/>
                      <a:pt x="171" y="738"/>
                    </a:cubicBezTo>
                    <a:cubicBezTo>
                      <a:pt x="169" y="736"/>
                      <a:pt x="169" y="736"/>
                      <a:pt x="169" y="736"/>
                    </a:cubicBezTo>
                    <a:cubicBezTo>
                      <a:pt x="167" y="736"/>
                      <a:pt x="167" y="736"/>
                      <a:pt x="167" y="736"/>
                    </a:cubicBezTo>
                    <a:cubicBezTo>
                      <a:pt x="166" y="737"/>
                      <a:pt x="166" y="737"/>
                      <a:pt x="166" y="737"/>
                    </a:cubicBezTo>
                    <a:cubicBezTo>
                      <a:pt x="164" y="736"/>
                      <a:pt x="164" y="736"/>
                      <a:pt x="164" y="736"/>
                    </a:cubicBezTo>
                    <a:cubicBezTo>
                      <a:pt x="162" y="736"/>
                      <a:pt x="162" y="736"/>
                      <a:pt x="162" y="736"/>
                    </a:cubicBezTo>
                    <a:cubicBezTo>
                      <a:pt x="163" y="738"/>
                      <a:pt x="163" y="738"/>
                      <a:pt x="163" y="738"/>
                    </a:cubicBezTo>
                    <a:cubicBezTo>
                      <a:pt x="163" y="740"/>
                      <a:pt x="163" y="740"/>
                      <a:pt x="163" y="740"/>
                    </a:cubicBezTo>
                    <a:cubicBezTo>
                      <a:pt x="163" y="742"/>
                      <a:pt x="163" y="742"/>
                      <a:pt x="163" y="742"/>
                    </a:cubicBezTo>
                    <a:cubicBezTo>
                      <a:pt x="161" y="744"/>
                      <a:pt x="161" y="744"/>
                      <a:pt x="161" y="744"/>
                    </a:cubicBezTo>
                    <a:cubicBezTo>
                      <a:pt x="159" y="746"/>
                      <a:pt x="159" y="746"/>
                      <a:pt x="159" y="746"/>
                    </a:cubicBezTo>
                    <a:cubicBezTo>
                      <a:pt x="157" y="745"/>
                      <a:pt x="157" y="745"/>
                      <a:pt x="157" y="745"/>
                    </a:cubicBezTo>
                    <a:cubicBezTo>
                      <a:pt x="153" y="741"/>
                      <a:pt x="153" y="741"/>
                      <a:pt x="153" y="741"/>
                    </a:cubicBezTo>
                    <a:cubicBezTo>
                      <a:pt x="150" y="741"/>
                      <a:pt x="150" y="741"/>
                      <a:pt x="150" y="741"/>
                    </a:cubicBezTo>
                    <a:cubicBezTo>
                      <a:pt x="148" y="740"/>
                      <a:pt x="148" y="740"/>
                      <a:pt x="148" y="740"/>
                    </a:cubicBezTo>
                    <a:cubicBezTo>
                      <a:pt x="148" y="738"/>
                      <a:pt x="148" y="738"/>
                      <a:pt x="148" y="738"/>
                    </a:cubicBezTo>
                    <a:cubicBezTo>
                      <a:pt x="146" y="738"/>
                      <a:pt x="146" y="738"/>
                      <a:pt x="146" y="738"/>
                    </a:cubicBezTo>
                    <a:cubicBezTo>
                      <a:pt x="145" y="740"/>
                      <a:pt x="145" y="740"/>
                      <a:pt x="145" y="740"/>
                    </a:cubicBezTo>
                    <a:cubicBezTo>
                      <a:pt x="140" y="740"/>
                      <a:pt x="140" y="740"/>
                      <a:pt x="140" y="740"/>
                    </a:cubicBezTo>
                    <a:cubicBezTo>
                      <a:pt x="137" y="740"/>
                      <a:pt x="137" y="740"/>
                      <a:pt x="137" y="740"/>
                    </a:cubicBezTo>
                    <a:cubicBezTo>
                      <a:pt x="135" y="742"/>
                      <a:pt x="135" y="742"/>
                      <a:pt x="135" y="742"/>
                    </a:cubicBezTo>
                    <a:cubicBezTo>
                      <a:pt x="131" y="746"/>
                      <a:pt x="131" y="746"/>
                      <a:pt x="131" y="746"/>
                    </a:cubicBezTo>
                    <a:cubicBezTo>
                      <a:pt x="128" y="747"/>
                      <a:pt x="128" y="747"/>
                      <a:pt x="128" y="747"/>
                    </a:cubicBezTo>
                    <a:cubicBezTo>
                      <a:pt x="127" y="746"/>
                      <a:pt x="127" y="746"/>
                      <a:pt x="127" y="746"/>
                    </a:cubicBezTo>
                    <a:cubicBezTo>
                      <a:pt x="127" y="745"/>
                      <a:pt x="127" y="745"/>
                      <a:pt x="127" y="745"/>
                    </a:cubicBezTo>
                    <a:cubicBezTo>
                      <a:pt x="131" y="740"/>
                      <a:pt x="131" y="740"/>
                      <a:pt x="131" y="740"/>
                    </a:cubicBezTo>
                    <a:cubicBezTo>
                      <a:pt x="133" y="739"/>
                      <a:pt x="133" y="739"/>
                      <a:pt x="133" y="739"/>
                    </a:cubicBezTo>
                    <a:cubicBezTo>
                      <a:pt x="134" y="738"/>
                      <a:pt x="134" y="738"/>
                      <a:pt x="134" y="738"/>
                    </a:cubicBezTo>
                    <a:cubicBezTo>
                      <a:pt x="134" y="737"/>
                      <a:pt x="134" y="737"/>
                      <a:pt x="134" y="737"/>
                    </a:cubicBezTo>
                    <a:cubicBezTo>
                      <a:pt x="136" y="736"/>
                      <a:pt x="136" y="736"/>
                      <a:pt x="136" y="736"/>
                    </a:cubicBezTo>
                    <a:cubicBezTo>
                      <a:pt x="138" y="734"/>
                      <a:pt x="138" y="734"/>
                      <a:pt x="138" y="734"/>
                    </a:cubicBezTo>
                    <a:cubicBezTo>
                      <a:pt x="138" y="733"/>
                      <a:pt x="138" y="733"/>
                      <a:pt x="138" y="733"/>
                    </a:cubicBezTo>
                    <a:cubicBezTo>
                      <a:pt x="139" y="730"/>
                      <a:pt x="139" y="730"/>
                      <a:pt x="139" y="730"/>
                    </a:cubicBezTo>
                    <a:cubicBezTo>
                      <a:pt x="140" y="731"/>
                      <a:pt x="140" y="731"/>
                      <a:pt x="140" y="731"/>
                    </a:cubicBezTo>
                    <a:cubicBezTo>
                      <a:pt x="143" y="733"/>
                      <a:pt x="143" y="733"/>
                      <a:pt x="143" y="733"/>
                    </a:cubicBezTo>
                    <a:cubicBezTo>
                      <a:pt x="147" y="734"/>
                      <a:pt x="147" y="734"/>
                      <a:pt x="147" y="734"/>
                    </a:cubicBezTo>
                    <a:cubicBezTo>
                      <a:pt x="152" y="734"/>
                      <a:pt x="152" y="734"/>
                      <a:pt x="152" y="734"/>
                    </a:cubicBezTo>
                    <a:cubicBezTo>
                      <a:pt x="152" y="733"/>
                      <a:pt x="152" y="733"/>
                      <a:pt x="152" y="733"/>
                    </a:cubicBezTo>
                    <a:cubicBezTo>
                      <a:pt x="149" y="732"/>
                      <a:pt x="149" y="732"/>
                      <a:pt x="149" y="732"/>
                    </a:cubicBezTo>
                    <a:cubicBezTo>
                      <a:pt x="148" y="733"/>
                      <a:pt x="148" y="733"/>
                      <a:pt x="148" y="733"/>
                    </a:cubicBezTo>
                    <a:cubicBezTo>
                      <a:pt x="145" y="731"/>
                      <a:pt x="145" y="731"/>
                      <a:pt x="145" y="731"/>
                    </a:cubicBezTo>
                    <a:cubicBezTo>
                      <a:pt x="141" y="727"/>
                      <a:pt x="141" y="727"/>
                      <a:pt x="141" y="727"/>
                    </a:cubicBezTo>
                    <a:cubicBezTo>
                      <a:pt x="140" y="724"/>
                      <a:pt x="140" y="724"/>
                      <a:pt x="140" y="724"/>
                    </a:cubicBezTo>
                    <a:cubicBezTo>
                      <a:pt x="138" y="723"/>
                      <a:pt x="138" y="723"/>
                      <a:pt x="138" y="723"/>
                    </a:cubicBezTo>
                    <a:cubicBezTo>
                      <a:pt x="137" y="722"/>
                      <a:pt x="137" y="722"/>
                      <a:pt x="137" y="722"/>
                    </a:cubicBezTo>
                    <a:cubicBezTo>
                      <a:pt x="139" y="721"/>
                      <a:pt x="139" y="721"/>
                      <a:pt x="139" y="721"/>
                    </a:cubicBezTo>
                    <a:cubicBezTo>
                      <a:pt x="143" y="722"/>
                      <a:pt x="143" y="722"/>
                      <a:pt x="143" y="722"/>
                    </a:cubicBezTo>
                    <a:cubicBezTo>
                      <a:pt x="147" y="727"/>
                      <a:pt x="147" y="727"/>
                      <a:pt x="147" y="727"/>
                    </a:cubicBezTo>
                    <a:cubicBezTo>
                      <a:pt x="150" y="730"/>
                      <a:pt x="150" y="730"/>
                      <a:pt x="150" y="730"/>
                    </a:cubicBezTo>
                    <a:cubicBezTo>
                      <a:pt x="151" y="729"/>
                      <a:pt x="151" y="729"/>
                      <a:pt x="151" y="729"/>
                    </a:cubicBezTo>
                    <a:cubicBezTo>
                      <a:pt x="149" y="727"/>
                      <a:pt x="149" y="727"/>
                      <a:pt x="149" y="727"/>
                    </a:cubicBezTo>
                    <a:cubicBezTo>
                      <a:pt x="149" y="724"/>
                      <a:pt x="149" y="724"/>
                      <a:pt x="149" y="724"/>
                    </a:cubicBezTo>
                    <a:cubicBezTo>
                      <a:pt x="150" y="724"/>
                      <a:pt x="150" y="724"/>
                      <a:pt x="150" y="724"/>
                    </a:cubicBezTo>
                    <a:cubicBezTo>
                      <a:pt x="152" y="726"/>
                      <a:pt x="152" y="726"/>
                      <a:pt x="152" y="726"/>
                    </a:cubicBezTo>
                    <a:cubicBezTo>
                      <a:pt x="153" y="729"/>
                      <a:pt x="153" y="729"/>
                      <a:pt x="153" y="729"/>
                    </a:cubicBezTo>
                    <a:cubicBezTo>
                      <a:pt x="159" y="732"/>
                      <a:pt x="159" y="732"/>
                      <a:pt x="159" y="732"/>
                    </a:cubicBezTo>
                    <a:cubicBezTo>
                      <a:pt x="162" y="732"/>
                      <a:pt x="162" y="732"/>
                      <a:pt x="162" y="732"/>
                    </a:cubicBezTo>
                    <a:cubicBezTo>
                      <a:pt x="163" y="731"/>
                      <a:pt x="163" y="731"/>
                      <a:pt x="163" y="731"/>
                    </a:cubicBezTo>
                    <a:cubicBezTo>
                      <a:pt x="167" y="731"/>
                      <a:pt x="167" y="731"/>
                      <a:pt x="167" y="731"/>
                    </a:cubicBezTo>
                    <a:cubicBezTo>
                      <a:pt x="169" y="733"/>
                      <a:pt x="169" y="733"/>
                      <a:pt x="169" y="733"/>
                    </a:cubicBezTo>
                    <a:cubicBezTo>
                      <a:pt x="173" y="735"/>
                      <a:pt x="173" y="735"/>
                      <a:pt x="173" y="735"/>
                    </a:cubicBezTo>
                    <a:cubicBezTo>
                      <a:pt x="176" y="736"/>
                      <a:pt x="176" y="736"/>
                      <a:pt x="176" y="736"/>
                    </a:cubicBezTo>
                    <a:cubicBezTo>
                      <a:pt x="176" y="737"/>
                      <a:pt x="176" y="737"/>
                      <a:pt x="176" y="737"/>
                    </a:cubicBezTo>
                    <a:cubicBezTo>
                      <a:pt x="179" y="737"/>
                      <a:pt x="179" y="737"/>
                      <a:pt x="179" y="737"/>
                    </a:cubicBezTo>
                    <a:cubicBezTo>
                      <a:pt x="179" y="736"/>
                      <a:pt x="179" y="736"/>
                      <a:pt x="179" y="736"/>
                    </a:cubicBezTo>
                    <a:cubicBezTo>
                      <a:pt x="176" y="733"/>
                      <a:pt x="176" y="733"/>
                      <a:pt x="176" y="733"/>
                    </a:cubicBezTo>
                    <a:cubicBezTo>
                      <a:pt x="168" y="727"/>
                      <a:pt x="168" y="727"/>
                      <a:pt x="168" y="727"/>
                    </a:cubicBezTo>
                    <a:cubicBezTo>
                      <a:pt x="167" y="726"/>
                      <a:pt x="167" y="726"/>
                      <a:pt x="167" y="726"/>
                    </a:cubicBezTo>
                    <a:cubicBezTo>
                      <a:pt x="168" y="724"/>
                      <a:pt x="168" y="724"/>
                      <a:pt x="168" y="724"/>
                    </a:cubicBezTo>
                    <a:cubicBezTo>
                      <a:pt x="172" y="723"/>
                      <a:pt x="172" y="723"/>
                      <a:pt x="172" y="723"/>
                    </a:cubicBezTo>
                    <a:cubicBezTo>
                      <a:pt x="173" y="720"/>
                      <a:pt x="173" y="720"/>
                      <a:pt x="173" y="720"/>
                    </a:cubicBezTo>
                    <a:cubicBezTo>
                      <a:pt x="174" y="718"/>
                      <a:pt x="174" y="718"/>
                      <a:pt x="174" y="718"/>
                    </a:cubicBezTo>
                    <a:cubicBezTo>
                      <a:pt x="175" y="717"/>
                      <a:pt x="175" y="717"/>
                      <a:pt x="175" y="717"/>
                    </a:cubicBezTo>
                    <a:cubicBezTo>
                      <a:pt x="175" y="717"/>
                      <a:pt x="175" y="717"/>
                      <a:pt x="175" y="717"/>
                    </a:cubicBezTo>
                    <a:cubicBezTo>
                      <a:pt x="173" y="716"/>
                      <a:pt x="173" y="716"/>
                      <a:pt x="173" y="716"/>
                    </a:cubicBezTo>
                    <a:cubicBezTo>
                      <a:pt x="170" y="717"/>
                      <a:pt x="170" y="717"/>
                      <a:pt x="170" y="717"/>
                    </a:cubicBezTo>
                    <a:cubicBezTo>
                      <a:pt x="165" y="717"/>
                      <a:pt x="165" y="717"/>
                      <a:pt x="165" y="717"/>
                    </a:cubicBezTo>
                    <a:cubicBezTo>
                      <a:pt x="164" y="718"/>
                      <a:pt x="164" y="718"/>
                      <a:pt x="164" y="718"/>
                    </a:cubicBezTo>
                    <a:cubicBezTo>
                      <a:pt x="165" y="720"/>
                      <a:pt x="165" y="720"/>
                      <a:pt x="165" y="720"/>
                    </a:cubicBezTo>
                    <a:cubicBezTo>
                      <a:pt x="168" y="722"/>
                      <a:pt x="168" y="722"/>
                      <a:pt x="168" y="722"/>
                    </a:cubicBezTo>
                    <a:cubicBezTo>
                      <a:pt x="166" y="723"/>
                      <a:pt x="166" y="723"/>
                      <a:pt x="166" y="723"/>
                    </a:cubicBezTo>
                    <a:cubicBezTo>
                      <a:pt x="162" y="723"/>
                      <a:pt x="162" y="723"/>
                      <a:pt x="162" y="723"/>
                    </a:cubicBezTo>
                    <a:cubicBezTo>
                      <a:pt x="161" y="723"/>
                      <a:pt x="161" y="723"/>
                      <a:pt x="161" y="723"/>
                    </a:cubicBezTo>
                    <a:cubicBezTo>
                      <a:pt x="158" y="723"/>
                      <a:pt x="158" y="723"/>
                      <a:pt x="158" y="723"/>
                    </a:cubicBezTo>
                    <a:cubicBezTo>
                      <a:pt x="154" y="724"/>
                      <a:pt x="154" y="724"/>
                      <a:pt x="154" y="724"/>
                    </a:cubicBezTo>
                    <a:cubicBezTo>
                      <a:pt x="152" y="721"/>
                      <a:pt x="152" y="721"/>
                      <a:pt x="152" y="721"/>
                    </a:cubicBezTo>
                    <a:cubicBezTo>
                      <a:pt x="150" y="720"/>
                      <a:pt x="150" y="720"/>
                      <a:pt x="150" y="720"/>
                    </a:cubicBezTo>
                    <a:cubicBezTo>
                      <a:pt x="149" y="719"/>
                      <a:pt x="149" y="719"/>
                      <a:pt x="149" y="719"/>
                    </a:cubicBezTo>
                    <a:cubicBezTo>
                      <a:pt x="151" y="717"/>
                      <a:pt x="151" y="717"/>
                      <a:pt x="151" y="717"/>
                    </a:cubicBezTo>
                    <a:cubicBezTo>
                      <a:pt x="152" y="716"/>
                      <a:pt x="152" y="716"/>
                      <a:pt x="152" y="716"/>
                    </a:cubicBezTo>
                    <a:cubicBezTo>
                      <a:pt x="150" y="716"/>
                      <a:pt x="150" y="716"/>
                      <a:pt x="150" y="716"/>
                    </a:cubicBezTo>
                    <a:cubicBezTo>
                      <a:pt x="147" y="717"/>
                      <a:pt x="147" y="717"/>
                      <a:pt x="147" y="717"/>
                    </a:cubicBezTo>
                    <a:cubicBezTo>
                      <a:pt x="146" y="716"/>
                      <a:pt x="146" y="716"/>
                      <a:pt x="146" y="716"/>
                    </a:cubicBezTo>
                    <a:cubicBezTo>
                      <a:pt x="151" y="715"/>
                      <a:pt x="151" y="715"/>
                      <a:pt x="151" y="715"/>
                    </a:cubicBezTo>
                    <a:cubicBezTo>
                      <a:pt x="156" y="713"/>
                      <a:pt x="156" y="713"/>
                      <a:pt x="156" y="713"/>
                    </a:cubicBezTo>
                    <a:cubicBezTo>
                      <a:pt x="158" y="711"/>
                      <a:pt x="158" y="711"/>
                      <a:pt x="158" y="711"/>
                    </a:cubicBezTo>
                    <a:cubicBezTo>
                      <a:pt x="162" y="712"/>
                      <a:pt x="162" y="712"/>
                      <a:pt x="162" y="712"/>
                    </a:cubicBezTo>
                    <a:cubicBezTo>
                      <a:pt x="163" y="713"/>
                      <a:pt x="163" y="713"/>
                      <a:pt x="163" y="713"/>
                    </a:cubicBezTo>
                    <a:cubicBezTo>
                      <a:pt x="166" y="712"/>
                      <a:pt x="166" y="712"/>
                      <a:pt x="166" y="712"/>
                    </a:cubicBezTo>
                    <a:cubicBezTo>
                      <a:pt x="170" y="712"/>
                      <a:pt x="170" y="712"/>
                      <a:pt x="170" y="712"/>
                    </a:cubicBezTo>
                    <a:cubicBezTo>
                      <a:pt x="174" y="713"/>
                      <a:pt x="174" y="713"/>
                      <a:pt x="174" y="713"/>
                    </a:cubicBezTo>
                    <a:cubicBezTo>
                      <a:pt x="174" y="711"/>
                      <a:pt x="174" y="711"/>
                      <a:pt x="174" y="711"/>
                    </a:cubicBezTo>
                    <a:cubicBezTo>
                      <a:pt x="176" y="710"/>
                      <a:pt x="176" y="710"/>
                      <a:pt x="176" y="710"/>
                    </a:cubicBezTo>
                    <a:cubicBezTo>
                      <a:pt x="177" y="708"/>
                      <a:pt x="177" y="708"/>
                      <a:pt x="177" y="708"/>
                    </a:cubicBezTo>
                    <a:cubicBezTo>
                      <a:pt x="180" y="707"/>
                      <a:pt x="180" y="707"/>
                      <a:pt x="180" y="707"/>
                    </a:cubicBezTo>
                    <a:cubicBezTo>
                      <a:pt x="181" y="705"/>
                      <a:pt x="181" y="705"/>
                      <a:pt x="181" y="705"/>
                    </a:cubicBezTo>
                    <a:cubicBezTo>
                      <a:pt x="180" y="705"/>
                      <a:pt x="180" y="705"/>
                      <a:pt x="180" y="705"/>
                    </a:cubicBezTo>
                    <a:cubicBezTo>
                      <a:pt x="177" y="707"/>
                      <a:pt x="177" y="707"/>
                      <a:pt x="177" y="707"/>
                    </a:cubicBezTo>
                    <a:cubicBezTo>
                      <a:pt x="175" y="707"/>
                      <a:pt x="175" y="707"/>
                      <a:pt x="175" y="707"/>
                    </a:cubicBezTo>
                    <a:cubicBezTo>
                      <a:pt x="175" y="705"/>
                      <a:pt x="175" y="705"/>
                      <a:pt x="175" y="705"/>
                    </a:cubicBezTo>
                    <a:cubicBezTo>
                      <a:pt x="176" y="702"/>
                      <a:pt x="176" y="702"/>
                      <a:pt x="176" y="702"/>
                    </a:cubicBezTo>
                    <a:cubicBezTo>
                      <a:pt x="179" y="695"/>
                      <a:pt x="179" y="695"/>
                      <a:pt x="179" y="695"/>
                    </a:cubicBezTo>
                    <a:cubicBezTo>
                      <a:pt x="178" y="692"/>
                      <a:pt x="178" y="692"/>
                      <a:pt x="178" y="692"/>
                    </a:cubicBezTo>
                    <a:cubicBezTo>
                      <a:pt x="180" y="691"/>
                      <a:pt x="180" y="691"/>
                      <a:pt x="180" y="691"/>
                    </a:cubicBezTo>
                    <a:cubicBezTo>
                      <a:pt x="181" y="692"/>
                      <a:pt x="181" y="692"/>
                      <a:pt x="181" y="692"/>
                    </a:cubicBezTo>
                    <a:cubicBezTo>
                      <a:pt x="183" y="695"/>
                      <a:pt x="183" y="695"/>
                      <a:pt x="183" y="695"/>
                    </a:cubicBezTo>
                    <a:cubicBezTo>
                      <a:pt x="182" y="696"/>
                      <a:pt x="182" y="696"/>
                      <a:pt x="182" y="696"/>
                    </a:cubicBezTo>
                    <a:cubicBezTo>
                      <a:pt x="182" y="698"/>
                      <a:pt x="182" y="698"/>
                      <a:pt x="182" y="698"/>
                    </a:cubicBezTo>
                    <a:cubicBezTo>
                      <a:pt x="185" y="699"/>
                      <a:pt x="185" y="699"/>
                      <a:pt x="185" y="699"/>
                    </a:cubicBezTo>
                    <a:cubicBezTo>
                      <a:pt x="188" y="699"/>
                      <a:pt x="188" y="699"/>
                      <a:pt x="188" y="699"/>
                    </a:cubicBezTo>
                    <a:cubicBezTo>
                      <a:pt x="189" y="700"/>
                      <a:pt x="189" y="700"/>
                      <a:pt x="189" y="700"/>
                    </a:cubicBezTo>
                    <a:cubicBezTo>
                      <a:pt x="191" y="700"/>
                      <a:pt x="191" y="700"/>
                      <a:pt x="191" y="700"/>
                    </a:cubicBezTo>
                    <a:cubicBezTo>
                      <a:pt x="192" y="699"/>
                      <a:pt x="192" y="699"/>
                      <a:pt x="192" y="699"/>
                    </a:cubicBezTo>
                    <a:cubicBezTo>
                      <a:pt x="193" y="700"/>
                      <a:pt x="193" y="700"/>
                      <a:pt x="193" y="700"/>
                    </a:cubicBezTo>
                    <a:cubicBezTo>
                      <a:pt x="195" y="700"/>
                      <a:pt x="195" y="700"/>
                      <a:pt x="195" y="700"/>
                    </a:cubicBezTo>
                    <a:cubicBezTo>
                      <a:pt x="195" y="698"/>
                      <a:pt x="195" y="698"/>
                      <a:pt x="195" y="698"/>
                    </a:cubicBezTo>
                    <a:cubicBezTo>
                      <a:pt x="193" y="697"/>
                      <a:pt x="193" y="697"/>
                      <a:pt x="193" y="697"/>
                    </a:cubicBezTo>
                    <a:cubicBezTo>
                      <a:pt x="188" y="696"/>
                      <a:pt x="188" y="696"/>
                      <a:pt x="188" y="696"/>
                    </a:cubicBezTo>
                    <a:cubicBezTo>
                      <a:pt x="188" y="695"/>
                      <a:pt x="188" y="695"/>
                      <a:pt x="188" y="695"/>
                    </a:cubicBezTo>
                    <a:cubicBezTo>
                      <a:pt x="191" y="695"/>
                      <a:pt x="191" y="695"/>
                      <a:pt x="191" y="695"/>
                    </a:cubicBezTo>
                    <a:cubicBezTo>
                      <a:pt x="195" y="694"/>
                      <a:pt x="195" y="694"/>
                      <a:pt x="195" y="694"/>
                    </a:cubicBezTo>
                    <a:cubicBezTo>
                      <a:pt x="194" y="693"/>
                      <a:pt x="194" y="693"/>
                      <a:pt x="194" y="693"/>
                    </a:cubicBezTo>
                    <a:cubicBezTo>
                      <a:pt x="193" y="692"/>
                      <a:pt x="193" y="692"/>
                      <a:pt x="193" y="692"/>
                    </a:cubicBezTo>
                    <a:cubicBezTo>
                      <a:pt x="191" y="692"/>
                      <a:pt x="191" y="692"/>
                      <a:pt x="191" y="692"/>
                    </a:cubicBezTo>
                    <a:cubicBezTo>
                      <a:pt x="190" y="690"/>
                      <a:pt x="190" y="690"/>
                      <a:pt x="190" y="690"/>
                    </a:cubicBezTo>
                    <a:cubicBezTo>
                      <a:pt x="189" y="689"/>
                      <a:pt x="189" y="689"/>
                      <a:pt x="189" y="689"/>
                    </a:cubicBezTo>
                    <a:cubicBezTo>
                      <a:pt x="187" y="690"/>
                      <a:pt x="187" y="690"/>
                      <a:pt x="187" y="690"/>
                    </a:cubicBezTo>
                    <a:cubicBezTo>
                      <a:pt x="185" y="690"/>
                      <a:pt x="185" y="690"/>
                      <a:pt x="185" y="690"/>
                    </a:cubicBezTo>
                    <a:cubicBezTo>
                      <a:pt x="182" y="690"/>
                      <a:pt x="182" y="690"/>
                      <a:pt x="182" y="690"/>
                    </a:cubicBezTo>
                    <a:cubicBezTo>
                      <a:pt x="183" y="688"/>
                      <a:pt x="183" y="688"/>
                      <a:pt x="183" y="688"/>
                    </a:cubicBezTo>
                    <a:cubicBezTo>
                      <a:pt x="184" y="686"/>
                      <a:pt x="184" y="686"/>
                      <a:pt x="184" y="686"/>
                    </a:cubicBezTo>
                    <a:cubicBezTo>
                      <a:pt x="186" y="686"/>
                      <a:pt x="186" y="686"/>
                      <a:pt x="186" y="686"/>
                    </a:cubicBezTo>
                    <a:cubicBezTo>
                      <a:pt x="189" y="682"/>
                      <a:pt x="189" y="682"/>
                      <a:pt x="189" y="682"/>
                    </a:cubicBezTo>
                    <a:cubicBezTo>
                      <a:pt x="191" y="680"/>
                      <a:pt x="191" y="680"/>
                      <a:pt x="191" y="680"/>
                    </a:cubicBezTo>
                    <a:cubicBezTo>
                      <a:pt x="192" y="681"/>
                      <a:pt x="192" y="681"/>
                      <a:pt x="192" y="681"/>
                    </a:cubicBezTo>
                    <a:cubicBezTo>
                      <a:pt x="194" y="680"/>
                      <a:pt x="194" y="680"/>
                      <a:pt x="194" y="680"/>
                    </a:cubicBezTo>
                    <a:cubicBezTo>
                      <a:pt x="196" y="680"/>
                      <a:pt x="196" y="680"/>
                      <a:pt x="196" y="680"/>
                    </a:cubicBezTo>
                    <a:cubicBezTo>
                      <a:pt x="196" y="679"/>
                      <a:pt x="196" y="679"/>
                      <a:pt x="196" y="679"/>
                    </a:cubicBezTo>
                    <a:cubicBezTo>
                      <a:pt x="193" y="678"/>
                      <a:pt x="193" y="678"/>
                      <a:pt x="193" y="678"/>
                    </a:cubicBezTo>
                    <a:cubicBezTo>
                      <a:pt x="190" y="678"/>
                      <a:pt x="190" y="678"/>
                      <a:pt x="190" y="678"/>
                    </a:cubicBezTo>
                    <a:cubicBezTo>
                      <a:pt x="189" y="677"/>
                      <a:pt x="189" y="677"/>
                      <a:pt x="189" y="677"/>
                    </a:cubicBezTo>
                    <a:cubicBezTo>
                      <a:pt x="190" y="676"/>
                      <a:pt x="190" y="676"/>
                      <a:pt x="190" y="676"/>
                    </a:cubicBezTo>
                    <a:cubicBezTo>
                      <a:pt x="194" y="674"/>
                      <a:pt x="194" y="674"/>
                      <a:pt x="194" y="674"/>
                    </a:cubicBezTo>
                    <a:cubicBezTo>
                      <a:pt x="196" y="672"/>
                      <a:pt x="196" y="672"/>
                      <a:pt x="196" y="672"/>
                    </a:cubicBezTo>
                    <a:cubicBezTo>
                      <a:pt x="198" y="671"/>
                      <a:pt x="198" y="671"/>
                      <a:pt x="198" y="671"/>
                    </a:cubicBezTo>
                    <a:cubicBezTo>
                      <a:pt x="198" y="670"/>
                      <a:pt x="198" y="670"/>
                      <a:pt x="198" y="670"/>
                    </a:cubicBezTo>
                    <a:cubicBezTo>
                      <a:pt x="201" y="669"/>
                      <a:pt x="201" y="669"/>
                      <a:pt x="201" y="669"/>
                    </a:cubicBezTo>
                    <a:cubicBezTo>
                      <a:pt x="199" y="666"/>
                      <a:pt x="199" y="666"/>
                      <a:pt x="199" y="666"/>
                    </a:cubicBezTo>
                    <a:cubicBezTo>
                      <a:pt x="197" y="666"/>
                      <a:pt x="197" y="666"/>
                      <a:pt x="197" y="666"/>
                    </a:cubicBezTo>
                    <a:cubicBezTo>
                      <a:pt x="197" y="665"/>
                      <a:pt x="197" y="665"/>
                      <a:pt x="197" y="665"/>
                    </a:cubicBezTo>
                    <a:cubicBezTo>
                      <a:pt x="199" y="664"/>
                      <a:pt x="199" y="664"/>
                      <a:pt x="199" y="664"/>
                    </a:cubicBezTo>
                    <a:cubicBezTo>
                      <a:pt x="202" y="664"/>
                      <a:pt x="202" y="664"/>
                      <a:pt x="202" y="664"/>
                    </a:cubicBezTo>
                    <a:cubicBezTo>
                      <a:pt x="202" y="662"/>
                      <a:pt x="202" y="662"/>
                      <a:pt x="202" y="662"/>
                    </a:cubicBezTo>
                    <a:cubicBezTo>
                      <a:pt x="200" y="661"/>
                      <a:pt x="200" y="661"/>
                      <a:pt x="200" y="661"/>
                    </a:cubicBezTo>
                    <a:cubicBezTo>
                      <a:pt x="196" y="661"/>
                      <a:pt x="196" y="661"/>
                      <a:pt x="196" y="661"/>
                    </a:cubicBezTo>
                    <a:cubicBezTo>
                      <a:pt x="193" y="663"/>
                      <a:pt x="193" y="663"/>
                      <a:pt x="193" y="663"/>
                    </a:cubicBezTo>
                    <a:cubicBezTo>
                      <a:pt x="190" y="663"/>
                      <a:pt x="190" y="663"/>
                      <a:pt x="190" y="663"/>
                    </a:cubicBezTo>
                    <a:cubicBezTo>
                      <a:pt x="188" y="661"/>
                      <a:pt x="188" y="661"/>
                      <a:pt x="188" y="661"/>
                    </a:cubicBezTo>
                    <a:cubicBezTo>
                      <a:pt x="186" y="662"/>
                      <a:pt x="186" y="662"/>
                      <a:pt x="186" y="662"/>
                    </a:cubicBezTo>
                    <a:cubicBezTo>
                      <a:pt x="183" y="662"/>
                      <a:pt x="183" y="662"/>
                      <a:pt x="183" y="662"/>
                    </a:cubicBezTo>
                    <a:cubicBezTo>
                      <a:pt x="181" y="660"/>
                      <a:pt x="181" y="660"/>
                      <a:pt x="181" y="660"/>
                    </a:cubicBezTo>
                    <a:cubicBezTo>
                      <a:pt x="179" y="661"/>
                      <a:pt x="179" y="661"/>
                      <a:pt x="179" y="661"/>
                    </a:cubicBezTo>
                    <a:cubicBezTo>
                      <a:pt x="176" y="660"/>
                      <a:pt x="176" y="660"/>
                      <a:pt x="176" y="660"/>
                    </a:cubicBezTo>
                    <a:cubicBezTo>
                      <a:pt x="174" y="658"/>
                      <a:pt x="174" y="658"/>
                      <a:pt x="174" y="658"/>
                    </a:cubicBezTo>
                    <a:cubicBezTo>
                      <a:pt x="171" y="658"/>
                      <a:pt x="171" y="658"/>
                      <a:pt x="171" y="658"/>
                    </a:cubicBezTo>
                    <a:cubicBezTo>
                      <a:pt x="168" y="657"/>
                      <a:pt x="168" y="657"/>
                      <a:pt x="168" y="657"/>
                    </a:cubicBezTo>
                    <a:cubicBezTo>
                      <a:pt x="168" y="655"/>
                      <a:pt x="168" y="655"/>
                      <a:pt x="168" y="655"/>
                    </a:cubicBezTo>
                    <a:cubicBezTo>
                      <a:pt x="167" y="651"/>
                      <a:pt x="167" y="651"/>
                      <a:pt x="167" y="651"/>
                    </a:cubicBezTo>
                    <a:cubicBezTo>
                      <a:pt x="163" y="649"/>
                      <a:pt x="163" y="649"/>
                      <a:pt x="163" y="649"/>
                    </a:cubicBezTo>
                    <a:cubicBezTo>
                      <a:pt x="156" y="646"/>
                      <a:pt x="156" y="646"/>
                      <a:pt x="156" y="646"/>
                    </a:cubicBezTo>
                    <a:cubicBezTo>
                      <a:pt x="151" y="644"/>
                      <a:pt x="151" y="644"/>
                      <a:pt x="151" y="644"/>
                    </a:cubicBezTo>
                    <a:cubicBezTo>
                      <a:pt x="147" y="641"/>
                      <a:pt x="147" y="641"/>
                      <a:pt x="147" y="641"/>
                    </a:cubicBezTo>
                    <a:cubicBezTo>
                      <a:pt x="147" y="638"/>
                      <a:pt x="147" y="638"/>
                      <a:pt x="147" y="638"/>
                    </a:cubicBezTo>
                    <a:cubicBezTo>
                      <a:pt x="146" y="634"/>
                      <a:pt x="146" y="634"/>
                      <a:pt x="146" y="634"/>
                    </a:cubicBezTo>
                    <a:cubicBezTo>
                      <a:pt x="144" y="631"/>
                      <a:pt x="144" y="631"/>
                      <a:pt x="144" y="631"/>
                    </a:cubicBezTo>
                    <a:cubicBezTo>
                      <a:pt x="142" y="630"/>
                      <a:pt x="142" y="630"/>
                      <a:pt x="142" y="630"/>
                    </a:cubicBezTo>
                    <a:cubicBezTo>
                      <a:pt x="142" y="628"/>
                      <a:pt x="142" y="628"/>
                      <a:pt x="142" y="628"/>
                    </a:cubicBezTo>
                    <a:cubicBezTo>
                      <a:pt x="146" y="625"/>
                      <a:pt x="146" y="625"/>
                      <a:pt x="146" y="625"/>
                    </a:cubicBezTo>
                    <a:cubicBezTo>
                      <a:pt x="150" y="624"/>
                      <a:pt x="150" y="624"/>
                      <a:pt x="150" y="624"/>
                    </a:cubicBezTo>
                    <a:cubicBezTo>
                      <a:pt x="151" y="624"/>
                      <a:pt x="151" y="624"/>
                      <a:pt x="151" y="624"/>
                    </a:cubicBezTo>
                    <a:cubicBezTo>
                      <a:pt x="154" y="624"/>
                      <a:pt x="154" y="624"/>
                      <a:pt x="154" y="624"/>
                    </a:cubicBezTo>
                    <a:cubicBezTo>
                      <a:pt x="157" y="625"/>
                      <a:pt x="157" y="625"/>
                      <a:pt x="157" y="625"/>
                    </a:cubicBezTo>
                    <a:cubicBezTo>
                      <a:pt x="161" y="628"/>
                      <a:pt x="161" y="628"/>
                      <a:pt x="161" y="628"/>
                    </a:cubicBezTo>
                    <a:cubicBezTo>
                      <a:pt x="164" y="628"/>
                      <a:pt x="164" y="628"/>
                      <a:pt x="164" y="628"/>
                    </a:cubicBezTo>
                    <a:cubicBezTo>
                      <a:pt x="167" y="629"/>
                      <a:pt x="167" y="629"/>
                      <a:pt x="167" y="629"/>
                    </a:cubicBezTo>
                    <a:cubicBezTo>
                      <a:pt x="168" y="630"/>
                      <a:pt x="168" y="630"/>
                      <a:pt x="168" y="630"/>
                    </a:cubicBezTo>
                    <a:cubicBezTo>
                      <a:pt x="172" y="630"/>
                      <a:pt x="172" y="630"/>
                      <a:pt x="172" y="630"/>
                    </a:cubicBezTo>
                    <a:cubicBezTo>
                      <a:pt x="175" y="631"/>
                      <a:pt x="175" y="631"/>
                      <a:pt x="175" y="631"/>
                    </a:cubicBezTo>
                    <a:cubicBezTo>
                      <a:pt x="177" y="632"/>
                      <a:pt x="177" y="632"/>
                      <a:pt x="177" y="632"/>
                    </a:cubicBezTo>
                    <a:cubicBezTo>
                      <a:pt x="180" y="633"/>
                      <a:pt x="180" y="633"/>
                      <a:pt x="180" y="633"/>
                    </a:cubicBezTo>
                    <a:cubicBezTo>
                      <a:pt x="181" y="635"/>
                      <a:pt x="181" y="635"/>
                      <a:pt x="181" y="635"/>
                    </a:cubicBezTo>
                    <a:cubicBezTo>
                      <a:pt x="184" y="642"/>
                      <a:pt x="184" y="642"/>
                      <a:pt x="184" y="642"/>
                    </a:cubicBezTo>
                    <a:cubicBezTo>
                      <a:pt x="186" y="645"/>
                      <a:pt x="186" y="645"/>
                      <a:pt x="186" y="645"/>
                    </a:cubicBezTo>
                    <a:cubicBezTo>
                      <a:pt x="190" y="647"/>
                      <a:pt x="190" y="647"/>
                      <a:pt x="190" y="647"/>
                    </a:cubicBezTo>
                    <a:cubicBezTo>
                      <a:pt x="193" y="650"/>
                      <a:pt x="193" y="650"/>
                      <a:pt x="193" y="650"/>
                    </a:cubicBezTo>
                    <a:cubicBezTo>
                      <a:pt x="196" y="651"/>
                      <a:pt x="196" y="651"/>
                      <a:pt x="196" y="651"/>
                    </a:cubicBezTo>
                    <a:cubicBezTo>
                      <a:pt x="198" y="651"/>
                      <a:pt x="198" y="651"/>
                      <a:pt x="198" y="651"/>
                    </a:cubicBezTo>
                    <a:cubicBezTo>
                      <a:pt x="200" y="648"/>
                      <a:pt x="200" y="648"/>
                      <a:pt x="200" y="648"/>
                    </a:cubicBezTo>
                    <a:cubicBezTo>
                      <a:pt x="199" y="647"/>
                      <a:pt x="199" y="647"/>
                      <a:pt x="199" y="647"/>
                    </a:cubicBezTo>
                    <a:cubicBezTo>
                      <a:pt x="197" y="648"/>
                      <a:pt x="197" y="648"/>
                      <a:pt x="197" y="648"/>
                    </a:cubicBezTo>
                    <a:cubicBezTo>
                      <a:pt x="195" y="648"/>
                      <a:pt x="195" y="648"/>
                      <a:pt x="195" y="648"/>
                    </a:cubicBezTo>
                    <a:cubicBezTo>
                      <a:pt x="193" y="647"/>
                      <a:pt x="193" y="647"/>
                      <a:pt x="193" y="647"/>
                    </a:cubicBezTo>
                    <a:cubicBezTo>
                      <a:pt x="189" y="642"/>
                      <a:pt x="189" y="642"/>
                      <a:pt x="189" y="642"/>
                    </a:cubicBezTo>
                    <a:cubicBezTo>
                      <a:pt x="190" y="641"/>
                      <a:pt x="190" y="641"/>
                      <a:pt x="190" y="641"/>
                    </a:cubicBezTo>
                    <a:cubicBezTo>
                      <a:pt x="190" y="641"/>
                      <a:pt x="190" y="641"/>
                      <a:pt x="190" y="641"/>
                    </a:cubicBezTo>
                    <a:cubicBezTo>
                      <a:pt x="194" y="644"/>
                      <a:pt x="194" y="644"/>
                      <a:pt x="194" y="644"/>
                    </a:cubicBezTo>
                    <a:cubicBezTo>
                      <a:pt x="196" y="644"/>
                      <a:pt x="196" y="644"/>
                      <a:pt x="196" y="644"/>
                    </a:cubicBezTo>
                    <a:cubicBezTo>
                      <a:pt x="196" y="642"/>
                      <a:pt x="196" y="642"/>
                      <a:pt x="196" y="642"/>
                    </a:cubicBezTo>
                    <a:cubicBezTo>
                      <a:pt x="198" y="642"/>
                      <a:pt x="198" y="642"/>
                      <a:pt x="198" y="642"/>
                    </a:cubicBezTo>
                    <a:cubicBezTo>
                      <a:pt x="198" y="641"/>
                      <a:pt x="198" y="641"/>
                      <a:pt x="198" y="641"/>
                    </a:cubicBezTo>
                    <a:cubicBezTo>
                      <a:pt x="194" y="638"/>
                      <a:pt x="194" y="638"/>
                      <a:pt x="194" y="638"/>
                    </a:cubicBezTo>
                    <a:cubicBezTo>
                      <a:pt x="189" y="634"/>
                      <a:pt x="189" y="634"/>
                      <a:pt x="189" y="634"/>
                    </a:cubicBezTo>
                    <a:cubicBezTo>
                      <a:pt x="188" y="632"/>
                      <a:pt x="188" y="632"/>
                      <a:pt x="188" y="632"/>
                    </a:cubicBezTo>
                    <a:cubicBezTo>
                      <a:pt x="189" y="631"/>
                      <a:pt x="189" y="631"/>
                      <a:pt x="189" y="631"/>
                    </a:cubicBezTo>
                    <a:cubicBezTo>
                      <a:pt x="190" y="631"/>
                      <a:pt x="190" y="631"/>
                      <a:pt x="190" y="631"/>
                    </a:cubicBezTo>
                    <a:cubicBezTo>
                      <a:pt x="193" y="634"/>
                      <a:pt x="193" y="634"/>
                      <a:pt x="193" y="634"/>
                    </a:cubicBezTo>
                    <a:cubicBezTo>
                      <a:pt x="195" y="634"/>
                      <a:pt x="195" y="634"/>
                      <a:pt x="195" y="634"/>
                    </a:cubicBezTo>
                    <a:cubicBezTo>
                      <a:pt x="193" y="631"/>
                      <a:pt x="193" y="631"/>
                      <a:pt x="193" y="631"/>
                    </a:cubicBezTo>
                    <a:cubicBezTo>
                      <a:pt x="189" y="627"/>
                      <a:pt x="189" y="627"/>
                      <a:pt x="189" y="627"/>
                    </a:cubicBezTo>
                    <a:cubicBezTo>
                      <a:pt x="186" y="625"/>
                      <a:pt x="186" y="625"/>
                      <a:pt x="186" y="625"/>
                    </a:cubicBezTo>
                    <a:cubicBezTo>
                      <a:pt x="185" y="623"/>
                      <a:pt x="185" y="623"/>
                      <a:pt x="185" y="623"/>
                    </a:cubicBezTo>
                    <a:cubicBezTo>
                      <a:pt x="186" y="621"/>
                      <a:pt x="186" y="621"/>
                      <a:pt x="186" y="621"/>
                    </a:cubicBezTo>
                    <a:cubicBezTo>
                      <a:pt x="190" y="623"/>
                      <a:pt x="190" y="623"/>
                      <a:pt x="190" y="623"/>
                    </a:cubicBezTo>
                    <a:cubicBezTo>
                      <a:pt x="197" y="625"/>
                      <a:pt x="197" y="625"/>
                      <a:pt x="197" y="625"/>
                    </a:cubicBezTo>
                    <a:cubicBezTo>
                      <a:pt x="199" y="624"/>
                      <a:pt x="199" y="624"/>
                      <a:pt x="199" y="624"/>
                    </a:cubicBezTo>
                    <a:cubicBezTo>
                      <a:pt x="199" y="622"/>
                      <a:pt x="199" y="622"/>
                      <a:pt x="199" y="622"/>
                    </a:cubicBezTo>
                    <a:cubicBezTo>
                      <a:pt x="196" y="618"/>
                      <a:pt x="196" y="618"/>
                      <a:pt x="196" y="618"/>
                    </a:cubicBezTo>
                    <a:cubicBezTo>
                      <a:pt x="195" y="618"/>
                      <a:pt x="195" y="618"/>
                      <a:pt x="195" y="618"/>
                    </a:cubicBezTo>
                    <a:cubicBezTo>
                      <a:pt x="192" y="620"/>
                      <a:pt x="192" y="620"/>
                      <a:pt x="192" y="620"/>
                    </a:cubicBezTo>
                    <a:cubicBezTo>
                      <a:pt x="190" y="620"/>
                      <a:pt x="190" y="620"/>
                      <a:pt x="190" y="620"/>
                    </a:cubicBezTo>
                    <a:cubicBezTo>
                      <a:pt x="186" y="620"/>
                      <a:pt x="186" y="620"/>
                      <a:pt x="186" y="620"/>
                    </a:cubicBezTo>
                    <a:cubicBezTo>
                      <a:pt x="185" y="618"/>
                      <a:pt x="185" y="618"/>
                      <a:pt x="185" y="618"/>
                    </a:cubicBezTo>
                    <a:cubicBezTo>
                      <a:pt x="187" y="616"/>
                      <a:pt x="187" y="616"/>
                      <a:pt x="187" y="616"/>
                    </a:cubicBezTo>
                    <a:cubicBezTo>
                      <a:pt x="191" y="614"/>
                      <a:pt x="191" y="614"/>
                      <a:pt x="191" y="614"/>
                    </a:cubicBezTo>
                    <a:cubicBezTo>
                      <a:pt x="192" y="615"/>
                      <a:pt x="192" y="615"/>
                      <a:pt x="192" y="615"/>
                    </a:cubicBezTo>
                    <a:cubicBezTo>
                      <a:pt x="195" y="616"/>
                      <a:pt x="195" y="616"/>
                      <a:pt x="195" y="616"/>
                    </a:cubicBezTo>
                    <a:cubicBezTo>
                      <a:pt x="196" y="615"/>
                      <a:pt x="196" y="615"/>
                      <a:pt x="196" y="615"/>
                    </a:cubicBezTo>
                    <a:cubicBezTo>
                      <a:pt x="195" y="613"/>
                      <a:pt x="195" y="613"/>
                      <a:pt x="195" y="613"/>
                    </a:cubicBezTo>
                    <a:cubicBezTo>
                      <a:pt x="193" y="610"/>
                      <a:pt x="193" y="610"/>
                      <a:pt x="193" y="610"/>
                    </a:cubicBezTo>
                    <a:cubicBezTo>
                      <a:pt x="192" y="611"/>
                      <a:pt x="192" y="611"/>
                      <a:pt x="192" y="611"/>
                    </a:cubicBezTo>
                    <a:cubicBezTo>
                      <a:pt x="191" y="612"/>
                      <a:pt x="191" y="612"/>
                      <a:pt x="191" y="612"/>
                    </a:cubicBezTo>
                    <a:cubicBezTo>
                      <a:pt x="188" y="612"/>
                      <a:pt x="188" y="612"/>
                      <a:pt x="188" y="612"/>
                    </a:cubicBezTo>
                    <a:cubicBezTo>
                      <a:pt x="187" y="613"/>
                      <a:pt x="187" y="613"/>
                      <a:pt x="187" y="613"/>
                    </a:cubicBezTo>
                    <a:cubicBezTo>
                      <a:pt x="182" y="617"/>
                      <a:pt x="182" y="617"/>
                      <a:pt x="182" y="617"/>
                    </a:cubicBezTo>
                    <a:cubicBezTo>
                      <a:pt x="180" y="617"/>
                      <a:pt x="180" y="617"/>
                      <a:pt x="180" y="617"/>
                    </a:cubicBezTo>
                    <a:cubicBezTo>
                      <a:pt x="180" y="616"/>
                      <a:pt x="180" y="616"/>
                      <a:pt x="180" y="616"/>
                    </a:cubicBezTo>
                    <a:cubicBezTo>
                      <a:pt x="182" y="614"/>
                      <a:pt x="182" y="614"/>
                      <a:pt x="182" y="614"/>
                    </a:cubicBezTo>
                    <a:cubicBezTo>
                      <a:pt x="183" y="611"/>
                      <a:pt x="183" y="611"/>
                      <a:pt x="183" y="611"/>
                    </a:cubicBezTo>
                    <a:cubicBezTo>
                      <a:pt x="185" y="608"/>
                      <a:pt x="185" y="608"/>
                      <a:pt x="185" y="608"/>
                    </a:cubicBezTo>
                    <a:cubicBezTo>
                      <a:pt x="187" y="608"/>
                      <a:pt x="187" y="608"/>
                      <a:pt x="187" y="608"/>
                    </a:cubicBezTo>
                    <a:cubicBezTo>
                      <a:pt x="189" y="608"/>
                      <a:pt x="189" y="608"/>
                      <a:pt x="189" y="608"/>
                    </a:cubicBezTo>
                    <a:cubicBezTo>
                      <a:pt x="192" y="606"/>
                      <a:pt x="192" y="606"/>
                      <a:pt x="192" y="606"/>
                    </a:cubicBezTo>
                    <a:cubicBezTo>
                      <a:pt x="194" y="606"/>
                      <a:pt x="194" y="606"/>
                      <a:pt x="194" y="606"/>
                    </a:cubicBezTo>
                    <a:cubicBezTo>
                      <a:pt x="195" y="605"/>
                      <a:pt x="195" y="605"/>
                      <a:pt x="195" y="605"/>
                    </a:cubicBezTo>
                    <a:cubicBezTo>
                      <a:pt x="195" y="604"/>
                      <a:pt x="195" y="604"/>
                      <a:pt x="195" y="604"/>
                    </a:cubicBezTo>
                    <a:cubicBezTo>
                      <a:pt x="190" y="604"/>
                      <a:pt x="190" y="604"/>
                      <a:pt x="190" y="604"/>
                    </a:cubicBezTo>
                    <a:cubicBezTo>
                      <a:pt x="188" y="606"/>
                      <a:pt x="188" y="606"/>
                      <a:pt x="188" y="606"/>
                    </a:cubicBezTo>
                    <a:cubicBezTo>
                      <a:pt x="185" y="606"/>
                      <a:pt x="185" y="606"/>
                      <a:pt x="185" y="606"/>
                    </a:cubicBezTo>
                    <a:cubicBezTo>
                      <a:pt x="183" y="605"/>
                      <a:pt x="183" y="605"/>
                      <a:pt x="183" y="605"/>
                    </a:cubicBezTo>
                    <a:cubicBezTo>
                      <a:pt x="179" y="606"/>
                      <a:pt x="179" y="606"/>
                      <a:pt x="179" y="606"/>
                    </a:cubicBezTo>
                    <a:cubicBezTo>
                      <a:pt x="178" y="605"/>
                      <a:pt x="178" y="605"/>
                      <a:pt x="178" y="605"/>
                    </a:cubicBezTo>
                    <a:cubicBezTo>
                      <a:pt x="178" y="603"/>
                      <a:pt x="178" y="603"/>
                      <a:pt x="178" y="603"/>
                    </a:cubicBezTo>
                    <a:cubicBezTo>
                      <a:pt x="180" y="602"/>
                      <a:pt x="180" y="602"/>
                      <a:pt x="180" y="602"/>
                    </a:cubicBezTo>
                    <a:cubicBezTo>
                      <a:pt x="182" y="600"/>
                      <a:pt x="182" y="600"/>
                      <a:pt x="182" y="600"/>
                    </a:cubicBezTo>
                    <a:cubicBezTo>
                      <a:pt x="187" y="599"/>
                      <a:pt x="187" y="599"/>
                      <a:pt x="187" y="599"/>
                    </a:cubicBezTo>
                    <a:cubicBezTo>
                      <a:pt x="193" y="598"/>
                      <a:pt x="193" y="598"/>
                      <a:pt x="193" y="598"/>
                    </a:cubicBezTo>
                    <a:cubicBezTo>
                      <a:pt x="197" y="596"/>
                      <a:pt x="197" y="596"/>
                      <a:pt x="197" y="596"/>
                    </a:cubicBezTo>
                    <a:cubicBezTo>
                      <a:pt x="198" y="594"/>
                      <a:pt x="198" y="594"/>
                      <a:pt x="198" y="594"/>
                    </a:cubicBezTo>
                    <a:cubicBezTo>
                      <a:pt x="197" y="594"/>
                      <a:pt x="197" y="594"/>
                      <a:pt x="197" y="594"/>
                    </a:cubicBezTo>
                    <a:cubicBezTo>
                      <a:pt x="195" y="594"/>
                      <a:pt x="195" y="594"/>
                      <a:pt x="195" y="594"/>
                    </a:cubicBezTo>
                    <a:cubicBezTo>
                      <a:pt x="192" y="595"/>
                      <a:pt x="192" y="595"/>
                      <a:pt x="192" y="595"/>
                    </a:cubicBezTo>
                    <a:cubicBezTo>
                      <a:pt x="189" y="596"/>
                      <a:pt x="189" y="596"/>
                      <a:pt x="189" y="596"/>
                    </a:cubicBezTo>
                    <a:cubicBezTo>
                      <a:pt x="187" y="596"/>
                      <a:pt x="187" y="596"/>
                      <a:pt x="187" y="596"/>
                    </a:cubicBezTo>
                    <a:cubicBezTo>
                      <a:pt x="185" y="593"/>
                      <a:pt x="185" y="593"/>
                      <a:pt x="185" y="593"/>
                    </a:cubicBezTo>
                    <a:cubicBezTo>
                      <a:pt x="183" y="592"/>
                      <a:pt x="183" y="592"/>
                      <a:pt x="183" y="592"/>
                    </a:cubicBezTo>
                    <a:cubicBezTo>
                      <a:pt x="180" y="593"/>
                      <a:pt x="180" y="593"/>
                      <a:pt x="180" y="593"/>
                    </a:cubicBezTo>
                    <a:cubicBezTo>
                      <a:pt x="179" y="592"/>
                      <a:pt x="179" y="592"/>
                      <a:pt x="179" y="592"/>
                    </a:cubicBezTo>
                    <a:cubicBezTo>
                      <a:pt x="179" y="590"/>
                      <a:pt x="179" y="590"/>
                      <a:pt x="179" y="590"/>
                    </a:cubicBezTo>
                    <a:cubicBezTo>
                      <a:pt x="182" y="588"/>
                      <a:pt x="182" y="588"/>
                      <a:pt x="182" y="588"/>
                    </a:cubicBezTo>
                    <a:cubicBezTo>
                      <a:pt x="183" y="584"/>
                      <a:pt x="183" y="584"/>
                      <a:pt x="183" y="584"/>
                    </a:cubicBezTo>
                    <a:cubicBezTo>
                      <a:pt x="185" y="583"/>
                      <a:pt x="185" y="583"/>
                      <a:pt x="185" y="583"/>
                    </a:cubicBezTo>
                    <a:cubicBezTo>
                      <a:pt x="188" y="581"/>
                      <a:pt x="188" y="581"/>
                      <a:pt x="188" y="581"/>
                    </a:cubicBezTo>
                    <a:cubicBezTo>
                      <a:pt x="187" y="580"/>
                      <a:pt x="187" y="580"/>
                      <a:pt x="187" y="580"/>
                    </a:cubicBezTo>
                    <a:cubicBezTo>
                      <a:pt x="186" y="580"/>
                      <a:pt x="186" y="580"/>
                      <a:pt x="186" y="580"/>
                    </a:cubicBezTo>
                    <a:cubicBezTo>
                      <a:pt x="183" y="581"/>
                      <a:pt x="183" y="581"/>
                      <a:pt x="183" y="581"/>
                    </a:cubicBezTo>
                    <a:cubicBezTo>
                      <a:pt x="180" y="586"/>
                      <a:pt x="180" y="586"/>
                      <a:pt x="180" y="586"/>
                    </a:cubicBezTo>
                    <a:cubicBezTo>
                      <a:pt x="179" y="588"/>
                      <a:pt x="179" y="588"/>
                      <a:pt x="179" y="588"/>
                    </a:cubicBezTo>
                    <a:cubicBezTo>
                      <a:pt x="177" y="589"/>
                      <a:pt x="177" y="589"/>
                      <a:pt x="177" y="589"/>
                    </a:cubicBezTo>
                    <a:cubicBezTo>
                      <a:pt x="176" y="590"/>
                      <a:pt x="176" y="590"/>
                      <a:pt x="176" y="590"/>
                    </a:cubicBezTo>
                    <a:cubicBezTo>
                      <a:pt x="174" y="590"/>
                      <a:pt x="174" y="590"/>
                      <a:pt x="174" y="590"/>
                    </a:cubicBezTo>
                    <a:cubicBezTo>
                      <a:pt x="174" y="587"/>
                      <a:pt x="174" y="587"/>
                      <a:pt x="174" y="587"/>
                    </a:cubicBezTo>
                    <a:cubicBezTo>
                      <a:pt x="175" y="583"/>
                      <a:pt x="175" y="583"/>
                      <a:pt x="175" y="583"/>
                    </a:cubicBezTo>
                    <a:cubicBezTo>
                      <a:pt x="176" y="579"/>
                      <a:pt x="176" y="579"/>
                      <a:pt x="176" y="579"/>
                    </a:cubicBezTo>
                    <a:cubicBezTo>
                      <a:pt x="174" y="575"/>
                      <a:pt x="174" y="575"/>
                      <a:pt x="174" y="575"/>
                    </a:cubicBezTo>
                    <a:cubicBezTo>
                      <a:pt x="173" y="571"/>
                      <a:pt x="173" y="571"/>
                      <a:pt x="173" y="571"/>
                    </a:cubicBezTo>
                    <a:cubicBezTo>
                      <a:pt x="175" y="568"/>
                      <a:pt x="175" y="568"/>
                      <a:pt x="175" y="568"/>
                    </a:cubicBezTo>
                    <a:cubicBezTo>
                      <a:pt x="174" y="566"/>
                      <a:pt x="174" y="566"/>
                      <a:pt x="174" y="566"/>
                    </a:cubicBezTo>
                    <a:cubicBezTo>
                      <a:pt x="173" y="566"/>
                      <a:pt x="173" y="566"/>
                      <a:pt x="173" y="566"/>
                    </a:cubicBezTo>
                    <a:cubicBezTo>
                      <a:pt x="173" y="567"/>
                      <a:pt x="173" y="567"/>
                      <a:pt x="173" y="567"/>
                    </a:cubicBezTo>
                    <a:cubicBezTo>
                      <a:pt x="171" y="574"/>
                      <a:pt x="171" y="574"/>
                      <a:pt x="171" y="574"/>
                    </a:cubicBezTo>
                    <a:cubicBezTo>
                      <a:pt x="173" y="577"/>
                      <a:pt x="173" y="577"/>
                      <a:pt x="173" y="577"/>
                    </a:cubicBezTo>
                    <a:cubicBezTo>
                      <a:pt x="174" y="580"/>
                      <a:pt x="174" y="580"/>
                      <a:pt x="174" y="580"/>
                    </a:cubicBezTo>
                    <a:cubicBezTo>
                      <a:pt x="174" y="583"/>
                      <a:pt x="174" y="583"/>
                      <a:pt x="174" y="583"/>
                    </a:cubicBezTo>
                    <a:cubicBezTo>
                      <a:pt x="174" y="588"/>
                      <a:pt x="174" y="588"/>
                      <a:pt x="174" y="588"/>
                    </a:cubicBezTo>
                    <a:cubicBezTo>
                      <a:pt x="172" y="591"/>
                      <a:pt x="172" y="591"/>
                      <a:pt x="172" y="591"/>
                    </a:cubicBezTo>
                    <a:cubicBezTo>
                      <a:pt x="170" y="591"/>
                      <a:pt x="170" y="591"/>
                      <a:pt x="170" y="591"/>
                    </a:cubicBezTo>
                    <a:cubicBezTo>
                      <a:pt x="168" y="589"/>
                      <a:pt x="168" y="589"/>
                      <a:pt x="168" y="589"/>
                    </a:cubicBezTo>
                    <a:cubicBezTo>
                      <a:pt x="167" y="587"/>
                      <a:pt x="167" y="587"/>
                      <a:pt x="167" y="587"/>
                    </a:cubicBezTo>
                    <a:cubicBezTo>
                      <a:pt x="166" y="592"/>
                      <a:pt x="166" y="592"/>
                      <a:pt x="166" y="592"/>
                    </a:cubicBezTo>
                    <a:cubicBezTo>
                      <a:pt x="166" y="593"/>
                      <a:pt x="166" y="593"/>
                      <a:pt x="166" y="593"/>
                    </a:cubicBezTo>
                    <a:cubicBezTo>
                      <a:pt x="164" y="593"/>
                      <a:pt x="164" y="593"/>
                      <a:pt x="164" y="593"/>
                    </a:cubicBezTo>
                    <a:cubicBezTo>
                      <a:pt x="162" y="593"/>
                      <a:pt x="162" y="593"/>
                      <a:pt x="162" y="593"/>
                    </a:cubicBezTo>
                    <a:cubicBezTo>
                      <a:pt x="164" y="594"/>
                      <a:pt x="164" y="594"/>
                      <a:pt x="164" y="594"/>
                    </a:cubicBezTo>
                    <a:cubicBezTo>
                      <a:pt x="164" y="596"/>
                      <a:pt x="164" y="596"/>
                      <a:pt x="164" y="596"/>
                    </a:cubicBezTo>
                    <a:cubicBezTo>
                      <a:pt x="164" y="600"/>
                      <a:pt x="164" y="600"/>
                      <a:pt x="164" y="600"/>
                    </a:cubicBezTo>
                    <a:cubicBezTo>
                      <a:pt x="162" y="602"/>
                      <a:pt x="162" y="602"/>
                      <a:pt x="162" y="602"/>
                    </a:cubicBezTo>
                    <a:cubicBezTo>
                      <a:pt x="159" y="602"/>
                      <a:pt x="159" y="602"/>
                      <a:pt x="159" y="602"/>
                    </a:cubicBezTo>
                    <a:cubicBezTo>
                      <a:pt x="157" y="602"/>
                      <a:pt x="157" y="602"/>
                      <a:pt x="157" y="602"/>
                    </a:cubicBezTo>
                    <a:cubicBezTo>
                      <a:pt x="156" y="603"/>
                      <a:pt x="156" y="603"/>
                      <a:pt x="156" y="603"/>
                    </a:cubicBezTo>
                    <a:cubicBezTo>
                      <a:pt x="154" y="605"/>
                      <a:pt x="154" y="605"/>
                      <a:pt x="154" y="605"/>
                    </a:cubicBezTo>
                    <a:cubicBezTo>
                      <a:pt x="149" y="605"/>
                      <a:pt x="149" y="605"/>
                      <a:pt x="149" y="605"/>
                    </a:cubicBezTo>
                    <a:cubicBezTo>
                      <a:pt x="147" y="603"/>
                      <a:pt x="147" y="603"/>
                      <a:pt x="147" y="603"/>
                    </a:cubicBezTo>
                    <a:cubicBezTo>
                      <a:pt x="147" y="600"/>
                      <a:pt x="147" y="600"/>
                      <a:pt x="147" y="600"/>
                    </a:cubicBezTo>
                    <a:cubicBezTo>
                      <a:pt x="146" y="598"/>
                      <a:pt x="146" y="598"/>
                      <a:pt x="146" y="598"/>
                    </a:cubicBezTo>
                    <a:cubicBezTo>
                      <a:pt x="145" y="597"/>
                      <a:pt x="145" y="597"/>
                      <a:pt x="145" y="597"/>
                    </a:cubicBezTo>
                    <a:cubicBezTo>
                      <a:pt x="143" y="597"/>
                      <a:pt x="143" y="597"/>
                      <a:pt x="143" y="597"/>
                    </a:cubicBezTo>
                    <a:cubicBezTo>
                      <a:pt x="143" y="599"/>
                      <a:pt x="143" y="599"/>
                      <a:pt x="143" y="599"/>
                    </a:cubicBezTo>
                    <a:cubicBezTo>
                      <a:pt x="142" y="599"/>
                      <a:pt x="142" y="599"/>
                      <a:pt x="142" y="599"/>
                    </a:cubicBezTo>
                    <a:cubicBezTo>
                      <a:pt x="140" y="595"/>
                      <a:pt x="140" y="595"/>
                      <a:pt x="140" y="595"/>
                    </a:cubicBezTo>
                    <a:cubicBezTo>
                      <a:pt x="141" y="592"/>
                      <a:pt x="141" y="592"/>
                      <a:pt x="141" y="592"/>
                    </a:cubicBezTo>
                    <a:cubicBezTo>
                      <a:pt x="140" y="590"/>
                      <a:pt x="140" y="590"/>
                      <a:pt x="140" y="590"/>
                    </a:cubicBezTo>
                    <a:cubicBezTo>
                      <a:pt x="139" y="589"/>
                      <a:pt x="139" y="589"/>
                      <a:pt x="139" y="589"/>
                    </a:cubicBezTo>
                    <a:cubicBezTo>
                      <a:pt x="139" y="587"/>
                      <a:pt x="139" y="587"/>
                      <a:pt x="139" y="587"/>
                    </a:cubicBezTo>
                    <a:cubicBezTo>
                      <a:pt x="143" y="585"/>
                      <a:pt x="143" y="585"/>
                      <a:pt x="143" y="585"/>
                    </a:cubicBezTo>
                    <a:cubicBezTo>
                      <a:pt x="146" y="585"/>
                      <a:pt x="146" y="585"/>
                      <a:pt x="146" y="585"/>
                    </a:cubicBezTo>
                    <a:cubicBezTo>
                      <a:pt x="147" y="586"/>
                      <a:pt x="147" y="586"/>
                      <a:pt x="147" y="586"/>
                    </a:cubicBezTo>
                    <a:cubicBezTo>
                      <a:pt x="149" y="583"/>
                      <a:pt x="149" y="583"/>
                      <a:pt x="149" y="583"/>
                    </a:cubicBezTo>
                    <a:cubicBezTo>
                      <a:pt x="151" y="582"/>
                      <a:pt x="151" y="582"/>
                      <a:pt x="151" y="582"/>
                    </a:cubicBezTo>
                    <a:cubicBezTo>
                      <a:pt x="156" y="582"/>
                      <a:pt x="156" y="582"/>
                      <a:pt x="156" y="582"/>
                    </a:cubicBezTo>
                    <a:cubicBezTo>
                      <a:pt x="158" y="582"/>
                      <a:pt x="158" y="582"/>
                      <a:pt x="158" y="582"/>
                    </a:cubicBezTo>
                    <a:cubicBezTo>
                      <a:pt x="162" y="578"/>
                      <a:pt x="162" y="578"/>
                      <a:pt x="162" y="578"/>
                    </a:cubicBezTo>
                    <a:cubicBezTo>
                      <a:pt x="165" y="573"/>
                      <a:pt x="165" y="573"/>
                      <a:pt x="165" y="573"/>
                    </a:cubicBezTo>
                    <a:cubicBezTo>
                      <a:pt x="165" y="571"/>
                      <a:pt x="165" y="571"/>
                      <a:pt x="165" y="571"/>
                    </a:cubicBezTo>
                    <a:cubicBezTo>
                      <a:pt x="164" y="571"/>
                      <a:pt x="164" y="571"/>
                      <a:pt x="164" y="571"/>
                    </a:cubicBezTo>
                    <a:cubicBezTo>
                      <a:pt x="162" y="572"/>
                      <a:pt x="162" y="572"/>
                      <a:pt x="162" y="572"/>
                    </a:cubicBezTo>
                    <a:cubicBezTo>
                      <a:pt x="160" y="575"/>
                      <a:pt x="160" y="575"/>
                      <a:pt x="160" y="575"/>
                    </a:cubicBezTo>
                    <a:cubicBezTo>
                      <a:pt x="157" y="579"/>
                      <a:pt x="157" y="579"/>
                      <a:pt x="157" y="579"/>
                    </a:cubicBezTo>
                    <a:cubicBezTo>
                      <a:pt x="153" y="580"/>
                      <a:pt x="153" y="580"/>
                      <a:pt x="153" y="580"/>
                    </a:cubicBezTo>
                    <a:cubicBezTo>
                      <a:pt x="149" y="579"/>
                      <a:pt x="149" y="579"/>
                      <a:pt x="149" y="579"/>
                    </a:cubicBezTo>
                    <a:cubicBezTo>
                      <a:pt x="146" y="577"/>
                      <a:pt x="146" y="577"/>
                      <a:pt x="146" y="577"/>
                    </a:cubicBezTo>
                    <a:cubicBezTo>
                      <a:pt x="146" y="575"/>
                      <a:pt x="146" y="575"/>
                      <a:pt x="146" y="575"/>
                    </a:cubicBezTo>
                    <a:cubicBezTo>
                      <a:pt x="150" y="573"/>
                      <a:pt x="150" y="573"/>
                      <a:pt x="150" y="573"/>
                    </a:cubicBezTo>
                    <a:cubicBezTo>
                      <a:pt x="154" y="569"/>
                      <a:pt x="154" y="569"/>
                      <a:pt x="154" y="569"/>
                    </a:cubicBezTo>
                    <a:cubicBezTo>
                      <a:pt x="156" y="569"/>
                      <a:pt x="156" y="569"/>
                      <a:pt x="156" y="569"/>
                    </a:cubicBezTo>
                    <a:cubicBezTo>
                      <a:pt x="157" y="568"/>
                      <a:pt x="157" y="568"/>
                      <a:pt x="157" y="568"/>
                    </a:cubicBezTo>
                    <a:cubicBezTo>
                      <a:pt x="157" y="565"/>
                      <a:pt x="157" y="565"/>
                      <a:pt x="157" y="565"/>
                    </a:cubicBezTo>
                    <a:cubicBezTo>
                      <a:pt x="158" y="564"/>
                      <a:pt x="158" y="564"/>
                      <a:pt x="158" y="564"/>
                    </a:cubicBezTo>
                    <a:cubicBezTo>
                      <a:pt x="160" y="564"/>
                      <a:pt x="160" y="564"/>
                      <a:pt x="160" y="564"/>
                    </a:cubicBezTo>
                    <a:cubicBezTo>
                      <a:pt x="161" y="563"/>
                      <a:pt x="161" y="563"/>
                      <a:pt x="161" y="563"/>
                    </a:cubicBezTo>
                    <a:cubicBezTo>
                      <a:pt x="160" y="562"/>
                      <a:pt x="160" y="562"/>
                      <a:pt x="160" y="562"/>
                    </a:cubicBezTo>
                    <a:cubicBezTo>
                      <a:pt x="160" y="560"/>
                      <a:pt x="160" y="560"/>
                      <a:pt x="160" y="560"/>
                    </a:cubicBezTo>
                    <a:cubicBezTo>
                      <a:pt x="159" y="559"/>
                      <a:pt x="159" y="559"/>
                      <a:pt x="159" y="559"/>
                    </a:cubicBezTo>
                    <a:cubicBezTo>
                      <a:pt x="158" y="560"/>
                      <a:pt x="158" y="560"/>
                      <a:pt x="158" y="560"/>
                    </a:cubicBezTo>
                    <a:cubicBezTo>
                      <a:pt x="156" y="561"/>
                      <a:pt x="156" y="561"/>
                      <a:pt x="156" y="561"/>
                    </a:cubicBezTo>
                    <a:cubicBezTo>
                      <a:pt x="151" y="561"/>
                      <a:pt x="151" y="561"/>
                      <a:pt x="151" y="561"/>
                    </a:cubicBezTo>
                    <a:cubicBezTo>
                      <a:pt x="150" y="561"/>
                      <a:pt x="150" y="561"/>
                      <a:pt x="150" y="561"/>
                    </a:cubicBezTo>
                    <a:cubicBezTo>
                      <a:pt x="149" y="560"/>
                      <a:pt x="149" y="560"/>
                      <a:pt x="149" y="560"/>
                    </a:cubicBezTo>
                    <a:cubicBezTo>
                      <a:pt x="150" y="558"/>
                      <a:pt x="150" y="558"/>
                      <a:pt x="150" y="558"/>
                    </a:cubicBezTo>
                    <a:cubicBezTo>
                      <a:pt x="154" y="555"/>
                      <a:pt x="154" y="555"/>
                      <a:pt x="154" y="555"/>
                    </a:cubicBezTo>
                    <a:cubicBezTo>
                      <a:pt x="156" y="555"/>
                      <a:pt x="156" y="555"/>
                      <a:pt x="156" y="555"/>
                    </a:cubicBezTo>
                    <a:cubicBezTo>
                      <a:pt x="158" y="557"/>
                      <a:pt x="158" y="557"/>
                      <a:pt x="158" y="557"/>
                    </a:cubicBezTo>
                    <a:cubicBezTo>
                      <a:pt x="160" y="557"/>
                      <a:pt x="160" y="557"/>
                      <a:pt x="160" y="557"/>
                    </a:cubicBezTo>
                    <a:cubicBezTo>
                      <a:pt x="164" y="555"/>
                      <a:pt x="164" y="555"/>
                      <a:pt x="164" y="555"/>
                    </a:cubicBezTo>
                    <a:cubicBezTo>
                      <a:pt x="166" y="550"/>
                      <a:pt x="166" y="550"/>
                      <a:pt x="166" y="550"/>
                    </a:cubicBezTo>
                    <a:cubicBezTo>
                      <a:pt x="165" y="549"/>
                      <a:pt x="165" y="549"/>
                      <a:pt x="165" y="549"/>
                    </a:cubicBezTo>
                    <a:cubicBezTo>
                      <a:pt x="165" y="546"/>
                      <a:pt x="165" y="546"/>
                      <a:pt x="165" y="546"/>
                    </a:cubicBezTo>
                    <a:cubicBezTo>
                      <a:pt x="169" y="542"/>
                      <a:pt x="169" y="542"/>
                      <a:pt x="169" y="542"/>
                    </a:cubicBezTo>
                    <a:cubicBezTo>
                      <a:pt x="168" y="539"/>
                      <a:pt x="168" y="539"/>
                      <a:pt x="168" y="539"/>
                    </a:cubicBezTo>
                    <a:cubicBezTo>
                      <a:pt x="168" y="535"/>
                      <a:pt x="168" y="535"/>
                      <a:pt x="168" y="535"/>
                    </a:cubicBezTo>
                    <a:cubicBezTo>
                      <a:pt x="168" y="533"/>
                      <a:pt x="168" y="533"/>
                      <a:pt x="168" y="533"/>
                    </a:cubicBezTo>
                    <a:cubicBezTo>
                      <a:pt x="165" y="532"/>
                      <a:pt x="165" y="532"/>
                      <a:pt x="165" y="532"/>
                    </a:cubicBezTo>
                    <a:cubicBezTo>
                      <a:pt x="163" y="532"/>
                      <a:pt x="163" y="532"/>
                      <a:pt x="163" y="532"/>
                    </a:cubicBezTo>
                    <a:cubicBezTo>
                      <a:pt x="161" y="530"/>
                      <a:pt x="161" y="530"/>
                      <a:pt x="161" y="530"/>
                    </a:cubicBezTo>
                    <a:cubicBezTo>
                      <a:pt x="159" y="530"/>
                      <a:pt x="159" y="530"/>
                      <a:pt x="159" y="530"/>
                    </a:cubicBezTo>
                    <a:cubicBezTo>
                      <a:pt x="156" y="529"/>
                      <a:pt x="156" y="529"/>
                      <a:pt x="156" y="529"/>
                    </a:cubicBezTo>
                    <a:cubicBezTo>
                      <a:pt x="157" y="528"/>
                      <a:pt x="157" y="528"/>
                      <a:pt x="157" y="528"/>
                    </a:cubicBezTo>
                    <a:cubicBezTo>
                      <a:pt x="158" y="527"/>
                      <a:pt x="158" y="527"/>
                      <a:pt x="158" y="527"/>
                    </a:cubicBezTo>
                    <a:cubicBezTo>
                      <a:pt x="161" y="528"/>
                      <a:pt x="161" y="528"/>
                      <a:pt x="161" y="528"/>
                    </a:cubicBezTo>
                    <a:cubicBezTo>
                      <a:pt x="163" y="527"/>
                      <a:pt x="163" y="527"/>
                      <a:pt x="163" y="527"/>
                    </a:cubicBezTo>
                    <a:cubicBezTo>
                      <a:pt x="165" y="524"/>
                      <a:pt x="165" y="524"/>
                      <a:pt x="165" y="524"/>
                    </a:cubicBezTo>
                    <a:cubicBezTo>
                      <a:pt x="165" y="522"/>
                      <a:pt x="165" y="522"/>
                      <a:pt x="165" y="522"/>
                    </a:cubicBezTo>
                    <a:cubicBezTo>
                      <a:pt x="167" y="519"/>
                      <a:pt x="167" y="519"/>
                      <a:pt x="167" y="519"/>
                    </a:cubicBezTo>
                    <a:cubicBezTo>
                      <a:pt x="167" y="517"/>
                      <a:pt x="167" y="517"/>
                      <a:pt x="167" y="517"/>
                    </a:cubicBezTo>
                    <a:cubicBezTo>
                      <a:pt x="166" y="516"/>
                      <a:pt x="166" y="516"/>
                      <a:pt x="166" y="516"/>
                    </a:cubicBezTo>
                    <a:cubicBezTo>
                      <a:pt x="163" y="516"/>
                      <a:pt x="163" y="516"/>
                      <a:pt x="163" y="516"/>
                    </a:cubicBezTo>
                    <a:cubicBezTo>
                      <a:pt x="162" y="514"/>
                      <a:pt x="162" y="514"/>
                      <a:pt x="162" y="514"/>
                    </a:cubicBezTo>
                    <a:cubicBezTo>
                      <a:pt x="162" y="512"/>
                      <a:pt x="162" y="512"/>
                      <a:pt x="162" y="512"/>
                    </a:cubicBezTo>
                    <a:cubicBezTo>
                      <a:pt x="163" y="510"/>
                      <a:pt x="163" y="510"/>
                      <a:pt x="163" y="510"/>
                    </a:cubicBezTo>
                    <a:cubicBezTo>
                      <a:pt x="164" y="511"/>
                      <a:pt x="164" y="511"/>
                      <a:pt x="164" y="511"/>
                    </a:cubicBezTo>
                    <a:cubicBezTo>
                      <a:pt x="164" y="509"/>
                      <a:pt x="164" y="509"/>
                      <a:pt x="164" y="509"/>
                    </a:cubicBezTo>
                    <a:cubicBezTo>
                      <a:pt x="162" y="506"/>
                      <a:pt x="162" y="506"/>
                      <a:pt x="162" y="506"/>
                    </a:cubicBezTo>
                    <a:cubicBezTo>
                      <a:pt x="161" y="502"/>
                      <a:pt x="161" y="502"/>
                      <a:pt x="161" y="502"/>
                    </a:cubicBezTo>
                    <a:cubicBezTo>
                      <a:pt x="163" y="501"/>
                      <a:pt x="163" y="501"/>
                      <a:pt x="163" y="501"/>
                    </a:cubicBezTo>
                    <a:cubicBezTo>
                      <a:pt x="165" y="504"/>
                      <a:pt x="165" y="504"/>
                      <a:pt x="165" y="504"/>
                    </a:cubicBezTo>
                    <a:cubicBezTo>
                      <a:pt x="165" y="502"/>
                      <a:pt x="165" y="502"/>
                      <a:pt x="165" y="502"/>
                    </a:cubicBezTo>
                    <a:cubicBezTo>
                      <a:pt x="164" y="500"/>
                      <a:pt x="164" y="500"/>
                      <a:pt x="164" y="500"/>
                    </a:cubicBezTo>
                    <a:cubicBezTo>
                      <a:pt x="164" y="498"/>
                      <a:pt x="164" y="498"/>
                      <a:pt x="164" y="498"/>
                    </a:cubicBezTo>
                    <a:cubicBezTo>
                      <a:pt x="165" y="495"/>
                      <a:pt x="165" y="495"/>
                      <a:pt x="165" y="495"/>
                    </a:cubicBezTo>
                    <a:cubicBezTo>
                      <a:pt x="164" y="492"/>
                      <a:pt x="164" y="492"/>
                      <a:pt x="164" y="492"/>
                    </a:cubicBezTo>
                    <a:cubicBezTo>
                      <a:pt x="163" y="489"/>
                      <a:pt x="163" y="489"/>
                      <a:pt x="163" y="489"/>
                    </a:cubicBezTo>
                    <a:cubicBezTo>
                      <a:pt x="163" y="487"/>
                      <a:pt x="163" y="487"/>
                      <a:pt x="163" y="487"/>
                    </a:cubicBezTo>
                    <a:cubicBezTo>
                      <a:pt x="162" y="485"/>
                      <a:pt x="162" y="485"/>
                      <a:pt x="162" y="485"/>
                    </a:cubicBezTo>
                    <a:cubicBezTo>
                      <a:pt x="163" y="483"/>
                      <a:pt x="163" y="483"/>
                      <a:pt x="163" y="483"/>
                    </a:cubicBezTo>
                    <a:cubicBezTo>
                      <a:pt x="165" y="479"/>
                      <a:pt x="165" y="479"/>
                      <a:pt x="165" y="479"/>
                    </a:cubicBezTo>
                    <a:cubicBezTo>
                      <a:pt x="163" y="478"/>
                      <a:pt x="163" y="478"/>
                      <a:pt x="163" y="478"/>
                    </a:cubicBezTo>
                    <a:cubicBezTo>
                      <a:pt x="161" y="478"/>
                      <a:pt x="161" y="478"/>
                      <a:pt x="161" y="478"/>
                    </a:cubicBezTo>
                    <a:cubicBezTo>
                      <a:pt x="158" y="482"/>
                      <a:pt x="158" y="482"/>
                      <a:pt x="158" y="482"/>
                    </a:cubicBezTo>
                    <a:cubicBezTo>
                      <a:pt x="156" y="482"/>
                      <a:pt x="156" y="482"/>
                      <a:pt x="156" y="482"/>
                    </a:cubicBezTo>
                    <a:cubicBezTo>
                      <a:pt x="154" y="483"/>
                      <a:pt x="154" y="483"/>
                      <a:pt x="154" y="483"/>
                    </a:cubicBezTo>
                    <a:cubicBezTo>
                      <a:pt x="153" y="484"/>
                      <a:pt x="153" y="484"/>
                      <a:pt x="153" y="484"/>
                    </a:cubicBezTo>
                    <a:cubicBezTo>
                      <a:pt x="151" y="483"/>
                      <a:pt x="151" y="483"/>
                      <a:pt x="151" y="483"/>
                    </a:cubicBezTo>
                    <a:cubicBezTo>
                      <a:pt x="152" y="482"/>
                      <a:pt x="152" y="482"/>
                      <a:pt x="152" y="482"/>
                    </a:cubicBezTo>
                    <a:cubicBezTo>
                      <a:pt x="155" y="479"/>
                      <a:pt x="155" y="479"/>
                      <a:pt x="155" y="479"/>
                    </a:cubicBezTo>
                    <a:cubicBezTo>
                      <a:pt x="157" y="479"/>
                      <a:pt x="157" y="479"/>
                      <a:pt x="157" y="479"/>
                    </a:cubicBezTo>
                    <a:cubicBezTo>
                      <a:pt x="159" y="477"/>
                      <a:pt x="159" y="477"/>
                      <a:pt x="159" y="477"/>
                    </a:cubicBezTo>
                    <a:cubicBezTo>
                      <a:pt x="160" y="474"/>
                      <a:pt x="160" y="474"/>
                      <a:pt x="160" y="474"/>
                    </a:cubicBezTo>
                    <a:cubicBezTo>
                      <a:pt x="163" y="472"/>
                      <a:pt x="163" y="472"/>
                      <a:pt x="163" y="472"/>
                    </a:cubicBezTo>
                    <a:cubicBezTo>
                      <a:pt x="166" y="470"/>
                      <a:pt x="166" y="470"/>
                      <a:pt x="166" y="470"/>
                    </a:cubicBezTo>
                    <a:cubicBezTo>
                      <a:pt x="167" y="468"/>
                      <a:pt x="167" y="468"/>
                      <a:pt x="167" y="468"/>
                    </a:cubicBezTo>
                    <a:cubicBezTo>
                      <a:pt x="167" y="465"/>
                      <a:pt x="167" y="465"/>
                      <a:pt x="167" y="465"/>
                    </a:cubicBezTo>
                    <a:cubicBezTo>
                      <a:pt x="165" y="463"/>
                      <a:pt x="165" y="463"/>
                      <a:pt x="165" y="463"/>
                    </a:cubicBezTo>
                    <a:cubicBezTo>
                      <a:pt x="163" y="460"/>
                      <a:pt x="163" y="460"/>
                      <a:pt x="163" y="460"/>
                    </a:cubicBezTo>
                    <a:cubicBezTo>
                      <a:pt x="162" y="457"/>
                      <a:pt x="162" y="457"/>
                      <a:pt x="162" y="457"/>
                    </a:cubicBezTo>
                    <a:cubicBezTo>
                      <a:pt x="161" y="457"/>
                      <a:pt x="161" y="457"/>
                      <a:pt x="161" y="457"/>
                    </a:cubicBezTo>
                    <a:cubicBezTo>
                      <a:pt x="160" y="457"/>
                      <a:pt x="160" y="457"/>
                      <a:pt x="160" y="457"/>
                    </a:cubicBezTo>
                    <a:cubicBezTo>
                      <a:pt x="158" y="454"/>
                      <a:pt x="158" y="454"/>
                      <a:pt x="158" y="454"/>
                    </a:cubicBezTo>
                    <a:cubicBezTo>
                      <a:pt x="158" y="452"/>
                      <a:pt x="158" y="452"/>
                      <a:pt x="158" y="452"/>
                    </a:cubicBezTo>
                    <a:cubicBezTo>
                      <a:pt x="159" y="450"/>
                      <a:pt x="159" y="450"/>
                      <a:pt x="159" y="450"/>
                    </a:cubicBezTo>
                    <a:cubicBezTo>
                      <a:pt x="158" y="449"/>
                      <a:pt x="158" y="449"/>
                      <a:pt x="158" y="449"/>
                    </a:cubicBezTo>
                    <a:cubicBezTo>
                      <a:pt x="158" y="445"/>
                      <a:pt x="158" y="445"/>
                      <a:pt x="158" y="445"/>
                    </a:cubicBezTo>
                    <a:cubicBezTo>
                      <a:pt x="157" y="442"/>
                      <a:pt x="157" y="442"/>
                      <a:pt x="157" y="442"/>
                    </a:cubicBezTo>
                    <a:cubicBezTo>
                      <a:pt x="150" y="437"/>
                      <a:pt x="150" y="437"/>
                      <a:pt x="150" y="437"/>
                    </a:cubicBezTo>
                    <a:cubicBezTo>
                      <a:pt x="150" y="436"/>
                      <a:pt x="150" y="436"/>
                      <a:pt x="150" y="436"/>
                    </a:cubicBezTo>
                    <a:cubicBezTo>
                      <a:pt x="148" y="433"/>
                      <a:pt x="148" y="433"/>
                      <a:pt x="148" y="433"/>
                    </a:cubicBezTo>
                    <a:cubicBezTo>
                      <a:pt x="147" y="432"/>
                      <a:pt x="147" y="432"/>
                      <a:pt x="147" y="432"/>
                    </a:cubicBezTo>
                    <a:cubicBezTo>
                      <a:pt x="147" y="431"/>
                      <a:pt x="147" y="431"/>
                      <a:pt x="147" y="431"/>
                    </a:cubicBezTo>
                    <a:cubicBezTo>
                      <a:pt x="148" y="430"/>
                      <a:pt x="148" y="430"/>
                      <a:pt x="148" y="430"/>
                    </a:cubicBezTo>
                    <a:cubicBezTo>
                      <a:pt x="152" y="427"/>
                      <a:pt x="152" y="427"/>
                      <a:pt x="152" y="427"/>
                    </a:cubicBezTo>
                    <a:cubicBezTo>
                      <a:pt x="154" y="426"/>
                      <a:pt x="154" y="426"/>
                      <a:pt x="154" y="426"/>
                    </a:cubicBezTo>
                    <a:cubicBezTo>
                      <a:pt x="155" y="423"/>
                      <a:pt x="155" y="423"/>
                      <a:pt x="155" y="423"/>
                    </a:cubicBezTo>
                    <a:cubicBezTo>
                      <a:pt x="154" y="423"/>
                      <a:pt x="154" y="423"/>
                      <a:pt x="154" y="423"/>
                    </a:cubicBezTo>
                    <a:cubicBezTo>
                      <a:pt x="151" y="423"/>
                      <a:pt x="151" y="423"/>
                      <a:pt x="151" y="423"/>
                    </a:cubicBezTo>
                    <a:cubicBezTo>
                      <a:pt x="151" y="421"/>
                      <a:pt x="151" y="421"/>
                      <a:pt x="151" y="421"/>
                    </a:cubicBezTo>
                    <a:cubicBezTo>
                      <a:pt x="154" y="420"/>
                      <a:pt x="154" y="420"/>
                      <a:pt x="154" y="420"/>
                    </a:cubicBezTo>
                    <a:cubicBezTo>
                      <a:pt x="155" y="416"/>
                      <a:pt x="155" y="416"/>
                      <a:pt x="155" y="416"/>
                    </a:cubicBezTo>
                    <a:cubicBezTo>
                      <a:pt x="157" y="414"/>
                      <a:pt x="157" y="414"/>
                      <a:pt x="157" y="414"/>
                    </a:cubicBezTo>
                    <a:cubicBezTo>
                      <a:pt x="157" y="413"/>
                      <a:pt x="157" y="413"/>
                      <a:pt x="157" y="413"/>
                    </a:cubicBezTo>
                    <a:cubicBezTo>
                      <a:pt x="156" y="412"/>
                      <a:pt x="156" y="412"/>
                      <a:pt x="156" y="412"/>
                    </a:cubicBezTo>
                    <a:cubicBezTo>
                      <a:pt x="158" y="409"/>
                      <a:pt x="158" y="409"/>
                      <a:pt x="158" y="409"/>
                    </a:cubicBezTo>
                    <a:cubicBezTo>
                      <a:pt x="156" y="408"/>
                      <a:pt x="156" y="408"/>
                      <a:pt x="156" y="408"/>
                    </a:cubicBezTo>
                    <a:cubicBezTo>
                      <a:pt x="154" y="407"/>
                      <a:pt x="154" y="407"/>
                      <a:pt x="154" y="407"/>
                    </a:cubicBezTo>
                    <a:cubicBezTo>
                      <a:pt x="151" y="404"/>
                      <a:pt x="151" y="404"/>
                      <a:pt x="151" y="404"/>
                    </a:cubicBezTo>
                    <a:cubicBezTo>
                      <a:pt x="147" y="400"/>
                      <a:pt x="147" y="400"/>
                      <a:pt x="147" y="400"/>
                    </a:cubicBezTo>
                    <a:cubicBezTo>
                      <a:pt x="146" y="398"/>
                      <a:pt x="146" y="398"/>
                      <a:pt x="146" y="398"/>
                    </a:cubicBezTo>
                    <a:cubicBezTo>
                      <a:pt x="144" y="396"/>
                      <a:pt x="144" y="396"/>
                      <a:pt x="144" y="396"/>
                    </a:cubicBezTo>
                    <a:cubicBezTo>
                      <a:pt x="143" y="397"/>
                      <a:pt x="143" y="397"/>
                      <a:pt x="143" y="397"/>
                    </a:cubicBezTo>
                    <a:cubicBezTo>
                      <a:pt x="142" y="399"/>
                      <a:pt x="142" y="399"/>
                      <a:pt x="142" y="399"/>
                    </a:cubicBezTo>
                    <a:cubicBezTo>
                      <a:pt x="141" y="399"/>
                      <a:pt x="141" y="399"/>
                      <a:pt x="141" y="399"/>
                    </a:cubicBezTo>
                    <a:cubicBezTo>
                      <a:pt x="140" y="398"/>
                      <a:pt x="140" y="398"/>
                      <a:pt x="140" y="398"/>
                    </a:cubicBezTo>
                    <a:cubicBezTo>
                      <a:pt x="139" y="395"/>
                      <a:pt x="139" y="395"/>
                      <a:pt x="139" y="395"/>
                    </a:cubicBezTo>
                    <a:cubicBezTo>
                      <a:pt x="137" y="393"/>
                      <a:pt x="137" y="393"/>
                      <a:pt x="137" y="393"/>
                    </a:cubicBezTo>
                    <a:cubicBezTo>
                      <a:pt x="134" y="392"/>
                      <a:pt x="134" y="392"/>
                      <a:pt x="134" y="392"/>
                    </a:cubicBezTo>
                    <a:cubicBezTo>
                      <a:pt x="133" y="389"/>
                      <a:pt x="133" y="389"/>
                      <a:pt x="133" y="389"/>
                    </a:cubicBezTo>
                    <a:cubicBezTo>
                      <a:pt x="131" y="389"/>
                      <a:pt x="131" y="389"/>
                      <a:pt x="131" y="389"/>
                    </a:cubicBezTo>
                    <a:cubicBezTo>
                      <a:pt x="130" y="390"/>
                      <a:pt x="130" y="390"/>
                      <a:pt x="130" y="390"/>
                    </a:cubicBezTo>
                    <a:cubicBezTo>
                      <a:pt x="129" y="390"/>
                      <a:pt x="129" y="390"/>
                      <a:pt x="129" y="390"/>
                    </a:cubicBezTo>
                    <a:cubicBezTo>
                      <a:pt x="128" y="389"/>
                      <a:pt x="128" y="389"/>
                      <a:pt x="128" y="389"/>
                    </a:cubicBezTo>
                    <a:cubicBezTo>
                      <a:pt x="129" y="386"/>
                      <a:pt x="129" y="386"/>
                      <a:pt x="129" y="386"/>
                    </a:cubicBezTo>
                    <a:cubicBezTo>
                      <a:pt x="124" y="382"/>
                      <a:pt x="124" y="382"/>
                      <a:pt x="124" y="382"/>
                    </a:cubicBezTo>
                    <a:cubicBezTo>
                      <a:pt x="121" y="379"/>
                      <a:pt x="121" y="379"/>
                      <a:pt x="121" y="379"/>
                    </a:cubicBezTo>
                    <a:cubicBezTo>
                      <a:pt x="120" y="379"/>
                      <a:pt x="120" y="379"/>
                      <a:pt x="120" y="379"/>
                    </a:cubicBezTo>
                    <a:cubicBezTo>
                      <a:pt x="118" y="381"/>
                      <a:pt x="118" y="381"/>
                      <a:pt x="118" y="381"/>
                    </a:cubicBezTo>
                    <a:cubicBezTo>
                      <a:pt x="115" y="380"/>
                      <a:pt x="115" y="380"/>
                      <a:pt x="115" y="380"/>
                    </a:cubicBezTo>
                    <a:cubicBezTo>
                      <a:pt x="109" y="375"/>
                      <a:pt x="109" y="375"/>
                      <a:pt x="109" y="375"/>
                    </a:cubicBezTo>
                    <a:cubicBezTo>
                      <a:pt x="105" y="374"/>
                      <a:pt x="105" y="374"/>
                      <a:pt x="105" y="374"/>
                    </a:cubicBezTo>
                    <a:cubicBezTo>
                      <a:pt x="102" y="371"/>
                      <a:pt x="102" y="371"/>
                      <a:pt x="102" y="371"/>
                    </a:cubicBezTo>
                    <a:cubicBezTo>
                      <a:pt x="99" y="370"/>
                      <a:pt x="99" y="370"/>
                      <a:pt x="99" y="370"/>
                    </a:cubicBezTo>
                    <a:cubicBezTo>
                      <a:pt x="95" y="371"/>
                      <a:pt x="95" y="371"/>
                      <a:pt x="95" y="371"/>
                    </a:cubicBezTo>
                    <a:cubicBezTo>
                      <a:pt x="93" y="373"/>
                      <a:pt x="93" y="373"/>
                      <a:pt x="93" y="373"/>
                    </a:cubicBezTo>
                    <a:cubicBezTo>
                      <a:pt x="91" y="377"/>
                      <a:pt x="91" y="377"/>
                      <a:pt x="91" y="377"/>
                    </a:cubicBezTo>
                    <a:cubicBezTo>
                      <a:pt x="87" y="379"/>
                      <a:pt x="87" y="379"/>
                      <a:pt x="87" y="379"/>
                    </a:cubicBezTo>
                    <a:cubicBezTo>
                      <a:pt x="86" y="381"/>
                      <a:pt x="86" y="381"/>
                      <a:pt x="86" y="381"/>
                    </a:cubicBezTo>
                    <a:cubicBezTo>
                      <a:pt x="85" y="378"/>
                      <a:pt x="85" y="378"/>
                      <a:pt x="85" y="378"/>
                    </a:cubicBezTo>
                    <a:cubicBezTo>
                      <a:pt x="87" y="375"/>
                      <a:pt x="87" y="375"/>
                      <a:pt x="87" y="375"/>
                    </a:cubicBezTo>
                    <a:cubicBezTo>
                      <a:pt x="87" y="371"/>
                      <a:pt x="87" y="371"/>
                      <a:pt x="87" y="371"/>
                    </a:cubicBezTo>
                    <a:cubicBezTo>
                      <a:pt x="86" y="370"/>
                      <a:pt x="86" y="370"/>
                      <a:pt x="86" y="370"/>
                    </a:cubicBezTo>
                    <a:cubicBezTo>
                      <a:pt x="82" y="370"/>
                      <a:pt x="82" y="370"/>
                      <a:pt x="82" y="370"/>
                    </a:cubicBezTo>
                    <a:cubicBezTo>
                      <a:pt x="80" y="372"/>
                      <a:pt x="80" y="372"/>
                      <a:pt x="80" y="372"/>
                    </a:cubicBezTo>
                    <a:cubicBezTo>
                      <a:pt x="80" y="375"/>
                      <a:pt x="80" y="375"/>
                      <a:pt x="80" y="375"/>
                    </a:cubicBezTo>
                    <a:cubicBezTo>
                      <a:pt x="77" y="376"/>
                      <a:pt x="77" y="376"/>
                      <a:pt x="77" y="376"/>
                    </a:cubicBezTo>
                    <a:cubicBezTo>
                      <a:pt x="75" y="375"/>
                      <a:pt x="75" y="375"/>
                      <a:pt x="75" y="375"/>
                    </a:cubicBezTo>
                    <a:cubicBezTo>
                      <a:pt x="73" y="370"/>
                      <a:pt x="73" y="370"/>
                      <a:pt x="73" y="370"/>
                    </a:cubicBezTo>
                    <a:cubicBezTo>
                      <a:pt x="71" y="370"/>
                      <a:pt x="71" y="370"/>
                      <a:pt x="71" y="370"/>
                    </a:cubicBezTo>
                    <a:cubicBezTo>
                      <a:pt x="70" y="372"/>
                      <a:pt x="70" y="372"/>
                      <a:pt x="70" y="372"/>
                    </a:cubicBezTo>
                    <a:cubicBezTo>
                      <a:pt x="69" y="378"/>
                      <a:pt x="69" y="378"/>
                      <a:pt x="69" y="378"/>
                    </a:cubicBezTo>
                    <a:cubicBezTo>
                      <a:pt x="67" y="379"/>
                      <a:pt x="67" y="379"/>
                      <a:pt x="67" y="379"/>
                    </a:cubicBezTo>
                    <a:cubicBezTo>
                      <a:pt x="65" y="378"/>
                      <a:pt x="65" y="378"/>
                      <a:pt x="65" y="378"/>
                    </a:cubicBezTo>
                    <a:cubicBezTo>
                      <a:pt x="64" y="375"/>
                      <a:pt x="64" y="375"/>
                      <a:pt x="64" y="375"/>
                    </a:cubicBezTo>
                    <a:cubicBezTo>
                      <a:pt x="66" y="371"/>
                      <a:pt x="66" y="371"/>
                      <a:pt x="66" y="371"/>
                    </a:cubicBezTo>
                    <a:cubicBezTo>
                      <a:pt x="69" y="369"/>
                      <a:pt x="69" y="369"/>
                      <a:pt x="69" y="369"/>
                    </a:cubicBezTo>
                    <a:cubicBezTo>
                      <a:pt x="68" y="368"/>
                      <a:pt x="68" y="368"/>
                      <a:pt x="68" y="368"/>
                    </a:cubicBezTo>
                    <a:cubicBezTo>
                      <a:pt x="66" y="368"/>
                      <a:pt x="66" y="368"/>
                      <a:pt x="66" y="368"/>
                    </a:cubicBezTo>
                    <a:cubicBezTo>
                      <a:pt x="65" y="367"/>
                      <a:pt x="65" y="367"/>
                      <a:pt x="65" y="367"/>
                    </a:cubicBezTo>
                    <a:cubicBezTo>
                      <a:pt x="61" y="369"/>
                      <a:pt x="61" y="369"/>
                      <a:pt x="61" y="369"/>
                    </a:cubicBezTo>
                    <a:cubicBezTo>
                      <a:pt x="58" y="369"/>
                      <a:pt x="58" y="369"/>
                      <a:pt x="58" y="369"/>
                    </a:cubicBezTo>
                    <a:cubicBezTo>
                      <a:pt x="57" y="371"/>
                      <a:pt x="57" y="371"/>
                      <a:pt x="57" y="371"/>
                    </a:cubicBezTo>
                    <a:cubicBezTo>
                      <a:pt x="56" y="372"/>
                      <a:pt x="56" y="372"/>
                      <a:pt x="56" y="372"/>
                    </a:cubicBezTo>
                    <a:cubicBezTo>
                      <a:pt x="56" y="370"/>
                      <a:pt x="56" y="370"/>
                      <a:pt x="56" y="370"/>
                    </a:cubicBezTo>
                    <a:cubicBezTo>
                      <a:pt x="56" y="368"/>
                      <a:pt x="56" y="368"/>
                      <a:pt x="56" y="368"/>
                    </a:cubicBezTo>
                    <a:cubicBezTo>
                      <a:pt x="54" y="365"/>
                      <a:pt x="54" y="365"/>
                      <a:pt x="54" y="365"/>
                    </a:cubicBezTo>
                    <a:cubicBezTo>
                      <a:pt x="53" y="362"/>
                      <a:pt x="53" y="362"/>
                      <a:pt x="53" y="362"/>
                    </a:cubicBezTo>
                    <a:cubicBezTo>
                      <a:pt x="52" y="362"/>
                      <a:pt x="52" y="362"/>
                      <a:pt x="52" y="362"/>
                    </a:cubicBezTo>
                    <a:cubicBezTo>
                      <a:pt x="50" y="362"/>
                      <a:pt x="50" y="362"/>
                      <a:pt x="50" y="362"/>
                    </a:cubicBezTo>
                    <a:cubicBezTo>
                      <a:pt x="50" y="365"/>
                      <a:pt x="50" y="365"/>
                      <a:pt x="50" y="365"/>
                    </a:cubicBezTo>
                    <a:cubicBezTo>
                      <a:pt x="49" y="368"/>
                      <a:pt x="49" y="368"/>
                      <a:pt x="49" y="368"/>
                    </a:cubicBezTo>
                    <a:cubicBezTo>
                      <a:pt x="47" y="370"/>
                      <a:pt x="47" y="370"/>
                      <a:pt x="47" y="370"/>
                    </a:cubicBezTo>
                    <a:cubicBezTo>
                      <a:pt x="47" y="372"/>
                      <a:pt x="47" y="372"/>
                      <a:pt x="47" y="372"/>
                    </a:cubicBezTo>
                    <a:cubicBezTo>
                      <a:pt x="48" y="377"/>
                      <a:pt x="48" y="377"/>
                      <a:pt x="48" y="377"/>
                    </a:cubicBezTo>
                    <a:cubicBezTo>
                      <a:pt x="48" y="380"/>
                      <a:pt x="48" y="380"/>
                      <a:pt x="48" y="380"/>
                    </a:cubicBezTo>
                    <a:cubicBezTo>
                      <a:pt x="47" y="381"/>
                      <a:pt x="47" y="381"/>
                      <a:pt x="47" y="381"/>
                    </a:cubicBezTo>
                    <a:cubicBezTo>
                      <a:pt x="44" y="379"/>
                      <a:pt x="44" y="379"/>
                      <a:pt x="44" y="379"/>
                    </a:cubicBezTo>
                    <a:cubicBezTo>
                      <a:pt x="41" y="376"/>
                      <a:pt x="41" y="376"/>
                      <a:pt x="41" y="376"/>
                    </a:cubicBezTo>
                    <a:cubicBezTo>
                      <a:pt x="37" y="374"/>
                      <a:pt x="37" y="374"/>
                      <a:pt x="37" y="374"/>
                    </a:cubicBezTo>
                    <a:cubicBezTo>
                      <a:pt x="33" y="372"/>
                      <a:pt x="33" y="372"/>
                      <a:pt x="33" y="372"/>
                    </a:cubicBezTo>
                    <a:cubicBezTo>
                      <a:pt x="30" y="369"/>
                      <a:pt x="30" y="369"/>
                      <a:pt x="30" y="369"/>
                    </a:cubicBezTo>
                    <a:cubicBezTo>
                      <a:pt x="28" y="367"/>
                      <a:pt x="28" y="367"/>
                      <a:pt x="28" y="367"/>
                    </a:cubicBezTo>
                    <a:cubicBezTo>
                      <a:pt x="28" y="366"/>
                      <a:pt x="28" y="366"/>
                      <a:pt x="28" y="366"/>
                    </a:cubicBezTo>
                    <a:cubicBezTo>
                      <a:pt x="29" y="365"/>
                      <a:pt x="29" y="365"/>
                      <a:pt x="29" y="365"/>
                    </a:cubicBezTo>
                    <a:cubicBezTo>
                      <a:pt x="25" y="364"/>
                      <a:pt x="25" y="364"/>
                      <a:pt x="25" y="364"/>
                    </a:cubicBezTo>
                    <a:cubicBezTo>
                      <a:pt x="23" y="358"/>
                      <a:pt x="23" y="358"/>
                      <a:pt x="23" y="358"/>
                    </a:cubicBezTo>
                    <a:cubicBezTo>
                      <a:pt x="21" y="356"/>
                      <a:pt x="21" y="356"/>
                      <a:pt x="21" y="356"/>
                    </a:cubicBezTo>
                    <a:cubicBezTo>
                      <a:pt x="18" y="353"/>
                      <a:pt x="18" y="353"/>
                      <a:pt x="18" y="353"/>
                    </a:cubicBezTo>
                    <a:cubicBezTo>
                      <a:pt x="18" y="349"/>
                      <a:pt x="18" y="349"/>
                      <a:pt x="18" y="349"/>
                    </a:cubicBezTo>
                    <a:cubicBezTo>
                      <a:pt x="20" y="347"/>
                      <a:pt x="20" y="347"/>
                      <a:pt x="20" y="347"/>
                    </a:cubicBezTo>
                    <a:cubicBezTo>
                      <a:pt x="25" y="346"/>
                      <a:pt x="25" y="346"/>
                      <a:pt x="25" y="346"/>
                    </a:cubicBezTo>
                    <a:cubicBezTo>
                      <a:pt x="27" y="344"/>
                      <a:pt x="27" y="344"/>
                      <a:pt x="27" y="344"/>
                    </a:cubicBezTo>
                    <a:cubicBezTo>
                      <a:pt x="30" y="343"/>
                      <a:pt x="30" y="343"/>
                      <a:pt x="30" y="343"/>
                    </a:cubicBezTo>
                    <a:cubicBezTo>
                      <a:pt x="35" y="343"/>
                      <a:pt x="35" y="343"/>
                      <a:pt x="35" y="343"/>
                    </a:cubicBezTo>
                    <a:cubicBezTo>
                      <a:pt x="36" y="344"/>
                      <a:pt x="36" y="344"/>
                      <a:pt x="36" y="344"/>
                    </a:cubicBezTo>
                    <a:cubicBezTo>
                      <a:pt x="39" y="343"/>
                      <a:pt x="39" y="343"/>
                      <a:pt x="39" y="343"/>
                    </a:cubicBezTo>
                    <a:cubicBezTo>
                      <a:pt x="40" y="340"/>
                      <a:pt x="40" y="340"/>
                      <a:pt x="40" y="340"/>
                    </a:cubicBezTo>
                    <a:cubicBezTo>
                      <a:pt x="40" y="339"/>
                      <a:pt x="40" y="339"/>
                      <a:pt x="40" y="339"/>
                    </a:cubicBezTo>
                    <a:cubicBezTo>
                      <a:pt x="36" y="339"/>
                      <a:pt x="36" y="339"/>
                      <a:pt x="36" y="339"/>
                    </a:cubicBezTo>
                    <a:cubicBezTo>
                      <a:pt x="31" y="337"/>
                      <a:pt x="31" y="337"/>
                      <a:pt x="31" y="337"/>
                    </a:cubicBezTo>
                    <a:cubicBezTo>
                      <a:pt x="29" y="337"/>
                      <a:pt x="29" y="337"/>
                      <a:pt x="29" y="337"/>
                    </a:cubicBezTo>
                    <a:cubicBezTo>
                      <a:pt x="28" y="338"/>
                      <a:pt x="28" y="338"/>
                      <a:pt x="28" y="338"/>
                    </a:cubicBezTo>
                    <a:cubicBezTo>
                      <a:pt x="22" y="333"/>
                      <a:pt x="22" y="333"/>
                      <a:pt x="22" y="333"/>
                    </a:cubicBezTo>
                    <a:cubicBezTo>
                      <a:pt x="22" y="328"/>
                      <a:pt x="22" y="328"/>
                      <a:pt x="22" y="328"/>
                    </a:cubicBezTo>
                    <a:cubicBezTo>
                      <a:pt x="24" y="326"/>
                      <a:pt x="24" y="326"/>
                      <a:pt x="24" y="326"/>
                    </a:cubicBezTo>
                    <a:cubicBezTo>
                      <a:pt x="27" y="325"/>
                      <a:pt x="27" y="325"/>
                      <a:pt x="27" y="325"/>
                    </a:cubicBezTo>
                    <a:cubicBezTo>
                      <a:pt x="28" y="321"/>
                      <a:pt x="28" y="321"/>
                      <a:pt x="28" y="321"/>
                    </a:cubicBezTo>
                    <a:cubicBezTo>
                      <a:pt x="30" y="319"/>
                      <a:pt x="30" y="319"/>
                      <a:pt x="30" y="319"/>
                    </a:cubicBezTo>
                    <a:cubicBezTo>
                      <a:pt x="27" y="319"/>
                      <a:pt x="27" y="319"/>
                      <a:pt x="27" y="319"/>
                    </a:cubicBezTo>
                    <a:cubicBezTo>
                      <a:pt x="25" y="320"/>
                      <a:pt x="25" y="320"/>
                      <a:pt x="25" y="320"/>
                    </a:cubicBezTo>
                    <a:cubicBezTo>
                      <a:pt x="23" y="324"/>
                      <a:pt x="23" y="324"/>
                      <a:pt x="23" y="324"/>
                    </a:cubicBezTo>
                    <a:cubicBezTo>
                      <a:pt x="21" y="324"/>
                      <a:pt x="21" y="324"/>
                      <a:pt x="21" y="324"/>
                    </a:cubicBezTo>
                    <a:cubicBezTo>
                      <a:pt x="19" y="325"/>
                      <a:pt x="19" y="325"/>
                      <a:pt x="19" y="325"/>
                    </a:cubicBezTo>
                    <a:cubicBezTo>
                      <a:pt x="17" y="328"/>
                      <a:pt x="17" y="328"/>
                      <a:pt x="17" y="328"/>
                    </a:cubicBezTo>
                    <a:cubicBezTo>
                      <a:pt x="13" y="326"/>
                      <a:pt x="13" y="326"/>
                      <a:pt x="13" y="326"/>
                    </a:cubicBezTo>
                    <a:cubicBezTo>
                      <a:pt x="12" y="323"/>
                      <a:pt x="12" y="323"/>
                      <a:pt x="12" y="323"/>
                    </a:cubicBezTo>
                    <a:cubicBezTo>
                      <a:pt x="13" y="320"/>
                      <a:pt x="13" y="320"/>
                      <a:pt x="13" y="320"/>
                    </a:cubicBezTo>
                    <a:cubicBezTo>
                      <a:pt x="15" y="319"/>
                      <a:pt x="15" y="319"/>
                      <a:pt x="15" y="319"/>
                    </a:cubicBezTo>
                    <a:cubicBezTo>
                      <a:pt x="14" y="318"/>
                      <a:pt x="14" y="318"/>
                      <a:pt x="14" y="318"/>
                    </a:cubicBezTo>
                    <a:cubicBezTo>
                      <a:pt x="12" y="318"/>
                      <a:pt x="12" y="318"/>
                      <a:pt x="12" y="318"/>
                    </a:cubicBezTo>
                    <a:cubicBezTo>
                      <a:pt x="11" y="318"/>
                      <a:pt x="11" y="318"/>
                      <a:pt x="11" y="318"/>
                    </a:cubicBezTo>
                    <a:cubicBezTo>
                      <a:pt x="11" y="316"/>
                      <a:pt x="11" y="316"/>
                      <a:pt x="11" y="316"/>
                    </a:cubicBezTo>
                    <a:cubicBezTo>
                      <a:pt x="11" y="313"/>
                      <a:pt x="11" y="313"/>
                      <a:pt x="11" y="313"/>
                    </a:cubicBezTo>
                    <a:cubicBezTo>
                      <a:pt x="12" y="311"/>
                      <a:pt x="12" y="311"/>
                      <a:pt x="12" y="311"/>
                    </a:cubicBezTo>
                    <a:cubicBezTo>
                      <a:pt x="14" y="311"/>
                      <a:pt x="14" y="311"/>
                      <a:pt x="14" y="311"/>
                    </a:cubicBezTo>
                    <a:cubicBezTo>
                      <a:pt x="15" y="309"/>
                      <a:pt x="15" y="309"/>
                      <a:pt x="15" y="309"/>
                    </a:cubicBezTo>
                    <a:cubicBezTo>
                      <a:pt x="18" y="309"/>
                      <a:pt x="18" y="309"/>
                      <a:pt x="18" y="309"/>
                    </a:cubicBezTo>
                    <a:cubicBezTo>
                      <a:pt x="20" y="311"/>
                      <a:pt x="20" y="311"/>
                      <a:pt x="20" y="311"/>
                    </a:cubicBezTo>
                    <a:cubicBezTo>
                      <a:pt x="19" y="307"/>
                      <a:pt x="19" y="307"/>
                      <a:pt x="19" y="307"/>
                    </a:cubicBezTo>
                    <a:cubicBezTo>
                      <a:pt x="26" y="305"/>
                      <a:pt x="26" y="305"/>
                      <a:pt x="26" y="305"/>
                    </a:cubicBezTo>
                    <a:cubicBezTo>
                      <a:pt x="32" y="306"/>
                      <a:pt x="32" y="306"/>
                      <a:pt x="32" y="306"/>
                    </a:cubicBezTo>
                    <a:cubicBezTo>
                      <a:pt x="37" y="309"/>
                      <a:pt x="37" y="309"/>
                      <a:pt x="37" y="309"/>
                    </a:cubicBezTo>
                    <a:cubicBezTo>
                      <a:pt x="43" y="309"/>
                      <a:pt x="43" y="309"/>
                      <a:pt x="43" y="309"/>
                    </a:cubicBezTo>
                    <a:cubicBezTo>
                      <a:pt x="50" y="312"/>
                      <a:pt x="50" y="312"/>
                      <a:pt x="50" y="312"/>
                    </a:cubicBezTo>
                    <a:cubicBezTo>
                      <a:pt x="55" y="313"/>
                      <a:pt x="55" y="313"/>
                      <a:pt x="55" y="313"/>
                    </a:cubicBezTo>
                    <a:cubicBezTo>
                      <a:pt x="58" y="314"/>
                      <a:pt x="58" y="314"/>
                      <a:pt x="58" y="314"/>
                    </a:cubicBezTo>
                    <a:cubicBezTo>
                      <a:pt x="65" y="318"/>
                      <a:pt x="65" y="318"/>
                      <a:pt x="65" y="318"/>
                    </a:cubicBezTo>
                    <a:cubicBezTo>
                      <a:pt x="68" y="318"/>
                      <a:pt x="68" y="318"/>
                      <a:pt x="68" y="318"/>
                    </a:cubicBezTo>
                    <a:cubicBezTo>
                      <a:pt x="70" y="318"/>
                      <a:pt x="70" y="318"/>
                      <a:pt x="70" y="318"/>
                    </a:cubicBezTo>
                    <a:cubicBezTo>
                      <a:pt x="74" y="317"/>
                      <a:pt x="74" y="317"/>
                      <a:pt x="74" y="317"/>
                    </a:cubicBezTo>
                    <a:cubicBezTo>
                      <a:pt x="71" y="316"/>
                      <a:pt x="71" y="316"/>
                      <a:pt x="71" y="316"/>
                    </a:cubicBezTo>
                    <a:cubicBezTo>
                      <a:pt x="68" y="316"/>
                      <a:pt x="68" y="316"/>
                      <a:pt x="68" y="316"/>
                    </a:cubicBezTo>
                    <a:cubicBezTo>
                      <a:pt x="62" y="313"/>
                      <a:pt x="62" y="313"/>
                      <a:pt x="62" y="313"/>
                    </a:cubicBezTo>
                    <a:cubicBezTo>
                      <a:pt x="57" y="310"/>
                      <a:pt x="57" y="310"/>
                      <a:pt x="57" y="310"/>
                    </a:cubicBezTo>
                    <a:cubicBezTo>
                      <a:pt x="53" y="309"/>
                      <a:pt x="53" y="309"/>
                      <a:pt x="53" y="309"/>
                    </a:cubicBezTo>
                    <a:cubicBezTo>
                      <a:pt x="48" y="308"/>
                      <a:pt x="48" y="308"/>
                      <a:pt x="48" y="308"/>
                    </a:cubicBezTo>
                    <a:cubicBezTo>
                      <a:pt x="44" y="305"/>
                      <a:pt x="44" y="305"/>
                      <a:pt x="44" y="305"/>
                    </a:cubicBezTo>
                    <a:cubicBezTo>
                      <a:pt x="44" y="304"/>
                      <a:pt x="44" y="304"/>
                      <a:pt x="44" y="304"/>
                    </a:cubicBezTo>
                    <a:cubicBezTo>
                      <a:pt x="51" y="302"/>
                      <a:pt x="51" y="302"/>
                      <a:pt x="51" y="302"/>
                    </a:cubicBezTo>
                    <a:cubicBezTo>
                      <a:pt x="56" y="303"/>
                      <a:pt x="56" y="303"/>
                      <a:pt x="56" y="303"/>
                    </a:cubicBezTo>
                    <a:cubicBezTo>
                      <a:pt x="64" y="303"/>
                      <a:pt x="64" y="303"/>
                      <a:pt x="64" y="303"/>
                    </a:cubicBezTo>
                    <a:cubicBezTo>
                      <a:pt x="70" y="305"/>
                      <a:pt x="70" y="305"/>
                      <a:pt x="70" y="305"/>
                    </a:cubicBezTo>
                    <a:cubicBezTo>
                      <a:pt x="73" y="308"/>
                      <a:pt x="73" y="308"/>
                      <a:pt x="73" y="308"/>
                    </a:cubicBezTo>
                    <a:cubicBezTo>
                      <a:pt x="75" y="309"/>
                      <a:pt x="75" y="309"/>
                      <a:pt x="75" y="309"/>
                    </a:cubicBezTo>
                    <a:cubicBezTo>
                      <a:pt x="76" y="310"/>
                      <a:pt x="76" y="310"/>
                      <a:pt x="76" y="310"/>
                    </a:cubicBezTo>
                    <a:cubicBezTo>
                      <a:pt x="79" y="312"/>
                      <a:pt x="79" y="312"/>
                      <a:pt x="79" y="312"/>
                    </a:cubicBezTo>
                    <a:cubicBezTo>
                      <a:pt x="79" y="310"/>
                      <a:pt x="79" y="310"/>
                      <a:pt x="79" y="310"/>
                    </a:cubicBezTo>
                    <a:cubicBezTo>
                      <a:pt x="78" y="308"/>
                      <a:pt x="78" y="308"/>
                      <a:pt x="78" y="308"/>
                    </a:cubicBezTo>
                    <a:cubicBezTo>
                      <a:pt x="78" y="306"/>
                      <a:pt x="78" y="306"/>
                      <a:pt x="78" y="306"/>
                    </a:cubicBezTo>
                    <a:cubicBezTo>
                      <a:pt x="82" y="303"/>
                      <a:pt x="82" y="303"/>
                      <a:pt x="82" y="303"/>
                    </a:cubicBezTo>
                    <a:cubicBezTo>
                      <a:pt x="84" y="303"/>
                      <a:pt x="84" y="303"/>
                      <a:pt x="84" y="303"/>
                    </a:cubicBezTo>
                    <a:cubicBezTo>
                      <a:pt x="83" y="298"/>
                      <a:pt x="83" y="298"/>
                      <a:pt x="83" y="298"/>
                    </a:cubicBezTo>
                    <a:cubicBezTo>
                      <a:pt x="81" y="297"/>
                      <a:pt x="81" y="297"/>
                      <a:pt x="81" y="297"/>
                    </a:cubicBezTo>
                    <a:cubicBezTo>
                      <a:pt x="79" y="297"/>
                      <a:pt x="79" y="297"/>
                      <a:pt x="79" y="297"/>
                    </a:cubicBezTo>
                    <a:cubicBezTo>
                      <a:pt x="78" y="295"/>
                      <a:pt x="78" y="295"/>
                      <a:pt x="78" y="295"/>
                    </a:cubicBezTo>
                    <a:cubicBezTo>
                      <a:pt x="78" y="293"/>
                      <a:pt x="78" y="293"/>
                      <a:pt x="78" y="293"/>
                    </a:cubicBezTo>
                    <a:cubicBezTo>
                      <a:pt x="75" y="292"/>
                      <a:pt x="75" y="292"/>
                      <a:pt x="75" y="292"/>
                    </a:cubicBezTo>
                    <a:cubicBezTo>
                      <a:pt x="73" y="293"/>
                      <a:pt x="73" y="293"/>
                      <a:pt x="73" y="293"/>
                    </a:cubicBezTo>
                    <a:cubicBezTo>
                      <a:pt x="70" y="295"/>
                      <a:pt x="70" y="295"/>
                      <a:pt x="70" y="295"/>
                    </a:cubicBezTo>
                    <a:cubicBezTo>
                      <a:pt x="66" y="296"/>
                      <a:pt x="66" y="296"/>
                      <a:pt x="66" y="296"/>
                    </a:cubicBezTo>
                    <a:cubicBezTo>
                      <a:pt x="60" y="295"/>
                      <a:pt x="60" y="295"/>
                      <a:pt x="60" y="295"/>
                    </a:cubicBezTo>
                    <a:cubicBezTo>
                      <a:pt x="57" y="293"/>
                      <a:pt x="57" y="293"/>
                      <a:pt x="57" y="293"/>
                    </a:cubicBezTo>
                    <a:cubicBezTo>
                      <a:pt x="57" y="291"/>
                      <a:pt x="57" y="291"/>
                      <a:pt x="57" y="291"/>
                    </a:cubicBezTo>
                    <a:cubicBezTo>
                      <a:pt x="56" y="290"/>
                      <a:pt x="56" y="290"/>
                      <a:pt x="56" y="290"/>
                    </a:cubicBezTo>
                    <a:cubicBezTo>
                      <a:pt x="53" y="287"/>
                      <a:pt x="53" y="287"/>
                      <a:pt x="53" y="287"/>
                    </a:cubicBezTo>
                    <a:cubicBezTo>
                      <a:pt x="52" y="287"/>
                      <a:pt x="52" y="287"/>
                      <a:pt x="52" y="287"/>
                    </a:cubicBezTo>
                    <a:cubicBezTo>
                      <a:pt x="51" y="288"/>
                      <a:pt x="51" y="288"/>
                      <a:pt x="51" y="288"/>
                    </a:cubicBezTo>
                    <a:cubicBezTo>
                      <a:pt x="51" y="289"/>
                      <a:pt x="51" y="289"/>
                      <a:pt x="51" y="289"/>
                    </a:cubicBezTo>
                    <a:cubicBezTo>
                      <a:pt x="53" y="291"/>
                      <a:pt x="53" y="291"/>
                      <a:pt x="53" y="291"/>
                    </a:cubicBezTo>
                    <a:cubicBezTo>
                      <a:pt x="52" y="295"/>
                      <a:pt x="52" y="295"/>
                      <a:pt x="52" y="295"/>
                    </a:cubicBezTo>
                    <a:cubicBezTo>
                      <a:pt x="51" y="296"/>
                      <a:pt x="51" y="296"/>
                      <a:pt x="51" y="296"/>
                    </a:cubicBezTo>
                    <a:cubicBezTo>
                      <a:pt x="45" y="297"/>
                      <a:pt x="45" y="297"/>
                      <a:pt x="45" y="297"/>
                    </a:cubicBezTo>
                    <a:cubicBezTo>
                      <a:pt x="41" y="295"/>
                      <a:pt x="41" y="295"/>
                      <a:pt x="41" y="295"/>
                    </a:cubicBezTo>
                    <a:cubicBezTo>
                      <a:pt x="35" y="289"/>
                      <a:pt x="35" y="289"/>
                      <a:pt x="35" y="289"/>
                    </a:cubicBezTo>
                    <a:cubicBezTo>
                      <a:pt x="35" y="288"/>
                      <a:pt x="35" y="288"/>
                      <a:pt x="35" y="288"/>
                    </a:cubicBezTo>
                    <a:cubicBezTo>
                      <a:pt x="39" y="287"/>
                      <a:pt x="39" y="287"/>
                      <a:pt x="39" y="287"/>
                    </a:cubicBezTo>
                    <a:cubicBezTo>
                      <a:pt x="46" y="284"/>
                      <a:pt x="46" y="284"/>
                      <a:pt x="46" y="284"/>
                    </a:cubicBezTo>
                    <a:cubicBezTo>
                      <a:pt x="45" y="283"/>
                      <a:pt x="45" y="283"/>
                      <a:pt x="45" y="283"/>
                    </a:cubicBezTo>
                    <a:cubicBezTo>
                      <a:pt x="44" y="282"/>
                      <a:pt x="44" y="282"/>
                      <a:pt x="44" y="282"/>
                    </a:cubicBezTo>
                    <a:cubicBezTo>
                      <a:pt x="39" y="284"/>
                      <a:pt x="39" y="284"/>
                      <a:pt x="39" y="284"/>
                    </a:cubicBezTo>
                    <a:cubicBezTo>
                      <a:pt x="36" y="285"/>
                      <a:pt x="36" y="285"/>
                      <a:pt x="36" y="285"/>
                    </a:cubicBezTo>
                    <a:cubicBezTo>
                      <a:pt x="33" y="284"/>
                      <a:pt x="33" y="284"/>
                      <a:pt x="33" y="284"/>
                    </a:cubicBezTo>
                    <a:cubicBezTo>
                      <a:pt x="32" y="282"/>
                      <a:pt x="32" y="282"/>
                      <a:pt x="32" y="282"/>
                    </a:cubicBezTo>
                    <a:cubicBezTo>
                      <a:pt x="34" y="280"/>
                      <a:pt x="34" y="280"/>
                      <a:pt x="34" y="280"/>
                    </a:cubicBezTo>
                    <a:cubicBezTo>
                      <a:pt x="37" y="279"/>
                      <a:pt x="37" y="279"/>
                      <a:pt x="37" y="279"/>
                    </a:cubicBezTo>
                    <a:cubicBezTo>
                      <a:pt x="41" y="277"/>
                      <a:pt x="41" y="277"/>
                      <a:pt x="41" y="277"/>
                    </a:cubicBezTo>
                    <a:cubicBezTo>
                      <a:pt x="43" y="273"/>
                      <a:pt x="43" y="273"/>
                      <a:pt x="43" y="273"/>
                    </a:cubicBezTo>
                    <a:cubicBezTo>
                      <a:pt x="42" y="271"/>
                      <a:pt x="42" y="271"/>
                      <a:pt x="42" y="271"/>
                    </a:cubicBezTo>
                    <a:cubicBezTo>
                      <a:pt x="40" y="271"/>
                      <a:pt x="40" y="271"/>
                      <a:pt x="40" y="271"/>
                    </a:cubicBezTo>
                    <a:cubicBezTo>
                      <a:pt x="39" y="271"/>
                      <a:pt x="39" y="271"/>
                      <a:pt x="39" y="271"/>
                    </a:cubicBezTo>
                    <a:cubicBezTo>
                      <a:pt x="38" y="273"/>
                      <a:pt x="38" y="273"/>
                      <a:pt x="38" y="273"/>
                    </a:cubicBezTo>
                    <a:cubicBezTo>
                      <a:pt x="34" y="276"/>
                      <a:pt x="34" y="276"/>
                      <a:pt x="34" y="276"/>
                    </a:cubicBezTo>
                    <a:cubicBezTo>
                      <a:pt x="30" y="277"/>
                      <a:pt x="30" y="277"/>
                      <a:pt x="30" y="277"/>
                    </a:cubicBezTo>
                    <a:cubicBezTo>
                      <a:pt x="26" y="276"/>
                      <a:pt x="26" y="276"/>
                      <a:pt x="26" y="276"/>
                    </a:cubicBezTo>
                    <a:cubicBezTo>
                      <a:pt x="25" y="274"/>
                      <a:pt x="25" y="274"/>
                      <a:pt x="25" y="274"/>
                    </a:cubicBezTo>
                    <a:cubicBezTo>
                      <a:pt x="26" y="272"/>
                      <a:pt x="26" y="272"/>
                      <a:pt x="26" y="272"/>
                    </a:cubicBezTo>
                    <a:cubicBezTo>
                      <a:pt x="28" y="270"/>
                      <a:pt x="28" y="270"/>
                      <a:pt x="28" y="270"/>
                    </a:cubicBezTo>
                    <a:cubicBezTo>
                      <a:pt x="30" y="268"/>
                      <a:pt x="30" y="268"/>
                      <a:pt x="30" y="268"/>
                    </a:cubicBezTo>
                    <a:cubicBezTo>
                      <a:pt x="29" y="267"/>
                      <a:pt x="29" y="267"/>
                      <a:pt x="29" y="267"/>
                    </a:cubicBezTo>
                    <a:cubicBezTo>
                      <a:pt x="27" y="266"/>
                      <a:pt x="27" y="266"/>
                      <a:pt x="27" y="266"/>
                    </a:cubicBezTo>
                    <a:cubicBezTo>
                      <a:pt x="24" y="266"/>
                      <a:pt x="24" y="266"/>
                      <a:pt x="24" y="266"/>
                    </a:cubicBezTo>
                    <a:cubicBezTo>
                      <a:pt x="22" y="264"/>
                      <a:pt x="22" y="264"/>
                      <a:pt x="22" y="264"/>
                    </a:cubicBezTo>
                    <a:cubicBezTo>
                      <a:pt x="19" y="257"/>
                      <a:pt x="19" y="257"/>
                      <a:pt x="19" y="257"/>
                    </a:cubicBezTo>
                    <a:cubicBezTo>
                      <a:pt x="16" y="255"/>
                      <a:pt x="16" y="255"/>
                      <a:pt x="16" y="255"/>
                    </a:cubicBezTo>
                    <a:cubicBezTo>
                      <a:pt x="13" y="253"/>
                      <a:pt x="13" y="253"/>
                      <a:pt x="13" y="253"/>
                    </a:cubicBezTo>
                    <a:cubicBezTo>
                      <a:pt x="12" y="251"/>
                      <a:pt x="12" y="251"/>
                      <a:pt x="12" y="251"/>
                    </a:cubicBezTo>
                    <a:cubicBezTo>
                      <a:pt x="14" y="251"/>
                      <a:pt x="14" y="251"/>
                      <a:pt x="14" y="251"/>
                    </a:cubicBezTo>
                    <a:cubicBezTo>
                      <a:pt x="17" y="249"/>
                      <a:pt x="17" y="249"/>
                      <a:pt x="17" y="249"/>
                    </a:cubicBezTo>
                    <a:cubicBezTo>
                      <a:pt x="19" y="246"/>
                      <a:pt x="19" y="246"/>
                      <a:pt x="19" y="246"/>
                    </a:cubicBezTo>
                    <a:cubicBezTo>
                      <a:pt x="20" y="245"/>
                      <a:pt x="20" y="245"/>
                      <a:pt x="20" y="245"/>
                    </a:cubicBezTo>
                    <a:cubicBezTo>
                      <a:pt x="21" y="246"/>
                      <a:pt x="21" y="246"/>
                      <a:pt x="21" y="246"/>
                    </a:cubicBezTo>
                    <a:cubicBezTo>
                      <a:pt x="24" y="246"/>
                      <a:pt x="24" y="246"/>
                      <a:pt x="24" y="246"/>
                    </a:cubicBezTo>
                    <a:cubicBezTo>
                      <a:pt x="23" y="244"/>
                      <a:pt x="23" y="244"/>
                      <a:pt x="23" y="244"/>
                    </a:cubicBezTo>
                    <a:cubicBezTo>
                      <a:pt x="21" y="243"/>
                      <a:pt x="21" y="243"/>
                      <a:pt x="21" y="243"/>
                    </a:cubicBezTo>
                    <a:cubicBezTo>
                      <a:pt x="18" y="243"/>
                      <a:pt x="18" y="243"/>
                      <a:pt x="18" y="243"/>
                    </a:cubicBezTo>
                    <a:cubicBezTo>
                      <a:pt x="17" y="241"/>
                      <a:pt x="17" y="241"/>
                      <a:pt x="17" y="241"/>
                    </a:cubicBezTo>
                    <a:cubicBezTo>
                      <a:pt x="18" y="240"/>
                      <a:pt x="18" y="240"/>
                      <a:pt x="18" y="240"/>
                    </a:cubicBezTo>
                    <a:cubicBezTo>
                      <a:pt x="21" y="240"/>
                      <a:pt x="21" y="240"/>
                      <a:pt x="21" y="240"/>
                    </a:cubicBezTo>
                    <a:cubicBezTo>
                      <a:pt x="27" y="237"/>
                      <a:pt x="27" y="237"/>
                      <a:pt x="27" y="237"/>
                    </a:cubicBezTo>
                    <a:cubicBezTo>
                      <a:pt x="27" y="235"/>
                      <a:pt x="27" y="235"/>
                      <a:pt x="27" y="235"/>
                    </a:cubicBezTo>
                    <a:cubicBezTo>
                      <a:pt x="27" y="233"/>
                      <a:pt x="27" y="233"/>
                      <a:pt x="27" y="233"/>
                    </a:cubicBezTo>
                    <a:cubicBezTo>
                      <a:pt x="30" y="233"/>
                      <a:pt x="30" y="233"/>
                      <a:pt x="30" y="233"/>
                    </a:cubicBezTo>
                    <a:cubicBezTo>
                      <a:pt x="32" y="231"/>
                      <a:pt x="32" y="231"/>
                      <a:pt x="32" y="231"/>
                    </a:cubicBezTo>
                    <a:cubicBezTo>
                      <a:pt x="35" y="231"/>
                      <a:pt x="35" y="231"/>
                      <a:pt x="35" y="231"/>
                    </a:cubicBezTo>
                    <a:cubicBezTo>
                      <a:pt x="36" y="232"/>
                      <a:pt x="36" y="232"/>
                      <a:pt x="36" y="232"/>
                    </a:cubicBezTo>
                    <a:cubicBezTo>
                      <a:pt x="39" y="231"/>
                      <a:pt x="39" y="231"/>
                      <a:pt x="39" y="231"/>
                    </a:cubicBezTo>
                    <a:cubicBezTo>
                      <a:pt x="42" y="230"/>
                      <a:pt x="42" y="230"/>
                      <a:pt x="42" y="230"/>
                    </a:cubicBezTo>
                    <a:cubicBezTo>
                      <a:pt x="44" y="230"/>
                      <a:pt x="44" y="230"/>
                      <a:pt x="44" y="230"/>
                    </a:cubicBezTo>
                    <a:cubicBezTo>
                      <a:pt x="47" y="231"/>
                      <a:pt x="47" y="231"/>
                      <a:pt x="47" y="231"/>
                    </a:cubicBezTo>
                    <a:cubicBezTo>
                      <a:pt x="47" y="232"/>
                      <a:pt x="47" y="232"/>
                      <a:pt x="47" y="232"/>
                    </a:cubicBezTo>
                    <a:cubicBezTo>
                      <a:pt x="48" y="232"/>
                      <a:pt x="48" y="232"/>
                      <a:pt x="48" y="232"/>
                    </a:cubicBezTo>
                    <a:cubicBezTo>
                      <a:pt x="50" y="232"/>
                      <a:pt x="50" y="232"/>
                      <a:pt x="50" y="232"/>
                    </a:cubicBezTo>
                    <a:cubicBezTo>
                      <a:pt x="51" y="230"/>
                      <a:pt x="51" y="230"/>
                      <a:pt x="51" y="230"/>
                    </a:cubicBezTo>
                    <a:cubicBezTo>
                      <a:pt x="54" y="228"/>
                      <a:pt x="54" y="228"/>
                      <a:pt x="54" y="228"/>
                    </a:cubicBezTo>
                    <a:cubicBezTo>
                      <a:pt x="57" y="229"/>
                      <a:pt x="57" y="229"/>
                      <a:pt x="57" y="229"/>
                    </a:cubicBezTo>
                    <a:cubicBezTo>
                      <a:pt x="57" y="229"/>
                      <a:pt x="57" y="229"/>
                      <a:pt x="57" y="229"/>
                    </a:cubicBezTo>
                    <a:cubicBezTo>
                      <a:pt x="60" y="227"/>
                      <a:pt x="60" y="227"/>
                      <a:pt x="60" y="227"/>
                    </a:cubicBezTo>
                    <a:cubicBezTo>
                      <a:pt x="61" y="227"/>
                      <a:pt x="61" y="227"/>
                      <a:pt x="61" y="227"/>
                    </a:cubicBezTo>
                    <a:cubicBezTo>
                      <a:pt x="64" y="227"/>
                      <a:pt x="64" y="227"/>
                      <a:pt x="64" y="227"/>
                    </a:cubicBezTo>
                    <a:cubicBezTo>
                      <a:pt x="78" y="224"/>
                      <a:pt x="78" y="224"/>
                      <a:pt x="78" y="224"/>
                    </a:cubicBezTo>
                    <a:cubicBezTo>
                      <a:pt x="81" y="224"/>
                      <a:pt x="81" y="224"/>
                      <a:pt x="81" y="224"/>
                    </a:cubicBezTo>
                    <a:cubicBezTo>
                      <a:pt x="82" y="225"/>
                      <a:pt x="82" y="225"/>
                      <a:pt x="82" y="225"/>
                    </a:cubicBezTo>
                    <a:cubicBezTo>
                      <a:pt x="83" y="223"/>
                      <a:pt x="83" y="223"/>
                      <a:pt x="83" y="223"/>
                    </a:cubicBezTo>
                    <a:cubicBezTo>
                      <a:pt x="82" y="222"/>
                      <a:pt x="82" y="222"/>
                      <a:pt x="82" y="222"/>
                    </a:cubicBezTo>
                    <a:cubicBezTo>
                      <a:pt x="83" y="219"/>
                      <a:pt x="83" y="219"/>
                      <a:pt x="83" y="219"/>
                    </a:cubicBezTo>
                    <a:cubicBezTo>
                      <a:pt x="88" y="217"/>
                      <a:pt x="88" y="217"/>
                      <a:pt x="88" y="217"/>
                    </a:cubicBezTo>
                    <a:cubicBezTo>
                      <a:pt x="94" y="217"/>
                      <a:pt x="94" y="217"/>
                      <a:pt x="94" y="217"/>
                    </a:cubicBezTo>
                    <a:cubicBezTo>
                      <a:pt x="98" y="217"/>
                      <a:pt x="98" y="217"/>
                      <a:pt x="98" y="217"/>
                    </a:cubicBezTo>
                    <a:cubicBezTo>
                      <a:pt x="100" y="218"/>
                      <a:pt x="100" y="218"/>
                      <a:pt x="100" y="218"/>
                    </a:cubicBezTo>
                    <a:cubicBezTo>
                      <a:pt x="103" y="218"/>
                      <a:pt x="103" y="218"/>
                      <a:pt x="103" y="218"/>
                    </a:cubicBezTo>
                    <a:cubicBezTo>
                      <a:pt x="107" y="216"/>
                      <a:pt x="107" y="216"/>
                      <a:pt x="107" y="216"/>
                    </a:cubicBezTo>
                    <a:cubicBezTo>
                      <a:pt x="111" y="216"/>
                      <a:pt x="111" y="216"/>
                      <a:pt x="111" y="216"/>
                    </a:cubicBezTo>
                    <a:cubicBezTo>
                      <a:pt x="115" y="217"/>
                      <a:pt x="115" y="217"/>
                      <a:pt x="115" y="217"/>
                    </a:cubicBezTo>
                    <a:cubicBezTo>
                      <a:pt x="117" y="218"/>
                      <a:pt x="117" y="218"/>
                      <a:pt x="117" y="218"/>
                    </a:cubicBezTo>
                    <a:cubicBezTo>
                      <a:pt x="120" y="219"/>
                      <a:pt x="120" y="219"/>
                      <a:pt x="120" y="219"/>
                    </a:cubicBezTo>
                    <a:cubicBezTo>
                      <a:pt x="122" y="220"/>
                      <a:pt x="122" y="220"/>
                      <a:pt x="122" y="220"/>
                    </a:cubicBezTo>
                    <a:cubicBezTo>
                      <a:pt x="126" y="223"/>
                      <a:pt x="126" y="223"/>
                      <a:pt x="126" y="223"/>
                    </a:cubicBezTo>
                    <a:cubicBezTo>
                      <a:pt x="129" y="223"/>
                      <a:pt x="129" y="223"/>
                      <a:pt x="129" y="223"/>
                    </a:cubicBezTo>
                    <a:cubicBezTo>
                      <a:pt x="131" y="222"/>
                      <a:pt x="131" y="222"/>
                      <a:pt x="131" y="222"/>
                    </a:cubicBezTo>
                    <a:cubicBezTo>
                      <a:pt x="131" y="221"/>
                      <a:pt x="131" y="221"/>
                      <a:pt x="131" y="221"/>
                    </a:cubicBezTo>
                    <a:cubicBezTo>
                      <a:pt x="134" y="217"/>
                      <a:pt x="134" y="217"/>
                      <a:pt x="134" y="217"/>
                    </a:cubicBezTo>
                    <a:cubicBezTo>
                      <a:pt x="137" y="214"/>
                      <a:pt x="137" y="214"/>
                      <a:pt x="137" y="214"/>
                    </a:cubicBezTo>
                    <a:cubicBezTo>
                      <a:pt x="140" y="209"/>
                      <a:pt x="140" y="209"/>
                      <a:pt x="140" y="209"/>
                    </a:cubicBezTo>
                    <a:cubicBezTo>
                      <a:pt x="144" y="208"/>
                      <a:pt x="144" y="208"/>
                      <a:pt x="144" y="208"/>
                    </a:cubicBezTo>
                    <a:cubicBezTo>
                      <a:pt x="146" y="205"/>
                      <a:pt x="146" y="205"/>
                      <a:pt x="146" y="205"/>
                    </a:cubicBezTo>
                    <a:cubicBezTo>
                      <a:pt x="149" y="200"/>
                      <a:pt x="149" y="200"/>
                      <a:pt x="149" y="200"/>
                    </a:cubicBezTo>
                    <a:cubicBezTo>
                      <a:pt x="152" y="200"/>
                      <a:pt x="152" y="200"/>
                      <a:pt x="152" y="200"/>
                    </a:cubicBezTo>
                    <a:cubicBezTo>
                      <a:pt x="153" y="196"/>
                      <a:pt x="153" y="196"/>
                      <a:pt x="153" y="196"/>
                    </a:cubicBezTo>
                    <a:cubicBezTo>
                      <a:pt x="151" y="195"/>
                      <a:pt x="151" y="195"/>
                      <a:pt x="151" y="195"/>
                    </a:cubicBezTo>
                    <a:cubicBezTo>
                      <a:pt x="151" y="192"/>
                      <a:pt x="151" y="192"/>
                      <a:pt x="151" y="192"/>
                    </a:cubicBezTo>
                    <a:cubicBezTo>
                      <a:pt x="153" y="188"/>
                      <a:pt x="153" y="188"/>
                      <a:pt x="153" y="188"/>
                    </a:cubicBezTo>
                    <a:cubicBezTo>
                      <a:pt x="157" y="188"/>
                      <a:pt x="157" y="188"/>
                      <a:pt x="157" y="188"/>
                    </a:cubicBezTo>
                    <a:cubicBezTo>
                      <a:pt x="161" y="188"/>
                      <a:pt x="161" y="188"/>
                      <a:pt x="161" y="188"/>
                    </a:cubicBezTo>
                    <a:cubicBezTo>
                      <a:pt x="166" y="186"/>
                      <a:pt x="166" y="186"/>
                      <a:pt x="166" y="186"/>
                    </a:cubicBezTo>
                    <a:cubicBezTo>
                      <a:pt x="166" y="183"/>
                      <a:pt x="166" y="183"/>
                      <a:pt x="166" y="183"/>
                    </a:cubicBezTo>
                    <a:cubicBezTo>
                      <a:pt x="166" y="182"/>
                      <a:pt x="166" y="182"/>
                      <a:pt x="166" y="182"/>
                    </a:cubicBezTo>
                    <a:cubicBezTo>
                      <a:pt x="161" y="182"/>
                      <a:pt x="161" y="182"/>
                      <a:pt x="161" y="182"/>
                    </a:cubicBezTo>
                    <a:cubicBezTo>
                      <a:pt x="158" y="180"/>
                      <a:pt x="158" y="180"/>
                      <a:pt x="158" y="180"/>
                    </a:cubicBezTo>
                    <a:cubicBezTo>
                      <a:pt x="158" y="178"/>
                      <a:pt x="158" y="178"/>
                      <a:pt x="158" y="178"/>
                    </a:cubicBezTo>
                    <a:cubicBezTo>
                      <a:pt x="158" y="176"/>
                      <a:pt x="158" y="176"/>
                      <a:pt x="158" y="176"/>
                    </a:cubicBezTo>
                    <a:cubicBezTo>
                      <a:pt x="162" y="175"/>
                      <a:pt x="162" y="175"/>
                      <a:pt x="162" y="175"/>
                    </a:cubicBezTo>
                    <a:cubicBezTo>
                      <a:pt x="166" y="176"/>
                      <a:pt x="166" y="176"/>
                      <a:pt x="166" y="176"/>
                    </a:cubicBezTo>
                    <a:cubicBezTo>
                      <a:pt x="170" y="174"/>
                      <a:pt x="170" y="174"/>
                      <a:pt x="170" y="174"/>
                    </a:cubicBezTo>
                    <a:cubicBezTo>
                      <a:pt x="175" y="172"/>
                      <a:pt x="175" y="172"/>
                      <a:pt x="175" y="172"/>
                    </a:cubicBezTo>
                    <a:cubicBezTo>
                      <a:pt x="176" y="170"/>
                      <a:pt x="176" y="170"/>
                      <a:pt x="176" y="170"/>
                    </a:cubicBezTo>
                    <a:cubicBezTo>
                      <a:pt x="175" y="169"/>
                      <a:pt x="175" y="169"/>
                      <a:pt x="175" y="169"/>
                    </a:cubicBezTo>
                    <a:cubicBezTo>
                      <a:pt x="175" y="166"/>
                      <a:pt x="175" y="166"/>
                      <a:pt x="175" y="166"/>
                    </a:cubicBezTo>
                    <a:cubicBezTo>
                      <a:pt x="174" y="166"/>
                      <a:pt x="174" y="166"/>
                      <a:pt x="174" y="166"/>
                    </a:cubicBezTo>
                    <a:cubicBezTo>
                      <a:pt x="171" y="168"/>
                      <a:pt x="171" y="168"/>
                      <a:pt x="171" y="168"/>
                    </a:cubicBezTo>
                    <a:cubicBezTo>
                      <a:pt x="171" y="171"/>
                      <a:pt x="171" y="171"/>
                      <a:pt x="171" y="171"/>
                    </a:cubicBezTo>
                    <a:cubicBezTo>
                      <a:pt x="169" y="172"/>
                      <a:pt x="169" y="172"/>
                      <a:pt x="169" y="172"/>
                    </a:cubicBezTo>
                    <a:cubicBezTo>
                      <a:pt x="163" y="172"/>
                      <a:pt x="163" y="172"/>
                      <a:pt x="163" y="172"/>
                    </a:cubicBezTo>
                    <a:cubicBezTo>
                      <a:pt x="160" y="171"/>
                      <a:pt x="160" y="171"/>
                      <a:pt x="160" y="171"/>
                    </a:cubicBezTo>
                    <a:cubicBezTo>
                      <a:pt x="158" y="171"/>
                      <a:pt x="158" y="171"/>
                      <a:pt x="158" y="171"/>
                    </a:cubicBezTo>
                    <a:cubicBezTo>
                      <a:pt x="155" y="174"/>
                      <a:pt x="155" y="174"/>
                      <a:pt x="155" y="174"/>
                    </a:cubicBezTo>
                    <a:cubicBezTo>
                      <a:pt x="152" y="174"/>
                      <a:pt x="152" y="174"/>
                      <a:pt x="152" y="174"/>
                    </a:cubicBezTo>
                    <a:cubicBezTo>
                      <a:pt x="150" y="172"/>
                      <a:pt x="150" y="172"/>
                      <a:pt x="150" y="172"/>
                    </a:cubicBezTo>
                    <a:cubicBezTo>
                      <a:pt x="147" y="170"/>
                      <a:pt x="147" y="170"/>
                      <a:pt x="147" y="170"/>
                    </a:cubicBezTo>
                    <a:cubicBezTo>
                      <a:pt x="145" y="170"/>
                      <a:pt x="145" y="170"/>
                      <a:pt x="145" y="170"/>
                    </a:cubicBezTo>
                    <a:cubicBezTo>
                      <a:pt x="143" y="172"/>
                      <a:pt x="143" y="172"/>
                      <a:pt x="143" y="172"/>
                    </a:cubicBezTo>
                    <a:cubicBezTo>
                      <a:pt x="141" y="172"/>
                      <a:pt x="141" y="172"/>
                      <a:pt x="141" y="172"/>
                    </a:cubicBezTo>
                    <a:cubicBezTo>
                      <a:pt x="139" y="170"/>
                      <a:pt x="139" y="170"/>
                      <a:pt x="139" y="170"/>
                    </a:cubicBezTo>
                    <a:cubicBezTo>
                      <a:pt x="137" y="170"/>
                      <a:pt x="137" y="170"/>
                      <a:pt x="137" y="170"/>
                    </a:cubicBezTo>
                    <a:cubicBezTo>
                      <a:pt x="135" y="170"/>
                      <a:pt x="135" y="170"/>
                      <a:pt x="135" y="170"/>
                    </a:cubicBezTo>
                    <a:cubicBezTo>
                      <a:pt x="135" y="168"/>
                      <a:pt x="135" y="168"/>
                      <a:pt x="135" y="168"/>
                    </a:cubicBezTo>
                    <a:cubicBezTo>
                      <a:pt x="135" y="166"/>
                      <a:pt x="135" y="166"/>
                      <a:pt x="135" y="166"/>
                    </a:cubicBezTo>
                    <a:cubicBezTo>
                      <a:pt x="134" y="165"/>
                      <a:pt x="134" y="165"/>
                      <a:pt x="134" y="165"/>
                    </a:cubicBezTo>
                    <a:cubicBezTo>
                      <a:pt x="134" y="163"/>
                      <a:pt x="134" y="163"/>
                      <a:pt x="134" y="163"/>
                    </a:cubicBezTo>
                    <a:cubicBezTo>
                      <a:pt x="135" y="161"/>
                      <a:pt x="135" y="161"/>
                      <a:pt x="135" y="161"/>
                    </a:cubicBezTo>
                    <a:cubicBezTo>
                      <a:pt x="137" y="160"/>
                      <a:pt x="137" y="160"/>
                      <a:pt x="137" y="160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41" y="155"/>
                      <a:pt x="141" y="155"/>
                      <a:pt x="141" y="155"/>
                    </a:cubicBezTo>
                    <a:cubicBezTo>
                      <a:pt x="143" y="154"/>
                      <a:pt x="143" y="154"/>
                      <a:pt x="143" y="154"/>
                    </a:cubicBezTo>
                    <a:cubicBezTo>
                      <a:pt x="143" y="153"/>
                      <a:pt x="143" y="153"/>
                      <a:pt x="143" y="153"/>
                    </a:cubicBezTo>
                    <a:cubicBezTo>
                      <a:pt x="142" y="151"/>
                      <a:pt x="142" y="151"/>
                      <a:pt x="142" y="151"/>
                    </a:cubicBezTo>
                    <a:cubicBezTo>
                      <a:pt x="142" y="149"/>
                      <a:pt x="142" y="149"/>
                      <a:pt x="142" y="149"/>
                    </a:cubicBezTo>
                    <a:cubicBezTo>
                      <a:pt x="143" y="147"/>
                      <a:pt x="143" y="147"/>
                      <a:pt x="143" y="147"/>
                    </a:cubicBezTo>
                    <a:cubicBezTo>
                      <a:pt x="145" y="147"/>
                      <a:pt x="145" y="147"/>
                      <a:pt x="145" y="147"/>
                    </a:cubicBezTo>
                    <a:cubicBezTo>
                      <a:pt x="149" y="145"/>
                      <a:pt x="149" y="145"/>
                      <a:pt x="149" y="145"/>
                    </a:cubicBezTo>
                    <a:cubicBezTo>
                      <a:pt x="151" y="144"/>
                      <a:pt x="151" y="144"/>
                      <a:pt x="151" y="144"/>
                    </a:cubicBezTo>
                    <a:cubicBezTo>
                      <a:pt x="151" y="142"/>
                      <a:pt x="151" y="142"/>
                      <a:pt x="151" y="142"/>
                    </a:cubicBezTo>
                    <a:cubicBezTo>
                      <a:pt x="157" y="140"/>
                      <a:pt x="157" y="140"/>
                      <a:pt x="157" y="140"/>
                    </a:cubicBezTo>
                    <a:cubicBezTo>
                      <a:pt x="159" y="137"/>
                      <a:pt x="159" y="137"/>
                      <a:pt x="159" y="137"/>
                    </a:cubicBezTo>
                    <a:cubicBezTo>
                      <a:pt x="162" y="136"/>
                      <a:pt x="162" y="136"/>
                      <a:pt x="162" y="136"/>
                    </a:cubicBezTo>
                    <a:cubicBezTo>
                      <a:pt x="167" y="136"/>
                      <a:pt x="167" y="136"/>
                      <a:pt x="167" y="136"/>
                    </a:cubicBezTo>
                    <a:cubicBezTo>
                      <a:pt x="170" y="135"/>
                      <a:pt x="170" y="135"/>
                      <a:pt x="170" y="135"/>
                    </a:cubicBezTo>
                    <a:cubicBezTo>
                      <a:pt x="169" y="135"/>
                      <a:pt x="169" y="135"/>
                      <a:pt x="169" y="135"/>
                    </a:cubicBezTo>
                    <a:cubicBezTo>
                      <a:pt x="167" y="134"/>
                      <a:pt x="167" y="134"/>
                      <a:pt x="167" y="134"/>
                    </a:cubicBezTo>
                    <a:cubicBezTo>
                      <a:pt x="167" y="132"/>
                      <a:pt x="167" y="132"/>
                      <a:pt x="167" y="132"/>
                    </a:cubicBezTo>
                    <a:cubicBezTo>
                      <a:pt x="169" y="131"/>
                      <a:pt x="169" y="131"/>
                      <a:pt x="169" y="131"/>
                    </a:cubicBezTo>
                    <a:cubicBezTo>
                      <a:pt x="172" y="131"/>
                      <a:pt x="172" y="131"/>
                      <a:pt x="172" y="131"/>
                    </a:cubicBezTo>
                    <a:cubicBezTo>
                      <a:pt x="173" y="133"/>
                      <a:pt x="173" y="133"/>
                      <a:pt x="173" y="133"/>
                    </a:cubicBezTo>
                    <a:cubicBezTo>
                      <a:pt x="175" y="132"/>
                      <a:pt x="175" y="132"/>
                      <a:pt x="175" y="132"/>
                    </a:cubicBezTo>
                    <a:cubicBezTo>
                      <a:pt x="179" y="128"/>
                      <a:pt x="179" y="128"/>
                      <a:pt x="179" y="128"/>
                    </a:cubicBezTo>
                    <a:cubicBezTo>
                      <a:pt x="179" y="125"/>
                      <a:pt x="179" y="125"/>
                      <a:pt x="179" y="125"/>
                    </a:cubicBezTo>
                    <a:cubicBezTo>
                      <a:pt x="180" y="122"/>
                      <a:pt x="180" y="122"/>
                      <a:pt x="180" y="122"/>
                    </a:cubicBezTo>
                    <a:cubicBezTo>
                      <a:pt x="184" y="120"/>
                      <a:pt x="184" y="120"/>
                      <a:pt x="184" y="120"/>
                    </a:cubicBezTo>
                    <a:cubicBezTo>
                      <a:pt x="186" y="119"/>
                      <a:pt x="186" y="119"/>
                      <a:pt x="186" y="119"/>
                    </a:cubicBezTo>
                    <a:cubicBezTo>
                      <a:pt x="189" y="116"/>
                      <a:pt x="189" y="116"/>
                      <a:pt x="189" y="116"/>
                    </a:cubicBezTo>
                    <a:cubicBezTo>
                      <a:pt x="192" y="116"/>
                      <a:pt x="192" y="116"/>
                      <a:pt x="192" y="116"/>
                    </a:cubicBezTo>
                    <a:cubicBezTo>
                      <a:pt x="194" y="115"/>
                      <a:pt x="194" y="115"/>
                      <a:pt x="194" y="115"/>
                    </a:cubicBezTo>
                    <a:cubicBezTo>
                      <a:pt x="195" y="116"/>
                      <a:pt x="195" y="116"/>
                      <a:pt x="195" y="116"/>
                    </a:cubicBezTo>
                    <a:cubicBezTo>
                      <a:pt x="196" y="120"/>
                      <a:pt x="196" y="120"/>
                      <a:pt x="196" y="120"/>
                    </a:cubicBezTo>
                    <a:cubicBezTo>
                      <a:pt x="195" y="126"/>
                      <a:pt x="195" y="126"/>
                      <a:pt x="195" y="126"/>
                    </a:cubicBezTo>
                    <a:cubicBezTo>
                      <a:pt x="196" y="129"/>
                      <a:pt x="196" y="129"/>
                      <a:pt x="196" y="129"/>
                    </a:cubicBezTo>
                    <a:cubicBezTo>
                      <a:pt x="197" y="134"/>
                      <a:pt x="197" y="134"/>
                      <a:pt x="197" y="134"/>
                    </a:cubicBezTo>
                    <a:cubicBezTo>
                      <a:pt x="196" y="141"/>
                      <a:pt x="196" y="141"/>
                      <a:pt x="196" y="141"/>
                    </a:cubicBezTo>
                    <a:cubicBezTo>
                      <a:pt x="197" y="141"/>
                      <a:pt x="197" y="141"/>
                      <a:pt x="197" y="141"/>
                    </a:cubicBezTo>
                    <a:cubicBezTo>
                      <a:pt x="199" y="139"/>
                      <a:pt x="199" y="139"/>
                      <a:pt x="199" y="139"/>
                    </a:cubicBezTo>
                    <a:cubicBezTo>
                      <a:pt x="200" y="133"/>
                      <a:pt x="200" y="133"/>
                      <a:pt x="200" y="133"/>
                    </a:cubicBezTo>
                    <a:cubicBezTo>
                      <a:pt x="198" y="127"/>
                      <a:pt x="198" y="127"/>
                      <a:pt x="198" y="127"/>
                    </a:cubicBezTo>
                    <a:cubicBezTo>
                      <a:pt x="198" y="124"/>
                      <a:pt x="198" y="124"/>
                      <a:pt x="198" y="124"/>
                    </a:cubicBezTo>
                    <a:cubicBezTo>
                      <a:pt x="199" y="121"/>
                      <a:pt x="199" y="121"/>
                      <a:pt x="199" y="121"/>
                    </a:cubicBezTo>
                    <a:cubicBezTo>
                      <a:pt x="198" y="117"/>
                      <a:pt x="198" y="117"/>
                      <a:pt x="198" y="117"/>
                    </a:cubicBezTo>
                    <a:cubicBezTo>
                      <a:pt x="200" y="116"/>
                      <a:pt x="200" y="116"/>
                      <a:pt x="200" y="116"/>
                    </a:cubicBezTo>
                    <a:cubicBezTo>
                      <a:pt x="203" y="116"/>
                      <a:pt x="203" y="116"/>
                      <a:pt x="203" y="116"/>
                    </a:cubicBezTo>
                    <a:cubicBezTo>
                      <a:pt x="203" y="114"/>
                      <a:pt x="203" y="114"/>
                      <a:pt x="203" y="114"/>
                    </a:cubicBezTo>
                    <a:cubicBezTo>
                      <a:pt x="205" y="113"/>
                      <a:pt x="205" y="113"/>
                      <a:pt x="205" y="113"/>
                    </a:cubicBezTo>
                    <a:cubicBezTo>
                      <a:pt x="207" y="113"/>
                      <a:pt x="207" y="113"/>
                      <a:pt x="207" y="113"/>
                    </a:cubicBezTo>
                    <a:cubicBezTo>
                      <a:pt x="207" y="115"/>
                      <a:pt x="207" y="115"/>
                      <a:pt x="207" y="115"/>
                    </a:cubicBezTo>
                    <a:cubicBezTo>
                      <a:pt x="208" y="116"/>
                      <a:pt x="208" y="116"/>
                      <a:pt x="208" y="116"/>
                    </a:cubicBezTo>
                    <a:cubicBezTo>
                      <a:pt x="210" y="116"/>
                      <a:pt x="210" y="116"/>
                      <a:pt x="210" y="116"/>
                    </a:cubicBezTo>
                    <a:cubicBezTo>
                      <a:pt x="211" y="117"/>
                      <a:pt x="211" y="117"/>
                      <a:pt x="211" y="117"/>
                    </a:cubicBezTo>
                    <a:cubicBezTo>
                      <a:pt x="211" y="120"/>
                      <a:pt x="211" y="120"/>
                      <a:pt x="211" y="120"/>
                    </a:cubicBezTo>
                    <a:cubicBezTo>
                      <a:pt x="212" y="122"/>
                      <a:pt x="212" y="122"/>
                      <a:pt x="212" y="122"/>
                    </a:cubicBezTo>
                    <a:cubicBezTo>
                      <a:pt x="215" y="124"/>
                      <a:pt x="215" y="124"/>
                      <a:pt x="215" y="124"/>
                    </a:cubicBezTo>
                    <a:cubicBezTo>
                      <a:pt x="220" y="123"/>
                      <a:pt x="220" y="123"/>
                      <a:pt x="220" y="123"/>
                    </a:cubicBezTo>
                    <a:cubicBezTo>
                      <a:pt x="222" y="122"/>
                      <a:pt x="222" y="122"/>
                      <a:pt x="222" y="122"/>
                    </a:cubicBezTo>
                    <a:cubicBezTo>
                      <a:pt x="225" y="122"/>
                      <a:pt x="225" y="122"/>
                      <a:pt x="225" y="122"/>
                    </a:cubicBezTo>
                    <a:cubicBezTo>
                      <a:pt x="225" y="120"/>
                      <a:pt x="225" y="120"/>
                      <a:pt x="225" y="120"/>
                    </a:cubicBezTo>
                    <a:cubicBezTo>
                      <a:pt x="224" y="118"/>
                      <a:pt x="224" y="118"/>
                      <a:pt x="224" y="118"/>
                    </a:cubicBezTo>
                    <a:cubicBezTo>
                      <a:pt x="225" y="116"/>
                      <a:pt x="225" y="116"/>
                      <a:pt x="225" y="116"/>
                    </a:cubicBezTo>
                    <a:cubicBezTo>
                      <a:pt x="227" y="115"/>
                      <a:pt x="227" y="115"/>
                      <a:pt x="227" y="115"/>
                    </a:cubicBezTo>
                    <a:cubicBezTo>
                      <a:pt x="228" y="111"/>
                      <a:pt x="228" y="111"/>
                      <a:pt x="228" y="111"/>
                    </a:cubicBezTo>
                    <a:cubicBezTo>
                      <a:pt x="229" y="110"/>
                      <a:pt x="229" y="110"/>
                      <a:pt x="229" y="110"/>
                    </a:cubicBezTo>
                    <a:cubicBezTo>
                      <a:pt x="232" y="110"/>
                      <a:pt x="232" y="110"/>
                      <a:pt x="232" y="110"/>
                    </a:cubicBezTo>
                    <a:cubicBezTo>
                      <a:pt x="237" y="107"/>
                      <a:pt x="237" y="107"/>
                      <a:pt x="237" y="107"/>
                    </a:cubicBezTo>
                    <a:cubicBezTo>
                      <a:pt x="239" y="104"/>
                      <a:pt x="239" y="104"/>
                      <a:pt x="239" y="104"/>
                    </a:cubicBezTo>
                    <a:cubicBezTo>
                      <a:pt x="239" y="99"/>
                      <a:pt x="239" y="99"/>
                      <a:pt x="239" y="99"/>
                    </a:cubicBezTo>
                    <a:cubicBezTo>
                      <a:pt x="237" y="98"/>
                      <a:pt x="237" y="98"/>
                      <a:pt x="237" y="98"/>
                    </a:cubicBezTo>
                    <a:cubicBezTo>
                      <a:pt x="235" y="98"/>
                      <a:pt x="235" y="98"/>
                      <a:pt x="235" y="98"/>
                    </a:cubicBezTo>
                    <a:cubicBezTo>
                      <a:pt x="235" y="97"/>
                      <a:pt x="235" y="97"/>
                      <a:pt x="235" y="97"/>
                    </a:cubicBezTo>
                    <a:cubicBezTo>
                      <a:pt x="236" y="95"/>
                      <a:pt x="236" y="95"/>
                      <a:pt x="236" y="95"/>
                    </a:cubicBezTo>
                    <a:cubicBezTo>
                      <a:pt x="238" y="92"/>
                      <a:pt x="238" y="92"/>
                      <a:pt x="238" y="92"/>
                    </a:cubicBezTo>
                    <a:cubicBezTo>
                      <a:pt x="239" y="88"/>
                      <a:pt x="239" y="88"/>
                      <a:pt x="239" y="88"/>
                    </a:cubicBezTo>
                    <a:cubicBezTo>
                      <a:pt x="238" y="85"/>
                      <a:pt x="238" y="85"/>
                      <a:pt x="238" y="85"/>
                    </a:cubicBezTo>
                    <a:cubicBezTo>
                      <a:pt x="240" y="80"/>
                      <a:pt x="240" y="80"/>
                      <a:pt x="240" y="80"/>
                    </a:cubicBezTo>
                    <a:cubicBezTo>
                      <a:pt x="242" y="78"/>
                      <a:pt x="242" y="78"/>
                      <a:pt x="242" y="78"/>
                    </a:cubicBezTo>
                    <a:cubicBezTo>
                      <a:pt x="247" y="77"/>
                      <a:pt x="247" y="77"/>
                      <a:pt x="247" y="77"/>
                    </a:cubicBezTo>
                    <a:cubicBezTo>
                      <a:pt x="252" y="75"/>
                      <a:pt x="252" y="75"/>
                      <a:pt x="252" y="75"/>
                    </a:cubicBezTo>
                    <a:cubicBezTo>
                      <a:pt x="256" y="74"/>
                      <a:pt x="256" y="74"/>
                      <a:pt x="256" y="74"/>
                    </a:cubicBezTo>
                    <a:cubicBezTo>
                      <a:pt x="258" y="75"/>
                      <a:pt x="258" y="75"/>
                      <a:pt x="258" y="75"/>
                    </a:cubicBezTo>
                    <a:cubicBezTo>
                      <a:pt x="258" y="77"/>
                      <a:pt x="258" y="77"/>
                      <a:pt x="258" y="77"/>
                    </a:cubicBezTo>
                    <a:cubicBezTo>
                      <a:pt x="258" y="80"/>
                      <a:pt x="258" y="80"/>
                      <a:pt x="258" y="80"/>
                    </a:cubicBezTo>
                    <a:cubicBezTo>
                      <a:pt x="262" y="85"/>
                      <a:pt x="262" y="85"/>
                      <a:pt x="262" y="85"/>
                    </a:cubicBezTo>
                    <a:cubicBezTo>
                      <a:pt x="262" y="88"/>
                      <a:pt x="262" y="88"/>
                      <a:pt x="262" y="88"/>
                    </a:cubicBezTo>
                    <a:cubicBezTo>
                      <a:pt x="261" y="94"/>
                      <a:pt x="261" y="94"/>
                      <a:pt x="261" y="94"/>
                    </a:cubicBezTo>
                    <a:cubicBezTo>
                      <a:pt x="261" y="101"/>
                      <a:pt x="261" y="101"/>
                      <a:pt x="261" y="101"/>
                    </a:cubicBezTo>
                    <a:cubicBezTo>
                      <a:pt x="263" y="103"/>
                      <a:pt x="263" y="103"/>
                      <a:pt x="263" y="103"/>
                    </a:cubicBezTo>
                    <a:cubicBezTo>
                      <a:pt x="268" y="107"/>
                      <a:pt x="268" y="107"/>
                      <a:pt x="268" y="107"/>
                    </a:cubicBezTo>
                    <a:cubicBezTo>
                      <a:pt x="270" y="110"/>
                      <a:pt x="270" y="110"/>
                      <a:pt x="270" y="110"/>
                    </a:cubicBezTo>
                    <a:cubicBezTo>
                      <a:pt x="271" y="112"/>
                      <a:pt x="271" y="112"/>
                      <a:pt x="271" y="112"/>
                    </a:cubicBezTo>
                    <a:cubicBezTo>
                      <a:pt x="272" y="111"/>
                      <a:pt x="272" y="111"/>
                      <a:pt x="272" y="111"/>
                    </a:cubicBezTo>
                    <a:cubicBezTo>
                      <a:pt x="271" y="104"/>
                      <a:pt x="271" y="104"/>
                      <a:pt x="271" y="104"/>
                    </a:cubicBezTo>
                    <a:cubicBezTo>
                      <a:pt x="271" y="101"/>
                      <a:pt x="271" y="101"/>
                      <a:pt x="271" y="101"/>
                    </a:cubicBezTo>
                    <a:cubicBezTo>
                      <a:pt x="267" y="95"/>
                      <a:pt x="267" y="95"/>
                      <a:pt x="267" y="95"/>
                    </a:cubicBezTo>
                    <a:cubicBezTo>
                      <a:pt x="266" y="90"/>
                      <a:pt x="266" y="90"/>
                      <a:pt x="266" y="90"/>
                    </a:cubicBezTo>
                    <a:cubicBezTo>
                      <a:pt x="268" y="85"/>
                      <a:pt x="268" y="85"/>
                      <a:pt x="268" y="85"/>
                    </a:cubicBezTo>
                    <a:cubicBezTo>
                      <a:pt x="269" y="82"/>
                      <a:pt x="269" y="82"/>
                      <a:pt x="269" y="82"/>
                    </a:cubicBezTo>
                    <a:cubicBezTo>
                      <a:pt x="268" y="80"/>
                      <a:pt x="268" y="80"/>
                      <a:pt x="268" y="80"/>
                    </a:cubicBezTo>
                    <a:cubicBezTo>
                      <a:pt x="266" y="77"/>
                      <a:pt x="266" y="77"/>
                      <a:pt x="266" y="77"/>
                    </a:cubicBezTo>
                    <a:cubicBezTo>
                      <a:pt x="266" y="74"/>
                      <a:pt x="266" y="74"/>
                      <a:pt x="266" y="74"/>
                    </a:cubicBezTo>
                    <a:cubicBezTo>
                      <a:pt x="264" y="71"/>
                      <a:pt x="264" y="71"/>
                      <a:pt x="264" y="71"/>
                    </a:cubicBezTo>
                    <a:cubicBezTo>
                      <a:pt x="265" y="70"/>
                      <a:pt x="265" y="70"/>
                      <a:pt x="265" y="70"/>
                    </a:cubicBezTo>
                    <a:cubicBezTo>
                      <a:pt x="269" y="67"/>
                      <a:pt x="269" y="67"/>
                      <a:pt x="269" y="67"/>
                    </a:cubicBezTo>
                    <a:cubicBezTo>
                      <a:pt x="273" y="67"/>
                      <a:pt x="273" y="67"/>
                      <a:pt x="273" y="67"/>
                    </a:cubicBezTo>
                    <a:cubicBezTo>
                      <a:pt x="275" y="68"/>
                      <a:pt x="275" y="68"/>
                      <a:pt x="275" y="68"/>
                    </a:cubicBezTo>
                    <a:cubicBezTo>
                      <a:pt x="278" y="67"/>
                      <a:pt x="278" y="67"/>
                      <a:pt x="278" y="67"/>
                    </a:cubicBezTo>
                    <a:cubicBezTo>
                      <a:pt x="281" y="66"/>
                      <a:pt x="281" y="66"/>
                      <a:pt x="281" y="66"/>
                    </a:cubicBezTo>
                    <a:cubicBezTo>
                      <a:pt x="286" y="68"/>
                      <a:pt x="286" y="68"/>
                      <a:pt x="286" y="68"/>
                    </a:cubicBezTo>
                    <a:cubicBezTo>
                      <a:pt x="294" y="67"/>
                      <a:pt x="294" y="67"/>
                      <a:pt x="294" y="67"/>
                    </a:cubicBezTo>
                    <a:cubicBezTo>
                      <a:pt x="301" y="65"/>
                      <a:pt x="301" y="65"/>
                      <a:pt x="301" y="65"/>
                    </a:cubicBezTo>
                    <a:cubicBezTo>
                      <a:pt x="308" y="64"/>
                      <a:pt x="308" y="64"/>
                      <a:pt x="308" y="64"/>
                    </a:cubicBezTo>
                    <a:cubicBezTo>
                      <a:pt x="310" y="66"/>
                      <a:pt x="310" y="66"/>
                      <a:pt x="310" y="66"/>
                    </a:cubicBezTo>
                    <a:cubicBezTo>
                      <a:pt x="311" y="70"/>
                      <a:pt x="311" y="70"/>
                      <a:pt x="311" y="70"/>
                    </a:cubicBezTo>
                    <a:cubicBezTo>
                      <a:pt x="311" y="73"/>
                      <a:pt x="311" y="73"/>
                      <a:pt x="311" y="73"/>
                    </a:cubicBezTo>
                    <a:cubicBezTo>
                      <a:pt x="311" y="74"/>
                      <a:pt x="311" y="74"/>
                      <a:pt x="311" y="74"/>
                    </a:cubicBezTo>
                    <a:cubicBezTo>
                      <a:pt x="314" y="74"/>
                      <a:pt x="314" y="74"/>
                      <a:pt x="314" y="74"/>
                    </a:cubicBezTo>
                    <a:cubicBezTo>
                      <a:pt x="315" y="71"/>
                      <a:pt x="315" y="71"/>
                      <a:pt x="315" y="71"/>
                    </a:cubicBezTo>
                    <a:cubicBezTo>
                      <a:pt x="313" y="69"/>
                      <a:pt x="313" y="69"/>
                      <a:pt x="313" y="69"/>
                    </a:cubicBezTo>
                    <a:cubicBezTo>
                      <a:pt x="314" y="66"/>
                      <a:pt x="314" y="66"/>
                      <a:pt x="314" y="66"/>
                    </a:cubicBezTo>
                    <a:cubicBezTo>
                      <a:pt x="319" y="61"/>
                      <a:pt x="319" y="61"/>
                      <a:pt x="319" y="61"/>
                    </a:cubicBezTo>
                    <a:cubicBezTo>
                      <a:pt x="322" y="63"/>
                      <a:pt x="322" y="63"/>
                      <a:pt x="322" y="63"/>
                    </a:cubicBezTo>
                    <a:cubicBezTo>
                      <a:pt x="325" y="65"/>
                      <a:pt x="325" y="65"/>
                      <a:pt x="325" y="65"/>
                    </a:cubicBezTo>
                    <a:cubicBezTo>
                      <a:pt x="325" y="69"/>
                      <a:pt x="325" y="69"/>
                      <a:pt x="325" y="69"/>
                    </a:cubicBezTo>
                    <a:cubicBezTo>
                      <a:pt x="327" y="71"/>
                      <a:pt x="327" y="71"/>
                      <a:pt x="327" y="71"/>
                    </a:cubicBezTo>
                    <a:cubicBezTo>
                      <a:pt x="328" y="68"/>
                      <a:pt x="328" y="68"/>
                      <a:pt x="328" y="68"/>
                    </a:cubicBezTo>
                    <a:cubicBezTo>
                      <a:pt x="328" y="63"/>
                      <a:pt x="328" y="63"/>
                      <a:pt x="328" y="63"/>
                    </a:cubicBezTo>
                    <a:cubicBezTo>
                      <a:pt x="325" y="61"/>
                      <a:pt x="325" y="61"/>
                      <a:pt x="325" y="61"/>
                    </a:cubicBezTo>
                    <a:cubicBezTo>
                      <a:pt x="324" y="58"/>
                      <a:pt x="324" y="58"/>
                      <a:pt x="324" y="58"/>
                    </a:cubicBezTo>
                    <a:cubicBezTo>
                      <a:pt x="326" y="57"/>
                      <a:pt x="326" y="57"/>
                      <a:pt x="326" y="57"/>
                    </a:cubicBezTo>
                    <a:cubicBezTo>
                      <a:pt x="329" y="58"/>
                      <a:pt x="329" y="58"/>
                      <a:pt x="329" y="58"/>
                    </a:cubicBezTo>
                    <a:cubicBezTo>
                      <a:pt x="332" y="59"/>
                      <a:pt x="332" y="59"/>
                      <a:pt x="332" y="59"/>
                    </a:cubicBezTo>
                    <a:cubicBezTo>
                      <a:pt x="335" y="57"/>
                      <a:pt x="335" y="57"/>
                      <a:pt x="335" y="57"/>
                    </a:cubicBezTo>
                    <a:cubicBezTo>
                      <a:pt x="339" y="56"/>
                      <a:pt x="339" y="56"/>
                      <a:pt x="339" y="56"/>
                    </a:cubicBezTo>
                    <a:cubicBezTo>
                      <a:pt x="344" y="57"/>
                      <a:pt x="344" y="57"/>
                      <a:pt x="344" y="57"/>
                    </a:cubicBezTo>
                    <a:cubicBezTo>
                      <a:pt x="345" y="59"/>
                      <a:pt x="345" y="59"/>
                      <a:pt x="345" y="59"/>
                    </a:cubicBezTo>
                    <a:cubicBezTo>
                      <a:pt x="345" y="68"/>
                      <a:pt x="345" y="68"/>
                      <a:pt x="345" y="68"/>
                    </a:cubicBezTo>
                    <a:cubicBezTo>
                      <a:pt x="343" y="73"/>
                      <a:pt x="343" y="73"/>
                      <a:pt x="343" y="73"/>
                    </a:cubicBezTo>
                    <a:cubicBezTo>
                      <a:pt x="343" y="76"/>
                      <a:pt x="343" y="76"/>
                      <a:pt x="343" y="76"/>
                    </a:cubicBezTo>
                    <a:cubicBezTo>
                      <a:pt x="340" y="82"/>
                      <a:pt x="340" y="82"/>
                      <a:pt x="340" y="82"/>
                    </a:cubicBezTo>
                    <a:cubicBezTo>
                      <a:pt x="339" y="85"/>
                      <a:pt x="339" y="85"/>
                      <a:pt x="339" y="85"/>
                    </a:cubicBezTo>
                    <a:cubicBezTo>
                      <a:pt x="339" y="88"/>
                      <a:pt x="339" y="88"/>
                      <a:pt x="339" y="88"/>
                    </a:cubicBezTo>
                    <a:cubicBezTo>
                      <a:pt x="338" y="90"/>
                      <a:pt x="338" y="90"/>
                      <a:pt x="338" y="90"/>
                    </a:cubicBezTo>
                    <a:cubicBezTo>
                      <a:pt x="335" y="91"/>
                      <a:pt x="335" y="91"/>
                      <a:pt x="335" y="91"/>
                    </a:cubicBezTo>
                    <a:cubicBezTo>
                      <a:pt x="334" y="93"/>
                      <a:pt x="334" y="93"/>
                      <a:pt x="334" y="93"/>
                    </a:cubicBezTo>
                    <a:cubicBezTo>
                      <a:pt x="336" y="95"/>
                      <a:pt x="336" y="95"/>
                      <a:pt x="336" y="95"/>
                    </a:cubicBezTo>
                    <a:cubicBezTo>
                      <a:pt x="336" y="97"/>
                      <a:pt x="336" y="97"/>
                      <a:pt x="336" y="97"/>
                    </a:cubicBezTo>
                    <a:cubicBezTo>
                      <a:pt x="335" y="100"/>
                      <a:pt x="335" y="100"/>
                      <a:pt x="335" y="100"/>
                    </a:cubicBezTo>
                    <a:cubicBezTo>
                      <a:pt x="332" y="102"/>
                      <a:pt x="332" y="102"/>
                      <a:pt x="332" y="102"/>
                    </a:cubicBezTo>
                    <a:cubicBezTo>
                      <a:pt x="330" y="107"/>
                      <a:pt x="330" y="107"/>
                      <a:pt x="330" y="107"/>
                    </a:cubicBezTo>
                    <a:cubicBezTo>
                      <a:pt x="327" y="108"/>
                      <a:pt x="327" y="108"/>
                      <a:pt x="327" y="108"/>
                    </a:cubicBezTo>
                    <a:cubicBezTo>
                      <a:pt x="326" y="110"/>
                      <a:pt x="326" y="110"/>
                      <a:pt x="326" y="110"/>
                    </a:cubicBezTo>
                    <a:cubicBezTo>
                      <a:pt x="325" y="114"/>
                      <a:pt x="325" y="114"/>
                      <a:pt x="325" y="114"/>
                    </a:cubicBezTo>
                    <a:cubicBezTo>
                      <a:pt x="323" y="118"/>
                      <a:pt x="323" y="118"/>
                      <a:pt x="323" y="118"/>
                    </a:cubicBezTo>
                    <a:cubicBezTo>
                      <a:pt x="322" y="121"/>
                      <a:pt x="322" y="121"/>
                      <a:pt x="322" y="121"/>
                    </a:cubicBezTo>
                    <a:cubicBezTo>
                      <a:pt x="323" y="122"/>
                      <a:pt x="323" y="122"/>
                      <a:pt x="323" y="122"/>
                    </a:cubicBezTo>
                    <a:cubicBezTo>
                      <a:pt x="325" y="122"/>
                      <a:pt x="325" y="122"/>
                      <a:pt x="325" y="122"/>
                    </a:cubicBezTo>
                    <a:cubicBezTo>
                      <a:pt x="328" y="118"/>
                      <a:pt x="328" y="118"/>
                      <a:pt x="328" y="118"/>
                    </a:cubicBezTo>
                    <a:cubicBezTo>
                      <a:pt x="330" y="116"/>
                      <a:pt x="330" y="116"/>
                      <a:pt x="330" y="116"/>
                    </a:cubicBezTo>
                    <a:cubicBezTo>
                      <a:pt x="329" y="114"/>
                      <a:pt x="329" y="114"/>
                      <a:pt x="329" y="114"/>
                    </a:cubicBezTo>
                    <a:cubicBezTo>
                      <a:pt x="332" y="111"/>
                      <a:pt x="332" y="111"/>
                      <a:pt x="332" y="111"/>
                    </a:cubicBezTo>
                    <a:cubicBezTo>
                      <a:pt x="336" y="106"/>
                      <a:pt x="336" y="106"/>
                      <a:pt x="336" y="106"/>
                    </a:cubicBezTo>
                    <a:cubicBezTo>
                      <a:pt x="337" y="103"/>
                      <a:pt x="337" y="103"/>
                      <a:pt x="337" y="103"/>
                    </a:cubicBezTo>
                    <a:cubicBezTo>
                      <a:pt x="340" y="102"/>
                      <a:pt x="340" y="102"/>
                      <a:pt x="340" y="102"/>
                    </a:cubicBezTo>
                    <a:cubicBezTo>
                      <a:pt x="341" y="101"/>
                      <a:pt x="341" y="101"/>
                      <a:pt x="341" y="101"/>
                    </a:cubicBezTo>
                    <a:cubicBezTo>
                      <a:pt x="343" y="98"/>
                      <a:pt x="343" y="98"/>
                      <a:pt x="343" y="98"/>
                    </a:cubicBezTo>
                    <a:cubicBezTo>
                      <a:pt x="343" y="96"/>
                      <a:pt x="343" y="96"/>
                      <a:pt x="343" y="96"/>
                    </a:cubicBezTo>
                    <a:cubicBezTo>
                      <a:pt x="345" y="94"/>
                      <a:pt x="345" y="94"/>
                      <a:pt x="345" y="94"/>
                    </a:cubicBezTo>
                    <a:cubicBezTo>
                      <a:pt x="346" y="91"/>
                      <a:pt x="346" y="91"/>
                      <a:pt x="346" y="91"/>
                    </a:cubicBezTo>
                    <a:cubicBezTo>
                      <a:pt x="348" y="89"/>
                      <a:pt x="348" y="89"/>
                      <a:pt x="348" y="89"/>
                    </a:cubicBezTo>
                    <a:cubicBezTo>
                      <a:pt x="350" y="91"/>
                      <a:pt x="350" y="91"/>
                      <a:pt x="350" y="91"/>
                    </a:cubicBezTo>
                    <a:cubicBezTo>
                      <a:pt x="350" y="94"/>
                      <a:pt x="350" y="94"/>
                      <a:pt x="350" y="94"/>
                    </a:cubicBezTo>
                    <a:cubicBezTo>
                      <a:pt x="352" y="96"/>
                      <a:pt x="352" y="96"/>
                      <a:pt x="352" y="96"/>
                    </a:cubicBezTo>
                    <a:cubicBezTo>
                      <a:pt x="353" y="99"/>
                      <a:pt x="353" y="99"/>
                      <a:pt x="353" y="99"/>
                    </a:cubicBezTo>
                    <a:cubicBezTo>
                      <a:pt x="354" y="104"/>
                      <a:pt x="354" y="104"/>
                      <a:pt x="354" y="104"/>
                    </a:cubicBezTo>
                    <a:cubicBezTo>
                      <a:pt x="357" y="107"/>
                      <a:pt x="357" y="107"/>
                      <a:pt x="357" y="107"/>
                    </a:cubicBezTo>
                    <a:cubicBezTo>
                      <a:pt x="357" y="112"/>
                      <a:pt x="357" y="112"/>
                      <a:pt x="357" y="112"/>
                    </a:cubicBezTo>
                    <a:cubicBezTo>
                      <a:pt x="359" y="114"/>
                      <a:pt x="359" y="114"/>
                      <a:pt x="359" y="114"/>
                    </a:cubicBezTo>
                    <a:cubicBezTo>
                      <a:pt x="362" y="114"/>
                      <a:pt x="362" y="114"/>
                      <a:pt x="362" y="114"/>
                    </a:cubicBezTo>
                    <a:cubicBezTo>
                      <a:pt x="363" y="115"/>
                      <a:pt x="363" y="115"/>
                      <a:pt x="363" y="115"/>
                    </a:cubicBezTo>
                    <a:cubicBezTo>
                      <a:pt x="364" y="115"/>
                      <a:pt x="364" y="115"/>
                      <a:pt x="364" y="115"/>
                    </a:cubicBezTo>
                    <a:cubicBezTo>
                      <a:pt x="365" y="114"/>
                      <a:pt x="365" y="114"/>
                      <a:pt x="365" y="114"/>
                    </a:cubicBezTo>
                    <a:cubicBezTo>
                      <a:pt x="366" y="112"/>
                      <a:pt x="366" y="112"/>
                      <a:pt x="366" y="112"/>
                    </a:cubicBezTo>
                    <a:cubicBezTo>
                      <a:pt x="366" y="110"/>
                      <a:pt x="366" y="110"/>
                      <a:pt x="366" y="110"/>
                    </a:cubicBezTo>
                    <a:cubicBezTo>
                      <a:pt x="363" y="108"/>
                      <a:pt x="363" y="108"/>
                      <a:pt x="363" y="108"/>
                    </a:cubicBezTo>
                    <a:cubicBezTo>
                      <a:pt x="362" y="106"/>
                      <a:pt x="362" y="106"/>
                      <a:pt x="362" y="106"/>
                    </a:cubicBezTo>
                    <a:cubicBezTo>
                      <a:pt x="363" y="105"/>
                      <a:pt x="363" y="105"/>
                      <a:pt x="363" y="105"/>
                    </a:cubicBezTo>
                    <a:cubicBezTo>
                      <a:pt x="365" y="105"/>
                      <a:pt x="365" y="105"/>
                      <a:pt x="365" y="105"/>
                    </a:cubicBezTo>
                    <a:cubicBezTo>
                      <a:pt x="367" y="107"/>
                      <a:pt x="367" y="107"/>
                      <a:pt x="367" y="107"/>
                    </a:cubicBezTo>
                    <a:cubicBezTo>
                      <a:pt x="371" y="108"/>
                      <a:pt x="371" y="108"/>
                      <a:pt x="371" y="108"/>
                    </a:cubicBezTo>
                    <a:cubicBezTo>
                      <a:pt x="374" y="109"/>
                      <a:pt x="374" y="109"/>
                      <a:pt x="374" y="109"/>
                    </a:cubicBezTo>
                    <a:cubicBezTo>
                      <a:pt x="374" y="110"/>
                      <a:pt x="374" y="110"/>
                      <a:pt x="374" y="110"/>
                    </a:cubicBezTo>
                    <a:cubicBezTo>
                      <a:pt x="377" y="110"/>
                      <a:pt x="377" y="110"/>
                      <a:pt x="377" y="110"/>
                    </a:cubicBezTo>
                    <a:cubicBezTo>
                      <a:pt x="379" y="109"/>
                      <a:pt x="379" y="109"/>
                      <a:pt x="379" y="109"/>
                    </a:cubicBezTo>
                    <a:cubicBezTo>
                      <a:pt x="380" y="109"/>
                      <a:pt x="380" y="109"/>
                      <a:pt x="380" y="109"/>
                    </a:cubicBezTo>
                    <a:cubicBezTo>
                      <a:pt x="381" y="111"/>
                      <a:pt x="381" y="111"/>
                      <a:pt x="381" y="111"/>
                    </a:cubicBezTo>
                    <a:cubicBezTo>
                      <a:pt x="383" y="110"/>
                      <a:pt x="383" y="110"/>
                      <a:pt x="383" y="110"/>
                    </a:cubicBezTo>
                    <a:cubicBezTo>
                      <a:pt x="383" y="104"/>
                      <a:pt x="383" y="104"/>
                      <a:pt x="383" y="104"/>
                    </a:cubicBezTo>
                    <a:cubicBezTo>
                      <a:pt x="382" y="100"/>
                      <a:pt x="382" y="100"/>
                      <a:pt x="382" y="100"/>
                    </a:cubicBezTo>
                    <a:cubicBezTo>
                      <a:pt x="383" y="95"/>
                      <a:pt x="383" y="95"/>
                      <a:pt x="383" y="95"/>
                    </a:cubicBezTo>
                    <a:cubicBezTo>
                      <a:pt x="384" y="90"/>
                      <a:pt x="384" y="90"/>
                      <a:pt x="384" y="90"/>
                    </a:cubicBezTo>
                    <a:cubicBezTo>
                      <a:pt x="382" y="88"/>
                      <a:pt x="382" y="88"/>
                      <a:pt x="382" y="88"/>
                    </a:cubicBezTo>
                    <a:cubicBezTo>
                      <a:pt x="381" y="83"/>
                      <a:pt x="381" y="83"/>
                      <a:pt x="381" y="83"/>
                    </a:cubicBezTo>
                    <a:cubicBezTo>
                      <a:pt x="381" y="79"/>
                      <a:pt x="381" y="79"/>
                      <a:pt x="381" y="79"/>
                    </a:cubicBezTo>
                    <a:cubicBezTo>
                      <a:pt x="384" y="73"/>
                      <a:pt x="384" y="73"/>
                      <a:pt x="384" y="73"/>
                    </a:cubicBezTo>
                    <a:cubicBezTo>
                      <a:pt x="385" y="70"/>
                      <a:pt x="385" y="70"/>
                      <a:pt x="385" y="70"/>
                    </a:cubicBezTo>
                    <a:cubicBezTo>
                      <a:pt x="384" y="68"/>
                      <a:pt x="384" y="68"/>
                      <a:pt x="384" y="68"/>
                    </a:cubicBezTo>
                    <a:cubicBezTo>
                      <a:pt x="385" y="66"/>
                      <a:pt x="385" y="66"/>
                      <a:pt x="385" y="66"/>
                    </a:cubicBezTo>
                    <a:cubicBezTo>
                      <a:pt x="385" y="62"/>
                      <a:pt x="385" y="62"/>
                      <a:pt x="385" y="62"/>
                    </a:cubicBezTo>
                    <a:cubicBezTo>
                      <a:pt x="387" y="60"/>
                      <a:pt x="387" y="60"/>
                      <a:pt x="387" y="60"/>
                    </a:cubicBezTo>
                    <a:cubicBezTo>
                      <a:pt x="390" y="59"/>
                      <a:pt x="390" y="59"/>
                      <a:pt x="390" y="59"/>
                    </a:cubicBezTo>
                    <a:cubicBezTo>
                      <a:pt x="392" y="61"/>
                      <a:pt x="392" y="61"/>
                      <a:pt x="392" y="61"/>
                    </a:cubicBezTo>
                    <a:cubicBezTo>
                      <a:pt x="395" y="62"/>
                      <a:pt x="395" y="62"/>
                      <a:pt x="395" y="62"/>
                    </a:cubicBezTo>
                    <a:cubicBezTo>
                      <a:pt x="398" y="62"/>
                      <a:pt x="398" y="62"/>
                      <a:pt x="398" y="62"/>
                    </a:cubicBezTo>
                    <a:cubicBezTo>
                      <a:pt x="399" y="65"/>
                      <a:pt x="399" y="65"/>
                      <a:pt x="399" y="65"/>
                    </a:cubicBezTo>
                    <a:cubicBezTo>
                      <a:pt x="402" y="66"/>
                      <a:pt x="402" y="66"/>
                      <a:pt x="402" y="66"/>
                    </a:cubicBezTo>
                    <a:cubicBezTo>
                      <a:pt x="403" y="69"/>
                      <a:pt x="403" y="69"/>
                      <a:pt x="403" y="69"/>
                    </a:cubicBezTo>
                    <a:cubicBezTo>
                      <a:pt x="406" y="77"/>
                      <a:pt x="406" y="77"/>
                      <a:pt x="406" y="77"/>
                    </a:cubicBezTo>
                    <a:cubicBezTo>
                      <a:pt x="407" y="80"/>
                      <a:pt x="407" y="80"/>
                      <a:pt x="407" y="80"/>
                    </a:cubicBezTo>
                    <a:cubicBezTo>
                      <a:pt x="410" y="85"/>
                      <a:pt x="410" y="85"/>
                      <a:pt x="410" y="85"/>
                    </a:cubicBezTo>
                    <a:cubicBezTo>
                      <a:pt x="412" y="90"/>
                      <a:pt x="412" y="90"/>
                      <a:pt x="412" y="90"/>
                    </a:cubicBezTo>
                    <a:cubicBezTo>
                      <a:pt x="413" y="98"/>
                      <a:pt x="413" y="98"/>
                      <a:pt x="413" y="98"/>
                    </a:cubicBezTo>
                    <a:cubicBezTo>
                      <a:pt x="413" y="100"/>
                      <a:pt x="413" y="100"/>
                      <a:pt x="413" y="100"/>
                    </a:cubicBezTo>
                    <a:cubicBezTo>
                      <a:pt x="411" y="102"/>
                      <a:pt x="411" y="102"/>
                      <a:pt x="411" y="102"/>
                    </a:cubicBezTo>
                    <a:cubicBezTo>
                      <a:pt x="411" y="105"/>
                      <a:pt x="411" y="105"/>
                      <a:pt x="411" y="105"/>
                    </a:cubicBezTo>
                    <a:cubicBezTo>
                      <a:pt x="411" y="109"/>
                      <a:pt x="411" y="109"/>
                      <a:pt x="411" y="109"/>
                    </a:cubicBezTo>
                    <a:cubicBezTo>
                      <a:pt x="413" y="110"/>
                      <a:pt x="413" y="110"/>
                      <a:pt x="413" y="110"/>
                    </a:cubicBezTo>
                    <a:cubicBezTo>
                      <a:pt x="416" y="117"/>
                      <a:pt x="416" y="117"/>
                      <a:pt x="416" y="117"/>
                    </a:cubicBezTo>
                    <a:cubicBezTo>
                      <a:pt x="415" y="121"/>
                      <a:pt x="415" y="121"/>
                      <a:pt x="415" y="121"/>
                    </a:cubicBezTo>
                    <a:cubicBezTo>
                      <a:pt x="415" y="124"/>
                      <a:pt x="415" y="124"/>
                      <a:pt x="415" y="124"/>
                    </a:cubicBezTo>
                    <a:cubicBezTo>
                      <a:pt x="417" y="127"/>
                      <a:pt x="417" y="127"/>
                      <a:pt x="417" y="127"/>
                    </a:cubicBezTo>
                    <a:cubicBezTo>
                      <a:pt x="420" y="127"/>
                      <a:pt x="420" y="127"/>
                      <a:pt x="420" y="127"/>
                    </a:cubicBezTo>
                    <a:cubicBezTo>
                      <a:pt x="424" y="130"/>
                      <a:pt x="424" y="130"/>
                      <a:pt x="424" y="130"/>
                    </a:cubicBezTo>
                    <a:cubicBezTo>
                      <a:pt x="427" y="130"/>
                      <a:pt x="427" y="130"/>
                      <a:pt x="427" y="130"/>
                    </a:cubicBezTo>
                    <a:cubicBezTo>
                      <a:pt x="431" y="128"/>
                      <a:pt x="431" y="128"/>
                      <a:pt x="431" y="128"/>
                    </a:cubicBezTo>
                    <a:cubicBezTo>
                      <a:pt x="434" y="124"/>
                      <a:pt x="434" y="124"/>
                      <a:pt x="434" y="124"/>
                    </a:cubicBezTo>
                    <a:cubicBezTo>
                      <a:pt x="436" y="122"/>
                      <a:pt x="436" y="122"/>
                      <a:pt x="436" y="122"/>
                    </a:cubicBezTo>
                    <a:cubicBezTo>
                      <a:pt x="436" y="122"/>
                      <a:pt x="436" y="122"/>
                      <a:pt x="436" y="122"/>
                    </a:cubicBezTo>
                    <a:cubicBezTo>
                      <a:pt x="436" y="126"/>
                      <a:pt x="436" y="126"/>
                      <a:pt x="436" y="126"/>
                    </a:cubicBezTo>
                    <a:cubicBezTo>
                      <a:pt x="437" y="127"/>
                      <a:pt x="437" y="127"/>
                      <a:pt x="437" y="127"/>
                    </a:cubicBezTo>
                    <a:cubicBezTo>
                      <a:pt x="438" y="127"/>
                      <a:pt x="438" y="127"/>
                      <a:pt x="438" y="127"/>
                    </a:cubicBezTo>
                    <a:cubicBezTo>
                      <a:pt x="441" y="126"/>
                      <a:pt x="441" y="126"/>
                      <a:pt x="441" y="126"/>
                    </a:cubicBezTo>
                    <a:cubicBezTo>
                      <a:pt x="443" y="128"/>
                      <a:pt x="443" y="128"/>
                      <a:pt x="443" y="128"/>
                    </a:cubicBezTo>
                    <a:cubicBezTo>
                      <a:pt x="444" y="129"/>
                      <a:pt x="444" y="129"/>
                      <a:pt x="444" y="129"/>
                    </a:cubicBezTo>
                    <a:cubicBezTo>
                      <a:pt x="444" y="132"/>
                      <a:pt x="444" y="132"/>
                      <a:pt x="444" y="132"/>
                    </a:cubicBezTo>
                    <a:cubicBezTo>
                      <a:pt x="445" y="134"/>
                      <a:pt x="445" y="134"/>
                      <a:pt x="445" y="134"/>
                    </a:cubicBezTo>
                    <a:cubicBezTo>
                      <a:pt x="448" y="134"/>
                      <a:pt x="448" y="134"/>
                      <a:pt x="448" y="134"/>
                    </a:cubicBezTo>
                    <a:cubicBezTo>
                      <a:pt x="450" y="135"/>
                      <a:pt x="450" y="135"/>
                      <a:pt x="450" y="135"/>
                    </a:cubicBezTo>
                    <a:cubicBezTo>
                      <a:pt x="454" y="135"/>
                      <a:pt x="454" y="135"/>
                      <a:pt x="454" y="135"/>
                    </a:cubicBezTo>
                    <a:cubicBezTo>
                      <a:pt x="455" y="133"/>
                      <a:pt x="455" y="133"/>
                      <a:pt x="455" y="133"/>
                    </a:cubicBezTo>
                    <a:cubicBezTo>
                      <a:pt x="454" y="133"/>
                      <a:pt x="454" y="133"/>
                      <a:pt x="454" y="133"/>
                    </a:cubicBezTo>
                    <a:cubicBezTo>
                      <a:pt x="450" y="131"/>
                      <a:pt x="450" y="131"/>
                      <a:pt x="450" y="131"/>
                    </a:cubicBezTo>
                    <a:cubicBezTo>
                      <a:pt x="449" y="128"/>
                      <a:pt x="449" y="128"/>
                      <a:pt x="449" y="128"/>
                    </a:cubicBezTo>
                    <a:cubicBezTo>
                      <a:pt x="449" y="126"/>
                      <a:pt x="449" y="126"/>
                      <a:pt x="449" y="126"/>
                    </a:cubicBezTo>
                    <a:cubicBezTo>
                      <a:pt x="446" y="126"/>
                      <a:pt x="446" y="126"/>
                      <a:pt x="446" y="126"/>
                    </a:cubicBezTo>
                    <a:cubicBezTo>
                      <a:pt x="445" y="125"/>
                      <a:pt x="445" y="125"/>
                      <a:pt x="445" y="125"/>
                    </a:cubicBezTo>
                    <a:cubicBezTo>
                      <a:pt x="445" y="121"/>
                      <a:pt x="445" y="121"/>
                      <a:pt x="445" y="121"/>
                    </a:cubicBezTo>
                    <a:cubicBezTo>
                      <a:pt x="443" y="118"/>
                      <a:pt x="443" y="118"/>
                      <a:pt x="443" y="118"/>
                    </a:cubicBezTo>
                    <a:cubicBezTo>
                      <a:pt x="440" y="115"/>
                      <a:pt x="440" y="115"/>
                      <a:pt x="440" y="115"/>
                    </a:cubicBezTo>
                    <a:cubicBezTo>
                      <a:pt x="440" y="113"/>
                      <a:pt x="440" y="113"/>
                      <a:pt x="440" y="113"/>
                    </a:cubicBezTo>
                    <a:cubicBezTo>
                      <a:pt x="438" y="108"/>
                      <a:pt x="438" y="108"/>
                      <a:pt x="438" y="108"/>
                    </a:cubicBezTo>
                    <a:cubicBezTo>
                      <a:pt x="436" y="105"/>
                      <a:pt x="436" y="105"/>
                      <a:pt x="436" y="105"/>
                    </a:cubicBezTo>
                    <a:cubicBezTo>
                      <a:pt x="436" y="103"/>
                      <a:pt x="436" y="103"/>
                      <a:pt x="436" y="103"/>
                    </a:cubicBezTo>
                    <a:cubicBezTo>
                      <a:pt x="437" y="98"/>
                      <a:pt x="437" y="98"/>
                      <a:pt x="437" y="98"/>
                    </a:cubicBezTo>
                    <a:cubicBezTo>
                      <a:pt x="436" y="95"/>
                      <a:pt x="436" y="95"/>
                      <a:pt x="436" y="95"/>
                    </a:cubicBezTo>
                    <a:cubicBezTo>
                      <a:pt x="433" y="90"/>
                      <a:pt x="433" y="90"/>
                      <a:pt x="433" y="90"/>
                    </a:cubicBezTo>
                    <a:cubicBezTo>
                      <a:pt x="434" y="87"/>
                      <a:pt x="434" y="87"/>
                      <a:pt x="434" y="87"/>
                    </a:cubicBezTo>
                    <a:cubicBezTo>
                      <a:pt x="434" y="85"/>
                      <a:pt x="434" y="85"/>
                      <a:pt x="434" y="85"/>
                    </a:cubicBezTo>
                    <a:cubicBezTo>
                      <a:pt x="433" y="81"/>
                      <a:pt x="433" y="81"/>
                      <a:pt x="433" y="81"/>
                    </a:cubicBezTo>
                    <a:cubicBezTo>
                      <a:pt x="432" y="79"/>
                      <a:pt x="432" y="79"/>
                      <a:pt x="432" y="79"/>
                    </a:cubicBezTo>
                    <a:cubicBezTo>
                      <a:pt x="433" y="75"/>
                      <a:pt x="433" y="75"/>
                      <a:pt x="433" y="75"/>
                    </a:cubicBezTo>
                    <a:cubicBezTo>
                      <a:pt x="430" y="70"/>
                      <a:pt x="430" y="70"/>
                      <a:pt x="430" y="70"/>
                    </a:cubicBezTo>
                    <a:cubicBezTo>
                      <a:pt x="429" y="67"/>
                      <a:pt x="429" y="67"/>
                      <a:pt x="429" y="67"/>
                    </a:cubicBezTo>
                    <a:cubicBezTo>
                      <a:pt x="430" y="64"/>
                      <a:pt x="430" y="64"/>
                      <a:pt x="430" y="64"/>
                    </a:cubicBezTo>
                    <a:cubicBezTo>
                      <a:pt x="428" y="60"/>
                      <a:pt x="428" y="60"/>
                      <a:pt x="428" y="60"/>
                    </a:cubicBezTo>
                    <a:cubicBezTo>
                      <a:pt x="428" y="56"/>
                      <a:pt x="428" y="56"/>
                      <a:pt x="428" y="56"/>
                    </a:cubicBezTo>
                    <a:cubicBezTo>
                      <a:pt x="429" y="55"/>
                      <a:pt x="429" y="55"/>
                      <a:pt x="429" y="55"/>
                    </a:cubicBezTo>
                    <a:cubicBezTo>
                      <a:pt x="436" y="56"/>
                      <a:pt x="436" y="56"/>
                      <a:pt x="436" y="56"/>
                    </a:cubicBezTo>
                    <a:cubicBezTo>
                      <a:pt x="437" y="58"/>
                      <a:pt x="437" y="58"/>
                      <a:pt x="437" y="58"/>
                    </a:cubicBezTo>
                    <a:cubicBezTo>
                      <a:pt x="439" y="58"/>
                      <a:pt x="439" y="58"/>
                      <a:pt x="439" y="58"/>
                    </a:cubicBezTo>
                    <a:cubicBezTo>
                      <a:pt x="440" y="56"/>
                      <a:pt x="440" y="56"/>
                      <a:pt x="440" y="56"/>
                    </a:cubicBezTo>
                    <a:cubicBezTo>
                      <a:pt x="442" y="56"/>
                      <a:pt x="442" y="56"/>
                      <a:pt x="442" y="56"/>
                    </a:cubicBezTo>
                    <a:cubicBezTo>
                      <a:pt x="448" y="63"/>
                      <a:pt x="448" y="63"/>
                      <a:pt x="448" y="63"/>
                    </a:cubicBezTo>
                    <a:cubicBezTo>
                      <a:pt x="453" y="66"/>
                      <a:pt x="453" y="66"/>
                      <a:pt x="453" y="66"/>
                    </a:cubicBezTo>
                    <a:cubicBezTo>
                      <a:pt x="455" y="64"/>
                      <a:pt x="455" y="64"/>
                      <a:pt x="455" y="64"/>
                    </a:cubicBezTo>
                    <a:cubicBezTo>
                      <a:pt x="456" y="60"/>
                      <a:pt x="456" y="60"/>
                      <a:pt x="456" y="60"/>
                    </a:cubicBezTo>
                    <a:cubicBezTo>
                      <a:pt x="454" y="59"/>
                      <a:pt x="454" y="59"/>
                      <a:pt x="454" y="59"/>
                    </a:cubicBezTo>
                    <a:cubicBezTo>
                      <a:pt x="456" y="53"/>
                      <a:pt x="456" y="53"/>
                      <a:pt x="456" y="53"/>
                    </a:cubicBezTo>
                    <a:cubicBezTo>
                      <a:pt x="458" y="53"/>
                      <a:pt x="458" y="53"/>
                      <a:pt x="458" y="53"/>
                    </a:cubicBezTo>
                    <a:cubicBezTo>
                      <a:pt x="461" y="54"/>
                      <a:pt x="461" y="54"/>
                      <a:pt x="461" y="54"/>
                    </a:cubicBezTo>
                    <a:cubicBezTo>
                      <a:pt x="465" y="53"/>
                      <a:pt x="465" y="53"/>
                      <a:pt x="465" y="53"/>
                    </a:cubicBezTo>
                    <a:cubicBezTo>
                      <a:pt x="468" y="51"/>
                      <a:pt x="468" y="51"/>
                      <a:pt x="468" y="51"/>
                    </a:cubicBezTo>
                    <a:cubicBezTo>
                      <a:pt x="472" y="52"/>
                      <a:pt x="472" y="52"/>
                      <a:pt x="472" y="52"/>
                    </a:cubicBezTo>
                    <a:cubicBezTo>
                      <a:pt x="475" y="54"/>
                      <a:pt x="475" y="54"/>
                      <a:pt x="475" y="54"/>
                    </a:cubicBezTo>
                    <a:cubicBezTo>
                      <a:pt x="478" y="55"/>
                      <a:pt x="478" y="55"/>
                      <a:pt x="478" y="55"/>
                    </a:cubicBezTo>
                    <a:cubicBezTo>
                      <a:pt x="479" y="57"/>
                      <a:pt x="479" y="57"/>
                      <a:pt x="479" y="57"/>
                    </a:cubicBezTo>
                    <a:cubicBezTo>
                      <a:pt x="481" y="62"/>
                      <a:pt x="481" y="62"/>
                      <a:pt x="481" y="62"/>
                    </a:cubicBezTo>
                    <a:cubicBezTo>
                      <a:pt x="481" y="64"/>
                      <a:pt x="481" y="64"/>
                      <a:pt x="481" y="64"/>
                    </a:cubicBezTo>
                    <a:cubicBezTo>
                      <a:pt x="485" y="68"/>
                      <a:pt x="485" y="68"/>
                      <a:pt x="485" y="68"/>
                    </a:cubicBezTo>
                    <a:cubicBezTo>
                      <a:pt x="485" y="71"/>
                      <a:pt x="485" y="71"/>
                      <a:pt x="485" y="71"/>
                    </a:cubicBezTo>
                    <a:cubicBezTo>
                      <a:pt x="484" y="74"/>
                      <a:pt x="484" y="74"/>
                      <a:pt x="484" y="74"/>
                    </a:cubicBezTo>
                    <a:cubicBezTo>
                      <a:pt x="486" y="81"/>
                      <a:pt x="486" y="81"/>
                      <a:pt x="486" y="81"/>
                    </a:cubicBezTo>
                    <a:cubicBezTo>
                      <a:pt x="486" y="85"/>
                      <a:pt x="486" y="85"/>
                      <a:pt x="486" y="85"/>
                    </a:cubicBezTo>
                    <a:cubicBezTo>
                      <a:pt x="487" y="88"/>
                      <a:pt x="487" y="88"/>
                      <a:pt x="487" y="88"/>
                    </a:cubicBezTo>
                    <a:cubicBezTo>
                      <a:pt x="490" y="89"/>
                      <a:pt x="490" y="89"/>
                      <a:pt x="490" y="89"/>
                    </a:cubicBezTo>
                    <a:cubicBezTo>
                      <a:pt x="495" y="89"/>
                      <a:pt x="495" y="89"/>
                      <a:pt x="495" y="89"/>
                    </a:cubicBezTo>
                    <a:cubicBezTo>
                      <a:pt x="499" y="92"/>
                      <a:pt x="499" y="92"/>
                      <a:pt x="499" y="92"/>
                    </a:cubicBezTo>
                    <a:cubicBezTo>
                      <a:pt x="504" y="95"/>
                      <a:pt x="504" y="95"/>
                      <a:pt x="504" y="95"/>
                    </a:cubicBezTo>
                    <a:cubicBezTo>
                      <a:pt x="503" y="93"/>
                      <a:pt x="503" y="93"/>
                      <a:pt x="503" y="93"/>
                    </a:cubicBezTo>
                    <a:cubicBezTo>
                      <a:pt x="503" y="91"/>
                      <a:pt x="503" y="91"/>
                      <a:pt x="503" y="91"/>
                    </a:cubicBezTo>
                    <a:cubicBezTo>
                      <a:pt x="499" y="89"/>
                      <a:pt x="499" y="89"/>
                      <a:pt x="499" y="89"/>
                    </a:cubicBezTo>
                    <a:cubicBezTo>
                      <a:pt x="497" y="86"/>
                      <a:pt x="497" y="86"/>
                      <a:pt x="497" y="86"/>
                    </a:cubicBezTo>
                    <a:cubicBezTo>
                      <a:pt x="494" y="86"/>
                      <a:pt x="494" y="86"/>
                      <a:pt x="494" y="86"/>
                    </a:cubicBezTo>
                    <a:cubicBezTo>
                      <a:pt x="490" y="84"/>
                      <a:pt x="490" y="84"/>
                      <a:pt x="490" y="84"/>
                    </a:cubicBezTo>
                    <a:cubicBezTo>
                      <a:pt x="489" y="82"/>
                      <a:pt x="489" y="82"/>
                      <a:pt x="489" y="82"/>
                    </a:cubicBezTo>
                    <a:cubicBezTo>
                      <a:pt x="490" y="78"/>
                      <a:pt x="490" y="78"/>
                      <a:pt x="490" y="78"/>
                    </a:cubicBezTo>
                    <a:cubicBezTo>
                      <a:pt x="487" y="74"/>
                      <a:pt x="487" y="74"/>
                      <a:pt x="487" y="74"/>
                    </a:cubicBezTo>
                    <a:cubicBezTo>
                      <a:pt x="487" y="71"/>
                      <a:pt x="487" y="71"/>
                      <a:pt x="487" y="71"/>
                    </a:cubicBezTo>
                    <a:cubicBezTo>
                      <a:pt x="489" y="66"/>
                      <a:pt x="489" y="66"/>
                      <a:pt x="489" y="66"/>
                    </a:cubicBezTo>
                    <a:cubicBezTo>
                      <a:pt x="488" y="62"/>
                      <a:pt x="488" y="62"/>
                      <a:pt x="488" y="62"/>
                    </a:cubicBezTo>
                    <a:cubicBezTo>
                      <a:pt x="489" y="60"/>
                      <a:pt x="489" y="60"/>
                      <a:pt x="489" y="60"/>
                    </a:cubicBezTo>
                    <a:cubicBezTo>
                      <a:pt x="489" y="58"/>
                      <a:pt x="489" y="58"/>
                      <a:pt x="489" y="58"/>
                    </a:cubicBezTo>
                    <a:cubicBezTo>
                      <a:pt x="488" y="56"/>
                      <a:pt x="488" y="56"/>
                      <a:pt x="488" y="56"/>
                    </a:cubicBezTo>
                    <a:cubicBezTo>
                      <a:pt x="484" y="54"/>
                      <a:pt x="484" y="54"/>
                      <a:pt x="484" y="54"/>
                    </a:cubicBezTo>
                    <a:cubicBezTo>
                      <a:pt x="480" y="49"/>
                      <a:pt x="480" y="49"/>
                      <a:pt x="480" y="49"/>
                    </a:cubicBezTo>
                    <a:cubicBezTo>
                      <a:pt x="478" y="48"/>
                      <a:pt x="478" y="48"/>
                      <a:pt x="478" y="48"/>
                    </a:cubicBezTo>
                    <a:cubicBezTo>
                      <a:pt x="474" y="48"/>
                      <a:pt x="474" y="48"/>
                      <a:pt x="474" y="48"/>
                    </a:cubicBezTo>
                    <a:cubicBezTo>
                      <a:pt x="471" y="50"/>
                      <a:pt x="471" y="50"/>
                      <a:pt x="471" y="50"/>
                    </a:cubicBezTo>
                    <a:cubicBezTo>
                      <a:pt x="469" y="51"/>
                      <a:pt x="469" y="51"/>
                      <a:pt x="469" y="51"/>
                    </a:cubicBezTo>
                    <a:cubicBezTo>
                      <a:pt x="465" y="48"/>
                      <a:pt x="465" y="48"/>
                      <a:pt x="465" y="48"/>
                    </a:cubicBezTo>
                    <a:cubicBezTo>
                      <a:pt x="465" y="44"/>
                      <a:pt x="465" y="44"/>
                      <a:pt x="465" y="44"/>
                    </a:cubicBezTo>
                    <a:cubicBezTo>
                      <a:pt x="467" y="40"/>
                      <a:pt x="467" y="40"/>
                      <a:pt x="467" y="40"/>
                    </a:cubicBezTo>
                    <a:cubicBezTo>
                      <a:pt x="470" y="39"/>
                      <a:pt x="470" y="39"/>
                      <a:pt x="470" y="39"/>
                    </a:cubicBezTo>
                    <a:cubicBezTo>
                      <a:pt x="470" y="38"/>
                      <a:pt x="470" y="38"/>
                      <a:pt x="470" y="38"/>
                    </a:cubicBezTo>
                    <a:cubicBezTo>
                      <a:pt x="465" y="34"/>
                      <a:pt x="465" y="34"/>
                      <a:pt x="465" y="34"/>
                    </a:cubicBezTo>
                    <a:cubicBezTo>
                      <a:pt x="464" y="30"/>
                      <a:pt x="464" y="30"/>
                      <a:pt x="464" y="30"/>
                    </a:cubicBezTo>
                    <a:cubicBezTo>
                      <a:pt x="465" y="27"/>
                      <a:pt x="465" y="27"/>
                      <a:pt x="465" y="27"/>
                    </a:cubicBezTo>
                    <a:cubicBezTo>
                      <a:pt x="466" y="24"/>
                      <a:pt x="466" y="24"/>
                      <a:pt x="466" y="24"/>
                    </a:cubicBezTo>
                    <a:cubicBezTo>
                      <a:pt x="467" y="24"/>
                      <a:pt x="467" y="24"/>
                      <a:pt x="467" y="24"/>
                    </a:cubicBezTo>
                    <a:cubicBezTo>
                      <a:pt x="470" y="27"/>
                      <a:pt x="470" y="27"/>
                      <a:pt x="470" y="27"/>
                    </a:cubicBezTo>
                    <a:cubicBezTo>
                      <a:pt x="472" y="31"/>
                      <a:pt x="472" y="31"/>
                      <a:pt x="472" y="31"/>
                    </a:cubicBezTo>
                    <a:cubicBezTo>
                      <a:pt x="473" y="30"/>
                      <a:pt x="473" y="30"/>
                      <a:pt x="473" y="30"/>
                    </a:cubicBezTo>
                    <a:cubicBezTo>
                      <a:pt x="477" y="25"/>
                      <a:pt x="477" y="25"/>
                      <a:pt x="477" y="25"/>
                    </a:cubicBezTo>
                    <a:cubicBezTo>
                      <a:pt x="480" y="24"/>
                      <a:pt x="480" y="24"/>
                      <a:pt x="480" y="24"/>
                    </a:cubicBezTo>
                    <a:cubicBezTo>
                      <a:pt x="484" y="22"/>
                      <a:pt x="484" y="22"/>
                      <a:pt x="484" y="22"/>
                    </a:cubicBezTo>
                    <a:cubicBezTo>
                      <a:pt x="484" y="20"/>
                      <a:pt x="484" y="20"/>
                      <a:pt x="484" y="20"/>
                    </a:cubicBezTo>
                    <a:cubicBezTo>
                      <a:pt x="488" y="16"/>
                      <a:pt x="488" y="16"/>
                      <a:pt x="488" y="16"/>
                    </a:cubicBezTo>
                    <a:cubicBezTo>
                      <a:pt x="491" y="16"/>
                      <a:pt x="491" y="16"/>
                      <a:pt x="491" y="16"/>
                    </a:cubicBezTo>
                    <a:cubicBezTo>
                      <a:pt x="489" y="18"/>
                      <a:pt x="489" y="18"/>
                      <a:pt x="489" y="18"/>
                    </a:cubicBezTo>
                    <a:cubicBezTo>
                      <a:pt x="488" y="21"/>
                      <a:pt x="488" y="21"/>
                      <a:pt x="488" y="21"/>
                    </a:cubicBezTo>
                    <a:cubicBezTo>
                      <a:pt x="488" y="22"/>
                      <a:pt x="488" y="22"/>
                      <a:pt x="488" y="22"/>
                    </a:cubicBezTo>
                    <a:cubicBezTo>
                      <a:pt x="491" y="20"/>
                      <a:pt x="491" y="20"/>
                      <a:pt x="491" y="20"/>
                    </a:cubicBezTo>
                    <a:cubicBezTo>
                      <a:pt x="495" y="20"/>
                      <a:pt x="495" y="20"/>
                      <a:pt x="495" y="20"/>
                    </a:cubicBezTo>
                    <a:cubicBezTo>
                      <a:pt x="496" y="22"/>
                      <a:pt x="496" y="22"/>
                      <a:pt x="496" y="22"/>
                    </a:cubicBezTo>
                    <a:cubicBezTo>
                      <a:pt x="496" y="25"/>
                      <a:pt x="496" y="25"/>
                      <a:pt x="496" y="25"/>
                    </a:cubicBezTo>
                    <a:cubicBezTo>
                      <a:pt x="499" y="26"/>
                      <a:pt x="499" y="26"/>
                      <a:pt x="499" y="26"/>
                    </a:cubicBezTo>
                    <a:cubicBezTo>
                      <a:pt x="499" y="28"/>
                      <a:pt x="499" y="28"/>
                      <a:pt x="499" y="28"/>
                    </a:cubicBezTo>
                    <a:cubicBezTo>
                      <a:pt x="497" y="31"/>
                      <a:pt x="497" y="31"/>
                      <a:pt x="497" y="31"/>
                    </a:cubicBezTo>
                    <a:cubicBezTo>
                      <a:pt x="498" y="33"/>
                      <a:pt x="498" y="33"/>
                      <a:pt x="498" y="33"/>
                    </a:cubicBezTo>
                    <a:cubicBezTo>
                      <a:pt x="500" y="31"/>
                      <a:pt x="500" y="31"/>
                      <a:pt x="500" y="31"/>
                    </a:cubicBezTo>
                    <a:cubicBezTo>
                      <a:pt x="502" y="27"/>
                      <a:pt x="502" y="27"/>
                      <a:pt x="502" y="27"/>
                    </a:cubicBezTo>
                    <a:cubicBezTo>
                      <a:pt x="506" y="28"/>
                      <a:pt x="506" y="28"/>
                      <a:pt x="506" y="28"/>
                    </a:cubicBezTo>
                    <a:cubicBezTo>
                      <a:pt x="509" y="31"/>
                      <a:pt x="509" y="31"/>
                      <a:pt x="509" y="31"/>
                    </a:cubicBezTo>
                    <a:cubicBezTo>
                      <a:pt x="509" y="34"/>
                      <a:pt x="509" y="34"/>
                      <a:pt x="509" y="34"/>
                    </a:cubicBezTo>
                    <a:cubicBezTo>
                      <a:pt x="512" y="39"/>
                      <a:pt x="512" y="39"/>
                      <a:pt x="512" y="39"/>
                    </a:cubicBezTo>
                    <a:cubicBezTo>
                      <a:pt x="513" y="43"/>
                      <a:pt x="513" y="43"/>
                      <a:pt x="513" y="43"/>
                    </a:cubicBezTo>
                    <a:cubicBezTo>
                      <a:pt x="513" y="48"/>
                      <a:pt x="513" y="48"/>
                      <a:pt x="513" y="48"/>
                    </a:cubicBezTo>
                    <a:cubicBezTo>
                      <a:pt x="515" y="46"/>
                      <a:pt x="515" y="46"/>
                      <a:pt x="515" y="46"/>
                    </a:cubicBezTo>
                    <a:cubicBezTo>
                      <a:pt x="516" y="41"/>
                      <a:pt x="516" y="41"/>
                      <a:pt x="516" y="41"/>
                    </a:cubicBezTo>
                    <a:cubicBezTo>
                      <a:pt x="514" y="39"/>
                      <a:pt x="514" y="39"/>
                      <a:pt x="514" y="39"/>
                    </a:cubicBezTo>
                    <a:cubicBezTo>
                      <a:pt x="513" y="36"/>
                      <a:pt x="513" y="36"/>
                      <a:pt x="513" y="36"/>
                    </a:cubicBezTo>
                    <a:cubicBezTo>
                      <a:pt x="513" y="33"/>
                      <a:pt x="513" y="33"/>
                      <a:pt x="513" y="33"/>
                    </a:cubicBezTo>
                    <a:cubicBezTo>
                      <a:pt x="512" y="31"/>
                      <a:pt x="512" y="31"/>
                      <a:pt x="512" y="31"/>
                    </a:cubicBezTo>
                    <a:cubicBezTo>
                      <a:pt x="513" y="30"/>
                      <a:pt x="513" y="30"/>
                      <a:pt x="513" y="30"/>
                    </a:cubicBezTo>
                    <a:cubicBezTo>
                      <a:pt x="515" y="32"/>
                      <a:pt x="515" y="32"/>
                      <a:pt x="515" y="32"/>
                    </a:cubicBezTo>
                    <a:cubicBezTo>
                      <a:pt x="521" y="36"/>
                      <a:pt x="521" y="36"/>
                      <a:pt x="521" y="36"/>
                    </a:cubicBezTo>
                    <a:cubicBezTo>
                      <a:pt x="524" y="42"/>
                      <a:pt x="524" y="42"/>
                      <a:pt x="524" y="42"/>
                    </a:cubicBezTo>
                    <a:cubicBezTo>
                      <a:pt x="529" y="44"/>
                      <a:pt x="529" y="44"/>
                      <a:pt x="529" y="44"/>
                    </a:cubicBezTo>
                    <a:cubicBezTo>
                      <a:pt x="533" y="45"/>
                      <a:pt x="533" y="45"/>
                      <a:pt x="533" y="45"/>
                    </a:cubicBezTo>
                    <a:cubicBezTo>
                      <a:pt x="533" y="43"/>
                      <a:pt x="533" y="43"/>
                      <a:pt x="533" y="43"/>
                    </a:cubicBezTo>
                    <a:cubicBezTo>
                      <a:pt x="531" y="42"/>
                      <a:pt x="531" y="42"/>
                      <a:pt x="531" y="42"/>
                    </a:cubicBezTo>
                    <a:cubicBezTo>
                      <a:pt x="527" y="40"/>
                      <a:pt x="527" y="40"/>
                      <a:pt x="527" y="40"/>
                    </a:cubicBezTo>
                    <a:cubicBezTo>
                      <a:pt x="524" y="35"/>
                      <a:pt x="524" y="35"/>
                      <a:pt x="524" y="35"/>
                    </a:cubicBezTo>
                    <a:cubicBezTo>
                      <a:pt x="523" y="30"/>
                      <a:pt x="523" y="30"/>
                      <a:pt x="523" y="30"/>
                    </a:cubicBezTo>
                    <a:cubicBezTo>
                      <a:pt x="524" y="25"/>
                      <a:pt x="524" y="25"/>
                      <a:pt x="524" y="25"/>
                    </a:cubicBezTo>
                    <a:cubicBezTo>
                      <a:pt x="528" y="25"/>
                      <a:pt x="528" y="25"/>
                      <a:pt x="528" y="25"/>
                    </a:cubicBezTo>
                    <a:cubicBezTo>
                      <a:pt x="531" y="25"/>
                      <a:pt x="531" y="25"/>
                      <a:pt x="531" y="25"/>
                    </a:cubicBezTo>
                    <a:cubicBezTo>
                      <a:pt x="536" y="28"/>
                      <a:pt x="536" y="28"/>
                      <a:pt x="536" y="28"/>
                    </a:cubicBezTo>
                    <a:cubicBezTo>
                      <a:pt x="540" y="28"/>
                      <a:pt x="540" y="28"/>
                      <a:pt x="540" y="28"/>
                    </a:cubicBezTo>
                    <a:cubicBezTo>
                      <a:pt x="542" y="26"/>
                      <a:pt x="542" y="26"/>
                      <a:pt x="542" y="26"/>
                    </a:cubicBezTo>
                    <a:cubicBezTo>
                      <a:pt x="540" y="24"/>
                      <a:pt x="540" y="24"/>
                      <a:pt x="540" y="24"/>
                    </a:cubicBezTo>
                    <a:cubicBezTo>
                      <a:pt x="538" y="23"/>
                      <a:pt x="538" y="23"/>
                      <a:pt x="538" y="23"/>
                    </a:cubicBezTo>
                    <a:cubicBezTo>
                      <a:pt x="538" y="22"/>
                      <a:pt x="538" y="22"/>
                      <a:pt x="538" y="22"/>
                    </a:cubicBezTo>
                    <a:cubicBezTo>
                      <a:pt x="541" y="18"/>
                      <a:pt x="541" y="18"/>
                      <a:pt x="541" y="18"/>
                    </a:cubicBezTo>
                    <a:cubicBezTo>
                      <a:pt x="544" y="15"/>
                      <a:pt x="544" y="15"/>
                      <a:pt x="544" y="15"/>
                    </a:cubicBezTo>
                    <a:cubicBezTo>
                      <a:pt x="543" y="14"/>
                      <a:pt x="543" y="14"/>
                      <a:pt x="543" y="14"/>
                    </a:cubicBezTo>
                    <a:cubicBezTo>
                      <a:pt x="541" y="11"/>
                      <a:pt x="541" y="11"/>
                      <a:pt x="541" y="11"/>
                    </a:cubicBezTo>
                    <a:cubicBezTo>
                      <a:pt x="542" y="8"/>
                      <a:pt x="542" y="8"/>
                      <a:pt x="542" y="8"/>
                    </a:cubicBezTo>
                    <a:cubicBezTo>
                      <a:pt x="545" y="7"/>
                      <a:pt x="545" y="7"/>
                      <a:pt x="545" y="7"/>
                    </a:cubicBezTo>
                    <a:cubicBezTo>
                      <a:pt x="547" y="8"/>
                      <a:pt x="547" y="8"/>
                      <a:pt x="547" y="8"/>
                    </a:cubicBezTo>
                    <a:cubicBezTo>
                      <a:pt x="549" y="6"/>
                      <a:pt x="549" y="6"/>
                      <a:pt x="549" y="6"/>
                    </a:cubicBezTo>
                    <a:cubicBezTo>
                      <a:pt x="549" y="3"/>
                      <a:pt x="549" y="3"/>
                      <a:pt x="549" y="3"/>
                    </a:cubicBezTo>
                    <a:cubicBezTo>
                      <a:pt x="551" y="1"/>
                      <a:pt x="551" y="1"/>
                      <a:pt x="551" y="1"/>
                    </a:cubicBezTo>
                    <a:cubicBezTo>
                      <a:pt x="553" y="2"/>
                      <a:pt x="553" y="2"/>
                      <a:pt x="553" y="2"/>
                    </a:cubicBezTo>
                    <a:cubicBezTo>
                      <a:pt x="554" y="3"/>
                      <a:pt x="554" y="3"/>
                      <a:pt x="554" y="3"/>
                    </a:cubicBezTo>
                    <a:cubicBezTo>
                      <a:pt x="556" y="3"/>
                      <a:pt x="556" y="3"/>
                      <a:pt x="556" y="3"/>
                    </a:cubicBezTo>
                    <a:cubicBezTo>
                      <a:pt x="558" y="6"/>
                      <a:pt x="558" y="6"/>
                      <a:pt x="558" y="6"/>
                    </a:cubicBezTo>
                    <a:cubicBezTo>
                      <a:pt x="559" y="10"/>
                      <a:pt x="559" y="10"/>
                      <a:pt x="559" y="10"/>
                    </a:cubicBezTo>
                    <a:cubicBezTo>
                      <a:pt x="561" y="12"/>
                      <a:pt x="561" y="12"/>
                      <a:pt x="561" y="12"/>
                    </a:cubicBezTo>
                    <a:cubicBezTo>
                      <a:pt x="563" y="10"/>
                      <a:pt x="563" y="10"/>
                      <a:pt x="563" y="10"/>
                    </a:cubicBezTo>
                    <a:cubicBezTo>
                      <a:pt x="563" y="8"/>
                      <a:pt x="563" y="8"/>
                      <a:pt x="563" y="8"/>
                    </a:cubicBezTo>
                    <a:cubicBezTo>
                      <a:pt x="561" y="5"/>
                      <a:pt x="561" y="5"/>
                      <a:pt x="561" y="5"/>
                    </a:cubicBezTo>
                    <a:cubicBezTo>
                      <a:pt x="561" y="2"/>
                      <a:pt x="561" y="2"/>
                      <a:pt x="561" y="2"/>
                    </a:cubicBezTo>
                    <a:cubicBezTo>
                      <a:pt x="563" y="1"/>
                      <a:pt x="563" y="1"/>
                      <a:pt x="563" y="1"/>
                    </a:cubicBezTo>
                    <a:cubicBezTo>
                      <a:pt x="565" y="0"/>
                      <a:pt x="565" y="0"/>
                      <a:pt x="565" y="0"/>
                    </a:cubicBezTo>
                    <a:cubicBezTo>
                      <a:pt x="570" y="1"/>
                      <a:pt x="570" y="1"/>
                      <a:pt x="570" y="1"/>
                    </a:cubicBezTo>
                    <a:cubicBezTo>
                      <a:pt x="576" y="1"/>
                      <a:pt x="576" y="1"/>
                      <a:pt x="576" y="1"/>
                    </a:cubicBezTo>
                    <a:cubicBezTo>
                      <a:pt x="579" y="2"/>
                      <a:pt x="579" y="2"/>
                      <a:pt x="579" y="2"/>
                    </a:cubicBezTo>
                    <a:cubicBezTo>
                      <a:pt x="579" y="3"/>
                      <a:pt x="579" y="3"/>
                      <a:pt x="579" y="3"/>
                    </a:cubicBezTo>
                    <a:cubicBezTo>
                      <a:pt x="581" y="3"/>
                      <a:pt x="581" y="3"/>
                      <a:pt x="581" y="3"/>
                    </a:cubicBezTo>
                    <a:cubicBezTo>
                      <a:pt x="583" y="2"/>
                      <a:pt x="583" y="2"/>
                      <a:pt x="583" y="2"/>
                    </a:cubicBezTo>
                    <a:cubicBezTo>
                      <a:pt x="587" y="3"/>
                      <a:pt x="587" y="3"/>
                      <a:pt x="587" y="3"/>
                    </a:cubicBezTo>
                    <a:cubicBezTo>
                      <a:pt x="594" y="3"/>
                      <a:pt x="594" y="3"/>
                      <a:pt x="594" y="3"/>
                    </a:cubicBezTo>
                    <a:cubicBezTo>
                      <a:pt x="596" y="5"/>
                      <a:pt x="596" y="5"/>
                      <a:pt x="596" y="5"/>
                    </a:cubicBezTo>
                    <a:cubicBezTo>
                      <a:pt x="598" y="5"/>
                      <a:pt x="598" y="5"/>
                      <a:pt x="598" y="5"/>
                    </a:cubicBezTo>
                    <a:cubicBezTo>
                      <a:pt x="600" y="4"/>
                      <a:pt x="600" y="4"/>
                      <a:pt x="600" y="4"/>
                    </a:cubicBezTo>
                    <a:cubicBezTo>
                      <a:pt x="602" y="5"/>
                      <a:pt x="602" y="5"/>
                      <a:pt x="602" y="5"/>
                    </a:cubicBezTo>
                    <a:cubicBezTo>
                      <a:pt x="604" y="7"/>
                      <a:pt x="604" y="7"/>
                      <a:pt x="604" y="7"/>
                    </a:cubicBezTo>
                    <a:cubicBezTo>
                      <a:pt x="609" y="11"/>
                      <a:pt x="609" y="11"/>
                      <a:pt x="609" y="11"/>
                    </a:cubicBezTo>
                    <a:cubicBezTo>
                      <a:pt x="611" y="10"/>
                      <a:pt x="611" y="10"/>
                      <a:pt x="611" y="10"/>
                    </a:cubicBezTo>
                    <a:cubicBezTo>
                      <a:pt x="611" y="9"/>
                      <a:pt x="611" y="9"/>
                      <a:pt x="611" y="9"/>
                    </a:cubicBezTo>
                    <a:cubicBezTo>
                      <a:pt x="613" y="8"/>
                      <a:pt x="613" y="8"/>
                      <a:pt x="613" y="8"/>
                    </a:cubicBezTo>
                    <a:cubicBezTo>
                      <a:pt x="619" y="12"/>
                      <a:pt x="619" y="12"/>
                      <a:pt x="619" y="12"/>
                    </a:cubicBezTo>
                    <a:cubicBezTo>
                      <a:pt x="621" y="12"/>
                      <a:pt x="621" y="12"/>
                      <a:pt x="621" y="12"/>
                    </a:cubicBezTo>
                    <a:cubicBezTo>
                      <a:pt x="625" y="16"/>
                      <a:pt x="625" y="16"/>
                      <a:pt x="625" y="16"/>
                    </a:cubicBezTo>
                    <a:cubicBezTo>
                      <a:pt x="633" y="16"/>
                      <a:pt x="633" y="16"/>
                      <a:pt x="633" y="16"/>
                    </a:cubicBezTo>
                    <a:cubicBezTo>
                      <a:pt x="635" y="18"/>
                      <a:pt x="635" y="18"/>
                      <a:pt x="635" y="18"/>
                    </a:cubicBezTo>
                    <a:cubicBezTo>
                      <a:pt x="639" y="17"/>
                      <a:pt x="639" y="17"/>
                      <a:pt x="639" y="17"/>
                    </a:cubicBezTo>
                    <a:cubicBezTo>
                      <a:pt x="641" y="18"/>
                      <a:pt x="641" y="18"/>
                      <a:pt x="641" y="18"/>
                    </a:cubicBezTo>
                    <a:cubicBezTo>
                      <a:pt x="642" y="20"/>
                      <a:pt x="642" y="20"/>
                      <a:pt x="642" y="20"/>
                    </a:cubicBezTo>
                    <a:cubicBezTo>
                      <a:pt x="646" y="19"/>
                      <a:pt x="646" y="19"/>
                      <a:pt x="646" y="19"/>
                    </a:cubicBezTo>
                    <a:cubicBezTo>
                      <a:pt x="649" y="19"/>
                      <a:pt x="649" y="19"/>
                      <a:pt x="649" y="19"/>
                    </a:cubicBezTo>
                    <a:cubicBezTo>
                      <a:pt x="652" y="22"/>
                      <a:pt x="652" y="22"/>
                      <a:pt x="652" y="22"/>
                    </a:cubicBezTo>
                    <a:cubicBezTo>
                      <a:pt x="658" y="24"/>
                      <a:pt x="658" y="24"/>
                      <a:pt x="658" y="24"/>
                    </a:cubicBezTo>
                    <a:cubicBezTo>
                      <a:pt x="662" y="27"/>
                      <a:pt x="662" y="27"/>
                      <a:pt x="662" y="27"/>
                    </a:cubicBezTo>
                    <a:cubicBezTo>
                      <a:pt x="663" y="30"/>
                      <a:pt x="663" y="30"/>
                      <a:pt x="663" y="30"/>
                    </a:cubicBezTo>
                    <a:cubicBezTo>
                      <a:pt x="666" y="32"/>
                      <a:pt x="666" y="32"/>
                      <a:pt x="666" y="32"/>
                    </a:cubicBezTo>
                    <a:cubicBezTo>
                      <a:pt x="672" y="35"/>
                      <a:pt x="672" y="35"/>
                      <a:pt x="672" y="35"/>
                    </a:cubicBezTo>
                    <a:cubicBezTo>
                      <a:pt x="671" y="37"/>
                      <a:pt x="671" y="37"/>
                      <a:pt x="671" y="37"/>
                    </a:cubicBezTo>
                    <a:cubicBezTo>
                      <a:pt x="669" y="40"/>
                      <a:pt x="669" y="40"/>
                      <a:pt x="669" y="40"/>
                    </a:cubicBezTo>
                    <a:cubicBezTo>
                      <a:pt x="666" y="39"/>
                      <a:pt x="666" y="39"/>
                      <a:pt x="666" y="39"/>
                    </a:cubicBezTo>
                    <a:cubicBezTo>
                      <a:pt x="663" y="39"/>
                      <a:pt x="663" y="39"/>
                      <a:pt x="663" y="39"/>
                    </a:cubicBezTo>
                    <a:cubicBezTo>
                      <a:pt x="660" y="40"/>
                      <a:pt x="660" y="40"/>
                      <a:pt x="660" y="40"/>
                    </a:cubicBezTo>
                    <a:cubicBezTo>
                      <a:pt x="658" y="43"/>
                      <a:pt x="658" y="43"/>
                      <a:pt x="658" y="43"/>
                    </a:cubicBezTo>
                    <a:cubicBezTo>
                      <a:pt x="655" y="43"/>
                      <a:pt x="655" y="43"/>
                      <a:pt x="655" y="43"/>
                    </a:cubicBezTo>
                    <a:cubicBezTo>
                      <a:pt x="654" y="42"/>
                      <a:pt x="654" y="42"/>
                      <a:pt x="654" y="42"/>
                    </a:cubicBezTo>
                    <a:cubicBezTo>
                      <a:pt x="650" y="43"/>
                      <a:pt x="650" y="43"/>
                      <a:pt x="650" y="43"/>
                    </a:cubicBezTo>
                    <a:cubicBezTo>
                      <a:pt x="646" y="43"/>
                      <a:pt x="646" y="43"/>
                      <a:pt x="646" y="43"/>
                    </a:cubicBezTo>
                    <a:cubicBezTo>
                      <a:pt x="639" y="40"/>
                      <a:pt x="639" y="40"/>
                      <a:pt x="639" y="40"/>
                    </a:cubicBezTo>
                    <a:cubicBezTo>
                      <a:pt x="635" y="39"/>
                      <a:pt x="635" y="39"/>
                      <a:pt x="635" y="39"/>
                    </a:cubicBezTo>
                    <a:cubicBezTo>
                      <a:pt x="633" y="39"/>
                      <a:pt x="633" y="39"/>
                      <a:pt x="633" y="39"/>
                    </a:cubicBezTo>
                    <a:cubicBezTo>
                      <a:pt x="630" y="37"/>
                      <a:pt x="630" y="37"/>
                      <a:pt x="630" y="37"/>
                    </a:cubicBezTo>
                    <a:cubicBezTo>
                      <a:pt x="626" y="37"/>
                      <a:pt x="626" y="37"/>
                      <a:pt x="626" y="37"/>
                    </a:cubicBezTo>
                    <a:cubicBezTo>
                      <a:pt x="624" y="39"/>
                      <a:pt x="624" y="39"/>
                      <a:pt x="624" y="39"/>
                    </a:cubicBezTo>
                    <a:cubicBezTo>
                      <a:pt x="621" y="39"/>
                      <a:pt x="621" y="39"/>
                      <a:pt x="621" y="39"/>
                    </a:cubicBezTo>
                    <a:cubicBezTo>
                      <a:pt x="620" y="37"/>
                      <a:pt x="620" y="37"/>
                      <a:pt x="620" y="37"/>
                    </a:cubicBezTo>
                    <a:cubicBezTo>
                      <a:pt x="616" y="38"/>
                      <a:pt x="616" y="38"/>
                      <a:pt x="616" y="38"/>
                    </a:cubicBezTo>
                    <a:cubicBezTo>
                      <a:pt x="610" y="40"/>
                      <a:pt x="610" y="40"/>
                      <a:pt x="610" y="40"/>
                    </a:cubicBezTo>
                    <a:cubicBezTo>
                      <a:pt x="608" y="41"/>
                      <a:pt x="608" y="41"/>
                      <a:pt x="608" y="41"/>
                    </a:cubicBezTo>
                    <a:cubicBezTo>
                      <a:pt x="604" y="40"/>
                      <a:pt x="604" y="40"/>
                      <a:pt x="604" y="40"/>
                    </a:cubicBezTo>
                    <a:cubicBezTo>
                      <a:pt x="601" y="40"/>
                      <a:pt x="601" y="40"/>
                      <a:pt x="601" y="40"/>
                    </a:cubicBezTo>
                    <a:cubicBezTo>
                      <a:pt x="597" y="42"/>
                      <a:pt x="597" y="42"/>
                      <a:pt x="597" y="42"/>
                    </a:cubicBezTo>
                    <a:cubicBezTo>
                      <a:pt x="592" y="42"/>
                      <a:pt x="592" y="42"/>
                      <a:pt x="592" y="42"/>
                    </a:cubicBezTo>
                    <a:cubicBezTo>
                      <a:pt x="590" y="39"/>
                      <a:pt x="590" y="39"/>
                      <a:pt x="590" y="39"/>
                    </a:cubicBezTo>
                    <a:cubicBezTo>
                      <a:pt x="589" y="36"/>
                      <a:pt x="589" y="36"/>
                      <a:pt x="589" y="36"/>
                    </a:cubicBezTo>
                    <a:cubicBezTo>
                      <a:pt x="591" y="34"/>
                      <a:pt x="591" y="34"/>
                      <a:pt x="591" y="34"/>
                    </a:cubicBezTo>
                    <a:cubicBezTo>
                      <a:pt x="593" y="34"/>
                      <a:pt x="593" y="34"/>
                      <a:pt x="593" y="34"/>
                    </a:cubicBezTo>
                    <a:cubicBezTo>
                      <a:pt x="594" y="32"/>
                      <a:pt x="594" y="32"/>
                      <a:pt x="594" y="32"/>
                    </a:cubicBezTo>
                    <a:cubicBezTo>
                      <a:pt x="593" y="31"/>
                      <a:pt x="593" y="31"/>
                      <a:pt x="593" y="31"/>
                    </a:cubicBezTo>
                    <a:cubicBezTo>
                      <a:pt x="590" y="30"/>
                      <a:pt x="590" y="30"/>
                      <a:pt x="590" y="30"/>
                    </a:cubicBezTo>
                    <a:cubicBezTo>
                      <a:pt x="587" y="31"/>
                      <a:pt x="587" y="31"/>
                      <a:pt x="587" y="31"/>
                    </a:cubicBezTo>
                    <a:cubicBezTo>
                      <a:pt x="584" y="34"/>
                      <a:pt x="584" y="34"/>
                      <a:pt x="584" y="34"/>
                    </a:cubicBezTo>
                    <a:cubicBezTo>
                      <a:pt x="584" y="37"/>
                      <a:pt x="584" y="37"/>
                      <a:pt x="584" y="37"/>
                    </a:cubicBezTo>
                    <a:cubicBezTo>
                      <a:pt x="586" y="40"/>
                      <a:pt x="586" y="40"/>
                      <a:pt x="586" y="40"/>
                    </a:cubicBezTo>
                    <a:cubicBezTo>
                      <a:pt x="589" y="40"/>
                      <a:pt x="589" y="40"/>
                      <a:pt x="589" y="40"/>
                    </a:cubicBezTo>
                    <a:cubicBezTo>
                      <a:pt x="588" y="42"/>
                      <a:pt x="588" y="42"/>
                      <a:pt x="588" y="42"/>
                    </a:cubicBezTo>
                    <a:cubicBezTo>
                      <a:pt x="585" y="44"/>
                      <a:pt x="585" y="44"/>
                      <a:pt x="585" y="44"/>
                    </a:cubicBezTo>
                    <a:cubicBezTo>
                      <a:pt x="583" y="44"/>
                      <a:pt x="583" y="44"/>
                      <a:pt x="583" y="44"/>
                    </a:cubicBezTo>
                    <a:cubicBezTo>
                      <a:pt x="580" y="44"/>
                      <a:pt x="580" y="44"/>
                      <a:pt x="580" y="44"/>
                    </a:cubicBezTo>
                    <a:cubicBezTo>
                      <a:pt x="576" y="44"/>
                      <a:pt x="576" y="44"/>
                      <a:pt x="576" y="44"/>
                    </a:cubicBezTo>
                    <a:cubicBezTo>
                      <a:pt x="575" y="45"/>
                      <a:pt x="575" y="45"/>
                      <a:pt x="575" y="45"/>
                    </a:cubicBezTo>
                    <a:cubicBezTo>
                      <a:pt x="571" y="46"/>
                      <a:pt x="571" y="46"/>
                      <a:pt x="571" y="46"/>
                    </a:cubicBezTo>
                    <a:cubicBezTo>
                      <a:pt x="567" y="45"/>
                      <a:pt x="567" y="45"/>
                      <a:pt x="567" y="45"/>
                    </a:cubicBezTo>
                    <a:cubicBezTo>
                      <a:pt x="562" y="44"/>
                      <a:pt x="562" y="44"/>
                      <a:pt x="562" y="44"/>
                    </a:cubicBezTo>
                    <a:cubicBezTo>
                      <a:pt x="557" y="47"/>
                      <a:pt x="557" y="47"/>
                      <a:pt x="557" y="47"/>
                    </a:cubicBezTo>
                    <a:cubicBezTo>
                      <a:pt x="550" y="51"/>
                      <a:pt x="550" y="51"/>
                      <a:pt x="550" y="51"/>
                    </a:cubicBezTo>
                    <a:cubicBezTo>
                      <a:pt x="550" y="54"/>
                      <a:pt x="550" y="54"/>
                      <a:pt x="550" y="54"/>
                    </a:cubicBezTo>
                    <a:cubicBezTo>
                      <a:pt x="550" y="59"/>
                      <a:pt x="550" y="59"/>
                      <a:pt x="550" y="59"/>
                    </a:cubicBezTo>
                    <a:cubicBezTo>
                      <a:pt x="548" y="61"/>
                      <a:pt x="548" y="61"/>
                      <a:pt x="548" y="61"/>
                    </a:cubicBezTo>
                    <a:cubicBezTo>
                      <a:pt x="548" y="63"/>
                      <a:pt x="548" y="63"/>
                      <a:pt x="548" y="63"/>
                    </a:cubicBezTo>
                    <a:cubicBezTo>
                      <a:pt x="549" y="65"/>
                      <a:pt x="549" y="65"/>
                      <a:pt x="549" y="65"/>
                    </a:cubicBezTo>
                    <a:cubicBezTo>
                      <a:pt x="552" y="64"/>
                      <a:pt x="552" y="64"/>
                      <a:pt x="552" y="64"/>
                    </a:cubicBezTo>
                    <a:cubicBezTo>
                      <a:pt x="552" y="60"/>
                      <a:pt x="552" y="60"/>
                      <a:pt x="552" y="60"/>
                    </a:cubicBezTo>
                    <a:cubicBezTo>
                      <a:pt x="553" y="58"/>
                      <a:pt x="553" y="58"/>
                      <a:pt x="553" y="58"/>
                    </a:cubicBezTo>
                    <a:cubicBezTo>
                      <a:pt x="553" y="57"/>
                      <a:pt x="553" y="57"/>
                      <a:pt x="553" y="57"/>
                    </a:cubicBezTo>
                    <a:cubicBezTo>
                      <a:pt x="555" y="55"/>
                      <a:pt x="555" y="55"/>
                      <a:pt x="555" y="55"/>
                    </a:cubicBezTo>
                    <a:cubicBezTo>
                      <a:pt x="559" y="55"/>
                      <a:pt x="559" y="55"/>
                      <a:pt x="559" y="55"/>
                    </a:cubicBezTo>
                    <a:cubicBezTo>
                      <a:pt x="561" y="55"/>
                      <a:pt x="561" y="55"/>
                      <a:pt x="561" y="55"/>
                    </a:cubicBezTo>
                    <a:cubicBezTo>
                      <a:pt x="562" y="56"/>
                      <a:pt x="562" y="56"/>
                      <a:pt x="562" y="56"/>
                    </a:cubicBezTo>
                    <a:cubicBezTo>
                      <a:pt x="561" y="58"/>
                      <a:pt x="561" y="58"/>
                      <a:pt x="561" y="58"/>
                    </a:cubicBezTo>
                    <a:cubicBezTo>
                      <a:pt x="560" y="61"/>
                      <a:pt x="560" y="61"/>
                      <a:pt x="560" y="61"/>
                    </a:cubicBezTo>
                    <a:cubicBezTo>
                      <a:pt x="560" y="62"/>
                      <a:pt x="560" y="62"/>
                      <a:pt x="560" y="62"/>
                    </a:cubicBezTo>
                    <a:cubicBezTo>
                      <a:pt x="561" y="62"/>
                      <a:pt x="561" y="62"/>
                      <a:pt x="561" y="62"/>
                    </a:cubicBezTo>
                    <a:cubicBezTo>
                      <a:pt x="563" y="60"/>
                      <a:pt x="563" y="60"/>
                      <a:pt x="563" y="60"/>
                    </a:cubicBezTo>
                    <a:cubicBezTo>
                      <a:pt x="564" y="55"/>
                      <a:pt x="564" y="55"/>
                      <a:pt x="564" y="55"/>
                    </a:cubicBezTo>
                    <a:cubicBezTo>
                      <a:pt x="564" y="55"/>
                      <a:pt x="567" y="52"/>
                      <a:pt x="567" y="51"/>
                    </a:cubicBezTo>
                    <a:cubicBezTo>
                      <a:pt x="571" y="49"/>
                      <a:pt x="571" y="49"/>
                      <a:pt x="571" y="49"/>
                    </a:cubicBezTo>
                    <a:cubicBezTo>
                      <a:pt x="573" y="50"/>
                      <a:pt x="573" y="50"/>
                      <a:pt x="573" y="50"/>
                    </a:cubicBezTo>
                    <a:cubicBezTo>
                      <a:pt x="578" y="49"/>
                      <a:pt x="578" y="49"/>
                      <a:pt x="578" y="49"/>
                    </a:cubicBezTo>
                    <a:cubicBezTo>
                      <a:pt x="581" y="49"/>
                      <a:pt x="581" y="49"/>
                      <a:pt x="581" y="49"/>
                    </a:cubicBezTo>
                    <a:cubicBezTo>
                      <a:pt x="584" y="48"/>
                      <a:pt x="584" y="48"/>
                      <a:pt x="584" y="48"/>
                    </a:cubicBezTo>
                    <a:cubicBezTo>
                      <a:pt x="585" y="49"/>
                      <a:pt x="585" y="49"/>
                      <a:pt x="585" y="49"/>
                    </a:cubicBezTo>
                    <a:cubicBezTo>
                      <a:pt x="587" y="51"/>
                      <a:pt x="587" y="51"/>
                      <a:pt x="587" y="51"/>
                    </a:cubicBezTo>
                    <a:cubicBezTo>
                      <a:pt x="589" y="56"/>
                      <a:pt x="589" y="56"/>
                      <a:pt x="589" y="56"/>
                    </a:cubicBezTo>
                    <a:cubicBezTo>
                      <a:pt x="590" y="57"/>
                      <a:pt x="590" y="57"/>
                      <a:pt x="590" y="57"/>
                    </a:cubicBezTo>
                    <a:cubicBezTo>
                      <a:pt x="592" y="57"/>
                      <a:pt x="592" y="57"/>
                      <a:pt x="592" y="57"/>
                    </a:cubicBezTo>
                    <a:cubicBezTo>
                      <a:pt x="592" y="54"/>
                      <a:pt x="592" y="54"/>
                      <a:pt x="592" y="54"/>
                    </a:cubicBezTo>
                    <a:cubicBezTo>
                      <a:pt x="591" y="50"/>
                      <a:pt x="591" y="50"/>
                      <a:pt x="591" y="50"/>
                    </a:cubicBezTo>
                    <a:cubicBezTo>
                      <a:pt x="592" y="49"/>
                      <a:pt x="592" y="49"/>
                      <a:pt x="592" y="49"/>
                    </a:cubicBezTo>
                    <a:cubicBezTo>
                      <a:pt x="596" y="48"/>
                      <a:pt x="596" y="48"/>
                      <a:pt x="596" y="48"/>
                    </a:cubicBezTo>
                    <a:cubicBezTo>
                      <a:pt x="599" y="49"/>
                      <a:pt x="599" y="49"/>
                      <a:pt x="599" y="49"/>
                    </a:cubicBezTo>
                    <a:cubicBezTo>
                      <a:pt x="604" y="48"/>
                      <a:pt x="604" y="48"/>
                      <a:pt x="604" y="48"/>
                    </a:cubicBezTo>
                    <a:cubicBezTo>
                      <a:pt x="608" y="48"/>
                      <a:pt x="608" y="48"/>
                      <a:pt x="608" y="48"/>
                    </a:cubicBezTo>
                    <a:cubicBezTo>
                      <a:pt x="614" y="46"/>
                      <a:pt x="614" y="46"/>
                      <a:pt x="614" y="46"/>
                    </a:cubicBezTo>
                    <a:cubicBezTo>
                      <a:pt x="618" y="45"/>
                      <a:pt x="618" y="45"/>
                      <a:pt x="618" y="45"/>
                    </a:cubicBezTo>
                    <a:cubicBezTo>
                      <a:pt x="624" y="44"/>
                      <a:pt x="624" y="44"/>
                      <a:pt x="624" y="44"/>
                    </a:cubicBezTo>
                    <a:cubicBezTo>
                      <a:pt x="629" y="45"/>
                      <a:pt x="629" y="45"/>
                      <a:pt x="629" y="45"/>
                    </a:cubicBezTo>
                    <a:cubicBezTo>
                      <a:pt x="633" y="47"/>
                      <a:pt x="633" y="47"/>
                      <a:pt x="633" y="47"/>
                    </a:cubicBezTo>
                    <a:cubicBezTo>
                      <a:pt x="637" y="48"/>
                      <a:pt x="637" y="48"/>
                      <a:pt x="637" y="48"/>
                    </a:cubicBezTo>
                    <a:cubicBezTo>
                      <a:pt x="639" y="49"/>
                      <a:pt x="639" y="49"/>
                      <a:pt x="639" y="49"/>
                    </a:cubicBezTo>
                    <a:cubicBezTo>
                      <a:pt x="643" y="50"/>
                      <a:pt x="643" y="50"/>
                      <a:pt x="643" y="50"/>
                    </a:cubicBezTo>
                    <a:cubicBezTo>
                      <a:pt x="646" y="52"/>
                      <a:pt x="646" y="52"/>
                      <a:pt x="646" y="52"/>
                    </a:cubicBezTo>
                    <a:cubicBezTo>
                      <a:pt x="648" y="53"/>
                      <a:pt x="648" y="53"/>
                      <a:pt x="648" y="53"/>
                    </a:cubicBezTo>
                    <a:cubicBezTo>
                      <a:pt x="650" y="52"/>
                      <a:pt x="650" y="52"/>
                      <a:pt x="650" y="52"/>
                    </a:cubicBezTo>
                    <a:cubicBezTo>
                      <a:pt x="653" y="51"/>
                      <a:pt x="653" y="51"/>
                      <a:pt x="653" y="51"/>
                    </a:cubicBezTo>
                    <a:cubicBezTo>
                      <a:pt x="655" y="52"/>
                      <a:pt x="655" y="52"/>
                      <a:pt x="655" y="52"/>
                    </a:cubicBezTo>
                    <a:cubicBezTo>
                      <a:pt x="656" y="54"/>
                      <a:pt x="656" y="54"/>
                      <a:pt x="656" y="54"/>
                    </a:cubicBezTo>
                    <a:cubicBezTo>
                      <a:pt x="658" y="54"/>
                      <a:pt x="658" y="54"/>
                      <a:pt x="658" y="54"/>
                    </a:cubicBezTo>
                    <a:cubicBezTo>
                      <a:pt x="661" y="51"/>
                      <a:pt x="661" y="51"/>
                      <a:pt x="661" y="51"/>
                    </a:cubicBezTo>
                    <a:cubicBezTo>
                      <a:pt x="663" y="51"/>
                      <a:pt x="663" y="51"/>
                      <a:pt x="663" y="51"/>
                    </a:cubicBezTo>
                    <a:cubicBezTo>
                      <a:pt x="667" y="52"/>
                      <a:pt x="667" y="52"/>
                      <a:pt x="667" y="52"/>
                    </a:cubicBezTo>
                    <a:cubicBezTo>
                      <a:pt x="672" y="49"/>
                      <a:pt x="672" y="49"/>
                      <a:pt x="672" y="49"/>
                    </a:cubicBezTo>
                    <a:cubicBezTo>
                      <a:pt x="675" y="46"/>
                      <a:pt x="675" y="46"/>
                      <a:pt x="675" y="46"/>
                    </a:cubicBezTo>
                    <a:cubicBezTo>
                      <a:pt x="677" y="46"/>
                      <a:pt x="677" y="46"/>
                      <a:pt x="677" y="46"/>
                    </a:cubicBezTo>
                    <a:cubicBezTo>
                      <a:pt x="678" y="46"/>
                      <a:pt x="678" y="46"/>
                      <a:pt x="678" y="46"/>
                    </a:cubicBezTo>
                    <a:cubicBezTo>
                      <a:pt x="681" y="50"/>
                      <a:pt x="681" y="50"/>
                      <a:pt x="681" y="50"/>
                    </a:cubicBezTo>
                    <a:cubicBezTo>
                      <a:pt x="684" y="52"/>
                      <a:pt x="684" y="52"/>
                      <a:pt x="684" y="52"/>
                    </a:cubicBezTo>
                    <a:cubicBezTo>
                      <a:pt x="684" y="53"/>
                      <a:pt x="684" y="53"/>
                      <a:pt x="684" y="53"/>
                    </a:cubicBezTo>
                    <a:cubicBezTo>
                      <a:pt x="682" y="55"/>
                      <a:pt x="682" y="55"/>
                      <a:pt x="682" y="55"/>
                    </a:cubicBezTo>
                    <a:cubicBezTo>
                      <a:pt x="682" y="56"/>
                      <a:pt x="682" y="56"/>
                      <a:pt x="682" y="56"/>
                    </a:cubicBezTo>
                    <a:cubicBezTo>
                      <a:pt x="684" y="58"/>
                      <a:pt x="684" y="58"/>
                      <a:pt x="684" y="58"/>
                    </a:cubicBezTo>
                    <a:cubicBezTo>
                      <a:pt x="685" y="59"/>
                      <a:pt x="685" y="59"/>
                      <a:pt x="685" y="59"/>
                    </a:cubicBezTo>
                    <a:cubicBezTo>
                      <a:pt x="685" y="61"/>
                      <a:pt x="685" y="61"/>
                      <a:pt x="685" y="61"/>
                    </a:cubicBezTo>
                    <a:cubicBezTo>
                      <a:pt x="680" y="66"/>
                      <a:pt x="680" y="66"/>
                      <a:pt x="680" y="66"/>
                    </a:cubicBezTo>
                    <a:cubicBezTo>
                      <a:pt x="674" y="67"/>
                      <a:pt x="674" y="67"/>
                      <a:pt x="674" y="67"/>
                    </a:cubicBezTo>
                    <a:cubicBezTo>
                      <a:pt x="671" y="66"/>
                      <a:pt x="671" y="66"/>
                      <a:pt x="671" y="66"/>
                    </a:cubicBezTo>
                    <a:cubicBezTo>
                      <a:pt x="668" y="65"/>
                      <a:pt x="668" y="65"/>
                      <a:pt x="668" y="65"/>
                    </a:cubicBezTo>
                    <a:cubicBezTo>
                      <a:pt x="666" y="63"/>
                      <a:pt x="666" y="63"/>
                      <a:pt x="666" y="63"/>
                    </a:cubicBezTo>
                    <a:cubicBezTo>
                      <a:pt x="665" y="64"/>
                      <a:pt x="665" y="64"/>
                      <a:pt x="665" y="64"/>
                    </a:cubicBezTo>
                    <a:cubicBezTo>
                      <a:pt x="665" y="66"/>
                      <a:pt x="665" y="66"/>
                      <a:pt x="665" y="66"/>
                    </a:cubicBezTo>
                    <a:cubicBezTo>
                      <a:pt x="668" y="69"/>
                      <a:pt x="668" y="69"/>
                      <a:pt x="668" y="69"/>
                    </a:cubicBezTo>
                    <a:cubicBezTo>
                      <a:pt x="669" y="70"/>
                      <a:pt x="669" y="70"/>
                      <a:pt x="669" y="70"/>
                    </a:cubicBezTo>
                    <a:cubicBezTo>
                      <a:pt x="668" y="71"/>
                      <a:pt x="668" y="71"/>
                      <a:pt x="668" y="71"/>
                    </a:cubicBezTo>
                    <a:cubicBezTo>
                      <a:pt x="664" y="70"/>
                      <a:pt x="664" y="70"/>
                      <a:pt x="664" y="70"/>
                    </a:cubicBezTo>
                    <a:cubicBezTo>
                      <a:pt x="662" y="68"/>
                      <a:pt x="662" y="68"/>
                      <a:pt x="662" y="68"/>
                    </a:cubicBezTo>
                    <a:cubicBezTo>
                      <a:pt x="660" y="68"/>
                      <a:pt x="660" y="68"/>
                      <a:pt x="660" y="68"/>
                    </a:cubicBezTo>
                    <a:cubicBezTo>
                      <a:pt x="660" y="70"/>
                      <a:pt x="660" y="70"/>
                      <a:pt x="660" y="70"/>
                    </a:cubicBezTo>
                    <a:cubicBezTo>
                      <a:pt x="662" y="72"/>
                      <a:pt x="662" y="72"/>
                      <a:pt x="662" y="72"/>
                    </a:cubicBezTo>
                    <a:cubicBezTo>
                      <a:pt x="665" y="73"/>
                      <a:pt x="665" y="73"/>
                      <a:pt x="665" y="73"/>
                    </a:cubicBezTo>
                    <a:cubicBezTo>
                      <a:pt x="668" y="74"/>
                      <a:pt x="668" y="74"/>
                      <a:pt x="668" y="74"/>
                    </a:cubicBezTo>
                    <a:cubicBezTo>
                      <a:pt x="672" y="75"/>
                      <a:pt x="672" y="75"/>
                      <a:pt x="672" y="75"/>
                    </a:cubicBezTo>
                    <a:cubicBezTo>
                      <a:pt x="675" y="75"/>
                      <a:pt x="675" y="75"/>
                      <a:pt x="675" y="75"/>
                    </a:cubicBezTo>
                    <a:cubicBezTo>
                      <a:pt x="681" y="72"/>
                      <a:pt x="681" y="72"/>
                      <a:pt x="681" y="72"/>
                    </a:cubicBezTo>
                    <a:cubicBezTo>
                      <a:pt x="683" y="72"/>
                      <a:pt x="683" y="72"/>
                      <a:pt x="683" y="72"/>
                    </a:cubicBezTo>
                    <a:cubicBezTo>
                      <a:pt x="684" y="74"/>
                      <a:pt x="684" y="74"/>
                      <a:pt x="684" y="74"/>
                    </a:cubicBezTo>
                    <a:cubicBezTo>
                      <a:pt x="685" y="72"/>
                      <a:pt x="685" y="72"/>
                      <a:pt x="685" y="72"/>
                    </a:cubicBezTo>
                    <a:cubicBezTo>
                      <a:pt x="685" y="70"/>
                      <a:pt x="685" y="70"/>
                      <a:pt x="685" y="70"/>
                    </a:cubicBezTo>
                    <a:cubicBezTo>
                      <a:pt x="688" y="69"/>
                      <a:pt x="688" y="69"/>
                      <a:pt x="688" y="69"/>
                    </a:cubicBezTo>
                    <a:cubicBezTo>
                      <a:pt x="696" y="70"/>
                      <a:pt x="696" y="70"/>
                      <a:pt x="696" y="70"/>
                    </a:cubicBezTo>
                    <a:cubicBezTo>
                      <a:pt x="697" y="71"/>
                      <a:pt x="697" y="71"/>
                      <a:pt x="697" y="71"/>
                    </a:cubicBezTo>
                    <a:cubicBezTo>
                      <a:pt x="698" y="73"/>
                      <a:pt x="698" y="73"/>
                      <a:pt x="698" y="73"/>
                    </a:cubicBezTo>
                    <a:cubicBezTo>
                      <a:pt x="700" y="74"/>
                      <a:pt x="700" y="74"/>
                      <a:pt x="700" y="74"/>
                    </a:cubicBezTo>
                    <a:cubicBezTo>
                      <a:pt x="702" y="73"/>
                      <a:pt x="702" y="73"/>
                      <a:pt x="702" y="73"/>
                    </a:cubicBezTo>
                    <a:cubicBezTo>
                      <a:pt x="703" y="72"/>
                      <a:pt x="703" y="72"/>
                      <a:pt x="703" y="72"/>
                    </a:cubicBezTo>
                    <a:cubicBezTo>
                      <a:pt x="705" y="73"/>
                      <a:pt x="705" y="73"/>
                      <a:pt x="705" y="73"/>
                    </a:cubicBezTo>
                    <a:cubicBezTo>
                      <a:pt x="706" y="76"/>
                      <a:pt x="706" y="76"/>
                      <a:pt x="706" y="76"/>
                    </a:cubicBezTo>
                    <a:cubicBezTo>
                      <a:pt x="708" y="78"/>
                      <a:pt x="708" y="78"/>
                      <a:pt x="708" y="78"/>
                    </a:cubicBezTo>
                    <a:cubicBezTo>
                      <a:pt x="713" y="79"/>
                      <a:pt x="713" y="79"/>
                      <a:pt x="713" y="79"/>
                    </a:cubicBezTo>
                    <a:cubicBezTo>
                      <a:pt x="715" y="80"/>
                      <a:pt x="715" y="80"/>
                      <a:pt x="715" y="80"/>
                    </a:cubicBezTo>
                    <a:cubicBezTo>
                      <a:pt x="716" y="82"/>
                      <a:pt x="716" y="82"/>
                      <a:pt x="716" y="82"/>
                    </a:cubicBezTo>
                    <a:cubicBezTo>
                      <a:pt x="719" y="85"/>
                      <a:pt x="719" y="85"/>
                      <a:pt x="719" y="85"/>
                    </a:cubicBezTo>
                    <a:cubicBezTo>
                      <a:pt x="724" y="87"/>
                      <a:pt x="724" y="87"/>
                      <a:pt x="724" y="87"/>
                    </a:cubicBezTo>
                    <a:cubicBezTo>
                      <a:pt x="728" y="90"/>
                      <a:pt x="728" y="90"/>
                      <a:pt x="728" y="90"/>
                    </a:cubicBezTo>
                    <a:cubicBezTo>
                      <a:pt x="728" y="92"/>
                      <a:pt x="728" y="92"/>
                      <a:pt x="728" y="92"/>
                    </a:cubicBezTo>
                    <a:cubicBezTo>
                      <a:pt x="728" y="95"/>
                      <a:pt x="728" y="95"/>
                      <a:pt x="728" y="95"/>
                    </a:cubicBezTo>
                    <a:cubicBezTo>
                      <a:pt x="727" y="96"/>
                      <a:pt x="727" y="96"/>
                      <a:pt x="727" y="96"/>
                    </a:cubicBezTo>
                    <a:cubicBezTo>
                      <a:pt x="726" y="98"/>
                      <a:pt x="726" y="98"/>
                      <a:pt x="726" y="98"/>
                    </a:cubicBezTo>
                    <a:cubicBezTo>
                      <a:pt x="726" y="101"/>
                      <a:pt x="726" y="101"/>
                      <a:pt x="726" y="101"/>
                    </a:cubicBezTo>
                    <a:cubicBezTo>
                      <a:pt x="724" y="102"/>
                      <a:pt x="724" y="102"/>
                      <a:pt x="724" y="102"/>
                    </a:cubicBezTo>
                    <a:cubicBezTo>
                      <a:pt x="720" y="104"/>
                      <a:pt x="720" y="104"/>
                      <a:pt x="720" y="104"/>
                    </a:cubicBezTo>
                    <a:cubicBezTo>
                      <a:pt x="718" y="105"/>
                      <a:pt x="718" y="105"/>
                      <a:pt x="718" y="105"/>
                    </a:cubicBezTo>
                    <a:cubicBezTo>
                      <a:pt x="716" y="104"/>
                      <a:pt x="716" y="104"/>
                      <a:pt x="716" y="104"/>
                    </a:cubicBezTo>
                    <a:cubicBezTo>
                      <a:pt x="715" y="105"/>
                      <a:pt x="715" y="105"/>
                      <a:pt x="715" y="105"/>
                    </a:cubicBezTo>
                    <a:cubicBezTo>
                      <a:pt x="715" y="107"/>
                      <a:pt x="715" y="107"/>
                      <a:pt x="715" y="107"/>
                    </a:cubicBezTo>
                    <a:cubicBezTo>
                      <a:pt x="714" y="108"/>
                      <a:pt x="714" y="108"/>
                      <a:pt x="714" y="108"/>
                    </a:cubicBezTo>
                    <a:cubicBezTo>
                      <a:pt x="710" y="110"/>
                      <a:pt x="710" y="110"/>
                      <a:pt x="710" y="110"/>
                    </a:cubicBezTo>
                    <a:cubicBezTo>
                      <a:pt x="704" y="113"/>
                      <a:pt x="704" y="113"/>
                      <a:pt x="704" y="113"/>
                    </a:cubicBezTo>
                    <a:cubicBezTo>
                      <a:pt x="699" y="113"/>
                      <a:pt x="699" y="113"/>
                      <a:pt x="699" y="113"/>
                    </a:cubicBezTo>
                    <a:cubicBezTo>
                      <a:pt x="697" y="114"/>
                      <a:pt x="697" y="114"/>
                      <a:pt x="697" y="114"/>
                    </a:cubicBezTo>
                    <a:cubicBezTo>
                      <a:pt x="694" y="114"/>
                      <a:pt x="694" y="114"/>
                      <a:pt x="694" y="114"/>
                    </a:cubicBezTo>
                    <a:cubicBezTo>
                      <a:pt x="693" y="112"/>
                      <a:pt x="693" y="112"/>
                      <a:pt x="693" y="112"/>
                    </a:cubicBezTo>
                    <a:cubicBezTo>
                      <a:pt x="691" y="110"/>
                      <a:pt x="691" y="110"/>
                      <a:pt x="691" y="110"/>
                    </a:cubicBezTo>
                    <a:cubicBezTo>
                      <a:pt x="690" y="111"/>
                      <a:pt x="690" y="111"/>
                      <a:pt x="690" y="111"/>
                    </a:cubicBezTo>
                    <a:cubicBezTo>
                      <a:pt x="690" y="113"/>
                      <a:pt x="690" y="113"/>
                      <a:pt x="690" y="113"/>
                    </a:cubicBezTo>
                    <a:cubicBezTo>
                      <a:pt x="692" y="114"/>
                      <a:pt x="692" y="114"/>
                      <a:pt x="692" y="114"/>
                    </a:cubicBezTo>
                    <a:cubicBezTo>
                      <a:pt x="691" y="115"/>
                      <a:pt x="691" y="115"/>
                      <a:pt x="691" y="115"/>
                    </a:cubicBezTo>
                    <a:cubicBezTo>
                      <a:pt x="688" y="115"/>
                      <a:pt x="688" y="115"/>
                      <a:pt x="688" y="115"/>
                    </a:cubicBezTo>
                    <a:cubicBezTo>
                      <a:pt x="684" y="114"/>
                      <a:pt x="684" y="114"/>
                      <a:pt x="684" y="114"/>
                    </a:cubicBezTo>
                    <a:cubicBezTo>
                      <a:pt x="682" y="116"/>
                      <a:pt x="682" y="116"/>
                      <a:pt x="682" y="116"/>
                    </a:cubicBezTo>
                    <a:cubicBezTo>
                      <a:pt x="680" y="116"/>
                      <a:pt x="680" y="116"/>
                      <a:pt x="680" y="116"/>
                    </a:cubicBezTo>
                    <a:cubicBezTo>
                      <a:pt x="678" y="115"/>
                      <a:pt x="678" y="115"/>
                      <a:pt x="678" y="115"/>
                    </a:cubicBezTo>
                    <a:cubicBezTo>
                      <a:pt x="674" y="114"/>
                      <a:pt x="674" y="114"/>
                      <a:pt x="674" y="114"/>
                    </a:cubicBezTo>
                    <a:cubicBezTo>
                      <a:pt x="671" y="116"/>
                      <a:pt x="671" y="116"/>
                      <a:pt x="671" y="116"/>
                    </a:cubicBezTo>
                    <a:cubicBezTo>
                      <a:pt x="666" y="118"/>
                      <a:pt x="666" y="118"/>
                      <a:pt x="666" y="118"/>
                    </a:cubicBezTo>
                    <a:cubicBezTo>
                      <a:pt x="664" y="118"/>
                      <a:pt x="664" y="118"/>
                      <a:pt x="664" y="118"/>
                    </a:cubicBezTo>
                    <a:cubicBezTo>
                      <a:pt x="662" y="117"/>
                      <a:pt x="662" y="117"/>
                      <a:pt x="662" y="117"/>
                    </a:cubicBezTo>
                    <a:cubicBezTo>
                      <a:pt x="659" y="117"/>
                      <a:pt x="659" y="117"/>
                      <a:pt x="659" y="117"/>
                    </a:cubicBezTo>
                    <a:cubicBezTo>
                      <a:pt x="656" y="116"/>
                      <a:pt x="656" y="116"/>
                      <a:pt x="656" y="116"/>
                    </a:cubicBezTo>
                    <a:cubicBezTo>
                      <a:pt x="653" y="116"/>
                      <a:pt x="653" y="116"/>
                      <a:pt x="653" y="116"/>
                    </a:cubicBezTo>
                    <a:cubicBezTo>
                      <a:pt x="652" y="117"/>
                      <a:pt x="652" y="117"/>
                      <a:pt x="652" y="117"/>
                    </a:cubicBezTo>
                    <a:cubicBezTo>
                      <a:pt x="648" y="118"/>
                      <a:pt x="648" y="118"/>
                      <a:pt x="648" y="118"/>
                    </a:cubicBezTo>
                    <a:cubicBezTo>
                      <a:pt x="645" y="117"/>
                      <a:pt x="645" y="117"/>
                      <a:pt x="645" y="117"/>
                    </a:cubicBezTo>
                    <a:cubicBezTo>
                      <a:pt x="641" y="114"/>
                      <a:pt x="641" y="114"/>
                      <a:pt x="641" y="114"/>
                    </a:cubicBezTo>
                    <a:cubicBezTo>
                      <a:pt x="639" y="114"/>
                      <a:pt x="639" y="114"/>
                      <a:pt x="639" y="114"/>
                    </a:cubicBezTo>
                    <a:cubicBezTo>
                      <a:pt x="638" y="113"/>
                      <a:pt x="638" y="113"/>
                      <a:pt x="638" y="113"/>
                    </a:cubicBezTo>
                    <a:cubicBezTo>
                      <a:pt x="633" y="113"/>
                      <a:pt x="633" y="113"/>
                      <a:pt x="633" y="113"/>
                    </a:cubicBezTo>
                    <a:cubicBezTo>
                      <a:pt x="630" y="112"/>
                      <a:pt x="630" y="112"/>
                      <a:pt x="630" y="112"/>
                    </a:cubicBezTo>
                    <a:cubicBezTo>
                      <a:pt x="628" y="111"/>
                      <a:pt x="628" y="111"/>
                      <a:pt x="628" y="111"/>
                    </a:cubicBezTo>
                    <a:cubicBezTo>
                      <a:pt x="624" y="112"/>
                      <a:pt x="624" y="112"/>
                      <a:pt x="624" y="112"/>
                    </a:cubicBezTo>
                    <a:cubicBezTo>
                      <a:pt x="621" y="112"/>
                      <a:pt x="621" y="112"/>
                      <a:pt x="621" y="112"/>
                    </a:cubicBezTo>
                    <a:cubicBezTo>
                      <a:pt x="617" y="110"/>
                      <a:pt x="617" y="110"/>
                      <a:pt x="617" y="110"/>
                    </a:cubicBezTo>
                    <a:cubicBezTo>
                      <a:pt x="615" y="111"/>
                      <a:pt x="615" y="111"/>
                      <a:pt x="615" y="111"/>
                    </a:cubicBezTo>
                    <a:cubicBezTo>
                      <a:pt x="613" y="113"/>
                      <a:pt x="613" y="113"/>
                      <a:pt x="613" y="113"/>
                    </a:cubicBezTo>
                    <a:cubicBezTo>
                      <a:pt x="610" y="114"/>
                      <a:pt x="610" y="114"/>
                      <a:pt x="610" y="114"/>
                    </a:cubicBezTo>
                    <a:cubicBezTo>
                      <a:pt x="605" y="114"/>
                      <a:pt x="605" y="114"/>
                      <a:pt x="605" y="114"/>
                    </a:cubicBezTo>
                    <a:cubicBezTo>
                      <a:pt x="602" y="115"/>
                      <a:pt x="602" y="115"/>
                      <a:pt x="602" y="115"/>
                    </a:cubicBezTo>
                    <a:cubicBezTo>
                      <a:pt x="602" y="116"/>
                      <a:pt x="602" y="116"/>
                      <a:pt x="602" y="116"/>
                    </a:cubicBezTo>
                    <a:cubicBezTo>
                      <a:pt x="600" y="116"/>
                      <a:pt x="600" y="116"/>
                      <a:pt x="600" y="116"/>
                    </a:cubicBezTo>
                    <a:cubicBezTo>
                      <a:pt x="600" y="113"/>
                      <a:pt x="600" y="113"/>
                      <a:pt x="600" y="113"/>
                    </a:cubicBezTo>
                    <a:cubicBezTo>
                      <a:pt x="598" y="112"/>
                      <a:pt x="598" y="112"/>
                      <a:pt x="598" y="112"/>
                    </a:cubicBezTo>
                    <a:cubicBezTo>
                      <a:pt x="595" y="112"/>
                      <a:pt x="595" y="112"/>
                      <a:pt x="595" y="112"/>
                    </a:cubicBezTo>
                    <a:cubicBezTo>
                      <a:pt x="594" y="112"/>
                      <a:pt x="594" y="112"/>
                      <a:pt x="594" y="112"/>
                    </a:cubicBezTo>
                    <a:cubicBezTo>
                      <a:pt x="591" y="112"/>
                      <a:pt x="591" y="112"/>
                      <a:pt x="591" y="112"/>
                    </a:cubicBezTo>
                    <a:cubicBezTo>
                      <a:pt x="591" y="113"/>
                      <a:pt x="591" y="113"/>
                      <a:pt x="591" y="113"/>
                    </a:cubicBezTo>
                    <a:cubicBezTo>
                      <a:pt x="592" y="113"/>
                      <a:pt x="592" y="113"/>
                      <a:pt x="592" y="113"/>
                    </a:cubicBezTo>
                    <a:cubicBezTo>
                      <a:pt x="596" y="113"/>
                      <a:pt x="596" y="113"/>
                      <a:pt x="596" y="113"/>
                    </a:cubicBezTo>
                    <a:cubicBezTo>
                      <a:pt x="597" y="115"/>
                      <a:pt x="597" y="115"/>
                      <a:pt x="597" y="115"/>
                    </a:cubicBezTo>
                    <a:cubicBezTo>
                      <a:pt x="598" y="116"/>
                      <a:pt x="598" y="116"/>
                      <a:pt x="598" y="116"/>
                    </a:cubicBezTo>
                    <a:cubicBezTo>
                      <a:pt x="597" y="119"/>
                      <a:pt x="597" y="119"/>
                      <a:pt x="597" y="119"/>
                    </a:cubicBezTo>
                    <a:cubicBezTo>
                      <a:pt x="595" y="120"/>
                      <a:pt x="595" y="120"/>
                      <a:pt x="595" y="120"/>
                    </a:cubicBezTo>
                    <a:cubicBezTo>
                      <a:pt x="593" y="120"/>
                      <a:pt x="593" y="120"/>
                      <a:pt x="593" y="120"/>
                    </a:cubicBezTo>
                    <a:cubicBezTo>
                      <a:pt x="590" y="120"/>
                      <a:pt x="590" y="120"/>
                      <a:pt x="590" y="120"/>
                    </a:cubicBezTo>
                    <a:cubicBezTo>
                      <a:pt x="587" y="122"/>
                      <a:pt x="587" y="122"/>
                      <a:pt x="587" y="122"/>
                    </a:cubicBezTo>
                    <a:cubicBezTo>
                      <a:pt x="584" y="123"/>
                      <a:pt x="584" y="123"/>
                      <a:pt x="584" y="123"/>
                    </a:cubicBezTo>
                    <a:cubicBezTo>
                      <a:pt x="578" y="124"/>
                      <a:pt x="578" y="124"/>
                      <a:pt x="578" y="124"/>
                    </a:cubicBezTo>
                    <a:cubicBezTo>
                      <a:pt x="576" y="125"/>
                      <a:pt x="576" y="125"/>
                      <a:pt x="576" y="125"/>
                    </a:cubicBezTo>
                    <a:cubicBezTo>
                      <a:pt x="574" y="127"/>
                      <a:pt x="574" y="127"/>
                      <a:pt x="574" y="127"/>
                    </a:cubicBezTo>
                    <a:cubicBezTo>
                      <a:pt x="571" y="127"/>
                      <a:pt x="571" y="127"/>
                      <a:pt x="571" y="127"/>
                    </a:cubicBezTo>
                    <a:cubicBezTo>
                      <a:pt x="568" y="127"/>
                      <a:pt x="568" y="127"/>
                      <a:pt x="568" y="127"/>
                    </a:cubicBezTo>
                    <a:cubicBezTo>
                      <a:pt x="564" y="129"/>
                      <a:pt x="564" y="129"/>
                      <a:pt x="564" y="129"/>
                    </a:cubicBezTo>
                    <a:cubicBezTo>
                      <a:pt x="561" y="130"/>
                      <a:pt x="561" y="130"/>
                      <a:pt x="561" y="130"/>
                    </a:cubicBezTo>
                    <a:cubicBezTo>
                      <a:pt x="560" y="132"/>
                      <a:pt x="560" y="132"/>
                      <a:pt x="560" y="132"/>
                    </a:cubicBezTo>
                    <a:cubicBezTo>
                      <a:pt x="560" y="135"/>
                      <a:pt x="560" y="135"/>
                      <a:pt x="560" y="135"/>
                    </a:cubicBezTo>
                    <a:cubicBezTo>
                      <a:pt x="561" y="137"/>
                      <a:pt x="561" y="137"/>
                      <a:pt x="561" y="137"/>
                    </a:cubicBezTo>
                    <a:cubicBezTo>
                      <a:pt x="562" y="139"/>
                      <a:pt x="562" y="139"/>
                      <a:pt x="562" y="139"/>
                    </a:cubicBezTo>
                    <a:cubicBezTo>
                      <a:pt x="562" y="142"/>
                      <a:pt x="562" y="142"/>
                      <a:pt x="562" y="142"/>
                    </a:cubicBezTo>
                    <a:cubicBezTo>
                      <a:pt x="564" y="144"/>
                      <a:pt x="564" y="144"/>
                      <a:pt x="564" y="144"/>
                    </a:cubicBezTo>
                    <a:cubicBezTo>
                      <a:pt x="566" y="144"/>
                      <a:pt x="566" y="144"/>
                      <a:pt x="566" y="144"/>
                    </a:cubicBezTo>
                    <a:cubicBezTo>
                      <a:pt x="567" y="142"/>
                      <a:pt x="567" y="142"/>
                      <a:pt x="567" y="142"/>
                    </a:cubicBezTo>
                    <a:cubicBezTo>
                      <a:pt x="567" y="139"/>
                      <a:pt x="567" y="139"/>
                      <a:pt x="567" y="139"/>
                    </a:cubicBezTo>
                    <a:cubicBezTo>
                      <a:pt x="570" y="137"/>
                      <a:pt x="570" y="137"/>
                      <a:pt x="570" y="137"/>
                    </a:cubicBezTo>
                    <a:cubicBezTo>
                      <a:pt x="573" y="137"/>
                      <a:pt x="573" y="137"/>
                      <a:pt x="573" y="137"/>
                    </a:cubicBezTo>
                    <a:cubicBezTo>
                      <a:pt x="576" y="135"/>
                      <a:pt x="576" y="135"/>
                      <a:pt x="576" y="135"/>
                    </a:cubicBezTo>
                    <a:cubicBezTo>
                      <a:pt x="579" y="135"/>
                      <a:pt x="579" y="135"/>
                      <a:pt x="579" y="135"/>
                    </a:cubicBezTo>
                    <a:cubicBezTo>
                      <a:pt x="582" y="135"/>
                      <a:pt x="582" y="135"/>
                      <a:pt x="582" y="135"/>
                    </a:cubicBezTo>
                    <a:cubicBezTo>
                      <a:pt x="584" y="133"/>
                      <a:pt x="584" y="133"/>
                      <a:pt x="584" y="133"/>
                    </a:cubicBezTo>
                    <a:cubicBezTo>
                      <a:pt x="586" y="131"/>
                      <a:pt x="586" y="131"/>
                      <a:pt x="586" y="131"/>
                    </a:cubicBezTo>
                    <a:cubicBezTo>
                      <a:pt x="591" y="129"/>
                      <a:pt x="591" y="129"/>
                      <a:pt x="591" y="129"/>
                    </a:cubicBezTo>
                    <a:cubicBezTo>
                      <a:pt x="599" y="127"/>
                      <a:pt x="599" y="127"/>
                      <a:pt x="599" y="127"/>
                    </a:cubicBezTo>
                    <a:cubicBezTo>
                      <a:pt x="601" y="127"/>
                      <a:pt x="601" y="127"/>
                      <a:pt x="601" y="127"/>
                    </a:cubicBezTo>
                    <a:cubicBezTo>
                      <a:pt x="601" y="128"/>
                      <a:pt x="601" y="128"/>
                      <a:pt x="601" y="128"/>
                    </a:cubicBezTo>
                    <a:cubicBezTo>
                      <a:pt x="601" y="130"/>
                      <a:pt x="601" y="130"/>
                      <a:pt x="601" y="130"/>
                    </a:cubicBezTo>
                    <a:cubicBezTo>
                      <a:pt x="602" y="131"/>
                      <a:pt x="602" y="131"/>
                      <a:pt x="602" y="131"/>
                    </a:cubicBezTo>
                    <a:cubicBezTo>
                      <a:pt x="604" y="129"/>
                      <a:pt x="604" y="129"/>
                      <a:pt x="604" y="129"/>
                    </a:cubicBezTo>
                    <a:cubicBezTo>
                      <a:pt x="605" y="126"/>
                      <a:pt x="605" y="126"/>
                      <a:pt x="605" y="126"/>
                    </a:cubicBezTo>
                    <a:cubicBezTo>
                      <a:pt x="607" y="122"/>
                      <a:pt x="607" y="122"/>
                      <a:pt x="607" y="122"/>
                    </a:cubicBezTo>
                    <a:cubicBezTo>
                      <a:pt x="609" y="122"/>
                      <a:pt x="609" y="122"/>
                      <a:pt x="609" y="122"/>
                    </a:cubicBezTo>
                    <a:cubicBezTo>
                      <a:pt x="613" y="122"/>
                      <a:pt x="613" y="122"/>
                      <a:pt x="613" y="122"/>
                    </a:cubicBezTo>
                    <a:cubicBezTo>
                      <a:pt x="615" y="123"/>
                      <a:pt x="615" y="123"/>
                      <a:pt x="615" y="123"/>
                    </a:cubicBezTo>
                    <a:cubicBezTo>
                      <a:pt x="619" y="122"/>
                      <a:pt x="619" y="122"/>
                      <a:pt x="619" y="122"/>
                    </a:cubicBezTo>
                    <a:cubicBezTo>
                      <a:pt x="624" y="122"/>
                      <a:pt x="624" y="122"/>
                      <a:pt x="624" y="122"/>
                    </a:cubicBezTo>
                    <a:cubicBezTo>
                      <a:pt x="627" y="124"/>
                      <a:pt x="627" y="124"/>
                      <a:pt x="627" y="124"/>
                    </a:cubicBezTo>
                    <a:cubicBezTo>
                      <a:pt x="632" y="125"/>
                      <a:pt x="632" y="125"/>
                      <a:pt x="632" y="125"/>
                    </a:cubicBezTo>
                    <a:cubicBezTo>
                      <a:pt x="640" y="124"/>
                      <a:pt x="640" y="124"/>
                      <a:pt x="640" y="124"/>
                    </a:cubicBezTo>
                    <a:cubicBezTo>
                      <a:pt x="643" y="124"/>
                      <a:pt x="643" y="124"/>
                      <a:pt x="643" y="124"/>
                    </a:cubicBezTo>
                    <a:cubicBezTo>
                      <a:pt x="647" y="126"/>
                      <a:pt x="647" y="126"/>
                      <a:pt x="647" y="126"/>
                    </a:cubicBezTo>
                    <a:cubicBezTo>
                      <a:pt x="653" y="128"/>
                      <a:pt x="653" y="128"/>
                      <a:pt x="653" y="128"/>
                    </a:cubicBezTo>
                    <a:cubicBezTo>
                      <a:pt x="660" y="128"/>
                      <a:pt x="660" y="128"/>
                      <a:pt x="660" y="128"/>
                    </a:cubicBezTo>
                    <a:cubicBezTo>
                      <a:pt x="663" y="128"/>
                      <a:pt x="663" y="128"/>
                      <a:pt x="663" y="128"/>
                    </a:cubicBezTo>
                    <a:cubicBezTo>
                      <a:pt x="663" y="130"/>
                      <a:pt x="663" y="130"/>
                      <a:pt x="663" y="130"/>
                    </a:cubicBezTo>
                    <a:cubicBezTo>
                      <a:pt x="665" y="131"/>
                      <a:pt x="665" y="131"/>
                      <a:pt x="665" y="131"/>
                    </a:cubicBezTo>
                    <a:cubicBezTo>
                      <a:pt x="664" y="133"/>
                      <a:pt x="664" y="133"/>
                      <a:pt x="664" y="133"/>
                    </a:cubicBezTo>
                    <a:cubicBezTo>
                      <a:pt x="662" y="135"/>
                      <a:pt x="662" y="135"/>
                      <a:pt x="662" y="135"/>
                    </a:cubicBezTo>
                    <a:cubicBezTo>
                      <a:pt x="661" y="137"/>
                      <a:pt x="661" y="137"/>
                      <a:pt x="661" y="137"/>
                    </a:cubicBezTo>
                    <a:cubicBezTo>
                      <a:pt x="659" y="141"/>
                      <a:pt x="659" y="141"/>
                      <a:pt x="659" y="141"/>
                    </a:cubicBezTo>
                    <a:cubicBezTo>
                      <a:pt x="657" y="142"/>
                      <a:pt x="657" y="142"/>
                      <a:pt x="657" y="142"/>
                    </a:cubicBezTo>
                    <a:cubicBezTo>
                      <a:pt x="648" y="143"/>
                      <a:pt x="648" y="143"/>
                      <a:pt x="648" y="143"/>
                    </a:cubicBezTo>
                    <a:cubicBezTo>
                      <a:pt x="643" y="145"/>
                      <a:pt x="643" y="145"/>
                      <a:pt x="643" y="145"/>
                    </a:cubicBezTo>
                    <a:cubicBezTo>
                      <a:pt x="642" y="145"/>
                      <a:pt x="642" y="145"/>
                      <a:pt x="642" y="145"/>
                    </a:cubicBezTo>
                    <a:cubicBezTo>
                      <a:pt x="640" y="144"/>
                      <a:pt x="640" y="144"/>
                      <a:pt x="640" y="144"/>
                    </a:cubicBezTo>
                    <a:cubicBezTo>
                      <a:pt x="639" y="145"/>
                      <a:pt x="639" y="145"/>
                      <a:pt x="639" y="145"/>
                    </a:cubicBezTo>
                    <a:cubicBezTo>
                      <a:pt x="638" y="147"/>
                      <a:pt x="638" y="147"/>
                      <a:pt x="638" y="147"/>
                    </a:cubicBezTo>
                    <a:cubicBezTo>
                      <a:pt x="639" y="150"/>
                      <a:pt x="639" y="150"/>
                      <a:pt x="639" y="150"/>
                    </a:cubicBezTo>
                    <a:cubicBezTo>
                      <a:pt x="638" y="152"/>
                      <a:pt x="638" y="152"/>
                      <a:pt x="638" y="152"/>
                    </a:cubicBezTo>
                    <a:cubicBezTo>
                      <a:pt x="638" y="154"/>
                      <a:pt x="638" y="154"/>
                      <a:pt x="638" y="154"/>
                    </a:cubicBezTo>
                    <a:cubicBezTo>
                      <a:pt x="639" y="155"/>
                      <a:pt x="639" y="155"/>
                      <a:pt x="639" y="155"/>
                    </a:cubicBezTo>
                    <a:cubicBezTo>
                      <a:pt x="644" y="153"/>
                      <a:pt x="644" y="153"/>
                      <a:pt x="644" y="153"/>
                    </a:cubicBezTo>
                    <a:cubicBezTo>
                      <a:pt x="649" y="152"/>
                      <a:pt x="649" y="152"/>
                      <a:pt x="649" y="152"/>
                    </a:cubicBezTo>
                    <a:cubicBezTo>
                      <a:pt x="653" y="151"/>
                      <a:pt x="653" y="151"/>
                      <a:pt x="653" y="151"/>
                    </a:cubicBezTo>
                    <a:cubicBezTo>
                      <a:pt x="653" y="151"/>
                      <a:pt x="659" y="150"/>
                      <a:pt x="659" y="151"/>
                    </a:cubicBezTo>
                    <a:cubicBezTo>
                      <a:pt x="660" y="151"/>
                      <a:pt x="666" y="153"/>
                      <a:pt x="666" y="153"/>
                    </a:cubicBezTo>
                    <a:cubicBezTo>
                      <a:pt x="668" y="153"/>
                      <a:pt x="668" y="153"/>
                      <a:pt x="668" y="153"/>
                    </a:cubicBezTo>
                    <a:cubicBezTo>
                      <a:pt x="671" y="154"/>
                      <a:pt x="671" y="154"/>
                      <a:pt x="671" y="154"/>
                    </a:cubicBezTo>
                    <a:cubicBezTo>
                      <a:pt x="672" y="153"/>
                      <a:pt x="672" y="153"/>
                      <a:pt x="672" y="153"/>
                    </a:cubicBezTo>
                    <a:cubicBezTo>
                      <a:pt x="674" y="151"/>
                      <a:pt x="674" y="151"/>
                      <a:pt x="674" y="151"/>
                    </a:cubicBezTo>
                    <a:cubicBezTo>
                      <a:pt x="675" y="151"/>
                      <a:pt x="675" y="151"/>
                      <a:pt x="675" y="151"/>
                    </a:cubicBezTo>
                    <a:cubicBezTo>
                      <a:pt x="677" y="152"/>
                      <a:pt x="677" y="152"/>
                      <a:pt x="677" y="152"/>
                    </a:cubicBezTo>
                    <a:cubicBezTo>
                      <a:pt x="679" y="153"/>
                      <a:pt x="679" y="153"/>
                      <a:pt x="679" y="153"/>
                    </a:cubicBezTo>
                    <a:cubicBezTo>
                      <a:pt x="682" y="149"/>
                      <a:pt x="682" y="149"/>
                      <a:pt x="682" y="149"/>
                    </a:cubicBezTo>
                    <a:cubicBezTo>
                      <a:pt x="684" y="144"/>
                      <a:pt x="684" y="144"/>
                      <a:pt x="684" y="144"/>
                    </a:cubicBezTo>
                    <a:cubicBezTo>
                      <a:pt x="684" y="139"/>
                      <a:pt x="684" y="139"/>
                      <a:pt x="684" y="139"/>
                    </a:cubicBezTo>
                    <a:cubicBezTo>
                      <a:pt x="685" y="137"/>
                      <a:pt x="685" y="137"/>
                      <a:pt x="685" y="137"/>
                    </a:cubicBezTo>
                    <a:cubicBezTo>
                      <a:pt x="684" y="135"/>
                      <a:pt x="684" y="135"/>
                      <a:pt x="684" y="135"/>
                    </a:cubicBezTo>
                    <a:cubicBezTo>
                      <a:pt x="685" y="133"/>
                      <a:pt x="685" y="133"/>
                      <a:pt x="685" y="133"/>
                    </a:cubicBezTo>
                    <a:cubicBezTo>
                      <a:pt x="687" y="131"/>
                      <a:pt x="687" y="131"/>
                      <a:pt x="687" y="131"/>
                    </a:cubicBezTo>
                    <a:cubicBezTo>
                      <a:pt x="692" y="131"/>
                      <a:pt x="692" y="131"/>
                      <a:pt x="692" y="131"/>
                    </a:cubicBezTo>
                    <a:cubicBezTo>
                      <a:pt x="696" y="132"/>
                      <a:pt x="696" y="132"/>
                      <a:pt x="696" y="132"/>
                    </a:cubicBezTo>
                    <a:cubicBezTo>
                      <a:pt x="701" y="132"/>
                      <a:pt x="701" y="132"/>
                      <a:pt x="701" y="132"/>
                    </a:cubicBezTo>
                    <a:cubicBezTo>
                      <a:pt x="705" y="131"/>
                      <a:pt x="705" y="131"/>
                      <a:pt x="705" y="131"/>
                    </a:cubicBezTo>
                    <a:cubicBezTo>
                      <a:pt x="708" y="132"/>
                      <a:pt x="708" y="132"/>
                      <a:pt x="708" y="132"/>
                    </a:cubicBezTo>
                    <a:cubicBezTo>
                      <a:pt x="708" y="136"/>
                      <a:pt x="708" y="136"/>
                      <a:pt x="708" y="136"/>
                    </a:cubicBezTo>
                    <a:cubicBezTo>
                      <a:pt x="708" y="142"/>
                      <a:pt x="708" y="142"/>
                      <a:pt x="708" y="142"/>
                    </a:cubicBezTo>
                    <a:cubicBezTo>
                      <a:pt x="708" y="146"/>
                      <a:pt x="708" y="146"/>
                      <a:pt x="708" y="146"/>
                    </a:cubicBezTo>
                    <a:cubicBezTo>
                      <a:pt x="705" y="150"/>
                      <a:pt x="705" y="150"/>
                      <a:pt x="705" y="150"/>
                    </a:cubicBezTo>
                    <a:cubicBezTo>
                      <a:pt x="702" y="156"/>
                      <a:pt x="702" y="156"/>
                      <a:pt x="702" y="156"/>
                    </a:cubicBezTo>
                    <a:cubicBezTo>
                      <a:pt x="701" y="160"/>
                      <a:pt x="701" y="160"/>
                      <a:pt x="701" y="160"/>
                    </a:cubicBezTo>
                    <a:cubicBezTo>
                      <a:pt x="700" y="164"/>
                      <a:pt x="700" y="164"/>
                      <a:pt x="700" y="164"/>
                    </a:cubicBezTo>
                    <a:cubicBezTo>
                      <a:pt x="689" y="173"/>
                      <a:pt x="689" y="173"/>
                      <a:pt x="689" y="173"/>
                    </a:cubicBezTo>
                    <a:cubicBezTo>
                      <a:pt x="687" y="173"/>
                      <a:pt x="687" y="173"/>
                      <a:pt x="687" y="173"/>
                    </a:cubicBezTo>
                    <a:cubicBezTo>
                      <a:pt x="686" y="172"/>
                      <a:pt x="686" y="172"/>
                      <a:pt x="686" y="172"/>
                    </a:cubicBezTo>
                    <a:cubicBezTo>
                      <a:pt x="683" y="173"/>
                      <a:pt x="683" y="173"/>
                      <a:pt x="683" y="173"/>
                    </a:cubicBezTo>
                    <a:cubicBezTo>
                      <a:pt x="680" y="176"/>
                      <a:pt x="680" y="176"/>
                      <a:pt x="680" y="176"/>
                    </a:cubicBezTo>
                    <a:cubicBezTo>
                      <a:pt x="678" y="175"/>
                      <a:pt x="678" y="175"/>
                      <a:pt x="678" y="175"/>
                    </a:cubicBezTo>
                    <a:cubicBezTo>
                      <a:pt x="677" y="175"/>
                      <a:pt x="677" y="175"/>
                      <a:pt x="677" y="175"/>
                    </a:cubicBezTo>
                    <a:cubicBezTo>
                      <a:pt x="674" y="179"/>
                      <a:pt x="674" y="179"/>
                      <a:pt x="674" y="179"/>
                    </a:cubicBezTo>
                    <a:cubicBezTo>
                      <a:pt x="674" y="182"/>
                      <a:pt x="674" y="182"/>
                      <a:pt x="674" y="182"/>
                    </a:cubicBezTo>
                    <a:cubicBezTo>
                      <a:pt x="670" y="183"/>
                      <a:pt x="670" y="183"/>
                      <a:pt x="670" y="183"/>
                    </a:cubicBezTo>
                    <a:cubicBezTo>
                      <a:pt x="668" y="186"/>
                      <a:pt x="668" y="186"/>
                      <a:pt x="668" y="186"/>
                    </a:cubicBezTo>
                    <a:cubicBezTo>
                      <a:pt x="666" y="186"/>
                      <a:pt x="666" y="186"/>
                      <a:pt x="666" y="186"/>
                    </a:cubicBezTo>
                    <a:cubicBezTo>
                      <a:pt x="665" y="184"/>
                      <a:pt x="665" y="184"/>
                      <a:pt x="665" y="184"/>
                    </a:cubicBezTo>
                    <a:cubicBezTo>
                      <a:pt x="664" y="186"/>
                      <a:pt x="664" y="186"/>
                      <a:pt x="664" y="186"/>
                    </a:cubicBezTo>
                    <a:cubicBezTo>
                      <a:pt x="665" y="188"/>
                      <a:pt x="665" y="188"/>
                      <a:pt x="665" y="188"/>
                    </a:cubicBezTo>
                    <a:cubicBezTo>
                      <a:pt x="663" y="191"/>
                      <a:pt x="663" y="191"/>
                      <a:pt x="663" y="191"/>
                    </a:cubicBezTo>
                    <a:cubicBezTo>
                      <a:pt x="660" y="196"/>
                      <a:pt x="660" y="196"/>
                      <a:pt x="660" y="196"/>
                    </a:cubicBezTo>
                    <a:cubicBezTo>
                      <a:pt x="657" y="198"/>
                      <a:pt x="657" y="198"/>
                      <a:pt x="657" y="198"/>
                    </a:cubicBezTo>
                    <a:cubicBezTo>
                      <a:pt x="655" y="200"/>
                      <a:pt x="655" y="200"/>
                      <a:pt x="655" y="200"/>
                    </a:cubicBezTo>
                    <a:cubicBezTo>
                      <a:pt x="650" y="204"/>
                      <a:pt x="650" y="204"/>
                      <a:pt x="650" y="204"/>
                    </a:cubicBezTo>
                    <a:cubicBezTo>
                      <a:pt x="646" y="208"/>
                      <a:pt x="646" y="208"/>
                      <a:pt x="646" y="208"/>
                    </a:cubicBezTo>
                    <a:cubicBezTo>
                      <a:pt x="644" y="208"/>
                      <a:pt x="644" y="208"/>
                      <a:pt x="644" y="208"/>
                    </a:cubicBezTo>
                    <a:cubicBezTo>
                      <a:pt x="639" y="212"/>
                      <a:pt x="639" y="212"/>
                      <a:pt x="639" y="212"/>
                    </a:cubicBezTo>
                    <a:cubicBezTo>
                      <a:pt x="638" y="213"/>
                      <a:pt x="638" y="213"/>
                      <a:pt x="638" y="213"/>
                    </a:cubicBezTo>
                    <a:cubicBezTo>
                      <a:pt x="635" y="214"/>
                      <a:pt x="635" y="214"/>
                      <a:pt x="635" y="214"/>
                    </a:cubicBezTo>
                    <a:cubicBezTo>
                      <a:pt x="635" y="217"/>
                      <a:pt x="635" y="217"/>
                      <a:pt x="635" y="217"/>
                    </a:cubicBezTo>
                    <a:cubicBezTo>
                      <a:pt x="635" y="220"/>
                      <a:pt x="635" y="220"/>
                      <a:pt x="635" y="220"/>
                    </a:cubicBezTo>
                    <a:cubicBezTo>
                      <a:pt x="634" y="224"/>
                      <a:pt x="634" y="224"/>
                      <a:pt x="634" y="224"/>
                    </a:cubicBezTo>
                    <a:cubicBezTo>
                      <a:pt x="635" y="226"/>
                      <a:pt x="635" y="226"/>
                      <a:pt x="635" y="226"/>
                    </a:cubicBezTo>
                    <a:cubicBezTo>
                      <a:pt x="636" y="224"/>
                      <a:pt x="636" y="224"/>
                      <a:pt x="636" y="224"/>
                    </a:cubicBezTo>
                    <a:cubicBezTo>
                      <a:pt x="636" y="221"/>
                      <a:pt x="636" y="221"/>
                      <a:pt x="636" y="221"/>
                    </a:cubicBezTo>
                    <a:cubicBezTo>
                      <a:pt x="640" y="217"/>
                      <a:pt x="640" y="217"/>
                      <a:pt x="640" y="217"/>
                    </a:cubicBezTo>
                    <a:cubicBezTo>
                      <a:pt x="643" y="213"/>
                      <a:pt x="643" y="213"/>
                      <a:pt x="643" y="213"/>
                    </a:cubicBezTo>
                    <a:cubicBezTo>
                      <a:pt x="646" y="211"/>
                      <a:pt x="646" y="211"/>
                      <a:pt x="646" y="211"/>
                    </a:cubicBezTo>
                    <a:cubicBezTo>
                      <a:pt x="648" y="211"/>
                      <a:pt x="648" y="211"/>
                      <a:pt x="648" y="211"/>
                    </a:cubicBezTo>
                    <a:cubicBezTo>
                      <a:pt x="649" y="212"/>
                      <a:pt x="649" y="212"/>
                      <a:pt x="649" y="212"/>
                    </a:cubicBezTo>
                    <a:cubicBezTo>
                      <a:pt x="652" y="209"/>
                      <a:pt x="652" y="209"/>
                      <a:pt x="652" y="209"/>
                    </a:cubicBezTo>
                    <a:cubicBezTo>
                      <a:pt x="658" y="204"/>
                      <a:pt x="658" y="204"/>
                      <a:pt x="658" y="204"/>
                    </a:cubicBezTo>
                    <a:cubicBezTo>
                      <a:pt x="660" y="203"/>
                      <a:pt x="660" y="203"/>
                      <a:pt x="660" y="203"/>
                    </a:cubicBezTo>
                    <a:cubicBezTo>
                      <a:pt x="661" y="200"/>
                      <a:pt x="661" y="200"/>
                      <a:pt x="661" y="200"/>
                    </a:cubicBezTo>
                    <a:cubicBezTo>
                      <a:pt x="667" y="195"/>
                      <a:pt x="667" y="195"/>
                      <a:pt x="667" y="195"/>
                    </a:cubicBezTo>
                    <a:cubicBezTo>
                      <a:pt x="672" y="191"/>
                      <a:pt x="672" y="191"/>
                      <a:pt x="672" y="191"/>
                    </a:cubicBezTo>
                    <a:cubicBezTo>
                      <a:pt x="674" y="190"/>
                      <a:pt x="674" y="190"/>
                      <a:pt x="674" y="190"/>
                    </a:cubicBezTo>
                    <a:cubicBezTo>
                      <a:pt x="677" y="190"/>
                      <a:pt x="677" y="190"/>
                      <a:pt x="677" y="190"/>
                    </a:cubicBezTo>
                    <a:cubicBezTo>
                      <a:pt x="680" y="190"/>
                      <a:pt x="680" y="190"/>
                      <a:pt x="680" y="190"/>
                    </a:cubicBezTo>
                    <a:cubicBezTo>
                      <a:pt x="682" y="188"/>
                      <a:pt x="682" y="188"/>
                      <a:pt x="682" y="188"/>
                    </a:cubicBezTo>
                    <a:cubicBezTo>
                      <a:pt x="683" y="186"/>
                      <a:pt x="683" y="186"/>
                      <a:pt x="683" y="186"/>
                    </a:cubicBezTo>
                    <a:cubicBezTo>
                      <a:pt x="687" y="186"/>
                      <a:pt x="687" y="186"/>
                      <a:pt x="687" y="186"/>
                    </a:cubicBezTo>
                    <a:cubicBezTo>
                      <a:pt x="692" y="186"/>
                      <a:pt x="692" y="186"/>
                      <a:pt x="692" y="186"/>
                    </a:cubicBezTo>
                    <a:cubicBezTo>
                      <a:pt x="697" y="183"/>
                      <a:pt x="697" y="183"/>
                      <a:pt x="697" y="183"/>
                    </a:cubicBezTo>
                    <a:cubicBezTo>
                      <a:pt x="700" y="180"/>
                      <a:pt x="700" y="180"/>
                      <a:pt x="700" y="180"/>
                    </a:cubicBezTo>
                    <a:cubicBezTo>
                      <a:pt x="704" y="180"/>
                      <a:pt x="704" y="180"/>
                      <a:pt x="704" y="180"/>
                    </a:cubicBezTo>
                    <a:cubicBezTo>
                      <a:pt x="707" y="178"/>
                      <a:pt x="707" y="178"/>
                      <a:pt x="707" y="178"/>
                    </a:cubicBezTo>
                    <a:cubicBezTo>
                      <a:pt x="709" y="176"/>
                      <a:pt x="709" y="176"/>
                      <a:pt x="709" y="176"/>
                    </a:cubicBezTo>
                    <a:cubicBezTo>
                      <a:pt x="712" y="176"/>
                      <a:pt x="712" y="176"/>
                      <a:pt x="712" y="176"/>
                    </a:cubicBezTo>
                    <a:cubicBezTo>
                      <a:pt x="714" y="173"/>
                      <a:pt x="714" y="173"/>
                      <a:pt x="714" y="173"/>
                    </a:cubicBezTo>
                    <a:cubicBezTo>
                      <a:pt x="719" y="168"/>
                      <a:pt x="719" y="168"/>
                      <a:pt x="719" y="168"/>
                    </a:cubicBezTo>
                    <a:cubicBezTo>
                      <a:pt x="721" y="164"/>
                      <a:pt x="721" y="164"/>
                      <a:pt x="721" y="164"/>
                    </a:cubicBezTo>
                    <a:cubicBezTo>
                      <a:pt x="721" y="162"/>
                      <a:pt x="721" y="162"/>
                      <a:pt x="721" y="162"/>
                    </a:cubicBezTo>
                    <a:cubicBezTo>
                      <a:pt x="723" y="160"/>
                      <a:pt x="723" y="160"/>
                      <a:pt x="723" y="160"/>
                    </a:cubicBezTo>
                    <a:cubicBezTo>
                      <a:pt x="724" y="158"/>
                      <a:pt x="724" y="158"/>
                      <a:pt x="724" y="158"/>
                    </a:cubicBezTo>
                    <a:cubicBezTo>
                      <a:pt x="726" y="157"/>
                      <a:pt x="726" y="157"/>
                      <a:pt x="726" y="157"/>
                    </a:cubicBezTo>
                    <a:cubicBezTo>
                      <a:pt x="726" y="159"/>
                      <a:pt x="726" y="159"/>
                      <a:pt x="726" y="159"/>
                    </a:cubicBezTo>
                    <a:cubicBezTo>
                      <a:pt x="727" y="161"/>
                      <a:pt x="727" y="161"/>
                      <a:pt x="727" y="161"/>
                    </a:cubicBezTo>
                    <a:cubicBezTo>
                      <a:pt x="727" y="164"/>
                      <a:pt x="727" y="164"/>
                      <a:pt x="727" y="164"/>
                    </a:cubicBezTo>
                    <a:cubicBezTo>
                      <a:pt x="727" y="166"/>
                      <a:pt x="727" y="166"/>
                      <a:pt x="727" y="166"/>
                    </a:cubicBezTo>
                    <a:cubicBezTo>
                      <a:pt x="728" y="169"/>
                      <a:pt x="728" y="169"/>
                      <a:pt x="728" y="169"/>
                    </a:cubicBezTo>
                    <a:cubicBezTo>
                      <a:pt x="729" y="173"/>
                      <a:pt x="729" y="173"/>
                      <a:pt x="729" y="173"/>
                    </a:cubicBezTo>
                    <a:cubicBezTo>
                      <a:pt x="728" y="174"/>
                      <a:pt x="728" y="174"/>
                      <a:pt x="728" y="174"/>
                    </a:cubicBezTo>
                    <a:cubicBezTo>
                      <a:pt x="728" y="177"/>
                      <a:pt x="728" y="177"/>
                      <a:pt x="728" y="177"/>
                    </a:cubicBezTo>
                    <a:cubicBezTo>
                      <a:pt x="729" y="175"/>
                      <a:pt x="729" y="175"/>
                      <a:pt x="729" y="175"/>
                    </a:cubicBezTo>
                    <a:cubicBezTo>
                      <a:pt x="730" y="172"/>
                      <a:pt x="730" y="172"/>
                      <a:pt x="730" y="172"/>
                    </a:cubicBezTo>
                    <a:cubicBezTo>
                      <a:pt x="732" y="169"/>
                      <a:pt x="732" y="169"/>
                      <a:pt x="732" y="169"/>
                    </a:cubicBezTo>
                    <a:cubicBezTo>
                      <a:pt x="731" y="168"/>
                      <a:pt x="731" y="168"/>
                      <a:pt x="731" y="168"/>
                    </a:cubicBezTo>
                    <a:cubicBezTo>
                      <a:pt x="731" y="165"/>
                      <a:pt x="731" y="165"/>
                      <a:pt x="731" y="165"/>
                    </a:cubicBezTo>
                    <a:cubicBezTo>
                      <a:pt x="732" y="163"/>
                      <a:pt x="732" y="163"/>
                      <a:pt x="732" y="163"/>
                    </a:cubicBezTo>
                    <a:cubicBezTo>
                      <a:pt x="734" y="164"/>
                      <a:pt x="734" y="164"/>
                      <a:pt x="734" y="164"/>
                    </a:cubicBezTo>
                    <a:cubicBezTo>
                      <a:pt x="734" y="167"/>
                      <a:pt x="734" y="167"/>
                      <a:pt x="734" y="167"/>
                    </a:cubicBezTo>
                    <a:cubicBezTo>
                      <a:pt x="736" y="169"/>
                      <a:pt x="736" y="169"/>
                      <a:pt x="736" y="169"/>
                    </a:cubicBezTo>
                    <a:cubicBezTo>
                      <a:pt x="740" y="169"/>
                      <a:pt x="740" y="169"/>
                      <a:pt x="740" y="169"/>
                    </a:cubicBezTo>
                    <a:cubicBezTo>
                      <a:pt x="743" y="167"/>
                      <a:pt x="743" y="167"/>
                      <a:pt x="743" y="167"/>
                    </a:cubicBezTo>
                    <a:cubicBezTo>
                      <a:pt x="744" y="165"/>
                      <a:pt x="744" y="165"/>
                      <a:pt x="744" y="165"/>
                    </a:cubicBezTo>
                    <a:cubicBezTo>
                      <a:pt x="743" y="164"/>
                      <a:pt x="743" y="164"/>
                      <a:pt x="743" y="164"/>
                    </a:cubicBezTo>
                    <a:cubicBezTo>
                      <a:pt x="743" y="162"/>
                      <a:pt x="743" y="162"/>
                      <a:pt x="743" y="162"/>
                    </a:cubicBezTo>
                    <a:cubicBezTo>
                      <a:pt x="745" y="162"/>
                      <a:pt x="745" y="162"/>
                      <a:pt x="745" y="162"/>
                    </a:cubicBezTo>
                    <a:cubicBezTo>
                      <a:pt x="747" y="159"/>
                      <a:pt x="747" y="159"/>
                      <a:pt x="747" y="159"/>
                    </a:cubicBezTo>
                    <a:cubicBezTo>
                      <a:pt x="747" y="156"/>
                      <a:pt x="747" y="156"/>
                      <a:pt x="747" y="156"/>
                    </a:cubicBezTo>
                    <a:cubicBezTo>
                      <a:pt x="746" y="153"/>
                      <a:pt x="746" y="153"/>
                      <a:pt x="746" y="153"/>
                    </a:cubicBezTo>
                    <a:cubicBezTo>
                      <a:pt x="748" y="151"/>
                      <a:pt x="748" y="151"/>
                      <a:pt x="748" y="151"/>
                    </a:cubicBezTo>
                    <a:cubicBezTo>
                      <a:pt x="750" y="150"/>
                      <a:pt x="750" y="150"/>
                      <a:pt x="750" y="150"/>
                    </a:cubicBezTo>
                    <a:cubicBezTo>
                      <a:pt x="751" y="152"/>
                      <a:pt x="751" y="152"/>
                      <a:pt x="751" y="152"/>
                    </a:cubicBezTo>
                    <a:cubicBezTo>
                      <a:pt x="754" y="153"/>
                      <a:pt x="754" y="153"/>
                      <a:pt x="754" y="153"/>
                    </a:cubicBezTo>
                    <a:cubicBezTo>
                      <a:pt x="758" y="152"/>
                      <a:pt x="758" y="152"/>
                      <a:pt x="758" y="152"/>
                    </a:cubicBezTo>
                    <a:cubicBezTo>
                      <a:pt x="760" y="150"/>
                      <a:pt x="760" y="150"/>
                      <a:pt x="760" y="150"/>
                    </a:cubicBezTo>
                    <a:cubicBezTo>
                      <a:pt x="765" y="148"/>
                      <a:pt x="765" y="148"/>
                      <a:pt x="765" y="148"/>
                    </a:cubicBezTo>
                    <a:cubicBezTo>
                      <a:pt x="769" y="148"/>
                      <a:pt x="769" y="148"/>
                      <a:pt x="769" y="148"/>
                    </a:cubicBezTo>
                    <a:cubicBezTo>
                      <a:pt x="772" y="147"/>
                      <a:pt x="772" y="147"/>
                      <a:pt x="772" y="147"/>
                    </a:cubicBezTo>
                    <a:cubicBezTo>
                      <a:pt x="776" y="148"/>
                      <a:pt x="776" y="148"/>
                      <a:pt x="776" y="148"/>
                    </a:cubicBezTo>
                    <a:cubicBezTo>
                      <a:pt x="781" y="151"/>
                      <a:pt x="781" y="151"/>
                      <a:pt x="781" y="151"/>
                    </a:cubicBezTo>
                    <a:cubicBezTo>
                      <a:pt x="786" y="152"/>
                      <a:pt x="786" y="152"/>
                      <a:pt x="786" y="152"/>
                    </a:cubicBezTo>
                    <a:cubicBezTo>
                      <a:pt x="790" y="153"/>
                      <a:pt x="790" y="153"/>
                      <a:pt x="790" y="153"/>
                    </a:cubicBezTo>
                    <a:cubicBezTo>
                      <a:pt x="794" y="154"/>
                      <a:pt x="794" y="154"/>
                      <a:pt x="794" y="154"/>
                    </a:cubicBezTo>
                    <a:cubicBezTo>
                      <a:pt x="796" y="156"/>
                      <a:pt x="796" y="156"/>
                      <a:pt x="796" y="156"/>
                    </a:cubicBezTo>
                    <a:cubicBezTo>
                      <a:pt x="798" y="157"/>
                      <a:pt x="798" y="157"/>
                      <a:pt x="798" y="157"/>
                    </a:cubicBezTo>
                    <a:cubicBezTo>
                      <a:pt x="802" y="158"/>
                      <a:pt x="802" y="158"/>
                      <a:pt x="802" y="158"/>
                    </a:cubicBezTo>
                    <a:cubicBezTo>
                      <a:pt x="803" y="161"/>
                      <a:pt x="803" y="161"/>
                      <a:pt x="803" y="161"/>
                    </a:cubicBezTo>
                    <a:cubicBezTo>
                      <a:pt x="803" y="163"/>
                      <a:pt x="803" y="163"/>
                      <a:pt x="803" y="163"/>
                    </a:cubicBezTo>
                    <a:cubicBezTo>
                      <a:pt x="809" y="168"/>
                      <a:pt x="809" y="168"/>
                      <a:pt x="809" y="168"/>
                    </a:cubicBezTo>
                    <a:cubicBezTo>
                      <a:pt x="810" y="170"/>
                      <a:pt x="810" y="170"/>
                      <a:pt x="810" y="170"/>
                    </a:cubicBezTo>
                    <a:cubicBezTo>
                      <a:pt x="813" y="173"/>
                      <a:pt x="813" y="173"/>
                      <a:pt x="813" y="173"/>
                    </a:cubicBezTo>
                    <a:cubicBezTo>
                      <a:pt x="814" y="178"/>
                      <a:pt x="814" y="178"/>
                      <a:pt x="814" y="178"/>
                    </a:cubicBezTo>
                    <a:cubicBezTo>
                      <a:pt x="814" y="182"/>
                      <a:pt x="814" y="182"/>
                      <a:pt x="814" y="182"/>
                    </a:cubicBezTo>
                    <a:cubicBezTo>
                      <a:pt x="812" y="184"/>
                      <a:pt x="812" y="184"/>
                      <a:pt x="812" y="184"/>
                    </a:cubicBezTo>
                    <a:cubicBezTo>
                      <a:pt x="809" y="185"/>
                      <a:pt x="809" y="185"/>
                      <a:pt x="809" y="185"/>
                    </a:cubicBezTo>
                    <a:cubicBezTo>
                      <a:pt x="806" y="188"/>
                      <a:pt x="806" y="188"/>
                      <a:pt x="806" y="188"/>
                    </a:cubicBezTo>
                    <a:cubicBezTo>
                      <a:pt x="805" y="190"/>
                      <a:pt x="805" y="190"/>
                      <a:pt x="805" y="190"/>
                    </a:cubicBezTo>
                    <a:cubicBezTo>
                      <a:pt x="802" y="190"/>
                      <a:pt x="802" y="190"/>
                      <a:pt x="802" y="190"/>
                    </a:cubicBezTo>
                    <a:cubicBezTo>
                      <a:pt x="799" y="193"/>
                      <a:pt x="799" y="193"/>
                      <a:pt x="799" y="193"/>
                    </a:cubicBezTo>
                    <a:cubicBezTo>
                      <a:pt x="795" y="198"/>
                      <a:pt x="795" y="198"/>
                      <a:pt x="795" y="198"/>
                    </a:cubicBezTo>
                    <a:cubicBezTo>
                      <a:pt x="793" y="200"/>
                      <a:pt x="793" y="200"/>
                      <a:pt x="793" y="200"/>
                    </a:cubicBezTo>
                    <a:cubicBezTo>
                      <a:pt x="792" y="201"/>
                      <a:pt x="792" y="201"/>
                      <a:pt x="792" y="201"/>
                    </a:cubicBezTo>
                    <a:cubicBezTo>
                      <a:pt x="789" y="200"/>
                      <a:pt x="789" y="200"/>
                      <a:pt x="789" y="200"/>
                    </a:cubicBezTo>
                    <a:cubicBezTo>
                      <a:pt x="784" y="197"/>
                      <a:pt x="784" y="197"/>
                      <a:pt x="784" y="197"/>
                    </a:cubicBezTo>
                    <a:cubicBezTo>
                      <a:pt x="782" y="197"/>
                      <a:pt x="782" y="197"/>
                      <a:pt x="782" y="197"/>
                    </a:cubicBezTo>
                    <a:cubicBezTo>
                      <a:pt x="779" y="199"/>
                      <a:pt x="779" y="199"/>
                      <a:pt x="779" y="199"/>
                    </a:cubicBezTo>
                    <a:cubicBezTo>
                      <a:pt x="777" y="202"/>
                      <a:pt x="777" y="202"/>
                      <a:pt x="777" y="202"/>
                    </a:cubicBezTo>
                    <a:cubicBezTo>
                      <a:pt x="777" y="204"/>
                      <a:pt x="777" y="204"/>
                      <a:pt x="777" y="204"/>
                    </a:cubicBezTo>
                    <a:cubicBezTo>
                      <a:pt x="779" y="205"/>
                      <a:pt x="779" y="205"/>
                      <a:pt x="779" y="205"/>
                    </a:cubicBezTo>
                    <a:cubicBezTo>
                      <a:pt x="779" y="207"/>
                      <a:pt x="779" y="207"/>
                      <a:pt x="779" y="207"/>
                    </a:cubicBezTo>
                    <a:cubicBezTo>
                      <a:pt x="781" y="209"/>
                      <a:pt x="781" y="209"/>
                      <a:pt x="781" y="209"/>
                    </a:cubicBezTo>
                    <a:cubicBezTo>
                      <a:pt x="782" y="211"/>
                      <a:pt x="782" y="211"/>
                      <a:pt x="782" y="211"/>
                    </a:cubicBezTo>
                    <a:cubicBezTo>
                      <a:pt x="782" y="213"/>
                      <a:pt x="782" y="213"/>
                      <a:pt x="782" y="213"/>
                    </a:cubicBezTo>
                    <a:cubicBezTo>
                      <a:pt x="781" y="215"/>
                      <a:pt x="781" y="215"/>
                      <a:pt x="781" y="215"/>
                    </a:cubicBezTo>
                    <a:cubicBezTo>
                      <a:pt x="778" y="215"/>
                      <a:pt x="778" y="215"/>
                      <a:pt x="778" y="215"/>
                    </a:cubicBezTo>
                    <a:cubicBezTo>
                      <a:pt x="776" y="215"/>
                      <a:pt x="776" y="215"/>
                      <a:pt x="776" y="215"/>
                    </a:cubicBezTo>
                    <a:cubicBezTo>
                      <a:pt x="770" y="218"/>
                      <a:pt x="770" y="218"/>
                      <a:pt x="770" y="218"/>
                    </a:cubicBezTo>
                    <a:cubicBezTo>
                      <a:pt x="766" y="220"/>
                      <a:pt x="766" y="220"/>
                      <a:pt x="766" y="220"/>
                    </a:cubicBezTo>
                    <a:cubicBezTo>
                      <a:pt x="763" y="220"/>
                      <a:pt x="763" y="220"/>
                      <a:pt x="763" y="220"/>
                    </a:cubicBezTo>
                    <a:cubicBezTo>
                      <a:pt x="761" y="221"/>
                      <a:pt x="761" y="221"/>
                      <a:pt x="761" y="221"/>
                    </a:cubicBezTo>
                    <a:cubicBezTo>
                      <a:pt x="758" y="219"/>
                      <a:pt x="758" y="219"/>
                      <a:pt x="758" y="219"/>
                    </a:cubicBezTo>
                    <a:cubicBezTo>
                      <a:pt x="755" y="218"/>
                      <a:pt x="755" y="218"/>
                      <a:pt x="755" y="218"/>
                    </a:cubicBezTo>
                    <a:cubicBezTo>
                      <a:pt x="752" y="218"/>
                      <a:pt x="752" y="218"/>
                      <a:pt x="752" y="218"/>
                    </a:cubicBezTo>
                    <a:cubicBezTo>
                      <a:pt x="751" y="217"/>
                      <a:pt x="751" y="217"/>
                      <a:pt x="751" y="217"/>
                    </a:cubicBezTo>
                    <a:cubicBezTo>
                      <a:pt x="749" y="216"/>
                      <a:pt x="749" y="216"/>
                      <a:pt x="749" y="216"/>
                    </a:cubicBezTo>
                    <a:cubicBezTo>
                      <a:pt x="748" y="215"/>
                      <a:pt x="748" y="215"/>
                      <a:pt x="748" y="215"/>
                    </a:cubicBezTo>
                    <a:cubicBezTo>
                      <a:pt x="746" y="215"/>
                      <a:pt x="746" y="215"/>
                      <a:pt x="746" y="215"/>
                    </a:cubicBezTo>
                    <a:cubicBezTo>
                      <a:pt x="745" y="216"/>
                      <a:pt x="745" y="216"/>
                      <a:pt x="745" y="216"/>
                    </a:cubicBezTo>
                    <a:cubicBezTo>
                      <a:pt x="744" y="217"/>
                      <a:pt x="744" y="217"/>
                      <a:pt x="744" y="217"/>
                    </a:cubicBezTo>
                    <a:cubicBezTo>
                      <a:pt x="743" y="217"/>
                      <a:pt x="743" y="217"/>
                      <a:pt x="743" y="217"/>
                    </a:cubicBezTo>
                    <a:cubicBezTo>
                      <a:pt x="741" y="217"/>
                      <a:pt x="741" y="217"/>
                      <a:pt x="741" y="217"/>
                    </a:cubicBezTo>
                    <a:cubicBezTo>
                      <a:pt x="739" y="218"/>
                      <a:pt x="739" y="218"/>
                      <a:pt x="739" y="218"/>
                    </a:cubicBezTo>
                    <a:cubicBezTo>
                      <a:pt x="738" y="220"/>
                      <a:pt x="738" y="220"/>
                      <a:pt x="738" y="220"/>
                    </a:cubicBezTo>
                    <a:cubicBezTo>
                      <a:pt x="736" y="220"/>
                      <a:pt x="736" y="220"/>
                      <a:pt x="736" y="220"/>
                    </a:cubicBezTo>
                    <a:cubicBezTo>
                      <a:pt x="734" y="219"/>
                      <a:pt x="734" y="219"/>
                      <a:pt x="734" y="219"/>
                    </a:cubicBezTo>
                    <a:cubicBezTo>
                      <a:pt x="732" y="221"/>
                      <a:pt x="732" y="221"/>
                      <a:pt x="732" y="221"/>
                    </a:cubicBezTo>
                    <a:cubicBezTo>
                      <a:pt x="730" y="221"/>
                      <a:pt x="730" y="221"/>
                      <a:pt x="730" y="221"/>
                    </a:cubicBezTo>
                    <a:cubicBezTo>
                      <a:pt x="726" y="221"/>
                      <a:pt x="726" y="221"/>
                      <a:pt x="726" y="221"/>
                    </a:cubicBezTo>
                    <a:cubicBezTo>
                      <a:pt x="723" y="220"/>
                      <a:pt x="723" y="220"/>
                      <a:pt x="723" y="220"/>
                    </a:cubicBezTo>
                    <a:cubicBezTo>
                      <a:pt x="719" y="220"/>
                      <a:pt x="719" y="220"/>
                      <a:pt x="719" y="220"/>
                    </a:cubicBezTo>
                    <a:cubicBezTo>
                      <a:pt x="716" y="222"/>
                      <a:pt x="716" y="222"/>
                      <a:pt x="716" y="222"/>
                    </a:cubicBezTo>
                    <a:cubicBezTo>
                      <a:pt x="713" y="222"/>
                      <a:pt x="713" y="222"/>
                      <a:pt x="713" y="222"/>
                    </a:cubicBezTo>
                    <a:cubicBezTo>
                      <a:pt x="710" y="222"/>
                      <a:pt x="710" y="222"/>
                      <a:pt x="710" y="222"/>
                    </a:cubicBezTo>
                    <a:cubicBezTo>
                      <a:pt x="713" y="223"/>
                      <a:pt x="713" y="223"/>
                      <a:pt x="713" y="223"/>
                    </a:cubicBezTo>
                    <a:cubicBezTo>
                      <a:pt x="716" y="223"/>
                      <a:pt x="716" y="223"/>
                      <a:pt x="716" y="223"/>
                    </a:cubicBezTo>
                    <a:cubicBezTo>
                      <a:pt x="723" y="223"/>
                      <a:pt x="723" y="223"/>
                      <a:pt x="723" y="223"/>
                    </a:cubicBezTo>
                    <a:cubicBezTo>
                      <a:pt x="726" y="222"/>
                      <a:pt x="726" y="222"/>
                      <a:pt x="726" y="222"/>
                    </a:cubicBezTo>
                    <a:cubicBezTo>
                      <a:pt x="729" y="222"/>
                      <a:pt x="729" y="222"/>
                      <a:pt x="729" y="222"/>
                    </a:cubicBezTo>
                    <a:cubicBezTo>
                      <a:pt x="732" y="224"/>
                      <a:pt x="732" y="224"/>
                      <a:pt x="732" y="224"/>
                    </a:cubicBezTo>
                    <a:cubicBezTo>
                      <a:pt x="736" y="225"/>
                      <a:pt x="736" y="225"/>
                      <a:pt x="736" y="225"/>
                    </a:cubicBezTo>
                    <a:cubicBezTo>
                      <a:pt x="744" y="225"/>
                      <a:pt x="744" y="225"/>
                      <a:pt x="744" y="225"/>
                    </a:cubicBezTo>
                    <a:cubicBezTo>
                      <a:pt x="746" y="227"/>
                      <a:pt x="746" y="227"/>
                      <a:pt x="746" y="227"/>
                    </a:cubicBezTo>
                    <a:cubicBezTo>
                      <a:pt x="748" y="227"/>
                      <a:pt x="748" y="227"/>
                      <a:pt x="748" y="227"/>
                    </a:cubicBezTo>
                    <a:cubicBezTo>
                      <a:pt x="750" y="224"/>
                      <a:pt x="750" y="224"/>
                      <a:pt x="750" y="224"/>
                    </a:cubicBezTo>
                    <a:cubicBezTo>
                      <a:pt x="753" y="224"/>
                      <a:pt x="753" y="224"/>
                      <a:pt x="753" y="224"/>
                    </a:cubicBezTo>
                    <a:cubicBezTo>
                      <a:pt x="755" y="225"/>
                      <a:pt x="755" y="225"/>
                      <a:pt x="755" y="225"/>
                    </a:cubicBezTo>
                    <a:cubicBezTo>
                      <a:pt x="757" y="227"/>
                      <a:pt x="757" y="227"/>
                      <a:pt x="757" y="227"/>
                    </a:cubicBezTo>
                    <a:cubicBezTo>
                      <a:pt x="760" y="228"/>
                      <a:pt x="760" y="228"/>
                      <a:pt x="760" y="228"/>
                    </a:cubicBezTo>
                    <a:cubicBezTo>
                      <a:pt x="762" y="230"/>
                      <a:pt x="762" y="230"/>
                      <a:pt x="762" y="230"/>
                    </a:cubicBezTo>
                    <a:cubicBezTo>
                      <a:pt x="762" y="233"/>
                      <a:pt x="762" y="233"/>
                      <a:pt x="762" y="233"/>
                    </a:cubicBezTo>
                    <a:cubicBezTo>
                      <a:pt x="759" y="235"/>
                      <a:pt x="759" y="235"/>
                      <a:pt x="759" y="235"/>
                    </a:cubicBezTo>
                    <a:cubicBezTo>
                      <a:pt x="756" y="236"/>
                      <a:pt x="756" y="236"/>
                      <a:pt x="756" y="236"/>
                    </a:cubicBezTo>
                    <a:cubicBezTo>
                      <a:pt x="755" y="236"/>
                      <a:pt x="755" y="236"/>
                      <a:pt x="755" y="236"/>
                    </a:cubicBezTo>
                    <a:cubicBezTo>
                      <a:pt x="755" y="238"/>
                      <a:pt x="755" y="238"/>
                      <a:pt x="755" y="238"/>
                    </a:cubicBezTo>
                    <a:cubicBezTo>
                      <a:pt x="755" y="240"/>
                      <a:pt x="755" y="240"/>
                      <a:pt x="755" y="240"/>
                    </a:cubicBezTo>
                    <a:cubicBezTo>
                      <a:pt x="752" y="242"/>
                      <a:pt x="752" y="242"/>
                      <a:pt x="752" y="242"/>
                    </a:cubicBezTo>
                    <a:cubicBezTo>
                      <a:pt x="745" y="244"/>
                      <a:pt x="745" y="244"/>
                      <a:pt x="745" y="244"/>
                    </a:cubicBezTo>
                    <a:cubicBezTo>
                      <a:pt x="742" y="243"/>
                      <a:pt x="742" y="243"/>
                      <a:pt x="742" y="243"/>
                    </a:cubicBezTo>
                    <a:cubicBezTo>
                      <a:pt x="738" y="244"/>
                      <a:pt x="738" y="244"/>
                      <a:pt x="738" y="244"/>
                    </a:cubicBezTo>
                    <a:cubicBezTo>
                      <a:pt x="731" y="244"/>
                      <a:pt x="731" y="244"/>
                      <a:pt x="731" y="244"/>
                    </a:cubicBezTo>
                    <a:cubicBezTo>
                      <a:pt x="729" y="242"/>
                      <a:pt x="729" y="242"/>
                      <a:pt x="729" y="242"/>
                    </a:cubicBezTo>
                    <a:cubicBezTo>
                      <a:pt x="722" y="237"/>
                      <a:pt x="722" y="237"/>
                      <a:pt x="722" y="237"/>
                    </a:cubicBezTo>
                    <a:cubicBezTo>
                      <a:pt x="717" y="236"/>
                      <a:pt x="717" y="236"/>
                      <a:pt x="717" y="236"/>
                    </a:cubicBezTo>
                    <a:cubicBezTo>
                      <a:pt x="714" y="236"/>
                      <a:pt x="714" y="236"/>
                      <a:pt x="714" y="236"/>
                    </a:cubicBezTo>
                    <a:cubicBezTo>
                      <a:pt x="711" y="239"/>
                      <a:pt x="711" y="239"/>
                      <a:pt x="711" y="239"/>
                    </a:cubicBezTo>
                    <a:cubicBezTo>
                      <a:pt x="709" y="243"/>
                      <a:pt x="709" y="243"/>
                      <a:pt x="709" y="243"/>
                    </a:cubicBezTo>
                    <a:cubicBezTo>
                      <a:pt x="705" y="245"/>
                      <a:pt x="705" y="245"/>
                      <a:pt x="705" y="245"/>
                    </a:cubicBezTo>
                    <a:cubicBezTo>
                      <a:pt x="703" y="247"/>
                      <a:pt x="703" y="247"/>
                      <a:pt x="703" y="247"/>
                    </a:cubicBezTo>
                    <a:cubicBezTo>
                      <a:pt x="700" y="248"/>
                      <a:pt x="700" y="248"/>
                      <a:pt x="700" y="248"/>
                    </a:cubicBezTo>
                    <a:cubicBezTo>
                      <a:pt x="702" y="249"/>
                      <a:pt x="702" y="249"/>
                      <a:pt x="702" y="249"/>
                    </a:cubicBezTo>
                    <a:cubicBezTo>
                      <a:pt x="705" y="249"/>
                      <a:pt x="705" y="249"/>
                      <a:pt x="705" y="249"/>
                    </a:cubicBezTo>
                    <a:cubicBezTo>
                      <a:pt x="706" y="251"/>
                      <a:pt x="706" y="251"/>
                      <a:pt x="706" y="251"/>
                    </a:cubicBezTo>
                    <a:cubicBezTo>
                      <a:pt x="706" y="254"/>
                      <a:pt x="706" y="254"/>
                      <a:pt x="706" y="254"/>
                    </a:cubicBezTo>
                    <a:cubicBezTo>
                      <a:pt x="704" y="255"/>
                      <a:pt x="704" y="255"/>
                      <a:pt x="704" y="255"/>
                    </a:cubicBezTo>
                    <a:cubicBezTo>
                      <a:pt x="702" y="255"/>
                      <a:pt x="702" y="255"/>
                      <a:pt x="702" y="255"/>
                    </a:cubicBezTo>
                    <a:cubicBezTo>
                      <a:pt x="702" y="257"/>
                      <a:pt x="702" y="257"/>
                      <a:pt x="702" y="257"/>
                    </a:cubicBezTo>
                    <a:cubicBezTo>
                      <a:pt x="704" y="258"/>
                      <a:pt x="704" y="258"/>
                      <a:pt x="704" y="258"/>
                    </a:cubicBezTo>
                    <a:cubicBezTo>
                      <a:pt x="707" y="260"/>
                      <a:pt x="707" y="260"/>
                      <a:pt x="707" y="260"/>
                    </a:cubicBezTo>
                    <a:cubicBezTo>
                      <a:pt x="709" y="259"/>
                      <a:pt x="709" y="259"/>
                      <a:pt x="709" y="259"/>
                    </a:cubicBezTo>
                    <a:cubicBezTo>
                      <a:pt x="710" y="257"/>
                      <a:pt x="710" y="257"/>
                      <a:pt x="710" y="257"/>
                    </a:cubicBezTo>
                    <a:cubicBezTo>
                      <a:pt x="714" y="255"/>
                      <a:pt x="714" y="255"/>
                      <a:pt x="714" y="255"/>
                    </a:cubicBezTo>
                    <a:cubicBezTo>
                      <a:pt x="716" y="252"/>
                      <a:pt x="716" y="252"/>
                      <a:pt x="716" y="252"/>
                    </a:cubicBezTo>
                    <a:cubicBezTo>
                      <a:pt x="721" y="250"/>
                      <a:pt x="721" y="250"/>
                      <a:pt x="721" y="250"/>
                    </a:cubicBezTo>
                    <a:cubicBezTo>
                      <a:pt x="726" y="249"/>
                      <a:pt x="726" y="249"/>
                      <a:pt x="726" y="249"/>
                    </a:cubicBezTo>
                    <a:cubicBezTo>
                      <a:pt x="731" y="247"/>
                      <a:pt x="731" y="247"/>
                      <a:pt x="731" y="247"/>
                    </a:cubicBezTo>
                    <a:cubicBezTo>
                      <a:pt x="734" y="247"/>
                      <a:pt x="734" y="247"/>
                      <a:pt x="734" y="247"/>
                    </a:cubicBezTo>
                    <a:cubicBezTo>
                      <a:pt x="736" y="248"/>
                      <a:pt x="736" y="248"/>
                      <a:pt x="736" y="248"/>
                    </a:cubicBezTo>
                    <a:cubicBezTo>
                      <a:pt x="737" y="250"/>
                      <a:pt x="737" y="250"/>
                      <a:pt x="737" y="250"/>
                    </a:cubicBezTo>
                    <a:cubicBezTo>
                      <a:pt x="741" y="251"/>
                      <a:pt x="741" y="251"/>
                      <a:pt x="741" y="251"/>
                    </a:cubicBezTo>
                    <a:cubicBezTo>
                      <a:pt x="743" y="252"/>
                      <a:pt x="743" y="252"/>
                      <a:pt x="743" y="252"/>
                    </a:cubicBezTo>
                    <a:cubicBezTo>
                      <a:pt x="744" y="254"/>
                      <a:pt x="744" y="254"/>
                      <a:pt x="744" y="254"/>
                    </a:cubicBezTo>
                    <a:cubicBezTo>
                      <a:pt x="743" y="255"/>
                      <a:pt x="743" y="255"/>
                      <a:pt x="743" y="255"/>
                    </a:cubicBezTo>
                    <a:cubicBezTo>
                      <a:pt x="738" y="259"/>
                      <a:pt x="738" y="259"/>
                      <a:pt x="738" y="259"/>
                    </a:cubicBezTo>
                    <a:cubicBezTo>
                      <a:pt x="736" y="263"/>
                      <a:pt x="736" y="263"/>
                      <a:pt x="736" y="263"/>
                    </a:cubicBezTo>
                    <a:cubicBezTo>
                      <a:pt x="733" y="266"/>
                      <a:pt x="733" y="266"/>
                      <a:pt x="733" y="266"/>
                    </a:cubicBezTo>
                    <a:cubicBezTo>
                      <a:pt x="732" y="269"/>
                      <a:pt x="732" y="269"/>
                      <a:pt x="732" y="269"/>
                    </a:cubicBezTo>
                    <a:cubicBezTo>
                      <a:pt x="727" y="273"/>
                      <a:pt x="727" y="273"/>
                      <a:pt x="727" y="273"/>
                    </a:cubicBezTo>
                    <a:cubicBezTo>
                      <a:pt x="724" y="278"/>
                      <a:pt x="724" y="278"/>
                      <a:pt x="724" y="278"/>
                    </a:cubicBezTo>
                    <a:cubicBezTo>
                      <a:pt x="718" y="286"/>
                      <a:pt x="718" y="286"/>
                      <a:pt x="718" y="286"/>
                    </a:cubicBezTo>
                    <a:cubicBezTo>
                      <a:pt x="715" y="290"/>
                      <a:pt x="715" y="290"/>
                      <a:pt x="715" y="290"/>
                    </a:cubicBezTo>
                    <a:cubicBezTo>
                      <a:pt x="713" y="292"/>
                      <a:pt x="713" y="292"/>
                      <a:pt x="713" y="292"/>
                    </a:cubicBezTo>
                    <a:cubicBezTo>
                      <a:pt x="713" y="297"/>
                      <a:pt x="713" y="297"/>
                      <a:pt x="713" y="297"/>
                    </a:cubicBezTo>
                    <a:cubicBezTo>
                      <a:pt x="711" y="301"/>
                      <a:pt x="711" y="301"/>
                      <a:pt x="711" y="301"/>
                    </a:cubicBezTo>
                    <a:cubicBezTo>
                      <a:pt x="711" y="303"/>
                      <a:pt x="711" y="303"/>
                      <a:pt x="711" y="303"/>
                    </a:cubicBezTo>
                    <a:cubicBezTo>
                      <a:pt x="709" y="306"/>
                      <a:pt x="709" y="306"/>
                      <a:pt x="709" y="306"/>
                    </a:cubicBezTo>
                    <a:cubicBezTo>
                      <a:pt x="709" y="311"/>
                      <a:pt x="709" y="311"/>
                      <a:pt x="709" y="311"/>
                    </a:cubicBezTo>
                    <a:cubicBezTo>
                      <a:pt x="707" y="316"/>
                      <a:pt x="707" y="316"/>
                      <a:pt x="707" y="316"/>
                    </a:cubicBezTo>
                    <a:cubicBezTo>
                      <a:pt x="705" y="322"/>
                      <a:pt x="705" y="322"/>
                      <a:pt x="705" y="322"/>
                    </a:cubicBezTo>
                    <a:cubicBezTo>
                      <a:pt x="707" y="325"/>
                      <a:pt x="707" y="325"/>
                      <a:pt x="707" y="325"/>
                    </a:cubicBezTo>
                    <a:cubicBezTo>
                      <a:pt x="707" y="329"/>
                      <a:pt x="707" y="329"/>
                      <a:pt x="707" y="329"/>
                    </a:cubicBezTo>
                    <a:cubicBezTo>
                      <a:pt x="706" y="334"/>
                      <a:pt x="706" y="334"/>
                      <a:pt x="706" y="334"/>
                    </a:cubicBezTo>
                    <a:cubicBezTo>
                      <a:pt x="704" y="336"/>
                      <a:pt x="704" y="336"/>
                      <a:pt x="704" y="336"/>
                    </a:cubicBezTo>
                    <a:cubicBezTo>
                      <a:pt x="701" y="338"/>
                      <a:pt x="701" y="338"/>
                      <a:pt x="701" y="338"/>
                    </a:cubicBezTo>
                    <a:cubicBezTo>
                      <a:pt x="702" y="342"/>
                      <a:pt x="702" y="342"/>
                      <a:pt x="702" y="342"/>
                    </a:cubicBezTo>
                    <a:cubicBezTo>
                      <a:pt x="702" y="344"/>
                      <a:pt x="702" y="344"/>
                      <a:pt x="702" y="344"/>
                    </a:cubicBezTo>
                    <a:cubicBezTo>
                      <a:pt x="700" y="347"/>
                      <a:pt x="700" y="347"/>
                      <a:pt x="700" y="347"/>
                    </a:cubicBezTo>
                    <a:cubicBezTo>
                      <a:pt x="699" y="351"/>
                      <a:pt x="699" y="351"/>
                      <a:pt x="699" y="351"/>
                    </a:cubicBezTo>
                    <a:cubicBezTo>
                      <a:pt x="698" y="355"/>
                      <a:pt x="698" y="355"/>
                      <a:pt x="698" y="355"/>
                    </a:cubicBezTo>
                    <a:cubicBezTo>
                      <a:pt x="694" y="358"/>
                      <a:pt x="694" y="358"/>
                      <a:pt x="694" y="358"/>
                    </a:cubicBezTo>
                    <a:cubicBezTo>
                      <a:pt x="692" y="357"/>
                      <a:pt x="692" y="357"/>
                      <a:pt x="692" y="357"/>
                    </a:cubicBezTo>
                    <a:cubicBezTo>
                      <a:pt x="691" y="355"/>
                      <a:pt x="691" y="355"/>
                      <a:pt x="691" y="355"/>
                    </a:cubicBezTo>
                    <a:cubicBezTo>
                      <a:pt x="691" y="353"/>
                      <a:pt x="691" y="353"/>
                      <a:pt x="691" y="353"/>
                    </a:cubicBezTo>
                    <a:cubicBezTo>
                      <a:pt x="689" y="352"/>
                      <a:pt x="689" y="352"/>
                      <a:pt x="689" y="352"/>
                    </a:cubicBezTo>
                    <a:cubicBezTo>
                      <a:pt x="687" y="351"/>
                      <a:pt x="687" y="351"/>
                      <a:pt x="687" y="351"/>
                    </a:cubicBezTo>
                    <a:cubicBezTo>
                      <a:pt x="690" y="349"/>
                      <a:pt x="690" y="349"/>
                      <a:pt x="690" y="349"/>
                    </a:cubicBezTo>
                    <a:cubicBezTo>
                      <a:pt x="689" y="348"/>
                      <a:pt x="689" y="348"/>
                      <a:pt x="689" y="348"/>
                    </a:cubicBezTo>
                    <a:cubicBezTo>
                      <a:pt x="686" y="347"/>
                      <a:pt x="686" y="347"/>
                      <a:pt x="686" y="347"/>
                    </a:cubicBezTo>
                    <a:cubicBezTo>
                      <a:pt x="684" y="348"/>
                      <a:pt x="684" y="348"/>
                      <a:pt x="684" y="348"/>
                    </a:cubicBezTo>
                    <a:cubicBezTo>
                      <a:pt x="682" y="348"/>
                      <a:pt x="682" y="348"/>
                      <a:pt x="682" y="348"/>
                    </a:cubicBezTo>
                    <a:cubicBezTo>
                      <a:pt x="681" y="350"/>
                      <a:pt x="681" y="350"/>
                      <a:pt x="681" y="350"/>
                    </a:cubicBezTo>
                    <a:cubicBezTo>
                      <a:pt x="681" y="351"/>
                      <a:pt x="681" y="351"/>
                      <a:pt x="681" y="351"/>
                    </a:cubicBezTo>
                    <a:cubicBezTo>
                      <a:pt x="683" y="352"/>
                      <a:pt x="683" y="352"/>
                      <a:pt x="683" y="352"/>
                    </a:cubicBezTo>
                    <a:cubicBezTo>
                      <a:pt x="682" y="354"/>
                      <a:pt x="682" y="354"/>
                      <a:pt x="682" y="354"/>
                    </a:cubicBezTo>
                    <a:cubicBezTo>
                      <a:pt x="681" y="355"/>
                      <a:pt x="681" y="355"/>
                      <a:pt x="681" y="355"/>
                    </a:cubicBezTo>
                    <a:cubicBezTo>
                      <a:pt x="681" y="357"/>
                      <a:pt x="681" y="357"/>
                      <a:pt x="681" y="357"/>
                    </a:cubicBezTo>
                    <a:cubicBezTo>
                      <a:pt x="683" y="359"/>
                      <a:pt x="683" y="359"/>
                      <a:pt x="683" y="359"/>
                    </a:cubicBezTo>
                    <a:cubicBezTo>
                      <a:pt x="685" y="360"/>
                      <a:pt x="685" y="360"/>
                      <a:pt x="685" y="360"/>
                    </a:cubicBezTo>
                    <a:cubicBezTo>
                      <a:pt x="687" y="363"/>
                      <a:pt x="687" y="363"/>
                      <a:pt x="687" y="363"/>
                    </a:cubicBezTo>
                    <a:cubicBezTo>
                      <a:pt x="689" y="365"/>
                      <a:pt x="689" y="365"/>
                      <a:pt x="689" y="365"/>
                    </a:cubicBezTo>
                    <a:cubicBezTo>
                      <a:pt x="690" y="369"/>
                      <a:pt x="690" y="369"/>
                      <a:pt x="690" y="369"/>
                    </a:cubicBezTo>
                    <a:cubicBezTo>
                      <a:pt x="694" y="371"/>
                      <a:pt x="694" y="371"/>
                      <a:pt x="694" y="371"/>
                    </a:cubicBezTo>
                    <a:cubicBezTo>
                      <a:pt x="697" y="372"/>
                      <a:pt x="697" y="372"/>
                      <a:pt x="697" y="372"/>
                    </a:cubicBezTo>
                    <a:cubicBezTo>
                      <a:pt x="701" y="375"/>
                      <a:pt x="701" y="375"/>
                      <a:pt x="701" y="375"/>
                    </a:cubicBezTo>
                    <a:cubicBezTo>
                      <a:pt x="702" y="380"/>
                      <a:pt x="702" y="380"/>
                      <a:pt x="702" y="380"/>
                    </a:cubicBezTo>
                    <a:cubicBezTo>
                      <a:pt x="701" y="382"/>
                      <a:pt x="701" y="382"/>
                      <a:pt x="701" y="382"/>
                    </a:cubicBezTo>
                    <a:cubicBezTo>
                      <a:pt x="699" y="382"/>
                      <a:pt x="699" y="382"/>
                      <a:pt x="699" y="382"/>
                    </a:cubicBezTo>
                    <a:cubicBezTo>
                      <a:pt x="696" y="381"/>
                      <a:pt x="696" y="381"/>
                      <a:pt x="696" y="381"/>
                    </a:cubicBezTo>
                    <a:cubicBezTo>
                      <a:pt x="692" y="377"/>
                      <a:pt x="692" y="377"/>
                      <a:pt x="692" y="377"/>
                    </a:cubicBezTo>
                    <a:cubicBezTo>
                      <a:pt x="692" y="375"/>
                      <a:pt x="692" y="375"/>
                      <a:pt x="692" y="375"/>
                    </a:cubicBezTo>
                    <a:cubicBezTo>
                      <a:pt x="689" y="374"/>
                      <a:pt x="689" y="374"/>
                      <a:pt x="689" y="374"/>
                    </a:cubicBezTo>
                    <a:cubicBezTo>
                      <a:pt x="688" y="373"/>
                      <a:pt x="688" y="373"/>
                      <a:pt x="688" y="373"/>
                    </a:cubicBezTo>
                    <a:cubicBezTo>
                      <a:pt x="687" y="374"/>
                      <a:pt x="687" y="374"/>
                      <a:pt x="687" y="374"/>
                    </a:cubicBezTo>
                    <a:cubicBezTo>
                      <a:pt x="686" y="375"/>
                      <a:pt x="686" y="375"/>
                      <a:pt x="686" y="375"/>
                    </a:cubicBezTo>
                    <a:cubicBezTo>
                      <a:pt x="687" y="378"/>
                      <a:pt x="687" y="378"/>
                      <a:pt x="687" y="378"/>
                    </a:cubicBezTo>
                    <a:cubicBezTo>
                      <a:pt x="689" y="380"/>
                      <a:pt x="689" y="380"/>
                      <a:pt x="689" y="380"/>
                    </a:cubicBezTo>
                    <a:cubicBezTo>
                      <a:pt x="689" y="382"/>
                      <a:pt x="689" y="382"/>
                      <a:pt x="689" y="382"/>
                    </a:cubicBezTo>
                    <a:cubicBezTo>
                      <a:pt x="686" y="381"/>
                      <a:pt x="686" y="381"/>
                      <a:pt x="686" y="381"/>
                    </a:cubicBezTo>
                    <a:cubicBezTo>
                      <a:pt x="685" y="381"/>
                      <a:pt x="685" y="381"/>
                      <a:pt x="685" y="381"/>
                    </a:cubicBezTo>
                    <a:cubicBezTo>
                      <a:pt x="684" y="382"/>
                      <a:pt x="684" y="382"/>
                      <a:pt x="684" y="382"/>
                    </a:cubicBezTo>
                    <a:cubicBezTo>
                      <a:pt x="685" y="383"/>
                      <a:pt x="685" y="383"/>
                      <a:pt x="685" y="383"/>
                    </a:cubicBezTo>
                    <a:cubicBezTo>
                      <a:pt x="688" y="385"/>
                      <a:pt x="688" y="385"/>
                      <a:pt x="688" y="385"/>
                    </a:cubicBezTo>
                    <a:cubicBezTo>
                      <a:pt x="688" y="386"/>
                      <a:pt x="688" y="386"/>
                      <a:pt x="688" y="386"/>
                    </a:cubicBezTo>
                    <a:cubicBezTo>
                      <a:pt x="686" y="387"/>
                      <a:pt x="686" y="387"/>
                      <a:pt x="686" y="387"/>
                    </a:cubicBezTo>
                    <a:cubicBezTo>
                      <a:pt x="687" y="388"/>
                      <a:pt x="687" y="388"/>
                      <a:pt x="687" y="388"/>
                    </a:cubicBezTo>
                    <a:cubicBezTo>
                      <a:pt x="690" y="388"/>
                      <a:pt x="690" y="388"/>
                      <a:pt x="690" y="388"/>
                    </a:cubicBezTo>
                    <a:cubicBezTo>
                      <a:pt x="693" y="389"/>
                      <a:pt x="693" y="389"/>
                      <a:pt x="693" y="389"/>
                    </a:cubicBezTo>
                    <a:cubicBezTo>
                      <a:pt x="694" y="391"/>
                      <a:pt x="694" y="391"/>
                      <a:pt x="694" y="391"/>
                    </a:cubicBezTo>
                    <a:cubicBezTo>
                      <a:pt x="694" y="393"/>
                      <a:pt x="694" y="393"/>
                      <a:pt x="694" y="393"/>
                    </a:cubicBezTo>
                    <a:cubicBezTo>
                      <a:pt x="694" y="395"/>
                      <a:pt x="694" y="395"/>
                      <a:pt x="694" y="395"/>
                    </a:cubicBezTo>
                    <a:cubicBezTo>
                      <a:pt x="695" y="396"/>
                      <a:pt x="695" y="396"/>
                      <a:pt x="695" y="396"/>
                    </a:cubicBezTo>
                    <a:cubicBezTo>
                      <a:pt x="697" y="395"/>
                      <a:pt x="697" y="395"/>
                      <a:pt x="697" y="395"/>
                    </a:cubicBezTo>
                    <a:cubicBezTo>
                      <a:pt x="701" y="392"/>
                      <a:pt x="701" y="392"/>
                      <a:pt x="701" y="392"/>
                    </a:cubicBezTo>
                    <a:cubicBezTo>
                      <a:pt x="702" y="389"/>
                      <a:pt x="702" y="389"/>
                      <a:pt x="702" y="389"/>
                    </a:cubicBezTo>
                    <a:cubicBezTo>
                      <a:pt x="704" y="389"/>
                      <a:pt x="704" y="389"/>
                      <a:pt x="704" y="389"/>
                    </a:cubicBezTo>
                    <a:cubicBezTo>
                      <a:pt x="704" y="390"/>
                      <a:pt x="704" y="390"/>
                      <a:pt x="704" y="390"/>
                    </a:cubicBezTo>
                    <a:cubicBezTo>
                      <a:pt x="705" y="392"/>
                      <a:pt x="705" y="392"/>
                      <a:pt x="705" y="392"/>
                    </a:cubicBezTo>
                    <a:cubicBezTo>
                      <a:pt x="707" y="391"/>
                      <a:pt x="707" y="391"/>
                      <a:pt x="707" y="391"/>
                    </a:cubicBezTo>
                    <a:cubicBezTo>
                      <a:pt x="709" y="393"/>
                      <a:pt x="709" y="393"/>
                      <a:pt x="709" y="393"/>
                    </a:cubicBezTo>
                    <a:cubicBezTo>
                      <a:pt x="712" y="395"/>
                      <a:pt x="712" y="395"/>
                      <a:pt x="712" y="395"/>
                    </a:cubicBezTo>
                    <a:cubicBezTo>
                      <a:pt x="713" y="397"/>
                      <a:pt x="713" y="397"/>
                      <a:pt x="713" y="397"/>
                    </a:cubicBezTo>
                    <a:cubicBezTo>
                      <a:pt x="712" y="400"/>
                      <a:pt x="712" y="400"/>
                      <a:pt x="712" y="400"/>
                    </a:cubicBezTo>
                    <a:cubicBezTo>
                      <a:pt x="711" y="401"/>
                      <a:pt x="711" y="401"/>
                      <a:pt x="711" y="401"/>
                    </a:cubicBezTo>
                    <a:cubicBezTo>
                      <a:pt x="711" y="406"/>
                      <a:pt x="711" y="406"/>
                      <a:pt x="711" y="406"/>
                    </a:cubicBezTo>
                    <a:cubicBezTo>
                      <a:pt x="710" y="411"/>
                      <a:pt x="710" y="411"/>
                      <a:pt x="710" y="411"/>
                    </a:cubicBezTo>
                    <a:cubicBezTo>
                      <a:pt x="710" y="412"/>
                      <a:pt x="710" y="412"/>
                      <a:pt x="710" y="412"/>
                    </a:cubicBezTo>
                    <a:cubicBezTo>
                      <a:pt x="709" y="417"/>
                      <a:pt x="709" y="417"/>
                      <a:pt x="709" y="417"/>
                    </a:cubicBezTo>
                    <a:cubicBezTo>
                      <a:pt x="707" y="420"/>
                      <a:pt x="707" y="420"/>
                      <a:pt x="707" y="420"/>
                    </a:cubicBezTo>
                    <a:cubicBezTo>
                      <a:pt x="706" y="423"/>
                      <a:pt x="706" y="423"/>
                      <a:pt x="706" y="423"/>
                    </a:cubicBezTo>
                    <a:cubicBezTo>
                      <a:pt x="706" y="424"/>
                      <a:pt x="706" y="424"/>
                      <a:pt x="706" y="424"/>
                    </a:cubicBezTo>
                    <a:cubicBezTo>
                      <a:pt x="704" y="423"/>
                      <a:pt x="704" y="423"/>
                      <a:pt x="704" y="423"/>
                    </a:cubicBezTo>
                    <a:cubicBezTo>
                      <a:pt x="703" y="421"/>
                      <a:pt x="703" y="421"/>
                      <a:pt x="703" y="421"/>
                    </a:cubicBezTo>
                    <a:cubicBezTo>
                      <a:pt x="699" y="419"/>
                      <a:pt x="699" y="419"/>
                      <a:pt x="699" y="419"/>
                    </a:cubicBezTo>
                    <a:cubicBezTo>
                      <a:pt x="697" y="417"/>
                      <a:pt x="697" y="417"/>
                      <a:pt x="697" y="417"/>
                    </a:cubicBezTo>
                    <a:cubicBezTo>
                      <a:pt x="695" y="416"/>
                      <a:pt x="695" y="416"/>
                      <a:pt x="695" y="416"/>
                    </a:cubicBezTo>
                    <a:cubicBezTo>
                      <a:pt x="694" y="417"/>
                      <a:pt x="694" y="417"/>
                      <a:pt x="694" y="417"/>
                    </a:cubicBezTo>
                    <a:cubicBezTo>
                      <a:pt x="691" y="416"/>
                      <a:pt x="691" y="416"/>
                      <a:pt x="691" y="416"/>
                    </a:cubicBezTo>
                    <a:cubicBezTo>
                      <a:pt x="690" y="415"/>
                      <a:pt x="690" y="415"/>
                      <a:pt x="690" y="415"/>
                    </a:cubicBezTo>
                    <a:cubicBezTo>
                      <a:pt x="691" y="412"/>
                      <a:pt x="691" y="412"/>
                      <a:pt x="691" y="412"/>
                    </a:cubicBezTo>
                    <a:cubicBezTo>
                      <a:pt x="689" y="410"/>
                      <a:pt x="689" y="410"/>
                      <a:pt x="689" y="410"/>
                    </a:cubicBezTo>
                    <a:cubicBezTo>
                      <a:pt x="687" y="409"/>
                      <a:pt x="687" y="409"/>
                      <a:pt x="687" y="409"/>
                    </a:cubicBezTo>
                    <a:cubicBezTo>
                      <a:pt x="686" y="410"/>
                      <a:pt x="686" y="410"/>
                      <a:pt x="686" y="410"/>
                    </a:cubicBezTo>
                    <a:cubicBezTo>
                      <a:pt x="684" y="410"/>
                      <a:pt x="684" y="410"/>
                      <a:pt x="684" y="410"/>
                    </a:cubicBezTo>
                    <a:cubicBezTo>
                      <a:pt x="682" y="407"/>
                      <a:pt x="682" y="407"/>
                      <a:pt x="682" y="407"/>
                    </a:cubicBezTo>
                    <a:cubicBezTo>
                      <a:pt x="678" y="407"/>
                      <a:pt x="678" y="407"/>
                      <a:pt x="678" y="407"/>
                    </a:cubicBezTo>
                    <a:cubicBezTo>
                      <a:pt x="675" y="408"/>
                      <a:pt x="675" y="408"/>
                      <a:pt x="675" y="408"/>
                    </a:cubicBezTo>
                    <a:cubicBezTo>
                      <a:pt x="676" y="409"/>
                      <a:pt x="676" y="409"/>
                      <a:pt x="676" y="409"/>
                    </a:cubicBezTo>
                    <a:cubicBezTo>
                      <a:pt x="677" y="411"/>
                      <a:pt x="677" y="411"/>
                      <a:pt x="677" y="411"/>
                    </a:cubicBezTo>
                    <a:cubicBezTo>
                      <a:pt x="675" y="411"/>
                      <a:pt x="675" y="411"/>
                      <a:pt x="675" y="411"/>
                    </a:cubicBezTo>
                    <a:cubicBezTo>
                      <a:pt x="673" y="410"/>
                      <a:pt x="673" y="410"/>
                      <a:pt x="673" y="410"/>
                    </a:cubicBezTo>
                    <a:cubicBezTo>
                      <a:pt x="670" y="410"/>
                      <a:pt x="670" y="410"/>
                      <a:pt x="670" y="410"/>
                    </a:cubicBezTo>
                    <a:cubicBezTo>
                      <a:pt x="667" y="411"/>
                      <a:pt x="667" y="411"/>
                      <a:pt x="667" y="411"/>
                    </a:cubicBezTo>
                    <a:cubicBezTo>
                      <a:pt x="668" y="412"/>
                      <a:pt x="668" y="412"/>
                      <a:pt x="668" y="412"/>
                    </a:cubicBezTo>
                    <a:cubicBezTo>
                      <a:pt x="671" y="412"/>
                      <a:pt x="671" y="412"/>
                      <a:pt x="671" y="412"/>
                    </a:cubicBezTo>
                    <a:cubicBezTo>
                      <a:pt x="674" y="413"/>
                      <a:pt x="674" y="413"/>
                      <a:pt x="674" y="413"/>
                    </a:cubicBezTo>
                    <a:cubicBezTo>
                      <a:pt x="675" y="414"/>
                      <a:pt x="675" y="414"/>
                      <a:pt x="675" y="414"/>
                    </a:cubicBezTo>
                    <a:cubicBezTo>
                      <a:pt x="675" y="415"/>
                      <a:pt x="675" y="415"/>
                      <a:pt x="675" y="415"/>
                    </a:cubicBezTo>
                    <a:cubicBezTo>
                      <a:pt x="672" y="415"/>
                      <a:pt x="672" y="415"/>
                      <a:pt x="672" y="415"/>
                    </a:cubicBezTo>
                    <a:cubicBezTo>
                      <a:pt x="668" y="419"/>
                      <a:pt x="668" y="419"/>
                      <a:pt x="668" y="419"/>
                    </a:cubicBezTo>
                    <a:cubicBezTo>
                      <a:pt x="665" y="422"/>
                      <a:pt x="665" y="422"/>
                      <a:pt x="665" y="422"/>
                    </a:cubicBezTo>
                    <a:cubicBezTo>
                      <a:pt x="663" y="421"/>
                      <a:pt x="663" y="421"/>
                      <a:pt x="663" y="421"/>
                    </a:cubicBezTo>
                    <a:cubicBezTo>
                      <a:pt x="661" y="419"/>
                      <a:pt x="661" y="419"/>
                      <a:pt x="661" y="419"/>
                    </a:cubicBezTo>
                    <a:cubicBezTo>
                      <a:pt x="661" y="417"/>
                      <a:pt x="661" y="417"/>
                      <a:pt x="661" y="417"/>
                    </a:cubicBezTo>
                    <a:cubicBezTo>
                      <a:pt x="661" y="416"/>
                      <a:pt x="661" y="416"/>
                      <a:pt x="661" y="416"/>
                    </a:cubicBezTo>
                    <a:cubicBezTo>
                      <a:pt x="659" y="417"/>
                      <a:pt x="659" y="417"/>
                      <a:pt x="659" y="417"/>
                    </a:cubicBezTo>
                    <a:cubicBezTo>
                      <a:pt x="659" y="419"/>
                      <a:pt x="659" y="419"/>
                      <a:pt x="659" y="419"/>
                    </a:cubicBezTo>
                    <a:cubicBezTo>
                      <a:pt x="660" y="422"/>
                      <a:pt x="660" y="422"/>
                      <a:pt x="660" y="422"/>
                    </a:cubicBezTo>
                    <a:cubicBezTo>
                      <a:pt x="658" y="423"/>
                      <a:pt x="658" y="423"/>
                      <a:pt x="658" y="423"/>
                    </a:cubicBezTo>
                    <a:cubicBezTo>
                      <a:pt x="659" y="425"/>
                      <a:pt x="659" y="425"/>
                      <a:pt x="659" y="425"/>
                    </a:cubicBezTo>
                    <a:cubicBezTo>
                      <a:pt x="660" y="427"/>
                      <a:pt x="660" y="427"/>
                      <a:pt x="660" y="427"/>
                    </a:cubicBezTo>
                    <a:cubicBezTo>
                      <a:pt x="658" y="429"/>
                      <a:pt x="658" y="429"/>
                      <a:pt x="658" y="429"/>
                    </a:cubicBezTo>
                    <a:cubicBezTo>
                      <a:pt x="660" y="430"/>
                      <a:pt x="660" y="430"/>
                      <a:pt x="660" y="430"/>
                    </a:cubicBezTo>
                    <a:cubicBezTo>
                      <a:pt x="660" y="432"/>
                      <a:pt x="660" y="432"/>
                      <a:pt x="660" y="432"/>
                    </a:cubicBezTo>
                    <a:cubicBezTo>
                      <a:pt x="658" y="432"/>
                      <a:pt x="658" y="432"/>
                      <a:pt x="658" y="432"/>
                    </a:cubicBezTo>
                    <a:cubicBezTo>
                      <a:pt x="655" y="431"/>
                      <a:pt x="655" y="431"/>
                      <a:pt x="655" y="431"/>
                    </a:cubicBezTo>
                    <a:cubicBezTo>
                      <a:pt x="653" y="431"/>
                      <a:pt x="653" y="431"/>
                      <a:pt x="653" y="431"/>
                    </a:cubicBezTo>
                    <a:cubicBezTo>
                      <a:pt x="652" y="433"/>
                      <a:pt x="652" y="433"/>
                      <a:pt x="652" y="433"/>
                    </a:cubicBezTo>
                    <a:cubicBezTo>
                      <a:pt x="654" y="434"/>
                      <a:pt x="654" y="434"/>
                      <a:pt x="654" y="434"/>
                    </a:cubicBezTo>
                    <a:cubicBezTo>
                      <a:pt x="656" y="435"/>
                      <a:pt x="656" y="435"/>
                      <a:pt x="656" y="435"/>
                    </a:cubicBezTo>
                    <a:cubicBezTo>
                      <a:pt x="661" y="434"/>
                      <a:pt x="661" y="434"/>
                      <a:pt x="661" y="434"/>
                    </a:cubicBezTo>
                    <a:cubicBezTo>
                      <a:pt x="662" y="436"/>
                      <a:pt x="662" y="436"/>
                      <a:pt x="662" y="436"/>
                    </a:cubicBezTo>
                    <a:cubicBezTo>
                      <a:pt x="661" y="438"/>
                      <a:pt x="661" y="438"/>
                      <a:pt x="661" y="438"/>
                    </a:cubicBezTo>
                    <a:cubicBezTo>
                      <a:pt x="661" y="441"/>
                      <a:pt x="661" y="441"/>
                      <a:pt x="661" y="441"/>
                    </a:cubicBezTo>
                    <a:cubicBezTo>
                      <a:pt x="662" y="442"/>
                      <a:pt x="662" y="442"/>
                      <a:pt x="662" y="442"/>
                    </a:cubicBezTo>
                    <a:cubicBezTo>
                      <a:pt x="664" y="440"/>
                      <a:pt x="664" y="440"/>
                      <a:pt x="664" y="440"/>
                    </a:cubicBezTo>
                    <a:cubicBezTo>
                      <a:pt x="667" y="439"/>
                      <a:pt x="667" y="439"/>
                      <a:pt x="667" y="439"/>
                    </a:cubicBezTo>
                    <a:cubicBezTo>
                      <a:pt x="671" y="440"/>
                      <a:pt x="671" y="440"/>
                      <a:pt x="671" y="440"/>
                    </a:cubicBezTo>
                    <a:cubicBezTo>
                      <a:pt x="672" y="442"/>
                      <a:pt x="672" y="442"/>
                      <a:pt x="672" y="442"/>
                    </a:cubicBezTo>
                    <a:cubicBezTo>
                      <a:pt x="676" y="442"/>
                      <a:pt x="676" y="442"/>
                      <a:pt x="676" y="442"/>
                    </a:cubicBezTo>
                    <a:cubicBezTo>
                      <a:pt x="679" y="443"/>
                      <a:pt x="679" y="443"/>
                      <a:pt x="679" y="443"/>
                    </a:cubicBezTo>
                    <a:cubicBezTo>
                      <a:pt x="681" y="442"/>
                      <a:pt x="681" y="442"/>
                      <a:pt x="681" y="442"/>
                    </a:cubicBezTo>
                    <a:cubicBezTo>
                      <a:pt x="683" y="441"/>
                      <a:pt x="683" y="441"/>
                      <a:pt x="683" y="441"/>
                    </a:cubicBezTo>
                    <a:cubicBezTo>
                      <a:pt x="684" y="441"/>
                      <a:pt x="684" y="441"/>
                      <a:pt x="684" y="441"/>
                    </a:cubicBezTo>
                    <a:cubicBezTo>
                      <a:pt x="684" y="443"/>
                      <a:pt x="684" y="443"/>
                      <a:pt x="684" y="443"/>
                    </a:cubicBezTo>
                    <a:cubicBezTo>
                      <a:pt x="685" y="447"/>
                      <a:pt x="685" y="447"/>
                      <a:pt x="685" y="447"/>
                    </a:cubicBezTo>
                    <a:cubicBezTo>
                      <a:pt x="685" y="449"/>
                      <a:pt x="685" y="449"/>
                      <a:pt x="685" y="449"/>
                    </a:cubicBezTo>
                    <a:cubicBezTo>
                      <a:pt x="684" y="450"/>
                      <a:pt x="684" y="450"/>
                      <a:pt x="684" y="450"/>
                    </a:cubicBezTo>
                    <a:cubicBezTo>
                      <a:pt x="682" y="451"/>
                      <a:pt x="682" y="451"/>
                      <a:pt x="682" y="451"/>
                    </a:cubicBezTo>
                    <a:cubicBezTo>
                      <a:pt x="681" y="450"/>
                      <a:pt x="681" y="450"/>
                      <a:pt x="681" y="450"/>
                    </a:cubicBezTo>
                    <a:cubicBezTo>
                      <a:pt x="678" y="449"/>
                      <a:pt x="678" y="449"/>
                      <a:pt x="678" y="449"/>
                    </a:cubicBezTo>
                    <a:cubicBezTo>
                      <a:pt x="676" y="450"/>
                      <a:pt x="676" y="450"/>
                      <a:pt x="676" y="450"/>
                    </a:cubicBezTo>
                    <a:cubicBezTo>
                      <a:pt x="674" y="451"/>
                      <a:pt x="674" y="451"/>
                      <a:pt x="674" y="451"/>
                    </a:cubicBezTo>
                    <a:cubicBezTo>
                      <a:pt x="672" y="450"/>
                      <a:pt x="672" y="450"/>
                      <a:pt x="672" y="450"/>
                    </a:cubicBezTo>
                    <a:cubicBezTo>
                      <a:pt x="667" y="450"/>
                      <a:pt x="667" y="450"/>
                      <a:pt x="667" y="450"/>
                    </a:cubicBezTo>
                    <a:cubicBezTo>
                      <a:pt x="663" y="451"/>
                      <a:pt x="663" y="451"/>
                      <a:pt x="663" y="451"/>
                    </a:cubicBezTo>
                    <a:cubicBezTo>
                      <a:pt x="661" y="451"/>
                      <a:pt x="661" y="451"/>
                      <a:pt x="661" y="451"/>
                    </a:cubicBezTo>
                    <a:cubicBezTo>
                      <a:pt x="660" y="449"/>
                      <a:pt x="660" y="449"/>
                      <a:pt x="660" y="449"/>
                    </a:cubicBezTo>
                    <a:cubicBezTo>
                      <a:pt x="659" y="451"/>
                      <a:pt x="659" y="451"/>
                      <a:pt x="659" y="451"/>
                    </a:cubicBezTo>
                    <a:cubicBezTo>
                      <a:pt x="660" y="452"/>
                      <a:pt x="660" y="452"/>
                      <a:pt x="660" y="452"/>
                    </a:cubicBezTo>
                    <a:cubicBezTo>
                      <a:pt x="661" y="453"/>
                      <a:pt x="661" y="453"/>
                      <a:pt x="661" y="453"/>
                    </a:cubicBezTo>
                    <a:cubicBezTo>
                      <a:pt x="663" y="453"/>
                      <a:pt x="663" y="453"/>
                      <a:pt x="663" y="453"/>
                    </a:cubicBezTo>
                    <a:cubicBezTo>
                      <a:pt x="666" y="452"/>
                      <a:pt x="666" y="452"/>
                      <a:pt x="666" y="452"/>
                    </a:cubicBezTo>
                    <a:cubicBezTo>
                      <a:pt x="672" y="452"/>
                      <a:pt x="672" y="452"/>
                      <a:pt x="672" y="452"/>
                    </a:cubicBezTo>
                    <a:cubicBezTo>
                      <a:pt x="674" y="454"/>
                      <a:pt x="674" y="454"/>
                      <a:pt x="674" y="454"/>
                    </a:cubicBezTo>
                    <a:cubicBezTo>
                      <a:pt x="676" y="456"/>
                      <a:pt x="676" y="456"/>
                      <a:pt x="676" y="456"/>
                    </a:cubicBezTo>
                    <a:cubicBezTo>
                      <a:pt x="679" y="456"/>
                      <a:pt x="679" y="456"/>
                      <a:pt x="679" y="456"/>
                    </a:cubicBezTo>
                    <a:cubicBezTo>
                      <a:pt x="681" y="457"/>
                      <a:pt x="681" y="457"/>
                      <a:pt x="681" y="457"/>
                    </a:cubicBezTo>
                    <a:cubicBezTo>
                      <a:pt x="683" y="459"/>
                      <a:pt x="683" y="459"/>
                      <a:pt x="683" y="459"/>
                    </a:cubicBezTo>
                    <a:cubicBezTo>
                      <a:pt x="685" y="462"/>
                      <a:pt x="685" y="462"/>
                      <a:pt x="685" y="462"/>
                    </a:cubicBezTo>
                    <a:cubicBezTo>
                      <a:pt x="688" y="465"/>
                      <a:pt x="688" y="465"/>
                      <a:pt x="688" y="465"/>
                    </a:cubicBezTo>
                    <a:cubicBezTo>
                      <a:pt x="689" y="466"/>
                      <a:pt x="689" y="466"/>
                      <a:pt x="689" y="466"/>
                    </a:cubicBezTo>
                    <a:cubicBezTo>
                      <a:pt x="688" y="467"/>
                      <a:pt x="688" y="467"/>
                      <a:pt x="688" y="467"/>
                    </a:cubicBezTo>
                    <a:cubicBezTo>
                      <a:pt x="686" y="466"/>
                      <a:pt x="686" y="466"/>
                      <a:pt x="686" y="466"/>
                    </a:cubicBezTo>
                    <a:cubicBezTo>
                      <a:pt x="684" y="465"/>
                      <a:pt x="684" y="465"/>
                      <a:pt x="684" y="465"/>
                    </a:cubicBezTo>
                    <a:cubicBezTo>
                      <a:pt x="684" y="466"/>
                      <a:pt x="684" y="466"/>
                      <a:pt x="684" y="466"/>
                    </a:cubicBezTo>
                    <a:cubicBezTo>
                      <a:pt x="684" y="468"/>
                      <a:pt x="684" y="468"/>
                      <a:pt x="684" y="468"/>
                    </a:cubicBezTo>
                    <a:cubicBezTo>
                      <a:pt x="685" y="471"/>
                      <a:pt x="685" y="471"/>
                      <a:pt x="685" y="471"/>
                    </a:cubicBezTo>
                    <a:cubicBezTo>
                      <a:pt x="685" y="475"/>
                      <a:pt x="685" y="475"/>
                      <a:pt x="685" y="475"/>
                    </a:cubicBezTo>
                    <a:cubicBezTo>
                      <a:pt x="685" y="477"/>
                      <a:pt x="685" y="477"/>
                      <a:pt x="685" y="477"/>
                    </a:cubicBezTo>
                    <a:cubicBezTo>
                      <a:pt x="686" y="480"/>
                      <a:pt x="686" y="480"/>
                      <a:pt x="686" y="480"/>
                    </a:cubicBezTo>
                    <a:cubicBezTo>
                      <a:pt x="685" y="482"/>
                      <a:pt x="685" y="482"/>
                      <a:pt x="685" y="482"/>
                    </a:cubicBezTo>
                    <a:cubicBezTo>
                      <a:pt x="684" y="484"/>
                      <a:pt x="684" y="484"/>
                      <a:pt x="684" y="484"/>
                    </a:cubicBezTo>
                    <a:cubicBezTo>
                      <a:pt x="682" y="490"/>
                      <a:pt x="682" y="490"/>
                      <a:pt x="682" y="490"/>
                    </a:cubicBezTo>
                    <a:cubicBezTo>
                      <a:pt x="680" y="492"/>
                      <a:pt x="680" y="492"/>
                      <a:pt x="680" y="492"/>
                    </a:cubicBezTo>
                    <a:cubicBezTo>
                      <a:pt x="678" y="492"/>
                      <a:pt x="678" y="492"/>
                      <a:pt x="678" y="492"/>
                    </a:cubicBezTo>
                    <a:cubicBezTo>
                      <a:pt x="676" y="491"/>
                      <a:pt x="676" y="491"/>
                      <a:pt x="676" y="491"/>
                    </a:cubicBezTo>
                    <a:cubicBezTo>
                      <a:pt x="675" y="488"/>
                      <a:pt x="675" y="488"/>
                      <a:pt x="675" y="488"/>
                    </a:cubicBezTo>
                    <a:cubicBezTo>
                      <a:pt x="677" y="486"/>
                      <a:pt x="677" y="486"/>
                      <a:pt x="677" y="486"/>
                    </a:cubicBezTo>
                    <a:cubicBezTo>
                      <a:pt x="676" y="484"/>
                      <a:pt x="676" y="484"/>
                      <a:pt x="676" y="484"/>
                    </a:cubicBezTo>
                    <a:cubicBezTo>
                      <a:pt x="674" y="484"/>
                      <a:pt x="674" y="484"/>
                      <a:pt x="674" y="484"/>
                    </a:cubicBezTo>
                    <a:cubicBezTo>
                      <a:pt x="673" y="485"/>
                      <a:pt x="673" y="485"/>
                      <a:pt x="673" y="485"/>
                    </a:cubicBezTo>
                    <a:cubicBezTo>
                      <a:pt x="670" y="484"/>
                      <a:pt x="670" y="484"/>
                      <a:pt x="670" y="484"/>
                    </a:cubicBezTo>
                    <a:cubicBezTo>
                      <a:pt x="666" y="479"/>
                      <a:pt x="666" y="479"/>
                      <a:pt x="666" y="479"/>
                    </a:cubicBezTo>
                    <a:cubicBezTo>
                      <a:pt x="662" y="477"/>
                      <a:pt x="662" y="477"/>
                      <a:pt x="662" y="477"/>
                    </a:cubicBezTo>
                    <a:cubicBezTo>
                      <a:pt x="659" y="474"/>
                      <a:pt x="659" y="474"/>
                      <a:pt x="659" y="474"/>
                    </a:cubicBezTo>
                    <a:cubicBezTo>
                      <a:pt x="659" y="472"/>
                      <a:pt x="659" y="472"/>
                      <a:pt x="659" y="472"/>
                    </a:cubicBezTo>
                    <a:cubicBezTo>
                      <a:pt x="658" y="469"/>
                      <a:pt x="658" y="469"/>
                      <a:pt x="658" y="469"/>
                    </a:cubicBezTo>
                    <a:cubicBezTo>
                      <a:pt x="653" y="464"/>
                      <a:pt x="653" y="464"/>
                      <a:pt x="653" y="464"/>
                    </a:cubicBezTo>
                    <a:cubicBezTo>
                      <a:pt x="652" y="463"/>
                      <a:pt x="652" y="463"/>
                      <a:pt x="652" y="463"/>
                    </a:cubicBezTo>
                    <a:cubicBezTo>
                      <a:pt x="651" y="463"/>
                      <a:pt x="651" y="463"/>
                      <a:pt x="651" y="463"/>
                    </a:cubicBezTo>
                    <a:cubicBezTo>
                      <a:pt x="651" y="464"/>
                      <a:pt x="651" y="464"/>
                      <a:pt x="651" y="464"/>
                    </a:cubicBezTo>
                    <a:cubicBezTo>
                      <a:pt x="652" y="466"/>
                      <a:pt x="652" y="466"/>
                      <a:pt x="652" y="466"/>
                    </a:cubicBezTo>
                    <a:cubicBezTo>
                      <a:pt x="655" y="469"/>
                      <a:pt x="655" y="469"/>
                      <a:pt x="655" y="469"/>
                    </a:cubicBezTo>
                    <a:cubicBezTo>
                      <a:pt x="655" y="471"/>
                      <a:pt x="655" y="471"/>
                      <a:pt x="655" y="471"/>
                    </a:cubicBezTo>
                    <a:cubicBezTo>
                      <a:pt x="654" y="473"/>
                      <a:pt x="654" y="473"/>
                      <a:pt x="654" y="473"/>
                    </a:cubicBezTo>
                    <a:cubicBezTo>
                      <a:pt x="649" y="472"/>
                      <a:pt x="649" y="472"/>
                      <a:pt x="649" y="472"/>
                    </a:cubicBezTo>
                    <a:cubicBezTo>
                      <a:pt x="647" y="470"/>
                      <a:pt x="647" y="470"/>
                      <a:pt x="647" y="470"/>
                    </a:cubicBezTo>
                    <a:cubicBezTo>
                      <a:pt x="645" y="467"/>
                      <a:pt x="645" y="467"/>
                      <a:pt x="645" y="467"/>
                    </a:cubicBezTo>
                    <a:cubicBezTo>
                      <a:pt x="644" y="465"/>
                      <a:pt x="644" y="465"/>
                      <a:pt x="644" y="465"/>
                    </a:cubicBezTo>
                    <a:cubicBezTo>
                      <a:pt x="644" y="467"/>
                      <a:pt x="644" y="467"/>
                      <a:pt x="644" y="467"/>
                    </a:cubicBezTo>
                    <a:cubicBezTo>
                      <a:pt x="644" y="470"/>
                      <a:pt x="644" y="470"/>
                      <a:pt x="644" y="470"/>
                    </a:cubicBezTo>
                    <a:cubicBezTo>
                      <a:pt x="647" y="473"/>
                      <a:pt x="647" y="473"/>
                      <a:pt x="647" y="473"/>
                    </a:cubicBezTo>
                    <a:cubicBezTo>
                      <a:pt x="652" y="475"/>
                      <a:pt x="652" y="475"/>
                      <a:pt x="652" y="475"/>
                    </a:cubicBezTo>
                    <a:cubicBezTo>
                      <a:pt x="657" y="475"/>
                      <a:pt x="657" y="475"/>
                      <a:pt x="657" y="475"/>
                    </a:cubicBezTo>
                    <a:cubicBezTo>
                      <a:pt x="662" y="479"/>
                      <a:pt x="662" y="479"/>
                      <a:pt x="662" y="479"/>
                    </a:cubicBezTo>
                    <a:cubicBezTo>
                      <a:pt x="669" y="486"/>
                      <a:pt x="669" y="486"/>
                      <a:pt x="669" y="486"/>
                    </a:cubicBezTo>
                    <a:cubicBezTo>
                      <a:pt x="670" y="488"/>
                      <a:pt x="670" y="488"/>
                      <a:pt x="670" y="488"/>
                    </a:cubicBezTo>
                    <a:cubicBezTo>
                      <a:pt x="669" y="490"/>
                      <a:pt x="669" y="490"/>
                      <a:pt x="669" y="490"/>
                    </a:cubicBezTo>
                    <a:cubicBezTo>
                      <a:pt x="667" y="490"/>
                      <a:pt x="667" y="490"/>
                      <a:pt x="667" y="490"/>
                    </a:cubicBezTo>
                    <a:cubicBezTo>
                      <a:pt x="665" y="488"/>
                      <a:pt x="665" y="488"/>
                      <a:pt x="665" y="488"/>
                    </a:cubicBezTo>
                    <a:cubicBezTo>
                      <a:pt x="662" y="488"/>
                      <a:pt x="662" y="488"/>
                      <a:pt x="662" y="488"/>
                    </a:cubicBezTo>
                    <a:cubicBezTo>
                      <a:pt x="660" y="489"/>
                      <a:pt x="660" y="489"/>
                      <a:pt x="660" y="489"/>
                    </a:cubicBezTo>
                    <a:cubicBezTo>
                      <a:pt x="656" y="493"/>
                      <a:pt x="656" y="493"/>
                      <a:pt x="656" y="493"/>
                    </a:cubicBezTo>
                    <a:cubicBezTo>
                      <a:pt x="654" y="493"/>
                      <a:pt x="654" y="493"/>
                      <a:pt x="654" y="493"/>
                    </a:cubicBezTo>
                    <a:cubicBezTo>
                      <a:pt x="651" y="492"/>
                      <a:pt x="651" y="492"/>
                      <a:pt x="651" y="492"/>
                    </a:cubicBezTo>
                    <a:cubicBezTo>
                      <a:pt x="650" y="489"/>
                      <a:pt x="650" y="489"/>
                      <a:pt x="650" y="489"/>
                    </a:cubicBezTo>
                    <a:cubicBezTo>
                      <a:pt x="651" y="488"/>
                      <a:pt x="651" y="488"/>
                      <a:pt x="651" y="488"/>
                    </a:cubicBezTo>
                    <a:cubicBezTo>
                      <a:pt x="650" y="487"/>
                      <a:pt x="650" y="487"/>
                      <a:pt x="650" y="487"/>
                    </a:cubicBezTo>
                    <a:cubicBezTo>
                      <a:pt x="647" y="485"/>
                      <a:pt x="647" y="485"/>
                      <a:pt x="647" y="485"/>
                    </a:cubicBezTo>
                    <a:cubicBezTo>
                      <a:pt x="648" y="487"/>
                      <a:pt x="648" y="487"/>
                      <a:pt x="648" y="487"/>
                    </a:cubicBezTo>
                    <a:cubicBezTo>
                      <a:pt x="649" y="489"/>
                      <a:pt x="649" y="489"/>
                      <a:pt x="649" y="489"/>
                    </a:cubicBezTo>
                    <a:cubicBezTo>
                      <a:pt x="649" y="493"/>
                      <a:pt x="649" y="493"/>
                      <a:pt x="649" y="493"/>
                    </a:cubicBezTo>
                    <a:cubicBezTo>
                      <a:pt x="650" y="495"/>
                      <a:pt x="650" y="495"/>
                      <a:pt x="650" y="495"/>
                    </a:cubicBezTo>
                    <a:cubicBezTo>
                      <a:pt x="654" y="495"/>
                      <a:pt x="654" y="495"/>
                      <a:pt x="654" y="495"/>
                    </a:cubicBezTo>
                    <a:cubicBezTo>
                      <a:pt x="658" y="495"/>
                      <a:pt x="658" y="495"/>
                      <a:pt x="658" y="495"/>
                    </a:cubicBezTo>
                    <a:cubicBezTo>
                      <a:pt x="661" y="491"/>
                      <a:pt x="661" y="491"/>
                      <a:pt x="661" y="491"/>
                    </a:cubicBezTo>
                    <a:cubicBezTo>
                      <a:pt x="663" y="491"/>
                      <a:pt x="663" y="491"/>
                      <a:pt x="663" y="491"/>
                    </a:cubicBezTo>
                    <a:cubicBezTo>
                      <a:pt x="667" y="493"/>
                      <a:pt x="667" y="493"/>
                      <a:pt x="667" y="493"/>
                    </a:cubicBezTo>
                    <a:cubicBezTo>
                      <a:pt x="667" y="495"/>
                      <a:pt x="667" y="495"/>
                      <a:pt x="667" y="495"/>
                    </a:cubicBezTo>
                    <a:cubicBezTo>
                      <a:pt x="666" y="496"/>
                      <a:pt x="666" y="496"/>
                      <a:pt x="666" y="496"/>
                    </a:cubicBezTo>
                    <a:cubicBezTo>
                      <a:pt x="665" y="502"/>
                      <a:pt x="665" y="502"/>
                      <a:pt x="665" y="502"/>
                    </a:cubicBezTo>
                    <a:cubicBezTo>
                      <a:pt x="664" y="505"/>
                      <a:pt x="664" y="505"/>
                      <a:pt x="664" y="505"/>
                    </a:cubicBezTo>
                    <a:cubicBezTo>
                      <a:pt x="662" y="505"/>
                      <a:pt x="662" y="505"/>
                      <a:pt x="662" y="505"/>
                    </a:cubicBezTo>
                    <a:cubicBezTo>
                      <a:pt x="662" y="506"/>
                      <a:pt x="662" y="506"/>
                      <a:pt x="662" y="506"/>
                    </a:cubicBezTo>
                    <a:cubicBezTo>
                      <a:pt x="664" y="508"/>
                      <a:pt x="664" y="508"/>
                      <a:pt x="664" y="508"/>
                    </a:cubicBezTo>
                    <a:cubicBezTo>
                      <a:pt x="666" y="506"/>
                      <a:pt x="666" y="506"/>
                      <a:pt x="666" y="506"/>
                    </a:cubicBezTo>
                    <a:cubicBezTo>
                      <a:pt x="670" y="507"/>
                      <a:pt x="670" y="507"/>
                      <a:pt x="670" y="507"/>
                    </a:cubicBezTo>
                    <a:cubicBezTo>
                      <a:pt x="673" y="511"/>
                      <a:pt x="673" y="511"/>
                      <a:pt x="673" y="511"/>
                    </a:cubicBezTo>
                    <a:cubicBezTo>
                      <a:pt x="677" y="513"/>
                      <a:pt x="677" y="513"/>
                      <a:pt x="677" y="513"/>
                    </a:cubicBezTo>
                    <a:cubicBezTo>
                      <a:pt x="678" y="511"/>
                      <a:pt x="678" y="511"/>
                      <a:pt x="678" y="511"/>
                    </a:cubicBezTo>
                    <a:cubicBezTo>
                      <a:pt x="681" y="510"/>
                      <a:pt x="681" y="510"/>
                      <a:pt x="681" y="510"/>
                    </a:cubicBezTo>
                    <a:cubicBezTo>
                      <a:pt x="684" y="510"/>
                      <a:pt x="684" y="510"/>
                      <a:pt x="684" y="510"/>
                    </a:cubicBezTo>
                    <a:cubicBezTo>
                      <a:pt x="685" y="512"/>
                      <a:pt x="685" y="512"/>
                      <a:pt x="685" y="512"/>
                    </a:cubicBezTo>
                    <a:cubicBezTo>
                      <a:pt x="683" y="514"/>
                      <a:pt x="683" y="514"/>
                      <a:pt x="683" y="514"/>
                    </a:cubicBezTo>
                    <a:cubicBezTo>
                      <a:pt x="684" y="517"/>
                      <a:pt x="684" y="517"/>
                      <a:pt x="684" y="517"/>
                    </a:cubicBezTo>
                    <a:cubicBezTo>
                      <a:pt x="685" y="519"/>
                      <a:pt x="685" y="519"/>
                      <a:pt x="685" y="519"/>
                    </a:cubicBezTo>
                    <a:cubicBezTo>
                      <a:pt x="684" y="522"/>
                      <a:pt x="684" y="522"/>
                      <a:pt x="684" y="522"/>
                    </a:cubicBezTo>
                    <a:cubicBezTo>
                      <a:pt x="681" y="527"/>
                      <a:pt x="681" y="527"/>
                      <a:pt x="681" y="527"/>
                    </a:cubicBezTo>
                    <a:cubicBezTo>
                      <a:pt x="676" y="529"/>
                      <a:pt x="676" y="529"/>
                      <a:pt x="676" y="529"/>
                    </a:cubicBezTo>
                    <a:cubicBezTo>
                      <a:pt x="674" y="529"/>
                      <a:pt x="674" y="529"/>
                      <a:pt x="674" y="529"/>
                    </a:cubicBezTo>
                    <a:cubicBezTo>
                      <a:pt x="674" y="526"/>
                      <a:pt x="674" y="526"/>
                      <a:pt x="674" y="526"/>
                    </a:cubicBezTo>
                    <a:cubicBezTo>
                      <a:pt x="672" y="525"/>
                      <a:pt x="672" y="525"/>
                      <a:pt x="672" y="525"/>
                    </a:cubicBezTo>
                    <a:cubicBezTo>
                      <a:pt x="671" y="522"/>
                      <a:pt x="671" y="522"/>
                      <a:pt x="671" y="522"/>
                    </a:cubicBezTo>
                    <a:cubicBezTo>
                      <a:pt x="671" y="520"/>
                      <a:pt x="671" y="520"/>
                      <a:pt x="671" y="520"/>
                    </a:cubicBezTo>
                    <a:cubicBezTo>
                      <a:pt x="667" y="517"/>
                      <a:pt x="667" y="517"/>
                      <a:pt x="667" y="517"/>
                    </a:cubicBezTo>
                    <a:cubicBezTo>
                      <a:pt x="663" y="516"/>
                      <a:pt x="663" y="516"/>
                      <a:pt x="663" y="516"/>
                    </a:cubicBezTo>
                    <a:cubicBezTo>
                      <a:pt x="660" y="514"/>
                      <a:pt x="660" y="514"/>
                      <a:pt x="660" y="514"/>
                    </a:cubicBezTo>
                    <a:cubicBezTo>
                      <a:pt x="658" y="513"/>
                      <a:pt x="658" y="513"/>
                      <a:pt x="658" y="513"/>
                    </a:cubicBezTo>
                    <a:cubicBezTo>
                      <a:pt x="655" y="515"/>
                      <a:pt x="655" y="515"/>
                      <a:pt x="655" y="515"/>
                    </a:cubicBezTo>
                    <a:cubicBezTo>
                      <a:pt x="653" y="515"/>
                      <a:pt x="653" y="515"/>
                      <a:pt x="653" y="515"/>
                    </a:cubicBezTo>
                    <a:cubicBezTo>
                      <a:pt x="651" y="514"/>
                      <a:pt x="651" y="514"/>
                      <a:pt x="651" y="514"/>
                    </a:cubicBezTo>
                    <a:cubicBezTo>
                      <a:pt x="650" y="512"/>
                      <a:pt x="650" y="512"/>
                      <a:pt x="650" y="512"/>
                    </a:cubicBezTo>
                    <a:cubicBezTo>
                      <a:pt x="648" y="509"/>
                      <a:pt x="648" y="509"/>
                      <a:pt x="648" y="509"/>
                    </a:cubicBezTo>
                    <a:cubicBezTo>
                      <a:pt x="647" y="509"/>
                      <a:pt x="647" y="509"/>
                      <a:pt x="647" y="509"/>
                    </a:cubicBezTo>
                    <a:cubicBezTo>
                      <a:pt x="647" y="511"/>
                      <a:pt x="647" y="511"/>
                      <a:pt x="647" y="511"/>
                    </a:cubicBezTo>
                    <a:cubicBezTo>
                      <a:pt x="648" y="513"/>
                      <a:pt x="648" y="513"/>
                      <a:pt x="648" y="513"/>
                    </a:cubicBezTo>
                    <a:cubicBezTo>
                      <a:pt x="648" y="517"/>
                      <a:pt x="648" y="517"/>
                      <a:pt x="648" y="517"/>
                    </a:cubicBezTo>
                    <a:cubicBezTo>
                      <a:pt x="647" y="519"/>
                      <a:pt x="647" y="519"/>
                      <a:pt x="647" y="519"/>
                    </a:cubicBezTo>
                    <a:cubicBezTo>
                      <a:pt x="645" y="521"/>
                      <a:pt x="645" y="521"/>
                      <a:pt x="645" y="521"/>
                    </a:cubicBezTo>
                    <a:cubicBezTo>
                      <a:pt x="642" y="521"/>
                      <a:pt x="642" y="521"/>
                      <a:pt x="642" y="521"/>
                    </a:cubicBezTo>
                    <a:cubicBezTo>
                      <a:pt x="640" y="521"/>
                      <a:pt x="640" y="521"/>
                      <a:pt x="640" y="521"/>
                    </a:cubicBezTo>
                    <a:cubicBezTo>
                      <a:pt x="642" y="522"/>
                      <a:pt x="642" y="522"/>
                      <a:pt x="642" y="522"/>
                    </a:cubicBezTo>
                    <a:cubicBezTo>
                      <a:pt x="644" y="524"/>
                      <a:pt x="644" y="524"/>
                      <a:pt x="644" y="524"/>
                    </a:cubicBezTo>
                    <a:cubicBezTo>
                      <a:pt x="644" y="526"/>
                      <a:pt x="644" y="526"/>
                      <a:pt x="644" y="526"/>
                    </a:cubicBezTo>
                    <a:cubicBezTo>
                      <a:pt x="641" y="530"/>
                      <a:pt x="641" y="530"/>
                      <a:pt x="641" y="530"/>
                    </a:cubicBezTo>
                    <a:cubicBezTo>
                      <a:pt x="639" y="531"/>
                      <a:pt x="639" y="531"/>
                      <a:pt x="639" y="531"/>
                    </a:cubicBezTo>
                    <a:cubicBezTo>
                      <a:pt x="638" y="532"/>
                      <a:pt x="638" y="532"/>
                      <a:pt x="638" y="532"/>
                    </a:cubicBezTo>
                    <a:cubicBezTo>
                      <a:pt x="639" y="533"/>
                      <a:pt x="639" y="533"/>
                      <a:pt x="639" y="533"/>
                    </a:cubicBezTo>
                    <a:cubicBezTo>
                      <a:pt x="641" y="534"/>
                      <a:pt x="641" y="534"/>
                      <a:pt x="641" y="534"/>
                    </a:cubicBezTo>
                    <a:cubicBezTo>
                      <a:pt x="643" y="538"/>
                      <a:pt x="643" y="538"/>
                      <a:pt x="643" y="538"/>
                    </a:cubicBezTo>
                    <a:cubicBezTo>
                      <a:pt x="645" y="539"/>
                      <a:pt x="645" y="539"/>
                      <a:pt x="645" y="539"/>
                    </a:cubicBezTo>
                    <a:cubicBezTo>
                      <a:pt x="645" y="543"/>
                      <a:pt x="645" y="543"/>
                      <a:pt x="645" y="543"/>
                    </a:cubicBezTo>
                    <a:cubicBezTo>
                      <a:pt x="644" y="547"/>
                      <a:pt x="644" y="547"/>
                      <a:pt x="644" y="547"/>
                    </a:cubicBezTo>
                    <a:cubicBezTo>
                      <a:pt x="645" y="548"/>
                      <a:pt x="645" y="548"/>
                      <a:pt x="645" y="548"/>
                    </a:cubicBezTo>
                    <a:cubicBezTo>
                      <a:pt x="646" y="545"/>
                      <a:pt x="646" y="545"/>
                      <a:pt x="646" y="545"/>
                    </a:cubicBezTo>
                    <a:cubicBezTo>
                      <a:pt x="647" y="543"/>
                      <a:pt x="647" y="543"/>
                      <a:pt x="647" y="543"/>
                    </a:cubicBezTo>
                    <a:cubicBezTo>
                      <a:pt x="647" y="541"/>
                      <a:pt x="647" y="541"/>
                      <a:pt x="647" y="541"/>
                    </a:cubicBezTo>
                    <a:cubicBezTo>
                      <a:pt x="646" y="540"/>
                      <a:pt x="646" y="540"/>
                      <a:pt x="646" y="540"/>
                    </a:cubicBezTo>
                    <a:cubicBezTo>
                      <a:pt x="646" y="536"/>
                      <a:pt x="646" y="536"/>
                      <a:pt x="646" y="536"/>
                    </a:cubicBezTo>
                    <a:cubicBezTo>
                      <a:pt x="647" y="534"/>
                      <a:pt x="647" y="534"/>
                      <a:pt x="647" y="534"/>
                    </a:cubicBezTo>
                    <a:cubicBezTo>
                      <a:pt x="648" y="534"/>
                      <a:pt x="648" y="534"/>
                      <a:pt x="648" y="534"/>
                    </a:cubicBezTo>
                    <a:cubicBezTo>
                      <a:pt x="650" y="536"/>
                      <a:pt x="650" y="536"/>
                      <a:pt x="650" y="536"/>
                    </a:cubicBezTo>
                    <a:cubicBezTo>
                      <a:pt x="651" y="538"/>
                      <a:pt x="651" y="538"/>
                      <a:pt x="651" y="538"/>
                    </a:cubicBezTo>
                    <a:cubicBezTo>
                      <a:pt x="653" y="540"/>
                      <a:pt x="653" y="540"/>
                      <a:pt x="653" y="540"/>
                    </a:cubicBezTo>
                    <a:cubicBezTo>
                      <a:pt x="655" y="542"/>
                      <a:pt x="655" y="542"/>
                      <a:pt x="655" y="542"/>
                    </a:cubicBezTo>
                    <a:cubicBezTo>
                      <a:pt x="656" y="541"/>
                      <a:pt x="656" y="541"/>
                      <a:pt x="656" y="541"/>
                    </a:cubicBezTo>
                    <a:cubicBezTo>
                      <a:pt x="658" y="541"/>
                      <a:pt x="658" y="541"/>
                      <a:pt x="658" y="541"/>
                    </a:cubicBezTo>
                    <a:cubicBezTo>
                      <a:pt x="659" y="542"/>
                      <a:pt x="659" y="542"/>
                      <a:pt x="659" y="542"/>
                    </a:cubicBezTo>
                    <a:cubicBezTo>
                      <a:pt x="660" y="541"/>
                      <a:pt x="660" y="541"/>
                      <a:pt x="660" y="541"/>
                    </a:cubicBezTo>
                    <a:cubicBezTo>
                      <a:pt x="663" y="540"/>
                      <a:pt x="663" y="540"/>
                      <a:pt x="663" y="540"/>
                    </a:cubicBezTo>
                    <a:cubicBezTo>
                      <a:pt x="666" y="540"/>
                      <a:pt x="666" y="540"/>
                      <a:pt x="666" y="540"/>
                    </a:cubicBezTo>
                    <a:cubicBezTo>
                      <a:pt x="667" y="542"/>
                      <a:pt x="667" y="542"/>
                      <a:pt x="667" y="542"/>
                    </a:cubicBezTo>
                    <a:cubicBezTo>
                      <a:pt x="667" y="544"/>
                      <a:pt x="667" y="544"/>
                      <a:pt x="667" y="544"/>
                    </a:cubicBezTo>
                    <a:cubicBezTo>
                      <a:pt x="664" y="549"/>
                      <a:pt x="664" y="549"/>
                      <a:pt x="664" y="549"/>
                    </a:cubicBezTo>
                    <a:cubicBezTo>
                      <a:pt x="663" y="551"/>
                      <a:pt x="663" y="551"/>
                      <a:pt x="663" y="551"/>
                    </a:cubicBezTo>
                    <a:cubicBezTo>
                      <a:pt x="663" y="554"/>
                      <a:pt x="663" y="554"/>
                      <a:pt x="663" y="554"/>
                    </a:cubicBezTo>
                    <a:cubicBezTo>
                      <a:pt x="662" y="559"/>
                      <a:pt x="662" y="559"/>
                      <a:pt x="662" y="559"/>
                    </a:cubicBezTo>
                    <a:cubicBezTo>
                      <a:pt x="661" y="560"/>
                      <a:pt x="661" y="560"/>
                      <a:pt x="661" y="560"/>
                    </a:cubicBezTo>
                    <a:cubicBezTo>
                      <a:pt x="658" y="560"/>
                      <a:pt x="658" y="560"/>
                      <a:pt x="658" y="560"/>
                    </a:cubicBezTo>
                    <a:cubicBezTo>
                      <a:pt x="654" y="561"/>
                      <a:pt x="654" y="561"/>
                      <a:pt x="654" y="561"/>
                    </a:cubicBezTo>
                    <a:cubicBezTo>
                      <a:pt x="652" y="560"/>
                      <a:pt x="652" y="560"/>
                      <a:pt x="652" y="560"/>
                    </a:cubicBezTo>
                    <a:cubicBezTo>
                      <a:pt x="649" y="559"/>
                      <a:pt x="649" y="559"/>
                      <a:pt x="649" y="559"/>
                    </a:cubicBezTo>
                    <a:cubicBezTo>
                      <a:pt x="647" y="559"/>
                      <a:pt x="647" y="559"/>
                      <a:pt x="647" y="559"/>
                    </a:cubicBezTo>
                    <a:cubicBezTo>
                      <a:pt x="645" y="561"/>
                      <a:pt x="645" y="561"/>
                      <a:pt x="645" y="561"/>
                    </a:cubicBezTo>
                    <a:cubicBezTo>
                      <a:pt x="645" y="563"/>
                      <a:pt x="645" y="563"/>
                      <a:pt x="645" y="563"/>
                    </a:cubicBezTo>
                    <a:cubicBezTo>
                      <a:pt x="643" y="564"/>
                      <a:pt x="643" y="564"/>
                      <a:pt x="643" y="564"/>
                    </a:cubicBezTo>
                    <a:cubicBezTo>
                      <a:pt x="641" y="565"/>
                      <a:pt x="641" y="565"/>
                      <a:pt x="641" y="565"/>
                    </a:cubicBezTo>
                    <a:cubicBezTo>
                      <a:pt x="639" y="565"/>
                      <a:pt x="639" y="565"/>
                      <a:pt x="639" y="565"/>
                    </a:cubicBezTo>
                    <a:cubicBezTo>
                      <a:pt x="638" y="567"/>
                      <a:pt x="638" y="567"/>
                      <a:pt x="638" y="567"/>
                    </a:cubicBezTo>
                    <a:cubicBezTo>
                      <a:pt x="637" y="569"/>
                      <a:pt x="637" y="569"/>
                      <a:pt x="637" y="569"/>
                    </a:cubicBezTo>
                    <a:cubicBezTo>
                      <a:pt x="635" y="569"/>
                      <a:pt x="635" y="569"/>
                      <a:pt x="635" y="569"/>
                    </a:cubicBezTo>
                    <a:cubicBezTo>
                      <a:pt x="633" y="569"/>
                      <a:pt x="633" y="569"/>
                      <a:pt x="633" y="569"/>
                    </a:cubicBezTo>
                    <a:cubicBezTo>
                      <a:pt x="630" y="566"/>
                      <a:pt x="630" y="566"/>
                      <a:pt x="630" y="566"/>
                    </a:cubicBezTo>
                    <a:cubicBezTo>
                      <a:pt x="625" y="564"/>
                      <a:pt x="625" y="564"/>
                      <a:pt x="625" y="564"/>
                    </a:cubicBezTo>
                    <a:cubicBezTo>
                      <a:pt x="621" y="560"/>
                      <a:pt x="621" y="560"/>
                      <a:pt x="621" y="560"/>
                    </a:cubicBezTo>
                    <a:cubicBezTo>
                      <a:pt x="614" y="553"/>
                      <a:pt x="614" y="553"/>
                      <a:pt x="614" y="553"/>
                    </a:cubicBezTo>
                    <a:cubicBezTo>
                      <a:pt x="612" y="550"/>
                      <a:pt x="612" y="550"/>
                      <a:pt x="612" y="550"/>
                    </a:cubicBezTo>
                    <a:cubicBezTo>
                      <a:pt x="612" y="548"/>
                      <a:pt x="612" y="548"/>
                      <a:pt x="612" y="548"/>
                    </a:cubicBezTo>
                    <a:cubicBezTo>
                      <a:pt x="614" y="547"/>
                      <a:pt x="614" y="547"/>
                      <a:pt x="614" y="547"/>
                    </a:cubicBezTo>
                    <a:cubicBezTo>
                      <a:pt x="616" y="547"/>
                      <a:pt x="616" y="547"/>
                      <a:pt x="616" y="547"/>
                    </a:cubicBezTo>
                    <a:cubicBezTo>
                      <a:pt x="616" y="548"/>
                      <a:pt x="616" y="548"/>
                      <a:pt x="616" y="548"/>
                    </a:cubicBezTo>
                    <a:cubicBezTo>
                      <a:pt x="618" y="549"/>
                      <a:pt x="618" y="549"/>
                      <a:pt x="618" y="549"/>
                    </a:cubicBezTo>
                    <a:cubicBezTo>
                      <a:pt x="625" y="552"/>
                      <a:pt x="625" y="552"/>
                      <a:pt x="625" y="552"/>
                    </a:cubicBezTo>
                    <a:cubicBezTo>
                      <a:pt x="628" y="555"/>
                      <a:pt x="628" y="555"/>
                      <a:pt x="628" y="555"/>
                    </a:cubicBezTo>
                    <a:cubicBezTo>
                      <a:pt x="630" y="555"/>
                      <a:pt x="630" y="555"/>
                      <a:pt x="630" y="555"/>
                    </a:cubicBezTo>
                    <a:cubicBezTo>
                      <a:pt x="635" y="554"/>
                      <a:pt x="635" y="554"/>
                      <a:pt x="635" y="554"/>
                    </a:cubicBezTo>
                    <a:cubicBezTo>
                      <a:pt x="635" y="552"/>
                      <a:pt x="635" y="552"/>
                      <a:pt x="635" y="552"/>
                    </a:cubicBezTo>
                    <a:cubicBezTo>
                      <a:pt x="634" y="551"/>
                      <a:pt x="634" y="551"/>
                      <a:pt x="634" y="551"/>
                    </a:cubicBezTo>
                    <a:cubicBezTo>
                      <a:pt x="632" y="551"/>
                      <a:pt x="632" y="551"/>
                      <a:pt x="632" y="551"/>
                    </a:cubicBezTo>
                    <a:cubicBezTo>
                      <a:pt x="630" y="552"/>
                      <a:pt x="630" y="552"/>
                      <a:pt x="630" y="552"/>
                    </a:cubicBezTo>
                    <a:cubicBezTo>
                      <a:pt x="627" y="551"/>
                      <a:pt x="627" y="551"/>
                      <a:pt x="627" y="551"/>
                    </a:cubicBezTo>
                    <a:cubicBezTo>
                      <a:pt x="622" y="547"/>
                      <a:pt x="622" y="547"/>
                      <a:pt x="622" y="547"/>
                    </a:cubicBezTo>
                    <a:cubicBezTo>
                      <a:pt x="615" y="545"/>
                      <a:pt x="615" y="545"/>
                      <a:pt x="615" y="545"/>
                    </a:cubicBezTo>
                    <a:cubicBezTo>
                      <a:pt x="613" y="545"/>
                      <a:pt x="613" y="545"/>
                      <a:pt x="613" y="545"/>
                    </a:cubicBezTo>
                    <a:cubicBezTo>
                      <a:pt x="612" y="543"/>
                      <a:pt x="612" y="543"/>
                      <a:pt x="612" y="543"/>
                    </a:cubicBezTo>
                    <a:cubicBezTo>
                      <a:pt x="613" y="541"/>
                      <a:pt x="613" y="541"/>
                      <a:pt x="613" y="541"/>
                    </a:cubicBezTo>
                    <a:cubicBezTo>
                      <a:pt x="611" y="541"/>
                      <a:pt x="611" y="541"/>
                      <a:pt x="611" y="541"/>
                    </a:cubicBezTo>
                    <a:cubicBezTo>
                      <a:pt x="609" y="541"/>
                      <a:pt x="609" y="541"/>
                      <a:pt x="609" y="541"/>
                    </a:cubicBezTo>
                    <a:cubicBezTo>
                      <a:pt x="608" y="542"/>
                      <a:pt x="608" y="542"/>
                      <a:pt x="608" y="542"/>
                    </a:cubicBezTo>
                    <a:cubicBezTo>
                      <a:pt x="608" y="546"/>
                      <a:pt x="608" y="546"/>
                      <a:pt x="608" y="546"/>
                    </a:cubicBezTo>
                    <a:cubicBezTo>
                      <a:pt x="607" y="551"/>
                      <a:pt x="607" y="551"/>
                      <a:pt x="607" y="551"/>
                    </a:cubicBezTo>
                    <a:cubicBezTo>
                      <a:pt x="607" y="554"/>
                      <a:pt x="607" y="554"/>
                      <a:pt x="607" y="554"/>
                    </a:cubicBezTo>
                    <a:cubicBezTo>
                      <a:pt x="606" y="555"/>
                      <a:pt x="606" y="555"/>
                      <a:pt x="606" y="555"/>
                    </a:cubicBezTo>
                    <a:cubicBezTo>
                      <a:pt x="605" y="554"/>
                      <a:pt x="605" y="554"/>
                      <a:pt x="605" y="554"/>
                    </a:cubicBezTo>
                    <a:cubicBezTo>
                      <a:pt x="599" y="547"/>
                      <a:pt x="599" y="547"/>
                      <a:pt x="599" y="547"/>
                    </a:cubicBezTo>
                    <a:cubicBezTo>
                      <a:pt x="595" y="541"/>
                      <a:pt x="595" y="541"/>
                      <a:pt x="595" y="541"/>
                    </a:cubicBezTo>
                    <a:cubicBezTo>
                      <a:pt x="594" y="539"/>
                      <a:pt x="594" y="539"/>
                      <a:pt x="594" y="539"/>
                    </a:cubicBezTo>
                    <a:cubicBezTo>
                      <a:pt x="594" y="537"/>
                      <a:pt x="594" y="537"/>
                      <a:pt x="594" y="537"/>
                    </a:cubicBezTo>
                    <a:cubicBezTo>
                      <a:pt x="592" y="536"/>
                      <a:pt x="592" y="536"/>
                      <a:pt x="592" y="536"/>
                    </a:cubicBezTo>
                    <a:cubicBezTo>
                      <a:pt x="591" y="536"/>
                      <a:pt x="591" y="536"/>
                      <a:pt x="591" y="536"/>
                    </a:cubicBezTo>
                    <a:cubicBezTo>
                      <a:pt x="590" y="537"/>
                      <a:pt x="590" y="537"/>
                      <a:pt x="590" y="537"/>
                    </a:cubicBezTo>
                    <a:cubicBezTo>
                      <a:pt x="590" y="539"/>
                      <a:pt x="590" y="539"/>
                      <a:pt x="590" y="539"/>
                    </a:cubicBezTo>
                    <a:cubicBezTo>
                      <a:pt x="593" y="540"/>
                      <a:pt x="593" y="540"/>
                      <a:pt x="593" y="540"/>
                    </a:cubicBezTo>
                    <a:cubicBezTo>
                      <a:pt x="597" y="547"/>
                      <a:pt x="597" y="547"/>
                      <a:pt x="597" y="547"/>
                    </a:cubicBezTo>
                    <a:cubicBezTo>
                      <a:pt x="598" y="549"/>
                      <a:pt x="598" y="549"/>
                      <a:pt x="598" y="549"/>
                    </a:cubicBezTo>
                    <a:cubicBezTo>
                      <a:pt x="600" y="551"/>
                      <a:pt x="600" y="551"/>
                      <a:pt x="600" y="551"/>
                    </a:cubicBezTo>
                    <a:cubicBezTo>
                      <a:pt x="601" y="553"/>
                      <a:pt x="601" y="553"/>
                      <a:pt x="601" y="553"/>
                    </a:cubicBezTo>
                    <a:cubicBezTo>
                      <a:pt x="601" y="555"/>
                      <a:pt x="601" y="555"/>
                      <a:pt x="601" y="555"/>
                    </a:cubicBezTo>
                    <a:cubicBezTo>
                      <a:pt x="599" y="555"/>
                      <a:pt x="599" y="555"/>
                      <a:pt x="599" y="555"/>
                    </a:cubicBezTo>
                    <a:cubicBezTo>
                      <a:pt x="596" y="556"/>
                      <a:pt x="596" y="556"/>
                      <a:pt x="596" y="556"/>
                    </a:cubicBezTo>
                    <a:cubicBezTo>
                      <a:pt x="594" y="558"/>
                      <a:pt x="594" y="558"/>
                      <a:pt x="594" y="558"/>
                    </a:cubicBezTo>
                    <a:cubicBezTo>
                      <a:pt x="592" y="560"/>
                      <a:pt x="592" y="560"/>
                      <a:pt x="592" y="560"/>
                    </a:cubicBezTo>
                    <a:cubicBezTo>
                      <a:pt x="589" y="561"/>
                      <a:pt x="589" y="561"/>
                      <a:pt x="589" y="561"/>
                    </a:cubicBezTo>
                    <a:cubicBezTo>
                      <a:pt x="587" y="562"/>
                      <a:pt x="587" y="562"/>
                      <a:pt x="587" y="562"/>
                    </a:cubicBezTo>
                    <a:cubicBezTo>
                      <a:pt x="584" y="563"/>
                      <a:pt x="584" y="563"/>
                      <a:pt x="584" y="563"/>
                    </a:cubicBezTo>
                    <a:cubicBezTo>
                      <a:pt x="581" y="563"/>
                      <a:pt x="581" y="563"/>
                      <a:pt x="581" y="563"/>
                    </a:cubicBezTo>
                    <a:cubicBezTo>
                      <a:pt x="579" y="561"/>
                      <a:pt x="579" y="561"/>
                      <a:pt x="579" y="561"/>
                    </a:cubicBezTo>
                    <a:cubicBezTo>
                      <a:pt x="577" y="560"/>
                      <a:pt x="577" y="560"/>
                      <a:pt x="577" y="560"/>
                    </a:cubicBezTo>
                    <a:cubicBezTo>
                      <a:pt x="575" y="559"/>
                      <a:pt x="575" y="559"/>
                      <a:pt x="575" y="559"/>
                    </a:cubicBezTo>
                    <a:cubicBezTo>
                      <a:pt x="574" y="558"/>
                      <a:pt x="574" y="558"/>
                      <a:pt x="574" y="558"/>
                    </a:cubicBezTo>
                    <a:cubicBezTo>
                      <a:pt x="570" y="555"/>
                      <a:pt x="570" y="555"/>
                      <a:pt x="570" y="555"/>
                    </a:cubicBezTo>
                    <a:cubicBezTo>
                      <a:pt x="568" y="553"/>
                      <a:pt x="568" y="553"/>
                      <a:pt x="568" y="553"/>
                    </a:cubicBezTo>
                    <a:cubicBezTo>
                      <a:pt x="568" y="552"/>
                      <a:pt x="568" y="552"/>
                      <a:pt x="568" y="552"/>
                    </a:cubicBezTo>
                    <a:cubicBezTo>
                      <a:pt x="567" y="550"/>
                      <a:pt x="567" y="550"/>
                      <a:pt x="567" y="550"/>
                    </a:cubicBezTo>
                    <a:cubicBezTo>
                      <a:pt x="566" y="549"/>
                      <a:pt x="566" y="549"/>
                      <a:pt x="566" y="549"/>
                    </a:cubicBezTo>
                    <a:cubicBezTo>
                      <a:pt x="565" y="550"/>
                      <a:pt x="565" y="550"/>
                      <a:pt x="565" y="550"/>
                    </a:cubicBezTo>
                    <a:cubicBezTo>
                      <a:pt x="565" y="553"/>
                      <a:pt x="565" y="553"/>
                      <a:pt x="565" y="553"/>
                    </a:cubicBezTo>
                    <a:cubicBezTo>
                      <a:pt x="566" y="555"/>
                      <a:pt x="566" y="555"/>
                      <a:pt x="566" y="555"/>
                    </a:cubicBezTo>
                    <a:cubicBezTo>
                      <a:pt x="569" y="557"/>
                      <a:pt x="569" y="557"/>
                      <a:pt x="569" y="557"/>
                    </a:cubicBezTo>
                    <a:cubicBezTo>
                      <a:pt x="573" y="559"/>
                      <a:pt x="573" y="559"/>
                      <a:pt x="573" y="559"/>
                    </a:cubicBezTo>
                    <a:cubicBezTo>
                      <a:pt x="575" y="563"/>
                      <a:pt x="575" y="563"/>
                      <a:pt x="575" y="563"/>
                    </a:cubicBezTo>
                    <a:cubicBezTo>
                      <a:pt x="575" y="564"/>
                      <a:pt x="575" y="564"/>
                      <a:pt x="575" y="564"/>
                    </a:cubicBezTo>
                    <a:cubicBezTo>
                      <a:pt x="573" y="566"/>
                      <a:pt x="573" y="566"/>
                      <a:pt x="573" y="566"/>
                    </a:cubicBezTo>
                    <a:cubicBezTo>
                      <a:pt x="567" y="565"/>
                      <a:pt x="567" y="565"/>
                      <a:pt x="567" y="565"/>
                    </a:cubicBezTo>
                    <a:cubicBezTo>
                      <a:pt x="563" y="565"/>
                      <a:pt x="563" y="565"/>
                      <a:pt x="563" y="565"/>
                    </a:cubicBezTo>
                    <a:cubicBezTo>
                      <a:pt x="560" y="566"/>
                      <a:pt x="560" y="566"/>
                      <a:pt x="560" y="566"/>
                    </a:cubicBezTo>
                    <a:cubicBezTo>
                      <a:pt x="558" y="568"/>
                      <a:pt x="558" y="568"/>
                      <a:pt x="558" y="568"/>
                    </a:cubicBezTo>
                    <a:cubicBezTo>
                      <a:pt x="559" y="569"/>
                      <a:pt x="559" y="569"/>
                      <a:pt x="559" y="569"/>
                    </a:cubicBezTo>
                    <a:cubicBezTo>
                      <a:pt x="560" y="569"/>
                      <a:pt x="560" y="569"/>
                      <a:pt x="560" y="569"/>
                    </a:cubicBezTo>
                    <a:cubicBezTo>
                      <a:pt x="561" y="571"/>
                      <a:pt x="561" y="571"/>
                      <a:pt x="561" y="571"/>
                    </a:cubicBezTo>
                    <a:cubicBezTo>
                      <a:pt x="563" y="572"/>
                      <a:pt x="563" y="572"/>
                      <a:pt x="563" y="572"/>
                    </a:cubicBezTo>
                    <a:cubicBezTo>
                      <a:pt x="564" y="570"/>
                      <a:pt x="564" y="570"/>
                      <a:pt x="564" y="570"/>
                    </a:cubicBezTo>
                    <a:cubicBezTo>
                      <a:pt x="564" y="568"/>
                      <a:pt x="564" y="568"/>
                      <a:pt x="564" y="568"/>
                    </a:cubicBezTo>
                    <a:cubicBezTo>
                      <a:pt x="568" y="568"/>
                      <a:pt x="568" y="568"/>
                      <a:pt x="568" y="568"/>
                    </a:cubicBezTo>
                    <a:cubicBezTo>
                      <a:pt x="568" y="568"/>
                      <a:pt x="570" y="568"/>
                      <a:pt x="570" y="569"/>
                    </a:cubicBezTo>
                    <a:cubicBezTo>
                      <a:pt x="571" y="569"/>
                      <a:pt x="573" y="570"/>
                      <a:pt x="573" y="570"/>
                    </a:cubicBezTo>
                    <a:cubicBezTo>
                      <a:pt x="575" y="568"/>
                      <a:pt x="575" y="568"/>
                      <a:pt x="575" y="568"/>
                    </a:cubicBezTo>
                    <a:cubicBezTo>
                      <a:pt x="576" y="566"/>
                      <a:pt x="576" y="566"/>
                      <a:pt x="576" y="566"/>
                    </a:cubicBezTo>
                    <a:cubicBezTo>
                      <a:pt x="578" y="566"/>
                      <a:pt x="578" y="566"/>
                      <a:pt x="578" y="566"/>
                    </a:cubicBezTo>
                    <a:cubicBezTo>
                      <a:pt x="582" y="566"/>
                      <a:pt x="582" y="566"/>
                      <a:pt x="582" y="566"/>
                    </a:cubicBezTo>
                    <a:cubicBezTo>
                      <a:pt x="585" y="566"/>
                      <a:pt x="585" y="566"/>
                      <a:pt x="585" y="566"/>
                    </a:cubicBezTo>
                    <a:cubicBezTo>
                      <a:pt x="587" y="567"/>
                      <a:pt x="587" y="567"/>
                      <a:pt x="587" y="567"/>
                    </a:cubicBezTo>
                    <a:cubicBezTo>
                      <a:pt x="589" y="569"/>
                      <a:pt x="589" y="569"/>
                      <a:pt x="589" y="569"/>
                    </a:cubicBezTo>
                    <a:cubicBezTo>
                      <a:pt x="593" y="570"/>
                      <a:pt x="593" y="570"/>
                      <a:pt x="593" y="570"/>
                    </a:cubicBezTo>
                    <a:cubicBezTo>
                      <a:pt x="596" y="571"/>
                      <a:pt x="596" y="571"/>
                      <a:pt x="596" y="571"/>
                    </a:cubicBezTo>
                    <a:cubicBezTo>
                      <a:pt x="596" y="573"/>
                      <a:pt x="596" y="573"/>
                      <a:pt x="596" y="573"/>
                    </a:cubicBezTo>
                    <a:cubicBezTo>
                      <a:pt x="596" y="575"/>
                      <a:pt x="596" y="575"/>
                      <a:pt x="596" y="575"/>
                    </a:cubicBezTo>
                    <a:cubicBezTo>
                      <a:pt x="594" y="576"/>
                      <a:pt x="594" y="576"/>
                      <a:pt x="594" y="576"/>
                    </a:cubicBezTo>
                    <a:cubicBezTo>
                      <a:pt x="592" y="578"/>
                      <a:pt x="592" y="578"/>
                      <a:pt x="592" y="578"/>
                    </a:cubicBezTo>
                    <a:cubicBezTo>
                      <a:pt x="589" y="578"/>
                      <a:pt x="589" y="578"/>
                      <a:pt x="589" y="578"/>
                    </a:cubicBezTo>
                    <a:cubicBezTo>
                      <a:pt x="586" y="578"/>
                      <a:pt x="586" y="578"/>
                      <a:pt x="586" y="578"/>
                    </a:cubicBezTo>
                    <a:cubicBezTo>
                      <a:pt x="583" y="581"/>
                      <a:pt x="583" y="581"/>
                      <a:pt x="583" y="581"/>
                    </a:cubicBezTo>
                    <a:cubicBezTo>
                      <a:pt x="581" y="582"/>
                      <a:pt x="581" y="582"/>
                      <a:pt x="581" y="582"/>
                    </a:cubicBezTo>
                    <a:cubicBezTo>
                      <a:pt x="578" y="581"/>
                      <a:pt x="578" y="581"/>
                      <a:pt x="578" y="581"/>
                    </a:cubicBezTo>
                    <a:cubicBezTo>
                      <a:pt x="574" y="578"/>
                      <a:pt x="574" y="578"/>
                      <a:pt x="574" y="578"/>
                    </a:cubicBezTo>
                    <a:cubicBezTo>
                      <a:pt x="572" y="577"/>
                      <a:pt x="572" y="577"/>
                      <a:pt x="572" y="577"/>
                    </a:cubicBezTo>
                    <a:cubicBezTo>
                      <a:pt x="571" y="577"/>
                      <a:pt x="571" y="577"/>
                      <a:pt x="571" y="577"/>
                    </a:cubicBezTo>
                    <a:cubicBezTo>
                      <a:pt x="569" y="579"/>
                      <a:pt x="569" y="579"/>
                      <a:pt x="569" y="579"/>
                    </a:cubicBezTo>
                    <a:cubicBezTo>
                      <a:pt x="567" y="579"/>
                      <a:pt x="567" y="579"/>
                      <a:pt x="567" y="579"/>
                    </a:cubicBezTo>
                    <a:cubicBezTo>
                      <a:pt x="566" y="579"/>
                      <a:pt x="566" y="579"/>
                      <a:pt x="566" y="579"/>
                    </a:cubicBezTo>
                    <a:cubicBezTo>
                      <a:pt x="564" y="579"/>
                      <a:pt x="564" y="579"/>
                      <a:pt x="564" y="579"/>
                    </a:cubicBezTo>
                    <a:cubicBezTo>
                      <a:pt x="564" y="580"/>
                      <a:pt x="564" y="580"/>
                      <a:pt x="564" y="580"/>
                    </a:cubicBezTo>
                    <a:cubicBezTo>
                      <a:pt x="566" y="580"/>
                      <a:pt x="566" y="580"/>
                      <a:pt x="566" y="580"/>
                    </a:cubicBezTo>
                    <a:cubicBezTo>
                      <a:pt x="569" y="580"/>
                      <a:pt x="569" y="580"/>
                      <a:pt x="569" y="580"/>
                    </a:cubicBezTo>
                    <a:cubicBezTo>
                      <a:pt x="571" y="579"/>
                      <a:pt x="571" y="579"/>
                      <a:pt x="571" y="579"/>
                    </a:cubicBezTo>
                    <a:cubicBezTo>
                      <a:pt x="573" y="580"/>
                      <a:pt x="573" y="580"/>
                      <a:pt x="573" y="580"/>
                    </a:cubicBezTo>
                    <a:cubicBezTo>
                      <a:pt x="574" y="581"/>
                      <a:pt x="574" y="581"/>
                      <a:pt x="574" y="581"/>
                    </a:cubicBezTo>
                    <a:cubicBezTo>
                      <a:pt x="573" y="583"/>
                      <a:pt x="573" y="583"/>
                      <a:pt x="573" y="583"/>
                    </a:cubicBezTo>
                    <a:cubicBezTo>
                      <a:pt x="570" y="583"/>
                      <a:pt x="570" y="583"/>
                      <a:pt x="570" y="583"/>
                    </a:cubicBezTo>
                    <a:cubicBezTo>
                      <a:pt x="566" y="585"/>
                      <a:pt x="566" y="585"/>
                      <a:pt x="566" y="585"/>
                    </a:cubicBezTo>
                    <a:cubicBezTo>
                      <a:pt x="566" y="586"/>
                      <a:pt x="566" y="586"/>
                      <a:pt x="566" y="586"/>
                    </a:cubicBezTo>
                    <a:cubicBezTo>
                      <a:pt x="567" y="586"/>
                      <a:pt x="567" y="586"/>
                      <a:pt x="567" y="586"/>
                    </a:cubicBezTo>
                    <a:cubicBezTo>
                      <a:pt x="569" y="585"/>
                      <a:pt x="569" y="585"/>
                      <a:pt x="569" y="585"/>
                    </a:cubicBezTo>
                    <a:cubicBezTo>
                      <a:pt x="573" y="584"/>
                      <a:pt x="573" y="584"/>
                      <a:pt x="573" y="584"/>
                    </a:cubicBezTo>
                    <a:cubicBezTo>
                      <a:pt x="575" y="584"/>
                      <a:pt x="575" y="584"/>
                      <a:pt x="575" y="584"/>
                    </a:cubicBezTo>
                    <a:cubicBezTo>
                      <a:pt x="576" y="586"/>
                      <a:pt x="576" y="586"/>
                      <a:pt x="576" y="586"/>
                    </a:cubicBezTo>
                    <a:cubicBezTo>
                      <a:pt x="576" y="588"/>
                      <a:pt x="576" y="588"/>
                      <a:pt x="576" y="588"/>
                    </a:cubicBezTo>
                    <a:cubicBezTo>
                      <a:pt x="577" y="588"/>
                      <a:pt x="577" y="588"/>
                      <a:pt x="577" y="588"/>
                    </a:cubicBezTo>
                    <a:cubicBezTo>
                      <a:pt x="579" y="586"/>
                      <a:pt x="579" y="586"/>
                      <a:pt x="579" y="586"/>
                    </a:cubicBezTo>
                    <a:cubicBezTo>
                      <a:pt x="581" y="585"/>
                      <a:pt x="581" y="585"/>
                      <a:pt x="581" y="585"/>
                    </a:cubicBezTo>
                    <a:cubicBezTo>
                      <a:pt x="583" y="585"/>
                      <a:pt x="583" y="585"/>
                      <a:pt x="583" y="585"/>
                    </a:cubicBezTo>
                    <a:cubicBezTo>
                      <a:pt x="586" y="582"/>
                      <a:pt x="586" y="582"/>
                      <a:pt x="586" y="582"/>
                    </a:cubicBezTo>
                    <a:cubicBezTo>
                      <a:pt x="588" y="582"/>
                      <a:pt x="588" y="582"/>
                      <a:pt x="588" y="582"/>
                    </a:cubicBezTo>
                    <a:cubicBezTo>
                      <a:pt x="589" y="583"/>
                      <a:pt x="589" y="583"/>
                      <a:pt x="589" y="583"/>
                    </a:cubicBezTo>
                    <a:cubicBezTo>
                      <a:pt x="594" y="586"/>
                      <a:pt x="594" y="586"/>
                      <a:pt x="594" y="586"/>
                    </a:cubicBezTo>
                    <a:cubicBezTo>
                      <a:pt x="596" y="586"/>
                      <a:pt x="596" y="586"/>
                      <a:pt x="596" y="586"/>
                    </a:cubicBezTo>
                    <a:cubicBezTo>
                      <a:pt x="597" y="587"/>
                      <a:pt x="597" y="587"/>
                      <a:pt x="597" y="587"/>
                    </a:cubicBezTo>
                    <a:cubicBezTo>
                      <a:pt x="597" y="589"/>
                      <a:pt x="597" y="589"/>
                      <a:pt x="597" y="589"/>
                    </a:cubicBezTo>
                    <a:cubicBezTo>
                      <a:pt x="596" y="595"/>
                      <a:pt x="596" y="595"/>
                      <a:pt x="596" y="595"/>
                    </a:cubicBezTo>
                    <a:cubicBezTo>
                      <a:pt x="594" y="597"/>
                      <a:pt x="594" y="597"/>
                      <a:pt x="594" y="597"/>
                    </a:cubicBezTo>
                    <a:cubicBezTo>
                      <a:pt x="591" y="598"/>
                      <a:pt x="591" y="598"/>
                      <a:pt x="591" y="598"/>
                    </a:cubicBezTo>
                    <a:cubicBezTo>
                      <a:pt x="587" y="597"/>
                      <a:pt x="587" y="597"/>
                      <a:pt x="587" y="597"/>
                    </a:cubicBezTo>
                    <a:cubicBezTo>
                      <a:pt x="585" y="596"/>
                      <a:pt x="585" y="596"/>
                      <a:pt x="585" y="596"/>
                    </a:cubicBezTo>
                    <a:cubicBezTo>
                      <a:pt x="578" y="596"/>
                      <a:pt x="578" y="596"/>
                      <a:pt x="578" y="596"/>
                    </a:cubicBezTo>
                    <a:cubicBezTo>
                      <a:pt x="577" y="596"/>
                      <a:pt x="577" y="596"/>
                      <a:pt x="577" y="596"/>
                    </a:cubicBezTo>
                    <a:cubicBezTo>
                      <a:pt x="574" y="598"/>
                      <a:pt x="574" y="598"/>
                      <a:pt x="574" y="598"/>
                    </a:cubicBezTo>
                    <a:cubicBezTo>
                      <a:pt x="576" y="599"/>
                      <a:pt x="576" y="599"/>
                      <a:pt x="576" y="599"/>
                    </a:cubicBezTo>
                    <a:cubicBezTo>
                      <a:pt x="579" y="598"/>
                      <a:pt x="579" y="598"/>
                      <a:pt x="579" y="598"/>
                    </a:cubicBezTo>
                    <a:cubicBezTo>
                      <a:pt x="583" y="598"/>
                      <a:pt x="583" y="598"/>
                      <a:pt x="583" y="598"/>
                    </a:cubicBezTo>
                    <a:cubicBezTo>
                      <a:pt x="588" y="600"/>
                      <a:pt x="588" y="600"/>
                      <a:pt x="588" y="600"/>
                    </a:cubicBezTo>
                    <a:cubicBezTo>
                      <a:pt x="589" y="602"/>
                      <a:pt x="589" y="602"/>
                      <a:pt x="589" y="602"/>
                    </a:cubicBezTo>
                    <a:cubicBezTo>
                      <a:pt x="589" y="604"/>
                      <a:pt x="589" y="604"/>
                      <a:pt x="589" y="604"/>
                    </a:cubicBezTo>
                    <a:cubicBezTo>
                      <a:pt x="592" y="601"/>
                      <a:pt x="592" y="601"/>
                      <a:pt x="592" y="601"/>
                    </a:cubicBezTo>
                    <a:cubicBezTo>
                      <a:pt x="595" y="600"/>
                      <a:pt x="595" y="600"/>
                      <a:pt x="595" y="600"/>
                    </a:cubicBezTo>
                    <a:cubicBezTo>
                      <a:pt x="599" y="600"/>
                      <a:pt x="599" y="600"/>
                      <a:pt x="599" y="600"/>
                    </a:cubicBezTo>
                    <a:cubicBezTo>
                      <a:pt x="602" y="601"/>
                      <a:pt x="602" y="601"/>
                      <a:pt x="602" y="601"/>
                    </a:cubicBezTo>
                    <a:cubicBezTo>
                      <a:pt x="603" y="603"/>
                      <a:pt x="603" y="603"/>
                      <a:pt x="603" y="603"/>
                    </a:cubicBezTo>
                    <a:cubicBezTo>
                      <a:pt x="609" y="607"/>
                      <a:pt x="609" y="607"/>
                      <a:pt x="609" y="607"/>
                    </a:cubicBezTo>
                    <a:cubicBezTo>
                      <a:pt x="609" y="609"/>
                      <a:pt x="609" y="609"/>
                      <a:pt x="609" y="609"/>
                    </a:cubicBezTo>
                    <a:cubicBezTo>
                      <a:pt x="610" y="610"/>
                      <a:pt x="610" y="610"/>
                      <a:pt x="610" y="610"/>
                    </a:cubicBezTo>
                    <a:cubicBezTo>
                      <a:pt x="612" y="610"/>
                      <a:pt x="612" y="610"/>
                      <a:pt x="612" y="610"/>
                    </a:cubicBezTo>
                    <a:cubicBezTo>
                      <a:pt x="613" y="611"/>
                      <a:pt x="613" y="611"/>
                      <a:pt x="613" y="611"/>
                    </a:cubicBezTo>
                    <a:cubicBezTo>
                      <a:pt x="615" y="611"/>
                      <a:pt x="615" y="611"/>
                      <a:pt x="615" y="611"/>
                    </a:cubicBezTo>
                    <a:cubicBezTo>
                      <a:pt x="617" y="614"/>
                      <a:pt x="617" y="614"/>
                      <a:pt x="617" y="614"/>
                    </a:cubicBezTo>
                    <a:cubicBezTo>
                      <a:pt x="619" y="615"/>
                      <a:pt x="619" y="615"/>
                      <a:pt x="619" y="615"/>
                    </a:cubicBezTo>
                    <a:cubicBezTo>
                      <a:pt x="620" y="617"/>
                      <a:pt x="620" y="617"/>
                      <a:pt x="620" y="617"/>
                    </a:cubicBezTo>
                    <a:cubicBezTo>
                      <a:pt x="622" y="619"/>
                      <a:pt x="622" y="619"/>
                      <a:pt x="622" y="619"/>
                    </a:cubicBezTo>
                    <a:cubicBezTo>
                      <a:pt x="623" y="619"/>
                      <a:pt x="623" y="619"/>
                      <a:pt x="623" y="619"/>
                    </a:cubicBezTo>
                    <a:cubicBezTo>
                      <a:pt x="624" y="621"/>
                      <a:pt x="624" y="621"/>
                      <a:pt x="624" y="621"/>
                    </a:cubicBezTo>
                    <a:cubicBezTo>
                      <a:pt x="626" y="622"/>
                      <a:pt x="626" y="622"/>
                      <a:pt x="626" y="622"/>
                    </a:cubicBezTo>
                    <a:cubicBezTo>
                      <a:pt x="626" y="623"/>
                      <a:pt x="626" y="623"/>
                      <a:pt x="626" y="623"/>
                    </a:cubicBezTo>
                    <a:cubicBezTo>
                      <a:pt x="624" y="627"/>
                      <a:pt x="624" y="627"/>
                      <a:pt x="624" y="627"/>
                    </a:cubicBezTo>
                    <a:cubicBezTo>
                      <a:pt x="622" y="628"/>
                      <a:pt x="622" y="628"/>
                      <a:pt x="622" y="628"/>
                    </a:cubicBezTo>
                    <a:cubicBezTo>
                      <a:pt x="620" y="630"/>
                      <a:pt x="620" y="630"/>
                      <a:pt x="620" y="630"/>
                    </a:cubicBezTo>
                    <a:cubicBezTo>
                      <a:pt x="620" y="633"/>
                      <a:pt x="620" y="633"/>
                      <a:pt x="620" y="633"/>
                    </a:cubicBezTo>
                    <a:cubicBezTo>
                      <a:pt x="620" y="633"/>
                      <a:pt x="620" y="633"/>
                      <a:pt x="620" y="633"/>
                    </a:cubicBezTo>
                    <a:cubicBezTo>
                      <a:pt x="622" y="631"/>
                      <a:pt x="622" y="631"/>
                      <a:pt x="622" y="631"/>
                    </a:cubicBezTo>
                    <a:cubicBezTo>
                      <a:pt x="625" y="628"/>
                      <a:pt x="625" y="628"/>
                      <a:pt x="625" y="628"/>
                    </a:cubicBezTo>
                    <a:cubicBezTo>
                      <a:pt x="627" y="627"/>
                      <a:pt x="627" y="627"/>
                      <a:pt x="627" y="627"/>
                    </a:cubicBezTo>
                    <a:cubicBezTo>
                      <a:pt x="628" y="628"/>
                      <a:pt x="628" y="628"/>
                      <a:pt x="628" y="628"/>
                    </a:cubicBezTo>
                    <a:cubicBezTo>
                      <a:pt x="627" y="630"/>
                      <a:pt x="627" y="630"/>
                      <a:pt x="627" y="630"/>
                    </a:cubicBezTo>
                    <a:cubicBezTo>
                      <a:pt x="626" y="633"/>
                      <a:pt x="626" y="633"/>
                      <a:pt x="626" y="633"/>
                    </a:cubicBezTo>
                    <a:cubicBezTo>
                      <a:pt x="627" y="632"/>
                      <a:pt x="627" y="632"/>
                      <a:pt x="627" y="632"/>
                    </a:cubicBezTo>
                    <a:cubicBezTo>
                      <a:pt x="628" y="630"/>
                      <a:pt x="628" y="630"/>
                      <a:pt x="628" y="630"/>
                    </a:cubicBezTo>
                    <a:cubicBezTo>
                      <a:pt x="630" y="629"/>
                      <a:pt x="630" y="629"/>
                      <a:pt x="630" y="629"/>
                    </a:cubicBezTo>
                    <a:cubicBezTo>
                      <a:pt x="632" y="629"/>
                      <a:pt x="632" y="629"/>
                      <a:pt x="632" y="629"/>
                    </a:cubicBezTo>
                    <a:cubicBezTo>
                      <a:pt x="634" y="631"/>
                      <a:pt x="634" y="631"/>
                      <a:pt x="634" y="631"/>
                    </a:cubicBezTo>
                    <a:cubicBezTo>
                      <a:pt x="633" y="633"/>
                      <a:pt x="633" y="633"/>
                      <a:pt x="633" y="633"/>
                    </a:cubicBezTo>
                    <a:cubicBezTo>
                      <a:pt x="630" y="635"/>
                      <a:pt x="630" y="635"/>
                      <a:pt x="630" y="635"/>
                    </a:cubicBezTo>
                    <a:cubicBezTo>
                      <a:pt x="627" y="637"/>
                      <a:pt x="627" y="637"/>
                      <a:pt x="627" y="637"/>
                    </a:cubicBezTo>
                    <a:cubicBezTo>
                      <a:pt x="626" y="639"/>
                      <a:pt x="626" y="639"/>
                      <a:pt x="626" y="639"/>
                    </a:cubicBezTo>
                    <a:cubicBezTo>
                      <a:pt x="626" y="642"/>
                      <a:pt x="626" y="642"/>
                      <a:pt x="626" y="642"/>
                    </a:cubicBezTo>
                    <a:cubicBezTo>
                      <a:pt x="627" y="643"/>
                      <a:pt x="627" y="643"/>
                      <a:pt x="627" y="643"/>
                    </a:cubicBezTo>
                    <a:cubicBezTo>
                      <a:pt x="627" y="645"/>
                      <a:pt x="627" y="645"/>
                      <a:pt x="627" y="645"/>
                    </a:cubicBezTo>
                    <a:cubicBezTo>
                      <a:pt x="626" y="649"/>
                      <a:pt x="626" y="649"/>
                      <a:pt x="626" y="649"/>
                    </a:cubicBezTo>
                    <a:cubicBezTo>
                      <a:pt x="626" y="650"/>
                      <a:pt x="626" y="650"/>
                      <a:pt x="626" y="650"/>
                    </a:cubicBezTo>
                    <a:cubicBezTo>
                      <a:pt x="628" y="649"/>
                      <a:pt x="628" y="649"/>
                      <a:pt x="628" y="649"/>
                    </a:cubicBezTo>
                    <a:cubicBezTo>
                      <a:pt x="629" y="645"/>
                      <a:pt x="629" y="645"/>
                      <a:pt x="629" y="645"/>
                    </a:cubicBezTo>
                    <a:cubicBezTo>
                      <a:pt x="631" y="641"/>
                      <a:pt x="631" y="641"/>
                      <a:pt x="631" y="641"/>
                    </a:cubicBezTo>
                    <a:cubicBezTo>
                      <a:pt x="634" y="639"/>
                      <a:pt x="634" y="639"/>
                      <a:pt x="634" y="639"/>
                    </a:cubicBezTo>
                    <a:cubicBezTo>
                      <a:pt x="635" y="639"/>
                      <a:pt x="635" y="639"/>
                      <a:pt x="635" y="639"/>
                    </a:cubicBezTo>
                    <a:cubicBezTo>
                      <a:pt x="635" y="641"/>
                      <a:pt x="635" y="641"/>
                      <a:pt x="635" y="641"/>
                    </a:cubicBezTo>
                    <a:cubicBezTo>
                      <a:pt x="634" y="644"/>
                      <a:pt x="634" y="644"/>
                      <a:pt x="634" y="644"/>
                    </a:cubicBezTo>
                    <a:cubicBezTo>
                      <a:pt x="632" y="647"/>
                      <a:pt x="632" y="647"/>
                      <a:pt x="632" y="647"/>
                    </a:cubicBezTo>
                    <a:cubicBezTo>
                      <a:pt x="633" y="648"/>
                      <a:pt x="633" y="648"/>
                      <a:pt x="633" y="648"/>
                    </a:cubicBezTo>
                    <a:cubicBezTo>
                      <a:pt x="635" y="647"/>
                      <a:pt x="635" y="647"/>
                      <a:pt x="635" y="647"/>
                    </a:cubicBezTo>
                    <a:cubicBezTo>
                      <a:pt x="636" y="649"/>
                      <a:pt x="636" y="649"/>
                      <a:pt x="636" y="649"/>
                    </a:cubicBezTo>
                    <a:cubicBezTo>
                      <a:pt x="635" y="652"/>
                      <a:pt x="635" y="652"/>
                      <a:pt x="635" y="652"/>
                    </a:cubicBezTo>
                    <a:cubicBezTo>
                      <a:pt x="634" y="654"/>
                      <a:pt x="634" y="654"/>
                      <a:pt x="634" y="654"/>
                    </a:cubicBezTo>
                    <a:cubicBezTo>
                      <a:pt x="630" y="654"/>
                      <a:pt x="630" y="654"/>
                      <a:pt x="630" y="654"/>
                    </a:cubicBezTo>
                    <a:cubicBezTo>
                      <a:pt x="630" y="656"/>
                      <a:pt x="630" y="656"/>
                      <a:pt x="630" y="656"/>
                    </a:cubicBezTo>
                    <a:cubicBezTo>
                      <a:pt x="630" y="657"/>
                      <a:pt x="630" y="657"/>
                      <a:pt x="630" y="657"/>
                    </a:cubicBezTo>
                    <a:cubicBezTo>
                      <a:pt x="634" y="656"/>
                      <a:pt x="634" y="656"/>
                      <a:pt x="634" y="656"/>
                    </a:cubicBezTo>
                    <a:cubicBezTo>
                      <a:pt x="634" y="657"/>
                      <a:pt x="634" y="657"/>
                      <a:pt x="634" y="657"/>
                    </a:cubicBezTo>
                    <a:cubicBezTo>
                      <a:pt x="634" y="659"/>
                      <a:pt x="634" y="659"/>
                      <a:pt x="634" y="659"/>
                    </a:cubicBezTo>
                    <a:cubicBezTo>
                      <a:pt x="633" y="661"/>
                      <a:pt x="633" y="661"/>
                      <a:pt x="633" y="661"/>
                    </a:cubicBezTo>
                    <a:cubicBezTo>
                      <a:pt x="634" y="661"/>
                      <a:pt x="634" y="661"/>
                      <a:pt x="634" y="661"/>
                    </a:cubicBezTo>
                    <a:cubicBezTo>
                      <a:pt x="636" y="663"/>
                      <a:pt x="636" y="663"/>
                      <a:pt x="636" y="663"/>
                    </a:cubicBezTo>
                    <a:cubicBezTo>
                      <a:pt x="635" y="664"/>
                      <a:pt x="635" y="664"/>
                      <a:pt x="635" y="664"/>
                    </a:cubicBezTo>
                    <a:cubicBezTo>
                      <a:pt x="635" y="668"/>
                      <a:pt x="635" y="668"/>
                      <a:pt x="635" y="668"/>
                    </a:cubicBezTo>
                    <a:cubicBezTo>
                      <a:pt x="634" y="670"/>
                      <a:pt x="634" y="670"/>
                      <a:pt x="634" y="670"/>
                    </a:cubicBezTo>
                    <a:cubicBezTo>
                      <a:pt x="634" y="676"/>
                      <a:pt x="634" y="676"/>
                      <a:pt x="634" y="676"/>
                    </a:cubicBezTo>
                    <a:cubicBezTo>
                      <a:pt x="634" y="678"/>
                      <a:pt x="634" y="678"/>
                      <a:pt x="634" y="678"/>
                    </a:cubicBezTo>
                    <a:cubicBezTo>
                      <a:pt x="634" y="681"/>
                      <a:pt x="634" y="681"/>
                      <a:pt x="634" y="681"/>
                    </a:cubicBezTo>
                    <a:cubicBezTo>
                      <a:pt x="632" y="682"/>
                      <a:pt x="632" y="682"/>
                      <a:pt x="632" y="682"/>
                    </a:cubicBezTo>
                    <a:cubicBezTo>
                      <a:pt x="630" y="682"/>
                      <a:pt x="630" y="682"/>
                      <a:pt x="630" y="682"/>
                    </a:cubicBezTo>
                    <a:cubicBezTo>
                      <a:pt x="629" y="682"/>
                      <a:pt x="629" y="682"/>
                      <a:pt x="629" y="682"/>
                    </a:cubicBezTo>
                    <a:cubicBezTo>
                      <a:pt x="628" y="681"/>
                      <a:pt x="628" y="681"/>
                      <a:pt x="628" y="681"/>
                    </a:cubicBezTo>
                    <a:cubicBezTo>
                      <a:pt x="629" y="679"/>
                      <a:pt x="629" y="679"/>
                      <a:pt x="629" y="679"/>
                    </a:cubicBezTo>
                    <a:cubicBezTo>
                      <a:pt x="628" y="678"/>
                      <a:pt x="628" y="678"/>
                      <a:pt x="628" y="678"/>
                    </a:cubicBezTo>
                    <a:cubicBezTo>
                      <a:pt x="626" y="677"/>
                      <a:pt x="626" y="677"/>
                      <a:pt x="626" y="677"/>
                    </a:cubicBezTo>
                    <a:cubicBezTo>
                      <a:pt x="624" y="677"/>
                      <a:pt x="624" y="677"/>
                      <a:pt x="624" y="677"/>
                    </a:cubicBezTo>
                    <a:cubicBezTo>
                      <a:pt x="623" y="679"/>
                      <a:pt x="623" y="679"/>
                      <a:pt x="623" y="679"/>
                    </a:cubicBezTo>
                    <a:cubicBezTo>
                      <a:pt x="621" y="678"/>
                      <a:pt x="621" y="678"/>
                      <a:pt x="621" y="678"/>
                    </a:cubicBezTo>
                    <a:cubicBezTo>
                      <a:pt x="621" y="676"/>
                      <a:pt x="621" y="676"/>
                      <a:pt x="621" y="676"/>
                    </a:cubicBezTo>
                    <a:cubicBezTo>
                      <a:pt x="623" y="673"/>
                      <a:pt x="623" y="673"/>
                      <a:pt x="623" y="673"/>
                    </a:cubicBezTo>
                    <a:cubicBezTo>
                      <a:pt x="622" y="669"/>
                      <a:pt x="622" y="669"/>
                      <a:pt x="622" y="669"/>
                    </a:cubicBezTo>
                    <a:cubicBezTo>
                      <a:pt x="622" y="667"/>
                      <a:pt x="622" y="667"/>
                      <a:pt x="622" y="667"/>
                    </a:cubicBezTo>
                    <a:cubicBezTo>
                      <a:pt x="622" y="664"/>
                      <a:pt x="622" y="664"/>
                      <a:pt x="622" y="664"/>
                    </a:cubicBezTo>
                    <a:cubicBezTo>
                      <a:pt x="621" y="662"/>
                      <a:pt x="621" y="662"/>
                      <a:pt x="621" y="662"/>
                    </a:cubicBezTo>
                    <a:cubicBezTo>
                      <a:pt x="620" y="662"/>
                      <a:pt x="620" y="662"/>
                      <a:pt x="620" y="662"/>
                    </a:cubicBezTo>
                    <a:cubicBezTo>
                      <a:pt x="619" y="664"/>
                      <a:pt x="619" y="664"/>
                      <a:pt x="619" y="664"/>
                    </a:cubicBezTo>
                    <a:cubicBezTo>
                      <a:pt x="618" y="668"/>
                      <a:pt x="618" y="668"/>
                      <a:pt x="618" y="668"/>
                    </a:cubicBezTo>
                    <a:cubicBezTo>
                      <a:pt x="619" y="672"/>
                      <a:pt x="619" y="672"/>
                      <a:pt x="619" y="672"/>
                    </a:cubicBezTo>
                    <a:cubicBezTo>
                      <a:pt x="618" y="677"/>
                      <a:pt x="618" y="677"/>
                      <a:pt x="618" y="677"/>
                    </a:cubicBezTo>
                    <a:cubicBezTo>
                      <a:pt x="618" y="679"/>
                      <a:pt x="618" y="679"/>
                      <a:pt x="618" y="679"/>
                    </a:cubicBezTo>
                    <a:cubicBezTo>
                      <a:pt x="617" y="680"/>
                      <a:pt x="617" y="680"/>
                      <a:pt x="617" y="680"/>
                    </a:cubicBezTo>
                    <a:cubicBezTo>
                      <a:pt x="615" y="680"/>
                      <a:pt x="615" y="680"/>
                      <a:pt x="615" y="680"/>
                    </a:cubicBezTo>
                    <a:cubicBezTo>
                      <a:pt x="612" y="680"/>
                      <a:pt x="612" y="680"/>
                      <a:pt x="612" y="680"/>
                    </a:cubicBezTo>
                    <a:cubicBezTo>
                      <a:pt x="610" y="681"/>
                      <a:pt x="610" y="681"/>
                      <a:pt x="610" y="681"/>
                    </a:cubicBezTo>
                    <a:cubicBezTo>
                      <a:pt x="608" y="679"/>
                      <a:pt x="608" y="679"/>
                      <a:pt x="608" y="679"/>
                    </a:cubicBezTo>
                    <a:cubicBezTo>
                      <a:pt x="603" y="676"/>
                      <a:pt x="603" y="676"/>
                      <a:pt x="603" y="676"/>
                    </a:cubicBezTo>
                    <a:cubicBezTo>
                      <a:pt x="600" y="670"/>
                      <a:pt x="600" y="670"/>
                      <a:pt x="600" y="670"/>
                    </a:cubicBezTo>
                    <a:cubicBezTo>
                      <a:pt x="598" y="667"/>
                      <a:pt x="598" y="667"/>
                      <a:pt x="598" y="667"/>
                    </a:cubicBezTo>
                    <a:cubicBezTo>
                      <a:pt x="596" y="665"/>
                      <a:pt x="596" y="665"/>
                      <a:pt x="596" y="665"/>
                    </a:cubicBezTo>
                    <a:cubicBezTo>
                      <a:pt x="595" y="659"/>
                      <a:pt x="595" y="659"/>
                      <a:pt x="595" y="659"/>
                    </a:cubicBezTo>
                    <a:cubicBezTo>
                      <a:pt x="593" y="656"/>
                      <a:pt x="593" y="656"/>
                      <a:pt x="593" y="656"/>
                    </a:cubicBezTo>
                    <a:cubicBezTo>
                      <a:pt x="591" y="654"/>
                      <a:pt x="591" y="654"/>
                      <a:pt x="591" y="654"/>
                    </a:cubicBezTo>
                    <a:cubicBezTo>
                      <a:pt x="591" y="650"/>
                      <a:pt x="591" y="650"/>
                      <a:pt x="591" y="650"/>
                    </a:cubicBezTo>
                    <a:cubicBezTo>
                      <a:pt x="591" y="646"/>
                      <a:pt x="591" y="646"/>
                      <a:pt x="591" y="646"/>
                    </a:cubicBezTo>
                    <a:cubicBezTo>
                      <a:pt x="593" y="644"/>
                      <a:pt x="593" y="644"/>
                      <a:pt x="593" y="644"/>
                    </a:cubicBezTo>
                    <a:cubicBezTo>
                      <a:pt x="592" y="642"/>
                      <a:pt x="592" y="642"/>
                      <a:pt x="592" y="642"/>
                    </a:cubicBezTo>
                    <a:cubicBezTo>
                      <a:pt x="590" y="642"/>
                      <a:pt x="590" y="642"/>
                      <a:pt x="590" y="642"/>
                    </a:cubicBezTo>
                    <a:cubicBezTo>
                      <a:pt x="587" y="643"/>
                      <a:pt x="587" y="643"/>
                      <a:pt x="587" y="643"/>
                    </a:cubicBezTo>
                    <a:cubicBezTo>
                      <a:pt x="586" y="645"/>
                      <a:pt x="586" y="645"/>
                      <a:pt x="586" y="645"/>
                    </a:cubicBezTo>
                    <a:cubicBezTo>
                      <a:pt x="583" y="643"/>
                      <a:pt x="583" y="643"/>
                      <a:pt x="583" y="643"/>
                    </a:cubicBezTo>
                    <a:cubicBezTo>
                      <a:pt x="577" y="635"/>
                      <a:pt x="577" y="635"/>
                      <a:pt x="577" y="635"/>
                    </a:cubicBezTo>
                    <a:cubicBezTo>
                      <a:pt x="576" y="632"/>
                      <a:pt x="576" y="632"/>
                      <a:pt x="576" y="632"/>
                    </a:cubicBezTo>
                    <a:cubicBezTo>
                      <a:pt x="575" y="631"/>
                      <a:pt x="575" y="631"/>
                      <a:pt x="575" y="631"/>
                    </a:cubicBezTo>
                    <a:cubicBezTo>
                      <a:pt x="573" y="632"/>
                      <a:pt x="573" y="632"/>
                      <a:pt x="573" y="632"/>
                    </a:cubicBezTo>
                    <a:cubicBezTo>
                      <a:pt x="569" y="632"/>
                      <a:pt x="569" y="632"/>
                      <a:pt x="569" y="632"/>
                    </a:cubicBezTo>
                    <a:cubicBezTo>
                      <a:pt x="566" y="631"/>
                      <a:pt x="566" y="631"/>
                      <a:pt x="566" y="631"/>
                    </a:cubicBezTo>
                    <a:cubicBezTo>
                      <a:pt x="565" y="632"/>
                      <a:pt x="565" y="632"/>
                      <a:pt x="565" y="632"/>
                    </a:cubicBezTo>
                    <a:cubicBezTo>
                      <a:pt x="562" y="633"/>
                      <a:pt x="562" y="633"/>
                      <a:pt x="562" y="633"/>
                    </a:cubicBezTo>
                    <a:cubicBezTo>
                      <a:pt x="561" y="632"/>
                      <a:pt x="561" y="632"/>
                      <a:pt x="561" y="632"/>
                    </a:cubicBezTo>
                    <a:cubicBezTo>
                      <a:pt x="558" y="629"/>
                      <a:pt x="558" y="629"/>
                      <a:pt x="558" y="629"/>
                    </a:cubicBezTo>
                    <a:cubicBezTo>
                      <a:pt x="558" y="627"/>
                      <a:pt x="558" y="627"/>
                      <a:pt x="558" y="627"/>
                    </a:cubicBezTo>
                    <a:cubicBezTo>
                      <a:pt x="554" y="624"/>
                      <a:pt x="554" y="624"/>
                      <a:pt x="554" y="624"/>
                    </a:cubicBezTo>
                    <a:cubicBezTo>
                      <a:pt x="554" y="622"/>
                      <a:pt x="554" y="622"/>
                      <a:pt x="554" y="622"/>
                    </a:cubicBezTo>
                    <a:cubicBezTo>
                      <a:pt x="552" y="620"/>
                      <a:pt x="552" y="620"/>
                      <a:pt x="552" y="620"/>
                    </a:cubicBezTo>
                    <a:cubicBezTo>
                      <a:pt x="551" y="616"/>
                      <a:pt x="551" y="616"/>
                      <a:pt x="551" y="616"/>
                    </a:cubicBezTo>
                    <a:cubicBezTo>
                      <a:pt x="549" y="614"/>
                      <a:pt x="549" y="614"/>
                      <a:pt x="549" y="614"/>
                    </a:cubicBezTo>
                    <a:cubicBezTo>
                      <a:pt x="548" y="615"/>
                      <a:pt x="548" y="615"/>
                      <a:pt x="548" y="615"/>
                    </a:cubicBezTo>
                    <a:cubicBezTo>
                      <a:pt x="548" y="618"/>
                      <a:pt x="548" y="618"/>
                      <a:pt x="548" y="618"/>
                    </a:cubicBezTo>
                    <a:cubicBezTo>
                      <a:pt x="548" y="620"/>
                      <a:pt x="548" y="620"/>
                      <a:pt x="548" y="620"/>
                    </a:cubicBezTo>
                    <a:cubicBezTo>
                      <a:pt x="545" y="622"/>
                      <a:pt x="545" y="622"/>
                      <a:pt x="545" y="622"/>
                    </a:cubicBezTo>
                    <a:cubicBezTo>
                      <a:pt x="543" y="623"/>
                      <a:pt x="543" y="623"/>
                      <a:pt x="543" y="623"/>
                    </a:cubicBezTo>
                    <a:cubicBezTo>
                      <a:pt x="547" y="623"/>
                      <a:pt x="547" y="623"/>
                      <a:pt x="547" y="623"/>
                    </a:cubicBezTo>
                    <a:cubicBezTo>
                      <a:pt x="549" y="624"/>
                      <a:pt x="549" y="624"/>
                      <a:pt x="549" y="624"/>
                    </a:cubicBezTo>
                    <a:cubicBezTo>
                      <a:pt x="551" y="628"/>
                      <a:pt x="551" y="628"/>
                      <a:pt x="551" y="628"/>
                    </a:cubicBezTo>
                    <a:cubicBezTo>
                      <a:pt x="553" y="630"/>
                      <a:pt x="553" y="630"/>
                      <a:pt x="553" y="630"/>
                    </a:cubicBezTo>
                    <a:cubicBezTo>
                      <a:pt x="552" y="632"/>
                      <a:pt x="552" y="632"/>
                      <a:pt x="552" y="632"/>
                    </a:cubicBezTo>
                    <a:cubicBezTo>
                      <a:pt x="548" y="632"/>
                      <a:pt x="548" y="632"/>
                      <a:pt x="548" y="632"/>
                    </a:cubicBezTo>
                    <a:cubicBezTo>
                      <a:pt x="546" y="633"/>
                      <a:pt x="546" y="633"/>
                      <a:pt x="546" y="633"/>
                    </a:cubicBezTo>
                    <a:cubicBezTo>
                      <a:pt x="544" y="635"/>
                      <a:pt x="544" y="635"/>
                      <a:pt x="544" y="635"/>
                    </a:cubicBezTo>
                    <a:cubicBezTo>
                      <a:pt x="541" y="633"/>
                      <a:pt x="541" y="633"/>
                      <a:pt x="541" y="633"/>
                    </a:cubicBezTo>
                    <a:cubicBezTo>
                      <a:pt x="542" y="635"/>
                      <a:pt x="542" y="635"/>
                      <a:pt x="542" y="635"/>
                    </a:cubicBezTo>
                    <a:cubicBezTo>
                      <a:pt x="544" y="636"/>
                      <a:pt x="544" y="636"/>
                      <a:pt x="544" y="636"/>
                    </a:cubicBezTo>
                    <a:cubicBezTo>
                      <a:pt x="546" y="636"/>
                      <a:pt x="546" y="636"/>
                      <a:pt x="546" y="636"/>
                    </a:cubicBezTo>
                    <a:cubicBezTo>
                      <a:pt x="550" y="633"/>
                      <a:pt x="550" y="633"/>
                      <a:pt x="550" y="633"/>
                    </a:cubicBezTo>
                    <a:cubicBezTo>
                      <a:pt x="552" y="633"/>
                      <a:pt x="552" y="633"/>
                      <a:pt x="552" y="633"/>
                    </a:cubicBezTo>
                    <a:cubicBezTo>
                      <a:pt x="556" y="632"/>
                      <a:pt x="556" y="632"/>
                      <a:pt x="556" y="632"/>
                    </a:cubicBezTo>
                    <a:cubicBezTo>
                      <a:pt x="557" y="633"/>
                      <a:pt x="557" y="633"/>
                      <a:pt x="557" y="633"/>
                    </a:cubicBezTo>
                    <a:cubicBezTo>
                      <a:pt x="557" y="635"/>
                      <a:pt x="557" y="635"/>
                      <a:pt x="557" y="635"/>
                    </a:cubicBezTo>
                    <a:cubicBezTo>
                      <a:pt x="558" y="637"/>
                      <a:pt x="558" y="637"/>
                      <a:pt x="558" y="637"/>
                    </a:cubicBezTo>
                    <a:cubicBezTo>
                      <a:pt x="562" y="635"/>
                      <a:pt x="562" y="635"/>
                      <a:pt x="562" y="635"/>
                    </a:cubicBezTo>
                    <a:cubicBezTo>
                      <a:pt x="564" y="635"/>
                      <a:pt x="564" y="635"/>
                      <a:pt x="564" y="635"/>
                    </a:cubicBezTo>
                    <a:cubicBezTo>
                      <a:pt x="572" y="638"/>
                      <a:pt x="572" y="638"/>
                      <a:pt x="572" y="638"/>
                    </a:cubicBezTo>
                    <a:cubicBezTo>
                      <a:pt x="576" y="640"/>
                      <a:pt x="576" y="640"/>
                      <a:pt x="576" y="640"/>
                    </a:cubicBezTo>
                    <a:cubicBezTo>
                      <a:pt x="577" y="639"/>
                      <a:pt x="577" y="639"/>
                      <a:pt x="577" y="639"/>
                    </a:cubicBezTo>
                    <a:cubicBezTo>
                      <a:pt x="578" y="642"/>
                      <a:pt x="578" y="642"/>
                      <a:pt x="578" y="642"/>
                    </a:cubicBezTo>
                    <a:cubicBezTo>
                      <a:pt x="580" y="646"/>
                      <a:pt x="580" y="646"/>
                      <a:pt x="580" y="646"/>
                    </a:cubicBezTo>
                    <a:cubicBezTo>
                      <a:pt x="579" y="649"/>
                      <a:pt x="579" y="649"/>
                      <a:pt x="579" y="649"/>
                    </a:cubicBezTo>
                    <a:cubicBezTo>
                      <a:pt x="576" y="650"/>
                      <a:pt x="576" y="650"/>
                      <a:pt x="576" y="650"/>
                    </a:cubicBezTo>
                    <a:cubicBezTo>
                      <a:pt x="574" y="652"/>
                      <a:pt x="574" y="652"/>
                      <a:pt x="574" y="652"/>
                    </a:cubicBezTo>
                    <a:cubicBezTo>
                      <a:pt x="572" y="653"/>
                      <a:pt x="572" y="653"/>
                      <a:pt x="572" y="653"/>
                    </a:cubicBezTo>
                    <a:cubicBezTo>
                      <a:pt x="569" y="653"/>
                      <a:pt x="569" y="653"/>
                      <a:pt x="569" y="653"/>
                    </a:cubicBezTo>
                    <a:cubicBezTo>
                      <a:pt x="560" y="658"/>
                      <a:pt x="560" y="658"/>
                      <a:pt x="560" y="658"/>
                    </a:cubicBezTo>
                    <a:cubicBezTo>
                      <a:pt x="555" y="658"/>
                      <a:pt x="555" y="658"/>
                      <a:pt x="555" y="658"/>
                    </a:cubicBezTo>
                    <a:cubicBezTo>
                      <a:pt x="552" y="659"/>
                      <a:pt x="552" y="659"/>
                      <a:pt x="552" y="659"/>
                    </a:cubicBezTo>
                    <a:cubicBezTo>
                      <a:pt x="550" y="657"/>
                      <a:pt x="550" y="657"/>
                      <a:pt x="550" y="657"/>
                    </a:cubicBezTo>
                    <a:cubicBezTo>
                      <a:pt x="547" y="654"/>
                      <a:pt x="547" y="654"/>
                      <a:pt x="547" y="654"/>
                    </a:cubicBezTo>
                    <a:cubicBezTo>
                      <a:pt x="548" y="652"/>
                      <a:pt x="548" y="652"/>
                      <a:pt x="548" y="652"/>
                    </a:cubicBezTo>
                    <a:cubicBezTo>
                      <a:pt x="546" y="650"/>
                      <a:pt x="546" y="650"/>
                      <a:pt x="546" y="650"/>
                    </a:cubicBezTo>
                    <a:cubicBezTo>
                      <a:pt x="544" y="650"/>
                      <a:pt x="544" y="650"/>
                      <a:pt x="544" y="650"/>
                    </a:cubicBezTo>
                    <a:cubicBezTo>
                      <a:pt x="544" y="653"/>
                      <a:pt x="544" y="653"/>
                      <a:pt x="544" y="653"/>
                    </a:cubicBezTo>
                    <a:cubicBezTo>
                      <a:pt x="545" y="654"/>
                      <a:pt x="545" y="654"/>
                      <a:pt x="545" y="654"/>
                    </a:cubicBezTo>
                    <a:cubicBezTo>
                      <a:pt x="546" y="656"/>
                      <a:pt x="546" y="656"/>
                      <a:pt x="546" y="656"/>
                    </a:cubicBezTo>
                    <a:cubicBezTo>
                      <a:pt x="545" y="657"/>
                      <a:pt x="545" y="657"/>
                      <a:pt x="545" y="657"/>
                    </a:cubicBezTo>
                    <a:cubicBezTo>
                      <a:pt x="542" y="656"/>
                      <a:pt x="542" y="656"/>
                      <a:pt x="542" y="656"/>
                    </a:cubicBezTo>
                    <a:cubicBezTo>
                      <a:pt x="541" y="656"/>
                      <a:pt x="541" y="656"/>
                      <a:pt x="541" y="656"/>
                    </a:cubicBezTo>
                    <a:cubicBezTo>
                      <a:pt x="540" y="655"/>
                      <a:pt x="540" y="655"/>
                      <a:pt x="540" y="655"/>
                    </a:cubicBezTo>
                    <a:cubicBezTo>
                      <a:pt x="537" y="657"/>
                      <a:pt x="537" y="657"/>
                      <a:pt x="537" y="657"/>
                    </a:cubicBezTo>
                    <a:cubicBezTo>
                      <a:pt x="538" y="658"/>
                      <a:pt x="538" y="658"/>
                      <a:pt x="538" y="658"/>
                    </a:cubicBezTo>
                    <a:cubicBezTo>
                      <a:pt x="541" y="659"/>
                      <a:pt x="541" y="659"/>
                      <a:pt x="541" y="659"/>
                    </a:cubicBezTo>
                    <a:cubicBezTo>
                      <a:pt x="543" y="660"/>
                      <a:pt x="543" y="660"/>
                      <a:pt x="543" y="660"/>
                    </a:cubicBezTo>
                    <a:cubicBezTo>
                      <a:pt x="543" y="662"/>
                      <a:pt x="543" y="662"/>
                      <a:pt x="543" y="662"/>
                    </a:cubicBezTo>
                    <a:cubicBezTo>
                      <a:pt x="542" y="665"/>
                      <a:pt x="542" y="665"/>
                      <a:pt x="542" y="665"/>
                    </a:cubicBezTo>
                    <a:cubicBezTo>
                      <a:pt x="540" y="666"/>
                      <a:pt x="540" y="666"/>
                      <a:pt x="540" y="666"/>
                    </a:cubicBezTo>
                    <a:cubicBezTo>
                      <a:pt x="538" y="666"/>
                      <a:pt x="538" y="666"/>
                      <a:pt x="538" y="666"/>
                    </a:cubicBezTo>
                    <a:cubicBezTo>
                      <a:pt x="537" y="667"/>
                      <a:pt x="537" y="667"/>
                      <a:pt x="537" y="667"/>
                    </a:cubicBezTo>
                    <a:cubicBezTo>
                      <a:pt x="537" y="669"/>
                      <a:pt x="537" y="669"/>
                      <a:pt x="537" y="669"/>
                    </a:cubicBezTo>
                    <a:cubicBezTo>
                      <a:pt x="534" y="671"/>
                      <a:pt x="534" y="671"/>
                      <a:pt x="534" y="671"/>
                    </a:cubicBezTo>
                    <a:cubicBezTo>
                      <a:pt x="528" y="674"/>
                      <a:pt x="528" y="674"/>
                      <a:pt x="528" y="674"/>
                    </a:cubicBezTo>
                    <a:cubicBezTo>
                      <a:pt x="525" y="674"/>
                      <a:pt x="525" y="674"/>
                      <a:pt x="525" y="674"/>
                    </a:cubicBezTo>
                    <a:cubicBezTo>
                      <a:pt x="522" y="673"/>
                      <a:pt x="522" y="673"/>
                      <a:pt x="522" y="673"/>
                    </a:cubicBezTo>
                    <a:cubicBezTo>
                      <a:pt x="519" y="676"/>
                      <a:pt x="519" y="676"/>
                      <a:pt x="519" y="676"/>
                    </a:cubicBezTo>
                    <a:cubicBezTo>
                      <a:pt x="518" y="679"/>
                      <a:pt x="518" y="679"/>
                      <a:pt x="518" y="679"/>
                    </a:cubicBezTo>
                    <a:cubicBezTo>
                      <a:pt x="519" y="679"/>
                      <a:pt x="519" y="679"/>
                      <a:pt x="519" y="679"/>
                    </a:cubicBezTo>
                    <a:cubicBezTo>
                      <a:pt x="525" y="676"/>
                      <a:pt x="525" y="676"/>
                      <a:pt x="525" y="676"/>
                    </a:cubicBezTo>
                    <a:cubicBezTo>
                      <a:pt x="530" y="677"/>
                      <a:pt x="530" y="677"/>
                      <a:pt x="530" y="677"/>
                    </a:cubicBezTo>
                    <a:cubicBezTo>
                      <a:pt x="533" y="676"/>
                      <a:pt x="533" y="676"/>
                      <a:pt x="533" y="676"/>
                    </a:cubicBezTo>
                    <a:cubicBezTo>
                      <a:pt x="535" y="676"/>
                      <a:pt x="535" y="676"/>
                      <a:pt x="535" y="676"/>
                    </a:cubicBezTo>
                    <a:cubicBezTo>
                      <a:pt x="536" y="678"/>
                      <a:pt x="536" y="678"/>
                      <a:pt x="536" y="678"/>
                    </a:cubicBezTo>
                    <a:cubicBezTo>
                      <a:pt x="540" y="679"/>
                      <a:pt x="540" y="679"/>
                      <a:pt x="540" y="679"/>
                    </a:cubicBezTo>
                    <a:cubicBezTo>
                      <a:pt x="543" y="679"/>
                      <a:pt x="543" y="679"/>
                      <a:pt x="543" y="679"/>
                    </a:cubicBezTo>
                    <a:cubicBezTo>
                      <a:pt x="547" y="678"/>
                      <a:pt x="547" y="678"/>
                      <a:pt x="547" y="678"/>
                    </a:cubicBezTo>
                    <a:cubicBezTo>
                      <a:pt x="552" y="678"/>
                      <a:pt x="552" y="678"/>
                      <a:pt x="552" y="678"/>
                    </a:cubicBezTo>
                    <a:cubicBezTo>
                      <a:pt x="555" y="679"/>
                      <a:pt x="555" y="679"/>
                      <a:pt x="555" y="679"/>
                    </a:cubicBezTo>
                    <a:cubicBezTo>
                      <a:pt x="558" y="678"/>
                      <a:pt x="558" y="678"/>
                      <a:pt x="558" y="678"/>
                    </a:cubicBezTo>
                    <a:cubicBezTo>
                      <a:pt x="560" y="678"/>
                      <a:pt x="560" y="678"/>
                      <a:pt x="560" y="678"/>
                    </a:cubicBezTo>
                    <a:cubicBezTo>
                      <a:pt x="561" y="680"/>
                      <a:pt x="561" y="680"/>
                      <a:pt x="561" y="680"/>
                    </a:cubicBezTo>
                    <a:cubicBezTo>
                      <a:pt x="563" y="680"/>
                      <a:pt x="563" y="680"/>
                      <a:pt x="563" y="680"/>
                    </a:cubicBezTo>
                    <a:cubicBezTo>
                      <a:pt x="564" y="682"/>
                      <a:pt x="564" y="682"/>
                      <a:pt x="564" y="682"/>
                    </a:cubicBezTo>
                    <a:cubicBezTo>
                      <a:pt x="563" y="683"/>
                      <a:pt x="563" y="683"/>
                      <a:pt x="563" y="683"/>
                    </a:cubicBezTo>
                    <a:cubicBezTo>
                      <a:pt x="560" y="684"/>
                      <a:pt x="560" y="684"/>
                      <a:pt x="560" y="684"/>
                    </a:cubicBezTo>
                    <a:cubicBezTo>
                      <a:pt x="556" y="683"/>
                      <a:pt x="556" y="683"/>
                      <a:pt x="556" y="683"/>
                    </a:cubicBezTo>
                    <a:cubicBezTo>
                      <a:pt x="553" y="683"/>
                      <a:pt x="553" y="683"/>
                      <a:pt x="553" y="683"/>
                    </a:cubicBezTo>
                    <a:cubicBezTo>
                      <a:pt x="550" y="686"/>
                      <a:pt x="550" y="686"/>
                      <a:pt x="550" y="686"/>
                    </a:cubicBezTo>
                    <a:cubicBezTo>
                      <a:pt x="545" y="687"/>
                      <a:pt x="545" y="687"/>
                      <a:pt x="545" y="687"/>
                    </a:cubicBezTo>
                    <a:cubicBezTo>
                      <a:pt x="542" y="688"/>
                      <a:pt x="542" y="688"/>
                      <a:pt x="542" y="688"/>
                    </a:cubicBezTo>
                    <a:cubicBezTo>
                      <a:pt x="540" y="687"/>
                      <a:pt x="540" y="687"/>
                      <a:pt x="540" y="687"/>
                    </a:cubicBezTo>
                    <a:cubicBezTo>
                      <a:pt x="538" y="685"/>
                      <a:pt x="538" y="685"/>
                      <a:pt x="538" y="685"/>
                    </a:cubicBezTo>
                    <a:cubicBezTo>
                      <a:pt x="534" y="686"/>
                      <a:pt x="534" y="686"/>
                      <a:pt x="534" y="686"/>
                    </a:cubicBezTo>
                    <a:cubicBezTo>
                      <a:pt x="532" y="688"/>
                      <a:pt x="532" y="688"/>
                      <a:pt x="532" y="688"/>
                    </a:cubicBezTo>
                    <a:cubicBezTo>
                      <a:pt x="534" y="689"/>
                      <a:pt x="534" y="689"/>
                      <a:pt x="534" y="689"/>
                    </a:cubicBezTo>
                    <a:cubicBezTo>
                      <a:pt x="536" y="688"/>
                      <a:pt x="536" y="688"/>
                      <a:pt x="536" y="688"/>
                    </a:cubicBezTo>
                    <a:cubicBezTo>
                      <a:pt x="538" y="690"/>
                      <a:pt x="538" y="690"/>
                      <a:pt x="538" y="690"/>
                    </a:cubicBezTo>
                    <a:cubicBezTo>
                      <a:pt x="545" y="690"/>
                      <a:pt x="545" y="690"/>
                      <a:pt x="545" y="690"/>
                    </a:cubicBezTo>
                    <a:cubicBezTo>
                      <a:pt x="546" y="691"/>
                      <a:pt x="546" y="691"/>
                      <a:pt x="546" y="691"/>
                    </a:cubicBezTo>
                    <a:cubicBezTo>
                      <a:pt x="548" y="693"/>
                      <a:pt x="548" y="693"/>
                      <a:pt x="548" y="693"/>
                    </a:cubicBezTo>
                    <a:cubicBezTo>
                      <a:pt x="549" y="691"/>
                      <a:pt x="549" y="691"/>
                      <a:pt x="549" y="691"/>
                    </a:cubicBezTo>
                    <a:cubicBezTo>
                      <a:pt x="554" y="686"/>
                      <a:pt x="554" y="686"/>
                      <a:pt x="554" y="686"/>
                    </a:cubicBezTo>
                    <a:cubicBezTo>
                      <a:pt x="554" y="686"/>
                      <a:pt x="556" y="687"/>
                      <a:pt x="557" y="687"/>
                    </a:cubicBezTo>
                    <a:cubicBezTo>
                      <a:pt x="559" y="686"/>
                      <a:pt x="559" y="686"/>
                      <a:pt x="559" y="686"/>
                    </a:cubicBezTo>
                    <a:cubicBezTo>
                      <a:pt x="561" y="686"/>
                      <a:pt x="561" y="686"/>
                      <a:pt x="561" y="686"/>
                    </a:cubicBezTo>
                    <a:cubicBezTo>
                      <a:pt x="563" y="688"/>
                      <a:pt x="563" y="688"/>
                      <a:pt x="563" y="688"/>
                    </a:cubicBezTo>
                    <a:cubicBezTo>
                      <a:pt x="565" y="687"/>
                      <a:pt x="565" y="687"/>
                      <a:pt x="565" y="687"/>
                    </a:cubicBezTo>
                    <a:cubicBezTo>
                      <a:pt x="570" y="687"/>
                      <a:pt x="570" y="687"/>
                      <a:pt x="570" y="687"/>
                    </a:cubicBezTo>
                    <a:cubicBezTo>
                      <a:pt x="573" y="685"/>
                      <a:pt x="573" y="685"/>
                      <a:pt x="573" y="685"/>
                    </a:cubicBezTo>
                    <a:cubicBezTo>
                      <a:pt x="578" y="682"/>
                      <a:pt x="578" y="682"/>
                      <a:pt x="578" y="682"/>
                    </a:cubicBezTo>
                    <a:cubicBezTo>
                      <a:pt x="580" y="680"/>
                      <a:pt x="580" y="680"/>
                      <a:pt x="580" y="680"/>
                    </a:cubicBezTo>
                    <a:cubicBezTo>
                      <a:pt x="580" y="681"/>
                      <a:pt x="580" y="681"/>
                      <a:pt x="580" y="681"/>
                    </a:cubicBezTo>
                    <a:cubicBezTo>
                      <a:pt x="580" y="683"/>
                      <a:pt x="580" y="683"/>
                      <a:pt x="580" y="683"/>
                    </a:cubicBezTo>
                    <a:cubicBezTo>
                      <a:pt x="581" y="683"/>
                      <a:pt x="581" y="683"/>
                      <a:pt x="581" y="683"/>
                    </a:cubicBezTo>
                    <a:cubicBezTo>
                      <a:pt x="583" y="681"/>
                      <a:pt x="583" y="681"/>
                      <a:pt x="583" y="681"/>
                    </a:cubicBezTo>
                    <a:cubicBezTo>
                      <a:pt x="584" y="681"/>
                      <a:pt x="584" y="681"/>
                      <a:pt x="584" y="681"/>
                    </a:cubicBezTo>
                    <a:cubicBezTo>
                      <a:pt x="585" y="683"/>
                      <a:pt x="585" y="683"/>
                      <a:pt x="585" y="683"/>
                    </a:cubicBezTo>
                    <a:cubicBezTo>
                      <a:pt x="590" y="687"/>
                      <a:pt x="590" y="687"/>
                      <a:pt x="590" y="687"/>
                    </a:cubicBezTo>
                    <a:cubicBezTo>
                      <a:pt x="596" y="688"/>
                      <a:pt x="596" y="688"/>
                      <a:pt x="596" y="688"/>
                    </a:cubicBezTo>
                    <a:cubicBezTo>
                      <a:pt x="600" y="690"/>
                      <a:pt x="600" y="690"/>
                      <a:pt x="600" y="690"/>
                    </a:cubicBezTo>
                    <a:cubicBezTo>
                      <a:pt x="605" y="691"/>
                      <a:pt x="605" y="691"/>
                      <a:pt x="605" y="691"/>
                    </a:cubicBezTo>
                    <a:cubicBezTo>
                      <a:pt x="608" y="691"/>
                      <a:pt x="608" y="691"/>
                      <a:pt x="608" y="691"/>
                    </a:cubicBezTo>
                    <a:cubicBezTo>
                      <a:pt x="613" y="691"/>
                      <a:pt x="613" y="691"/>
                      <a:pt x="613" y="691"/>
                    </a:cubicBezTo>
                    <a:cubicBezTo>
                      <a:pt x="614" y="692"/>
                      <a:pt x="614" y="692"/>
                      <a:pt x="614" y="692"/>
                    </a:cubicBezTo>
                    <a:cubicBezTo>
                      <a:pt x="619" y="692"/>
                      <a:pt x="619" y="692"/>
                      <a:pt x="619" y="692"/>
                    </a:cubicBezTo>
                    <a:cubicBezTo>
                      <a:pt x="623" y="690"/>
                      <a:pt x="623" y="690"/>
                      <a:pt x="623" y="690"/>
                    </a:cubicBezTo>
                    <a:cubicBezTo>
                      <a:pt x="623" y="691"/>
                      <a:pt x="623" y="691"/>
                      <a:pt x="623" y="691"/>
                    </a:cubicBezTo>
                    <a:cubicBezTo>
                      <a:pt x="622" y="695"/>
                      <a:pt x="622" y="695"/>
                      <a:pt x="622" y="695"/>
                    </a:cubicBezTo>
                    <a:cubicBezTo>
                      <a:pt x="618" y="697"/>
                      <a:pt x="618" y="697"/>
                      <a:pt x="618" y="697"/>
                    </a:cubicBezTo>
                    <a:cubicBezTo>
                      <a:pt x="614" y="697"/>
                      <a:pt x="614" y="697"/>
                      <a:pt x="614" y="697"/>
                    </a:cubicBezTo>
                    <a:cubicBezTo>
                      <a:pt x="612" y="697"/>
                      <a:pt x="612" y="697"/>
                      <a:pt x="612" y="697"/>
                    </a:cubicBezTo>
                    <a:cubicBezTo>
                      <a:pt x="609" y="699"/>
                      <a:pt x="609" y="699"/>
                      <a:pt x="609" y="699"/>
                    </a:cubicBezTo>
                    <a:cubicBezTo>
                      <a:pt x="609" y="700"/>
                      <a:pt x="609" y="700"/>
                      <a:pt x="609" y="700"/>
                    </a:cubicBezTo>
                    <a:cubicBezTo>
                      <a:pt x="611" y="702"/>
                      <a:pt x="611" y="702"/>
                      <a:pt x="611" y="702"/>
                    </a:cubicBezTo>
                    <a:cubicBezTo>
                      <a:pt x="612" y="703"/>
                      <a:pt x="612" y="703"/>
                      <a:pt x="612" y="703"/>
                    </a:cubicBezTo>
                    <a:cubicBezTo>
                      <a:pt x="611" y="704"/>
                      <a:pt x="611" y="704"/>
                      <a:pt x="611" y="704"/>
                    </a:cubicBezTo>
                    <a:cubicBezTo>
                      <a:pt x="609" y="704"/>
                      <a:pt x="609" y="704"/>
                      <a:pt x="609" y="704"/>
                    </a:cubicBezTo>
                    <a:cubicBezTo>
                      <a:pt x="607" y="702"/>
                      <a:pt x="607" y="702"/>
                      <a:pt x="607" y="702"/>
                    </a:cubicBezTo>
                    <a:cubicBezTo>
                      <a:pt x="606" y="702"/>
                      <a:pt x="606" y="702"/>
                      <a:pt x="606" y="702"/>
                    </a:cubicBezTo>
                    <a:cubicBezTo>
                      <a:pt x="605" y="704"/>
                      <a:pt x="605" y="704"/>
                      <a:pt x="605" y="704"/>
                    </a:cubicBezTo>
                    <a:cubicBezTo>
                      <a:pt x="604" y="705"/>
                      <a:pt x="604" y="705"/>
                      <a:pt x="604" y="705"/>
                    </a:cubicBezTo>
                    <a:cubicBezTo>
                      <a:pt x="603" y="704"/>
                      <a:pt x="603" y="704"/>
                      <a:pt x="603" y="704"/>
                    </a:cubicBezTo>
                    <a:cubicBezTo>
                      <a:pt x="599" y="704"/>
                      <a:pt x="599" y="704"/>
                      <a:pt x="599" y="704"/>
                    </a:cubicBezTo>
                    <a:cubicBezTo>
                      <a:pt x="598" y="705"/>
                      <a:pt x="598" y="705"/>
                      <a:pt x="598" y="705"/>
                    </a:cubicBezTo>
                    <a:cubicBezTo>
                      <a:pt x="599" y="707"/>
                      <a:pt x="599" y="707"/>
                      <a:pt x="599" y="707"/>
                    </a:cubicBezTo>
                    <a:cubicBezTo>
                      <a:pt x="600" y="708"/>
                      <a:pt x="600" y="708"/>
                      <a:pt x="600" y="708"/>
                    </a:cubicBezTo>
                    <a:cubicBezTo>
                      <a:pt x="600" y="710"/>
                      <a:pt x="600" y="710"/>
                      <a:pt x="600" y="710"/>
                    </a:cubicBezTo>
                    <a:cubicBezTo>
                      <a:pt x="598" y="711"/>
                      <a:pt x="598" y="711"/>
                      <a:pt x="598" y="711"/>
                    </a:cubicBezTo>
                    <a:cubicBezTo>
                      <a:pt x="596" y="712"/>
                      <a:pt x="596" y="712"/>
                      <a:pt x="596" y="712"/>
                    </a:cubicBezTo>
                    <a:cubicBezTo>
                      <a:pt x="594" y="711"/>
                      <a:pt x="594" y="711"/>
                      <a:pt x="594" y="711"/>
                    </a:cubicBezTo>
                    <a:cubicBezTo>
                      <a:pt x="593" y="710"/>
                      <a:pt x="593" y="710"/>
                      <a:pt x="593" y="710"/>
                    </a:cubicBezTo>
                    <a:cubicBezTo>
                      <a:pt x="592" y="711"/>
                      <a:pt x="592" y="711"/>
                      <a:pt x="592" y="711"/>
                    </a:cubicBezTo>
                    <a:cubicBezTo>
                      <a:pt x="592" y="712"/>
                      <a:pt x="592" y="712"/>
                      <a:pt x="592" y="712"/>
                    </a:cubicBezTo>
                    <a:cubicBezTo>
                      <a:pt x="592" y="715"/>
                      <a:pt x="592" y="715"/>
                      <a:pt x="592" y="715"/>
                    </a:cubicBezTo>
                    <a:cubicBezTo>
                      <a:pt x="590" y="715"/>
                      <a:pt x="590" y="715"/>
                      <a:pt x="590" y="715"/>
                    </a:cubicBezTo>
                    <a:cubicBezTo>
                      <a:pt x="589" y="716"/>
                      <a:pt x="589" y="716"/>
                      <a:pt x="589" y="716"/>
                    </a:cubicBezTo>
                    <a:cubicBezTo>
                      <a:pt x="587" y="717"/>
                      <a:pt x="587" y="717"/>
                      <a:pt x="587" y="717"/>
                    </a:cubicBezTo>
                    <a:cubicBezTo>
                      <a:pt x="584" y="716"/>
                      <a:pt x="584" y="716"/>
                      <a:pt x="584" y="716"/>
                    </a:cubicBezTo>
                    <a:cubicBezTo>
                      <a:pt x="584" y="715"/>
                      <a:pt x="584" y="715"/>
                      <a:pt x="584" y="715"/>
                    </a:cubicBezTo>
                    <a:cubicBezTo>
                      <a:pt x="582" y="715"/>
                      <a:pt x="582" y="715"/>
                      <a:pt x="582" y="715"/>
                    </a:cubicBezTo>
                    <a:cubicBezTo>
                      <a:pt x="582" y="717"/>
                      <a:pt x="582" y="717"/>
                      <a:pt x="582" y="717"/>
                    </a:cubicBezTo>
                    <a:cubicBezTo>
                      <a:pt x="583" y="720"/>
                      <a:pt x="583" y="720"/>
                      <a:pt x="583" y="720"/>
                    </a:cubicBezTo>
                    <a:cubicBezTo>
                      <a:pt x="581" y="723"/>
                      <a:pt x="581" y="723"/>
                      <a:pt x="581" y="723"/>
                    </a:cubicBezTo>
                    <a:cubicBezTo>
                      <a:pt x="579" y="722"/>
                      <a:pt x="579" y="722"/>
                      <a:pt x="579" y="722"/>
                    </a:cubicBezTo>
                    <a:cubicBezTo>
                      <a:pt x="578" y="720"/>
                      <a:pt x="578" y="720"/>
                      <a:pt x="578" y="720"/>
                    </a:cubicBezTo>
                    <a:cubicBezTo>
                      <a:pt x="576" y="721"/>
                      <a:pt x="576" y="721"/>
                      <a:pt x="576" y="721"/>
                    </a:cubicBezTo>
                    <a:cubicBezTo>
                      <a:pt x="575" y="722"/>
                      <a:pt x="575" y="722"/>
                      <a:pt x="575" y="722"/>
                    </a:cubicBezTo>
                    <a:cubicBezTo>
                      <a:pt x="577" y="724"/>
                      <a:pt x="577" y="724"/>
                      <a:pt x="577" y="724"/>
                    </a:cubicBezTo>
                    <a:cubicBezTo>
                      <a:pt x="577" y="726"/>
                      <a:pt x="577" y="726"/>
                      <a:pt x="577" y="726"/>
                    </a:cubicBezTo>
                    <a:cubicBezTo>
                      <a:pt x="573" y="728"/>
                      <a:pt x="573" y="728"/>
                      <a:pt x="573" y="728"/>
                    </a:cubicBezTo>
                    <a:cubicBezTo>
                      <a:pt x="572" y="728"/>
                      <a:pt x="572" y="728"/>
                      <a:pt x="572" y="728"/>
                    </a:cubicBezTo>
                    <a:cubicBezTo>
                      <a:pt x="571" y="726"/>
                      <a:pt x="571" y="726"/>
                      <a:pt x="571" y="726"/>
                    </a:cubicBezTo>
                    <a:cubicBezTo>
                      <a:pt x="568" y="725"/>
                      <a:pt x="568" y="725"/>
                      <a:pt x="568" y="725"/>
                    </a:cubicBezTo>
                    <a:cubicBezTo>
                      <a:pt x="567" y="725"/>
                      <a:pt x="567" y="725"/>
                      <a:pt x="567" y="725"/>
                    </a:cubicBezTo>
                    <a:cubicBezTo>
                      <a:pt x="567" y="727"/>
                      <a:pt x="567" y="727"/>
                      <a:pt x="567" y="727"/>
                    </a:cubicBezTo>
                    <a:cubicBezTo>
                      <a:pt x="568" y="730"/>
                      <a:pt x="568" y="730"/>
                      <a:pt x="568" y="730"/>
                    </a:cubicBezTo>
                    <a:cubicBezTo>
                      <a:pt x="568" y="731"/>
                      <a:pt x="568" y="731"/>
                      <a:pt x="568" y="731"/>
                    </a:cubicBezTo>
                    <a:cubicBezTo>
                      <a:pt x="566" y="732"/>
                      <a:pt x="566" y="732"/>
                      <a:pt x="566" y="732"/>
                    </a:cubicBezTo>
                    <a:cubicBezTo>
                      <a:pt x="563" y="733"/>
                      <a:pt x="563" y="733"/>
                      <a:pt x="563" y="733"/>
                    </a:cubicBezTo>
                    <a:cubicBezTo>
                      <a:pt x="562" y="735"/>
                      <a:pt x="562" y="735"/>
                      <a:pt x="562" y="735"/>
                    </a:cubicBezTo>
                    <a:cubicBezTo>
                      <a:pt x="558" y="735"/>
                      <a:pt x="558" y="735"/>
                      <a:pt x="558" y="735"/>
                    </a:cubicBezTo>
                    <a:cubicBezTo>
                      <a:pt x="556" y="737"/>
                      <a:pt x="556" y="737"/>
                      <a:pt x="556" y="737"/>
                    </a:cubicBezTo>
                    <a:cubicBezTo>
                      <a:pt x="555" y="739"/>
                      <a:pt x="555" y="739"/>
                      <a:pt x="555" y="739"/>
                    </a:cubicBezTo>
                    <a:cubicBezTo>
                      <a:pt x="553" y="739"/>
                      <a:pt x="553" y="739"/>
                      <a:pt x="553" y="739"/>
                    </a:cubicBezTo>
                    <a:cubicBezTo>
                      <a:pt x="552" y="737"/>
                      <a:pt x="552" y="737"/>
                      <a:pt x="552" y="737"/>
                    </a:cubicBezTo>
                    <a:cubicBezTo>
                      <a:pt x="550" y="737"/>
                      <a:pt x="550" y="737"/>
                      <a:pt x="550" y="737"/>
                    </a:cubicBezTo>
                    <a:cubicBezTo>
                      <a:pt x="547" y="739"/>
                      <a:pt x="547" y="739"/>
                      <a:pt x="547" y="739"/>
                    </a:cubicBezTo>
                    <a:cubicBezTo>
                      <a:pt x="544" y="739"/>
                      <a:pt x="544" y="739"/>
                      <a:pt x="544" y="739"/>
                    </a:cubicBezTo>
                    <a:cubicBezTo>
                      <a:pt x="542" y="740"/>
                      <a:pt x="542" y="740"/>
                      <a:pt x="542" y="740"/>
                    </a:cubicBezTo>
                    <a:cubicBezTo>
                      <a:pt x="541" y="742"/>
                      <a:pt x="541" y="742"/>
                      <a:pt x="541" y="742"/>
                    </a:cubicBezTo>
                    <a:cubicBezTo>
                      <a:pt x="539" y="743"/>
                      <a:pt x="539" y="743"/>
                      <a:pt x="539" y="743"/>
                    </a:cubicBezTo>
                    <a:cubicBezTo>
                      <a:pt x="537" y="742"/>
                      <a:pt x="537" y="742"/>
                      <a:pt x="537" y="742"/>
                    </a:cubicBezTo>
                    <a:cubicBezTo>
                      <a:pt x="536" y="740"/>
                      <a:pt x="536" y="740"/>
                      <a:pt x="536" y="740"/>
                    </a:cubicBezTo>
                    <a:cubicBezTo>
                      <a:pt x="535" y="740"/>
                      <a:pt x="535" y="740"/>
                      <a:pt x="535" y="740"/>
                    </a:cubicBezTo>
                    <a:cubicBezTo>
                      <a:pt x="533" y="744"/>
                      <a:pt x="533" y="744"/>
                      <a:pt x="533" y="744"/>
                    </a:cubicBezTo>
                    <a:cubicBezTo>
                      <a:pt x="532" y="743"/>
                      <a:pt x="532" y="743"/>
                      <a:pt x="532" y="743"/>
                    </a:cubicBezTo>
                    <a:cubicBezTo>
                      <a:pt x="530" y="741"/>
                      <a:pt x="530" y="741"/>
                      <a:pt x="530" y="741"/>
                    </a:cubicBezTo>
                    <a:cubicBezTo>
                      <a:pt x="529" y="741"/>
                      <a:pt x="529" y="741"/>
                      <a:pt x="529" y="741"/>
                    </a:cubicBezTo>
                    <a:cubicBezTo>
                      <a:pt x="528" y="743"/>
                      <a:pt x="528" y="743"/>
                      <a:pt x="528" y="743"/>
                    </a:cubicBezTo>
                    <a:cubicBezTo>
                      <a:pt x="526" y="745"/>
                      <a:pt x="526" y="745"/>
                      <a:pt x="526" y="745"/>
                    </a:cubicBezTo>
                    <a:cubicBezTo>
                      <a:pt x="524" y="744"/>
                      <a:pt x="524" y="744"/>
                      <a:pt x="524" y="744"/>
                    </a:cubicBezTo>
                    <a:cubicBezTo>
                      <a:pt x="524" y="742"/>
                      <a:pt x="524" y="742"/>
                      <a:pt x="524" y="742"/>
                    </a:cubicBezTo>
                    <a:cubicBezTo>
                      <a:pt x="523" y="742"/>
                      <a:pt x="523" y="742"/>
                      <a:pt x="523" y="742"/>
                    </a:cubicBezTo>
                    <a:cubicBezTo>
                      <a:pt x="523" y="744"/>
                      <a:pt x="523" y="744"/>
                      <a:pt x="523" y="744"/>
                    </a:cubicBezTo>
                    <a:cubicBezTo>
                      <a:pt x="522" y="745"/>
                      <a:pt x="522" y="745"/>
                      <a:pt x="522" y="745"/>
                    </a:cubicBezTo>
                    <a:cubicBezTo>
                      <a:pt x="519" y="745"/>
                      <a:pt x="519" y="745"/>
                      <a:pt x="519" y="745"/>
                    </a:cubicBezTo>
                    <a:cubicBezTo>
                      <a:pt x="517" y="745"/>
                      <a:pt x="517" y="745"/>
                      <a:pt x="517" y="745"/>
                    </a:cubicBezTo>
                    <a:cubicBezTo>
                      <a:pt x="517" y="747"/>
                      <a:pt x="517" y="747"/>
                      <a:pt x="517" y="747"/>
                    </a:cubicBezTo>
                    <a:cubicBezTo>
                      <a:pt x="516" y="749"/>
                      <a:pt x="516" y="749"/>
                      <a:pt x="516" y="749"/>
                    </a:cubicBezTo>
                    <a:cubicBezTo>
                      <a:pt x="514" y="748"/>
                      <a:pt x="514" y="748"/>
                      <a:pt x="514" y="748"/>
                    </a:cubicBezTo>
                    <a:cubicBezTo>
                      <a:pt x="513" y="748"/>
                      <a:pt x="513" y="748"/>
                      <a:pt x="513" y="748"/>
                    </a:cubicBezTo>
                    <a:cubicBezTo>
                      <a:pt x="511" y="748"/>
                      <a:pt x="511" y="748"/>
                      <a:pt x="511" y="748"/>
                    </a:cubicBezTo>
                    <a:cubicBezTo>
                      <a:pt x="511" y="750"/>
                      <a:pt x="511" y="750"/>
                      <a:pt x="511" y="750"/>
                    </a:cubicBezTo>
                    <a:cubicBezTo>
                      <a:pt x="510" y="750"/>
                      <a:pt x="510" y="750"/>
                      <a:pt x="510" y="750"/>
                    </a:cubicBezTo>
                    <a:cubicBezTo>
                      <a:pt x="509" y="749"/>
                      <a:pt x="509" y="749"/>
                      <a:pt x="509" y="749"/>
                    </a:cubicBezTo>
                    <a:cubicBezTo>
                      <a:pt x="508" y="749"/>
                      <a:pt x="508" y="749"/>
                      <a:pt x="508" y="749"/>
                    </a:cubicBezTo>
                    <a:cubicBezTo>
                      <a:pt x="507" y="752"/>
                      <a:pt x="507" y="752"/>
                      <a:pt x="507" y="752"/>
                    </a:cubicBezTo>
                    <a:cubicBezTo>
                      <a:pt x="505" y="753"/>
                      <a:pt x="505" y="753"/>
                      <a:pt x="505" y="753"/>
                    </a:cubicBezTo>
                    <a:cubicBezTo>
                      <a:pt x="504" y="754"/>
                      <a:pt x="504" y="754"/>
                      <a:pt x="504" y="754"/>
                    </a:cubicBezTo>
                    <a:cubicBezTo>
                      <a:pt x="502" y="754"/>
                      <a:pt x="502" y="754"/>
                      <a:pt x="502" y="754"/>
                    </a:cubicBezTo>
                    <a:cubicBezTo>
                      <a:pt x="501" y="753"/>
                      <a:pt x="501" y="753"/>
                      <a:pt x="501" y="753"/>
                    </a:cubicBezTo>
                    <a:cubicBezTo>
                      <a:pt x="497" y="748"/>
                      <a:pt x="497" y="748"/>
                      <a:pt x="497" y="748"/>
                    </a:cubicBezTo>
                    <a:cubicBezTo>
                      <a:pt x="496" y="748"/>
                      <a:pt x="496" y="748"/>
                      <a:pt x="496" y="748"/>
                    </a:cubicBezTo>
                    <a:cubicBezTo>
                      <a:pt x="494" y="749"/>
                      <a:pt x="494" y="749"/>
                      <a:pt x="494" y="749"/>
                    </a:cubicBezTo>
                    <a:cubicBezTo>
                      <a:pt x="494" y="750"/>
                      <a:pt x="494" y="750"/>
                      <a:pt x="494" y="750"/>
                    </a:cubicBezTo>
                    <a:cubicBezTo>
                      <a:pt x="492" y="750"/>
                      <a:pt x="492" y="750"/>
                      <a:pt x="492" y="750"/>
                    </a:cubicBezTo>
                    <a:cubicBezTo>
                      <a:pt x="492" y="752"/>
                      <a:pt x="492" y="752"/>
                      <a:pt x="492" y="752"/>
                    </a:cubicBezTo>
                    <a:cubicBezTo>
                      <a:pt x="489" y="754"/>
                      <a:pt x="489" y="754"/>
                      <a:pt x="489" y="754"/>
                    </a:cubicBezTo>
                    <a:cubicBezTo>
                      <a:pt x="487" y="754"/>
                      <a:pt x="487" y="754"/>
                      <a:pt x="487" y="754"/>
                    </a:cubicBezTo>
                    <a:cubicBezTo>
                      <a:pt x="486" y="753"/>
                      <a:pt x="486" y="753"/>
                      <a:pt x="486" y="753"/>
                    </a:cubicBezTo>
                    <a:cubicBezTo>
                      <a:pt x="485" y="755"/>
                      <a:pt x="485" y="755"/>
                      <a:pt x="485" y="755"/>
                    </a:cubicBezTo>
                    <a:cubicBezTo>
                      <a:pt x="482" y="756"/>
                      <a:pt x="482" y="756"/>
                      <a:pt x="482" y="756"/>
                    </a:cubicBezTo>
                    <a:cubicBezTo>
                      <a:pt x="479" y="755"/>
                      <a:pt x="479" y="755"/>
                      <a:pt x="479" y="755"/>
                    </a:cubicBezTo>
                    <a:cubicBezTo>
                      <a:pt x="477" y="753"/>
                      <a:pt x="477" y="753"/>
                      <a:pt x="477" y="753"/>
                    </a:cubicBezTo>
                    <a:cubicBezTo>
                      <a:pt x="475" y="753"/>
                      <a:pt x="475" y="753"/>
                      <a:pt x="475" y="753"/>
                    </a:cubicBezTo>
                    <a:cubicBezTo>
                      <a:pt x="474" y="755"/>
                      <a:pt x="474" y="755"/>
                      <a:pt x="474" y="755"/>
                    </a:cubicBezTo>
                    <a:cubicBezTo>
                      <a:pt x="474" y="756"/>
                      <a:pt x="474" y="756"/>
                      <a:pt x="474" y="756"/>
                    </a:cubicBezTo>
                    <a:cubicBezTo>
                      <a:pt x="472" y="756"/>
                      <a:pt x="472" y="756"/>
                      <a:pt x="472" y="756"/>
                    </a:cubicBezTo>
                    <a:cubicBezTo>
                      <a:pt x="469" y="754"/>
                      <a:pt x="469" y="754"/>
                      <a:pt x="469" y="754"/>
                    </a:cubicBezTo>
                    <a:cubicBezTo>
                      <a:pt x="468" y="751"/>
                      <a:pt x="468" y="751"/>
                      <a:pt x="468" y="751"/>
                    </a:cubicBezTo>
                    <a:cubicBezTo>
                      <a:pt x="469" y="749"/>
                      <a:pt x="469" y="749"/>
                      <a:pt x="469" y="749"/>
                    </a:cubicBezTo>
                    <a:cubicBezTo>
                      <a:pt x="467" y="747"/>
                      <a:pt x="467" y="747"/>
                      <a:pt x="467" y="747"/>
                    </a:cubicBezTo>
                    <a:cubicBezTo>
                      <a:pt x="465" y="747"/>
                      <a:pt x="465" y="747"/>
                      <a:pt x="465" y="747"/>
                    </a:cubicBezTo>
                    <a:cubicBezTo>
                      <a:pt x="463" y="743"/>
                      <a:pt x="463" y="743"/>
                      <a:pt x="463" y="743"/>
                    </a:cubicBezTo>
                    <a:cubicBezTo>
                      <a:pt x="463" y="741"/>
                      <a:pt x="463" y="741"/>
                      <a:pt x="463" y="741"/>
                    </a:cubicBezTo>
                    <a:cubicBezTo>
                      <a:pt x="462" y="738"/>
                      <a:pt x="462" y="738"/>
                      <a:pt x="462" y="738"/>
                    </a:cubicBezTo>
                    <a:cubicBezTo>
                      <a:pt x="461" y="735"/>
                      <a:pt x="461" y="735"/>
                      <a:pt x="461" y="735"/>
                    </a:cubicBezTo>
                    <a:cubicBezTo>
                      <a:pt x="459" y="734"/>
                      <a:pt x="459" y="734"/>
                      <a:pt x="459" y="734"/>
                    </a:cubicBezTo>
                    <a:cubicBezTo>
                      <a:pt x="458" y="734"/>
                      <a:pt x="458" y="734"/>
                      <a:pt x="458" y="734"/>
                    </a:cubicBezTo>
                    <a:cubicBezTo>
                      <a:pt x="457" y="737"/>
                      <a:pt x="457" y="737"/>
                      <a:pt x="457" y="737"/>
                    </a:cubicBezTo>
                    <a:cubicBezTo>
                      <a:pt x="458" y="738"/>
                      <a:pt x="458" y="738"/>
                      <a:pt x="458" y="738"/>
                    </a:cubicBezTo>
                    <a:cubicBezTo>
                      <a:pt x="459" y="741"/>
                      <a:pt x="459" y="741"/>
                      <a:pt x="459" y="741"/>
                    </a:cubicBezTo>
                    <a:cubicBezTo>
                      <a:pt x="461" y="743"/>
                      <a:pt x="461" y="743"/>
                      <a:pt x="461" y="743"/>
                    </a:cubicBezTo>
                    <a:cubicBezTo>
                      <a:pt x="462" y="745"/>
                      <a:pt x="462" y="745"/>
                      <a:pt x="462" y="745"/>
                    </a:cubicBezTo>
                    <a:cubicBezTo>
                      <a:pt x="462" y="749"/>
                      <a:pt x="462" y="749"/>
                      <a:pt x="462" y="749"/>
                    </a:cubicBezTo>
                    <a:cubicBezTo>
                      <a:pt x="461" y="751"/>
                      <a:pt x="461" y="751"/>
                      <a:pt x="461" y="751"/>
                    </a:cubicBezTo>
                    <a:cubicBezTo>
                      <a:pt x="462" y="752"/>
                      <a:pt x="462" y="752"/>
                      <a:pt x="462" y="752"/>
                    </a:cubicBezTo>
                    <a:cubicBezTo>
                      <a:pt x="464" y="752"/>
                      <a:pt x="464" y="752"/>
                      <a:pt x="464" y="752"/>
                    </a:cubicBezTo>
                    <a:cubicBezTo>
                      <a:pt x="465" y="756"/>
                      <a:pt x="465" y="756"/>
                      <a:pt x="465" y="756"/>
                    </a:cubicBezTo>
                    <a:cubicBezTo>
                      <a:pt x="464" y="760"/>
                      <a:pt x="464" y="760"/>
                      <a:pt x="464" y="760"/>
                    </a:cubicBezTo>
                    <a:cubicBezTo>
                      <a:pt x="462" y="763"/>
                      <a:pt x="462" y="763"/>
                      <a:pt x="462" y="763"/>
                    </a:cubicBezTo>
                    <a:cubicBezTo>
                      <a:pt x="460" y="764"/>
                      <a:pt x="460" y="764"/>
                      <a:pt x="460" y="764"/>
                    </a:cubicBezTo>
                    <a:cubicBezTo>
                      <a:pt x="458" y="762"/>
                      <a:pt x="458" y="762"/>
                      <a:pt x="458" y="762"/>
                    </a:cubicBezTo>
                    <a:cubicBezTo>
                      <a:pt x="457" y="762"/>
                      <a:pt x="457" y="762"/>
                      <a:pt x="457" y="762"/>
                    </a:cubicBezTo>
                    <a:cubicBezTo>
                      <a:pt x="454" y="764"/>
                      <a:pt x="454" y="764"/>
                      <a:pt x="454" y="764"/>
                    </a:cubicBezTo>
                    <a:cubicBezTo>
                      <a:pt x="451" y="767"/>
                      <a:pt x="451" y="767"/>
                      <a:pt x="451" y="767"/>
                    </a:cubicBezTo>
                    <a:cubicBezTo>
                      <a:pt x="450" y="768"/>
                      <a:pt x="450" y="768"/>
                      <a:pt x="450" y="768"/>
                    </a:cubicBezTo>
                    <a:cubicBezTo>
                      <a:pt x="447" y="768"/>
                      <a:pt x="447" y="768"/>
                      <a:pt x="447" y="768"/>
                    </a:cubicBezTo>
                    <a:cubicBezTo>
                      <a:pt x="447" y="769"/>
                      <a:pt x="447" y="769"/>
                      <a:pt x="447" y="769"/>
                    </a:cubicBezTo>
                    <a:cubicBezTo>
                      <a:pt x="447" y="770"/>
                      <a:pt x="447" y="770"/>
                      <a:pt x="447" y="770"/>
                    </a:cubicBezTo>
                    <a:cubicBezTo>
                      <a:pt x="447" y="772"/>
                      <a:pt x="447" y="772"/>
                      <a:pt x="447" y="772"/>
                    </a:cubicBezTo>
                    <a:cubicBezTo>
                      <a:pt x="445" y="773"/>
                      <a:pt x="445" y="773"/>
                      <a:pt x="445" y="773"/>
                    </a:cubicBezTo>
                    <a:cubicBezTo>
                      <a:pt x="442" y="774"/>
                      <a:pt x="442" y="774"/>
                      <a:pt x="442" y="774"/>
                    </a:cubicBezTo>
                    <a:cubicBezTo>
                      <a:pt x="442" y="776"/>
                      <a:pt x="442" y="776"/>
                      <a:pt x="442" y="776"/>
                    </a:cubicBezTo>
                    <a:cubicBezTo>
                      <a:pt x="442" y="778"/>
                      <a:pt x="442" y="778"/>
                      <a:pt x="442" y="778"/>
                    </a:cubicBezTo>
                    <a:cubicBezTo>
                      <a:pt x="441" y="780"/>
                      <a:pt x="441" y="780"/>
                      <a:pt x="441" y="780"/>
                    </a:cubicBezTo>
                    <a:cubicBezTo>
                      <a:pt x="439" y="778"/>
                      <a:pt x="439" y="778"/>
                      <a:pt x="439" y="778"/>
                    </a:cubicBezTo>
                    <a:cubicBezTo>
                      <a:pt x="438" y="777"/>
                      <a:pt x="438" y="777"/>
                      <a:pt x="438" y="777"/>
                    </a:cubicBezTo>
                    <a:cubicBezTo>
                      <a:pt x="439" y="779"/>
                      <a:pt x="439" y="779"/>
                      <a:pt x="439" y="779"/>
                    </a:cubicBezTo>
                    <a:cubicBezTo>
                      <a:pt x="440" y="780"/>
                      <a:pt x="440" y="780"/>
                      <a:pt x="440" y="780"/>
                    </a:cubicBezTo>
                    <a:cubicBezTo>
                      <a:pt x="439" y="783"/>
                      <a:pt x="439" y="783"/>
                      <a:pt x="439" y="783"/>
                    </a:cubicBezTo>
                    <a:cubicBezTo>
                      <a:pt x="438" y="783"/>
                      <a:pt x="438" y="783"/>
                      <a:pt x="438" y="783"/>
                    </a:cubicBezTo>
                    <a:cubicBezTo>
                      <a:pt x="436" y="782"/>
                      <a:pt x="436" y="782"/>
                      <a:pt x="436" y="782"/>
                    </a:cubicBezTo>
                    <a:cubicBezTo>
                      <a:pt x="434" y="781"/>
                      <a:pt x="434" y="781"/>
                      <a:pt x="434" y="781"/>
                    </a:cubicBezTo>
                    <a:cubicBezTo>
                      <a:pt x="434" y="782"/>
                      <a:pt x="434" y="782"/>
                      <a:pt x="434" y="782"/>
                    </a:cubicBezTo>
                    <a:cubicBezTo>
                      <a:pt x="434" y="783"/>
                      <a:pt x="434" y="783"/>
                      <a:pt x="434" y="783"/>
                    </a:cubicBezTo>
                    <a:cubicBezTo>
                      <a:pt x="435" y="785"/>
                      <a:pt x="435" y="785"/>
                      <a:pt x="435" y="785"/>
                    </a:cubicBezTo>
                    <a:cubicBezTo>
                      <a:pt x="433" y="787"/>
                      <a:pt x="433" y="787"/>
                      <a:pt x="433" y="787"/>
                    </a:cubicBezTo>
                    <a:cubicBezTo>
                      <a:pt x="430" y="788"/>
                      <a:pt x="430" y="788"/>
                      <a:pt x="430" y="788"/>
                    </a:cubicBezTo>
                    <a:cubicBezTo>
                      <a:pt x="426" y="793"/>
                      <a:pt x="426" y="793"/>
                      <a:pt x="426" y="793"/>
                    </a:cubicBezTo>
                    <a:cubicBezTo>
                      <a:pt x="426" y="795"/>
                      <a:pt x="426" y="795"/>
                      <a:pt x="426" y="795"/>
                    </a:cubicBezTo>
                    <a:cubicBezTo>
                      <a:pt x="426" y="797"/>
                      <a:pt x="426" y="797"/>
                      <a:pt x="426" y="797"/>
                    </a:cubicBezTo>
                    <a:cubicBezTo>
                      <a:pt x="425" y="800"/>
                      <a:pt x="425" y="800"/>
                      <a:pt x="425" y="800"/>
                    </a:cubicBezTo>
                    <a:cubicBezTo>
                      <a:pt x="423" y="803"/>
                      <a:pt x="423" y="803"/>
                      <a:pt x="423" y="803"/>
                    </a:cubicBezTo>
                    <a:cubicBezTo>
                      <a:pt x="421" y="804"/>
                      <a:pt x="421" y="804"/>
                      <a:pt x="421" y="804"/>
                    </a:cubicBezTo>
                    <a:cubicBezTo>
                      <a:pt x="420" y="804"/>
                      <a:pt x="420" y="804"/>
                      <a:pt x="420" y="804"/>
                    </a:cubicBezTo>
                    <a:cubicBezTo>
                      <a:pt x="419" y="802"/>
                      <a:pt x="419" y="802"/>
                      <a:pt x="419" y="802"/>
                    </a:cubicBezTo>
                    <a:cubicBezTo>
                      <a:pt x="420" y="801"/>
                      <a:pt x="420" y="801"/>
                      <a:pt x="420" y="801"/>
                    </a:cubicBezTo>
                    <a:cubicBezTo>
                      <a:pt x="418" y="802"/>
                      <a:pt x="418" y="802"/>
                      <a:pt x="418" y="802"/>
                    </a:cubicBezTo>
                    <a:cubicBezTo>
                      <a:pt x="417" y="803"/>
                      <a:pt x="417" y="803"/>
                      <a:pt x="417" y="803"/>
                    </a:cubicBezTo>
                    <a:cubicBezTo>
                      <a:pt x="416" y="805"/>
                      <a:pt x="416" y="805"/>
                      <a:pt x="416" y="805"/>
                    </a:cubicBezTo>
                    <a:cubicBezTo>
                      <a:pt x="416" y="806"/>
                      <a:pt x="416" y="806"/>
                      <a:pt x="416" y="806"/>
                    </a:cubicBezTo>
                    <a:cubicBezTo>
                      <a:pt x="416" y="808"/>
                      <a:pt x="416" y="808"/>
                      <a:pt x="416" y="808"/>
                    </a:cubicBezTo>
                    <a:cubicBezTo>
                      <a:pt x="411" y="812"/>
                      <a:pt x="411" y="812"/>
                      <a:pt x="411" y="812"/>
                    </a:cubicBezTo>
                    <a:cubicBezTo>
                      <a:pt x="409" y="813"/>
                      <a:pt x="409" y="813"/>
                      <a:pt x="409" y="813"/>
                    </a:cubicBezTo>
                    <a:cubicBezTo>
                      <a:pt x="408" y="812"/>
                      <a:pt x="408" y="812"/>
                      <a:pt x="408" y="812"/>
                    </a:cubicBezTo>
                    <a:cubicBezTo>
                      <a:pt x="408" y="810"/>
                      <a:pt x="408" y="810"/>
                      <a:pt x="408" y="810"/>
                    </a:cubicBezTo>
                    <a:cubicBezTo>
                      <a:pt x="407" y="809"/>
                      <a:pt x="407" y="809"/>
                      <a:pt x="407" y="809"/>
                    </a:cubicBezTo>
                    <a:cubicBezTo>
                      <a:pt x="405" y="809"/>
                      <a:pt x="405" y="809"/>
                      <a:pt x="405" y="809"/>
                    </a:cubicBezTo>
                    <a:cubicBezTo>
                      <a:pt x="405" y="811"/>
                      <a:pt x="405" y="811"/>
                      <a:pt x="405" y="811"/>
                    </a:cubicBezTo>
                    <a:cubicBezTo>
                      <a:pt x="403" y="811"/>
                      <a:pt x="403" y="811"/>
                      <a:pt x="403" y="811"/>
                    </a:cubicBezTo>
                    <a:cubicBezTo>
                      <a:pt x="400" y="809"/>
                      <a:pt x="400" y="809"/>
                      <a:pt x="400" y="809"/>
                    </a:cubicBezTo>
                    <a:cubicBezTo>
                      <a:pt x="399" y="808"/>
                      <a:pt x="399" y="808"/>
                      <a:pt x="399" y="808"/>
                    </a:cubicBezTo>
                    <a:cubicBezTo>
                      <a:pt x="397" y="807"/>
                      <a:pt x="397" y="807"/>
                      <a:pt x="397" y="807"/>
                    </a:cubicBezTo>
                    <a:cubicBezTo>
                      <a:pt x="396" y="808"/>
                      <a:pt x="396" y="808"/>
                      <a:pt x="396" y="808"/>
                    </a:cubicBezTo>
                    <a:cubicBezTo>
                      <a:pt x="398" y="810"/>
                      <a:pt x="398" y="810"/>
                      <a:pt x="398" y="810"/>
                    </a:cubicBezTo>
                    <a:cubicBezTo>
                      <a:pt x="399" y="811"/>
                      <a:pt x="399" y="811"/>
                      <a:pt x="399" y="811"/>
                    </a:cubicBezTo>
                    <a:cubicBezTo>
                      <a:pt x="401" y="814"/>
                      <a:pt x="401" y="814"/>
                      <a:pt x="401" y="814"/>
                    </a:cubicBezTo>
                    <a:cubicBezTo>
                      <a:pt x="401" y="816"/>
                      <a:pt x="401" y="816"/>
                      <a:pt x="401" y="816"/>
                    </a:cubicBezTo>
                    <a:cubicBezTo>
                      <a:pt x="399" y="817"/>
                      <a:pt x="399" y="817"/>
                      <a:pt x="399" y="817"/>
                    </a:cubicBezTo>
                    <a:cubicBezTo>
                      <a:pt x="398" y="817"/>
                      <a:pt x="398" y="817"/>
                      <a:pt x="398" y="817"/>
                    </a:cubicBezTo>
                    <a:cubicBezTo>
                      <a:pt x="393" y="820"/>
                      <a:pt x="393" y="820"/>
                      <a:pt x="393" y="820"/>
                    </a:cubicBezTo>
                    <a:cubicBezTo>
                      <a:pt x="390" y="823"/>
                      <a:pt x="390" y="823"/>
                      <a:pt x="390" y="823"/>
                    </a:cubicBezTo>
                    <a:cubicBezTo>
                      <a:pt x="387" y="823"/>
                      <a:pt x="387" y="823"/>
                      <a:pt x="387" y="823"/>
                    </a:cubicBezTo>
                    <a:cubicBezTo>
                      <a:pt x="385" y="822"/>
                      <a:pt x="385" y="822"/>
                      <a:pt x="385" y="822"/>
                    </a:cubicBezTo>
                    <a:cubicBezTo>
                      <a:pt x="385" y="820"/>
                      <a:pt x="385" y="820"/>
                      <a:pt x="385" y="820"/>
                    </a:cubicBezTo>
                    <a:cubicBezTo>
                      <a:pt x="386" y="819"/>
                      <a:pt x="386" y="819"/>
                      <a:pt x="386" y="819"/>
                    </a:cubicBezTo>
                    <a:cubicBezTo>
                      <a:pt x="385" y="818"/>
                      <a:pt x="385" y="818"/>
                      <a:pt x="385" y="818"/>
                    </a:cubicBezTo>
                    <a:cubicBezTo>
                      <a:pt x="384" y="818"/>
                      <a:pt x="384" y="818"/>
                      <a:pt x="384" y="818"/>
                    </a:cubicBezTo>
                    <a:cubicBezTo>
                      <a:pt x="383" y="820"/>
                      <a:pt x="383" y="820"/>
                      <a:pt x="383" y="820"/>
                    </a:cubicBezTo>
                    <a:cubicBezTo>
                      <a:pt x="383" y="822"/>
                      <a:pt x="383" y="822"/>
                      <a:pt x="383" y="822"/>
                    </a:cubicBezTo>
                    <a:cubicBezTo>
                      <a:pt x="383" y="823"/>
                      <a:pt x="383" y="823"/>
                      <a:pt x="383" y="823"/>
                    </a:cubicBezTo>
                    <a:cubicBezTo>
                      <a:pt x="380" y="823"/>
                      <a:pt x="380" y="823"/>
                      <a:pt x="380" y="823"/>
                    </a:cubicBezTo>
                    <a:cubicBezTo>
                      <a:pt x="377" y="825"/>
                      <a:pt x="377" y="825"/>
                      <a:pt x="377" y="825"/>
                    </a:cubicBezTo>
                    <a:cubicBezTo>
                      <a:pt x="375" y="824"/>
                      <a:pt x="375" y="824"/>
                      <a:pt x="375" y="824"/>
                    </a:cubicBezTo>
                    <a:cubicBezTo>
                      <a:pt x="373" y="821"/>
                      <a:pt x="373" y="821"/>
                      <a:pt x="373" y="821"/>
                    </a:cubicBezTo>
                    <a:cubicBezTo>
                      <a:pt x="373" y="819"/>
                      <a:pt x="373" y="819"/>
                      <a:pt x="373" y="819"/>
                    </a:cubicBezTo>
                    <a:cubicBezTo>
                      <a:pt x="374" y="816"/>
                      <a:pt x="374" y="816"/>
                      <a:pt x="374" y="816"/>
                    </a:cubicBezTo>
                    <a:cubicBezTo>
                      <a:pt x="373" y="814"/>
                      <a:pt x="373" y="814"/>
                      <a:pt x="373" y="814"/>
                    </a:cubicBezTo>
                    <a:cubicBezTo>
                      <a:pt x="372" y="814"/>
                      <a:pt x="372" y="814"/>
                      <a:pt x="372" y="814"/>
                    </a:cubicBezTo>
                    <a:cubicBezTo>
                      <a:pt x="372" y="818"/>
                      <a:pt x="372" y="818"/>
                      <a:pt x="372" y="818"/>
                    </a:cubicBezTo>
                    <a:cubicBezTo>
                      <a:pt x="371" y="821"/>
                      <a:pt x="371" y="821"/>
                      <a:pt x="371" y="821"/>
                    </a:cubicBezTo>
                    <a:cubicBezTo>
                      <a:pt x="371" y="823"/>
                      <a:pt x="371" y="823"/>
                      <a:pt x="371" y="823"/>
                    </a:cubicBezTo>
                    <a:cubicBezTo>
                      <a:pt x="370" y="825"/>
                      <a:pt x="370" y="825"/>
                      <a:pt x="370" y="825"/>
                    </a:cubicBezTo>
                    <a:cubicBezTo>
                      <a:pt x="369" y="824"/>
                      <a:pt x="369" y="824"/>
                      <a:pt x="369" y="824"/>
                    </a:cubicBezTo>
                    <a:cubicBezTo>
                      <a:pt x="364" y="819"/>
                      <a:pt x="364" y="819"/>
                      <a:pt x="364" y="819"/>
                    </a:cubicBezTo>
                    <a:cubicBezTo>
                      <a:pt x="364" y="817"/>
                      <a:pt x="364" y="817"/>
                      <a:pt x="364" y="817"/>
                    </a:cubicBezTo>
                    <a:cubicBezTo>
                      <a:pt x="366" y="813"/>
                      <a:pt x="366" y="813"/>
                      <a:pt x="366" y="813"/>
                    </a:cubicBezTo>
                    <a:cubicBezTo>
                      <a:pt x="368" y="811"/>
                      <a:pt x="368" y="811"/>
                      <a:pt x="368" y="811"/>
                    </a:cubicBezTo>
                    <a:cubicBezTo>
                      <a:pt x="370" y="809"/>
                      <a:pt x="370" y="809"/>
                      <a:pt x="370" y="809"/>
                    </a:cubicBezTo>
                    <a:cubicBezTo>
                      <a:pt x="369" y="808"/>
                      <a:pt x="369" y="808"/>
                      <a:pt x="369" y="808"/>
                    </a:cubicBezTo>
                    <a:cubicBezTo>
                      <a:pt x="366" y="808"/>
                      <a:pt x="366" y="808"/>
                      <a:pt x="366" y="808"/>
                    </a:cubicBezTo>
                    <a:cubicBezTo>
                      <a:pt x="364" y="805"/>
                      <a:pt x="364" y="805"/>
                      <a:pt x="364" y="805"/>
                    </a:cubicBezTo>
                    <a:cubicBezTo>
                      <a:pt x="364" y="804"/>
                      <a:pt x="364" y="804"/>
                      <a:pt x="364" y="804"/>
                    </a:cubicBezTo>
                    <a:cubicBezTo>
                      <a:pt x="363" y="804"/>
                      <a:pt x="363" y="804"/>
                      <a:pt x="363" y="804"/>
                    </a:cubicBezTo>
                    <a:cubicBezTo>
                      <a:pt x="361" y="804"/>
                      <a:pt x="361" y="804"/>
                      <a:pt x="361" y="804"/>
                    </a:cubicBezTo>
                    <a:cubicBezTo>
                      <a:pt x="360" y="806"/>
                      <a:pt x="360" y="806"/>
                      <a:pt x="360" y="806"/>
                    </a:cubicBezTo>
                    <a:cubicBezTo>
                      <a:pt x="360" y="808"/>
                      <a:pt x="360" y="808"/>
                      <a:pt x="360" y="808"/>
                    </a:cubicBezTo>
                    <a:cubicBezTo>
                      <a:pt x="362" y="810"/>
                      <a:pt x="362" y="810"/>
                      <a:pt x="362" y="810"/>
                    </a:cubicBezTo>
                    <a:cubicBezTo>
                      <a:pt x="362" y="812"/>
                      <a:pt x="362" y="812"/>
                      <a:pt x="362" y="812"/>
                    </a:cubicBezTo>
                    <a:cubicBezTo>
                      <a:pt x="360" y="815"/>
                      <a:pt x="360" y="815"/>
                      <a:pt x="360" y="815"/>
                    </a:cubicBezTo>
                    <a:cubicBezTo>
                      <a:pt x="360" y="817"/>
                      <a:pt x="360" y="817"/>
                      <a:pt x="360" y="817"/>
                    </a:cubicBezTo>
                    <a:cubicBezTo>
                      <a:pt x="357" y="820"/>
                      <a:pt x="357" y="820"/>
                      <a:pt x="357" y="820"/>
                    </a:cubicBezTo>
                    <a:cubicBezTo>
                      <a:pt x="355" y="820"/>
                      <a:pt x="355" y="820"/>
                      <a:pt x="355" y="820"/>
                    </a:cubicBezTo>
                    <a:cubicBezTo>
                      <a:pt x="355" y="817"/>
                      <a:pt x="355" y="817"/>
                      <a:pt x="355" y="817"/>
                    </a:cubicBezTo>
                    <a:cubicBezTo>
                      <a:pt x="354" y="816"/>
                      <a:pt x="354" y="816"/>
                      <a:pt x="354" y="816"/>
                    </a:cubicBezTo>
                    <a:cubicBezTo>
                      <a:pt x="352" y="818"/>
                      <a:pt x="352" y="818"/>
                      <a:pt x="352" y="818"/>
                    </a:cubicBezTo>
                    <a:cubicBezTo>
                      <a:pt x="352" y="820"/>
                      <a:pt x="352" y="820"/>
                      <a:pt x="352" y="820"/>
                    </a:cubicBezTo>
                    <a:cubicBezTo>
                      <a:pt x="354" y="824"/>
                      <a:pt x="354" y="824"/>
                      <a:pt x="354" y="824"/>
                    </a:cubicBezTo>
                    <a:cubicBezTo>
                      <a:pt x="356" y="826"/>
                      <a:pt x="356" y="826"/>
                      <a:pt x="356" y="826"/>
                    </a:cubicBezTo>
                    <a:cubicBezTo>
                      <a:pt x="356" y="828"/>
                      <a:pt x="356" y="828"/>
                      <a:pt x="356" y="828"/>
                    </a:cubicBezTo>
                    <a:cubicBezTo>
                      <a:pt x="355" y="828"/>
                      <a:pt x="355" y="828"/>
                      <a:pt x="355" y="828"/>
                    </a:cubicBezTo>
                    <a:cubicBezTo>
                      <a:pt x="354" y="831"/>
                      <a:pt x="354" y="831"/>
                      <a:pt x="354" y="831"/>
                    </a:cubicBezTo>
                    <a:cubicBezTo>
                      <a:pt x="351" y="832"/>
                      <a:pt x="351" y="832"/>
                      <a:pt x="351" y="832"/>
                    </a:cubicBezTo>
                    <a:cubicBezTo>
                      <a:pt x="349" y="832"/>
                      <a:pt x="349" y="832"/>
                      <a:pt x="349" y="832"/>
                    </a:cubicBezTo>
                    <a:cubicBezTo>
                      <a:pt x="347" y="830"/>
                      <a:pt x="347" y="830"/>
                      <a:pt x="347" y="830"/>
                    </a:cubicBezTo>
                    <a:cubicBezTo>
                      <a:pt x="346" y="831"/>
                      <a:pt x="346" y="831"/>
                      <a:pt x="346" y="831"/>
                    </a:cubicBezTo>
                    <a:cubicBezTo>
                      <a:pt x="344" y="833"/>
                      <a:pt x="344" y="833"/>
                      <a:pt x="344" y="833"/>
                    </a:cubicBezTo>
                    <a:cubicBezTo>
                      <a:pt x="341" y="834"/>
                      <a:pt x="341" y="834"/>
                      <a:pt x="341" y="834"/>
                    </a:cubicBezTo>
                    <a:cubicBezTo>
                      <a:pt x="340" y="833"/>
                      <a:pt x="340" y="833"/>
                      <a:pt x="340" y="833"/>
                    </a:cubicBezTo>
                    <a:cubicBezTo>
                      <a:pt x="339" y="830"/>
                      <a:pt x="339" y="830"/>
                      <a:pt x="339" y="830"/>
                    </a:cubicBezTo>
                    <a:cubicBezTo>
                      <a:pt x="338" y="828"/>
                      <a:pt x="338" y="828"/>
                      <a:pt x="338" y="828"/>
                    </a:cubicBezTo>
                    <a:cubicBezTo>
                      <a:pt x="337" y="828"/>
                      <a:pt x="337" y="828"/>
                      <a:pt x="337" y="828"/>
                    </a:cubicBezTo>
                    <a:cubicBezTo>
                      <a:pt x="336" y="830"/>
                      <a:pt x="336" y="830"/>
                      <a:pt x="336" y="830"/>
                    </a:cubicBezTo>
                    <a:cubicBezTo>
                      <a:pt x="336" y="831"/>
                      <a:pt x="336" y="831"/>
                      <a:pt x="336" y="831"/>
                    </a:cubicBezTo>
                    <a:cubicBezTo>
                      <a:pt x="335" y="833"/>
                      <a:pt x="335" y="833"/>
                      <a:pt x="335" y="833"/>
                    </a:cubicBezTo>
                    <a:cubicBezTo>
                      <a:pt x="332" y="833"/>
                      <a:pt x="332" y="833"/>
                      <a:pt x="332" y="833"/>
                    </a:cubicBezTo>
                    <a:cubicBezTo>
                      <a:pt x="331" y="830"/>
                      <a:pt x="331" y="830"/>
                      <a:pt x="331" y="830"/>
                    </a:cubicBezTo>
                    <a:cubicBezTo>
                      <a:pt x="330" y="828"/>
                      <a:pt x="330" y="828"/>
                      <a:pt x="330" y="828"/>
                    </a:cubicBezTo>
                    <a:cubicBezTo>
                      <a:pt x="328" y="829"/>
                      <a:pt x="328" y="829"/>
                      <a:pt x="328" y="829"/>
                    </a:cubicBezTo>
                    <a:cubicBezTo>
                      <a:pt x="327" y="830"/>
                      <a:pt x="327" y="830"/>
                      <a:pt x="327" y="830"/>
                    </a:cubicBezTo>
                    <a:cubicBezTo>
                      <a:pt x="325" y="830"/>
                      <a:pt x="325" y="830"/>
                      <a:pt x="325" y="830"/>
                    </a:cubicBezTo>
                    <a:cubicBezTo>
                      <a:pt x="324" y="831"/>
                      <a:pt x="324" y="831"/>
                      <a:pt x="324" y="831"/>
                    </a:cubicBezTo>
                    <a:cubicBezTo>
                      <a:pt x="324" y="833"/>
                      <a:pt x="324" y="833"/>
                      <a:pt x="324" y="833"/>
                    </a:cubicBezTo>
                    <a:cubicBezTo>
                      <a:pt x="325" y="835"/>
                      <a:pt x="325" y="835"/>
                      <a:pt x="325" y="835"/>
                    </a:cubicBezTo>
                    <a:cubicBezTo>
                      <a:pt x="325" y="839"/>
                      <a:pt x="325" y="839"/>
                      <a:pt x="325" y="839"/>
                    </a:cubicBezTo>
                    <a:cubicBezTo>
                      <a:pt x="323" y="844"/>
                      <a:pt x="323" y="844"/>
                      <a:pt x="323" y="844"/>
                    </a:cubicBezTo>
                    <a:cubicBezTo>
                      <a:pt x="320" y="848"/>
                      <a:pt x="320" y="848"/>
                      <a:pt x="320" y="848"/>
                    </a:cubicBezTo>
                    <a:cubicBezTo>
                      <a:pt x="318" y="848"/>
                      <a:pt x="318" y="848"/>
                      <a:pt x="318" y="848"/>
                    </a:cubicBezTo>
                    <a:cubicBezTo>
                      <a:pt x="316" y="847"/>
                      <a:pt x="316" y="847"/>
                      <a:pt x="316" y="847"/>
                    </a:cubicBezTo>
                    <a:cubicBezTo>
                      <a:pt x="315" y="843"/>
                      <a:pt x="315" y="843"/>
                      <a:pt x="315" y="843"/>
                    </a:cubicBezTo>
                    <a:cubicBezTo>
                      <a:pt x="313" y="842"/>
                      <a:pt x="313" y="842"/>
                      <a:pt x="313" y="842"/>
                    </a:cubicBezTo>
                    <a:cubicBezTo>
                      <a:pt x="311" y="843"/>
                      <a:pt x="311" y="843"/>
                      <a:pt x="311" y="843"/>
                    </a:cubicBezTo>
                    <a:cubicBezTo>
                      <a:pt x="311" y="844"/>
                      <a:pt x="311" y="844"/>
                      <a:pt x="311" y="844"/>
                    </a:cubicBezTo>
                    <a:cubicBezTo>
                      <a:pt x="308" y="843"/>
                      <a:pt x="308" y="843"/>
                      <a:pt x="308" y="843"/>
                    </a:cubicBezTo>
                    <a:cubicBezTo>
                      <a:pt x="307" y="841"/>
                      <a:pt x="307" y="841"/>
                      <a:pt x="307" y="841"/>
                    </a:cubicBezTo>
                    <a:cubicBezTo>
                      <a:pt x="306" y="840"/>
                      <a:pt x="306" y="840"/>
                      <a:pt x="306" y="840"/>
                    </a:cubicBezTo>
                    <a:cubicBezTo>
                      <a:pt x="305" y="842"/>
                      <a:pt x="305" y="842"/>
                      <a:pt x="305" y="842"/>
                    </a:cubicBezTo>
                    <a:cubicBezTo>
                      <a:pt x="306" y="843"/>
                      <a:pt x="306" y="843"/>
                      <a:pt x="306" y="843"/>
                    </a:cubicBezTo>
                    <a:cubicBezTo>
                      <a:pt x="307" y="846"/>
                      <a:pt x="307" y="846"/>
                      <a:pt x="307" y="846"/>
                    </a:cubicBezTo>
                    <a:cubicBezTo>
                      <a:pt x="305" y="848"/>
                      <a:pt x="305" y="848"/>
                      <a:pt x="305" y="848"/>
                    </a:cubicBezTo>
                    <a:cubicBezTo>
                      <a:pt x="305" y="850"/>
                      <a:pt x="305" y="850"/>
                      <a:pt x="305" y="850"/>
                    </a:cubicBezTo>
                    <a:cubicBezTo>
                      <a:pt x="306" y="852"/>
                      <a:pt x="306" y="852"/>
                      <a:pt x="306" y="852"/>
                    </a:cubicBezTo>
                    <a:cubicBezTo>
                      <a:pt x="308" y="854"/>
                      <a:pt x="308" y="854"/>
                      <a:pt x="308" y="854"/>
                    </a:cubicBezTo>
                    <a:cubicBezTo>
                      <a:pt x="309" y="858"/>
                      <a:pt x="309" y="858"/>
                      <a:pt x="309" y="858"/>
                    </a:cubicBezTo>
                    <a:cubicBezTo>
                      <a:pt x="310" y="863"/>
                      <a:pt x="310" y="863"/>
                      <a:pt x="310" y="863"/>
                    </a:cubicBezTo>
                    <a:cubicBezTo>
                      <a:pt x="309" y="866"/>
                      <a:pt x="309" y="866"/>
                      <a:pt x="309" y="866"/>
                    </a:cubicBezTo>
                    <a:cubicBezTo>
                      <a:pt x="307" y="864"/>
                      <a:pt x="307" y="864"/>
                      <a:pt x="307" y="864"/>
                    </a:cubicBezTo>
                    <a:cubicBezTo>
                      <a:pt x="305" y="864"/>
                      <a:pt x="305" y="864"/>
                      <a:pt x="305" y="864"/>
                    </a:cubicBezTo>
                    <a:cubicBezTo>
                      <a:pt x="304" y="866"/>
                      <a:pt x="304" y="866"/>
                      <a:pt x="304" y="866"/>
                    </a:cubicBezTo>
                    <a:cubicBezTo>
                      <a:pt x="301" y="867"/>
                      <a:pt x="301" y="867"/>
                      <a:pt x="301" y="867"/>
                    </a:cubicBezTo>
                    <a:cubicBezTo>
                      <a:pt x="298" y="866"/>
                      <a:pt x="298" y="866"/>
                      <a:pt x="298" y="866"/>
                    </a:cubicBezTo>
                    <a:cubicBezTo>
                      <a:pt x="294" y="866"/>
                      <a:pt x="294" y="866"/>
                      <a:pt x="294" y="866"/>
                    </a:cubicBezTo>
                    <a:cubicBezTo>
                      <a:pt x="293" y="868"/>
                      <a:pt x="293" y="868"/>
                      <a:pt x="293" y="868"/>
                    </a:cubicBezTo>
                    <a:cubicBezTo>
                      <a:pt x="293" y="869"/>
                      <a:pt x="293" y="869"/>
                      <a:pt x="293" y="869"/>
                    </a:cubicBezTo>
                    <a:cubicBezTo>
                      <a:pt x="298" y="871"/>
                      <a:pt x="298" y="871"/>
                      <a:pt x="298" y="871"/>
                    </a:cubicBezTo>
                    <a:cubicBezTo>
                      <a:pt x="301" y="871"/>
                      <a:pt x="301" y="871"/>
                      <a:pt x="301" y="871"/>
                    </a:cubicBezTo>
                    <a:cubicBezTo>
                      <a:pt x="303" y="873"/>
                      <a:pt x="303" y="873"/>
                      <a:pt x="303" y="873"/>
                    </a:cubicBezTo>
                    <a:cubicBezTo>
                      <a:pt x="304" y="874"/>
                      <a:pt x="304" y="874"/>
                      <a:pt x="304" y="874"/>
                    </a:cubicBezTo>
                    <a:cubicBezTo>
                      <a:pt x="305" y="874"/>
                      <a:pt x="305" y="874"/>
                      <a:pt x="305" y="874"/>
                    </a:cubicBezTo>
                    <a:cubicBezTo>
                      <a:pt x="307" y="874"/>
                      <a:pt x="307" y="874"/>
                      <a:pt x="307" y="874"/>
                    </a:cubicBezTo>
                    <a:cubicBezTo>
                      <a:pt x="307" y="876"/>
                      <a:pt x="307" y="876"/>
                      <a:pt x="307" y="876"/>
                    </a:cubicBezTo>
                    <a:cubicBezTo>
                      <a:pt x="306" y="878"/>
                      <a:pt x="306" y="878"/>
                      <a:pt x="306" y="878"/>
                    </a:cubicBezTo>
                    <a:cubicBezTo>
                      <a:pt x="305" y="879"/>
                      <a:pt x="305" y="879"/>
                      <a:pt x="305" y="879"/>
                    </a:cubicBezTo>
                    <a:cubicBezTo>
                      <a:pt x="303" y="879"/>
                      <a:pt x="303" y="879"/>
                      <a:pt x="303" y="879"/>
                    </a:cubicBezTo>
                    <a:cubicBezTo>
                      <a:pt x="303" y="880"/>
                      <a:pt x="303" y="880"/>
                      <a:pt x="303" y="880"/>
                    </a:cubicBezTo>
                    <a:cubicBezTo>
                      <a:pt x="304" y="881"/>
                      <a:pt x="304" y="881"/>
                      <a:pt x="304" y="881"/>
                    </a:cubicBezTo>
                    <a:cubicBezTo>
                      <a:pt x="305" y="882"/>
                      <a:pt x="305" y="882"/>
                      <a:pt x="305" y="882"/>
                    </a:cubicBezTo>
                    <a:cubicBezTo>
                      <a:pt x="305" y="885"/>
                      <a:pt x="305" y="885"/>
                      <a:pt x="305" y="885"/>
                    </a:cubicBezTo>
                    <a:cubicBezTo>
                      <a:pt x="305" y="887"/>
                      <a:pt x="305" y="887"/>
                      <a:pt x="305" y="887"/>
                    </a:cubicBezTo>
                    <a:cubicBezTo>
                      <a:pt x="304" y="889"/>
                      <a:pt x="304" y="889"/>
                      <a:pt x="304" y="889"/>
                    </a:cubicBezTo>
                    <a:cubicBezTo>
                      <a:pt x="303" y="889"/>
                      <a:pt x="303" y="889"/>
                      <a:pt x="303" y="889"/>
                    </a:cubicBezTo>
                    <a:cubicBezTo>
                      <a:pt x="300" y="888"/>
                      <a:pt x="300" y="888"/>
                      <a:pt x="300" y="888"/>
                    </a:cubicBezTo>
                    <a:cubicBezTo>
                      <a:pt x="298" y="885"/>
                      <a:pt x="298" y="885"/>
                      <a:pt x="298" y="885"/>
                    </a:cubicBezTo>
                    <a:cubicBezTo>
                      <a:pt x="296" y="885"/>
                      <a:pt x="296" y="885"/>
                      <a:pt x="296" y="885"/>
                    </a:cubicBezTo>
                    <a:cubicBezTo>
                      <a:pt x="294" y="884"/>
                      <a:pt x="294" y="884"/>
                      <a:pt x="294" y="884"/>
                    </a:cubicBezTo>
                    <a:cubicBezTo>
                      <a:pt x="292" y="882"/>
                      <a:pt x="292" y="882"/>
                      <a:pt x="292" y="882"/>
                    </a:cubicBezTo>
                    <a:cubicBezTo>
                      <a:pt x="290" y="882"/>
                      <a:pt x="290" y="882"/>
                      <a:pt x="290" y="882"/>
                    </a:cubicBezTo>
                    <a:cubicBezTo>
                      <a:pt x="289" y="883"/>
                      <a:pt x="289" y="883"/>
                      <a:pt x="289" y="883"/>
                    </a:cubicBezTo>
                    <a:cubicBezTo>
                      <a:pt x="289" y="885"/>
                      <a:pt x="289" y="885"/>
                      <a:pt x="289" y="885"/>
                    </a:cubicBezTo>
                    <a:cubicBezTo>
                      <a:pt x="292" y="885"/>
                      <a:pt x="292" y="885"/>
                      <a:pt x="292" y="885"/>
                    </a:cubicBezTo>
                    <a:cubicBezTo>
                      <a:pt x="293" y="886"/>
                      <a:pt x="293" y="886"/>
                      <a:pt x="293" y="886"/>
                    </a:cubicBezTo>
                    <a:cubicBezTo>
                      <a:pt x="297" y="888"/>
                      <a:pt x="297" y="888"/>
                      <a:pt x="297" y="888"/>
                    </a:cubicBezTo>
                    <a:cubicBezTo>
                      <a:pt x="299" y="889"/>
                      <a:pt x="299" y="889"/>
                      <a:pt x="299" y="889"/>
                    </a:cubicBezTo>
                    <a:cubicBezTo>
                      <a:pt x="302" y="890"/>
                      <a:pt x="302" y="890"/>
                      <a:pt x="302" y="890"/>
                    </a:cubicBezTo>
                    <a:cubicBezTo>
                      <a:pt x="303" y="891"/>
                      <a:pt x="303" y="891"/>
                      <a:pt x="303" y="891"/>
                    </a:cubicBezTo>
                    <a:cubicBezTo>
                      <a:pt x="302" y="894"/>
                      <a:pt x="302" y="894"/>
                      <a:pt x="302" y="894"/>
                    </a:cubicBezTo>
                    <a:cubicBezTo>
                      <a:pt x="299" y="895"/>
                      <a:pt x="299" y="895"/>
                      <a:pt x="299" y="895"/>
                    </a:cubicBezTo>
                    <a:cubicBezTo>
                      <a:pt x="296" y="895"/>
                      <a:pt x="296" y="895"/>
                      <a:pt x="296" y="895"/>
                    </a:cubicBezTo>
                    <a:cubicBezTo>
                      <a:pt x="295" y="896"/>
                      <a:pt x="295" y="896"/>
                      <a:pt x="295" y="896"/>
                    </a:cubicBezTo>
                    <a:cubicBezTo>
                      <a:pt x="293" y="896"/>
                      <a:pt x="293" y="896"/>
                      <a:pt x="293" y="896"/>
                    </a:cubicBezTo>
                    <a:cubicBezTo>
                      <a:pt x="289" y="892"/>
                      <a:pt x="289" y="892"/>
                      <a:pt x="289" y="892"/>
                    </a:cubicBezTo>
                    <a:cubicBezTo>
                      <a:pt x="287" y="891"/>
                      <a:pt x="287" y="891"/>
                      <a:pt x="287" y="891"/>
                    </a:cubicBezTo>
                    <a:cubicBezTo>
                      <a:pt x="286" y="890"/>
                      <a:pt x="286" y="890"/>
                      <a:pt x="286" y="890"/>
                    </a:cubicBezTo>
                    <a:cubicBezTo>
                      <a:pt x="284" y="892"/>
                      <a:pt x="284" y="892"/>
                      <a:pt x="284" y="892"/>
                    </a:cubicBezTo>
                    <a:cubicBezTo>
                      <a:pt x="283" y="893"/>
                      <a:pt x="283" y="893"/>
                      <a:pt x="283" y="893"/>
                    </a:cubicBezTo>
                    <a:cubicBezTo>
                      <a:pt x="283" y="896"/>
                      <a:pt x="283" y="896"/>
                      <a:pt x="283" y="896"/>
                    </a:cubicBezTo>
                    <a:cubicBezTo>
                      <a:pt x="286" y="898"/>
                      <a:pt x="286" y="898"/>
                      <a:pt x="286" y="898"/>
                    </a:cubicBezTo>
                    <a:cubicBezTo>
                      <a:pt x="289" y="900"/>
                      <a:pt x="289" y="900"/>
                      <a:pt x="289" y="900"/>
                    </a:cubicBezTo>
                    <a:cubicBezTo>
                      <a:pt x="290" y="901"/>
                      <a:pt x="290" y="901"/>
                      <a:pt x="290" y="901"/>
                    </a:cubicBezTo>
                    <a:cubicBezTo>
                      <a:pt x="290" y="903"/>
                      <a:pt x="290" y="903"/>
                      <a:pt x="290" y="903"/>
                    </a:cubicBezTo>
                    <a:cubicBezTo>
                      <a:pt x="289" y="904"/>
                      <a:pt x="289" y="904"/>
                      <a:pt x="289" y="904"/>
                    </a:cubicBezTo>
                    <a:cubicBezTo>
                      <a:pt x="287" y="902"/>
                      <a:pt x="287" y="902"/>
                      <a:pt x="287" y="902"/>
                    </a:cubicBezTo>
                    <a:cubicBezTo>
                      <a:pt x="284" y="901"/>
                      <a:pt x="284" y="901"/>
                      <a:pt x="284" y="901"/>
                    </a:cubicBezTo>
                    <a:cubicBezTo>
                      <a:pt x="281" y="900"/>
                      <a:pt x="281" y="900"/>
                      <a:pt x="281" y="900"/>
                    </a:cubicBezTo>
                    <a:cubicBezTo>
                      <a:pt x="279" y="897"/>
                      <a:pt x="279" y="897"/>
                      <a:pt x="279" y="897"/>
                    </a:cubicBezTo>
                    <a:cubicBezTo>
                      <a:pt x="279" y="897"/>
                      <a:pt x="279" y="897"/>
                      <a:pt x="279" y="897"/>
                    </a:cubicBezTo>
                    <a:cubicBezTo>
                      <a:pt x="279" y="900"/>
                      <a:pt x="279" y="900"/>
                      <a:pt x="279" y="900"/>
                    </a:cubicBezTo>
                    <a:cubicBezTo>
                      <a:pt x="282" y="902"/>
                      <a:pt x="282" y="902"/>
                      <a:pt x="282" y="902"/>
                    </a:cubicBezTo>
                    <a:cubicBezTo>
                      <a:pt x="286" y="904"/>
                      <a:pt x="286" y="904"/>
                      <a:pt x="286" y="904"/>
                    </a:cubicBezTo>
                    <a:cubicBezTo>
                      <a:pt x="286" y="906"/>
                      <a:pt x="286" y="906"/>
                      <a:pt x="286" y="906"/>
                    </a:cubicBezTo>
                    <a:cubicBezTo>
                      <a:pt x="286" y="907"/>
                      <a:pt x="286" y="907"/>
                      <a:pt x="286" y="907"/>
                    </a:cubicBezTo>
                    <a:cubicBezTo>
                      <a:pt x="285" y="908"/>
                      <a:pt x="285" y="908"/>
                      <a:pt x="285" y="908"/>
                    </a:cubicBezTo>
                    <a:cubicBezTo>
                      <a:pt x="281" y="908"/>
                      <a:pt x="281" y="908"/>
                      <a:pt x="281" y="908"/>
                    </a:cubicBezTo>
                    <a:cubicBezTo>
                      <a:pt x="279" y="906"/>
                      <a:pt x="279" y="906"/>
                      <a:pt x="279" y="906"/>
                    </a:cubicBezTo>
                    <a:cubicBezTo>
                      <a:pt x="279" y="903"/>
                      <a:pt x="279" y="903"/>
                      <a:pt x="279" y="903"/>
                    </a:cubicBezTo>
                    <a:cubicBezTo>
                      <a:pt x="277" y="902"/>
                      <a:pt x="277" y="902"/>
                      <a:pt x="277" y="902"/>
                    </a:cubicBezTo>
                    <a:cubicBezTo>
                      <a:pt x="276" y="902"/>
                      <a:pt x="276" y="902"/>
                      <a:pt x="276" y="902"/>
                    </a:cubicBezTo>
                    <a:cubicBezTo>
                      <a:pt x="274" y="903"/>
                      <a:pt x="274" y="903"/>
                      <a:pt x="274" y="903"/>
                    </a:cubicBezTo>
                    <a:cubicBezTo>
                      <a:pt x="274" y="905"/>
                      <a:pt x="274" y="905"/>
                      <a:pt x="274" y="905"/>
                    </a:cubicBezTo>
                    <a:cubicBezTo>
                      <a:pt x="276" y="907"/>
                      <a:pt x="276" y="907"/>
                      <a:pt x="276" y="907"/>
                    </a:cubicBezTo>
                    <a:cubicBezTo>
                      <a:pt x="276" y="909"/>
                      <a:pt x="276" y="909"/>
                      <a:pt x="276" y="909"/>
                    </a:cubicBezTo>
                    <a:cubicBezTo>
                      <a:pt x="276" y="910"/>
                      <a:pt x="276" y="910"/>
                      <a:pt x="276" y="910"/>
                    </a:cubicBezTo>
                    <a:cubicBezTo>
                      <a:pt x="277" y="911"/>
                      <a:pt x="277" y="911"/>
                      <a:pt x="277" y="911"/>
                    </a:cubicBezTo>
                    <a:cubicBezTo>
                      <a:pt x="282" y="911"/>
                      <a:pt x="282" y="911"/>
                      <a:pt x="282" y="911"/>
                    </a:cubicBezTo>
                    <a:cubicBezTo>
                      <a:pt x="285" y="912"/>
                      <a:pt x="285" y="912"/>
                      <a:pt x="285" y="912"/>
                    </a:cubicBezTo>
                    <a:cubicBezTo>
                      <a:pt x="285" y="914"/>
                      <a:pt x="285" y="914"/>
                      <a:pt x="285" y="914"/>
                    </a:cubicBezTo>
                    <a:cubicBezTo>
                      <a:pt x="284" y="914"/>
                      <a:pt x="284" y="914"/>
                      <a:pt x="284" y="914"/>
                    </a:cubicBezTo>
                    <a:cubicBezTo>
                      <a:pt x="283" y="916"/>
                      <a:pt x="283" y="916"/>
                      <a:pt x="283" y="916"/>
                    </a:cubicBezTo>
                    <a:cubicBezTo>
                      <a:pt x="282" y="918"/>
                      <a:pt x="282" y="918"/>
                      <a:pt x="282" y="918"/>
                    </a:cubicBezTo>
                    <a:cubicBezTo>
                      <a:pt x="280" y="918"/>
                      <a:pt x="280" y="918"/>
                      <a:pt x="280" y="918"/>
                    </a:cubicBezTo>
                    <a:cubicBezTo>
                      <a:pt x="278" y="917"/>
                      <a:pt x="278" y="917"/>
                      <a:pt x="278" y="917"/>
                    </a:cubicBezTo>
                    <a:cubicBezTo>
                      <a:pt x="276" y="917"/>
                      <a:pt x="276" y="917"/>
                      <a:pt x="276" y="917"/>
                    </a:cubicBezTo>
                    <a:cubicBezTo>
                      <a:pt x="272" y="915"/>
                      <a:pt x="272" y="915"/>
                      <a:pt x="272" y="915"/>
                    </a:cubicBezTo>
                    <a:cubicBezTo>
                      <a:pt x="272" y="914"/>
                      <a:pt x="272" y="914"/>
                      <a:pt x="272" y="914"/>
                    </a:cubicBezTo>
                    <a:cubicBezTo>
                      <a:pt x="272" y="913"/>
                      <a:pt x="272" y="913"/>
                      <a:pt x="272" y="913"/>
                    </a:cubicBezTo>
                    <a:cubicBezTo>
                      <a:pt x="270" y="912"/>
                      <a:pt x="270" y="912"/>
                      <a:pt x="270" y="912"/>
                    </a:cubicBezTo>
                    <a:cubicBezTo>
                      <a:pt x="269" y="912"/>
                      <a:pt x="269" y="912"/>
                      <a:pt x="269" y="912"/>
                    </a:cubicBezTo>
                    <a:cubicBezTo>
                      <a:pt x="269" y="915"/>
                      <a:pt x="269" y="915"/>
                      <a:pt x="269" y="915"/>
                    </a:cubicBezTo>
                    <a:cubicBezTo>
                      <a:pt x="268" y="916"/>
                      <a:pt x="268" y="916"/>
                      <a:pt x="268" y="916"/>
                    </a:cubicBezTo>
                    <a:cubicBezTo>
                      <a:pt x="267" y="919"/>
                      <a:pt x="267" y="919"/>
                      <a:pt x="267" y="919"/>
                    </a:cubicBezTo>
                    <a:cubicBezTo>
                      <a:pt x="264" y="919"/>
                      <a:pt x="264" y="919"/>
                      <a:pt x="264" y="919"/>
                    </a:cubicBezTo>
                    <a:cubicBezTo>
                      <a:pt x="262" y="917"/>
                      <a:pt x="262" y="917"/>
                      <a:pt x="262" y="917"/>
                    </a:cubicBezTo>
                    <a:cubicBezTo>
                      <a:pt x="260" y="916"/>
                      <a:pt x="260" y="916"/>
                      <a:pt x="260" y="916"/>
                    </a:cubicBezTo>
                    <a:cubicBezTo>
                      <a:pt x="258" y="916"/>
                      <a:pt x="258" y="916"/>
                      <a:pt x="258" y="916"/>
                    </a:cubicBezTo>
                    <a:cubicBezTo>
                      <a:pt x="258" y="918"/>
                      <a:pt x="258" y="918"/>
                      <a:pt x="258" y="918"/>
                    </a:cubicBezTo>
                    <a:cubicBezTo>
                      <a:pt x="260" y="919"/>
                      <a:pt x="260" y="919"/>
                      <a:pt x="260" y="919"/>
                    </a:cubicBezTo>
                    <a:cubicBezTo>
                      <a:pt x="265" y="922"/>
                      <a:pt x="265" y="922"/>
                      <a:pt x="265" y="922"/>
                    </a:cubicBezTo>
                    <a:cubicBezTo>
                      <a:pt x="270" y="923"/>
                      <a:pt x="270" y="923"/>
                      <a:pt x="270" y="923"/>
                    </a:cubicBezTo>
                    <a:cubicBezTo>
                      <a:pt x="271" y="926"/>
                      <a:pt x="271" y="926"/>
                      <a:pt x="271" y="926"/>
                    </a:cubicBezTo>
                    <a:cubicBezTo>
                      <a:pt x="273" y="930"/>
                      <a:pt x="273" y="930"/>
                      <a:pt x="273" y="930"/>
                    </a:cubicBezTo>
                    <a:cubicBezTo>
                      <a:pt x="271" y="930"/>
                      <a:pt x="271" y="930"/>
                      <a:pt x="271" y="930"/>
                    </a:cubicBezTo>
                    <a:cubicBezTo>
                      <a:pt x="269" y="930"/>
                      <a:pt x="269" y="930"/>
                      <a:pt x="269" y="930"/>
                    </a:cubicBezTo>
                    <a:cubicBezTo>
                      <a:pt x="267" y="928"/>
                      <a:pt x="267" y="928"/>
                      <a:pt x="267" y="928"/>
                    </a:cubicBezTo>
                    <a:cubicBezTo>
                      <a:pt x="262" y="925"/>
                      <a:pt x="262" y="925"/>
                      <a:pt x="262" y="925"/>
                    </a:cubicBezTo>
                    <a:cubicBezTo>
                      <a:pt x="260" y="924"/>
                      <a:pt x="260" y="924"/>
                      <a:pt x="260" y="924"/>
                    </a:cubicBezTo>
                    <a:cubicBezTo>
                      <a:pt x="258" y="924"/>
                      <a:pt x="258" y="924"/>
                      <a:pt x="258" y="924"/>
                    </a:cubicBezTo>
                    <a:cubicBezTo>
                      <a:pt x="258" y="925"/>
                      <a:pt x="258" y="925"/>
                      <a:pt x="258" y="925"/>
                    </a:cubicBezTo>
                    <a:cubicBezTo>
                      <a:pt x="260" y="927"/>
                      <a:pt x="260" y="927"/>
                      <a:pt x="260" y="927"/>
                    </a:cubicBezTo>
                    <a:cubicBezTo>
                      <a:pt x="263" y="927"/>
                      <a:pt x="263" y="927"/>
                      <a:pt x="263" y="927"/>
                    </a:cubicBezTo>
                    <a:cubicBezTo>
                      <a:pt x="267" y="931"/>
                      <a:pt x="267" y="931"/>
                      <a:pt x="267" y="931"/>
                    </a:cubicBezTo>
                    <a:cubicBezTo>
                      <a:pt x="269" y="934"/>
                      <a:pt x="269" y="934"/>
                      <a:pt x="269" y="934"/>
                    </a:cubicBezTo>
                    <a:cubicBezTo>
                      <a:pt x="269" y="936"/>
                      <a:pt x="269" y="936"/>
                      <a:pt x="269" y="936"/>
                    </a:cubicBezTo>
                    <a:cubicBezTo>
                      <a:pt x="268" y="939"/>
                      <a:pt x="268" y="939"/>
                      <a:pt x="268" y="939"/>
                    </a:cubicBezTo>
                    <a:cubicBezTo>
                      <a:pt x="269" y="940"/>
                      <a:pt x="269" y="940"/>
                      <a:pt x="269" y="940"/>
                    </a:cubicBezTo>
                    <a:cubicBezTo>
                      <a:pt x="269" y="942"/>
                      <a:pt x="269" y="942"/>
                      <a:pt x="269" y="942"/>
                    </a:cubicBezTo>
                    <a:cubicBezTo>
                      <a:pt x="267" y="943"/>
                      <a:pt x="267" y="943"/>
                      <a:pt x="267" y="943"/>
                    </a:cubicBezTo>
                    <a:cubicBezTo>
                      <a:pt x="267" y="945"/>
                      <a:pt x="267" y="945"/>
                      <a:pt x="267" y="945"/>
                    </a:cubicBezTo>
                    <a:cubicBezTo>
                      <a:pt x="266" y="948"/>
                      <a:pt x="266" y="948"/>
                      <a:pt x="266" y="948"/>
                    </a:cubicBezTo>
                    <a:cubicBezTo>
                      <a:pt x="264" y="948"/>
                      <a:pt x="264" y="948"/>
                      <a:pt x="264" y="948"/>
                    </a:cubicBezTo>
                    <a:cubicBezTo>
                      <a:pt x="262" y="947"/>
                      <a:pt x="262" y="947"/>
                      <a:pt x="262" y="947"/>
                    </a:cubicBezTo>
                    <a:cubicBezTo>
                      <a:pt x="259" y="946"/>
                      <a:pt x="259" y="946"/>
                      <a:pt x="259" y="946"/>
                    </a:cubicBezTo>
                    <a:cubicBezTo>
                      <a:pt x="257" y="945"/>
                      <a:pt x="257" y="945"/>
                      <a:pt x="257" y="945"/>
                    </a:cubicBezTo>
                    <a:cubicBezTo>
                      <a:pt x="255" y="945"/>
                      <a:pt x="255" y="945"/>
                      <a:pt x="255" y="945"/>
                    </a:cubicBezTo>
                    <a:cubicBezTo>
                      <a:pt x="256" y="946"/>
                      <a:pt x="256" y="946"/>
                      <a:pt x="256" y="946"/>
                    </a:cubicBezTo>
                    <a:cubicBezTo>
                      <a:pt x="259" y="948"/>
                      <a:pt x="259" y="948"/>
                      <a:pt x="259" y="948"/>
                    </a:cubicBezTo>
                    <a:cubicBezTo>
                      <a:pt x="262" y="949"/>
                      <a:pt x="262" y="949"/>
                      <a:pt x="262" y="949"/>
                    </a:cubicBezTo>
                    <a:cubicBezTo>
                      <a:pt x="262" y="950"/>
                      <a:pt x="262" y="950"/>
                      <a:pt x="262" y="950"/>
                    </a:cubicBezTo>
                    <a:cubicBezTo>
                      <a:pt x="260" y="952"/>
                      <a:pt x="260" y="952"/>
                      <a:pt x="260" y="952"/>
                    </a:cubicBezTo>
                    <a:cubicBezTo>
                      <a:pt x="258" y="952"/>
                      <a:pt x="258" y="952"/>
                      <a:pt x="258" y="952"/>
                    </a:cubicBezTo>
                    <a:cubicBezTo>
                      <a:pt x="257" y="951"/>
                      <a:pt x="257" y="951"/>
                      <a:pt x="257" y="951"/>
                    </a:cubicBezTo>
                    <a:cubicBezTo>
                      <a:pt x="256" y="951"/>
                      <a:pt x="256" y="951"/>
                      <a:pt x="256" y="951"/>
                    </a:cubicBezTo>
                    <a:cubicBezTo>
                      <a:pt x="255" y="952"/>
                      <a:pt x="255" y="952"/>
                      <a:pt x="255" y="952"/>
                    </a:cubicBezTo>
                    <a:cubicBezTo>
                      <a:pt x="258" y="953"/>
                      <a:pt x="258" y="953"/>
                      <a:pt x="258" y="953"/>
                    </a:cubicBezTo>
                    <a:cubicBezTo>
                      <a:pt x="259" y="954"/>
                      <a:pt x="259" y="954"/>
                      <a:pt x="259" y="954"/>
                    </a:cubicBezTo>
                    <a:cubicBezTo>
                      <a:pt x="259" y="956"/>
                      <a:pt x="259" y="956"/>
                      <a:pt x="259" y="956"/>
                    </a:cubicBezTo>
                    <a:cubicBezTo>
                      <a:pt x="257" y="958"/>
                      <a:pt x="257" y="958"/>
                      <a:pt x="257" y="958"/>
                    </a:cubicBezTo>
                    <a:cubicBezTo>
                      <a:pt x="255" y="959"/>
                      <a:pt x="255" y="959"/>
                      <a:pt x="255" y="959"/>
                    </a:cubicBezTo>
                    <a:cubicBezTo>
                      <a:pt x="254" y="957"/>
                      <a:pt x="254" y="957"/>
                      <a:pt x="254" y="957"/>
                    </a:cubicBezTo>
                    <a:cubicBezTo>
                      <a:pt x="252" y="956"/>
                      <a:pt x="252" y="956"/>
                      <a:pt x="252" y="956"/>
                    </a:cubicBezTo>
                    <a:cubicBezTo>
                      <a:pt x="250" y="956"/>
                      <a:pt x="250" y="956"/>
                      <a:pt x="250" y="956"/>
                    </a:cubicBezTo>
                    <a:cubicBezTo>
                      <a:pt x="251" y="958"/>
                      <a:pt x="251" y="958"/>
                      <a:pt x="251" y="958"/>
                    </a:cubicBezTo>
                    <a:cubicBezTo>
                      <a:pt x="253" y="959"/>
                      <a:pt x="253" y="959"/>
                      <a:pt x="253" y="959"/>
                    </a:cubicBezTo>
                    <a:cubicBezTo>
                      <a:pt x="255" y="961"/>
                      <a:pt x="255" y="961"/>
                      <a:pt x="255" y="961"/>
                    </a:cubicBezTo>
                    <a:cubicBezTo>
                      <a:pt x="255" y="963"/>
                      <a:pt x="255" y="963"/>
                      <a:pt x="255" y="963"/>
                    </a:cubicBezTo>
                    <a:cubicBezTo>
                      <a:pt x="253" y="965"/>
                      <a:pt x="253" y="965"/>
                      <a:pt x="253" y="965"/>
                    </a:cubicBezTo>
                    <a:cubicBezTo>
                      <a:pt x="248" y="964"/>
                      <a:pt x="248" y="964"/>
                      <a:pt x="248" y="964"/>
                    </a:cubicBezTo>
                    <a:cubicBezTo>
                      <a:pt x="246" y="963"/>
                      <a:pt x="246" y="963"/>
                      <a:pt x="246" y="963"/>
                    </a:cubicBezTo>
                    <a:cubicBezTo>
                      <a:pt x="244" y="963"/>
                      <a:pt x="244" y="963"/>
                      <a:pt x="244" y="963"/>
                    </a:cubicBezTo>
                    <a:cubicBezTo>
                      <a:pt x="244" y="964"/>
                      <a:pt x="244" y="964"/>
                      <a:pt x="244" y="964"/>
                    </a:cubicBezTo>
                    <a:cubicBezTo>
                      <a:pt x="247" y="966"/>
                      <a:pt x="247" y="966"/>
                      <a:pt x="247" y="966"/>
                    </a:cubicBezTo>
                    <a:cubicBezTo>
                      <a:pt x="254" y="966"/>
                      <a:pt x="254" y="966"/>
                      <a:pt x="254" y="966"/>
                    </a:cubicBezTo>
                    <a:cubicBezTo>
                      <a:pt x="257" y="967"/>
                      <a:pt x="257" y="967"/>
                      <a:pt x="257" y="967"/>
                    </a:cubicBezTo>
                    <a:cubicBezTo>
                      <a:pt x="257" y="969"/>
                      <a:pt x="257" y="969"/>
                      <a:pt x="257" y="969"/>
                    </a:cubicBezTo>
                    <a:cubicBezTo>
                      <a:pt x="257" y="970"/>
                      <a:pt x="257" y="970"/>
                      <a:pt x="257" y="970"/>
                    </a:cubicBezTo>
                    <a:cubicBezTo>
                      <a:pt x="254" y="972"/>
                      <a:pt x="254" y="972"/>
                      <a:pt x="254" y="972"/>
                    </a:cubicBezTo>
                    <a:cubicBezTo>
                      <a:pt x="249" y="972"/>
                      <a:pt x="249" y="972"/>
                      <a:pt x="249" y="972"/>
                    </a:cubicBezTo>
                    <a:cubicBezTo>
                      <a:pt x="245" y="972"/>
                      <a:pt x="245" y="972"/>
                      <a:pt x="245" y="972"/>
                    </a:cubicBezTo>
                    <a:cubicBezTo>
                      <a:pt x="242" y="970"/>
                      <a:pt x="242" y="970"/>
                      <a:pt x="242" y="970"/>
                    </a:cubicBezTo>
                    <a:cubicBezTo>
                      <a:pt x="242" y="971"/>
                      <a:pt x="242" y="971"/>
                      <a:pt x="242" y="971"/>
                    </a:cubicBezTo>
                    <a:cubicBezTo>
                      <a:pt x="243" y="973"/>
                      <a:pt x="243" y="973"/>
                      <a:pt x="243" y="973"/>
                    </a:cubicBezTo>
                    <a:cubicBezTo>
                      <a:pt x="247" y="974"/>
                      <a:pt x="247" y="974"/>
                      <a:pt x="247" y="974"/>
                    </a:cubicBezTo>
                    <a:cubicBezTo>
                      <a:pt x="248" y="975"/>
                      <a:pt x="248" y="975"/>
                      <a:pt x="248" y="975"/>
                    </a:cubicBezTo>
                    <a:cubicBezTo>
                      <a:pt x="247" y="976"/>
                      <a:pt x="247" y="976"/>
                      <a:pt x="247" y="976"/>
                    </a:cubicBezTo>
                    <a:cubicBezTo>
                      <a:pt x="246" y="976"/>
                      <a:pt x="246" y="976"/>
                      <a:pt x="246" y="976"/>
                    </a:cubicBezTo>
                    <a:cubicBezTo>
                      <a:pt x="245" y="976"/>
                      <a:pt x="245" y="976"/>
                      <a:pt x="245" y="976"/>
                    </a:cubicBezTo>
                    <a:cubicBezTo>
                      <a:pt x="248" y="977"/>
                      <a:pt x="248" y="977"/>
                      <a:pt x="248" y="977"/>
                    </a:cubicBezTo>
                    <a:cubicBezTo>
                      <a:pt x="251" y="978"/>
                      <a:pt x="251" y="978"/>
                      <a:pt x="251" y="978"/>
                    </a:cubicBezTo>
                    <a:cubicBezTo>
                      <a:pt x="251" y="980"/>
                      <a:pt x="251" y="980"/>
                      <a:pt x="251" y="980"/>
                    </a:cubicBezTo>
                    <a:cubicBezTo>
                      <a:pt x="249" y="981"/>
                      <a:pt x="249" y="981"/>
                      <a:pt x="249" y="981"/>
                    </a:cubicBezTo>
                    <a:cubicBezTo>
                      <a:pt x="247" y="981"/>
                      <a:pt x="247" y="981"/>
                      <a:pt x="247" y="981"/>
                    </a:cubicBezTo>
                    <a:cubicBezTo>
                      <a:pt x="245" y="981"/>
                      <a:pt x="245" y="981"/>
                      <a:pt x="245" y="981"/>
                    </a:cubicBezTo>
                    <a:cubicBezTo>
                      <a:pt x="245" y="982"/>
                      <a:pt x="245" y="982"/>
                      <a:pt x="245" y="982"/>
                    </a:cubicBezTo>
                    <a:cubicBezTo>
                      <a:pt x="247" y="983"/>
                      <a:pt x="247" y="983"/>
                      <a:pt x="247" y="983"/>
                    </a:cubicBezTo>
                    <a:cubicBezTo>
                      <a:pt x="250" y="983"/>
                      <a:pt x="250" y="983"/>
                      <a:pt x="250" y="983"/>
                    </a:cubicBezTo>
                    <a:cubicBezTo>
                      <a:pt x="253" y="983"/>
                      <a:pt x="253" y="983"/>
                      <a:pt x="253" y="983"/>
                    </a:cubicBezTo>
                    <a:cubicBezTo>
                      <a:pt x="252" y="984"/>
                      <a:pt x="252" y="984"/>
                      <a:pt x="252" y="984"/>
                    </a:cubicBezTo>
                    <a:cubicBezTo>
                      <a:pt x="250" y="986"/>
                      <a:pt x="250" y="986"/>
                      <a:pt x="250" y="986"/>
                    </a:cubicBezTo>
                    <a:cubicBezTo>
                      <a:pt x="246" y="987"/>
                      <a:pt x="246" y="987"/>
                      <a:pt x="246" y="987"/>
                    </a:cubicBezTo>
                    <a:cubicBezTo>
                      <a:pt x="244" y="987"/>
                      <a:pt x="244" y="987"/>
                      <a:pt x="244" y="987"/>
                    </a:cubicBezTo>
                    <a:cubicBezTo>
                      <a:pt x="242" y="986"/>
                      <a:pt x="242" y="986"/>
                      <a:pt x="242" y="986"/>
                    </a:cubicBezTo>
                    <a:cubicBezTo>
                      <a:pt x="239" y="983"/>
                      <a:pt x="239" y="983"/>
                      <a:pt x="239" y="983"/>
                    </a:cubicBezTo>
                    <a:cubicBezTo>
                      <a:pt x="238" y="981"/>
                      <a:pt x="238" y="981"/>
                      <a:pt x="238" y="981"/>
                    </a:cubicBezTo>
                    <a:cubicBezTo>
                      <a:pt x="237" y="981"/>
                      <a:pt x="237" y="981"/>
                      <a:pt x="237" y="981"/>
                    </a:cubicBezTo>
                    <a:cubicBezTo>
                      <a:pt x="235" y="982"/>
                      <a:pt x="235" y="982"/>
                      <a:pt x="235" y="982"/>
                    </a:cubicBezTo>
                    <a:cubicBezTo>
                      <a:pt x="232" y="981"/>
                      <a:pt x="232" y="981"/>
                      <a:pt x="232" y="981"/>
                    </a:cubicBezTo>
                    <a:cubicBezTo>
                      <a:pt x="231" y="982"/>
                      <a:pt x="231" y="982"/>
                      <a:pt x="231" y="982"/>
                    </a:cubicBezTo>
                    <a:cubicBezTo>
                      <a:pt x="232" y="984"/>
                      <a:pt x="232" y="984"/>
                      <a:pt x="232" y="984"/>
                    </a:cubicBezTo>
                    <a:cubicBezTo>
                      <a:pt x="238" y="986"/>
                      <a:pt x="238" y="986"/>
                      <a:pt x="238" y="986"/>
                    </a:cubicBezTo>
                    <a:cubicBezTo>
                      <a:pt x="242" y="988"/>
                      <a:pt x="242" y="988"/>
                      <a:pt x="242" y="988"/>
                    </a:cubicBezTo>
                    <a:cubicBezTo>
                      <a:pt x="242" y="990"/>
                      <a:pt x="242" y="990"/>
                      <a:pt x="242" y="990"/>
                    </a:cubicBezTo>
                    <a:cubicBezTo>
                      <a:pt x="240" y="991"/>
                      <a:pt x="240" y="991"/>
                      <a:pt x="240" y="991"/>
                    </a:cubicBezTo>
                    <a:cubicBezTo>
                      <a:pt x="241" y="993"/>
                      <a:pt x="241" y="993"/>
                      <a:pt x="241" y="993"/>
                    </a:cubicBezTo>
                    <a:cubicBezTo>
                      <a:pt x="242" y="992"/>
                      <a:pt x="242" y="992"/>
                      <a:pt x="242" y="992"/>
                    </a:cubicBezTo>
                    <a:cubicBezTo>
                      <a:pt x="245" y="992"/>
                      <a:pt x="245" y="992"/>
                      <a:pt x="245" y="992"/>
                    </a:cubicBezTo>
                    <a:cubicBezTo>
                      <a:pt x="246" y="993"/>
                      <a:pt x="246" y="993"/>
                      <a:pt x="246" y="993"/>
                    </a:cubicBezTo>
                    <a:cubicBezTo>
                      <a:pt x="247" y="994"/>
                      <a:pt x="247" y="994"/>
                      <a:pt x="247" y="994"/>
                    </a:cubicBezTo>
                    <a:cubicBezTo>
                      <a:pt x="247" y="995"/>
                      <a:pt x="247" y="995"/>
                      <a:pt x="247" y="995"/>
                    </a:cubicBezTo>
                    <a:cubicBezTo>
                      <a:pt x="245" y="995"/>
                      <a:pt x="245" y="995"/>
                      <a:pt x="245" y="995"/>
                    </a:cubicBezTo>
                    <a:cubicBezTo>
                      <a:pt x="243" y="997"/>
                      <a:pt x="243" y="997"/>
                      <a:pt x="243" y="997"/>
                    </a:cubicBezTo>
                    <a:cubicBezTo>
                      <a:pt x="243" y="998"/>
                      <a:pt x="243" y="998"/>
                      <a:pt x="243" y="998"/>
                    </a:cubicBezTo>
                    <a:cubicBezTo>
                      <a:pt x="242" y="998"/>
                      <a:pt x="242" y="998"/>
                      <a:pt x="242" y="998"/>
                    </a:cubicBezTo>
                    <a:close/>
                    <a:moveTo>
                      <a:pt x="238" y="999"/>
                    </a:moveTo>
                    <a:cubicBezTo>
                      <a:pt x="232" y="996"/>
                      <a:pt x="232" y="996"/>
                      <a:pt x="232" y="996"/>
                    </a:cubicBezTo>
                    <a:cubicBezTo>
                      <a:pt x="229" y="995"/>
                      <a:pt x="229" y="995"/>
                      <a:pt x="229" y="995"/>
                    </a:cubicBezTo>
                    <a:cubicBezTo>
                      <a:pt x="229" y="997"/>
                      <a:pt x="229" y="997"/>
                      <a:pt x="229" y="997"/>
                    </a:cubicBezTo>
                    <a:cubicBezTo>
                      <a:pt x="233" y="1001"/>
                      <a:pt x="233" y="1001"/>
                      <a:pt x="233" y="1001"/>
                    </a:cubicBezTo>
                    <a:cubicBezTo>
                      <a:pt x="235" y="1001"/>
                      <a:pt x="235" y="1001"/>
                      <a:pt x="235" y="1001"/>
                    </a:cubicBezTo>
                    <a:cubicBezTo>
                      <a:pt x="238" y="999"/>
                      <a:pt x="238" y="999"/>
                      <a:pt x="238" y="999"/>
                    </a:cubicBezTo>
                    <a:close/>
                    <a:moveTo>
                      <a:pt x="538" y="675"/>
                    </a:moveTo>
                    <a:cubicBezTo>
                      <a:pt x="539" y="676"/>
                      <a:pt x="539" y="676"/>
                      <a:pt x="539" y="676"/>
                    </a:cubicBezTo>
                    <a:cubicBezTo>
                      <a:pt x="544" y="676"/>
                      <a:pt x="544" y="676"/>
                      <a:pt x="544" y="676"/>
                    </a:cubicBezTo>
                    <a:cubicBezTo>
                      <a:pt x="552" y="674"/>
                      <a:pt x="552" y="674"/>
                      <a:pt x="552" y="674"/>
                    </a:cubicBezTo>
                    <a:cubicBezTo>
                      <a:pt x="560" y="676"/>
                      <a:pt x="560" y="676"/>
                      <a:pt x="560" y="676"/>
                    </a:cubicBezTo>
                    <a:cubicBezTo>
                      <a:pt x="563" y="673"/>
                      <a:pt x="563" y="673"/>
                      <a:pt x="563" y="673"/>
                    </a:cubicBezTo>
                    <a:cubicBezTo>
                      <a:pt x="567" y="672"/>
                      <a:pt x="567" y="672"/>
                      <a:pt x="567" y="672"/>
                    </a:cubicBezTo>
                    <a:cubicBezTo>
                      <a:pt x="571" y="675"/>
                      <a:pt x="571" y="675"/>
                      <a:pt x="571" y="675"/>
                    </a:cubicBezTo>
                    <a:cubicBezTo>
                      <a:pt x="575" y="673"/>
                      <a:pt x="575" y="673"/>
                      <a:pt x="575" y="673"/>
                    </a:cubicBezTo>
                    <a:cubicBezTo>
                      <a:pt x="577" y="674"/>
                      <a:pt x="577" y="674"/>
                      <a:pt x="577" y="674"/>
                    </a:cubicBezTo>
                    <a:cubicBezTo>
                      <a:pt x="582" y="670"/>
                      <a:pt x="582" y="670"/>
                      <a:pt x="582" y="670"/>
                    </a:cubicBezTo>
                    <a:cubicBezTo>
                      <a:pt x="582" y="660"/>
                      <a:pt x="582" y="660"/>
                      <a:pt x="582" y="660"/>
                    </a:cubicBezTo>
                    <a:cubicBezTo>
                      <a:pt x="579" y="658"/>
                      <a:pt x="579" y="658"/>
                      <a:pt x="579" y="658"/>
                    </a:cubicBezTo>
                    <a:cubicBezTo>
                      <a:pt x="578" y="655"/>
                      <a:pt x="578" y="655"/>
                      <a:pt x="578" y="655"/>
                    </a:cubicBezTo>
                    <a:cubicBezTo>
                      <a:pt x="575" y="654"/>
                      <a:pt x="575" y="654"/>
                      <a:pt x="575" y="654"/>
                    </a:cubicBezTo>
                    <a:cubicBezTo>
                      <a:pt x="564" y="659"/>
                      <a:pt x="564" y="659"/>
                      <a:pt x="564" y="659"/>
                    </a:cubicBezTo>
                    <a:cubicBezTo>
                      <a:pt x="553" y="661"/>
                      <a:pt x="553" y="661"/>
                      <a:pt x="553" y="661"/>
                    </a:cubicBezTo>
                    <a:cubicBezTo>
                      <a:pt x="550" y="664"/>
                      <a:pt x="550" y="664"/>
                      <a:pt x="550" y="664"/>
                    </a:cubicBezTo>
                    <a:cubicBezTo>
                      <a:pt x="547" y="665"/>
                      <a:pt x="547" y="665"/>
                      <a:pt x="547" y="665"/>
                    </a:cubicBezTo>
                    <a:cubicBezTo>
                      <a:pt x="545" y="669"/>
                      <a:pt x="545" y="669"/>
                      <a:pt x="545" y="669"/>
                    </a:cubicBezTo>
                    <a:cubicBezTo>
                      <a:pt x="540" y="670"/>
                      <a:pt x="540" y="670"/>
                      <a:pt x="540" y="670"/>
                    </a:cubicBezTo>
                    <a:cubicBezTo>
                      <a:pt x="540" y="672"/>
                      <a:pt x="540" y="672"/>
                      <a:pt x="540" y="672"/>
                    </a:cubicBezTo>
                    <a:cubicBezTo>
                      <a:pt x="538" y="675"/>
                      <a:pt x="538" y="675"/>
                      <a:pt x="538" y="675"/>
                    </a:cubicBezTo>
                    <a:close/>
                    <a:moveTo>
                      <a:pt x="251" y="975"/>
                    </a:moveTo>
                    <a:cubicBezTo>
                      <a:pt x="254" y="976"/>
                      <a:pt x="254" y="976"/>
                      <a:pt x="254" y="976"/>
                    </a:cubicBezTo>
                    <a:cubicBezTo>
                      <a:pt x="255" y="975"/>
                      <a:pt x="255" y="975"/>
                      <a:pt x="255" y="975"/>
                    </a:cubicBezTo>
                    <a:cubicBezTo>
                      <a:pt x="254" y="974"/>
                      <a:pt x="254" y="974"/>
                      <a:pt x="254" y="974"/>
                    </a:cubicBezTo>
                    <a:cubicBezTo>
                      <a:pt x="253" y="974"/>
                      <a:pt x="253" y="974"/>
                      <a:pt x="253" y="974"/>
                    </a:cubicBezTo>
                    <a:cubicBezTo>
                      <a:pt x="251" y="975"/>
                      <a:pt x="251" y="975"/>
                      <a:pt x="251" y="975"/>
                    </a:cubicBezTo>
                    <a:close/>
                    <a:moveTo>
                      <a:pt x="270" y="937"/>
                    </a:moveTo>
                    <a:cubicBezTo>
                      <a:pt x="271" y="939"/>
                      <a:pt x="271" y="939"/>
                      <a:pt x="271" y="939"/>
                    </a:cubicBezTo>
                    <a:cubicBezTo>
                      <a:pt x="271" y="937"/>
                      <a:pt x="271" y="937"/>
                      <a:pt x="271" y="937"/>
                    </a:cubicBezTo>
                    <a:cubicBezTo>
                      <a:pt x="270" y="937"/>
                      <a:pt x="270" y="937"/>
                      <a:pt x="270" y="937"/>
                    </a:cubicBezTo>
                    <a:close/>
                    <a:moveTo>
                      <a:pt x="272" y="933"/>
                    </a:moveTo>
                    <a:cubicBezTo>
                      <a:pt x="272" y="935"/>
                      <a:pt x="272" y="935"/>
                      <a:pt x="272" y="935"/>
                    </a:cubicBezTo>
                    <a:cubicBezTo>
                      <a:pt x="273" y="934"/>
                      <a:pt x="273" y="934"/>
                      <a:pt x="273" y="934"/>
                    </a:cubicBezTo>
                    <a:cubicBezTo>
                      <a:pt x="273" y="932"/>
                      <a:pt x="273" y="932"/>
                      <a:pt x="273" y="932"/>
                    </a:cubicBezTo>
                    <a:cubicBezTo>
                      <a:pt x="272" y="933"/>
                      <a:pt x="272" y="933"/>
                      <a:pt x="272" y="933"/>
                    </a:cubicBezTo>
                    <a:close/>
                    <a:moveTo>
                      <a:pt x="274" y="927"/>
                    </a:moveTo>
                    <a:cubicBezTo>
                      <a:pt x="274" y="928"/>
                      <a:pt x="274" y="928"/>
                      <a:pt x="274" y="928"/>
                    </a:cubicBezTo>
                    <a:cubicBezTo>
                      <a:pt x="275" y="927"/>
                      <a:pt x="275" y="927"/>
                      <a:pt x="275" y="927"/>
                    </a:cubicBezTo>
                    <a:cubicBezTo>
                      <a:pt x="276" y="926"/>
                      <a:pt x="276" y="926"/>
                      <a:pt x="276" y="926"/>
                    </a:cubicBezTo>
                    <a:cubicBezTo>
                      <a:pt x="274" y="926"/>
                      <a:pt x="274" y="926"/>
                      <a:pt x="274" y="926"/>
                    </a:cubicBezTo>
                    <a:cubicBezTo>
                      <a:pt x="274" y="927"/>
                      <a:pt x="274" y="927"/>
                      <a:pt x="274" y="927"/>
                    </a:cubicBezTo>
                    <a:close/>
                    <a:moveTo>
                      <a:pt x="271" y="919"/>
                    </a:moveTo>
                    <a:cubicBezTo>
                      <a:pt x="272" y="921"/>
                      <a:pt x="272" y="921"/>
                      <a:pt x="272" y="921"/>
                    </a:cubicBezTo>
                    <a:cubicBezTo>
                      <a:pt x="274" y="921"/>
                      <a:pt x="274" y="921"/>
                      <a:pt x="274" y="921"/>
                    </a:cubicBezTo>
                    <a:cubicBezTo>
                      <a:pt x="275" y="922"/>
                      <a:pt x="275" y="922"/>
                      <a:pt x="275" y="922"/>
                    </a:cubicBezTo>
                    <a:cubicBezTo>
                      <a:pt x="279" y="922"/>
                      <a:pt x="279" y="922"/>
                      <a:pt x="279" y="922"/>
                    </a:cubicBezTo>
                    <a:cubicBezTo>
                      <a:pt x="279" y="921"/>
                      <a:pt x="279" y="921"/>
                      <a:pt x="279" y="921"/>
                    </a:cubicBezTo>
                    <a:cubicBezTo>
                      <a:pt x="278" y="920"/>
                      <a:pt x="278" y="920"/>
                      <a:pt x="278" y="920"/>
                    </a:cubicBezTo>
                    <a:cubicBezTo>
                      <a:pt x="274" y="919"/>
                      <a:pt x="274" y="919"/>
                      <a:pt x="274" y="919"/>
                    </a:cubicBezTo>
                    <a:cubicBezTo>
                      <a:pt x="272" y="918"/>
                      <a:pt x="272" y="918"/>
                      <a:pt x="272" y="918"/>
                    </a:cubicBezTo>
                    <a:cubicBezTo>
                      <a:pt x="271" y="919"/>
                      <a:pt x="271" y="919"/>
                      <a:pt x="271" y="919"/>
                    </a:cubicBezTo>
                    <a:close/>
                    <a:moveTo>
                      <a:pt x="287" y="917"/>
                    </a:moveTo>
                    <a:cubicBezTo>
                      <a:pt x="289" y="915"/>
                      <a:pt x="289" y="915"/>
                      <a:pt x="289" y="915"/>
                    </a:cubicBezTo>
                    <a:cubicBezTo>
                      <a:pt x="288" y="913"/>
                      <a:pt x="288" y="913"/>
                      <a:pt x="288" y="913"/>
                    </a:cubicBezTo>
                    <a:cubicBezTo>
                      <a:pt x="287" y="914"/>
                      <a:pt x="287" y="914"/>
                      <a:pt x="287" y="914"/>
                    </a:cubicBezTo>
                    <a:cubicBezTo>
                      <a:pt x="287" y="917"/>
                      <a:pt x="287" y="917"/>
                      <a:pt x="287" y="917"/>
                    </a:cubicBezTo>
                    <a:close/>
                    <a:moveTo>
                      <a:pt x="285" y="894"/>
                    </a:moveTo>
                    <a:cubicBezTo>
                      <a:pt x="285" y="895"/>
                      <a:pt x="285" y="895"/>
                      <a:pt x="285" y="895"/>
                    </a:cubicBezTo>
                    <a:cubicBezTo>
                      <a:pt x="288" y="898"/>
                      <a:pt x="288" y="898"/>
                      <a:pt x="288" y="898"/>
                    </a:cubicBezTo>
                    <a:cubicBezTo>
                      <a:pt x="292" y="900"/>
                      <a:pt x="292" y="900"/>
                      <a:pt x="292" y="900"/>
                    </a:cubicBezTo>
                    <a:cubicBezTo>
                      <a:pt x="293" y="901"/>
                      <a:pt x="293" y="901"/>
                      <a:pt x="293" y="901"/>
                    </a:cubicBezTo>
                    <a:cubicBezTo>
                      <a:pt x="294" y="900"/>
                      <a:pt x="294" y="900"/>
                      <a:pt x="294" y="900"/>
                    </a:cubicBezTo>
                    <a:cubicBezTo>
                      <a:pt x="292" y="897"/>
                      <a:pt x="292" y="897"/>
                      <a:pt x="292" y="897"/>
                    </a:cubicBezTo>
                    <a:cubicBezTo>
                      <a:pt x="288" y="896"/>
                      <a:pt x="288" y="896"/>
                      <a:pt x="288" y="896"/>
                    </a:cubicBezTo>
                    <a:cubicBezTo>
                      <a:pt x="287" y="894"/>
                      <a:pt x="287" y="894"/>
                      <a:pt x="287" y="894"/>
                    </a:cubicBezTo>
                    <a:cubicBezTo>
                      <a:pt x="285" y="894"/>
                      <a:pt x="285" y="894"/>
                      <a:pt x="285" y="894"/>
                    </a:cubicBezTo>
                    <a:close/>
                    <a:moveTo>
                      <a:pt x="310" y="851"/>
                    </a:moveTo>
                    <a:cubicBezTo>
                      <a:pt x="310" y="854"/>
                      <a:pt x="310" y="854"/>
                      <a:pt x="310" y="854"/>
                    </a:cubicBezTo>
                    <a:cubicBezTo>
                      <a:pt x="312" y="857"/>
                      <a:pt x="312" y="857"/>
                      <a:pt x="312" y="857"/>
                    </a:cubicBezTo>
                    <a:cubicBezTo>
                      <a:pt x="312" y="861"/>
                      <a:pt x="312" y="861"/>
                      <a:pt x="312" y="861"/>
                    </a:cubicBezTo>
                    <a:cubicBezTo>
                      <a:pt x="313" y="864"/>
                      <a:pt x="313" y="864"/>
                      <a:pt x="313" y="864"/>
                    </a:cubicBezTo>
                    <a:cubicBezTo>
                      <a:pt x="315" y="864"/>
                      <a:pt x="315" y="864"/>
                      <a:pt x="315" y="864"/>
                    </a:cubicBezTo>
                    <a:cubicBezTo>
                      <a:pt x="314" y="860"/>
                      <a:pt x="314" y="860"/>
                      <a:pt x="314" y="860"/>
                    </a:cubicBezTo>
                    <a:cubicBezTo>
                      <a:pt x="315" y="857"/>
                      <a:pt x="315" y="857"/>
                      <a:pt x="315" y="857"/>
                    </a:cubicBezTo>
                    <a:cubicBezTo>
                      <a:pt x="313" y="855"/>
                      <a:pt x="313" y="855"/>
                      <a:pt x="313" y="855"/>
                    </a:cubicBezTo>
                    <a:cubicBezTo>
                      <a:pt x="312" y="851"/>
                      <a:pt x="312" y="851"/>
                      <a:pt x="312" y="851"/>
                    </a:cubicBezTo>
                    <a:cubicBezTo>
                      <a:pt x="310" y="850"/>
                      <a:pt x="310" y="850"/>
                      <a:pt x="310" y="850"/>
                    </a:cubicBezTo>
                    <a:cubicBezTo>
                      <a:pt x="310" y="851"/>
                      <a:pt x="310" y="851"/>
                      <a:pt x="310" y="851"/>
                    </a:cubicBezTo>
                    <a:close/>
                    <a:moveTo>
                      <a:pt x="328" y="840"/>
                    </a:moveTo>
                    <a:cubicBezTo>
                      <a:pt x="328" y="842"/>
                      <a:pt x="328" y="842"/>
                      <a:pt x="328" y="842"/>
                    </a:cubicBezTo>
                    <a:cubicBezTo>
                      <a:pt x="330" y="843"/>
                      <a:pt x="330" y="843"/>
                      <a:pt x="330" y="843"/>
                    </a:cubicBezTo>
                    <a:cubicBezTo>
                      <a:pt x="331" y="841"/>
                      <a:pt x="331" y="841"/>
                      <a:pt x="331" y="841"/>
                    </a:cubicBezTo>
                    <a:cubicBezTo>
                      <a:pt x="329" y="840"/>
                      <a:pt x="329" y="840"/>
                      <a:pt x="329" y="840"/>
                    </a:cubicBezTo>
                    <a:cubicBezTo>
                      <a:pt x="328" y="840"/>
                      <a:pt x="328" y="840"/>
                      <a:pt x="328" y="840"/>
                    </a:cubicBezTo>
                    <a:close/>
                    <a:moveTo>
                      <a:pt x="333" y="836"/>
                    </a:moveTo>
                    <a:cubicBezTo>
                      <a:pt x="334" y="837"/>
                      <a:pt x="334" y="837"/>
                      <a:pt x="334" y="837"/>
                    </a:cubicBezTo>
                    <a:cubicBezTo>
                      <a:pt x="335" y="836"/>
                      <a:pt x="335" y="836"/>
                      <a:pt x="335" y="836"/>
                    </a:cubicBezTo>
                    <a:cubicBezTo>
                      <a:pt x="333" y="835"/>
                      <a:pt x="333" y="835"/>
                      <a:pt x="333" y="835"/>
                    </a:cubicBezTo>
                    <a:cubicBezTo>
                      <a:pt x="333" y="836"/>
                      <a:pt x="333" y="836"/>
                      <a:pt x="333" y="836"/>
                    </a:cubicBezTo>
                    <a:close/>
                    <a:moveTo>
                      <a:pt x="364" y="833"/>
                    </a:moveTo>
                    <a:cubicBezTo>
                      <a:pt x="366" y="831"/>
                      <a:pt x="366" y="831"/>
                      <a:pt x="366" y="831"/>
                    </a:cubicBezTo>
                    <a:cubicBezTo>
                      <a:pt x="369" y="831"/>
                      <a:pt x="369" y="831"/>
                      <a:pt x="369" y="831"/>
                    </a:cubicBezTo>
                    <a:cubicBezTo>
                      <a:pt x="369" y="830"/>
                      <a:pt x="369" y="830"/>
                      <a:pt x="369" y="830"/>
                    </a:cubicBezTo>
                    <a:cubicBezTo>
                      <a:pt x="367" y="825"/>
                      <a:pt x="367" y="825"/>
                      <a:pt x="367" y="825"/>
                    </a:cubicBezTo>
                    <a:cubicBezTo>
                      <a:pt x="366" y="825"/>
                      <a:pt x="366" y="825"/>
                      <a:pt x="366" y="825"/>
                    </a:cubicBezTo>
                    <a:cubicBezTo>
                      <a:pt x="365" y="823"/>
                      <a:pt x="365" y="823"/>
                      <a:pt x="365" y="823"/>
                    </a:cubicBezTo>
                    <a:cubicBezTo>
                      <a:pt x="362" y="823"/>
                      <a:pt x="362" y="823"/>
                      <a:pt x="362" y="823"/>
                    </a:cubicBezTo>
                    <a:cubicBezTo>
                      <a:pt x="360" y="825"/>
                      <a:pt x="360" y="825"/>
                      <a:pt x="360" y="825"/>
                    </a:cubicBezTo>
                    <a:cubicBezTo>
                      <a:pt x="360" y="827"/>
                      <a:pt x="360" y="827"/>
                      <a:pt x="360" y="827"/>
                    </a:cubicBezTo>
                    <a:cubicBezTo>
                      <a:pt x="359" y="829"/>
                      <a:pt x="359" y="829"/>
                      <a:pt x="359" y="829"/>
                    </a:cubicBezTo>
                    <a:cubicBezTo>
                      <a:pt x="361" y="831"/>
                      <a:pt x="361" y="831"/>
                      <a:pt x="361" y="831"/>
                    </a:cubicBezTo>
                    <a:cubicBezTo>
                      <a:pt x="362" y="833"/>
                      <a:pt x="362" y="833"/>
                      <a:pt x="362" y="833"/>
                    </a:cubicBezTo>
                    <a:cubicBezTo>
                      <a:pt x="364" y="833"/>
                      <a:pt x="364" y="833"/>
                      <a:pt x="364" y="833"/>
                    </a:cubicBezTo>
                    <a:close/>
                    <a:moveTo>
                      <a:pt x="376" y="831"/>
                    </a:moveTo>
                    <a:cubicBezTo>
                      <a:pt x="375" y="829"/>
                      <a:pt x="375" y="829"/>
                      <a:pt x="375" y="829"/>
                    </a:cubicBezTo>
                    <a:cubicBezTo>
                      <a:pt x="376" y="827"/>
                      <a:pt x="376" y="827"/>
                      <a:pt x="376" y="827"/>
                    </a:cubicBezTo>
                    <a:cubicBezTo>
                      <a:pt x="374" y="829"/>
                      <a:pt x="374" y="829"/>
                      <a:pt x="374" y="829"/>
                    </a:cubicBezTo>
                    <a:cubicBezTo>
                      <a:pt x="374" y="831"/>
                      <a:pt x="374" y="831"/>
                      <a:pt x="374" y="831"/>
                    </a:cubicBezTo>
                    <a:cubicBezTo>
                      <a:pt x="375" y="832"/>
                      <a:pt x="375" y="832"/>
                      <a:pt x="375" y="832"/>
                    </a:cubicBezTo>
                    <a:cubicBezTo>
                      <a:pt x="376" y="831"/>
                      <a:pt x="376" y="831"/>
                      <a:pt x="376" y="831"/>
                    </a:cubicBezTo>
                    <a:close/>
                    <a:moveTo>
                      <a:pt x="603" y="709"/>
                    </a:moveTo>
                    <a:cubicBezTo>
                      <a:pt x="605" y="709"/>
                      <a:pt x="605" y="709"/>
                      <a:pt x="605" y="709"/>
                    </a:cubicBezTo>
                    <a:cubicBezTo>
                      <a:pt x="607" y="708"/>
                      <a:pt x="607" y="708"/>
                      <a:pt x="607" y="708"/>
                    </a:cubicBezTo>
                    <a:cubicBezTo>
                      <a:pt x="606" y="706"/>
                      <a:pt x="606" y="706"/>
                      <a:pt x="606" y="706"/>
                    </a:cubicBezTo>
                    <a:cubicBezTo>
                      <a:pt x="603" y="707"/>
                      <a:pt x="603" y="707"/>
                      <a:pt x="603" y="707"/>
                    </a:cubicBezTo>
                    <a:cubicBezTo>
                      <a:pt x="603" y="709"/>
                      <a:pt x="603" y="709"/>
                      <a:pt x="603" y="709"/>
                    </a:cubicBezTo>
                    <a:close/>
                    <a:moveTo>
                      <a:pt x="563" y="677"/>
                    </a:moveTo>
                    <a:cubicBezTo>
                      <a:pt x="565" y="678"/>
                      <a:pt x="565" y="678"/>
                      <a:pt x="565" y="678"/>
                    </a:cubicBezTo>
                    <a:cubicBezTo>
                      <a:pt x="567" y="677"/>
                      <a:pt x="567" y="677"/>
                      <a:pt x="567" y="677"/>
                    </a:cubicBezTo>
                    <a:cubicBezTo>
                      <a:pt x="567" y="676"/>
                      <a:pt x="567" y="676"/>
                      <a:pt x="567" y="676"/>
                    </a:cubicBezTo>
                    <a:cubicBezTo>
                      <a:pt x="564" y="675"/>
                      <a:pt x="564" y="675"/>
                      <a:pt x="564" y="675"/>
                    </a:cubicBezTo>
                    <a:cubicBezTo>
                      <a:pt x="563" y="677"/>
                      <a:pt x="563" y="677"/>
                      <a:pt x="563" y="677"/>
                    </a:cubicBezTo>
                    <a:close/>
                    <a:moveTo>
                      <a:pt x="546" y="662"/>
                    </a:moveTo>
                    <a:cubicBezTo>
                      <a:pt x="547" y="662"/>
                      <a:pt x="547" y="662"/>
                      <a:pt x="547" y="662"/>
                    </a:cubicBezTo>
                    <a:cubicBezTo>
                      <a:pt x="549" y="662"/>
                      <a:pt x="549" y="662"/>
                      <a:pt x="549" y="662"/>
                    </a:cubicBezTo>
                    <a:cubicBezTo>
                      <a:pt x="550" y="660"/>
                      <a:pt x="550" y="660"/>
                      <a:pt x="550" y="660"/>
                    </a:cubicBezTo>
                    <a:cubicBezTo>
                      <a:pt x="548" y="660"/>
                      <a:pt x="548" y="660"/>
                      <a:pt x="548" y="660"/>
                    </a:cubicBezTo>
                    <a:cubicBezTo>
                      <a:pt x="546" y="662"/>
                      <a:pt x="546" y="662"/>
                      <a:pt x="546" y="662"/>
                    </a:cubicBezTo>
                    <a:close/>
                    <a:moveTo>
                      <a:pt x="581" y="653"/>
                    </a:moveTo>
                    <a:cubicBezTo>
                      <a:pt x="580" y="655"/>
                      <a:pt x="580" y="655"/>
                      <a:pt x="580" y="655"/>
                    </a:cubicBezTo>
                    <a:cubicBezTo>
                      <a:pt x="582" y="656"/>
                      <a:pt x="582" y="656"/>
                      <a:pt x="582" y="656"/>
                    </a:cubicBezTo>
                    <a:cubicBezTo>
                      <a:pt x="583" y="655"/>
                      <a:pt x="583" y="655"/>
                      <a:pt x="583" y="655"/>
                    </a:cubicBezTo>
                    <a:cubicBezTo>
                      <a:pt x="583" y="653"/>
                      <a:pt x="583" y="653"/>
                      <a:pt x="583" y="653"/>
                    </a:cubicBezTo>
                    <a:cubicBezTo>
                      <a:pt x="581" y="652"/>
                      <a:pt x="581" y="652"/>
                      <a:pt x="581" y="652"/>
                    </a:cubicBezTo>
                    <a:cubicBezTo>
                      <a:pt x="581" y="653"/>
                      <a:pt x="581" y="653"/>
                      <a:pt x="581" y="653"/>
                    </a:cubicBezTo>
                    <a:close/>
                    <a:moveTo>
                      <a:pt x="604" y="582"/>
                    </a:moveTo>
                    <a:cubicBezTo>
                      <a:pt x="604" y="585"/>
                      <a:pt x="604" y="585"/>
                      <a:pt x="604" y="585"/>
                    </a:cubicBezTo>
                    <a:cubicBezTo>
                      <a:pt x="604" y="586"/>
                      <a:pt x="604" y="586"/>
                      <a:pt x="604" y="586"/>
                    </a:cubicBezTo>
                    <a:cubicBezTo>
                      <a:pt x="604" y="589"/>
                      <a:pt x="604" y="589"/>
                      <a:pt x="604" y="589"/>
                    </a:cubicBezTo>
                    <a:cubicBezTo>
                      <a:pt x="607" y="593"/>
                      <a:pt x="607" y="593"/>
                      <a:pt x="607" y="593"/>
                    </a:cubicBezTo>
                    <a:cubicBezTo>
                      <a:pt x="609" y="597"/>
                      <a:pt x="609" y="597"/>
                      <a:pt x="609" y="597"/>
                    </a:cubicBezTo>
                    <a:cubicBezTo>
                      <a:pt x="614" y="599"/>
                      <a:pt x="614" y="599"/>
                      <a:pt x="614" y="599"/>
                    </a:cubicBezTo>
                    <a:cubicBezTo>
                      <a:pt x="618" y="602"/>
                      <a:pt x="618" y="602"/>
                      <a:pt x="618" y="602"/>
                    </a:cubicBezTo>
                    <a:cubicBezTo>
                      <a:pt x="621" y="606"/>
                      <a:pt x="621" y="606"/>
                      <a:pt x="621" y="606"/>
                    </a:cubicBezTo>
                    <a:cubicBezTo>
                      <a:pt x="624" y="608"/>
                      <a:pt x="624" y="608"/>
                      <a:pt x="624" y="608"/>
                    </a:cubicBezTo>
                    <a:cubicBezTo>
                      <a:pt x="627" y="608"/>
                      <a:pt x="627" y="608"/>
                      <a:pt x="627" y="608"/>
                    </a:cubicBezTo>
                    <a:cubicBezTo>
                      <a:pt x="627" y="610"/>
                      <a:pt x="627" y="610"/>
                      <a:pt x="627" y="610"/>
                    </a:cubicBezTo>
                    <a:cubicBezTo>
                      <a:pt x="631" y="611"/>
                      <a:pt x="631" y="611"/>
                      <a:pt x="631" y="611"/>
                    </a:cubicBezTo>
                    <a:cubicBezTo>
                      <a:pt x="632" y="610"/>
                      <a:pt x="632" y="610"/>
                      <a:pt x="632" y="610"/>
                    </a:cubicBezTo>
                    <a:cubicBezTo>
                      <a:pt x="632" y="608"/>
                      <a:pt x="632" y="608"/>
                      <a:pt x="632" y="608"/>
                    </a:cubicBezTo>
                    <a:cubicBezTo>
                      <a:pt x="634" y="606"/>
                      <a:pt x="634" y="606"/>
                      <a:pt x="634" y="606"/>
                    </a:cubicBezTo>
                    <a:cubicBezTo>
                      <a:pt x="632" y="603"/>
                      <a:pt x="632" y="603"/>
                      <a:pt x="632" y="603"/>
                    </a:cubicBezTo>
                    <a:cubicBezTo>
                      <a:pt x="628" y="601"/>
                      <a:pt x="628" y="601"/>
                      <a:pt x="628" y="601"/>
                    </a:cubicBezTo>
                    <a:cubicBezTo>
                      <a:pt x="626" y="601"/>
                      <a:pt x="626" y="601"/>
                      <a:pt x="626" y="601"/>
                    </a:cubicBezTo>
                    <a:cubicBezTo>
                      <a:pt x="624" y="599"/>
                      <a:pt x="624" y="599"/>
                      <a:pt x="624" y="599"/>
                    </a:cubicBezTo>
                    <a:cubicBezTo>
                      <a:pt x="625" y="598"/>
                      <a:pt x="625" y="598"/>
                      <a:pt x="625" y="598"/>
                    </a:cubicBezTo>
                    <a:cubicBezTo>
                      <a:pt x="626" y="596"/>
                      <a:pt x="626" y="596"/>
                      <a:pt x="626" y="596"/>
                    </a:cubicBezTo>
                    <a:cubicBezTo>
                      <a:pt x="628" y="596"/>
                      <a:pt x="628" y="596"/>
                      <a:pt x="628" y="596"/>
                    </a:cubicBezTo>
                    <a:cubicBezTo>
                      <a:pt x="632" y="599"/>
                      <a:pt x="632" y="599"/>
                      <a:pt x="632" y="599"/>
                    </a:cubicBezTo>
                    <a:cubicBezTo>
                      <a:pt x="636" y="599"/>
                      <a:pt x="636" y="599"/>
                      <a:pt x="636" y="599"/>
                    </a:cubicBezTo>
                    <a:cubicBezTo>
                      <a:pt x="637" y="600"/>
                      <a:pt x="637" y="600"/>
                      <a:pt x="637" y="600"/>
                    </a:cubicBezTo>
                    <a:cubicBezTo>
                      <a:pt x="638" y="599"/>
                      <a:pt x="638" y="599"/>
                      <a:pt x="638" y="599"/>
                    </a:cubicBezTo>
                    <a:cubicBezTo>
                      <a:pt x="636" y="596"/>
                      <a:pt x="636" y="596"/>
                      <a:pt x="636" y="596"/>
                    </a:cubicBezTo>
                    <a:cubicBezTo>
                      <a:pt x="627" y="591"/>
                      <a:pt x="627" y="591"/>
                      <a:pt x="627" y="591"/>
                    </a:cubicBezTo>
                    <a:cubicBezTo>
                      <a:pt x="624" y="586"/>
                      <a:pt x="624" y="586"/>
                      <a:pt x="624" y="586"/>
                    </a:cubicBezTo>
                    <a:cubicBezTo>
                      <a:pt x="622" y="585"/>
                      <a:pt x="622" y="585"/>
                      <a:pt x="622" y="585"/>
                    </a:cubicBezTo>
                    <a:cubicBezTo>
                      <a:pt x="619" y="585"/>
                      <a:pt x="619" y="585"/>
                      <a:pt x="619" y="585"/>
                    </a:cubicBezTo>
                    <a:cubicBezTo>
                      <a:pt x="614" y="582"/>
                      <a:pt x="614" y="582"/>
                      <a:pt x="614" y="582"/>
                    </a:cubicBezTo>
                    <a:cubicBezTo>
                      <a:pt x="611" y="582"/>
                      <a:pt x="611" y="582"/>
                      <a:pt x="611" y="582"/>
                    </a:cubicBezTo>
                    <a:cubicBezTo>
                      <a:pt x="609" y="582"/>
                      <a:pt x="609" y="582"/>
                      <a:pt x="609" y="582"/>
                    </a:cubicBezTo>
                    <a:cubicBezTo>
                      <a:pt x="605" y="581"/>
                      <a:pt x="605" y="581"/>
                      <a:pt x="605" y="581"/>
                    </a:cubicBezTo>
                    <a:cubicBezTo>
                      <a:pt x="604" y="582"/>
                      <a:pt x="604" y="582"/>
                      <a:pt x="604" y="582"/>
                    </a:cubicBezTo>
                    <a:close/>
                    <a:moveTo>
                      <a:pt x="595" y="584"/>
                    </a:moveTo>
                    <a:cubicBezTo>
                      <a:pt x="597" y="583"/>
                      <a:pt x="597" y="583"/>
                      <a:pt x="597" y="583"/>
                    </a:cubicBezTo>
                    <a:cubicBezTo>
                      <a:pt x="596" y="581"/>
                      <a:pt x="596" y="581"/>
                      <a:pt x="596" y="581"/>
                    </a:cubicBezTo>
                    <a:cubicBezTo>
                      <a:pt x="598" y="579"/>
                      <a:pt x="598" y="579"/>
                      <a:pt x="598" y="579"/>
                    </a:cubicBezTo>
                    <a:cubicBezTo>
                      <a:pt x="593" y="581"/>
                      <a:pt x="593" y="581"/>
                      <a:pt x="593" y="581"/>
                    </a:cubicBezTo>
                    <a:cubicBezTo>
                      <a:pt x="593" y="583"/>
                      <a:pt x="593" y="583"/>
                      <a:pt x="593" y="583"/>
                    </a:cubicBezTo>
                    <a:cubicBezTo>
                      <a:pt x="595" y="584"/>
                      <a:pt x="595" y="584"/>
                      <a:pt x="595" y="584"/>
                    </a:cubicBezTo>
                    <a:close/>
                    <a:moveTo>
                      <a:pt x="603" y="577"/>
                    </a:moveTo>
                    <a:cubicBezTo>
                      <a:pt x="606" y="579"/>
                      <a:pt x="606" y="579"/>
                      <a:pt x="606" y="579"/>
                    </a:cubicBezTo>
                    <a:cubicBezTo>
                      <a:pt x="612" y="579"/>
                      <a:pt x="612" y="579"/>
                      <a:pt x="612" y="579"/>
                    </a:cubicBezTo>
                    <a:cubicBezTo>
                      <a:pt x="615" y="581"/>
                      <a:pt x="615" y="581"/>
                      <a:pt x="615" y="581"/>
                    </a:cubicBezTo>
                    <a:cubicBezTo>
                      <a:pt x="620" y="582"/>
                      <a:pt x="620" y="582"/>
                      <a:pt x="620" y="582"/>
                    </a:cubicBezTo>
                    <a:cubicBezTo>
                      <a:pt x="624" y="584"/>
                      <a:pt x="624" y="584"/>
                      <a:pt x="624" y="584"/>
                    </a:cubicBezTo>
                    <a:cubicBezTo>
                      <a:pt x="627" y="584"/>
                      <a:pt x="627" y="584"/>
                      <a:pt x="627" y="584"/>
                    </a:cubicBezTo>
                    <a:cubicBezTo>
                      <a:pt x="629" y="585"/>
                      <a:pt x="629" y="585"/>
                      <a:pt x="629" y="585"/>
                    </a:cubicBezTo>
                    <a:cubicBezTo>
                      <a:pt x="629" y="587"/>
                      <a:pt x="629" y="587"/>
                      <a:pt x="629" y="587"/>
                    </a:cubicBezTo>
                    <a:cubicBezTo>
                      <a:pt x="631" y="589"/>
                      <a:pt x="631" y="589"/>
                      <a:pt x="631" y="589"/>
                    </a:cubicBezTo>
                    <a:cubicBezTo>
                      <a:pt x="635" y="588"/>
                      <a:pt x="635" y="588"/>
                      <a:pt x="635" y="588"/>
                    </a:cubicBezTo>
                    <a:cubicBezTo>
                      <a:pt x="637" y="589"/>
                      <a:pt x="637" y="589"/>
                      <a:pt x="637" y="589"/>
                    </a:cubicBezTo>
                    <a:cubicBezTo>
                      <a:pt x="640" y="589"/>
                      <a:pt x="640" y="589"/>
                      <a:pt x="640" y="589"/>
                    </a:cubicBezTo>
                    <a:cubicBezTo>
                      <a:pt x="640" y="587"/>
                      <a:pt x="640" y="587"/>
                      <a:pt x="640" y="587"/>
                    </a:cubicBezTo>
                    <a:cubicBezTo>
                      <a:pt x="639" y="585"/>
                      <a:pt x="639" y="585"/>
                      <a:pt x="639" y="585"/>
                    </a:cubicBezTo>
                    <a:cubicBezTo>
                      <a:pt x="640" y="582"/>
                      <a:pt x="640" y="582"/>
                      <a:pt x="640" y="582"/>
                    </a:cubicBezTo>
                    <a:cubicBezTo>
                      <a:pt x="641" y="582"/>
                      <a:pt x="641" y="582"/>
                      <a:pt x="641" y="582"/>
                    </a:cubicBezTo>
                    <a:cubicBezTo>
                      <a:pt x="637" y="578"/>
                      <a:pt x="637" y="578"/>
                      <a:pt x="637" y="578"/>
                    </a:cubicBezTo>
                    <a:cubicBezTo>
                      <a:pt x="633" y="578"/>
                      <a:pt x="633" y="578"/>
                      <a:pt x="633" y="578"/>
                    </a:cubicBezTo>
                    <a:cubicBezTo>
                      <a:pt x="629" y="575"/>
                      <a:pt x="629" y="575"/>
                      <a:pt x="629" y="575"/>
                    </a:cubicBezTo>
                    <a:cubicBezTo>
                      <a:pt x="624" y="575"/>
                      <a:pt x="624" y="575"/>
                      <a:pt x="624" y="575"/>
                    </a:cubicBezTo>
                    <a:cubicBezTo>
                      <a:pt x="618" y="577"/>
                      <a:pt x="618" y="577"/>
                      <a:pt x="618" y="577"/>
                    </a:cubicBezTo>
                    <a:cubicBezTo>
                      <a:pt x="614" y="575"/>
                      <a:pt x="614" y="575"/>
                      <a:pt x="614" y="575"/>
                    </a:cubicBezTo>
                    <a:cubicBezTo>
                      <a:pt x="608" y="576"/>
                      <a:pt x="608" y="576"/>
                      <a:pt x="608" y="576"/>
                    </a:cubicBezTo>
                    <a:cubicBezTo>
                      <a:pt x="605" y="576"/>
                      <a:pt x="605" y="576"/>
                      <a:pt x="605" y="576"/>
                    </a:cubicBezTo>
                    <a:cubicBezTo>
                      <a:pt x="603" y="577"/>
                      <a:pt x="603" y="577"/>
                      <a:pt x="603" y="577"/>
                    </a:cubicBezTo>
                    <a:close/>
                    <a:moveTo>
                      <a:pt x="588" y="565"/>
                    </a:moveTo>
                    <a:cubicBezTo>
                      <a:pt x="591" y="567"/>
                      <a:pt x="591" y="567"/>
                      <a:pt x="591" y="567"/>
                    </a:cubicBezTo>
                    <a:cubicBezTo>
                      <a:pt x="596" y="568"/>
                      <a:pt x="596" y="568"/>
                      <a:pt x="596" y="568"/>
                    </a:cubicBezTo>
                    <a:cubicBezTo>
                      <a:pt x="600" y="572"/>
                      <a:pt x="600" y="572"/>
                      <a:pt x="600" y="572"/>
                    </a:cubicBezTo>
                    <a:cubicBezTo>
                      <a:pt x="605" y="574"/>
                      <a:pt x="605" y="574"/>
                      <a:pt x="605" y="574"/>
                    </a:cubicBezTo>
                    <a:cubicBezTo>
                      <a:pt x="613" y="574"/>
                      <a:pt x="613" y="574"/>
                      <a:pt x="613" y="574"/>
                    </a:cubicBezTo>
                    <a:cubicBezTo>
                      <a:pt x="624" y="574"/>
                      <a:pt x="624" y="574"/>
                      <a:pt x="624" y="574"/>
                    </a:cubicBezTo>
                    <a:cubicBezTo>
                      <a:pt x="629" y="573"/>
                      <a:pt x="629" y="573"/>
                      <a:pt x="629" y="573"/>
                    </a:cubicBezTo>
                    <a:cubicBezTo>
                      <a:pt x="628" y="571"/>
                      <a:pt x="628" y="571"/>
                      <a:pt x="628" y="571"/>
                    </a:cubicBezTo>
                    <a:cubicBezTo>
                      <a:pt x="624" y="571"/>
                      <a:pt x="624" y="571"/>
                      <a:pt x="624" y="571"/>
                    </a:cubicBezTo>
                    <a:cubicBezTo>
                      <a:pt x="615" y="571"/>
                      <a:pt x="615" y="571"/>
                      <a:pt x="615" y="571"/>
                    </a:cubicBezTo>
                    <a:cubicBezTo>
                      <a:pt x="611" y="569"/>
                      <a:pt x="611" y="569"/>
                      <a:pt x="611" y="569"/>
                    </a:cubicBezTo>
                    <a:cubicBezTo>
                      <a:pt x="606" y="567"/>
                      <a:pt x="606" y="567"/>
                      <a:pt x="606" y="567"/>
                    </a:cubicBezTo>
                    <a:cubicBezTo>
                      <a:pt x="602" y="566"/>
                      <a:pt x="602" y="566"/>
                      <a:pt x="602" y="566"/>
                    </a:cubicBezTo>
                    <a:cubicBezTo>
                      <a:pt x="601" y="564"/>
                      <a:pt x="601" y="564"/>
                      <a:pt x="601" y="564"/>
                    </a:cubicBezTo>
                    <a:cubicBezTo>
                      <a:pt x="602" y="563"/>
                      <a:pt x="602" y="563"/>
                      <a:pt x="602" y="563"/>
                    </a:cubicBezTo>
                    <a:cubicBezTo>
                      <a:pt x="605" y="563"/>
                      <a:pt x="605" y="563"/>
                      <a:pt x="605" y="563"/>
                    </a:cubicBezTo>
                    <a:cubicBezTo>
                      <a:pt x="611" y="567"/>
                      <a:pt x="611" y="567"/>
                      <a:pt x="611" y="567"/>
                    </a:cubicBezTo>
                    <a:cubicBezTo>
                      <a:pt x="618" y="568"/>
                      <a:pt x="618" y="568"/>
                      <a:pt x="618" y="568"/>
                    </a:cubicBezTo>
                    <a:cubicBezTo>
                      <a:pt x="620" y="568"/>
                      <a:pt x="620" y="568"/>
                      <a:pt x="620" y="568"/>
                    </a:cubicBezTo>
                    <a:cubicBezTo>
                      <a:pt x="618" y="566"/>
                      <a:pt x="618" y="566"/>
                      <a:pt x="618" y="566"/>
                    </a:cubicBezTo>
                    <a:cubicBezTo>
                      <a:pt x="610" y="560"/>
                      <a:pt x="610" y="560"/>
                      <a:pt x="610" y="560"/>
                    </a:cubicBezTo>
                    <a:cubicBezTo>
                      <a:pt x="598" y="558"/>
                      <a:pt x="598" y="558"/>
                      <a:pt x="598" y="558"/>
                    </a:cubicBezTo>
                    <a:cubicBezTo>
                      <a:pt x="595" y="559"/>
                      <a:pt x="595" y="559"/>
                      <a:pt x="595" y="559"/>
                    </a:cubicBezTo>
                    <a:cubicBezTo>
                      <a:pt x="595" y="561"/>
                      <a:pt x="595" y="561"/>
                      <a:pt x="595" y="561"/>
                    </a:cubicBezTo>
                    <a:cubicBezTo>
                      <a:pt x="590" y="563"/>
                      <a:pt x="590" y="563"/>
                      <a:pt x="590" y="563"/>
                    </a:cubicBezTo>
                    <a:cubicBezTo>
                      <a:pt x="588" y="565"/>
                      <a:pt x="588" y="565"/>
                      <a:pt x="588" y="565"/>
                    </a:cubicBezTo>
                    <a:close/>
                    <a:moveTo>
                      <a:pt x="647" y="574"/>
                    </a:moveTo>
                    <a:cubicBezTo>
                      <a:pt x="649" y="575"/>
                      <a:pt x="649" y="575"/>
                      <a:pt x="649" y="575"/>
                    </a:cubicBezTo>
                    <a:cubicBezTo>
                      <a:pt x="651" y="574"/>
                      <a:pt x="651" y="574"/>
                      <a:pt x="651" y="574"/>
                    </a:cubicBezTo>
                    <a:cubicBezTo>
                      <a:pt x="650" y="572"/>
                      <a:pt x="650" y="572"/>
                      <a:pt x="650" y="572"/>
                    </a:cubicBezTo>
                    <a:cubicBezTo>
                      <a:pt x="648" y="572"/>
                      <a:pt x="648" y="572"/>
                      <a:pt x="648" y="572"/>
                    </a:cubicBezTo>
                    <a:cubicBezTo>
                      <a:pt x="647" y="574"/>
                      <a:pt x="647" y="574"/>
                      <a:pt x="647" y="574"/>
                    </a:cubicBezTo>
                    <a:close/>
                    <a:moveTo>
                      <a:pt x="650" y="519"/>
                    </a:moveTo>
                    <a:cubicBezTo>
                      <a:pt x="647" y="524"/>
                      <a:pt x="647" y="524"/>
                      <a:pt x="647" y="524"/>
                    </a:cubicBezTo>
                    <a:cubicBezTo>
                      <a:pt x="647" y="527"/>
                      <a:pt x="647" y="527"/>
                      <a:pt x="647" y="527"/>
                    </a:cubicBezTo>
                    <a:cubicBezTo>
                      <a:pt x="650" y="529"/>
                      <a:pt x="650" y="529"/>
                      <a:pt x="650" y="529"/>
                    </a:cubicBezTo>
                    <a:cubicBezTo>
                      <a:pt x="653" y="530"/>
                      <a:pt x="653" y="530"/>
                      <a:pt x="653" y="530"/>
                    </a:cubicBezTo>
                    <a:cubicBezTo>
                      <a:pt x="656" y="533"/>
                      <a:pt x="656" y="533"/>
                      <a:pt x="656" y="533"/>
                    </a:cubicBezTo>
                    <a:cubicBezTo>
                      <a:pt x="659" y="533"/>
                      <a:pt x="659" y="533"/>
                      <a:pt x="659" y="533"/>
                    </a:cubicBezTo>
                    <a:cubicBezTo>
                      <a:pt x="663" y="533"/>
                      <a:pt x="663" y="533"/>
                      <a:pt x="663" y="533"/>
                    </a:cubicBezTo>
                    <a:cubicBezTo>
                      <a:pt x="667" y="532"/>
                      <a:pt x="667" y="532"/>
                      <a:pt x="667" y="532"/>
                    </a:cubicBezTo>
                    <a:cubicBezTo>
                      <a:pt x="667" y="528"/>
                      <a:pt x="667" y="528"/>
                      <a:pt x="667" y="528"/>
                    </a:cubicBezTo>
                    <a:cubicBezTo>
                      <a:pt x="669" y="526"/>
                      <a:pt x="669" y="526"/>
                      <a:pt x="669" y="526"/>
                    </a:cubicBezTo>
                    <a:cubicBezTo>
                      <a:pt x="668" y="521"/>
                      <a:pt x="668" y="521"/>
                      <a:pt x="668" y="521"/>
                    </a:cubicBezTo>
                    <a:cubicBezTo>
                      <a:pt x="661" y="517"/>
                      <a:pt x="661" y="517"/>
                      <a:pt x="661" y="517"/>
                    </a:cubicBezTo>
                    <a:cubicBezTo>
                      <a:pt x="656" y="518"/>
                      <a:pt x="656" y="518"/>
                      <a:pt x="656" y="518"/>
                    </a:cubicBezTo>
                    <a:cubicBezTo>
                      <a:pt x="650" y="519"/>
                      <a:pt x="650" y="519"/>
                      <a:pt x="650" y="519"/>
                    </a:cubicBezTo>
                    <a:close/>
                    <a:moveTo>
                      <a:pt x="687" y="515"/>
                    </a:moveTo>
                    <a:cubicBezTo>
                      <a:pt x="689" y="516"/>
                      <a:pt x="689" y="516"/>
                      <a:pt x="689" y="516"/>
                    </a:cubicBezTo>
                    <a:cubicBezTo>
                      <a:pt x="691" y="513"/>
                      <a:pt x="691" y="513"/>
                      <a:pt x="691" y="513"/>
                    </a:cubicBezTo>
                    <a:cubicBezTo>
                      <a:pt x="691" y="511"/>
                      <a:pt x="691" y="511"/>
                      <a:pt x="691" y="511"/>
                    </a:cubicBezTo>
                    <a:cubicBezTo>
                      <a:pt x="689" y="511"/>
                      <a:pt x="689" y="511"/>
                      <a:pt x="689" y="511"/>
                    </a:cubicBezTo>
                    <a:cubicBezTo>
                      <a:pt x="687" y="513"/>
                      <a:pt x="687" y="513"/>
                      <a:pt x="687" y="513"/>
                    </a:cubicBezTo>
                    <a:cubicBezTo>
                      <a:pt x="687" y="515"/>
                      <a:pt x="687" y="515"/>
                      <a:pt x="687" y="515"/>
                    </a:cubicBezTo>
                    <a:close/>
                    <a:moveTo>
                      <a:pt x="671" y="495"/>
                    </a:moveTo>
                    <a:cubicBezTo>
                      <a:pt x="669" y="497"/>
                      <a:pt x="669" y="497"/>
                      <a:pt x="669" y="497"/>
                    </a:cubicBezTo>
                    <a:cubicBezTo>
                      <a:pt x="669" y="502"/>
                      <a:pt x="669" y="502"/>
                      <a:pt x="669" y="502"/>
                    </a:cubicBezTo>
                    <a:cubicBezTo>
                      <a:pt x="670" y="505"/>
                      <a:pt x="670" y="505"/>
                      <a:pt x="670" y="505"/>
                    </a:cubicBezTo>
                    <a:cubicBezTo>
                      <a:pt x="673" y="507"/>
                      <a:pt x="673" y="507"/>
                      <a:pt x="673" y="507"/>
                    </a:cubicBezTo>
                    <a:cubicBezTo>
                      <a:pt x="675" y="506"/>
                      <a:pt x="675" y="506"/>
                      <a:pt x="675" y="506"/>
                    </a:cubicBezTo>
                    <a:cubicBezTo>
                      <a:pt x="676" y="503"/>
                      <a:pt x="676" y="503"/>
                      <a:pt x="676" y="503"/>
                    </a:cubicBezTo>
                    <a:cubicBezTo>
                      <a:pt x="677" y="501"/>
                      <a:pt x="677" y="501"/>
                      <a:pt x="677" y="501"/>
                    </a:cubicBezTo>
                    <a:cubicBezTo>
                      <a:pt x="677" y="497"/>
                      <a:pt x="677" y="497"/>
                      <a:pt x="677" y="497"/>
                    </a:cubicBezTo>
                    <a:cubicBezTo>
                      <a:pt x="673" y="495"/>
                      <a:pt x="673" y="495"/>
                      <a:pt x="673" y="495"/>
                    </a:cubicBezTo>
                    <a:cubicBezTo>
                      <a:pt x="671" y="495"/>
                      <a:pt x="671" y="495"/>
                      <a:pt x="671" y="495"/>
                    </a:cubicBezTo>
                    <a:close/>
                    <a:moveTo>
                      <a:pt x="694" y="480"/>
                    </a:moveTo>
                    <a:cubicBezTo>
                      <a:pt x="694" y="488"/>
                      <a:pt x="694" y="488"/>
                      <a:pt x="694" y="488"/>
                    </a:cubicBezTo>
                    <a:cubicBezTo>
                      <a:pt x="693" y="492"/>
                      <a:pt x="693" y="492"/>
                      <a:pt x="693" y="492"/>
                    </a:cubicBezTo>
                    <a:cubicBezTo>
                      <a:pt x="694" y="495"/>
                      <a:pt x="694" y="495"/>
                      <a:pt x="694" y="495"/>
                    </a:cubicBezTo>
                    <a:cubicBezTo>
                      <a:pt x="697" y="498"/>
                      <a:pt x="697" y="498"/>
                      <a:pt x="697" y="498"/>
                    </a:cubicBezTo>
                    <a:cubicBezTo>
                      <a:pt x="701" y="497"/>
                      <a:pt x="701" y="497"/>
                      <a:pt x="701" y="497"/>
                    </a:cubicBezTo>
                    <a:cubicBezTo>
                      <a:pt x="705" y="497"/>
                      <a:pt x="705" y="497"/>
                      <a:pt x="705" y="497"/>
                    </a:cubicBezTo>
                    <a:cubicBezTo>
                      <a:pt x="707" y="496"/>
                      <a:pt x="707" y="496"/>
                      <a:pt x="707" y="496"/>
                    </a:cubicBezTo>
                    <a:cubicBezTo>
                      <a:pt x="707" y="499"/>
                      <a:pt x="707" y="499"/>
                      <a:pt x="707" y="499"/>
                    </a:cubicBezTo>
                    <a:cubicBezTo>
                      <a:pt x="710" y="500"/>
                      <a:pt x="710" y="500"/>
                      <a:pt x="710" y="500"/>
                    </a:cubicBezTo>
                    <a:cubicBezTo>
                      <a:pt x="712" y="496"/>
                      <a:pt x="712" y="496"/>
                      <a:pt x="712" y="496"/>
                    </a:cubicBezTo>
                    <a:cubicBezTo>
                      <a:pt x="714" y="495"/>
                      <a:pt x="714" y="495"/>
                      <a:pt x="714" y="495"/>
                    </a:cubicBezTo>
                    <a:cubicBezTo>
                      <a:pt x="714" y="490"/>
                      <a:pt x="714" y="490"/>
                      <a:pt x="714" y="490"/>
                    </a:cubicBezTo>
                    <a:cubicBezTo>
                      <a:pt x="711" y="488"/>
                      <a:pt x="711" y="488"/>
                      <a:pt x="711" y="488"/>
                    </a:cubicBezTo>
                    <a:cubicBezTo>
                      <a:pt x="710" y="491"/>
                      <a:pt x="710" y="491"/>
                      <a:pt x="710" y="491"/>
                    </a:cubicBezTo>
                    <a:cubicBezTo>
                      <a:pt x="710" y="493"/>
                      <a:pt x="710" y="493"/>
                      <a:pt x="710" y="493"/>
                    </a:cubicBezTo>
                    <a:cubicBezTo>
                      <a:pt x="708" y="492"/>
                      <a:pt x="708" y="492"/>
                      <a:pt x="708" y="492"/>
                    </a:cubicBezTo>
                    <a:cubicBezTo>
                      <a:pt x="705" y="488"/>
                      <a:pt x="705" y="488"/>
                      <a:pt x="705" y="488"/>
                    </a:cubicBezTo>
                    <a:cubicBezTo>
                      <a:pt x="706" y="486"/>
                      <a:pt x="706" y="486"/>
                      <a:pt x="706" y="486"/>
                    </a:cubicBezTo>
                    <a:cubicBezTo>
                      <a:pt x="703" y="483"/>
                      <a:pt x="703" y="483"/>
                      <a:pt x="703" y="483"/>
                    </a:cubicBezTo>
                    <a:cubicBezTo>
                      <a:pt x="705" y="481"/>
                      <a:pt x="705" y="481"/>
                      <a:pt x="705" y="481"/>
                    </a:cubicBezTo>
                    <a:cubicBezTo>
                      <a:pt x="707" y="481"/>
                      <a:pt x="707" y="481"/>
                      <a:pt x="707" y="481"/>
                    </a:cubicBezTo>
                    <a:cubicBezTo>
                      <a:pt x="707" y="478"/>
                      <a:pt x="707" y="478"/>
                      <a:pt x="707" y="478"/>
                    </a:cubicBezTo>
                    <a:cubicBezTo>
                      <a:pt x="705" y="477"/>
                      <a:pt x="705" y="477"/>
                      <a:pt x="705" y="477"/>
                    </a:cubicBezTo>
                    <a:cubicBezTo>
                      <a:pt x="701" y="480"/>
                      <a:pt x="701" y="480"/>
                      <a:pt x="701" y="480"/>
                    </a:cubicBezTo>
                    <a:cubicBezTo>
                      <a:pt x="698" y="479"/>
                      <a:pt x="698" y="479"/>
                      <a:pt x="698" y="479"/>
                    </a:cubicBezTo>
                    <a:cubicBezTo>
                      <a:pt x="697" y="480"/>
                      <a:pt x="697" y="480"/>
                      <a:pt x="697" y="480"/>
                    </a:cubicBezTo>
                    <a:cubicBezTo>
                      <a:pt x="694" y="480"/>
                      <a:pt x="694" y="480"/>
                      <a:pt x="694" y="480"/>
                    </a:cubicBezTo>
                    <a:close/>
                    <a:moveTo>
                      <a:pt x="699" y="422"/>
                    </a:moveTo>
                    <a:cubicBezTo>
                      <a:pt x="696" y="424"/>
                      <a:pt x="696" y="424"/>
                      <a:pt x="696" y="424"/>
                    </a:cubicBezTo>
                    <a:cubicBezTo>
                      <a:pt x="696" y="425"/>
                      <a:pt x="696" y="425"/>
                      <a:pt x="696" y="425"/>
                    </a:cubicBezTo>
                    <a:cubicBezTo>
                      <a:pt x="699" y="427"/>
                      <a:pt x="699" y="427"/>
                      <a:pt x="699" y="427"/>
                    </a:cubicBezTo>
                    <a:cubicBezTo>
                      <a:pt x="699" y="429"/>
                      <a:pt x="699" y="429"/>
                      <a:pt x="699" y="429"/>
                    </a:cubicBezTo>
                    <a:cubicBezTo>
                      <a:pt x="697" y="431"/>
                      <a:pt x="697" y="431"/>
                      <a:pt x="697" y="431"/>
                    </a:cubicBezTo>
                    <a:cubicBezTo>
                      <a:pt x="697" y="436"/>
                      <a:pt x="697" y="436"/>
                      <a:pt x="697" y="436"/>
                    </a:cubicBezTo>
                    <a:cubicBezTo>
                      <a:pt x="700" y="440"/>
                      <a:pt x="700" y="440"/>
                      <a:pt x="700" y="440"/>
                    </a:cubicBezTo>
                    <a:cubicBezTo>
                      <a:pt x="700" y="446"/>
                      <a:pt x="700" y="446"/>
                      <a:pt x="700" y="446"/>
                    </a:cubicBezTo>
                    <a:cubicBezTo>
                      <a:pt x="699" y="450"/>
                      <a:pt x="699" y="450"/>
                      <a:pt x="699" y="450"/>
                    </a:cubicBezTo>
                    <a:cubicBezTo>
                      <a:pt x="698" y="454"/>
                      <a:pt x="698" y="454"/>
                      <a:pt x="698" y="454"/>
                    </a:cubicBezTo>
                    <a:cubicBezTo>
                      <a:pt x="700" y="456"/>
                      <a:pt x="700" y="456"/>
                      <a:pt x="700" y="456"/>
                    </a:cubicBezTo>
                    <a:cubicBezTo>
                      <a:pt x="701" y="454"/>
                      <a:pt x="701" y="454"/>
                      <a:pt x="701" y="454"/>
                    </a:cubicBezTo>
                    <a:cubicBezTo>
                      <a:pt x="702" y="449"/>
                      <a:pt x="702" y="449"/>
                      <a:pt x="702" y="449"/>
                    </a:cubicBezTo>
                    <a:cubicBezTo>
                      <a:pt x="704" y="447"/>
                      <a:pt x="704" y="447"/>
                      <a:pt x="704" y="447"/>
                    </a:cubicBezTo>
                    <a:cubicBezTo>
                      <a:pt x="703" y="442"/>
                      <a:pt x="703" y="442"/>
                      <a:pt x="703" y="442"/>
                    </a:cubicBezTo>
                    <a:cubicBezTo>
                      <a:pt x="701" y="438"/>
                      <a:pt x="701" y="438"/>
                      <a:pt x="701" y="438"/>
                    </a:cubicBezTo>
                    <a:cubicBezTo>
                      <a:pt x="700" y="430"/>
                      <a:pt x="700" y="430"/>
                      <a:pt x="700" y="430"/>
                    </a:cubicBezTo>
                    <a:cubicBezTo>
                      <a:pt x="701" y="427"/>
                      <a:pt x="701" y="427"/>
                      <a:pt x="701" y="427"/>
                    </a:cubicBezTo>
                    <a:cubicBezTo>
                      <a:pt x="701" y="424"/>
                      <a:pt x="701" y="424"/>
                      <a:pt x="701" y="424"/>
                    </a:cubicBezTo>
                    <a:cubicBezTo>
                      <a:pt x="699" y="422"/>
                      <a:pt x="699" y="422"/>
                      <a:pt x="699" y="422"/>
                    </a:cubicBezTo>
                    <a:close/>
                    <a:moveTo>
                      <a:pt x="670" y="431"/>
                    </a:moveTo>
                    <a:cubicBezTo>
                      <a:pt x="669" y="433"/>
                      <a:pt x="669" y="433"/>
                      <a:pt x="669" y="433"/>
                    </a:cubicBezTo>
                    <a:cubicBezTo>
                      <a:pt x="670" y="434"/>
                      <a:pt x="670" y="434"/>
                      <a:pt x="670" y="434"/>
                    </a:cubicBezTo>
                    <a:cubicBezTo>
                      <a:pt x="674" y="434"/>
                      <a:pt x="674" y="434"/>
                      <a:pt x="674" y="434"/>
                    </a:cubicBezTo>
                    <a:cubicBezTo>
                      <a:pt x="676" y="432"/>
                      <a:pt x="676" y="432"/>
                      <a:pt x="676" y="432"/>
                    </a:cubicBezTo>
                    <a:cubicBezTo>
                      <a:pt x="675" y="430"/>
                      <a:pt x="675" y="430"/>
                      <a:pt x="675" y="430"/>
                    </a:cubicBezTo>
                    <a:cubicBezTo>
                      <a:pt x="671" y="429"/>
                      <a:pt x="671" y="429"/>
                      <a:pt x="671" y="429"/>
                    </a:cubicBezTo>
                    <a:cubicBezTo>
                      <a:pt x="670" y="431"/>
                      <a:pt x="670" y="431"/>
                      <a:pt x="670" y="431"/>
                    </a:cubicBezTo>
                    <a:close/>
                    <a:moveTo>
                      <a:pt x="665" y="425"/>
                    </a:moveTo>
                    <a:cubicBezTo>
                      <a:pt x="667" y="427"/>
                      <a:pt x="667" y="427"/>
                      <a:pt x="667" y="427"/>
                    </a:cubicBezTo>
                    <a:cubicBezTo>
                      <a:pt x="669" y="426"/>
                      <a:pt x="669" y="426"/>
                      <a:pt x="669" y="426"/>
                    </a:cubicBezTo>
                    <a:cubicBezTo>
                      <a:pt x="668" y="423"/>
                      <a:pt x="668" y="423"/>
                      <a:pt x="668" y="423"/>
                    </a:cubicBezTo>
                    <a:cubicBezTo>
                      <a:pt x="666" y="424"/>
                      <a:pt x="666" y="424"/>
                      <a:pt x="666" y="424"/>
                    </a:cubicBezTo>
                    <a:cubicBezTo>
                      <a:pt x="665" y="425"/>
                      <a:pt x="665" y="425"/>
                      <a:pt x="665" y="425"/>
                    </a:cubicBezTo>
                    <a:close/>
                    <a:moveTo>
                      <a:pt x="690" y="364"/>
                    </a:moveTo>
                    <a:cubicBezTo>
                      <a:pt x="693" y="368"/>
                      <a:pt x="693" y="368"/>
                      <a:pt x="693" y="368"/>
                    </a:cubicBezTo>
                    <a:cubicBezTo>
                      <a:pt x="696" y="370"/>
                      <a:pt x="696" y="370"/>
                      <a:pt x="696" y="370"/>
                    </a:cubicBezTo>
                    <a:cubicBezTo>
                      <a:pt x="698" y="370"/>
                      <a:pt x="698" y="370"/>
                      <a:pt x="698" y="370"/>
                    </a:cubicBezTo>
                    <a:cubicBezTo>
                      <a:pt x="698" y="368"/>
                      <a:pt x="698" y="368"/>
                      <a:pt x="698" y="368"/>
                    </a:cubicBezTo>
                    <a:cubicBezTo>
                      <a:pt x="695" y="366"/>
                      <a:pt x="695" y="366"/>
                      <a:pt x="695" y="366"/>
                    </a:cubicBezTo>
                    <a:cubicBezTo>
                      <a:pt x="693" y="363"/>
                      <a:pt x="693" y="363"/>
                      <a:pt x="693" y="363"/>
                    </a:cubicBezTo>
                    <a:cubicBezTo>
                      <a:pt x="691" y="363"/>
                      <a:pt x="691" y="363"/>
                      <a:pt x="691" y="363"/>
                    </a:cubicBezTo>
                    <a:cubicBezTo>
                      <a:pt x="690" y="364"/>
                      <a:pt x="690" y="364"/>
                      <a:pt x="690" y="364"/>
                    </a:cubicBezTo>
                    <a:close/>
                    <a:moveTo>
                      <a:pt x="715" y="378"/>
                    </a:moveTo>
                    <a:cubicBezTo>
                      <a:pt x="715" y="380"/>
                      <a:pt x="715" y="380"/>
                      <a:pt x="715" y="380"/>
                    </a:cubicBezTo>
                    <a:cubicBezTo>
                      <a:pt x="718" y="380"/>
                      <a:pt x="718" y="380"/>
                      <a:pt x="718" y="380"/>
                    </a:cubicBezTo>
                    <a:cubicBezTo>
                      <a:pt x="719" y="378"/>
                      <a:pt x="719" y="378"/>
                      <a:pt x="719" y="378"/>
                    </a:cubicBezTo>
                    <a:cubicBezTo>
                      <a:pt x="719" y="376"/>
                      <a:pt x="719" y="376"/>
                      <a:pt x="719" y="376"/>
                    </a:cubicBezTo>
                    <a:cubicBezTo>
                      <a:pt x="719" y="372"/>
                      <a:pt x="719" y="372"/>
                      <a:pt x="719" y="372"/>
                    </a:cubicBezTo>
                    <a:cubicBezTo>
                      <a:pt x="721" y="370"/>
                      <a:pt x="721" y="370"/>
                      <a:pt x="721" y="370"/>
                    </a:cubicBezTo>
                    <a:cubicBezTo>
                      <a:pt x="721" y="366"/>
                      <a:pt x="721" y="366"/>
                      <a:pt x="721" y="366"/>
                    </a:cubicBezTo>
                    <a:cubicBezTo>
                      <a:pt x="717" y="371"/>
                      <a:pt x="717" y="371"/>
                      <a:pt x="717" y="371"/>
                    </a:cubicBezTo>
                    <a:cubicBezTo>
                      <a:pt x="717" y="375"/>
                      <a:pt x="717" y="375"/>
                      <a:pt x="717" y="375"/>
                    </a:cubicBezTo>
                    <a:cubicBezTo>
                      <a:pt x="715" y="378"/>
                      <a:pt x="715" y="378"/>
                      <a:pt x="715" y="378"/>
                    </a:cubicBezTo>
                    <a:close/>
                    <a:moveTo>
                      <a:pt x="704" y="357"/>
                    </a:moveTo>
                    <a:cubicBezTo>
                      <a:pt x="705" y="357"/>
                      <a:pt x="705" y="357"/>
                      <a:pt x="705" y="357"/>
                    </a:cubicBezTo>
                    <a:cubicBezTo>
                      <a:pt x="706" y="357"/>
                      <a:pt x="706" y="357"/>
                      <a:pt x="706" y="357"/>
                    </a:cubicBezTo>
                    <a:cubicBezTo>
                      <a:pt x="707" y="353"/>
                      <a:pt x="707" y="353"/>
                      <a:pt x="707" y="353"/>
                    </a:cubicBezTo>
                    <a:cubicBezTo>
                      <a:pt x="707" y="351"/>
                      <a:pt x="707" y="351"/>
                      <a:pt x="707" y="351"/>
                    </a:cubicBezTo>
                    <a:cubicBezTo>
                      <a:pt x="706" y="352"/>
                      <a:pt x="706" y="352"/>
                      <a:pt x="706" y="352"/>
                    </a:cubicBezTo>
                    <a:cubicBezTo>
                      <a:pt x="704" y="357"/>
                      <a:pt x="704" y="357"/>
                      <a:pt x="704" y="357"/>
                    </a:cubicBezTo>
                    <a:close/>
                    <a:moveTo>
                      <a:pt x="706" y="343"/>
                    </a:moveTo>
                    <a:cubicBezTo>
                      <a:pt x="705" y="345"/>
                      <a:pt x="705" y="345"/>
                      <a:pt x="705" y="345"/>
                    </a:cubicBezTo>
                    <a:cubicBezTo>
                      <a:pt x="707" y="346"/>
                      <a:pt x="707" y="346"/>
                      <a:pt x="707" y="346"/>
                    </a:cubicBezTo>
                    <a:cubicBezTo>
                      <a:pt x="708" y="345"/>
                      <a:pt x="708" y="345"/>
                      <a:pt x="708" y="345"/>
                    </a:cubicBezTo>
                    <a:cubicBezTo>
                      <a:pt x="708" y="343"/>
                      <a:pt x="708" y="343"/>
                      <a:pt x="708" y="343"/>
                    </a:cubicBezTo>
                    <a:cubicBezTo>
                      <a:pt x="706" y="343"/>
                      <a:pt x="706" y="343"/>
                      <a:pt x="706" y="343"/>
                    </a:cubicBezTo>
                    <a:close/>
                    <a:moveTo>
                      <a:pt x="723" y="303"/>
                    </a:moveTo>
                    <a:cubicBezTo>
                      <a:pt x="724" y="307"/>
                      <a:pt x="724" y="307"/>
                      <a:pt x="724" y="307"/>
                    </a:cubicBezTo>
                    <a:cubicBezTo>
                      <a:pt x="725" y="308"/>
                      <a:pt x="725" y="308"/>
                      <a:pt x="725" y="308"/>
                    </a:cubicBezTo>
                    <a:cubicBezTo>
                      <a:pt x="728" y="306"/>
                      <a:pt x="728" y="306"/>
                      <a:pt x="728" y="306"/>
                    </a:cubicBezTo>
                    <a:cubicBezTo>
                      <a:pt x="730" y="301"/>
                      <a:pt x="730" y="301"/>
                      <a:pt x="730" y="301"/>
                    </a:cubicBezTo>
                    <a:cubicBezTo>
                      <a:pt x="729" y="297"/>
                      <a:pt x="729" y="297"/>
                      <a:pt x="729" y="297"/>
                    </a:cubicBezTo>
                    <a:cubicBezTo>
                      <a:pt x="730" y="295"/>
                      <a:pt x="730" y="295"/>
                      <a:pt x="730" y="295"/>
                    </a:cubicBezTo>
                    <a:cubicBezTo>
                      <a:pt x="729" y="293"/>
                      <a:pt x="729" y="293"/>
                      <a:pt x="729" y="293"/>
                    </a:cubicBezTo>
                    <a:cubicBezTo>
                      <a:pt x="726" y="295"/>
                      <a:pt x="726" y="295"/>
                      <a:pt x="726" y="295"/>
                    </a:cubicBezTo>
                    <a:cubicBezTo>
                      <a:pt x="725" y="298"/>
                      <a:pt x="725" y="298"/>
                      <a:pt x="725" y="298"/>
                    </a:cubicBezTo>
                    <a:cubicBezTo>
                      <a:pt x="723" y="303"/>
                      <a:pt x="723" y="303"/>
                      <a:pt x="723" y="303"/>
                    </a:cubicBezTo>
                    <a:close/>
                    <a:moveTo>
                      <a:pt x="712" y="249"/>
                    </a:moveTo>
                    <a:cubicBezTo>
                      <a:pt x="713" y="249"/>
                      <a:pt x="713" y="249"/>
                      <a:pt x="713" y="249"/>
                    </a:cubicBezTo>
                    <a:cubicBezTo>
                      <a:pt x="714" y="248"/>
                      <a:pt x="714" y="248"/>
                      <a:pt x="714" y="248"/>
                    </a:cubicBezTo>
                    <a:cubicBezTo>
                      <a:pt x="719" y="248"/>
                      <a:pt x="719" y="248"/>
                      <a:pt x="719" y="248"/>
                    </a:cubicBezTo>
                    <a:cubicBezTo>
                      <a:pt x="722" y="245"/>
                      <a:pt x="722" y="245"/>
                      <a:pt x="722" y="245"/>
                    </a:cubicBezTo>
                    <a:cubicBezTo>
                      <a:pt x="722" y="241"/>
                      <a:pt x="722" y="241"/>
                      <a:pt x="722" y="241"/>
                    </a:cubicBezTo>
                    <a:cubicBezTo>
                      <a:pt x="719" y="238"/>
                      <a:pt x="719" y="238"/>
                      <a:pt x="719" y="238"/>
                    </a:cubicBezTo>
                    <a:cubicBezTo>
                      <a:pt x="713" y="241"/>
                      <a:pt x="713" y="241"/>
                      <a:pt x="713" y="241"/>
                    </a:cubicBezTo>
                    <a:cubicBezTo>
                      <a:pt x="711" y="246"/>
                      <a:pt x="711" y="246"/>
                      <a:pt x="711" y="246"/>
                    </a:cubicBezTo>
                    <a:cubicBezTo>
                      <a:pt x="712" y="249"/>
                      <a:pt x="712" y="249"/>
                      <a:pt x="712" y="249"/>
                    </a:cubicBezTo>
                    <a:close/>
                    <a:moveTo>
                      <a:pt x="751" y="147"/>
                    </a:moveTo>
                    <a:cubicBezTo>
                      <a:pt x="753" y="145"/>
                      <a:pt x="753" y="145"/>
                      <a:pt x="753" y="145"/>
                    </a:cubicBezTo>
                    <a:cubicBezTo>
                      <a:pt x="753" y="142"/>
                      <a:pt x="753" y="142"/>
                      <a:pt x="753" y="142"/>
                    </a:cubicBezTo>
                    <a:cubicBezTo>
                      <a:pt x="753" y="136"/>
                      <a:pt x="753" y="136"/>
                      <a:pt x="753" y="136"/>
                    </a:cubicBezTo>
                    <a:cubicBezTo>
                      <a:pt x="753" y="134"/>
                      <a:pt x="753" y="134"/>
                      <a:pt x="753" y="134"/>
                    </a:cubicBezTo>
                    <a:cubicBezTo>
                      <a:pt x="753" y="130"/>
                      <a:pt x="753" y="130"/>
                      <a:pt x="753" y="130"/>
                    </a:cubicBezTo>
                    <a:cubicBezTo>
                      <a:pt x="750" y="131"/>
                      <a:pt x="750" y="131"/>
                      <a:pt x="750" y="131"/>
                    </a:cubicBezTo>
                    <a:cubicBezTo>
                      <a:pt x="749" y="134"/>
                      <a:pt x="749" y="134"/>
                      <a:pt x="749" y="134"/>
                    </a:cubicBezTo>
                    <a:cubicBezTo>
                      <a:pt x="750" y="135"/>
                      <a:pt x="750" y="135"/>
                      <a:pt x="750" y="135"/>
                    </a:cubicBezTo>
                    <a:cubicBezTo>
                      <a:pt x="750" y="138"/>
                      <a:pt x="750" y="138"/>
                      <a:pt x="750" y="138"/>
                    </a:cubicBezTo>
                    <a:cubicBezTo>
                      <a:pt x="749" y="142"/>
                      <a:pt x="749" y="142"/>
                      <a:pt x="749" y="142"/>
                    </a:cubicBezTo>
                    <a:cubicBezTo>
                      <a:pt x="751" y="147"/>
                      <a:pt x="751" y="147"/>
                      <a:pt x="751" y="147"/>
                    </a:cubicBezTo>
                    <a:close/>
                    <a:moveTo>
                      <a:pt x="739" y="159"/>
                    </a:moveTo>
                    <a:cubicBezTo>
                      <a:pt x="741" y="159"/>
                      <a:pt x="741" y="159"/>
                      <a:pt x="741" y="159"/>
                    </a:cubicBezTo>
                    <a:cubicBezTo>
                      <a:pt x="742" y="157"/>
                      <a:pt x="742" y="157"/>
                      <a:pt x="742" y="157"/>
                    </a:cubicBezTo>
                    <a:cubicBezTo>
                      <a:pt x="742" y="150"/>
                      <a:pt x="742" y="150"/>
                      <a:pt x="742" y="150"/>
                    </a:cubicBezTo>
                    <a:cubicBezTo>
                      <a:pt x="741" y="149"/>
                      <a:pt x="741" y="149"/>
                      <a:pt x="741" y="149"/>
                    </a:cubicBezTo>
                    <a:cubicBezTo>
                      <a:pt x="738" y="151"/>
                      <a:pt x="738" y="151"/>
                      <a:pt x="738" y="151"/>
                    </a:cubicBezTo>
                    <a:cubicBezTo>
                      <a:pt x="737" y="154"/>
                      <a:pt x="737" y="154"/>
                      <a:pt x="737" y="154"/>
                    </a:cubicBezTo>
                    <a:cubicBezTo>
                      <a:pt x="739" y="159"/>
                      <a:pt x="739" y="159"/>
                      <a:pt x="739" y="159"/>
                    </a:cubicBezTo>
                    <a:close/>
                    <a:moveTo>
                      <a:pt x="733" y="148"/>
                    </a:moveTo>
                    <a:cubicBezTo>
                      <a:pt x="734" y="149"/>
                      <a:pt x="734" y="149"/>
                      <a:pt x="734" y="149"/>
                    </a:cubicBezTo>
                    <a:cubicBezTo>
                      <a:pt x="737" y="147"/>
                      <a:pt x="737" y="147"/>
                      <a:pt x="737" y="147"/>
                    </a:cubicBezTo>
                    <a:cubicBezTo>
                      <a:pt x="737" y="143"/>
                      <a:pt x="737" y="143"/>
                      <a:pt x="737" y="143"/>
                    </a:cubicBezTo>
                    <a:cubicBezTo>
                      <a:pt x="738" y="141"/>
                      <a:pt x="738" y="141"/>
                      <a:pt x="738" y="141"/>
                    </a:cubicBezTo>
                    <a:cubicBezTo>
                      <a:pt x="739" y="138"/>
                      <a:pt x="739" y="138"/>
                      <a:pt x="739" y="138"/>
                    </a:cubicBezTo>
                    <a:cubicBezTo>
                      <a:pt x="737" y="136"/>
                      <a:pt x="737" y="136"/>
                      <a:pt x="737" y="136"/>
                    </a:cubicBezTo>
                    <a:cubicBezTo>
                      <a:pt x="734" y="137"/>
                      <a:pt x="734" y="137"/>
                      <a:pt x="734" y="137"/>
                    </a:cubicBezTo>
                    <a:cubicBezTo>
                      <a:pt x="732" y="141"/>
                      <a:pt x="732" y="141"/>
                      <a:pt x="732" y="141"/>
                    </a:cubicBezTo>
                    <a:cubicBezTo>
                      <a:pt x="733" y="144"/>
                      <a:pt x="733" y="144"/>
                      <a:pt x="733" y="144"/>
                    </a:cubicBezTo>
                    <a:cubicBezTo>
                      <a:pt x="733" y="148"/>
                      <a:pt x="733" y="148"/>
                      <a:pt x="733" y="148"/>
                    </a:cubicBezTo>
                    <a:close/>
                    <a:moveTo>
                      <a:pt x="531" y="12"/>
                    </a:moveTo>
                    <a:cubicBezTo>
                      <a:pt x="532" y="12"/>
                      <a:pt x="532" y="12"/>
                      <a:pt x="532" y="12"/>
                    </a:cubicBezTo>
                    <a:cubicBezTo>
                      <a:pt x="533" y="11"/>
                      <a:pt x="533" y="11"/>
                      <a:pt x="533" y="11"/>
                    </a:cubicBezTo>
                    <a:cubicBezTo>
                      <a:pt x="534" y="8"/>
                      <a:pt x="534" y="8"/>
                      <a:pt x="534" y="8"/>
                    </a:cubicBezTo>
                    <a:cubicBezTo>
                      <a:pt x="533" y="5"/>
                      <a:pt x="533" y="5"/>
                      <a:pt x="533" y="5"/>
                    </a:cubicBezTo>
                    <a:cubicBezTo>
                      <a:pt x="530" y="5"/>
                      <a:pt x="530" y="5"/>
                      <a:pt x="530" y="5"/>
                    </a:cubicBezTo>
                    <a:cubicBezTo>
                      <a:pt x="529" y="8"/>
                      <a:pt x="529" y="8"/>
                      <a:pt x="529" y="8"/>
                    </a:cubicBezTo>
                    <a:cubicBezTo>
                      <a:pt x="531" y="12"/>
                      <a:pt x="531" y="12"/>
                      <a:pt x="531" y="12"/>
                    </a:cubicBezTo>
                    <a:close/>
                    <a:moveTo>
                      <a:pt x="531" y="18"/>
                    </a:moveTo>
                    <a:cubicBezTo>
                      <a:pt x="532" y="20"/>
                      <a:pt x="532" y="20"/>
                      <a:pt x="532" y="20"/>
                    </a:cubicBezTo>
                    <a:cubicBezTo>
                      <a:pt x="535" y="20"/>
                      <a:pt x="535" y="20"/>
                      <a:pt x="535" y="20"/>
                    </a:cubicBezTo>
                    <a:cubicBezTo>
                      <a:pt x="537" y="17"/>
                      <a:pt x="537" y="17"/>
                      <a:pt x="537" y="17"/>
                    </a:cubicBezTo>
                    <a:cubicBezTo>
                      <a:pt x="537" y="14"/>
                      <a:pt x="537" y="14"/>
                      <a:pt x="537" y="14"/>
                    </a:cubicBezTo>
                    <a:cubicBezTo>
                      <a:pt x="534" y="14"/>
                      <a:pt x="534" y="14"/>
                      <a:pt x="534" y="14"/>
                    </a:cubicBezTo>
                    <a:cubicBezTo>
                      <a:pt x="531" y="16"/>
                      <a:pt x="531" y="16"/>
                      <a:pt x="531" y="16"/>
                    </a:cubicBezTo>
                    <a:cubicBezTo>
                      <a:pt x="531" y="18"/>
                      <a:pt x="531" y="18"/>
                      <a:pt x="531" y="18"/>
                    </a:cubicBezTo>
                    <a:close/>
                    <a:moveTo>
                      <a:pt x="515" y="19"/>
                    </a:moveTo>
                    <a:cubicBezTo>
                      <a:pt x="518" y="23"/>
                      <a:pt x="518" y="23"/>
                      <a:pt x="518" y="23"/>
                    </a:cubicBezTo>
                    <a:cubicBezTo>
                      <a:pt x="519" y="25"/>
                      <a:pt x="519" y="25"/>
                      <a:pt x="519" y="25"/>
                    </a:cubicBezTo>
                    <a:cubicBezTo>
                      <a:pt x="521" y="25"/>
                      <a:pt x="521" y="25"/>
                      <a:pt x="521" y="25"/>
                    </a:cubicBezTo>
                    <a:cubicBezTo>
                      <a:pt x="523" y="23"/>
                      <a:pt x="523" y="23"/>
                      <a:pt x="523" y="23"/>
                    </a:cubicBezTo>
                    <a:cubicBezTo>
                      <a:pt x="525" y="21"/>
                      <a:pt x="525" y="21"/>
                      <a:pt x="525" y="21"/>
                    </a:cubicBezTo>
                    <a:cubicBezTo>
                      <a:pt x="520" y="17"/>
                      <a:pt x="520" y="17"/>
                      <a:pt x="520" y="17"/>
                    </a:cubicBezTo>
                    <a:cubicBezTo>
                      <a:pt x="519" y="14"/>
                      <a:pt x="519" y="14"/>
                      <a:pt x="519" y="14"/>
                    </a:cubicBezTo>
                    <a:cubicBezTo>
                      <a:pt x="517" y="12"/>
                      <a:pt x="517" y="12"/>
                      <a:pt x="517" y="12"/>
                    </a:cubicBezTo>
                    <a:cubicBezTo>
                      <a:pt x="516" y="13"/>
                      <a:pt x="516" y="13"/>
                      <a:pt x="516" y="13"/>
                    </a:cubicBezTo>
                    <a:cubicBezTo>
                      <a:pt x="516" y="16"/>
                      <a:pt x="516" y="16"/>
                      <a:pt x="516" y="16"/>
                    </a:cubicBezTo>
                    <a:cubicBezTo>
                      <a:pt x="514" y="17"/>
                      <a:pt x="514" y="17"/>
                      <a:pt x="514" y="17"/>
                    </a:cubicBezTo>
                    <a:cubicBezTo>
                      <a:pt x="515" y="19"/>
                      <a:pt x="515" y="19"/>
                      <a:pt x="515" y="19"/>
                    </a:cubicBezTo>
                    <a:close/>
                    <a:moveTo>
                      <a:pt x="505" y="22"/>
                    </a:moveTo>
                    <a:cubicBezTo>
                      <a:pt x="505" y="25"/>
                      <a:pt x="505" y="25"/>
                      <a:pt x="505" y="25"/>
                    </a:cubicBezTo>
                    <a:cubicBezTo>
                      <a:pt x="507" y="26"/>
                      <a:pt x="507" y="26"/>
                      <a:pt x="507" y="26"/>
                    </a:cubicBezTo>
                    <a:cubicBezTo>
                      <a:pt x="509" y="25"/>
                      <a:pt x="509" y="25"/>
                      <a:pt x="509" y="25"/>
                    </a:cubicBezTo>
                    <a:cubicBezTo>
                      <a:pt x="509" y="23"/>
                      <a:pt x="509" y="23"/>
                      <a:pt x="509" y="23"/>
                    </a:cubicBezTo>
                    <a:cubicBezTo>
                      <a:pt x="506" y="21"/>
                      <a:pt x="506" y="21"/>
                      <a:pt x="506" y="21"/>
                    </a:cubicBezTo>
                    <a:cubicBezTo>
                      <a:pt x="505" y="22"/>
                      <a:pt x="505" y="22"/>
                      <a:pt x="505" y="22"/>
                    </a:cubicBezTo>
                    <a:close/>
                    <a:moveTo>
                      <a:pt x="448" y="37"/>
                    </a:moveTo>
                    <a:cubicBezTo>
                      <a:pt x="449" y="40"/>
                      <a:pt x="449" y="40"/>
                      <a:pt x="449" y="40"/>
                    </a:cubicBezTo>
                    <a:cubicBezTo>
                      <a:pt x="452" y="42"/>
                      <a:pt x="452" y="42"/>
                      <a:pt x="452" y="42"/>
                    </a:cubicBezTo>
                    <a:cubicBezTo>
                      <a:pt x="457" y="46"/>
                      <a:pt x="457" y="46"/>
                      <a:pt x="457" y="46"/>
                    </a:cubicBezTo>
                    <a:cubicBezTo>
                      <a:pt x="460" y="47"/>
                      <a:pt x="460" y="47"/>
                      <a:pt x="460" y="47"/>
                    </a:cubicBezTo>
                    <a:cubicBezTo>
                      <a:pt x="461" y="43"/>
                      <a:pt x="461" y="43"/>
                      <a:pt x="461" y="43"/>
                    </a:cubicBezTo>
                    <a:cubicBezTo>
                      <a:pt x="461" y="39"/>
                      <a:pt x="461" y="39"/>
                      <a:pt x="461" y="39"/>
                    </a:cubicBezTo>
                    <a:cubicBezTo>
                      <a:pt x="462" y="38"/>
                      <a:pt x="462" y="38"/>
                      <a:pt x="462" y="38"/>
                    </a:cubicBezTo>
                    <a:cubicBezTo>
                      <a:pt x="462" y="36"/>
                      <a:pt x="462" y="36"/>
                      <a:pt x="462" y="36"/>
                    </a:cubicBezTo>
                    <a:cubicBezTo>
                      <a:pt x="459" y="35"/>
                      <a:pt x="459" y="35"/>
                      <a:pt x="459" y="35"/>
                    </a:cubicBezTo>
                    <a:cubicBezTo>
                      <a:pt x="456" y="31"/>
                      <a:pt x="456" y="31"/>
                      <a:pt x="456" y="31"/>
                    </a:cubicBezTo>
                    <a:cubicBezTo>
                      <a:pt x="454" y="30"/>
                      <a:pt x="454" y="30"/>
                      <a:pt x="454" y="30"/>
                    </a:cubicBezTo>
                    <a:cubicBezTo>
                      <a:pt x="452" y="32"/>
                      <a:pt x="452" y="32"/>
                      <a:pt x="452" y="32"/>
                    </a:cubicBezTo>
                    <a:cubicBezTo>
                      <a:pt x="453" y="35"/>
                      <a:pt x="453" y="35"/>
                      <a:pt x="453" y="35"/>
                    </a:cubicBezTo>
                    <a:cubicBezTo>
                      <a:pt x="453" y="37"/>
                      <a:pt x="453" y="37"/>
                      <a:pt x="453" y="37"/>
                    </a:cubicBezTo>
                    <a:cubicBezTo>
                      <a:pt x="452" y="39"/>
                      <a:pt x="452" y="39"/>
                      <a:pt x="452" y="39"/>
                    </a:cubicBezTo>
                    <a:cubicBezTo>
                      <a:pt x="450" y="37"/>
                      <a:pt x="450" y="37"/>
                      <a:pt x="450" y="37"/>
                    </a:cubicBezTo>
                    <a:cubicBezTo>
                      <a:pt x="448" y="37"/>
                      <a:pt x="448" y="37"/>
                      <a:pt x="448" y="37"/>
                    </a:cubicBezTo>
                    <a:close/>
                    <a:moveTo>
                      <a:pt x="444" y="40"/>
                    </a:moveTo>
                    <a:cubicBezTo>
                      <a:pt x="446" y="45"/>
                      <a:pt x="446" y="45"/>
                      <a:pt x="446" y="45"/>
                    </a:cubicBezTo>
                    <a:cubicBezTo>
                      <a:pt x="448" y="46"/>
                      <a:pt x="448" y="46"/>
                      <a:pt x="448" y="46"/>
                    </a:cubicBezTo>
                    <a:cubicBezTo>
                      <a:pt x="448" y="41"/>
                      <a:pt x="448" y="41"/>
                      <a:pt x="448" y="41"/>
                    </a:cubicBezTo>
                    <a:cubicBezTo>
                      <a:pt x="445" y="39"/>
                      <a:pt x="445" y="39"/>
                      <a:pt x="445" y="39"/>
                    </a:cubicBezTo>
                    <a:cubicBezTo>
                      <a:pt x="444" y="40"/>
                      <a:pt x="444" y="40"/>
                      <a:pt x="444" y="40"/>
                    </a:cubicBezTo>
                    <a:close/>
                    <a:moveTo>
                      <a:pt x="425" y="39"/>
                    </a:moveTo>
                    <a:cubicBezTo>
                      <a:pt x="426" y="42"/>
                      <a:pt x="426" y="42"/>
                      <a:pt x="426" y="42"/>
                    </a:cubicBezTo>
                    <a:cubicBezTo>
                      <a:pt x="431" y="42"/>
                      <a:pt x="431" y="42"/>
                      <a:pt x="431" y="42"/>
                    </a:cubicBezTo>
                    <a:cubicBezTo>
                      <a:pt x="432" y="44"/>
                      <a:pt x="432" y="44"/>
                      <a:pt x="432" y="44"/>
                    </a:cubicBezTo>
                    <a:cubicBezTo>
                      <a:pt x="435" y="44"/>
                      <a:pt x="435" y="44"/>
                      <a:pt x="435" y="44"/>
                    </a:cubicBezTo>
                    <a:cubicBezTo>
                      <a:pt x="435" y="42"/>
                      <a:pt x="435" y="42"/>
                      <a:pt x="435" y="42"/>
                    </a:cubicBezTo>
                    <a:cubicBezTo>
                      <a:pt x="433" y="40"/>
                      <a:pt x="433" y="40"/>
                      <a:pt x="433" y="40"/>
                    </a:cubicBezTo>
                    <a:cubicBezTo>
                      <a:pt x="431" y="40"/>
                      <a:pt x="431" y="40"/>
                      <a:pt x="431" y="40"/>
                    </a:cubicBezTo>
                    <a:cubicBezTo>
                      <a:pt x="431" y="37"/>
                      <a:pt x="431" y="37"/>
                      <a:pt x="431" y="37"/>
                    </a:cubicBezTo>
                    <a:cubicBezTo>
                      <a:pt x="428" y="35"/>
                      <a:pt x="428" y="35"/>
                      <a:pt x="428" y="35"/>
                    </a:cubicBezTo>
                    <a:cubicBezTo>
                      <a:pt x="426" y="38"/>
                      <a:pt x="426" y="38"/>
                      <a:pt x="426" y="38"/>
                    </a:cubicBezTo>
                    <a:cubicBezTo>
                      <a:pt x="425" y="39"/>
                      <a:pt x="425" y="39"/>
                      <a:pt x="425" y="39"/>
                    </a:cubicBezTo>
                    <a:close/>
                    <a:moveTo>
                      <a:pt x="414" y="74"/>
                    </a:moveTo>
                    <a:cubicBezTo>
                      <a:pt x="416" y="75"/>
                      <a:pt x="416" y="75"/>
                      <a:pt x="416" y="75"/>
                    </a:cubicBezTo>
                    <a:cubicBezTo>
                      <a:pt x="418" y="74"/>
                      <a:pt x="418" y="74"/>
                      <a:pt x="418" y="74"/>
                    </a:cubicBezTo>
                    <a:cubicBezTo>
                      <a:pt x="419" y="71"/>
                      <a:pt x="419" y="71"/>
                      <a:pt x="419" y="71"/>
                    </a:cubicBezTo>
                    <a:cubicBezTo>
                      <a:pt x="417" y="68"/>
                      <a:pt x="417" y="68"/>
                      <a:pt x="417" y="68"/>
                    </a:cubicBezTo>
                    <a:cubicBezTo>
                      <a:pt x="415" y="64"/>
                      <a:pt x="415" y="64"/>
                      <a:pt x="415" y="64"/>
                    </a:cubicBezTo>
                    <a:cubicBezTo>
                      <a:pt x="413" y="61"/>
                      <a:pt x="413" y="61"/>
                      <a:pt x="413" y="61"/>
                    </a:cubicBezTo>
                    <a:cubicBezTo>
                      <a:pt x="411" y="61"/>
                      <a:pt x="411" y="61"/>
                      <a:pt x="411" y="61"/>
                    </a:cubicBezTo>
                    <a:cubicBezTo>
                      <a:pt x="410" y="64"/>
                      <a:pt x="410" y="64"/>
                      <a:pt x="410" y="64"/>
                    </a:cubicBezTo>
                    <a:cubicBezTo>
                      <a:pt x="412" y="67"/>
                      <a:pt x="412" y="67"/>
                      <a:pt x="412" y="67"/>
                    </a:cubicBezTo>
                    <a:cubicBezTo>
                      <a:pt x="412" y="72"/>
                      <a:pt x="412" y="72"/>
                      <a:pt x="412" y="72"/>
                    </a:cubicBezTo>
                    <a:cubicBezTo>
                      <a:pt x="414" y="74"/>
                      <a:pt x="414" y="74"/>
                      <a:pt x="414" y="74"/>
                    </a:cubicBezTo>
                    <a:close/>
                    <a:moveTo>
                      <a:pt x="419" y="109"/>
                    </a:moveTo>
                    <a:cubicBezTo>
                      <a:pt x="424" y="109"/>
                      <a:pt x="424" y="109"/>
                      <a:pt x="424" y="109"/>
                    </a:cubicBezTo>
                    <a:cubicBezTo>
                      <a:pt x="426" y="107"/>
                      <a:pt x="426" y="107"/>
                      <a:pt x="426" y="107"/>
                    </a:cubicBezTo>
                    <a:cubicBezTo>
                      <a:pt x="425" y="104"/>
                      <a:pt x="425" y="104"/>
                      <a:pt x="425" y="104"/>
                    </a:cubicBezTo>
                    <a:cubicBezTo>
                      <a:pt x="423" y="102"/>
                      <a:pt x="423" y="102"/>
                      <a:pt x="423" y="102"/>
                    </a:cubicBezTo>
                    <a:cubicBezTo>
                      <a:pt x="423" y="100"/>
                      <a:pt x="423" y="100"/>
                      <a:pt x="423" y="100"/>
                    </a:cubicBezTo>
                    <a:cubicBezTo>
                      <a:pt x="421" y="98"/>
                      <a:pt x="421" y="98"/>
                      <a:pt x="421" y="98"/>
                    </a:cubicBezTo>
                    <a:cubicBezTo>
                      <a:pt x="417" y="99"/>
                      <a:pt x="417" y="99"/>
                      <a:pt x="417" y="99"/>
                    </a:cubicBezTo>
                    <a:cubicBezTo>
                      <a:pt x="415" y="103"/>
                      <a:pt x="415" y="103"/>
                      <a:pt x="415" y="103"/>
                    </a:cubicBezTo>
                    <a:cubicBezTo>
                      <a:pt x="416" y="105"/>
                      <a:pt x="416" y="105"/>
                      <a:pt x="416" y="105"/>
                    </a:cubicBezTo>
                    <a:cubicBezTo>
                      <a:pt x="418" y="109"/>
                      <a:pt x="418" y="109"/>
                      <a:pt x="418" y="109"/>
                    </a:cubicBezTo>
                    <a:cubicBezTo>
                      <a:pt x="419" y="109"/>
                      <a:pt x="419" y="109"/>
                      <a:pt x="419" y="109"/>
                    </a:cubicBezTo>
                    <a:close/>
                    <a:moveTo>
                      <a:pt x="419" y="114"/>
                    </a:moveTo>
                    <a:cubicBezTo>
                      <a:pt x="419" y="117"/>
                      <a:pt x="419" y="117"/>
                      <a:pt x="419" y="117"/>
                    </a:cubicBezTo>
                    <a:cubicBezTo>
                      <a:pt x="419" y="119"/>
                      <a:pt x="419" y="119"/>
                      <a:pt x="419" y="119"/>
                    </a:cubicBezTo>
                    <a:cubicBezTo>
                      <a:pt x="419" y="123"/>
                      <a:pt x="419" y="123"/>
                      <a:pt x="419" y="123"/>
                    </a:cubicBezTo>
                    <a:cubicBezTo>
                      <a:pt x="425" y="127"/>
                      <a:pt x="425" y="127"/>
                      <a:pt x="425" y="127"/>
                    </a:cubicBezTo>
                    <a:cubicBezTo>
                      <a:pt x="427" y="125"/>
                      <a:pt x="427" y="125"/>
                      <a:pt x="427" y="125"/>
                    </a:cubicBezTo>
                    <a:cubicBezTo>
                      <a:pt x="426" y="117"/>
                      <a:pt x="426" y="117"/>
                      <a:pt x="426" y="117"/>
                    </a:cubicBezTo>
                    <a:cubicBezTo>
                      <a:pt x="424" y="113"/>
                      <a:pt x="424" y="113"/>
                      <a:pt x="424" y="113"/>
                    </a:cubicBezTo>
                    <a:cubicBezTo>
                      <a:pt x="421" y="113"/>
                      <a:pt x="421" y="113"/>
                      <a:pt x="421" y="113"/>
                    </a:cubicBezTo>
                    <a:cubicBezTo>
                      <a:pt x="419" y="114"/>
                      <a:pt x="419" y="114"/>
                      <a:pt x="419" y="114"/>
                    </a:cubicBezTo>
                    <a:close/>
                    <a:moveTo>
                      <a:pt x="366" y="78"/>
                    </a:moveTo>
                    <a:cubicBezTo>
                      <a:pt x="367" y="77"/>
                      <a:pt x="367" y="77"/>
                      <a:pt x="367" y="77"/>
                    </a:cubicBezTo>
                    <a:cubicBezTo>
                      <a:pt x="366" y="76"/>
                      <a:pt x="366" y="76"/>
                      <a:pt x="366" y="76"/>
                    </a:cubicBezTo>
                    <a:cubicBezTo>
                      <a:pt x="366" y="73"/>
                      <a:pt x="366" y="73"/>
                      <a:pt x="366" y="73"/>
                    </a:cubicBezTo>
                    <a:cubicBezTo>
                      <a:pt x="365" y="71"/>
                      <a:pt x="365" y="71"/>
                      <a:pt x="365" y="71"/>
                    </a:cubicBezTo>
                    <a:cubicBezTo>
                      <a:pt x="363" y="72"/>
                      <a:pt x="363" y="72"/>
                      <a:pt x="363" y="72"/>
                    </a:cubicBezTo>
                    <a:cubicBezTo>
                      <a:pt x="363" y="75"/>
                      <a:pt x="363" y="75"/>
                      <a:pt x="363" y="75"/>
                    </a:cubicBezTo>
                    <a:cubicBezTo>
                      <a:pt x="366" y="78"/>
                      <a:pt x="366" y="78"/>
                      <a:pt x="366" y="78"/>
                    </a:cubicBezTo>
                    <a:close/>
                    <a:moveTo>
                      <a:pt x="358" y="101"/>
                    </a:moveTo>
                    <a:cubicBezTo>
                      <a:pt x="359" y="103"/>
                      <a:pt x="359" y="103"/>
                      <a:pt x="359" y="103"/>
                    </a:cubicBezTo>
                    <a:cubicBezTo>
                      <a:pt x="361" y="99"/>
                      <a:pt x="361" y="99"/>
                      <a:pt x="361" y="99"/>
                    </a:cubicBezTo>
                    <a:cubicBezTo>
                      <a:pt x="361" y="94"/>
                      <a:pt x="361" y="94"/>
                      <a:pt x="361" y="94"/>
                    </a:cubicBezTo>
                    <a:cubicBezTo>
                      <a:pt x="356" y="90"/>
                      <a:pt x="356" y="90"/>
                      <a:pt x="356" y="90"/>
                    </a:cubicBezTo>
                    <a:cubicBezTo>
                      <a:pt x="356" y="84"/>
                      <a:pt x="356" y="84"/>
                      <a:pt x="356" y="84"/>
                    </a:cubicBezTo>
                    <a:cubicBezTo>
                      <a:pt x="358" y="78"/>
                      <a:pt x="358" y="78"/>
                      <a:pt x="358" y="78"/>
                    </a:cubicBezTo>
                    <a:cubicBezTo>
                      <a:pt x="358" y="73"/>
                      <a:pt x="358" y="73"/>
                      <a:pt x="358" y="73"/>
                    </a:cubicBezTo>
                    <a:cubicBezTo>
                      <a:pt x="356" y="69"/>
                      <a:pt x="356" y="69"/>
                      <a:pt x="356" y="69"/>
                    </a:cubicBezTo>
                    <a:cubicBezTo>
                      <a:pt x="356" y="63"/>
                      <a:pt x="356" y="63"/>
                      <a:pt x="356" y="63"/>
                    </a:cubicBezTo>
                    <a:cubicBezTo>
                      <a:pt x="355" y="61"/>
                      <a:pt x="355" y="61"/>
                      <a:pt x="355" y="61"/>
                    </a:cubicBezTo>
                    <a:cubicBezTo>
                      <a:pt x="351" y="64"/>
                      <a:pt x="351" y="64"/>
                      <a:pt x="351" y="64"/>
                    </a:cubicBezTo>
                    <a:cubicBezTo>
                      <a:pt x="351" y="74"/>
                      <a:pt x="351" y="74"/>
                      <a:pt x="351" y="74"/>
                    </a:cubicBezTo>
                    <a:cubicBezTo>
                      <a:pt x="349" y="77"/>
                      <a:pt x="349" y="77"/>
                      <a:pt x="349" y="77"/>
                    </a:cubicBezTo>
                    <a:cubicBezTo>
                      <a:pt x="349" y="82"/>
                      <a:pt x="349" y="82"/>
                      <a:pt x="349" y="82"/>
                    </a:cubicBezTo>
                    <a:cubicBezTo>
                      <a:pt x="353" y="90"/>
                      <a:pt x="353" y="90"/>
                      <a:pt x="353" y="90"/>
                    </a:cubicBezTo>
                    <a:cubicBezTo>
                      <a:pt x="354" y="95"/>
                      <a:pt x="354" y="95"/>
                      <a:pt x="354" y="95"/>
                    </a:cubicBezTo>
                    <a:cubicBezTo>
                      <a:pt x="358" y="101"/>
                      <a:pt x="358" y="101"/>
                      <a:pt x="358" y="101"/>
                    </a:cubicBezTo>
                    <a:close/>
                    <a:moveTo>
                      <a:pt x="150" y="131"/>
                    </a:moveTo>
                    <a:cubicBezTo>
                      <a:pt x="152" y="133"/>
                      <a:pt x="152" y="133"/>
                      <a:pt x="152" y="133"/>
                    </a:cubicBezTo>
                    <a:cubicBezTo>
                      <a:pt x="153" y="136"/>
                      <a:pt x="153" y="136"/>
                      <a:pt x="153" y="136"/>
                    </a:cubicBezTo>
                    <a:cubicBezTo>
                      <a:pt x="156" y="137"/>
                      <a:pt x="156" y="137"/>
                      <a:pt x="156" y="137"/>
                    </a:cubicBezTo>
                    <a:cubicBezTo>
                      <a:pt x="156" y="133"/>
                      <a:pt x="156" y="133"/>
                      <a:pt x="156" y="133"/>
                    </a:cubicBezTo>
                    <a:cubicBezTo>
                      <a:pt x="153" y="131"/>
                      <a:pt x="153" y="131"/>
                      <a:pt x="153" y="131"/>
                    </a:cubicBezTo>
                    <a:cubicBezTo>
                      <a:pt x="150" y="131"/>
                      <a:pt x="150" y="131"/>
                      <a:pt x="150" y="131"/>
                    </a:cubicBezTo>
                    <a:close/>
                    <a:moveTo>
                      <a:pt x="19" y="293"/>
                    </a:moveTo>
                    <a:cubicBezTo>
                      <a:pt x="21" y="296"/>
                      <a:pt x="21" y="296"/>
                      <a:pt x="21" y="296"/>
                    </a:cubicBezTo>
                    <a:cubicBezTo>
                      <a:pt x="27" y="297"/>
                      <a:pt x="27" y="297"/>
                      <a:pt x="27" y="297"/>
                    </a:cubicBezTo>
                    <a:cubicBezTo>
                      <a:pt x="30" y="298"/>
                      <a:pt x="30" y="298"/>
                      <a:pt x="30" y="298"/>
                    </a:cubicBezTo>
                    <a:cubicBezTo>
                      <a:pt x="33" y="298"/>
                      <a:pt x="33" y="298"/>
                      <a:pt x="33" y="298"/>
                    </a:cubicBezTo>
                    <a:cubicBezTo>
                      <a:pt x="31" y="295"/>
                      <a:pt x="31" y="295"/>
                      <a:pt x="31" y="295"/>
                    </a:cubicBezTo>
                    <a:cubicBezTo>
                      <a:pt x="28" y="295"/>
                      <a:pt x="28" y="295"/>
                      <a:pt x="28" y="295"/>
                    </a:cubicBezTo>
                    <a:cubicBezTo>
                      <a:pt x="25" y="291"/>
                      <a:pt x="25" y="291"/>
                      <a:pt x="25" y="291"/>
                    </a:cubicBezTo>
                    <a:cubicBezTo>
                      <a:pt x="22" y="292"/>
                      <a:pt x="22" y="292"/>
                      <a:pt x="22" y="292"/>
                    </a:cubicBezTo>
                    <a:cubicBezTo>
                      <a:pt x="19" y="291"/>
                      <a:pt x="19" y="291"/>
                      <a:pt x="19" y="291"/>
                    </a:cubicBezTo>
                    <a:cubicBezTo>
                      <a:pt x="19" y="293"/>
                      <a:pt x="19" y="293"/>
                      <a:pt x="19" y="293"/>
                    </a:cubicBezTo>
                    <a:close/>
                    <a:moveTo>
                      <a:pt x="0" y="293"/>
                    </a:moveTo>
                    <a:cubicBezTo>
                      <a:pt x="4" y="298"/>
                      <a:pt x="4" y="298"/>
                      <a:pt x="4" y="298"/>
                    </a:cubicBezTo>
                    <a:cubicBezTo>
                      <a:pt x="9" y="298"/>
                      <a:pt x="9" y="298"/>
                      <a:pt x="9" y="298"/>
                    </a:cubicBezTo>
                    <a:cubicBezTo>
                      <a:pt x="12" y="300"/>
                      <a:pt x="12" y="300"/>
                      <a:pt x="12" y="300"/>
                    </a:cubicBezTo>
                    <a:cubicBezTo>
                      <a:pt x="16" y="297"/>
                      <a:pt x="16" y="297"/>
                      <a:pt x="16" y="297"/>
                    </a:cubicBezTo>
                    <a:cubicBezTo>
                      <a:pt x="12" y="293"/>
                      <a:pt x="12" y="293"/>
                      <a:pt x="12" y="293"/>
                    </a:cubicBezTo>
                    <a:cubicBezTo>
                      <a:pt x="6" y="291"/>
                      <a:pt x="6" y="291"/>
                      <a:pt x="6" y="291"/>
                    </a:cubicBezTo>
                    <a:cubicBezTo>
                      <a:pt x="2" y="292"/>
                      <a:pt x="2" y="292"/>
                      <a:pt x="2" y="292"/>
                    </a:cubicBezTo>
                    <a:cubicBezTo>
                      <a:pt x="0" y="293"/>
                      <a:pt x="0" y="293"/>
                      <a:pt x="0" y="293"/>
                    </a:cubicBezTo>
                    <a:close/>
                    <a:moveTo>
                      <a:pt x="148" y="447"/>
                    </a:moveTo>
                    <a:cubicBezTo>
                      <a:pt x="147" y="450"/>
                      <a:pt x="147" y="450"/>
                      <a:pt x="147" y="450"/>
                    </a:cubicBezTo>
                    <a:cubicBezTo>
                      <a:pt x="148" y="450"/>
                      <a:pt x="148" y="450"/>
                      <a:pt x="148" y="450"/>
                    </a:cubicBezTo>
                    <a:cubicBezTo>
                      <a:pt x="150" y="448"/>
                      <a:pt x="150" y="448"/>
                      <a:pt x="150" y="448"/>
                    </a:cubicBezTo>
                    <a:cubicBezTo>
                      <a:pt x="149" y="447"/>
                      <a:pt x="149" y="447"/>
                      <a:pt x="149" y="447"/>
                    </a:cubicBezTo>
                    <a:cubicBezTo>
                      <a:pt x="148" y="447"/>
                      <a:pt x="148" y="447"/>
                      <a:pt x="148" y="447"/>
                    </a:cubicBezTo>
                    <a:close/>
                    <a:moveTo>
                      <a:pt x="148" y="463"/>
                    </a:moveTo>
                    <a:cubicBezTo>
                      <a:pt x="151" y="464"/>
                      <a:pt x="151" y="464"/>
                      <a:pt x="151" y="464"/>
                    </a:cubicBezTo>
                    <a:cubicBezTo>
                      <a:pt x="153" y="465"/>
                      <a:pt x="153" y="465"/>
                      <a:pt x="153" y="465"/>
                    </a:cubicBezTo>
                    <a:cubicBezTo>
                      <a:pt x="159" y="465"/>
                      <a:pt x="159" y="465"/>
                      <a:pt x="159" y="465"/>
                    </a:cubicBezTo>
                    <a:cubicBezTo>
                      <a:pt x="162" y="466"/>
                      <a:pt x="162" y="466"/>
                      <a:pt x="162" y="466"/>
                    </a:cubicBezTo>
                    <a:cubicBezTo>
                      <a:pt x="163" y="467"/>
                      <a:pt x="163" y="467"/>
                      <a:pt x="163" y="467"/>
                    </a:cubicBezTo>
                    <a:cubicBezTo>
                      <a:pt x="164" y="465"/>
                      <a:pt x="164" y="465"/>
                      <a:pt x="164" y="465"/>
                    </a:cubicBezTo>
                    <a:cubicBezTo>
                      <a:pt x="161" y="462"/>
                      <a:pt x="161" y="462"/>
                      <a:pt x="161" y="462"/>
                    </a:cubicBezTo>
                    <a:cubicBezTo>
                      <a:pt x="156" y="461"/>
                      <a:pt x="156" y="461"/>
                      <a:pt x="156" y="461"/>
                    </a:cubicBezTo>
                    <a:cubicBezTo>
                      <a:pt x="155" y="462"/>
                      <a:pt x="155" y="462"/>
                      <a:pt x="155" y="462"/>
                    </a:cubicBezTo>
                    <a:cubicBezTo>
                      <a:pt x="151" y="460"/>
                      <a:pt x="151" y="460"/>
                      <a:pt x="151" y="460"/>
                    </a:cubicBezTo>
                    <a:cubicBezTo>
                      <a:pt x="149" y="460"/>
                      <a:pt x="149" y="460"/>
                      <a:pt x="149" y="460"/>
                    </a:cubicBezTo>
                    <a:cubicBezTo>
                      <a:pt x="147" y="462"/>
                      <a:pt x="147" y="462"/>
                      <a:pt x="147" y="462"/>
                    </a:cubicBezTo>
                    <a:cubicBezTo>
                      <a:pt x="148" y="463"/>
                      <a:pt x="148" y="463"/>
                      <a:pt x="148" y="463"/>
                    </a:cubicBezTo>
                    <a:close/>
                    <a:moveTo>
                      <a:pt x="153" y="469"/>
                    </a:moveTo>
                    <a:cubicBezTo>
                      <a:pt x="154" y="470"/>
                      <a:pt x="154" y="470"/>
                      <a:pt x="154" y="470"/>
                    </a:cubicBezTo>
                    <a:cubicBezTo>
                      <a:pt x="155" y="470"/>
                      <a:pt x="155" y="470"/>
                      <a:pt x="155" y="470"/>
                    </a:cubicBezTo>
                    <a:cubicBezTo>
                      <a:pt x="155" y="468"/>
                      <a:pt x="155" y="468"/>
                      <a:pt x="155" y="468"/>
                    </a:cubicBezTo>
                    <a:cubicBezTo>
                      <a:pt x="153" y="469"/>
                      <a:pt x="153" y="469"/>
                      <a:pt x="153" y="469"/>
                    </a:cubicBezTo>
                    <a:close/>
                    <a:moveTo>
                      <a:pt x="154" y="493"/>
                    </a:moveTo>
                    <a:cubicBezTo>
                      <a:pt x="155" y="494"/>
                      <a:pt x="155" y="494"/>
                      <a:pt x="155" y="494"/>
                    </a:cubicBezTo>
                    <a:cubicBezTo>
                      <a:pt x="158" y="494"/>
                      <a:pt x="158" y="494"/>
                      <a:pt x="158" y="494"/>
                    </a:cubicBezTo>
                    <a:cubicBezTo>
                      <a:pt x="159" y="496"/>
                      <a:pt x="159" y="496"/>
                      <a:pt x="159" y="496"/>
                    </a:cubicBezTo>
                    <a:cubicBezTo>
                      <a:pt x="161" y="495"/>
                      <a:pt x="161" y="495"/>
                      <a:pt x="161" y="495"/>
                    </a:cubicBezTo>
                    <a:cubicBezTo>
                      <a:pt x="160" y="493"/>
                      <a:pt x="160" y="493"/>
                      <a:pt x="160" y="493"/>
                    </a:cubicBezTo>
                    <a:cubicBezTo>
                      <a:pt x="157" y="491"/>
                      <a:pt x="157" y="491"/>
                      <a:pt x="157" y="491"/>
                    </a:cubicBezTo>
                    <a:cubicBezTo>
                      <a:pt x="155" y="491"/>
                      <a:pt x="155" y="491"/>
                      <a:pt x="155" y="491"/>
                    </a:cubicBezTo>
                    <a:cubicBezTo>
                      <a:pt x="154" y="493"/>
                      <a:pt x="154" y="493"/>
                      <a:pt x="154" y="493"/>
                    </a:cubicBezTo>
                    <a:close/>
                    <a:moveTo>
                      <a:pt x="150" y="501"/>
                    </a:moveTo>
                    <a:cubicBezTo>
                      <a:pt x="151" y="503"/>
                      <a:pt x="151" y="503"/>
                      <a:pt x="151" y="503"/>
                    </a:cubicBezTo>
                    <a:cubicBezTo>
                      <a:pt x="154" y="504"/>
                      <a:pt x="154" y="504"/>
                      <a:pt x="154" y="504"/>
                    </a:cubicBezTo>
                    <a:cubicBezTo>
                      <a:pt x="156" y="502"/>
                      <a:pt x="156" y="502"/>
                      <a:pt x="156" y="502"/>
                    </a:cubicBezTo>
                    <a:cubicBezTo>
                      <a:pt x="152" y="501"/>
                      <a:pt x="152" y="501"/>
                      <a:pt x="152" y="501"/>
                    </a:cubicBezTo>
                    <a:cubicBezTo>
                      <a:pt x="151" y="500"/>
                      <a:pt x="151" y="500"/>
                      <a:pt x="151" y="500"/>
                    </a:cubicBezTo>
                    <a:cubicBezTo>
                      <a:pt x="150" y="501"/>
                      <a:pt x="150" y="501"/>
                      <a:pt x="150" y="501"/>
                    </a:cubicBezTo>
                    <a:close/>
                    <a:moveTo>
                      <a:pt x="155" y="516"/>
                    </a:moveTo>
                    <a:cubicBezTo>
                      <a:pt x="157" y="516"/>
                      <a:pt x="157" y="516"/>
                      <a:pt x="157" y="516"/>
                    </a:cubicBezTo>
                    <a:cubicBezTo>
                      <a:pt x="158" y="515"/>
                      <a:pt x="158" y="515"/>
                      <a:pt x="158" y="515"/>
                    </a:cubicBezTo>
                    <a:cubicBezTo>
                      <a:pt x="157" y="513"/>
                      <a:pt x="157" y="513"/>
                      <a:pt x="157" y="513"/>
                    </a:cubicBezTo>
                    <a:cubicBezTo>
                      <a:pt x="156" y="511"/>
                      <a:pt x="156" y="511"/>
                      <a:pt x="156" y="511"/>
                    </a:cubicBezTo>
                    <a:cubicBezTo>
                      <a:pt x="155" y="512"/>
                      <a:pt x="155" y="512"/>
                      <a:pt x="155" y="512"/>
                    </a:cubicBezTo>
                    <a:cubicBezTo>
                      <a:pt x="155" y="516"/>
                      <a:pt x="155" y="516"/>
                      <a:pt x="155" y="516"/>
                    </a:cubicBezTo>
                    <a:close/>
                    <a:moveTo>
                      <a:pt x="160" y="520"/>
                    </a:moveTo>
                    <a:cubicBezTo>
                      <a:pt x="161" y="521"/>
                      <a:pt x="161" y="521"/>
                      <a:pt x="161" y="521"/>
                    </a:cubicBezTo>
                    <a:cubicBezTo>
                      <a:pt x="162" y="521"/>
                      <a:pt x="162" y="521"/>
                      <a:pt x="162" y="521"/>
                    </a:cubicBezTo>
                    <a:cubicBezTo>
                      <a:pt x="161" y="520"/>
                      <a:pt x="161" y="520"/>
                      <a:pt x="161" y="520"/>
                    </a:cubicBezTo>
                    <a:cubicBezTo>
                      <a:pt x="160" y="520"/>
                      <a:pt x="160" y="520"/>
                      <a:pt x="160" y="520"/>
                    </a:cubicBezTo>
                    <a:close/>
                    <a:moveTo>
                      <a:pt x="149" y="522"/>
                    </a:moveTo>
                    <a:cubicBezTo>
                      <a:pt x="151" y="521"/>
                      <a:pt x="151" y="521"/>
                      <a:pt x="151" y="521"/>
                    </a:cubicBezTo>
                    <a:cubicBezTo>
                      <a:pt x="150" y="520"/>
                      <a:pt x="150" y="520"/>
                      <a:pt x="150" y="520"/>
                    </a:cubicBezTo>
                    <a:cubicBezTo>
                      <a:pt x="149" y="521"/>
                      <a:pt x="149" y="521"/>
                      <a:pt x="149" y="521"/>
                    </a:cubicBezTo>
                    <a:cubicBezTo>
                      <a:pt x="149" y="522"/>
                      <a:pt x="149" y="522"/>
                      <a:pt x="149" y="522"/>
                    </a:cubicBezTo>
                    <a:close/>
                    <a:moveTo>
                      <a:pt x="154" y="521"/>
                    </a:moveTo>
                    <a:cubicBezTo>
                      <a:pt x="156" y="522"/>
                      <a:pt x="156" y="522"/>
                      <a:pt x="156" y="522"/>
                    </a:cubicBezTo>
                    <a:cubicBezTo>
                      <a:pt x="157" y="521"/>
                      <a:pt x="157" y="521"/>
                      <a:pt x="157" y="521"/>
                    </a:cubicBezTo>
                    <a:cubicBezTo>
                      <a:pt x="155" y="520"/>
                      <a:pt x="155" y="520"/>
                      <a:pt x="155" y="520"/>
                    </a:cubicBezTo>
                    <a:cubicBezTo>
                      <a:pt x="154" y="521"/>
                      <a:pt x="154" y="521"/>
                      <a:pt x="154" y="521"/>
                    </a:cubicBezTo>
                    <a:close/>
                    <a:moveTo>
                      <a:pt x="153" y="526"/>
                    </a:moveTo>
                    <a:cubicBezTo>
                      <a:pt x="155" y="525"/>
                      <a:pt x="155" y="525"/>
                      <a:pt x="155" y="525"/>
                    </a:cubicBezTo>
                    <a:cubicBezTo>
                      <a:pt x="155" y="524"/>
                      <a:pt x="155" y="524"/>
                      <a:pt x="155" y="524"/>
                    </a:cubicBezTo>
                    <a:cubicBezTo>
                      <a:pt x="153" y="524"/>
                      <a:pt x="153" y="524"/>
                      <a:pt x="153" y="524"/>
                    </a:cubicBezTo>
                    <a:cubicBezTo>
                      <a:pt x="153" y="526"/>
                      <a:pt x="153" y="526"/>
                      <a:pt x="153" y="526"/>
                    </a:cubicBezTo>
                    <a:close/>
                    <a:moveTo>
                      <a:pt x="155" y="533"/>
                    </a:moveTo>
                    <a:cubicBezTo>
                      <a:pt x="156" y="531"/>
                      <a:pt x="156" y="531"/>
                      <a:pt x="156" y="531"/>
                    </a:cubicBezTo>
                    <a:cubicBezTo>
                      <a:pt x="154" y="531"/>
                      <a:pt x="154" y="531"/>
                      <a:pt x="154" y="531"/>
                    </a:cubicBezTo>
                    <a:cubicBezTo>
                      <a:pt x="152" y="531"/>
                      <a:pt x="152" y="531"/>
                      <a:pt x="152" y="531"/>
                    </a:cubicBezTo>
                    <a:cubicBezTo>
                      <a:pt x="153" y="533"/>
                      <a:pt x="153" y="533"/>
                      <a:pt x="153" y="533"/>
                    </a:cubicBezTo>
                    <a:cubicBezTo>
                      <a:pt x="155" y="533"/>
                      <a:pt x="155" y="533"/>
                      <a:pt x="155" y="533"/>
                    </a:cubicBezTo>
                    <a:close/>
                    <a:moveTo>
                      <a:pt x="158" y="535"/>
                    </a:moveTo>
                    <a:cubicBezTo>
                      <a:pt x="160" y="535"/>
                      <a:pt x="160" y="535"/>
                      <a:pt x="160" y="535"/>
                    </a:cubicBezTo>
                    <a:cubicBezTo>
                      <a:pt x="161" y="534"/>
                      <a:pt x="161" y="534"/>
                      <a:pt x="161" y="534"/>
                    </a:cubicBezTo>
                    <a:cubicBezTo>
                      <a:pt x="159" y="533"/>
                      <a:pt x="159" y="533"/>
                      <a:pt x="159" y="533"/>
                    </a:cubicBezTo>
                    <a:cubicBezTo>
                      <a:pt x="157" y="535"/>
                      <a:pt x="157" y="535"/>
                      <a:pt x="157" y="535"/>
                    </a:cubicBezTo>
                    <a:cubicBezTo>
                      <a:pt x="157" y="535"/>
                      <a:pt x="158" y="536"/>
                      <a:pt x="158" y="535"/>
                    </a:cubicBezTo>
                    <a:close/>
                    <a:moveTo>
                      <a:pt x="146" y="545"/>
                    </a:moveTo>
                    <a:cubicBezTo>
                      <a:pt x="149" y="544"/>
                      <a:pt x="149" y="544"/>
                      <a:pt x="149" y="544"/>
                    </a:cubicBezTo>
                    <a:cubicBezTo>
                      <a:pt x="151" y="543"/>
                      <a:pt x="151" y="543"/>
                      <a:pt x="151" y="543"/>
                    </a:cubicBezTo>
                    <a:cubicBezTo>
                      <a:pt x="150" y="542"/>
                      <a:pt x="150" y="542"/>
                      <a:pt x="150" y="542"/>
                    </a:cubicBezTo>
                    <a:cubicBezTo>
                      <a:pt x="147" y="542"/>
                      <a:pt x="147" y="542"/>
                      <a:pt x="147" y="542"/>
                    </a:cubicBezTo>
                    <a:cubicBezTo>
                      <a:pt x="145" y="544"/>
                      <a:pt x="145" y="544"/>
                      <a:pt x="145" y="544"/>
                    </a:cubicBezTo>
                    <a:cubicBezTo>
                      <a:pt x="146" y="545"/>
                      <a:pt x="146" y="545"/>
                      <a:pt x="146" y="545"/>
                    </a:cubicBezTo>
                    <a:close/>
                    <a:moveTo>
                      <a:pt x="152" y="551"/>
                    </a:moveTo>
                    <a:cubicBezTo>
                      <a:pt x="159" y="546"/>
                      <a:pt x="159" y="546"/>
                      <a:pt x="159" y="546"/>
                    </a:cubicBezTo>
                    <a:cubicBezTo>
                      <a:pt x="162" y="543"/>
                      <a:pt x="162" y="543"/>
                      <a:pt x="162" y="543"/>
                    </a:cubicBezTo>
                    <a:cubicBezTo>
                      <a:pt x="162" y="541"/>
                      <a:pt x="162" y="541"/>
                      <a:pt x="162" y="541"/>
                    </a:cubicBezTo>
                    <a:cubicBezTo>
                      <a:pt x="159" y="541"/>
                      <a:pt x="159" y="541"/>
                      <a:pt x="159" y="541"/>
                    </a:cubicBezTo>
                    <a:cubicBezTo>
                      <a:pt x="155" y="544"/>
                      <a:pt x="155" y="544"/>
                      <a:pt x="155" y="544"/>
                    </a:cubicBezTo>
                    <a:cubicBezTo>
                      <a:pt x="153" y="544"/>
                      <a:pt x="153" y="544"/>
                      <a:pt x="153" y="544"/>
                    </a:cubicBezTo>
                    <a:cubicBezTo>
                      <a:pt x="152" y="547"/>
                      <a:pt x="152" y="547"/>
                      <a:pt x="152" y="547"/>
                    </a:cubicBezTo>
                    <a:cubicBezTo>
                      <a:pt x="150" y="548"/>
                      <a:pt x="150" y="548"/>
                      <a:pt x="150" y="548"/>
                    </a:cubicBezTo>
                    <a:cubicBezTo>
                      <a:pt x="151" y="550"/>
                      <a:pt x="151" y="550"/>
                      <a:pt x="151" y="550"/>
                    </a:cubicBezTo>
                    <a:cubicBezTo>
                      <a:pt x="150" y="551"/>
                      <a:pt x="150" y="551"/>
                      <a:pt x="150" y="551"/>
                    </a:cubicBezTo>
                    <a:cubicBezTo>
                      <a:pt x="152" y="552"/>
                      <a:pt x="152" y="552"/>
                      <a:pt x="152" y="552"/>
                    </a:cubicBezTo>
                    <a:cubicBezTo>
                      <a:pt x="152" y="551"/>
                      <a:pt x="152" y="551"/>
                      <a:pt x="152" y="551"/>
                    </a:cubicBezTo>
                    <a:close/>
                    <a:moveTo>
                      <a:pt x="159" y="550"/>
                    </a:moveTo>
                    <a:cubicBezTo>
                      <a:pt x="160" y="550"/>
                      <a:pt x="160" y="550"/>
                      <a:pt x="160" y="550"/>
                    </a:cubicBezTo>
                    <a:cubicBezTo>
                      <a:pt x="161" y="549"/>
                      <a:pt x="161" y="549"/>
                      <a:pt x="161" y="549"/>
                    </a:cubicBezTo>
                    <a:cubicBezTo>
                      <a:pt x="161" y="547"/>
                      <a:pt x="161" y="547"/>
                      <a:pt x="161" y="547"/>
                    </a:cubicBezTo>
                    <a:cubicBezTo>
                      <a:pt x="159" y="550"/>
                      <a:pt x="159" y="550"/>
                      <a:pt x="159" y="550"/>
                    </a:cubicBezTo>
                    <a:close/>
                    <a:moveTo>
                      <a:pt x="156" y="554"/>
                    </a:moveTo>
                    <a:cubicBezTo>
                      <a:pt x="158" y="553"/>
                      <a:pt x="158" y="553"/>
                      <a:pt x="158" y="553"/>
                    </a:cubicBezTo>
                    <a:cubicBezTo>
                      <a:pt x="158" y="551"/>
                      <a:pt x="158" y="551"/>
                      <a:pt x="158" y="551"/>
                    </a:cubicBezTo>
                    <a:cubicBezTo>
                      <a:pt x="156" y="552"/>
                      <a:pt x="156" y="552"/>
                      <a:pt x="156" y="552"/>
                    </a:cubicBezTo>
                    <a:cubicBezTo>
                      <a:pt x="156" y="554"/>
                      <a:pt x="156" y="554"/>
                      <a:pt x="156" y="554"/>
                    </a:cubicBezTo>
                    <a:close/>
                    <a:moveTo>
                      <a:pt x="151" y="555"/>
                    </a:moveTo>
                    <a:cubicBezTo>
                      <a:pt x="153" y="554"/>
                      <a:pt x="153" y="554"/>
                      <a:pt x="153" y="554"/>
                    </a:cubicBezTo>
                    <a:cubicBezTo>
                      <a:pt x="151" y="553"/>
                      <a:pt x="151" y="553"/>
                      <a:pt x="151" y="553"/>
                    </a:cubicBezTo>
                    <a:cubicBezTo>
                      <a:pt x="150" y="553"/>
                      <a:pt x="150" y="553"/>
                      <a:pt x="150" y="553"/>
                    </a:cubicBezTo>
                    <a:cubicBezTo>
                      <a:pt x="150" y="555"/>
                      <a:pt x="150" y="555"/>
                      <a:pt x="150" y="555"/>
                    </a:cubicBezTo>
                    <a:cubicBezTo>
                      <a:pt x="151" y="555"/>
                      <a:pt x="151" y="555"/>
                      <a:pt x="151" y="555"/>
                    </a:cubicBezTo>
                    <a:close/>
                    <a:moveTo>
                      <a:pt x="144" y="568"/>
                    </a:moveTo>
                    <a:cubicBezTo>
                      <a:pt x="144" y="571"/>
                      <a:pt x="144" y="571"/>
                      <a:pt x="144" y="571"/>
                    </a:cubicBezTo>
                    <a:cubicBezTo>
                      <a:pt x="147" y="570"/>
                      <a:pt x="147" y="570"/>
                      <a:pt x="147" y="570"/>
                    </a:cubicBezTo>
                    <a:cubicBezTo>
                      <a:pt x="150" y="567"/>
                      <a:pt x="150" y="567"/>
                      <a:pt x="150" y="567"/>
                    </a:cubicBezTo>
                    <a:cubicBezTo>
                      <a:pt x="153" y="566"/>
                      <a:pt x="153" y="566"/>
                      <a:pt x="153" y="566"/>
                    </a:cubicBezTo>
                    <a:cubicBezTo>
                      <a:pt x="154" y="564"/>
                      <a:pt x="154" y="564"/>
                      <a:pt x="154" y="564"/>
                    </a:cubicBezTo>
                    <a:cubicBezTo>
                      <a:pt x="153" y="563"/>
                      <a:pt x="153" y="563"/>
                      <a:pt x="153" y="563"/>
                    </a:cubicBezTo>
                    <a:cubicBezTo>
                      <a:pt x="151" y="564"/>
                      <a:pt x="151" y="564"/>
                      <a:pt x="151" y="564"/>
                    </a:cubicBezTo>
                    <a:cubicBezTo>
                      <a:pt x="147" y="565"/>
                      <a:pt x="147" y="565"/>
                      <a:pt x="147" y="565"/>
                    </a:cubicBezTo>
                    <a:cubicBezTo>
                      <a:pt x="146" y="567"/>
                      <a:pt x="146" y="567"/>
                      <a:pt x="146" y="567"/>
                    </a:cubicBezTo>
                    <a:cubicBezTo>
                      <a:pt x="146" y="567"/>
                      <a:pt x="145" y="568"/>
                      <a:pt x="144" y="568"/>
                    </a:cubicBezTo>
                    <a:close/>
                    <a:moveTo>
                      <a:pt x="142" y="579"/>
                    </a:move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5" y="582"/>
                      <a:pt x="145" y="582"/>
                      <a:pt x="145" y="582"/>
                    </a:cubicBezTo>
                    <a:cubicBezTo>
                      <a:pt x="146" y="581"/>
                      <a:pt x="146" y="581"/>
                      <a:pt x="146" y="581"/>
                    </a:cubicBezTo>
                    <a:cubicBezTo>
                      <a:pt x="143" y="578"/>
                      <a:pt x="143" y="578"/>
                      <a:pt x="143" y="578"/>
                    </a:cubicBezTo>
                    <a:cubicBezTo>
                      <a:pt x="142" y="579"/>
                      <a:pt x="142" y="579"/>
                      <a:pt x="142" y="579"/>
                    </a:cubicBezTo>
                    <a:close/>
                    <a:moveTo>
                      <a:pt x="226" y="1007"/>
                    </a:moveTo>
                    <a:cubicBezTo>
                      <a:pt x="229" y="1004"/>
                      <a:pt x="229" y="1004"/>
                      <a:pt x="229" y="1004"/>
                    </a:cubicBezTo>
                    <a:cubicBezTo>
                      <a:pt x="231" y="1004"/>
                      <a:pt x="231" y="1004"/>
                      <a:pt x="231" y="1004"/>
                    </a:cubicBezTo>
                    <a:cubicBezTo>
                      <a:pt x="233" y="1005"/>
                      <a:pt x="233" y="1005"/>
                      <a:pt x="233" y="1005"/>
                    </a:cubicBezTo>
                    <a:cubicBezTo>
                      <a:pt x="231" y="1007"/>
                      <a:pt x="231" y="1007"/>
                      <a:pt x="231" y="1007"/>
                    </a:cubicBezTo>
                    <a:cubicBezTo>
                      <a:pt x="229" y="1007"/>
                      <a:pt x="229" y="1007"/>
                      <a:pt x="229" y="1007"/>
                    </a:cubicBezTo>
                    <a:cubicBezTo>
                      <a:pt x="228" y="1008"/>
                      <a:pt x="228" y="1008"/>
                      <a:pt x="228" y="1008"/>
                    </a:cubicBezTo>
                    <a:cubicBezTo>
                      <a:pt x="226" y="1007"/>
                      <a:pt x="226" y="1007"/>
                      <a:pt x="226" y="1007"/>
                    </a:cubicBezTo>
                    <a:close/>
                    <a:moveTo>
                      <a:pt x="206" y="996"/>
                    </a:moveTo>
                    <a:cubicBezTo>
                      <a:pt x="207" y="996"/>
                      <a:pt x="207" y="996"/>
                      <a:pt x="207" y="996"/>
                    </a:cubicBezTo>
                    <a:cubicBezTo>
                      <a:pt x="207" y="994"/>
                      <a:pt x="207" y="994"/>
                      <a:pt x="207" y="994"/>
                    </a:cubicBezTo>
                    <a:cubicBezTo>
                      <a:pt x="209" y="992"/>
                      <a:pt x="209" y="992"/>
                      <a:pt x="209" y="992"/>
                    </a:cubicBezTo>
                    <a:cubicBezTo>
                      <a:pt x="209" y="989"/>
                      <a:pt x="209" y="989"/>
                      <a:pt x="209" y="989"/>
                    </a:cubicBezTo>
                    <a:cubicBezTo>
                      <a:pt x="207" y="989"/>
                      <a:pt x="207" y="989"/>
                      <a:pt x="207" y="989"/>
                    </a:cubicBezTo>
                    <a:cubicBezTo>
                      <a:pt x="207" y="991"/>
                      <a:pt x="207" y="991"/>
                      <a:pt x="207" y="991"/>
                    </a:cubicBezTo>
                    <a:cubicBezTo>
                      <a:pt x="205" y="992"/>
                      <a:pt x="205" y="992"/>
                      <a:pt x="205" y="992"/>
                    </a:cubicBezTo>
                    <a:cubicBezTo>
                      <a:pt x="206" y="996"/>
                      <a:pt x="206" y="996"/>
                      <a:pt x="206" y="996"/>
                    </a:cubicBezTo>
                    <a:close/>
                    <a:moveTo>
                      <a:pt x="191" y="971"/>
                    </a:moveTo>
                    <a:cubicBezTo>
                      <a:pt x="192" y="972"/>
                      <a:pt x="192" y="972"/>
                      <a:pt x="192" y="972"/>
                    </a:cubicBezTo>
                    <a:cubicBezTo>
                      <a:pt x="195" y="972"/>
                      <a:pt x="195" y="972"/>
                      <a:pt x="195" y="972"/>
                    </a:cubicBezTo>
                    <a:cubicBezTo>
                      <a:pt x="197" y="971"/>
                      <a:pt x="197" y="971"/>
                      <a:pt x="197" y="971"/>
                    </a:cubicBezTo>
                    <a:cubicBezTo>
                      <a:pt x="196" y="969"/>
                      <a:pt x="196" y="969"/>
                      <a:pt x="196" y="969"/>
                    </a:cubicBezTo>
                    <a:cubicBezTo>
                      <a:pt x="194" y="970"/>
                      <a:pt x="194" y="970"/>
                      <a:pt x="194" y="970"/>
                    </a:cubicBezTo>
                    <a:cubicBezTo>
                      <a:pt x="191" y="971"/>
                      <a:pt x="191" y="971"/>
                      <a:pt x="191" y="971"/>
                    </a:cubicBezTo>
                    <a:close/>
                    <a:moveTo>
                      <a:pt x="184" y="970"/>
                    </a:moveTo>
                    <a:cubicBezTo>
                      <a:pt x="185" y="973"/>
                      <a:pt x="185" y="973"/>
                      <a:pt x="185" y="973"/>
                    </a:cubicBezTo>
                    <a:cubicBezTo>
                      <a:pt x="187" y="972"/>
                      <a:pt x="187" y="972"/>
                      <a:pt x="187" y="972"/>
                    </a:cubicBezTo>
                    <a:cubicBezTo>
                      <a:pt x="187" y="971"/>
                      <a:pt x="187" y="971"/>
                      <a:pt x="187" y="971"/>
                    </a:cubicBezTo>
                    <a:cubicBezTo>
                      <a:pt x="186" y="970"/>
                      <a:pt x="186" y="970"/>
                      <a:pt x="186" y="970"/>
                    </a:cubicBezTo>
                    <a:cubicBezTo>
                      <a:pt x="184" y="970"/>
                      <a:pt x="184" y="970"/>
                      <a:pt x="184" y="970"/>
                    </a:cubicBezTo>
                    <a:close/>
                    <a:moveTo>
                      <a:pt x="163" y="973"/>
                    </a:moveTo>
                    <a:cubicBezTo>
                      <a:pt x="164" y="974"/>
                      <a:pt x="164" y="974"/>
                      <a:pt x="164" y="974"/>
                    </a:cubicBezTo>
                    <a:cubicBezTo>
                      <a:pt x="165" y="974"/>
                      <a:pt x="165" y="974"/>
                      <a:pt x="165" y="974"/>
                    </a:cubicBezTo>
                    <a:cubicBezTo>
                      <a:pt x="166" y="976"/>
                      <a:pt x="166" y="976"/>
                      <a:pt x="166" y="976"/>
                    </a:cubicBezTo>
                    <a:cubicBezTo>
                      <a:pt x="169" y="975"/>
                      <a:pt x="169" y="975"/>
                      <a:pt x="169" y="975"/>
                    </a:cubicBezTo>
                    <a:cubicBezTo>
                      <a:pt x="168" y="972"/>
                      <a:pt x="168" y="972"/>
                      <a:pt x="168" y="972"/>
                    </a:cubicBezTo>
                    <a:cubicBezTo>
                      <a:pt x="165" y="972"/>
                      <a:pt x="165" y="972"/>
                      <a:pt x="165" y="972"/>
                    </a:cubicBezTo>
                    <a:cubicBezTo>
                      <a:pt x="163" y="973"/>
                      <a:pt x="163" y="973"/>
                      <a:pt x="163" y="973"/>
                    </a:cubicBezTo>
                    <a:close/>
                    <a:moveTo>
                      <a:pt x="137" y="859"/>
                    </a:moveTo>
                    <a:cubicBezTo>
                      <a:pt x="138" y="859"/>
                      <a:pt x="138" y="859"/>
                      <a:pt x="138" y="859"/>
                    </a:cubicBezTo>
                    <a:cubicBezTo>
                      <a:pt x="141" y="857"/>
                      <a:pt x="141" y="857"/>
                      <a:pt x="141" y="857"/>
                    </a:cubicBezTo>
                    <a:cubicBezTo>
                      <a:pt x="144" y="853"/>
                      <a:pt x="144" y="853"/>
                      <a:pt x="144" y="853"/>
                    </a:cubicBezTo>
                    <a:cubicBezTo>
                      <a:pt x="142" y="854"/>
                      <a:pt x="142" y="854"/>
                      <a:pt x="142" y="854"/>
                    </a:cubicBezTo>
                    <a:cubicBezTo>
                      <a:pt x="141" y="856"/>
                      <a:pt x="141" y="856"/>
                      <a:pt x="141" y="856"/>
                    </a:cubicBezTo>
                    <a:cubicBezTo>
                      <a:pt x="137" y="859"/>
                      <a:pt x="137" y="859"/>
                      <a:pt x="137" y="859"/>
                    </a:cubicBezTo>
                    <a:close/>
                    <a:moveTo>
                      <a:pt x="137" y="855"/>
                    </a:moveTo>
                    <a:cubicBezTo>
                      <a:pt x="137" y="856"/>
                      <a:pt x="137" y="856"/>
                      <a:pt x="137" y="856"/>
                    </a:cubicBezTo>
                    <a:cubicBezTo>
                      <a:pt x="138" y="856"/>
                      <a:pt x="138" y="856"/>
                      <a:pt x="138" y="856"/>
                    </a:cubicBezTo>
                    <a:cubicBezTo>
                      <a:pt x="140" y="854"/>
                      <a:pt x="140" y="854"/>
                      <a:pt x="140" y="854"/>
                    </a:cubicBezTo>
                    <a:cubicBezTo>
                      <a:pt x="141" y="852"/>
                      <a:pt x="141" y="852"/>
                      <a:pt x="141" y="852"/>
                    </a:cubicBezTo>
                    <a:cubicBezTo>
                      <a:pt x="140" y="852"/>
                      <a:pt x="140" y="852"/>
                      <a:pt x="140" y="852"/>
                    </a:cubicBezTo>
                    <a:cubicBezTo>
                      <a:pt x="137" y="855"/>
                      <a:pt x="137" y="855"/>
                      <a:pt x="137" y="855"/>
                    </a:cubicBezTo>
                    <a:close/>
                    <a:moveTo>
                      <a:pt x="120" y="817"/>
                    </a:moveTo>
                    <a:cubicBezTo>
                      <a:pt x="119" y="819"/>
                      <a:pt x="119" y="819"/>
                      <a:pt x="119" y="819"/>
                    </a:cubicBezTo>
                    <a:cubicBezTo>
                      <a:pt x="120" y="820"/>
                      <a:pt x="120" y="820"/>
                      <a:pt x="120" y="820"/>
                    </a:cubicBezTo>
                    <a:cubicBezTo>
                      <a:pt x="123" y="819"/>
                      <a:pt x="123" y="819"/>
                      <a:pt x="123" y="819"/>
                    </a:cubicBezTo>
                    <a:cubicBezTo>
                      <a:pt x="123" y="817"/>
                      <a:pt x="123" y="817"/>
                      <a:pt x="123" y="817"/>
                    </a:cubicBezTo>
                    <a:cubicBezTo>
                      <a:pt x="121" y="817"/>
                      <a:pt x="121" y="817"/>
                      <a:pt x="121" y="817"/>
                    </a:cubicBezTo>
                    <a:cubicBezTo>
                      <a:pt x="120" y="817"/>
                      <a:pt x="120" y="817"/>
                      <a:pt x="120" y="817"/>
                    </a:cubicBezTo>
                    <a:close/>
                    <a:moveTo>
                      <a:pt x="118" y="813"/>
                    </a:moveTo>
                    <a:cubicBezTo>
                      <a:pt x="120" y="815"/>
                      <a:pt x="120" y="815"/>
                      <a:pt x="120" y="815"/>
                    </a:cubicBezTo>
                    <a:cubicBezTo>
                      <a:pt x="122" y="815"/>
                      <a:pt x="122" y="815"/>
                      <a:pt x="122" y="815"/>
                    </a:cubicBezTo>
                    <a:cubicBezTo>
                      <a:pt x="123" y="812"/>
                      <a:pt x="123" y="812"/>
                      <a:pt x="123" y="812"/>
                    </a:cubicBezTo>
                    <a:cubicBezTo>
                      <a:pt x="121" y="812"/>
                      <a:pt x="121" y="812"/>
                      <a:pt x="121" y="812"/>
                    </a:cubicBezTo>
                    <a:cubicBezTo>
                      <a:pt x="118" y="813"/>
                      <a:pt x="118" y="813"/>
                      <a:pt x="118" y="813"/>
                    </a:cubicBezTo>
                    <a:close/>
                    <a:moveTo>
                      <a:pt x="121" y="777"/>
                    </a:moveTo>
                    <a:cubicBezTo>
                      <a:pt x="124" y="777"/>
                      <a:pt x="124" y="777"/>
                      <a:pt x="124" y="777"/>
                    </a:cubicBezTo>
                    <a:cubicBezTo>
                      <a:pt x="126" y="776"/>
                      <a:pt x="126" y="776"/>
                      <a:pt x="126" y="776"/>
                    </a:cubicBezTo>
                    <a:cubicBezTo>
                      <a:pt x="124" y="775"/>
                      <a:pt x="124" y="775"/>
                      <a:pt x="124" y="775"/>
                    </a:cubicBezTo>
                    <a:cubicBezTo>
                      <a:pt x="121" y="777"/>
                      <a:pt x="121" y="777"/>
                      <a:pt x="121" y="777"/>
                    </a:cubicBezTo>
                    <a:close/>
                    <a:moveTo>
                      <a:pt x="123" y="773"/>
                    </a:moveTo>
                    <a:cubicBezTo>
                      <a:pt x="124" y="774"/>
                      <a:pt x="124" y="774"/>
                      <a:pt x="124" y="774"/>
                    </a:cubicBezTo>
                    <a:cubicBezTo>
                      <a:pt x="127" y="774"/>
                      <a:pt x="127" y="774"/>
                      <a:pt x="127" y="774"/>
                    </a:cubicBezTo>
                    <a:cubicBezTo>
                      <a:pt x="129" y="772"/>
                      <a:pt x="129" y="772"/>
                      <a:pt x="129" y="772"/>
                    </a:cubicBezTo>
                    <a:cubicBezTo>
                      <a:pt x="126" y="771"/>
                      <a:pt x="126" y="771"/>
                      <a:pt x="126" y="771"/>
                    </a:cubicBezTo>
                    <a:cubicBezTo>
                      <a:pt x="123" y="772"/>
                      <a:pt x="123" y="772"/>
                      <a:pt x="123" y="772"/>
                    </a:cubicBezTo>
                    <a:cubicBezTo>
                      <a:pt x="123" y="773"/>
                      <a:pt x="123" y="773"/>
                      <a:pt x="123" y="773"/>
                    </a:cubicBezTo>
                    <a:close/>
                    <a:moveTo>
                      <a:pt x="116" y="771"/>
                    </a:moveTo>
                    <a:cubicBezTo>
                      <a:pt x="117" y="773"/>
                      <a:pt x="117" y="773"/>
                      <a:pt x="117" y="773"/>
                    </a:cubicBezTo>
                    <a:cubicBezTo>
                      <a:pt x="118" y="773"/>
                      <a:pt x="118" y="773"/>
                      <a:pt x="118" y="773"/>
                    </a:cubicBezTo>
                    <a:cubicBezTo>
                      <a:pt x="118" y="771"/>
                      <a:pt x="118" y="771"/>
                      <a:pt x="118" y="771"/>
                    </a:cubicBezTo>
                    <a:cubicBezTo>
                      <a:pt x="117" y="771"/>
                      <a:pt x="117" y="771"/>
                      <a:pt x="117" y="771"/>
                    </a:cubicBezTo>
                    <a:cubicBezTo>
                      <a:pt x="116" y="771"/>
                      <a:pt x="116" y="771"/>
                      <a:pt x="116" y="771"/>
                    </a:cubicBezTo>
                    <a:close/>
                    <a:moveTo>
                      <a:pt x="126" y="740"/>
                    </a:moveTo>
                    <a:cubicBezTo>
                      <a:pt x="125" y="741"/>
                      <a:pt x="125" y="741"/>
                      <a:pt x="125" y="741"/>
                    </a:cubicBezTo>
                    <a:cubicBezTo>
                      <a:pt x="126" y="742"/>
                      <a:pt x="126" y="742"/>
                      <a:pt x="126" y="742"/>
                    </a:cubicBezTo>
                    <a:cubicBezTo>
                      <a:pt x="127" y="741"/>
                      <a:pt x="127" y="741"/>
                      <a:pt x="127" y="741"/>
                    </a:cubicBezTo>
                    <a:cubicBezTo>
                      <a:pt x="130" y="739"/>
                      <a:pt x="130" y="739"/>
                      <a:pt x="130" y="739"/>
                    </a:cubicBezTo>
                    <a:cubicBezTo>
                      <a:pt x="130" y="737"/>
                      <a:pt x="130" y="737"/>
                      <a:pt x="130" y="737"/>
                    </a:cubicBezTo>
                    <a:cubicBezTo>
                      <a:pt x="128" y="737"/>
                      <a:pt x="128" y="737"/>
                      <a:pt x="128" y="737"/>
                    </a:cubicBezTo>
                    <a:cubicBezTo>
                      <a:pt x="126" y="740"/>
                      <a:pt x="126" y="740"/>
                      <a:pt x="126" y="740"/>
                    </a:cubicBezTo>
                    <a:close/>
                    <a:moveTo>
                      <a:pt x="157" y="727"/>
                    </a:moveTo>
                    <a:cubicBezTo>
                      <a:pt x="159" y="728"/>
                      <a:pt x="159" y="728"/>
                      <a:pt x="159" y="728"/>
                    </a:cubicBezTo>
                    <a:cubicBezTo>
                      <a:pt x="164" y="727"/>
                      <a:pt x="164" y="727"/>
                      <a:pt x="164" y="727"/>
                    </a:cubicBezTo>
                    <a:cubicBezTo>
                      <a:pt x="164" y="726"/>
                      <a:pt x="164" y="726"/>
                      <a:pt x="164" y="726"/>
                    </a:cubicBezTo>
                    <a:cubicBezTo>
                      <a:pt x="159" y="725"/>
                      <a:pt x="159" y="725"/>
                      <a:pt x="159" y="725"/>
                    </a:cubicBezTo>
                    <a:cubicBezTo>
                      <a:pt x="157" y="725"/>
                      <a:pt x="157" y="725"/>
                      <a:pt x="157" y="725"/>
                    </a:cubicBezTo>
                    <a:cubicBezTo>
                      <a:pt x="157" y="727"/>
                      <a:pt x="157" y="727"/>
                      <a:pt x="157" y="727"/>
                    </a:cubicBezTo>
                    <a:close/>
                    <a:moveTo>
                      <a:pt x="144" y="710"/>
                    </a:moveTo>
                    <a:cubicBezTo>
                      <a:pt x="144" y="711"/>
                      <a:pt x="144" y="711"/>
                      <a:pt x="144" y="711"/>
                    </a:cubicBezTo>
                    <a:cubicBezTo>
                      <a:pt x="145" y="713"/>
                      <a:pt x="145" y="713"/>
                      <a:pt x="145" y="713"/>
                    </a:cubicBezTo>
                    <a:cubicBezTo>
                      <a:pt x="151" y="712"/>
                      <a:pt x="151" y="712"/>
                      <a:pt x="151" y="712"/>
                    </a:cubicBezTo>
                    <a:cubicBezTo>
                      <a:pt x="150" y="710"/>
                      <a:pt x="150" y="710"/>
                      <a:pt x="150" y="710"/>
                    </a:cubicBezTo>
                    <a:cubicBezTo>
                      <a:pt x="147" y="710"/>
                      <a:pt x="147" y="710"/>
                      <a:pt x="147" y="710"/>
                    </a:cubicBezTo>
                    <a:cubicBezTo>
                      <a:pt x="144" y="710"/>
                      <a:pt x="144" y="710"/>
                      <a:pt x="144" y="710"/>
                    </a:cubicBezTo>
                    <a:close/>
                    <a:moveTo>
                      <a:pt x="159" y="709"/>
                    </a:moveTo>
                    <a:cubicBezTo>
                      <a:pt x="161" y="710"/>
                      <a:pt x="161" y="710"/>
                      <a:pt x="161" y="710"/>
                    </a:cubicBezTo>
                    <a:cubicBezTo>
                      <a:pt x="164" y="710"/>
                      <a:pt x="164" y="710"/>
                      <a:pt x="164" y="710"/>
                    </a:cubicBezTo>
                    <a:cubicBezTo>
                      <a:pt x="166" y="709"/>
                      <a:pt x="166" y="709"/>
                      <a:pt x="166" y="709"/>
                    </a:cubicBezTo>
                    <a:cubicBezTo>
                      <a:pt x="163" y="708"/>
                      <a:pt x="163" y="708"/>
                      <a:pt x="163" y="708"/>
                    </a:cubicBezTo>
                    <a:cubicBezTo>
                      <a:pt x="159" y="709"/>
                      <a:pt x="159" y="709"/>
                      <a:pt x="159" y="709"/>
                    </a:cubicBezTo>
                    <a:close/>
                    <a:moveTo>
                      <a:pt x="151" y="706"/>
                    </a:moveTo>
                    <a:cubicBezTo>
                      <a:pt x="155" y="708"/>
                      <a:pt x="155" y="708"/>
                      <a:pt x="155" y="708"/>
                    </a:cubicBezTo>
                    <a:cubicBezTo>
                      <a:pt x="158" y="708"/>
                      <a:pt x="158" y="708"/>
                      <a:pt x="158" y="708"/>
                    </a:cubicBezTo>
                    <a:cubicBezTo>
                      <a:pt x="160" y="706"/>
                      <a:pt x="160" y="706"/>
                      <a:pt x="160" y="706"/>
                    </a:cubicBezTo>
                    <a:cubicBezTo>
                      <a:pt x="158" y="705"/>
                      <a:pt x="158" y="705"/>
                      <a:pt x="158" y="705"/>
                    </a:cubicBezTo>
                    <a:cubicBezTo>
                      <a:pt x="154" y="704"/>
                      <a:pt x="154" y="704"/>
                      <a:pt x="154" y="704"/>
                    </a:cubicBezTo>
                    <a:cubicBezTo>
                      <a:pt x="151" y="705"/>
                      <a:pt x="151" y="705"/>
                      <a:pt x="151" y="705"/>
                    </a:cubicBezTo>
                    <a:cubicBezTo>
                      <a:pt x="151" y="706"/>
                      <a:pt x="151" y="706"/>
                      <a:pt x="151" y="706"/>
                    </a:cubicBezTo>
                    <a:close/>
                    <a:moveTo>
                      <a:pt x="185" y="634"/>
                    </a:moveTo>
                    <a:cubicBezTo>
                      <a:pt x="185" y="637"/>
                      <a:pt x="185" y="637"/>
                      <a:pt x="185" y="637"/>
                    </a:cubicBezTo>
                    <a:cubicBezTo>
                      <a:pt x="187" y="639"/>
                      <a:pt x="187" y="639"/>
                      <a:pt x="187" y="639"/>
                    </a:cubicBezTo>
                    <a:cubicBezTo>
                      <a:pt x="188" y="637"/>
                      <a:pt x="188" y="637"/>
                      <a:pt x="188" y="637"/>
                    </a:cubicBezTo>
                    <a:cubicBezTo>
                      <a:pt x="186" y="635"/>
                      <a:pt x="186" y="635"/>
                      <a:pt x="186" y="635"/>
                    </a:cubicBezTo>
                    <a:cubicBezTo>
                      <a:pt x="185" y="634"/>
                      <a:pt x="185" y="634"/>
                      <a:pt x="185" y="634"/>
                    </a:cubicBezTo>
                    <a:close/>
                    <a:moveTo>
                      <a:pt x="182" y="625"/>
                    </a:moveTo>
                    <a:cubicBezTo>
                      <a:pt x="181" y="627"/>
                      <a:pt x="181" y="627"/>
                      <a:pt x="181" y="627"/>
                    </a:cubicBezTo>
                    <a:cubicBezTo>
                      <a:pt x="185" y="630"/>
                      <a:pt x="185" y="630"/>
                      <a:pt x="185" y="630"/>
                    </a:cubicBezTo>
                    <a:cubicBezTo>
                      <a:pt x="187" y="629"/>
                      <a:pt x="187" y="629"/>
                      <a:pt x="187" y="629"/>
                    </a:cubicBezTo>
                    <a:cubicBezTo>
                      <a:pt x="186" y="626"/>
                      <a:pt x="186" y="626"/>
                      <a:pt x="186" y="626"/>
                    </a:cubicBezTo>
                    <a:cubicBezTo>
                      <a:pt x="182" y="625"/>
                      <a:pt x="182" y="625"/>
                      <a:pt x="182" y="625"/>
                    </a:cubicBezTo>
                    <a:close/>
                    <a:moveTo>
                      <a:pt x="172" y="601"/>
                    </a:moveTo>
                    <a:cubicBezTo>
                      <a:pt x="174" y="601"/>
                      <a:pt x="174" y="601"/>
                      <a:pt x="174" y="601"/>
                    </a:cubicBezTo>
                    <a:cubicBezTo>
                      <a:pt x="177" y="598"/>
                      <a:pt x="177" y="598"/>
                      <a:pt x="177" y="598"/>
                    </a:cubicBezTo>
                    <a:cubicBezTo>
                      <a:pt x="180" y="597"/>
                      <a:pt x="180" y="597"/>
                      <a:pt x="180" y="597"/>
                    </a:cubicBezTo>
                    <a:cubicBezTo>
                      <a:pt x="180" y="595"/>
                      <a:pt x="180" y="595"/>
                      <a:pt x="180" y="595"/>
                    </a:cubicBezTo>
                    <a:cubicBezTo>
                      <a:pt x="177" y="595"/>
                      <a:pt x="177" y="595"/>
                      <a:pt x="177" y="595"/>
                    </a:cubicBezTo>
                    <a:cubicBezTo>
                      <a:pt x="174" y="594"/>
                      <a:pt x="174" y="594"/>
                      <a:pt x="174" y="594"/>
                    </a:cubicBezTo>
                    <a:cubicBezTo>
                      <a:pt x="172" y="595"/>
                      <a:pt x="172" y="595"/>
                      <a:pt x="172" y="595"/>
                    </a:cubicBezTo>
                    <a:cubicBezTo>
                      <a:pt x="171" y="598"/>
                      <a:pt x="171" y="598"/>
                      <a:pt x="171" y="598"/>
                    </a:cubicBezTo>
                    <a:cubicBezTo>
                      <a:pt x="172" y="601"/>
                      <a:pt x="172" y="601"/>
                      <a:pt x="172" y="601"/>
                    </a:cubicBezTo>
                    <a:close/>
                    <a:moveTo>
                      <a:pt x="172" y="615"/>
                    </a:moveTo>
                    <a:cubicBezTo>
                      <a:pt x="174" y="616"/>
                      <a:pt x="174" y="616"/>
                      <a:pt x="174" y="616"/>
                    </a:cubicBezTo>
                    <a:cubicBezTo>
                      <a:pt x="177" y="615"/>
                      <a:pt x="177" y="615"/>
                      <a:pt x="177" y="615"/>
                    </a:cubicBezTo>
                    <a:cubicBezTo>
                      <a:pt x="180" y="612"/>
                      <a:pt x="180" y="612"/>
                      <a:pt x="180" y="612"/>
                    </a:cubicBezTo>
                    <a:cubicBezTo>
                      <a:pt x="179" y="609"/>
                      <a:pt x="179" y="609"/>
                      <a:pt x="179" y="609"/>
                    </a:cubicBezTo>
                    <a:cubicBezTo>
                      <a:pt x="176" y="607"/>
                      <a:pt x="176" y="607"/>
                      <a:pt x="176" y="607"/>
                    </a:cubicBezTo>
                    <a:cubicBezTo>
                      <a:pt x="173" y="608"/>
                      <a:pt x="173" y="608"/>
                      <a:pt x="173" y="608"/>
                    </a:cubicBezTo>
                    <a:cubicBezTo>
                      <a:pt x="172" y="615"/>
                      <a:pt x="172" y="615"/>
                      <a:pt x="172" y="615"/>
                    </a:cubicBezTo>
                    <a:close/>
                    <a:moveTo>
                      <a:pt x="160" y="615"/>
                    </a:moveTo>
                    <a:cubicBezTo>
                      <a:pt x="163" y="617"/>
                      <a:pt x="163" y="617"/>
                      <a:pt x="163" y="617"/>
                    </a:cubicBezTo>
                    <a:cubicBezTo>
                      <a:pt x="166" y="614"/>
                      <a:pt x="166" y="614"/>
                      <a:pt x="166" y="614"/>
                    </a:cubicBezTo>
                    <a:cubicBezTo>
                      <a:pt x="165" y="612"/>
                      <a:pt x="165" y="612"/>
                      <a:pt x="165" y="612"/>
                    </a:cubicBezTo>
                    <a:cubicBezTo>
                      <a:pt x="166" y="607"/>
                      <a:pt x="166" y="607"/>
                      <a:pt x="166" y="607"/>
                    </a:cubicBezTo>
                    <a:cubicBezTo>
                      <a:pt x="161" y="609"/>
                      <a:pt x="161" y="609"/>
                      <a:pt x="161" y="609"/>
                    </a:cubicBezTo>
                    <a:cubicBezTo>
                      <a:pt x="160" y="612"/>
                      <a:pt x="160" y="612"/>
                      <a:pt x="160" y="612"/>
                    </a:cubicBezTo>
                    <a:cubicBezTo>
                      <a:pt x="160" y="615"/>
                      <a:pt x="160" y="615"/>
                      <a:pt x="160" y="615"/>
                    </a:cubicBezTo>
                    <a:close/>
                    <a:moveTo>
                      <a:pt x="137" y="633"/>
                    </a:moveTo>
                    <a:cubicBezTo>
                      <a:pt x="136" y="635"/>
                      <a:pt x="136" y="635"/>
                      <a:pt x="136" y="635"/>
                    </a:cubicBezTo>
                    <a:cubicBezTo>
                      <a:pt x="137" y="638"/>
                      <a:pt x="137" y="638"/>
                      <a:pt x="137" y="638"/>
                    </a:cubicBezTo>
                    <a:cubicBezTo>
                      <a:pt x="140" y="639"/>
                      <a:pt x="140" y="639"/>
                      <a:pt x="140" y="639"/>
                    </a:cubicBezTo>
                    <a:cubicBezTo>
                      <a:pt x="141" y="637"/>
                      <a:pt x="141" y="637"/>
                      <a:pt x="141" y="637"/>
                    </a:cubicBezTo>
                    <a:cubicBezTo>
                      <a:pt x="139" y="633"/>
                      <a:pt x="139" y="633"/>
                      <a:pt x="139" y="633"/>
                    </a:cubicBezTo>
                    <a:cubicBezTo>
                      <a:pt x="137" y="633"/>
                      <a:pt x="137" y="633"/>
                      <a:pt x="137" y="633"/>
                    </a:cubicBezTo>
                    <a:close/>
                    <a:moveTo>
                      <a:pt x="182" y="668"/>
                    </a:moveTo>
                    <a:cubicBezTo>
                      <a:pt x="182" y="669"/>
                      <a:pt x="182" y="669"/>
                      <a:pt x="182" y="669"/>
                    </a:cubicBezTo>
                    <a:cubicBezTo>
                      <a:pt x="184" y="669"/>
                      <a:pt x="184" y="669"/>
                      <a:pt x="184" y="669"/>
                    </a:cubicBezTo>
                    <a:cubicBezTo>
                      <a:pt x="184" y="671"/>
                      <a:pt x="184" y="671"/>
                      <a:pt x="184" y="671"/>
                    </a:cubicBezTo>
                    <a:cubicBezTo>
                      <a:pt x="183" y="675"/>
                      <a:pt x="183" y="675"/>
                      <a:pt x="183" y="675"/>
                    </a:cubicBezTo>
                    <a:cubicBezTo>
                      <a:pt x="184" y="676"/>
                      <a:pt x="184" y="676"/>
                      <a:pt x="184" y="676"/>
                    </a:cubicBezTo>
                    <a:cubicBezTo>
                      <a:pt x="187" y="675"/>
                      <a:pt x="187" y="675"/>
                      <a:pt x="187" y="675"/>
                    </a:cubicBezTo>
                    <a:cubicBezTo>
                      <a:pt x="188" y="669"/>
                      <a:pt x="188" y="669"/>
                      <a:pt x="188" y="669"/>
                    </a:cubicBezTo>
                    <a:cubicBezTo>
                      <a:pt x="191" y="667"/>
                      <a:pt x="191" y="667"/>
                      <a:pt x="191" y="667"/>
                    </a:cubicBezTo>
                    <a:cubicBezTo>
                      <a:pt x="190" y="666"/>
                      <a:pt x="190" y="666"/>
                      <a:pt x="190" y="666"/>
                    </a:cubicBezTo>
                    <a:cubicBezTo>
                      <a:pt x="188" y="666"/>
                      <a:pt x="188" y="666"/>
                      <a:pt x="188" y="666"/>
                    </a:cubicBezTo>
                    <a:cubicBezTo>
                      <a:pt x="185" y="666"/>
                      <a:pt x="185" y="666"/>
                      <a:pt x="185" y="666"/>
                    </a:cubicBezTo>
                    <a:cubicBezTo>
                      <a:pt x="182" y="668"/>
                      <a:pt x="182" y="668"/>
                      <a:pt x="182" y="668"/>
                    </a:cubicBezTo>
                    <a:close/>
                    <a:moveTo>
                      <a:pt x="136" y="680"/>
                    </a:moveTo>
                    <a:cubicBezTo>
                      <a:pt x="138" y="682"/>
                      <a:pt x="138" y="682"/>
                      <a:pt x="138" y="682"/>
                    </a:cubicBezTo>
                    <a:cubicBezTo>
                      <a:pt x="144" y="682"/>
                      <a:pt x="144" y="682"/>
                      <a:pt x="144" y="682"/>
                    </a:cubicBezTo>
                    <a:cubicBezTo>
                      <a:pt x="145" y="685"/>
                      <a:pt x="145" y="685"/>
                      <a:pt x="145" y="685"/>
                    </a:cubicBezTo>
                    <a:cubicBezTo>
                      <a:pt x="148" y="686"/>
                      <a:pt x="148" y="686"/>
                      <a:pt x="148" y="686"/>
                    </a:cubicBezTo>
                    <a:cubicBezTo>
                      <a:pt x="151" y="684"/>
                      <a:pt x="151" y="684"/>
                      <a:pt x="151" y="684"/>
                    </a:cubicBezTo>
                    <a:cubicBezTo>
                      <a:pt x="161" y="682"/>
                      <a:pt x="161" y="682"/>
                      <a:pt x="161" y="682"/>
                    </a:cubicBezTo>
                    <a:cubicBezTo>
                      <a:pt x="167" y="682"/>
                      <a:pt x="167" y="682"/>
                      <a:pt x="167" y="682"/>
                    </a:cubicBezTo>
                    <a:cubicBezTo>
                      <a:pt x="174" y="677"/>
                      <a:pt x="174" y="677"/>
                      <a:pt x="174" y="677"/>
                    </a:cubicBezTo>
                    <a:cubicBezTo>
                      <a:pt x="172" y="671"/>
                      <a:pt x="172" y="671"/>
                      <a:pt x="172" y="671"/>
                    </a:cubicBezTo>
                    <a:cubicBezTo>
                      <a:pt x="170" y="667"/>
                      <a:pt x="170" y="667"/>
                      <a:pt x="170" y="667"/>
                    </a:cubicBezTo>
                    <a:cubicBezTo>
                      <a:pt x="166" y="666"/>
                      <a:pt x="166" y="666"/>
                      <a:pt x="166" y="666"/>
                    </a:cubicBezTo>
                    <a:cubicBezTo>
                      <a:pt x="163" y="665"/>
                      <a:pt x="163" y="665"/>
                      <a:pt x="163" y="665"/>
                    </a:cubicBezTo>
                    <a:cubicBezTo>
                      <a:pt x="160" y="656"/>
                      <a:pt x="160" y="656"/>
                      <a:pt x="160" y="656"/>
                    </a:cubicBezTo>
                    <a:cubicBezTo>
                      <a:pt x="157" y="650"/>
                      <a:pt x="157" y="650"/>
                      <a:pt x="157" y="650"/>
                    </a:cubicBezTo>
                    <a:cubicBezTo>
                      <a:pt x="151" y="649"/>
                      <a:pt x="151" y="649"/>
                      <a:pt x="151" y="649"/>
                    </a:cubicBezTo>
                    <a:cubicBezTo>
                      <a:pt x="147" y="645"/>
                      <a:pt x="147" y="645"/>
                      <a:pt x="147" y="645"/>
                    </a:cubicBezTo>
                    <a:cubicBezTo>
                      <a:pt x="142" y="644"/>
                      <a:pt x="142" y="644"/>
                      <a:pt x="142" y="644"/>
                    </a:cubicBezTo>
                    <a:cubicBezTo>
                      <a:pt x="137" y="643"/>
                      <a:pt x="137" y="643"/>
                      <a:pt x="137" y="643"/>
                    </a:cubicBezTo>
                    <a:cubicBezTo>
                      <a:pt x="137" y="645"/>
                      <a:pt x="137" y="645"/>
                      <a:pt x="137" y="645"/>
                    </a:cubicBezTo>
                    <a:cubicBezTo>
                      <a:pt x="133" y="649"/>
                      <a:pt x="133" y="649"/>
                      <a:pt x="133" y="649"/>
                    </a:cubicBezTo>
                    <a:cubicBezTo>
                      <a:pt x="133" y="653"/>
                      <a:pt x="133" y="653"/>
                      <a:pt x="133" y="653"/>
                    </a:cubicBezTo>
                    <a:cubicBezTo>
                      <a:pt x="137" y="656"/>
                      <a:pt x="137" y="656"/>
                      <a:pt x="137" y="656"/>
                    </a:cubicBezTo>
                    <a:cubicBezTo>
                      <a:pt x="138" y="659"/>
                      <a:pt x="138" y="659"/>
                      <a:pt x="138" y="659"/>
                    </a:cubicBezTo>
                    <a:cubicBezTo>
                      <a:pt x="135" y="657"/>
                      <a:pt x="135" y="657"/>
                      <a:pt x="135" y="657"/>
                    </a:cubicBezTo>
                    <a:cubicBezTo>
                      <a:pt x="132" y="658"/>
                      <a:pt x="132" y="658"/>
                      <a:pt x="132" y="658"/>
                    </a:cubicBezTo>
                    <a:cubicBezTo>
                      <a:pt x="132" y="661"/>
                      <a:pt x="132" y="661"/>
                      <a:pt x="132" y="661"/>
                    </a:cubicBezTo>
                    <a:cubicBezTo>
                      <a:pt x="130" y="664"/>
                      <a:pt x="130" y="664"/>
                      <a:pt x="130" y="664"/>
                    </a:cubicBezTo>
                    <a:cubicBezTo>
                      <a:pt x="136" y="667"/>
                      <a:pt x="136" y="667"/>
                      <a:pt x="136" y="667"/>
                    </a:cubicBezTo>
                    <a:cubicBezTo>
                      <a:pt x="132" y="668"/>
                      <a:pt x="132" y="668"/>
                      <a:pt x="132" y="668"/>
                    </a:cubicBezTo>
                    <a:cubicBezTo>
                      <a:pt x="131" y="669"/>
                      <a:pt x="131" y="669"/>
                      <a:pt x="131" y="669"/>
                    </a:cubicBezTo>
                    <a:cubicBezTo>
                      <a:pt x="133" y="672"/>
                      <a:pt x="133" y="672"/>
                      <a:pt x="133" y="672"/>
                    </a:cubicBezTo>
                    <a:cubicBezTo>
                      <a:pt x="142" y="674"/>
                      <a:pt x="142" y="674"/>
                      <a:pt x="142" y="674"/>
                    </a:cubicBezTo>
                    <a:cubicBezTo>
                      <a:pt x="143" y="676"/>
                      <a:pt x="143" y="676"/>
                      <a:pt x="143" y="676"/>
                    </a:cubicBezTo>
                    <a:cubicBezTo>
                      <a:pt x="146" y="677"/>
                      <a:pt x="146" y="677"/>
                      <a:pt x="146" y="677"/>
                    </a:cubicBezTo>
                    <a:cubicBezTo>
                      <a:pt x="152" y="673"/>
                      <a:pt x="152" y="673"/>
                      <a:pt x="152" y="673"/>
                    </a:cubicBezTo>
                    <a:cubicBezTo>
                      <a:pt x="147" y="678"/>
                      <a:pt x="147" y="678"/>
                      <a:pt x="147" y="678"/>
                    </a:cubicBezTo>
                    <a:cubicBezTo>
                      <a:pt x="144" y="678"/>
                      <a:pt x="144" y="678"/>
                      <a:pt x="144" y="678"/>
                    </a:cubicBezTo>
                    <a:cubicBezTo>
                      <a:pt x="139" y="676"/>
                      <a:pt x="139" y="676"/>
                      <a:pt x="139" y="676"/>
                    </a:cubicBezTo>
                    <a:cubicBezTo>
                      <a:pt x="137" y="677"/>
                      <a:pt x="137" y="677"/>
                      <a:pt x="137" y="677"/>
                    </a:cubicBezTo>
                    <a:lnTo>
                      <a:pt x="136" y="680"/>
                    </a:lnTo>
                    <a:close/>
                  </a:path>
                </a:pathLst>
              </a:custGeom>
              <a:solidFill>
                <a:schemeClr val="accent6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770" name="Freeform 574"/>
              <p:cNvSpPr>
                <a:spLocks noEditPoints="1"/>
              </p:cNvSpPr>
              <p:nvPr userDrawn="1"/>
            </p:nvSpPr>
            <p:spPr bwMode="auto">
              <a:xfrm>
                <a:off x="3589" y="1765"/>
                <a:ext cx="116" cy="87"/>
              </a:xfrm>
              <a:custGeom>
                <a:avLst/>
                <a:gdLst>
                  <a:gd name="T0" fmla="*/ 95 w 122"/>
                  <a:gd name="T1" fmla="*/ 88 h 92"/>
                  <a:gd name="T2" fmla="*/ 97 w 122"/>
                  <a:gd name="T3" fmla="*/ 82 h 92"/>
                  <a:gd name="T4" fmla="*/ 88 w 122"/>
                  <a:gd name="T5" fmla="*/ 82 h 92"/>
                  <a:gd name="T6" fmla="*/ 88 w 122"/>
                  <a:gd name="T7" fmla="*/ 86 h 92"/>
                  <a:gd name="T8" fmla="*/ 115 w 122"/>
                  <a:gd name="T9" fmla="*/ 72 h 92"/>
                  <a:gd name="T10" fmla="*/ 115 w 122"/>
                  <a:gd name="T11" fmla="*/ 63 h 92"/>
                  <a:gd name="T12" fmla="*/ 77 w 122"/>
                  <a:gd name="T13" fmla="*/ 55 h 92"/>
                  <a:gd name="T14" fmla="*/ 65 w 122"/>
                  <a:gd name="T15" fmla="*/ 70 h 92"/>
                  <a:gd name="T16" fmla="*/ 55 w 122"/>
                  <a:gd name="T17" fmla="*/ 64 h 92"/>
                  <a:gd name="T18" fmla="*/ 56 w 122"/>
                  <a:gd name="T19" fmla="*/ 55 h 92"/>
                  <a:gd name="T20" fmla="*/ 61 w 122"/>
                  <a:gd name="T21" fmla="*/ 55 h 92"/>
                  <a:gd name="T22" fmla="*/ 68 w 122"/>
                  <a:gd name="T23" fmla="*/ 55 h 92"/>
                  <a:gd name="T24" fmla="*/ 70 w 122"/>
                  <a:gd name="T25" fmla="*/ 46 h 92"/>
                  <a:gd name="T26" fmla="*/ 75 w 122"/>
                  <a:gd name="T27" fmla="*/ 58 h 92"/>
                  <a:gd name="T28" fmla="*/ 75 w 122"/>
                  <a:gd name="T29" fmla="*/ 66 h 92"/>
                  <a:gd name="T30" fmla="*/ 68 w 122"/>
                  <a:gd name="T31" fmla="*/ 73 h 92"/>
                  <a:gd name="T32" fmla="*/ 75 w 122"/>
                  <a:gd name="T33" fmla="*/ 73 h 92"/>
                  <a:gd name="T34" fmla="*/ 56 w 122"/>
                  <a:gd name="T35" fmla="*/ 74 h 92"/>
                  <a:gd name="T36" fmla="*/ 65 w 122"/>
                  <a:gd name="T37" fmla="*/ 75 h 92"/>
                  <a:gd name="T38" fmla="*/ 67 w 122"/>
                  <a:gd name="T39" fmla="*/ 81 h 92"/>
                  <a:gd name="T40" fmla="*/ 64 w 122"/>
                  <a:gd name="T41" fmla="*/ 83 h 92"/>
                  <a:gd name="T42" fmla="*/ 54 w 122"/>
                  <a:gd name="T43" fmla="*/ 78 h 92"/>
                  <a:gd name="T44" fmla="*/ 42 w 122"/>
                  <a:gd name="T45" fmla="*/ 55 h 92"/>
                  <a:gd name="T46" fmla="*/ 45 w 122"/>
                  <a:gd name="T47" fmla="*/ 55 h 92"/>
                  <a:gd name="T48" fmla="*/ 44 w 122"/>
                  <a:gd name="T49" fmla="*/ 77 h 92"/>
                  <a:gd name="T50" fmla="*/ 46 w 122"/>
                  <a:gd name="T51" fmla="*/ 77 h 92"/>
                  <a:gd name="T52" fmla="*/ 49 w 122"/>
                  <a:gd name="T53" fmla="*/ 69 h 92"/>
                  <a:gd name="T54" fmla="*/ 44 w 122"/>
                  <a:gd name="T55" fmla="*/ 60 h 92"/>
                  <a:gd name="T56" fmla="*/ 41 w 122"/>
                  <a:gd name="T57" fmla="*/ 74 h 92"/>
                  <a:gd name="T58" fmla="*/ 30 w 122"/>
                  <a:gd name="T59" fmla="*/ 64 h 92"/>
                  <a:gd name="T60" fmla="*/ 53 w 122"/>
                  <a:gd name="T61" fmla="*/ 11 h 92"/>
                  <a:gd name="T62" fmla="*/ 12 w 122"/>
                  <a:gd name="T63" fmla="*/ 27 h 92"/>
                  <a:gd name="T64" fmla="*/ 14 w 122"/>
                  <a:gd name="T65" fmla="*/ 30 h 92"/>
                  <a:gd name="T66" fmla="*/ 11 w 122"/>
                  <a:gd name="T67" fmla="*/ 25 h 92"/>
                  <a:gd name="T68" fmla="*/ 26 w 122"/>
                  <a:gd name="T69" fmla="*/ 22 h 92"/>
                  <a:gd name="T70" fmla="*/ 37 w 122"/>
                  <a:gd name="T71" fmla="*/ 22 h 92"/>
                  <a:gd name="T72" fmla="*/ 40 w 122"/>
                  <a:gd name="T73" fmla="*/ 6 h 92"/>
                  <a:gd name="T74" fmla="*/ 32 w 122"/>
                  <a:gd name="T75" fmla="*/ 7 h 92"/>
                  <a:gd name="T76" fmla="*/ 21 w 122"/>
                  <a:gd name="T77" fmla="*/ 18 h 92"/>
                  <a:gd name="T78" fmla="*/ 8 w 122"/>
                  <a:gd name="T79" fmla="*/ 21 h 92"/>
                  <a:gd name="T80" fmla="*/ 7 w 122"/>
                  <a:gd name="T81" fmla="*/ 28 h 92"/>
                  <a:gd name="T82" fmla="*/ 28 w 122"/>
                  <a:gd name="T83" fmla="*/ 74 h 92"/>
                  <a:gd name="T84" fmla="*/ 27 w 122"/>
                  <a:gd name="T85" fmla="*/ 67 h 92"/>
                  <a:gd name="T86" fmla="*/ 33 w 122"/>
                  <a:gd name="T87" fmla="*/ 57 h 92"/>
                  <a:gd name="T88" fmla="*/ 39 w 122"/>
                  <a:gd name="T89" fmla="*/ 53 h 92"/>
                  <a:gd name="T90" fmla="*/ 43 w 122"/>
                  <a:gd name="T91" fmla="*/ 42 h 92"/>
                  <a:gd name="T92" fmla="*/ 50 w 122"/>
                  <a:gd name="T93" fmla="*/ 42 h 92"/>
                  <a:gd name="T94" fmla="*/ 41 w 122"/>
                  <a:gd name="T95" fmla="*/ 37 h 92"/>
                  <a:gd name="T96" fmla="*/ 36 w 122"/>
                  <a:gd name="T97" fmla="*/ 29 h 92"/>
                  <a:gd name="T98" fmla="*/ 24 w 122"/>
                  <a:gd name="T99" fmla="*/ 25 h 92"/>
                  <a:gd name="T100" fmla="*/ 22 w 122"/>
                  <a:gd name="T101" fmla="*/ 31 h 92"/>
                  <a:gd name="T102" fmla="*/ 19 w 122"/>
                  <a:gd name="T103" fmla="*/ 35 h 92"/>
                  <a:gd name="T104" fmla="*/ 17 w 122"/>
                  <a:gd name="T105" fmla="*/ 28 h 92"/>
                  <a:gd name="T106" fmla="*/ 10 w 122"/>
                  <a:gd name="T107" fmla="*/ 35 h 92"/>
                  <a:gd name="T108" fmla="*/ 6 w 122"/>
                  <a:gd name="T109" fmla="*/ 39 h 92"/>
                  <a:gd name="T110" fmla="*/ 3 w 122"/>
                  <a:gd name="T111" fmla="*/ 46 h 92"/>
                  <a:gd name="T112" fmla="*/ 2 w 122"/>
                  <a:gd name="T113" fmla="*/ 56 h 92"/>
                  <a:gd name="T114" fmla="*/ 10 w 122"/>
                  <a:gd name="T115" fmla="*/ 65 h 92"/>
                  <a:gd name="T116" fmla="*/ 15 w 122"/>
                  <a:gd name="T117" fmla="*/ 74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22" h="92">
                    <a:moveTo>
                      <a:pt x="87" y="89"/>
                    </a:moveTo>
                    <a:cubicBezTo>
                      <a:pt x="88" y="90"/>
                      <a:pt x="88" y="90"/>
                      <a:pt x="88" y="90"/>
                    </a:cubicBezTo>
                    <a:cubicBezTo>
                      <a:pt x="92" y="92"/>
                      <a:pt x="92" y="92"/>
                      <a:pt x="92" y="92"/>
                    </a:cubicBezTo>
                    <a:cubicBezTo>
                      <a:pt x="95" y="88"/>
                      <a:pt x="95" y="88"/>
                      <a:pt x="95" y="88"/>
                    </a:cubicBezTo>
                    <a:cubicBezTo>
                      <a:pt x="97" y="89"/>
                      <a:pt x="97" y="89"/>
                      <a:pt x="97" y="89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5"/>
                      <a:pt x="96" y="85"/>
                      <a:pt x="96" y="85"/>
                    </a:cubicBezTo>
                    <a:cubicBezTo>
                      <a:pt x="97" y="82"/>
                      <a:pt x="97" y="82"/>
                      <a:pt x="97" y="82"/>
                    </a:cubicBezTo>
                    <a:cubicBezTo>
                      <a:pt x="94" y="81"/>
                      <a:pt x="94" y="81"/>
                      <a:pt x="94" y="81"/>
                    </a:cubicBezTo>
                    <a:cubicBezTo>
                      <a:pt x="92" y="82"/>
                      <a:pt x="92" y="82"/>
                      <a:pt x="92" y="82"/>
                    </a:cubicBezTo>
                    <a:cubicBezTo>
                      <a:pt x="91" y="81"/>
                      <a:pt x="91" y="81"/>
                      <a:pt x="91" y="81"/>
                    </a:cubicBezTo>
                    <a:cubicBezTo>
                      <a:pt x="88" y="82"/>
                      <a:pt x="88" y="82"/>
                      <a:pt x="88" y="82"/>
                    </a:cubicBezTo>
                    <a:cubicBezTo>
                      <a:pt x="88" y="84"/>
                      <a:pt x="88" y="84"/>
                      <a:pt x="88" y="84"/>
                    </a:cubicBezTo>
                    <a:cubicBezTo>
                      <a:pt x="91" y="84"/>
                      <a:pt x="91" y="84"/>
                      <a:pt x="91" y="84"/>
                    </a:cubicBezTo>
                    <a:cubicBezTo>
                      <a:pt x="91" y="85"/>
                      <a:pt x="91" y="85"/>
                      <a:pt x="91" y="85"/>
                    </a:cubicBezTo>
                    <a:cubicBezTo>
                      <a:pt x="88" y="86"/>
                      <a:pt x="88" y="86"/>
                      <a:pt x="88" y="86"/>
                    </a:cubicBezTo>
                    <a:cubicBezTo>
                      <a:pt x="87" y="89"/>
                      <a:pt x="87" y="89"/>
                      <a:pt x="87" y="89"/>
                    </a:cubicBezTo>
                    <a:close/>
                    <a:moveTo>
                      <a:pt x="115" y="63"/>
                    </a:moveTo>
                    <a:cubicBezTo>
                      <a:pt x="114" y="68"/>
                      <a:pt x="114" y="68"/>
                      <a:pt x="114" y="68"/>
                    </a:cubicBezTo>
                    <a:cubicBezTo>
                      <a:pt x="115" y="72"/>
                      <a:pt x="115" y="72"/>
                      <a:pt x="115" y="72"/>
                    </a:cubicBezTo>
                    <a:cubicBezTo>
                      <a:pt x="121" y="74"/>
                      <a:pt x="121" y="74"/>
                      <a:pt x="121" y="74"/>
                    </a:cubicBezTo>
                    <a:cubicBezTo>
                      <a:pt x="122" y="71"/>
                      <a:pt x="122" y="71"/>
                      <a:pt x="122" y="71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15" y="63"/>
                      <a:pt x="115" y="63"/>
                      <a:pt x="115" y="63"/>
                    </a:cubicBezTo>
                    <a:close/>
                    <a:moveTo>
                      <a:pt x="77" y="55"/>
                    </a:moveTo>
                    <a:cubicBezTo>
                      <a:pt x="76" y="59"/>
                      <a:pt x="76" y="59"/>
                      <a:pt x="76" y="59"/>
                    </a:cubicBezTo>
                    <a:cubicBezTo>
                      <a:pt x="79" y="60"/>
                      <a:pt x="79" y="60"/>
                      <a:pt x="79" y="60"/>
                    </a:cubicBezTo>
                    <a:cubicBezTo>
                      <a:pt x="77" y="55"/>
                      <a:pt x="77" y="55"/>
                      <a:pt x="77" y="55"/>
                    </a:cubicBezTo>
                    <a:close/>
                    <a:moveTo>
                      <a:pt x="68" y="73"/>
                    </a:moveTo>
                    <a:cubicBezTo>
                      <a:pt x="65" y="73"/>
                      <a:pt x="65" y="73"/>
                      <a:pt x="65" y="73"/>
                    </a:cubicBezTo>
                    <a:cubicBezTo>
                      <a:pt x="63" y="72"/>
                      <a:pt x="63" y="72"/>
                      <a:pt x="63" y="72"/>
                    </a:cubicBezTo>
                    <a:cubicBezTo>
                      <a:pt x="65" y="70"/>
                      <a:pt x="65" y="70"/>
                      <a:pt x="65" y="70"/>
                    </a:cubicBezTo>
                    <a:cubicBezTo>
                      <a:pt x="64" y="68"/>
                      <a:pt x="64" y="68"/>
                      <a:pt x="64" y="68"/>
                    </a:cubicBezTo>
                    <a:cubicBezTo>
                      <a:pt x="60" y="67"/>
                      <a:pt x="60" y="67"/>
                      <a:pt x="60" y="67"/>
                    </a:cubicBezTo>
                    <a:cubicBezTo>
                      <a:pt x="58" y="67"/>
                      <a:pt x="58" y="67"/>
                      <a:pt x="58" y="67"/>
                    </a:cubicBezTo>
                    <a:cubicBezTo>
                      <a:pt x="55" y="64"/>
                      <a:pt x="55" y="64"/>
                      <a:pt x="55" y="64"/>
                    </a:cubicBezTo>
                    <a:cubicBezTo>
                      <a:pt x="55" y="60"/>
                      <a:pt x="55" y="60"/>
                      <a:pt x="55" y="60"/>
                    </a:cubicBezTo>
                    <a:cubicBezTo>
                      <a:pt x="54" y="58"/>
                      <a:pt x="54" y="58"/>
                      <a:pt x="54" y="58"/>
                    </a:cubicBezTo>
                    <a:cubicBezTo>
                      <a:pt x="53" y="55"/>
                      <a:pt x="53" y="55"/>
                      <a:pt x="53" y="55"/>
                    </a:cubicBezTo>
                    <a:cubicBezTo>
                      <a:pt x="56" y="55"/>
                      <a:pt x="56" y="55"/>
                      <a:pt x="56" y="55"/>
                    </a:cubicBezTo>
                    <a:cubicBezTo>
                      <a:pt x="57" y="52"/>
                      <a:pt x="57" y="52"/>
                      <a:pt x="57" y="52"/>
                    </a:cubicBezTo>
                    <a:cubicBezTo>
                      <a:pt x="59" y="51"/>
                      <a:pt x="59" y="51"/>
                      <a:pt x="59" y="51"/>
                    </a:cubicBezTo>
                    <a:cubicBezTo>
                      <a:pt x="61" y="53"/>
                      <a:pt x="61" y="53"/>
                      <a:pt x="61" y="53"/>
                    </a:cubicBezTo>
                    <a:cubicBezTo>
                      <a:pt x="61" y="55"/>
                      <a:pt x="61" y="55"/>
                      <a:pt x="61" y="55"/>
                    </a:cubicBezTo>
                    <a:cubicBezTo>
                      <a:pt x="65" y="57"/>
                      <a:pt x="65" y="57"/>
                      <a:pt x="65" y="57"/>
                    </a:cubicBezTo>
                    <a:cubicBezTo>
                      <a:pt x="65" y="56"/>
                      <a:pt x="65" y="56"/>
                      <a:pt x="65" y="56"/>
                    </a:cubicBezTo>
                    <a:cubicBezTo>
                      <a:pt x="67" y="56"/>
                      <a:pt x="67" y="56"/>
                      <a:pt x="67" y="56"/>
                    </a:cubicBezTo>
                    <a:cubicBezTo>
                      <a:pt x="68" y="55"/>
                      <a:pt x="68" y="55"/>
                      <a:pt x="68" y="55"/>
                    </a:cubicBezTo>
                    <a:cubicBezTo>
                      <a:pt x="65" y="53"/>
                      <a:pt x="65" y="53"/>
                      <a:pt x="65" y="53"/>
                    </a:cubicBezTo>
                    <a:cubicBezTo>
                      <a:pt x="63" y="51"/>
                      <a:pt x="63" y="51"/>
                      <a:pt x="63" y="51"/>
                    </a:cubicBezTo>
                    <a:cubicBezTo>
                      <a:pt x="65" y="48"/>
                      <a:pt x="65" y="48"/>
                      <a:pt x="65" y="48"/>
                    </a:cubicBezTo>
                    <a:cubicBezTo>
                      <a:pt x="70" y="46"/>
                      <a:pt x="70" y="46"/>
                      <a:pt x="70" y="46"/>
                    </a:cubicBezTo>
                    <a:cubicBezTo>
                      <a:pt x="75" y="46"/>
                      <a:pt x="75" y="46"/>
                      <a:pt x="75" y="46"/>
                    </a:cubicBezTo>
                    <a:cubicBezTo>
                      <a:pt x="76" y="49"/>
                      <a:pt x="76" y="49"/>
                      <a:pt x="76" y="49"/>
                    </a:cubicBezTo>
                    <a:cubicBezTo>
                      <a:pt x="76" y="53"/>
                      <a:pt x="76" y="53"/>
                      <a:pt x="76" y="53"/>
                    </a:cubicBezTo>
                    <a:cubicBezTo>
                      <a:pt x="75" y="58"/>
                      <a:pt x="75" y="58"/>
                      <a:pt x="75" y="58"/>
                    </a:cubicBezTo>
                    <a:cubicBezTo>
                      <a:pt x="71" y="60"/>
                      <a:pt x="71" y="60"/>
                      <a:pt x="71" y="60"/>
                    </a:cubicBezTo>
                    <a:cubicBezTo>
                      <a:pt x="71" y="61"/>
                      <a:pt x="71" y="61"/>
                      <a:pt x="71" y="61"/>
                    </a:cubicBezTo>
                    <a:cubicBezTo>
                      <a:pt x="74" y="63"/>
                      <a:pt x="74" y="63"/>
                      <a:pt x="74" y="63"/>
                    </a:cubicBezTo>
                    <a:cubicBezTo>
                      <a:pt x="75" y="66"/>
                      <a:pt x="75" y="66"/>
                      <a:pt x="75" y="66"/>
                    </a:cubicBezTo>
                    <a:cubicBezTo>
                      <a:pt x="73" y="67"/>
                      <a:pt x="73" y="67"/>
                      <a:pt x="73" y="67"/>
                    </a:cubicBezTo>
                    <a:cubicBezTo>
                      <a:pt x="69" y="69"/>
                      <a:pt x="69" y="69"/>
                      <a:pt x="69" y="69"/>
                    </a:cubicBezTo>
                    <a:cubicBezTo>
                      <a:pt x="69" y="71"/>
                      <a:pt x="69" y="71"/>
                      <a:pt x="69" y="71"/>
                    </a:cubicBezTo>
                    <a:cubicBezTo>
                      <a:pt x="68" y="73"/>
                      <a:pt x="68" y="73"/>
                      <a:pt x="68" y="73"/>
                    </a:cubicBezTo>
                    <a:close/>
                    <a:moveTo>
                      <a:pt x="70" y="74"/>
                    </a:moveTo>
                    <a:cubicBezTo>
                      <a:pt x="71" y="76"/>
                      <a:pt x="71" y="76"/>
                      <a:pt x="71" y="76"/>
                    </a:cubicBezTo>
                    <a:cubicBezTo>
                      <a:pt x="72" y="73"/>
                      <a:pt x="72" y="73"/>
                      <a:pt x="72" y="73"/>
                    </a:cubicBezTo>
                    <a:cubicBezTo>
                      <a:pt x="75" y="73"/>
                      <a:pt x="75" y="73"/>
                      <a:pt x="75" y="73"/>
                    </a:cubicBezTo>
                    <a:cubicBezTo>
                      <a:pt x="74" y="71"/>
                      <a:pt x="74" y="71"/>
                      <a:pt x="74" y="71"/>
                    </a:cubicBezTo>
                    <a:cubicBezTo>
                      <a:pt x="72" y="72"/>
                      <a:pt x="72" y="72"/>
                      <a:pt x="72" y="72"/>
                    </a:cubicBezTo>
                    <a:cubicBezTo>
                      <a:pt x="70" y="74"/>
                      <a:pt x="70" y="74"/>
                      <a:pt x="70" y="74"/>
                    </a:cubicBezTo>
                    <a:close/>
                    <a:moveTo>
                      <a:pt x="56" y="74"/>
                    </a:moveTo>
                    <a:cubicBezTo>
                      <a:pt x="59" y="79"/>
                      <a:pt x="59" y="79"/>
                      <a:pt x="59" y="79"/>
                    </a:cubicBezTo>
                    <a:cubicBezTo>
                      <a:pt x="62" y="78"/>
                      <a:pt x="62" y="78"/>
                      <a:pt x="62" y="78"/>
                    </a:cubicBezTo>
                    <a:cubicBezTo>
                      <a:pt x="64" y="78"/>
                      <a:pt x="64" y="78"/>
                      <a:pt x="64" y="78"/>
                    </a:cubicBezTo>
                    <a:cubicBezTo>
                      <a:pt x="65" y="75"/>
                      <a:pt x="65" y="75"/>
                      <a:pt x="65" y="75"/>
                    </a:cubicBezTo>
                    <a:cubicBezTo>
                      <a:pt x="68" y="75"/>
                      <a:pt x="68" y="75"/>
                      <a:pt x="68" y="75"/>
                    </a:cubicBezTo>
                    <a:cubicBezTo>
                      <a:pt x="69" y="75"/>
                      <a:pt x="69" y="75"/>
                      <a:pt x="69" y="75"/>
                    </a:cubicBezTo>
                    <a:cubicBezTo>
                      <a:pt x="69" y="77"/>
                      <a:pt x="69" y="77"/>
                      <a:pt x="69" y="77"/>
                    </a:cubicBezTo>
                    <a:cubicBezTo>
                      <a:pt x="67" y="81"/>
                      <a:pt x="67" y="81"/>
                      <a:pt x="67" y="81"/>
                    </a:cubicBezTo>
                    <a:cubicBezTo>
                      <a:pt x="68" y="84"/>
                      <a:pt x="68" y="84"/>
                      <a:pt x="68" y="84"/>
                    </a:cubicBezTo>
                    <a:cubicBezTo>
                      <a:pt x="67" y="83"/>
                      <a:pt x="67" y="83"/>
                      <a:pt x="67" y="83"/>
                    </a:cubicBezTo>
                    <a:cubicBezTo>
                      <a:pt x="66" y="80"/>
                      <a:pt x="66" y="80"/>
                      <a:pt x="66" y="80"/>
                    </a:cubicBezTo>
                    <a:cubicBezTo>
                      <a:pt x="64" y="83"/>
                      <a:pt x="64" y="83"/>
                      <a:pt x="64" y="83"/>
                    </a:cubicBezTo>
                    <a:cubicBezTo>
                      <a:pt x="58" y="83"/>
                      <a:pt x="58" y="83"/>
                      <a:pt x="58" y="83"/>
                    </a:cubicBezTo>
                    <a:cubicBezTo>
                      <a:pt x="53" y="81"/>
                      <a:pt x="53" y="81"/>
                      <a:pt x="53" y="81"/>
                    </a:cubicBezTo>
                    <a:cubicBezTo>
                      <a:pt x="51" y="79"/>
                      <a:pt x="51" y="79"/>
                      <a:pt x="51" y="79"/>
                    </a:cubicBezTo>
                    <a:cubicBezTo>
                      <a:pt x="54" y="78"/>
                      <a:pt x="54" y="78"/>
                      <a:pt x="54" y="78"/>
                    </a:cubicBezTo>
                    <a:cubicBezTo>
                      <a:pt x="52" y="77"/>
                      <a:pt x="52" y="77"/>
                      <a:pt x="52" y="77"/>
                    </a:cubicBezTo>
                    <a:cubicBezTo>
                      <a:pt x="54" y="74"/>
                      <a:pt x="54" y="74"/>
                      <a:pt x="54" y="74"/>
                    </a:cubicBezTo>
                    <a:cubicBezTo>
                      <a:pt x="56" y="74"/>
                      <a:pt x="56" y="74"/>
                      <a:pt x="56" y="74"/>
                    </a:cubicBezTo>
                    <a:close/>
                    <a:moveTo>
                      <a:pt x="42" y="55"/>
                    </a:moveTo>
                    <a:cubicBezTo>
                      <a:pt x="44" y="53"/>
                      <a:pt x="44" y="53"/>
                      <a:pt x="44" y="53"/>
                    </a:cubicBezTo>
                    <a:cubicBezTo>
                      <a:pt x="44" y="47"/>
                      <a:pt x="44" y="47"/>
                      <a:pt x="44" y="47"/>
                    </a:cubicBezTo>
                    <a:cubicBezTo>
                      <a:pt x="45" y="52"/>
                      <a:pt x="45" y="52"/>
                      <a:pt x="45" y="52"/>
                    </a:cubicBezTo>
                    <a:cubicBezTo>
                      <a:pt x="45" y="55"/>
                      <a:pt x="45" y="55"/>
                      <a:pt x="45" y="55"/>
                    </a:cubicBezTo>
                    <a:cubicBezTo>
                      <a:pt x="42" y="55"/>
                      <a:pt x="42" y="55"/>
                      <a:pt x="42" y="55"/>
                    </a:cubicBezTo>
                    <a:close/>
                    <a:moveTo>
                      <a:pt x="40" y="75"/>
                    </a:moveTo>
                    <a:cubicBezTo>
                      <a:pt x="43" y="78"/>
                      <a:pt x="43" y="78"/>
                      <a:pt x="43" y="78"/>
                    </a:cubicBezTo>
                    <a:cubicBezTo>
                      <a:pt x="44" y="77"/>
                      <a:pt x="44" y="77"/>
                      <a:pt x="44" y="77"/>
                    </a:cubicBezTo>
                    <a:cubicBezTo>
                      <a:pt x="40" y="75"/>
                      <a:pt x="40" y="75"/>
                      <a:pt x="40" y="75"/>
                    </a:cubicBezTo>
                    <a:close/>
                    <a:moveTo>
                      <a:pt x="49" y="69"/>
                    </a:moveTo>
                    <a:cubicBezTo>
                      <a:pt x="48" y="74"/>
                      <a:pt x="48" y="74"/>
                      <a:pt x="48" y="74"/>
                    </a:cubicBezTo>
                    <a:cubicBezTo>
                      <a:pt x="46" y="77"/>
                      <a:pt x="46" y="77"/>
                      <a:pt x="46" y="77"/>
                    </a:cubicBezTo>
                    <a:cubicBezTo>
                      <a:pt x="47" y="79"/>
                      <a:pt x="47" y="79"/>
                      <a:pt x="47" y="79"/>
                    </a:cubicBezTo>
                    <a:cubicBezTo>
                      <a:pt x="49" y="76"/>
                      <a:pt x="49" y="76"/>
                      <a:pt x="49" y="76"/>
                    </a:cubicBezTo>
                    <a:cubicBezTo>
                      <a:pt x="51" y="72"/>
                      <a:pt x="51" y="72"/>
                      <a:pt x="51" y="72"/>
                    </a:cubicBezTo>
                    <a:cubicBezTo>
                      <a:pt x="51" y="72"/>
                      <a:pt x="48" y="69"/>
                      <a:pt x="49" y="69"/>
                    </a:cubicBezTo>
                    <a:close/>
                    <a:moveTo>
                      <a:pt x="31" y="60"/>
                    </a:moveTo>
                    <a:cubicBezTo>
                      <a:pt x="37" y="59"/>
                      <a:pt x="37" y="59"/>
                      <a:pt x="37" y="59"/>
                    </a:cubicBezTo>
                    <a:cubicBezTo>
                      <a:pt x="41" y="61"/>
                      <a:pt x="41" y="61"/>
                      <a:pt x="41" y="61"/>
                    </a:cubicBezTo>
                    <a:cubicBezTo>
                      <a:pt x="44" y="60"/>
                      <a:pt x="44" y="60"/>
                      <a:pt x="44" y="60"/>
                    </a:cubicBezTo>
                    <a:cubicBezTo>
                      <a:pt x="46" y="66"/>
                      <a:pt x="46" y="66"/>
                      <a:pt x="46" y="66"/>
                    </a:cubicBezTo>
                    <a:cubicBezTo>
                      <a:pt x="47" y="69"/>
                      <a:pt x="47" y="69"/>
                      <a:pt x="47" y="69"/>
                    </a:cubicBezTo>
                    <a:cubicBezTo>
                      <a:pt x="45" y="73"/>
                      <a:pt x="45" y="73"/>
                      <a:pt x="45" y="73"/>
                    </a:cubicBezTo>
                    <a:cubicBezTo>
                      <a:pt x="41" y="74"/>
                      <a:pt x="41" y="74"/>
                      <a:pt x="41" y="74"/>
                    </a:cubicBezTo>
                    <a:cubicBezTo>
                      <a:pt x="39" y="72"/>
                      <a:pt x="39" y="72"/>
                      <a:pt x="39" y="72"/>
                    </a:cubicBezTo>
                    <a:cubicBezTo>
                      <a:pt x="36" y="72"/>
                      <a:pt x="36" y="72"/>
                      <a:pt x="36" y="72"/>
                    </a:cubicBezTo>
                    <a:cubicBezTo>
                      <a:pt x="32" y="68"/>
                      <a:pt x="32" y="68"/>
                      <a:pt x="32" y="68"/>
                    </a:cubicBezTo>
                    <a:cubicBezTo>
                      <a:pt x="30" y="64"/>
                      <a:pt x="30" y="64"/>
                      <a:pt x="30" y="64"/>
                    </a:cubicBezTo>
                    <a:cubicBezTo>
                      <a:pt x="31" y="60"/>
                      <a:pt x="31" y="60"/>
                      <a:pt x="31" y="60"/>
                    </a:cubicBezTo>
                    <a:close/>
                    <a:moveTo>
                      <a:pt x="47" y="13"/>
                    </a:moveTo>
                    <a:cubicBezTo>
                      <a:pt x="48" y="11"/>
                      <a:pt x="48" y="11"/>
                      <a:pt x="48" y="11"/>
                    </a:cubicBezTo>
                    <a:cubicBezTo>
                      <a:pt x="53" y="11"/>
                      <a:pt x="53" y="11"/>
                      <a:pt x="53" y="11"/>
                    </a:cubicBezTo>
                    <a:cubicBezTo>
                      <a:pt x="49" y="13"/>
                      <a:pt x="49" y="13"/>
                      <a:pt x="49" y="13"/>
                    </a:cubicBezTo>
                    <a:cubicBezTo>
                      <a:pt x="47" y="13"/>
                      <a:pt x="47" y="13"/>
                      <a:pt x="47" y="13"/>
                    </a:cubicBezTo>
                    <a:close/>
                    <a:moveTo>
                      <a:pt x="12" y="31"/>
                    </a:moveTo>
                    <a:cubicBezTo>
                      <a:pt x="12" y="27"/>
                      <a:pt x="12" y="27"/>
                      <a:pt x="12" y="27"/>
                    </a:cubicBezTo>
                    <a:cubicBezTo>
                      <a:pt x="15" y="24"/>
                      <a:pt x="15" y="24"/>
                      <a:pt x="15" y="24"/>
                    </a:cubicBezTo>
                    <a:cubicBezTo>
                      <a:pt x="18" y="24"/>
                      <a:pt x="18" y="24"/>
                      <a:pt x="18" y="24"/>
                    </a:cubicBezTo>
                    <a:cubicBezTo>
                      <a:pt x="17" y="27"/>
                      <a:pt x="17" y="27"/>
                      <a:pt x="17" y="27"/>
                    </a:cubicBezTo>
                    <a:cubicBezTo>
                      <a:pt x="14" y="30"/>
                      <a:pt x="14" y="30"/>
                      <a:pt x="14" y="30"/>
                    </a:cubicBezTo>
                    <a:cubicBezTo>
                      <a:pt x="12" y="31"/>
                      <a:pt x="12" y="31"/>
                      <a:pt x="12" y="31"/>
                    </a:cubicBezTo>
                    <a:close/>
                    <a:moveTo>
                      <a:pt x="11" y="33"/>
                    </a:moveTo>
                    <a:cubicBezTo>
                      <a:pt x="10" y="28"/>
                      <a:pt x="10" y="28"/>
                      <a:pt x="10" y="28"/>
                    </a:cubicBezTo>
                    <a:cubicBezTo>
                      <a:pt x="11" y="25"/>
                      <a:pt x="11" y="25"/>
                      <a:pt x="11" y="25"/>
                    </a:cubicBezTo>
                    <a:cubicBezTo>
                      <a:pt x="17" y="21"/>
                      <a:pt x="17" y="21"/>
                      <a:pt x="17" y="21"/>
                    </a:cubicBezTo>
                    <a:cubicBezTo>
                      <a:pt x="18" y="22"/>
                      <a:pt x="18" y="22"/>
                      <a:pt x="18" y="22"/>
                    </a:cubicBezTo>
                    <a:cubicBezTo>
                      <a:pt x="21" y="22"/>
                      <a:pt x="21" y="22"/>
                      <a:pt x="21" y="22"/>
                    </a:cubicBezTo>
                    <a:cubicBezTo>
                      <a:pt x="26" y="22"/>
                      <a:pt x="26" y="22"/>
                      <a:pt x="26" y="22"/>
                    </a:cubicBezTo>
                    <a:cubicBezTo>
                      <a:pt x="28" y="21"/>
                      <a:pt x="28" y="21"/>
                      <a:pt x="28" y="21"/>
                    </a:cubicBezTo>
                    <a:cubicBezTo>
                      <a:pt x="32" y="21"/>
                      <a:pt x="32" y="21"/>
                      <a:pt x="32" y="21"/>
                    </a:cubicBezTo>
                    <a:cubicBezTo>
                      <a:pt x="35" y="23"/>
                      <a:pt x="35" y="23"/>
                      <a:pt x="35" y="23"/>
                    </a:cubicBezTo>
                    <a:cubicBezTo>
                      <a:pt x="37" y="22"/>
                      <a:pt x="37" y="22"/>
                      <a:pt x="37" y="22"/>
                    </a:cubicBezTo>
                    <a:cubicBezTo>
                      <a:pt x="41" y="16"/>
                      <a:pt x="41" y="16"/>
                      <a:pt x="41" y="16"/>
                    </a:cubicBezTo>
                    <a:cubicBezTo>
                      <a:pt x="40" y="12"/>
                      <a:pt x="40" y="12"/>
                      <a:pt x="40" y="12"/>
                    </a:cubicBezTo>
                    <a:cubicBezTo>
                      <a:pt x="41" y="10"/>
                      <a:pt x="41" y="10"/>
                      <a:pt x="41" y="10"/>
                    </a:cubicBezTo>
                    <a:cubicBezTo>
                      <a:pt x="40" y="6"/>
                      <a:pt x="40" y="6"/>
                      <a:pt x="40" y="6"/>
                    </a:cubicBezTo>
                    <a:cubicBezTo>
                      <a:pt x="43" y="2"/>
                      <a:pt x="43" y="2"/>
                      <a:pt x="43" y="2"/>
                    </a:cubicBezTo>
                    <a:cubicBezTo>
                      <a:pt x="42" y="0"/>
                      <a:pt x="42" y="0"/>
                      <a:pt x="42" y="0"/>
                    </a:cubicBezTo>
                    <a:cubicBezTo>
                      <a:pt x="37" y="5"/>
                      <a:pt x="37" y="5"/>
                      <a:pt x="37" y="5"/>
                    </a:cubicBezTo>
                    <a:cubicBezTo>
                      <a:pt x="32" y="7"/>
                      <a:pt x="32" y="7"/>
                      <a:pt x="32" y="7"/>
                    </a:cubicBezTo>
                    <a:cubicBezTo>
                      <a:pt x="29" y="8"/>
                      <a:pt x="29" y="8"/>
                      <a:pt x="29" y="8"/>
                    </a:cubicBezTo>
                    <a:cubicBezTo>
                      <a:pt x="27" y="11"/>
                      <a:pt x="27" y="11"/>
                      <a:pt x="27" y="11"/>
                    </a:cubicBezTo>
                    <a:cubicBezTo>
                      <a:pt x="25" y="15"/>
                      <a:pt x="25" y="15"/>
                      <a:pt x="25" y="15"/>
                    </a:cubicBezTo>
                    <a:cubicBezTo>
                      <a:pt x="21" y="18"/>
                      <a:pt x="21" y="18"/>
                      <a:pt x="21" y="18"/>
                    </a:cubicBezTo>
                    <a:cubicBezTo>
                      <a:pt x="17" y="18"/>
                      <a:pt x="17" y="18"/>
                      <a:pt x="17" y="18"/>
                    </a:cubicBezTo>
                    <a:cubicBezTo>
                      <a:pt x="12" y="22"/>
                      <a:pt x="12" y="22"/>
                      <a:pt x="12" y="22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8" y="21"/>
                      <a:pt x="8" y="21"/>
                      <a:pt x="8" y="21"/>
                    </a:cubicBezTo>
                    <a:cubicBezTo>
                      <a:pt x="6" y="25"/>
                      <a:pt x="6" y="25"/>
                      <a:pt x="6" y="25"/>
                    </a:cubicBezTo>
                    <a:cubicBezTo>
                      <a:pt x="4" y="28"/>
                      <a:pt x="4" y="28"/>
                      <a:pt x="4" y="28"/>
                    </a:cubicBezTo>
                    <a:cubicBezTo>
                      <a:pt x="5" y="29"/>
                      <a:pt x="5" y="29"/>
                      <a:pt x="5" y="29"/>
                    </a:cubicBezTo>
                    <a:cubicBezTo>
                      <a:pt x="7" y="28"/>
                      <a:pt x="7" y="28"/>
                      <a:pt x="7" y="28"/>
                    </a:cubicBezTo>
                    <a:cubicBezTo>
                      <a:pt x="11" y="33"/>
                      <a:pt x="11" y="33"/>
                      <a:pt x="11" y="33"/>
                    </a:cubicBezTo>
                    <a:close/>
                    <a:moveTo>
                      <a:pt x="28" y="76"/>
                    </a:moveTo>
                    <a:cubicBezTo>
                      <a:pt x="27" y="76"/>
                      <a:pt x="27" y="76"/>
                      <a:pt x="27" y="76"/>
                    </a:cubicBezTo>
                    <a:cubicBezTo>
                      <a:pt x="28" y="74"/>
                      <a:pt x="28" y="74"/>
                      <a:pt x="28" y="74"/>
                    </a:cubicBezTo>
                    <a:cubicBezTo>
                      <a:pt x="26" y="72"/>
                      <a:pt x="26" y="72"/>
                      <a:pt x="26" y="72"/>
                    </a:cubicBezTo>
                    <a:cubicBezTo>
                      <a:pt x="24" y="72"/>
                      <a:pt x="24" y="72"/>
                      <a:pt x="24" y="72"/>
                    </a:cubicBezTo>
                    <a:cubicBezTo>
                      <a:pt x="25" y="69"/>
                      <a:pt x="25" y="69"/>
                      <a:pt x="25" y="69"/>
                    </a:cubicBezTo>
                    <a:cubicBezTo>
                      <a:pt x="27" y="67"/>
                      <a:pt x="27" y="67"/>
                      <a:pt x="27" y="67"/>
                    </a:cubicBezTo>
                    <a:cubicBezTo>
                      <a:pt x="27" y="64"/>
                      <a:pt x="27" y="64"/>
                      <a:pt x="27" y="64"/>
                    </a:cubicBezTo>
                    <a:cubicBezTo>
                      <a:pt x="25" y="64"/>
                      <a:pt x="25" y="64"/>
                      <a:pt x="25" y="64"/>
                    </a:cubicBezTo>
                    <a:cubicBezTo>
                      <a:pt x="25" y="61"/>
                      <a:pt x="25" y="61"/>
                      <a:pt x="25" y="61"/>
                    </a:cubicBezTo>
                    <a:cubicBezTo>
                      <a:pt x="33" y="57"/>
                      <a:pt x="33" y="57"/>
                      <a:pt x="33" y="57"/>
                    </a:cubicBezTo>
                    <a:cubicBezTo>
                      <a:pt x="31" y="56"/>
                      <a:pt x="31" y="56"/>
                      <a:pt x="31" y="56"/>
                    </a:cubicBezTo>
                    <a:cubicBezTo>
                      <a:pt x="34" y="53"/>
                      <a:pt x="34" y="53"/>
                      <a:pt x="34" y="53"/>
                    </a:cubicBezTo>
                    <a:cubicBezTo>
                      <a:pt x="35" y="54"/>
                      <a:pt x="35" y="54"/>
                      <a:pt x="35" y="54"/>
                    </a:cubicBezTo>
                    <a:cubicBezTo>
                      <a:pt x="39" y="53"/>
                      <a:pt x="39" y="53"/>
                      <a:pt x="39" y="53"/>
                    </a:cubicBezTo>
                    <a:cubicBezTo>
                      <a:pt x="39" y="48"/>
                      <a:pt x="39" y="48"/>
                      <a:pt x="39" y="48"/>
                    </a:cubicBezTo>
                    <a:cubicBezTo>
                      <a:pt x="37" y="44"/>
                      <a:pt x="37" y="44"/>
                      <a:pt x="37" y="44"/>
                    </a:cubicBezTo>
                    <a:cubicBezTo>
                      <a:pt x="40" y="42"/>
                      <a:pt x="40" y="42"/>
                      <a:pt x="40" y="42"/>
                    </a:cubicBezTo>
                    <a:cubicBezTo>
                      <a:pt x="43" y="42"/>
                      <a:pt x="43" y="42"/>
                      <a:pt x="43" y="42"/>
                    </a:cubicBezTo>
                    <a:cubicBezTo>
                      <a:pt x="45" y="44"/>
                      <a:pt x="45" y="44"/>
                      <a:pt x="45" y="44"/>
                    </a:cubicBezTo>
                    <a:cubicBezTo>
                      <a:pt x="47" y="43"/>
                      <a:pt x="47" y="43"/>
                      <a:pt x="47" y="43"/>
                    </a:cubicBezTo>
                    <a:cubicBezTo>
                      <a:pt x="48" y="44"/>
                      <a:pt x="48" y="44"/>
                      <a:pt x="48" y="44"/>
                    </a:cubicBezTo>
                    <a:cubicBezTo>
                      <a:pt x="50" y="42"/>
                      <a:pt x="50" y="42"/>
                      <a:pt x="50" y="42"/>
                    </a:cubicBezTo>
                    <a:cubicBezTo>
                      <a:pt x="51" y="39"/>
                      <a:pt x="51" y="39"/>
                      <a:pt x="51" y="39"/>
                    </a:cubicBezTo>
                    <a:cubicBezTo>
                      <a:pt x="47" y="35"/>
                      <a:pt x="47" y="35"/>
                      <a:pt x="47" y="35"/>
                    </a:cubicBezTo>
                    <a:cubicBezTo>
                      <a:pt x="45" y="37"/>
                      <a:pt x="45" y="37"/>
                      <a:pt x="45" y="37"/>
                    </a:cubicBezTo>
                    <a:cubicBezTo>
                      <a:pt x="41" y="37"/>
                      <a:pt x="41" y="37"/>
                      <a:pt x="41" y="37"/>
                    </a:cubicBezTo>
                    <a:cubicBezTo>
                      <a:pt x="39" y="34"/>
                      <a:pt x="39" y="34"/>
                      <a:pt x="39" y="34"/>
                    </a:cubicBezTo>
                    <a:cubicBezTo>
                      <a:pt x="37" y="31"/>
                      <a:pt x="37" y="31"/>
                      <a:pt x="37" y="31"/>
                    </a:cubicBezTo>
                    <a:cubicBezTo>
                      <a:pt x="35" y="31"/>
                      <a:pt x="35" y="31"/>
                      <a:pt x="35" y="31"/>
                    </a:cubicBezTo>
                    <a:cubicBezTo>
                      <a:pt x="36" y="29"/>
                      <a:pt x="36" y="29"/>
                      <a:pt x="36" y="29"/>
                    </a:cubicBezTo>
                    <a:cubicBezTo>
                      <a:pt x="36" y="25"/>
                      <a:pt x="36" y="25"/>
                      <a:pt x="36" y="25"/>
                    </a:cubicBezTo>
                    <a:cubicBezTo>
                      <a:pt x="33" y="23"/>
                      <a:pt x="33" y="23"/>
                      <a:pt x="33" y="23"/>
                    </a:cubicBezTo>
                    <a:cubicBezTo>
                      <a:pt x="27" y="23"/>
                      <a:pt x="27" y="23"/>
                      <a:pt x="27" y="23"/>
                    </a:cubicBezTo>
                    <a:cubicBezTo>
                      <a:pt x="24" y="25"/>
                      <a:pt x="24" y="25"/>
                      <a:pt x="24" y="25"/>
                    </a:cubicBezTo>
                    <a:cubicBezTo>
                      <a:pt x="21" y="24"/>
                      <a:pt x="21" y="24"/>
                      <a:pt x="21" y="24"/>
                    </a:cubicBezTo>
                    <a:cubicBezTo>
                      <a:pt x="20" y="25"/>
                      <a:pt x="20" y="25"/>
                      <a:pt x="20" y="25"/>
                    </a:cubicBezTo>
                    <a:cubicBezTo>
                      <a:pt x="23" y="30"/>
                      <a:pt x="23" y="30"/>
                      <a:pt x="23" y="30"/>
                    </a:cubicBezTo>
                    <a:cubicBezTo>
                      <a:pt x="22" y="31"/>
                      <a:pt x="22" y="31"/>
                      <a:pt x="22" y="31"/>
                    </a:cubicBezTo>
                    <a:cubicBezTo>
                      <a:pt x="25" y="35"/>
                      <a:pt x="25" y="35"/>
                      <a:pt x="25" y="35"/>
                    </a:cubicBezTo>
                    <a:cubicBezTo>
                      <a:pt x="25" y="36"/>
                      <a:pt x="25" y="36"/>
                      <a:pt x="25" y="36"/>
                    </a:cubicBezTo>
                    <a:cubicBezTo>
                      <a:pt x="22" y="35"/>
                      <a:pt x="22" y="35"/>
                      <a:pt x="22" y="35"/>
                    </a:cubicBezTo>
                    <a:cubicBezTo>
                      <a:pt x="19" y="35"/>
                      <a:pt x="19" y="35"/>
                      <a:pt x="19" y="35"/>
                    </a:cubicBezTo>
                    <a:cubicBezTo>
                      <a:pt x="18" y="34"/>
                      <a:pt x="18" y="34"/>
                      <a:pt x="18" y="34"/>
                    </a:cubicBezTo>
                    <a:cubicBezTo>
                      <a:pt x="20" y="32"/>
                      <a:pt x="20" y="32"/>
                      <a:pt x="20" y="32"/>
                    </a:cubicBezTo>
                    <a:cubicBezTo>
                      <a:pt x="18" y="28"/>
                      <a:pt x="18" y="28"/>
                      <a:pt x="18" y="28"/>
                    </a:cubicBezTo>
                    <a:cubicBezTo>
                      <a:pt x="17" y="28"/>
                      <a:pt x="17" y="28"/>
                      <a:pt x="17" y="28"/>
                    </a:cubicBezTo>
                    <a:cubicBezTo>
                      <a:pt x="14" y="32"/>
                      <a:pt x="14" y="32"/>
                      <a:pt x="14" y="32"/>
                    </a:cubicBezTo>
                    <a:cubicBezTo>
                      <a:pt x="16" y="34"/>
                      <a:pt x="16" y="34"/>
                      <a:pt x="16" y="34"/>
                    </a:cubicBezTo>
                    <a:cubicBezTo>
                      <a:pt x="12" y="37"/>
                      <a:pt x="12" y="37"/>
                      <a:pt x="12" y="37"/>
                    </a:cubicBezTo>
                    <a:cubicBezTo>
                      <a:pt x="10" y="35"/>
                      <a:pt x="10" y="35"/>
                      <a:pt x="10" y="35"/>
                    </a:cubicBezTo>
                    <a:cubicBezTo>
                      <a:pt x="7" y="35"/>
                      <a:pt x="7" y="35"/>
                      <a:pt x="7" y="35"/>
                    </a:cubicBezTo>
                    <a:cubicBezTo>
                      <a:pt x="5" y="33"/>
                      <a:pt x="5" y="33"/>
                      <a:pt x="5" y="33"/>
                    </a:cubicBezTo>
                    <a:cubicBezTo>
                      <a:pt x="2" y="36"/>
                      <a:pt x="2" y="36"/>
                      <a:pt x="2" y="36"/>
                    </a:cubicBezTo>
                    <a:cubicBezTo>
                      <a:pt x="6" y="39"/>
                      <a:pt x="6" y="39"/>
                      <a:pt x="6" y="39"/>
                    </a:cubicBezTo>
                    <a:cubicBezTo>
                      <a:pt x="6" y="43"/>
                      <a:pt x="6" y="43"/>
                      <a:pt x="6" y="43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3" y="46"/>
                      <a:pt x="3" y="46"/>
                      <a:pt x="3" y="46"/>
                    </a:cubicBezTo>
                    <a:cubicBezTo>
                      <a:pt x="5" y="47"/>
                      <a:pt x="5" y="47"/>
                      <a:pt x="5" y="47"/>
                    </a:cubicBezTo>
                    <a:cubicBezTo>
                      <a:pt x="5" y="51"/>
                      <a:pt x="5" y="51"/>
                      <a:pt x="5" y="51"/>
                    </a:cubicBezTo>
                    <a:cubicBezTo>
                      <a:pt x="8" y="54"/>
                      <a:pt x="8" y="54"/>
                      <a:pt x="8" y="54"/>
                    </a:cubicBezTo>
                    <a:cubicBezTo>
                      <a:pt x="2" y="56"/>
                      <a:pt x="2" y="56"/>
                      <a:pt x="2" y="56"/>
                    </a:cubicBezTo>
                    <a:cubicBezTo>
                      <a:pt x="0" y="61"/>
                      <a:pt x="0" y="61"/>
                      <a:pt x="0" y="61"/>
                    </a:cubicBezTo>
                    <a:cubicBezTo>
                      <a:pt x="2" y="63"/>
                      <a:pt x="2" y="63"/>
                      <a:pt x="2" y="63"/>
                    </a:cubicBezTo>
                    <a:cubicBezTo>
                      <a:pt x="6" y="61"/>
                      <a:pt x="6" y="61"/>
                      <a:pt x="6" y="61"/>
                    </a:cubicBezTo>
                    <a:cubicBezTo>
                      <a:pt x="10" y="65"/>
                      <a:pt x="10" y="65"/>
                      <a:pt x="10" y="65"/>
                    </a:cubicBezTo>
                    <a:cubicBezTo>
                      <a:pt x="11" y="71"/>
                      <a:pt x="11" y="71"/>
                      <a:pt x="11" y="71"/>
                    </a:cubicBezTo>
                    <a:cubicBezTo>
                      <a:pt x="9" y="72"/>
                      <a:pt x="9" y="72"/>
                      <a:pt x="9" y="72"/>
                    </a:cubicBezTo>
                    <a:cubicBezTo>
                      <a:pt x="10" y="74"/>
                      <a:pt x="10" y="74"/>
                      <a:pt x="10" y="74"/>
                    </a:cubicBezTo>
                    <a:cubicBezTo>
                      <a:pt x="15" y="74"/>
                      <a:pt x="15" y="74"/>
                      <a:pt x="15" y="74"/>
                    </a:cubicBezTo>
                    <a:cubicBezTo>
                      <a:pt x="22" y="76"/>
                      <a:pt x="22" y="76"/>
                      <a:pt x="22" y="76"/>
                    </a:cubicBezTo>
                    <a:cubicBezTo>
                      <a:pt x="24" y="77"/>
                      <a:pt x="24" y="77"/>
                      <a:pt x="24" y="77"/>
                    </a:cubicBezTo>
                    <a:lnTo>
                      <a:pt x="28" y="76"/>
                    </a:lnTo>
                    <a:close/>
                  </a:path>
                </a:pathLst>
              </a:custGeom>
              <a:solidFill>
                <a:schemeClr val="accent6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771" name="Freeform 575"/>
              <p:cNvSpPr>
                <a:spLocks noEditPoints="1"/>
              </p:cNvSpPr>
              <p:nvPr userDrawn="1"/>
            </p:nvSpPr>
            <p:spPr bwMode="auto">
              <a:xfrm>
                <a:off x="3531" y="1346"/>
                <a:ext cx="374" cy="415"/>
              </a:xfrm>
              <a:custGeom>
                <a:avLst/>
                <a:gdLst>
                  <a:gd name="T0" fmla="*/ 376 w 392"/>
                  <a:gd name="T1" fmla="*/ 54 h 434"/>
                  <a:gd name="T2" fmla="*/ 388 w 392"/>
                  <a:gd name="T3" fmla="*/ 30 h 434"/>
                  <a:gd name="T4" fmla="*/ 359 w 392"/>
                  <a:gd name="T5" fmla="*/ 19 h 434"/>
                  <a:gd name="T6" fmla="*/ 343 w 392"/>
                  <a:gd name="T7" fmla="*/ 20 h 434"/>
                  <a:gd name="T8" fmla="*/ 331 w 392"/>
                  <a:gd name="T9" fmla="*/ 0 h 434"/>
                  <a:gd name="T10" fmla="*/ 318 w 392"/>
                  <a:gd name="T11" fmla="*/ 27 h 434"/>
                  <a:gd name="T12" fmla="*/ 294 w 392"/>
                  <a:gd name="T13" fmla="*/ 39 h 434"/>
                  <a:gd name="T14" fmla="*/ 281 w 392"/>
                  <a:gd name="T15" fmla="*/ 15 h 434"/>
                  <a:gd name="T16" fmla="*/ 271 w 392"/>
                  <a:gd name="T17" fmla="*/ 46 h 434"/>
                  <a:gd name="T18" fmla="*/ 248 w 392"/>
                  <a:gd name="T19" fmla="*/ 50 h 434"/>
                  <a:gd name="T20" fmla="*/ 223 w 392"/>
                  <a:gd name="T21" fmla="*/ 74 h 434"/>
                  <a:gd name="T22" fmla="*/ 214 w 392"/>
                  <a:gd name="T23" fmla="*/ 81 h 434"/>
                  <a:gd name="T24" fmla="*/ 192 w 392"/>
                  <a:gd name="T25" fmla="*/ 81 h 434"/>
                  <a:gd name="T26" fmla="*/ 173 w 392"/>
                  <a:gd name="T27" fmla="*/ 106 h 434"/>
                  <a:gd name="T28" fmla="*/ 171 w 392"/>
                  <a:gd name="T29" fmla="*/ 119 h 434"/>
                  <a:gd name="T30" fmla="*/ 151 w 392"/>
                  <a:gd name="T31" fmla="*/ 132 h 434"/>
                  <a:gd name="T32" fmla="*/ 155 w 392"/>
                  <a:gd name="T33" fmla="*/ 148 h 434"/>
                  <a:gd name="T34" fmla="*/ 135 w 392"/>
                  <a:gd name="T35" fmla="*/ 168 h 434"/>
                  <a:gd name="T36" fmla="*/ 132 w 392"/>
                  <a:gd name="T37" fmla="*/ 184 h 434"/>
                  <a:gd name="T38" fmla="*/ 124 w 392"/>
                  <a:gd name="T39" fmla="*/ 209 h 434"/>
                  <a:gd name="T40" fmla="*/ 103 w 392"/>
                  <a:gd name="T41" fmla="*/ 234 h 434"/>
                  <a:gd name="T42" fmla="*/ 78 w 392"/>
                  <a:gd name="T43" fmla="*/ 264 h 434"/>
                  <a:gd name="T44" fmla="*/ 107 w 392"/>
                  <a:gd name="T45" fmla="*/ 261 h 434"/>
                  <a:gd name="T46" fmla="*/ 71 w 392"/>
                  <a:gd name="T47" fmla="*/ 271 h 434"/>
                  <a:gd name="T48" fmla="*/ 61 w 392"/>
                  <a:gd name="T49" fmla="*/ 289 h 434"/>
                  <a:gd name="T50" fmla="*/ 45 w 392"/>
                  <a:gd name="T51" fmla="*/ 293 h 434"/>
                  <a:gd name="T52" fmla="*/ 37 w 392"/>
                  <a:gd name="T53" fmla="*/ 308 h 434"/>
                  <a:gd name="T54" fmla="*/ 6 w 392"/>
                  <a:gd name="T55" fmla="*/ 312 h 434"/>
                  <a:gd name="T56" fmla="*/ 11 w 392"/>
                  <a:gd name="T57" fmla="*/ 331 h 434"/>
                  <a:gd name="T58" fmla="*/ 30 w 392"/>
                  <a:gd name="T59" fmla="*/ 337 h 434"/>
                  <a:gd name="T60" fmla="*/ 37 w 392"/>
                  <a:gd name="T61" fmla="*/ 345 h 434"/>
                  <a:gd name="T62" fmla="*/ 10 w 392"/>
                  <a:gd name="T63" fmla="*/ 355 h 434"/>
                  <a:gd name="T64" fmla="*/ 36 w 392"/>
                  <a:gd name="T65" fmla="*/ 361 h 434"/>
                  <a:gd name="T66" fmla="*/ 17 w 392"/>
                  <a:gd name="T67" fmla="*/ 387 h 434"/>
                  <a:gd name="T68" fmla="*/ 28 w 392"/>
                  <a:gd name="T69" fmla="*/ 407 h 434"/>
                  <a:gd name="T70" fmla="*/ 46 w 392"/>
                  <a:gd name="T71" fmla="*/ 434 h 434"/>
                  <a:gd name="T72" fmla="*/ 81 w 392"/>
                  <a:gd name="T73" fmla="*/ 402 h 434"/>
                  <a:gd name="T74" fmla="*/ 96 w 392"/>
                  <a:gd name="T75" fmla="*/ 391 h 434"/>
                  <a:gd name="T76" fmla="*/ 121 w 392"/>
                  <a:gd name="T77" fmla="*/ 404 h 434"/>
                  <a:gd name="T78" fmla="*/ 123 w 392"/>
                  <a:gd name="T79" fmla="*/ 305 h 434"/>
                  <a:gd name="T80" fmla="*/ 149 w 392"/>
                  <a:gd name="T81" fmla="*/ 184 h 434"/>
                  <a:gd name="T82" fmla="*/ 197 w 392"/>
                  <a:gd name="T83" fmla="*/ 113 h 434"/>
                  <a:gd name="T84" fmla="*/ 232 w 392"/>
                  <a:gd name="T85" fmla="*/ 84 h 434"/>
                  <a:gd name="T86" fmla="*/ 299 w 392"/>
                  <a:gd name="T87" fmla="*/ 92 h 434"/>
                  <a:gd name="T88" fmla="*/ 344 w 392"/>
                  <a:gd name="T89" fmla="*/ 44 h 434"/>
                  <a:gd name="T90" fmla="*/ 14 w 392"/>
                  <a:gd name="T91" fmla="*/ 375 h 434"/>
                  <a:gd name="T92" fmla="*/ 6 w 392"/>
                  <a:gd name="T93" fmla="*/ 367 h 434"/>
                  <a:gd name="T94" fmla="*/ 18 w 392"/>
                  <a:gd name="T95" fmla="*/ 309 h 434"/>
                  <a:gd name="T96" fmla="*/ 68 w 392"/>
                  <a:gd name="T97" fmla="*/ 267 h 434"/>
                  <a:gd name="T98" fmla="*/ 114 w 392"/>
                  <a:gd name="T99" fmla="*/ 202 h 434"/>
                  <a:gd name="T100" fmla="*/ 119 w 392"/>
                  <a:gd name="T101" fmla="*/ 136 h 434"/>
                  <a:gd name="T102" fmla="*/ 145 w 392"/>
                  <a:gd name="T103" fmla="*/ 104 h 434"/>
                  <a:gd name="T104" fmla="*/ 156 w 392"/>
                  <a:gd name="T105" fmla="*/ 90 h 434"/>
                  <a:gd name="T106" fmla="*/ 154 w 392"/>
                  <a:gd name="T107" fmla="*/ 101 h 434"/>
                  <a:gd name="T108" fmla="*/ 192 w 392"/>
                  <a:gd name="T109" fmla="*/ 73 h 434"/>
                  <a:gd name="T110" fmla="*/ 192 w 392"/>
                  <a:gd name="T111" fmla="*/ 73 h 434"/>
                  <a:gd name="T112" fmla="*/ 213 w 392"/>
                  <a:gd name="T113" fmla="*/ 56 h 434"/>
                  <a:gd name="T114" fmla="*/ 221 w 392"/>
                  <a:gd name="T115" fmla="*/ 44 h 434"/>
                  <a:gd name="T116" fmla="*/ 270 w 392"/>
                  <a:gd name="T117" fmla="*/ 28 h 434"/>
                  <a:gd name="T118" fmla="*/ 270 w 392"/>
                  <a:gd name="T119" fmla="*/ 20 h 434"/>
                  <a:gd name="T120" fmla="*/ 308 w 392"/>
                  <a:gd name="T121" fmla="*/ 6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392" h="434">
                    <a:moveTo>
                      <a:pt x="363" y="78"/>
                    </a:moveTo>
                    <a:cubicBezTo>
                      <a:pt x="366" y="78"/>
                      <a:pt x="366" y="78"/>
                      <a:pt x="366" y="78"/>
                    </a:cubicBezTo>
                    <a:cubicBezTo>
                      <a:pt x="366" y="71"/>
                      <a:pt x="366" y="71"/>
                      <a:pt x="366" y="71"/>
                    </a:cubicBezTo>
                    <a:cubicBezTo>
                      <a:pt x="371" y="66"/>
                      <a:pt x="371" y="66"/>
                      <a:pt x="371" y="66"/>
                    </a:cubicBezTo>
                    <a:cubicBezTo>
                      <a:pt x="375" y="66"/>
                      <a:pt x="375" y="66"/>
                      <a:pt x="375" y="66"/>
                    </a:cubicBezTo>
                    <a:cubicBezTo>
                      <a:pt x="378" y="62"/>
                      <a:pt x="378" y="62"/>
                      <a:pt x="378" y="62"/>
                    </a:cubicBezTo>
                    <a:cubicBezTo>
                      <a:pt x="378" y="57"/>
                      <a:pt x="378" y="57"/>
                      <a:pt x="378" y="57"/>
                    </a:cubicBezTo>
                    <a:cubicBezTo>
                      <a:pt x="381" y="56"/>
                      <a:pt x="381" y="56"/>
                      <a:pt x="381" y="56"/>
                    </a:cubicBezTo>
                    <a:cubicBezTo>
                      <a:pt x="385" y="58"/>
                      <a:pt x="385" y="58"/>
                      <a:pt x="385" y="58"/>
                    </a:cubicBezTo>
                    <a:cubicBezTo>
                      <a:pt x="388" y="55"/>
                      <a:pt x="388" y="55"/>
                      <a:pt x="388" y="55"/>
                    </a:cubicBezTo>
                    <a:cubicBezTo>
                      <a:pt x="387" y="51"/>
                      <a:pt x="387" y="51"/>
                      <a:pt x="387" y="51"/>
                    </a:cubicBezTo>
                    <a:cubicBezTo>
                      <a:pt x="386" y="51"/>
                      <a:pt x="386" y="51"/>
                      <a:pt x="386" y="51"/>
                    </a:cubicBezTo>
                    <a:cubicBezTo>
                      <a:pt x="383" y="49"/>
                      <a:pt x="383" y="49"/>
                      <a:pt x="383" y="49"/>
                    </a:cubicBezTo>
                    <a:cubicBezTo>
                      <a:pt x="382" y="49"/>
                      <a:pt x="382" y="49"/>
                      <a:pt x="382" y="49"/>
                    </a:cubicBezTo>
                    <a:cubicBezTo>
                      <a:pt x="381" y="50"/>
                      <a:pt x="381" y="50"/>
                      <a:pt x="381" y="50"/>
                    </a:cubicBezTo>
                    <a:cubicBezTo>
                      <a:pt x="380" y="52"/>
                      <a:pt x="380" y="52"/>
                      <a:pt x="380" y="52"/>
                    </a:cubicBezTo>
                    <a:cubicBezTo>
                      <a:pt x="379" y="51"/>
                      <a:pt x="379" y="51"/>
                      <a:pt x="379" y="51"/>
                    </a:cubicBezTo>
                    <a:cubicBezTo>
                      <a:pt x="378" y="48"/>
                      <a:pt x="378" y="48"/>
                      <a:pt x="378" y="48"/>
                    </a:cubicBezTo>
                    <a:cubicBezTo>
                      <a:pt x="376" y="48"/>
                      <a:pt x="376" y="48"/>
                      <a:pt x="376" y="48"/>
                    </a:cubicBezTo>
                    <a:cubicBezTo>
                      <a:pt x="376" y="50"/>
                      <a:pt x="376" y="50"/>
                      <a:pt x="376" y="50"/>
                    </a:cubicBezTo>
                    <a:cubicBezTo>
                      <a:pt x="376" y="54"/>
                      <a:pt x="376" y="54"/>
                      <a:pt x="376" y="54"/>
                    </a:cubicBezTo>
                    <a:cubicBezTo>
                      <a:pt x="374" y="53"/>
                      <a:pt x="374" y="53"/>
                      <a:pt x="374" y="53"/>
                    </a:cubicBezTo>
                    <a:cubicBezTo>
                      <a:pt x="373" y="51"/>
                      <a:pt x="373" y="51"/>
                      <a:pt x="373" y="51"/>
                    </a:cubicBezTo>
                    <a:cubicBezTo>
                      <a:pt x="370" y="53"/>
                      <a:pt x="370" y="53"/>
                      <a:pt x="370" y="53"/>
                    </a:cubicBezTo>
                    <a:cubicBezTo>
                      <a:pt x="369" y="55"/>
                      <a:pt x="369" y="55"/>
                      <a:pt x="369" y="55"/>
                    </a:cubicBezTo>
                    <a:cubicBezTo>
                      <a:pt x="368" y="52"/>
                      <a:pt x="368" y="52"/>
                      <a:pt x="368" y="52"/>
                    </a:cubicBezTo>
                    <a:cubicBezTo>
                      <a:pt x="367" y="48"/>
                      <a:pt x="367" y="48"/>
                      <a:pt x="367" y="48"/>
                    </a:cubicBezTo>
                    <a:cubicBezTo>
                      <a:pt x="366" y="48"/>
                      <a:pt x="366" y="48"/>
                      <a:pt x="366" y="48"/>
                    </a:cubicBezTo>
                    <a:cubicBezTo>
                      <a:pt x="364" y="43"/>
                      <a:pt x="364" y="43"/>
                      <a:pt x="364" y="43"/>
                    </a:cubicBezTo>
                    <a:cubicBezTo>
                      <a:pt x="363" y="43"/>
                      <a:pt x="363" y="43"/>
                      <a:pt x="363" y="43"/>
                    </a:cubicBezTo>
                    <a:cubicBezTo>
                      <a:pt x="359" y="43"/>
                      <a:pt x="359" y="43"/>
                      <a:pt x="359" y="43"/>
                    </a:cubicBezTo>
                    <a:cubicBezTo>
                      <a:pt x="357" y="42"/>
                      <a:pt x="357" y="42"/>
                      <a:pt x="357" y="42"/>
                    </a:cubicBezTo>
                    <a:cubicBezTo>
                      <a:pt x="352" y="41"/>
                      <a:pt x="352" y="41"/>
                      <a:pt x="352" y="41"/>
                    </a:cubicBezTo>
                    <a:cubicBezTo>
                      <a:pt x="350" y="39"/>
                      <a:pt x="350" y="39"/>
                      <a:pt x="350" y="39"/>
                    </a:cubicBezTo>
                    <a:cubicBezTo>
                      <a:pt x="351" y="38"/>
                      <a:pt x="351" y="38"/>
                      <a:pt x="351" y="38"/>
                    </a:cubicBezTo>
                    <a:cubicBezTo>
                      <a:pt x="356" y="39"/>
                      <a:pt x="356" y="39"/>
                      <a:pt x="356" y="39"/>
                    </a:cubicBezTo>
                    <a:cubicBezTo>
                      <a:pt x="361" y="39"/>
                      <a:pt x="361" y="39"/>
                      <a:pt x="361" y="39"/>
                    </a:cubicBezTo>
                    <a:cubicBezTo>
                      <a:pt x="365" y="39"/>
                      <a:pt x="365" y="39"/>
                      <a:pt x="365" y="39"/>
                    </a:cubicBezTo>
                    <a:cubicBezTo>
                      <a:pt x="373" y="40"/>
                      <a:pt x="373" y="40"/>
                      <a:pt x="373" y="40"/>
                    </a:cubicBezTo>
                    <a:cubicBezTo>
                      <a:pt x="378" y="39"/>
                      <a:pt x="378" y="39"/>
                      <a:pt x="378" y="39"/>
                    </a:cubicBezTo>
                    <a:cubicBezTo>
                      <a:pt x="381" y="32"/>
                      <a:pt x="381" y="32"/>
                      <a:pt x="381" y="32"/>
                    </a:cubicBezTo>
                    <a:cubicBezTo>
                      <a:pt x="388" y="30"/>
                      <a:pt x="388" y="30"/>
                      <a:pt x="388" y="30"/>
                    </a:cubicBezTo>
                    <a:cubicBezTo>
                      <a:pt x="392" y="28"/>
                      <a:pt x="392" y="28"/>
                      <a:pt x="392" y="28"/>
                    </a:cubicBezTo>
                    <a:cubicBezTo>
                      <a:pt x="392" y="27"/>
                      <a:pt x="392" y="27"/>
                      <a:pt x="392" y="27"/>
                    </a:cubicBezTo>
                    <a:cubicBezTo>
                      <a:pt x="389" y="26"/>
                      <a:pt x="389" y="26"/>
                      <a:pt x="389" y="26"/>
                    </a:cubicBezTo>
                    <a:cubicBezTo>
                      <a:pt x="389" y="25"/>
                      <a:pt x="389" y="25"/>
                      <a:pt x="389" y="25"/>
                    </a:cubicBezTo>
                    <a:cubicBezTo>
                      <a:pt x="386" y="24"/>
                      <a:pt x="386" y="24"/>
                      <a:pt x="386" y="24"/>
                    </a:cubicBezTo>
                    <a:cubicBezTo>
                      <a:pt x="383" y="24"/>
                      <a:pt x="383" y="24"/>
                      <a:pt x="383" y="24"/>
                    </a:cubicBezTo>
                    <a:cubicBezTo>
                      <a:pt x="378" y="20"/>
                      <a:pt x="378" y="20"/>
                      <a:pt x="378" y="20"/>
                    </a:cubicBezTo>
                    <a:cubicBezTo>
                      <a:pt x="375" y="20"/>
                      <a:pt x="375" y="20"/>
                      <a:pt x="375" y="20"/>
                    </a:cubicBezTo>
                    <a:cubicBezTo>
                      <a:pt x="372" y="24"/>
                      <a:pt x="372" y="24"/>
                      <a:pt x="372" y="24"/>
                    </a:cubicBezTo>
                    <a:cubicBezTo>
                      <a:pt x="370" y="24"/>
                      <a:pt x="370" y="24"/>
                      <a:pt x="370" y="24"/>
                    </a:cubicBezTo>
                    <a:cubicBezTo>
                      <a:pt x="370" y="23"/>
                      <a:pt x="370" y="23"/>
                      <a:pt x="370" y="23"/>
                    </a:cubicBezTo>
                    <a:cubicBezTo>
                      <a:pt x="373" y="21"/>
                      <a:pt x="373" y="21"/>
                      <a:pt x="373" y="21"/>
                    </a:cubicBezTo>
                    <a:cubicBezTo>
                      <a:pt x="373" y="18"/>
                      <a:pt x="373" y="18"/>
                      <a:pt x="373" y="18"/>
                    </a:cubicBezTo>
                    <a:cubicBezTo>
                      <a:pt x="370" y="17"/>
                      <a:pt x="370" y="17"/>
                      <a:pt x="370" y="17"/>
                    </a:cubicBezTo>
                    <a:cubicBezTo>
                      <a:pt x="369" y="16"/>
                      <a:pt x="369" y="16"/>
                      <a:pt x="369" y="16"/>
                    </a:cubicBezTo>
                    <a:cubicBezTo>
                      <a:pt x="366" y="16"/>
                      <a:pt x="366" y="16"/>
                      <a:pt x="366" y="16"/>
                    </a:cubicBezTo>
                    <a:cubicBezTo>
                      <a:pt x="364" y="20"/>
                      <a:pt x="364" y="20"/>
                      <a:pt x="364" y="20"/>
                    </a:cubicBezTo>
                    <a:cubicBezTo>
                      <a:pt x="362" y="20"/>
                      <a:pt x="362" y="20"/>
                      <a:pt x="362" y="20"/>
                    </a:cubicBezTo>
                    <a:cubicBezTo>
                      <a:pt x="363" y="17"/>
                      <a:pt x="363" y="17"/>
                      <a:pt x="363" y="17"/>
                    </a:cubicBezTo>
                    <a:cubicBezTo>
                      <a:pt x="361" y="17"/>
                      <a:pt x="361" y="17"/>
                      <a:pt x="361" y="17"/>
                    </a:cubicBezTo>
                    <a:cubicBezTo>
                      <a:pt x="359" y="19"/>
                      <a:pt x="359" y="19"/>
                      <a:pt x="359" y="19"/>
                    </a:cubicBezTo>
                    <a:cubicBezTo>
                      <a:pt x="358" y="19"/>
                      <a:pt x="358" y="19"/>
                      <a:pt x="358" y="19"/>
                    </a:cubicBezTo>
                    <a:cubicBezTo>
                      <a:pt x="357" y="17"/>
                      <a:pt x="357" y="17"/>
                      <a:pt x="357" y="17"/>
                    </a:cubicBezTo>
                    <a:cubicBezTo>
                      <a:pt x="360" y="16"/>
                      <a:pt x="360" y="16"/>
                      <a:pt x="360" y="16"/>
                    </a:cubicBezTo>
                    <a:cubicBezTo>
                      <a:pt x="360" y="14"/>
                      <a:pt x="360" y="14"/>
                      <a:pt x="360" y="14"/>
                    </a:cubicBezTo>
                    <a:cubicBezTo>
                      <a:pt x="356" y="11"/>
                      <a:pt x="356" y="11"/>
                      <a:pt x="356" y="11"/>
                    </a:cubicBezTo>
                    <a:cubicBezTo>
                      <a:pt x="352" y="11"/>
                      <a:pt x="352" y="11"/>
                      <a:pt x="352" y="11"/>
                    </a:cubicBezTo>
                    <a:cubicBezTo>
                      <a:pt x="350" y="13"/>
                      <a:pt x="350" y="13"/>
                      <a:pt x="350" y="13"/>
                    </a:cubicBezTo>
                    <a:cubicBezTo>
                      <a:pt x="349" y="18"/>
                      <a:pt x="349" y="18"/>
                      <a:pt x="349" y="18"/>
                    </a:cubicBezTo>
                    <a:cubicBezTo>
                      <a:pt x="347" y="19"/>
                      <a:pt x="347" y="19"/>
                      <a:pt x="347" y="19"/>
                    </a:cubicBezTo>
                    <a:cubicBezTo>
                      <a:pt x="347" y="21"/>
                      <a:pt x="347" y="21"/>
                      <a:pt x="347" y="21"/>
                    </a:cubicBezTo>
                    <a:cubicBezTo>
                      <a:pt x="349" y="26"/>
                      <a:pt x="349" y="26"/>
                      <a:pt x="349" y="26"/>
                    </a:cubicBezTo>
                    <a:cubicBezTo>
                      <a:pt x="349" y="28"/>
                      <a:pt x="349" y="28"/>
                      <a:pt x="349" y="28"/>
                    </a:cubicBezTo>
                    <a:cubicBezTo>
                      <a:pt x="347" y="30"/>
                      <a:pt x="347" y="30"/>
                      <a:pt x="347" y="30"/>
                    </a:cubicBezTo>
                    <a:cubicBezTo>
                      <a:pt x="345" y="27"/>
                      <a:pt x="345" y="27"/>
                      <a:pt x="345" y="27"/>
                    </a:cubicBezTo>
                    <a:cubicBezTo>
                      <a:pt x="343" y="26"/>
                      <a:pt x="343" y="26"/>
                      <a:pt x="343" y="26"/>
                    </a:cubicBezTo>
                    <a:cubicBezTo>
                      <a:pt x="342" y="28"/>
                      <a:pt x="342" y="28"/>
                      <a:pt x="342" y="28"/>
                    </a:cubicBezTo>
                    <a:cubicBezTo>
                      <a:pt x="339" y="27"/>
                      <a:pt x="339" y="27"/>
                      <a:pt x="339" y="27"/>
                    </a:cubicBezTo>
                    <a:cubicBezTo>
                      <a:pt x="334" y="29"/>
                      <a:pt x="334" y="29"/>
                      <a:pt x="334" y="29"/>
                    </a:cubicBezTo>
                    <a:cubicBezTo>
                      <a:pt x="338" y="24"/>
                      <a:pt x="338" y="24"/>
                      <a:pt x="338" y="24"/>
                    </a:cubicBezTo>
                    <a:cubicBezTo>
                      <a:pt x="341" y="24"/>
                      <a:pt x="341" y="24"/>
                      <a:pt x="341" y="24"/>
                    </a:cubicBezTo>
                    <a:cubicBezTo>
                      <a:pt x="343" y="20"/>
                      <a:pt x="343" y="20"/>
                      <a:pt x="343" y="20"/>
                    </a:cubicBezTo>
                    <a:cubicBezTo>
                      <a:pt x="342" y="18"/>
                      <a:pt x="342" y="18"/>
                      <a:pt x="342" y="18"/>
                    </a:cubicBezTo>
                    <a:cubicBezTo>
                      <a:pt x="341" y="19"/>
                      <a:pt x="341" y="19"/>
                      <a:pt x="341" y="19"/>
                    </a:cubicBezTo>
                    <a:cubicBezTo>
                      <a:pt x="337" y="21"/>
                      <a:pt x="337" y="21"/>
                      <a:pt x="337" y="21"/>
                    </a:cubicBezTo>
                    <a:cubicBezTo>
                      <a:pt x="335" y="21"/>
                      <a:pt x="335" y="21"/>
                      <a:pt x="335" y="21"/>
                    </a:cubicBezTo>
                    <a:cubicBezTo>
                      <a:pt x="335" y="19"/>
                      <a:pt x="335" y="19"/>
                      <a:pt x="335" y="19"/>
                    </a:cubicBezTo>
                    <a:cubicBezTo>
                      <a:pt x="338" y="17"/>
                      <a:pt x="338" y="17"/>
                      <a:pt x="338" y="17"/>
                    </a:cubicBezTo>
                    <a:cubicBezTo>
                      <a:pt x="338" y="16"/>
                      <a:pt x="338" y="16"/>
                      <a:pt x="338" y="16"/>
                    </a:cubicBezTo>
                    <a:cubicBezTo>
                      <a:pt x="335" y="15"/>
                      <a:pt x="335" y="15"/>
                      <a:pt x="335" y="15"/>
                    </a:cubicBezTo>
                    <a:cubicBezTo>
                      <a:pt x="334" y="13"/>
                      <a:pt x="334" y="13"/>
                      <a:pt x="334" y="13"/>
                    </a:cubicBezTo>
                    <a:cubicBezTo>
                      <a:pt x="337" y="13"/>
                      <a:pt x="337" y="13"/>
                      <a:pt x="337" y="13"/>
                    </a:cubicBezTo>
                    <a:cubicBezTo>
                      <a:pt x="338" y="14"/>
                      <a:pt x="338" y="14"/>
                      <a:pt x="338" y="14"/>
                    </a:cubicBezTo>
                    <a:cubicBezTo>
                      <a:pt x="342" y="14"/>
                      <a:pt x="342" y="14"/>
                      <a:pt x="342" y="14"/>
                    </a:cubicBezTo>
                    <a:cubicBezTo>
                      <a:pt x="344" y="8"/>
                      <a:pt x="344" y="8"/>
                      <a:pt x="344" y="8"/>
                    </a:cubicBezTo>
                    <a:cubicBezTo>
                      <a:pt x="344" y="5"/>
                      <a:pt x="344" y="5"/>
                      <a:pt x="344" y="5"/>
                    </a:cubicBezTo>
                    <a:cubicBezTo>
                      <a:pt x="340" y="6"/>
                      <a:pt x="340" y="6"/>
                      <a:pt x="340" y="6"/>
                    </a:cubicBezTo>
                    <a:cubicBezTo>
                      <a:pt x="338" y="5"/>
                      <a:pt x="338" y="5"/>
                      <a:pt x="338" y="5"/>
                    </a:cubicBezTo>
                    <a:cubicBezTo>
                      <a:pt x="339" y="3"/>
                      <a:pt x="339" y="3"/>
                      <a:pt x="339" y="3"/>
                    </a:cubicBezTo>
                    <a:cubicBezTo>
                      <a:pt x="338" y="0"/>
                      <a:pt x="338" y="0"/>
                      <a:pt x="338" y="0"/>
                    </a:cubicBezTo>
                    <a:cubicBezTo>
                      <a:pt x="335" y="2"/>
                      <a:pt x="335" y="2"/>
                      <a:pt x="335" y="2"/>
                    </a:cubicBezTo>
                    <a:cubicBezTo>
                      <a:pt x="333" y="2"/>
                      <a:pt x="333" y="2"/>
                      <a:pt x="333" y="2"/>
                    </a:cubicBezTo>
                    <a:cubicBezTo>
                      <a:pt x="331" y="0"/>
                      <a:pt x="331" y="0"/>
                      <a:pt x="331" y="0"/>
                    </a:cubicBezTo>
                    <a:cubicBezTo>
                      <a:pt x="328" y="3"/>
                      <a:pt x="328" y="3"/>
                      <a:pt x="328" y="3"/>
                    </a:cubicBezTo>
                    <a:cubicBezTo>
                      <a:pt x="329" y="4"/>
                      <a:pt x="329" y="4"/>
                      <a:pt x="329" y="4"/>
                    </a:cubicBezTo>
                    <a:cubicBezTo>
                      <a:pt x="331" y="7"/>
                      <a:pt x="331" y="7"/>
                      <a:pt x="331" y="7"/>
                    </a:cubicBezTo>
                    <a:cubicBezTo>
                      <a:pt x="329" y="9"/>
                      <a:pt x="329" y="9"/>
                      <a:pt x="329" y="9"/>
                    </a:cubicBezTo>
                    <a:cubicBezTo>
                      <a:pt x="328" y="9"/>
                      <a:pt x="328" y="9"/>
                      <a:pt x="328" y="9"/>
                    </a:cubicBezTo>
                    <a:cubicBezTo>
                      <a:pt x="325" y="6"/>
                      <a:pt x="325" y="6"/>
                      <a:pt x="325" y="6"/>
                    </a:cubicBezTo>
                    <a:cubicBezTo>
                      <a:pt x="323" y="7"/>
                      <a:pt x="323" y="7"/>
                      <a:pt x="323" y="7"/>
                    </a:cubicBezTo>
                    <a:cubicBezTo>
                      <a:pt x="322" y="10"/>
                      <a:pt x="322" y="10"/>
                      <a:pt x="322" y="10"/>
                    </a:cubicBezTo>
                    <a:cubicBezTo>
                      <a:pt x="323" y="12"/>
                      <a:pt x="323" y="12"/>
                      <a:pt x="323" y="12"/>
                    </a:cubicBezTo>
                    <a:cubicBezTo>
                      <a:pt x="326" y="12"/>
                      <a:pt x="326" y="12"/>
                      <a:pt x="326" y="12"/>
                    </a:cubicBezTo>
                    <a:cubicBezTo>
                      <a:pt x="327" y="13"/>
                      <a:pt x="327" y="13"/>
                      <a:pt x="327" y="13"/>
                    </a:cubicBezTo>
                    <a:cubicBezTo>
                      <a:pt x="327" y="15"/>
                      <a:pt x="327" y="15"/>
                      <a:pt x="327" y="15"/>
                    </a:cubicBezTo>
                    <a:cubicBezTo>
                      <a:pt x="324" y="16"/>
                      <a:pt x="324" y="16"/>
                      <a:pt x="324" y="16"/>
                    </a:cubicBezTo>
                    <a:cubicBezTo>
                      <a:pt x="324" y="18"/>
                      <a:pt x="324" y="18"/>
                      <a:pt x="324" y="18"/>
                    </a:cubicBezTo>
                    <a:cubicBezTo>
                      <a:pt x="322" y="19"/>
                      <a:pt x="322" y="19"/>
                      <a:pt x="322" y="19"/>
                    </a:cubicBezTo>
                    <a:cubicBezTo>
                      <a:pt x="322" y="22"/>
                      <a:pt x="322" y="22"/>
                      <a:pt x="322" y="22"/>
                    </a:cubicBezTo>
                    <a:cubicBezTo>
                      <a:pt x="323" y="23"/>
                      <a:pt x="323" y="23"/>
                      <a:pt x="323" y="23"/>
                    </a:cubicBezTo>
                    <a:cubicBezTo>
                      <a:pt x="321" y="24"/>
                      <a:pt x="321" y="24"/>
                      <a:pt x="321" y="24"/>
                    </a:cubicBezTo>
                    <a:cubicBezTo>
                      <a:pt x="322" y="28"/>
                      <a:pt x="322" y="28"/>
                      <a:pt x="322" y="28"/>
                    </a:cubicBezTo>
                    <a:cubicBezTo>
                      <a:pt x="321" y="29"/>
                      <a:pt x="321" y="29"/>
                      <a:pt x="321" y="29"/>
                    </a:cubicBezTo>
                    <a:cubicBezTo>
                      <a:pt x="318" y="27"/>
                      <a:pt x="318" y="27"/>
                      <a:pt x="318" y="27"/>
                    </a:cubicBezTo>
                    <a:cubicBezTo>
                      <a:pt x="316" y="29"/>
                      <a:pt x="316" y="29"/>
                      <a:pt x="316" y="29"/>
                    </a:cubicBezTo>
                    <a:cubicBezTo>
                      <a:pt x="316" y="30"/>
                      <a:pt x="316" y="30"/>
                      <a:pt x="316" y="30"/>
                    </a:cubicBezTo>
                    <a:cubicBezTo>
                      <a:pt x="313" y="32"/>
                      <a:pt x="313" y="32"/>
                      <a:pt x="313" y="32"/>
                    </a:cubicBezTo>
                    <a:cubicBezTo>
                      <a:pt x="313" y="29"/>
                      <a:pt x="313" y="29"/>
                      <a:pt x="313" y="29"/>
                    </a:cubicBezTo>
                    <a:cubicBezTo>
                      <a:pt x="316" y="22"/>
                      <a:pt x="316" y="22"/>
                      <a:pt x="316" y="22"/>
                    </a:cubicBezTo>
                    <a:cubicBezTo>
                      <a:pt x="313" y="21"/>
                      <a:pt x="313" y="21"/>
                      <a:pt x="313" y="21"/>
                    </a:cubicBezTo>
                    <a:cubicBezTo>
                      <a:pt x="313" y="19"/>
                      <a:pt x="313" y="19"/>
                      <a:pt x="313" y="19"/>
                    </a:cubicBezTo>
                    <a:cubicBezTo>
                      <a:pt x="316" y="17"/>
                      <a:pt x="316" y="17"/>
                      <a:pt x="316" y="17"/>
                    </a:cubicBezTo>
                    <a:cubicBezTo>
                      <a:pt x="316" y="12"/>
                      <a:pt x="316" y="12"/>
                      <a:pt x="316" y="12"/>
                    </a:cubicBezTo>
                    <a:cubicBezTo>
                      <a:pt x="314" y="10"/>
                      <a:pt x="314" y="10"/>
                      <a:pt x="314" y="10"/>
                    </a:cubicBezTo>
                    <a:cubicBezTo>
                      <a:pt x="313" y="10"/>
                      <a:pt x="313" y="10"/>
                      <a:pt x="313" y="10"/>
                    </a:cubicBezTo>
                    <a:cubicBezTo>
                      <a:pt x="308" y="18"/>
                      <a:pt x="308" y="18"/>
                      <a:pt x="308" y="18"/>
                    </a:cubicBezTo>
                    <a:cubicBezTo>
                      <a:pt x="308" y="22"/>
                      <a:pt x="308" y="22"/>
                      <a:pt x="308" y="22"/>
                    </a:cubicBezTo>
                    <a:cubicBezTo>
                      <a:pt x="303" y="28"/>
                      <a:pt x="303" y="28"/>
                      <a:pt x="303" y="28"/>
                    </a:cubicBezTo>
                    <a:cubicBezTo>
                      <a:pt x="302" y="33"/>
                      <a:pt x="302" y="33"/>
                      <a:pt x="302" y="33"/>
                    </a:cubicBezTo>
                    <a:cubicBezTo>
                      <a:pt x="303" y="35"/>
                      <a:pt x="303" y="35"/>
                      <a:pt x="303" y="35"/>
                    </a:cubicBezTo>
                    <a:cubicBezTo>
                      <a:pt x="302" y="38"/>
                      <a:pt x="302" y="38"/>
                      <a:pt x="302" y="38"/>
                    </a:cubicBezTo>
                    <a:cubicBezTo>
                      <a:pt x="297" y="44"/>
                      <a:pt x="297" y="44"/>
                      <a:pt x="297" y="44"/>
                    </a:cubicBezTo>
                    <a:cubicBezTo>
                      <a:pt x="295" y="45"/>
                      <a:pt x="295" y="45"/>
                      <a:pt x="295" y="45"/>
                    </a:cubicBezTo>
                    <a:cubicBezTo>
                      <a:pt x="295" y="42"/>
                      <a:pt x="295" y="42"/>
                      <a:pt x="295" y="42"/>
                    </a:cubicBezTo>
                    <a:cubicBezTo>
                      <a:pt x="294" y="39"/>
                      <a:pt x="294" y="39"/>
                      <a:pt x="294" y="39"/>
                    </a:cubicBezTo>
                    <a:cubicBezTo>
                      <a:pt x="297" y="34"/>
                      <a:pt x="297" y="34"/>
                      <a:pt x="297" y="34"/>
                    </a:cubicBezTo>
                    <a:cubicBezTo>
                      <a:pt x="296" y="31"/>
                      <a:pt x="296" y="31"/>
                      <a:pt x="296" y="31"/>
                    </a:cubicBezTo>
                    <a:cubicBezTo>
                      <a:pt x="297" y="29"/>
                      <a:pt x="297" y="29"/>
                      <a:pt x="297" y="29"/>
                    </a:cubicBezTo>
                    <a:cubicBezTo>
                      <a:pt x="296" y="26"/>
                      <a:pt x="296" y="26"/>
                      <a:pt x="296" y="26"/>
                    </a:cubicBezTo>
                    <a:cubicBezTo>
                      <a:pt x="301" y="20"/>
                      <a:pt x="301" y="20"/>
                      <a:pt x="301" y="20"/>
                    </a:cubicBezTo>
                    <a:cubicBezTo>
                      <a:pt x="302" y="16"/>
                      <a:pt x="302" y="16"/>
                      <a:pt x="302" y="16"/>
                    </a:cubicBezTo>
                    <a:cubicBezTo>
                      <a:pt x="303" y="15"/>
                      <a:pt x="303" y="15"/>
                      <a:pt x="303" y="15"/>
                    </a:cubicBezTo>
                    <a:cubicBezTo>
                      <a:pt x="303" y="13"/>
                      <a:pt x="303" y="13"/>
                      <a:pt x="303" y="13"/>
                    </a:cubicBezTo>
                    <a:cubicBezTo>
                      <a:pt x="300" y="13"/>
                      <a:pt x="300" y="13"/>
                      <a:pt x="300" y="13"/>
                    </a:cubicBezTo>
                    <a:cubicBezTo>
                      <a:pt x="297" y="10"/>
                      <a:pt x="297" y="10"/>
                      <a:pt x="297" y="10"/>
                    </a:cubicBezTo>
                    <a:cubicBezTo>
                      <a:pt x="295" y="11"/>
                      <a:pt x="295" y="11"/>
                      <a:pt x="295" y="11"/>
                    </a:cubicBezTo>
                    <a:cubicBezTo>
                      <a:pt x="296" y="14"/>
                      <a:pt x="296" y="14"/>
                      <a:pt x="296" y="14"/>
                    </a:cubicBezTo>
                    <a:cubicBezTo>
                      <a:pt x="294" y="16"/>
                      <a:pt x="294" y="16"/>
                      <a:pt x="294" y="16"/>
                    </a:cubicBezTo>
                    <a:cubicBezTo>
                      <a:pt x="294" y="13"/>
                      <a:pt x="294" y="13"/>
                      <a:pt x="294" y="13"/>
                    </a:cubicBezTo>
                    <a:cubicBezTo>
                      <a:pt x="291" y="11"/>
                      <a:pt x="291" y="11"/>
                      <a:pt x="291" y="11"/>
                    </a:cubicBezTo>
                    <a:cubicBezTo>
                      <a:pt x="288" y="10"/>
                      <a:pt x="288" y="10"/>
                      <a:pt x="288" y="10"/>
                    </a:cubicBezTo>
                    <a:cubicBezTo>
                      <a:pt x="286" y="11"/>
                      <a:pt x="286" y="11"/>
                      <a:pt x="286" y="11"/>
                    </a:cubicBezTo>
                    <a:cubicBezTo>
                      <a:pt x="286" y="16"/>
                      <a:pt x="286" y="16"/>
                      <a:pt x="286" y="16"/>
                    </a:cubicBezTo>
                    <a:cubicBezTo>
                      <a:pt x="285" y="18"/>
                      <a:pt x="285" y="18"/>
                      <a:pt x="285" y="18"/>
                    </a:cubicBezTo>
                    <a:cubicBezTo>
                      <a:pt x="283" y="16"/>
                      <a:pt x="283" y="16"/>
                      <a:pt x="283" y="16"/>
                    </a:cubicBezTo>
                    <a:cubicBezTo>
                      <a:pt x="281" y="15"/>
                      <a:pt x="281" y="15"/>
                      <a:pt x="281" y="15"/>
                    </a:cubicBezTo>
                    <a:cubicBezTo>
                      <a:pt x="280" y="16"/>
                      <a:pt x="280" y="16"/>
                      <a:pt x="280" y="16"/>
                    </a:cubicBezTo>
                    <a:cubicBezTo>
                      <a:pt x="280" y="18"/>
                      <a:pt x="280" y="18"/>
                      <a:pt x="280" y="18"/>
                    </a:cubicBezTo>
                    <a:cubicBezTo>
                      <a:pt x="284" y="20"/>
                      <a:pt x="284" y="20"/>
                      <a:pt x="284" y="20"/>
                    </a:cubicBezTo>
                    <a:cubicBezTo>
                      <a:pt x="286" y="24"/>
                      <a:pt x="286" y="24"/>
                      <a:pt x="286" y="24"/>
                    </a:cubicBezTo>
                    <a:cubicBezTo>
                      <a:pt x="284" y="25"/>
                      <a:pt x="284" y="25"/>
                      <a:pt x="284" y="25"/>
                    </a:cubicBezTo>
                    <a:cubicBezTo>
                      <a:pt x="283" y="23"/>
                      <a:pt x="283" y="23"/>
                      <a:pt x="283" y="23"/>
                    </a:cubicBezTo>
                    <a:cubicBezTo>
                      <a:pt x="280" y="25"/>
                      <a:pt x="280" y="25"/>
                      <a:pt x="280" y="25"/>
                    </a:cubicBezTo>
                    <a:cubicBezTo>
                      <a:pt x="280" y="27"/>
                      <a:pt x="280" y="27"/>
                      <a:pt x="280" y="27"/>
                    </a:cubicBezTo>
                    <a:cubicBezTo>
                      <a:pt x="281" y="28"/>
                      <a:pt x="281" y="28"/>
                      <a:pt x="281" y="28"/>
                    </a:cubicBezTo>
                    <a:cubicBezTo>
                      <a:pt x="280" y="29"/>
                      <a:pt x="280" y="29"/>
                      <a:pt x="280" y="29"/>
                    </a:cubicBezTo>
                    <a:cubicBezTo>
                      <a:pt x="277" y="27"/>
                      <a:pt x="277" y="27"/>
                      <a:pt x="277" y="27"/>
                    </a:cubicBezTo>
                    <a:cubicBezTo>
                      <a:pt x="275" y="27"/>
                      <a:pt x="275" y="27"/>
                      <a:pt x="275" y="27"/>
                    </a:cubicBezTo>
                    <a:cubicBezTo>
                      <a:pt x="273" y="31"/>
                      <a:pt x="273" y="31"/>
                      <a:pt x="273" y="31"/>
                    </a:cubicBezTo>
                    <a:cubicBezTo>
                      <a:pt x="270" y="32"/>
                      <a:pt x="270" y="32"/>
                      <a:pt x="270" y="32"/>
                    </a:cubicBezTo>
                    <a:cubicBezTo>
                      <a:pt x="270" y="34"/>
                      <a:pt x="270" y="34"/>
                      <a:pt x="270" y="34"/>
                    </a:cubicBezTo>
                    <a:cubicBezTo>
                      <a:pt x="272" y="35"/>
                      <a:pt x="272" y="35"/>
                      <a:pt x="272" y="35"/>
                    </a:cubicBezTo>
                    <a:cubicBezTo>
                      <a:pt x="268" y="37"/>
                      <a:pt x="268" y="37"/>
                      <a:pt x="268" y="37"/>
                    </a:cubicBezTo>
                    <a:cubicBezTo>
                      <a:pt x="267" y="40"/>
                      <a:pt x="267" y="40"/>
                      <a:pt x="267" y="40"/>
                    </a:cubicBezTo>
                    <a:cubicBezTo>
                      <a:pt x="270" y="43"/>
                      <a:pt x="270" y="43"/>
                      <a:pt x="270" y="43"/>
                    </a:cubicBezTo>
                    <a:cubicBezTo>
                      <a:pt x="268" y="45"/>
                      <a:pt x="268" y="45"/>
                      <a:pt x="268" y="45"/>
                    </a:cubicBezTo>
                    <a:cubicBezTo>
                      <a:pt x="271" y="46"/>
                      <a:pt x="271" y="46"/>
                      <a:pt x="271" y="46"/>
                    </a:cubicBezTo>
                    <a:cubicBezTo>
                      <a:pt x="272" y="47"/>
                      <a:pt x="272" y="47"/>
                      <a:pt x="272" y="47"/>
                    </a:cubicBezTo>
                    <a:cubicBezTo>
                      <a:pt x="271" y="49"/>
                      <a:pt x="271" y="49"/>
                      <a:pt x="271" y="49"/>
                    </a:cubicBezTo>
                    <a:cubicBezTo>
                      <a:pt x="266" y="49"/>
                      <a:pt x="266" y="49"/>
                      <a:pt x="266" y="49"/>
                    </a:cubicBezTo>
                    <a:cubicBezTo>
                      <a:pt x="265" y="44"/>
                      <a:pt x="265" y="44"/>
                      <a:pt x="265" y="44"/>
                    </a:cubicBezTo>
                    <a:cubicBezTo>
                      <a:pt x="263" y="43"/>
                      <a:pt x="263" y="43"/>
                      <a:pt x="263" y="43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262" y="39"/>
                      <a:pt x="262" y="39"/>
                      <a:pt x="262" y="39"/>
                    </a:cubicBezTo>
                    <a:cubicBezTo>
                      <a:pt x="258" y="40"/>
                      <a:pt x="258" y="40"/>
                      <a:pt x="258" y="40"/>
                    </a:cubicBezTo>
                    <a:cubicBezTo>
                      <a:pt x="254" y="39"/>
                      <a:pt x="254" y="39"/>
                      <a:pt x="254" y="39"/>
                    </a:cubicBezTo>
                    <a:cubicBezTo>
                      <a:pt x="248" y="35"/>
                      <a:pt x="248" y="35"/>
                      <a:pt x="248" y="35"/>
                    </a:cubicBezTo>
                    <a:cubicBezTo>
                      <a:pt x="247" y="35"/>
                      <a:pt x="247" y="35"/>
                      <a:pt x="247" y="35"/>
                    </a:cubicBezTo>
                    <a:cubicBezTo>
                      <a:pt x="245" y="37"/>
                      <a:pt x="245" y="37"/>
                      <a:pt x="245" y="37"/>
                    </a:cubicBezTo>
                    <a:cubicBezTo>
                      <a:pt x="243" y="35"/>
                      <a:pt x="243" y="35"/>
                      <a:pt x="243" y="35"/>
                    </a:cubicBezTo>
                    <a:cubicBezTo>
                      <a:pt x="240" y="37"/>
                      <a:pt x="240" y="37"/>
                      <a:pt x="240" y="37"/>
                    </a:cubicBezTo>
                    <a:cubicBezTo>
                      <a:pt x="237" y="38"/>
                      <a:pt x="237" y="38"/>
                      <a:pt x="237" y="38"/>
                    </a:cubicBezTo>
                    <a:cubicBezTo>
                      <a:pt x="237" y="40"/>
                      <a:pt x="237" y="40"/>
                      <a:pt x="237" y="40"/>
                    </a:cubicBezTo>
                    <a:cubicBezTo>
                      <a:pt x="241" y="44"/>
                      <a:pt x="241" y="44"/>
                      <a:pt x="241" y="44"/>
                    </a:cubicBezTo>
                    <a:cubicBezTo>
                      <a:pt x="244" y="44"/>
                      <a:pt x="244" y="44"/>
                      <a:pt x="244" y="44"/>
                    </a:cubicBezTo>
                    <a:cubicBezTo>
                      <a:pt x="246" y="46"/>
                      <a:pt x="246" y="46"/>
                      <a:pt x="246" y="46"/>
                    </a:cubicBezTo>
                    <a:cubicBezTo>
                      <a:pt x="250" y="46"/>
                      <a:pt x="250" y="46"/>
                      <a:pt x="250" y="46"/>
                    </a:cubicBezTo>
                    <a:cubicBezTo>
                      <a:pt x="248" y="50"/>
                      <a:pt x="248" y="50"/>
                      <a:pt x="248" y="50"/>
                    </a:cubicBezTo>
                    <a:cubicBezTo>
                      <a:pt x="248" y="53"/>
                      <a:pt x="248" y="53"/>
                      <a:pt x="248" y="53"/>
                    </a:cubicBezTo>
                    <a:cubicBezTo>
                      <a:pt x="251" y="57"/>
                      <a:pt x="251" y="57"/>
                      <a:pt x="251" y="57"/>
                    </a:cubicBezTo>
                    <a:cubicBezTo>
                      <a:pt x="251" y="59"/>
                      <a:pt x="251" y="59"/>
                      <a:pt x="251" y="59"/>
                    </a:cubicBezTo>
                    <a:cubicBezTo>
                      <a:pt x="248" y="58"/>
                      <a:pt x="248" y="58"/>
                      <a:pt x="248" y="58"/>
                    </a:cubicBezTo>
                    <a:cubicBezTo>
                      <a:pt x="246" y="54"/>
                      <a:pt x="246" y="54"/>
                      <a:pt x="246" y="54"/>
                    </a:cubicBezTo>
                    <a:cubicBezTo>
                      <a:pt x="242" y="52"/>
                      <a:pt x="242" y="52"/>
                      <a:pt x="242" y="52"/>
                    </a:cubicBezTo>
                    <a:cubicBezTo>
                      <a:pt x="240" y="50"/>
                      <a:pt x="240" y="50"/>
                      <a:pt x="240" y="50"/>
                    </a:cubicBezTo>
                    <a:cubicBezTo>
                      <a:pt x="239" y="53"/>
                      <a:pt x="239" y="53"/>
                      <a:pt x="239" y="53"/>
                    </a:cubicBezTo>
                    <a:cubicBezTo>
                      <a:pt x="237" y="55"/>
                      <a:pt x="237" y="55"/>
                      <a:pt x="237" y="55"/>
                    </a:cubicBezTo>
                    <a:cubicBezTo>
                      <a:pt x="236" y="51"/>
                      <a:pt x="236" y="51"/>
                      <a:pt x="236" y="51"/>
                    </a:cubicBezTo>
                    <a:cubicBezTo>
                      <a:pt x="233" y="53"/>
                      <a:pt x="233" y="53"/>
                      <a:pt x="233" y="53"/>
                    </a:cubicBezTo>
                    <a:cubicBezTo>
                      <a:pt x="233" y="55"/>
                      <a:pt x="233" y="55"/>
                      <a:pt x="233" y="55"/>
                    </a:cubicBezTo>
                    <a:cubicBezTo>
                      <a:pt x="230" y="58"/>
                      <a:pt x="230" y="58"/>
                      <a:pt x="230" y="58"/>
                    </a:cubicBezTo>
                    <a:cubicBezTo>
                      <a:pt x="230" y="61"/>
                      <a:pt x="230" y="61"/>
                      <a:pt x="230" y="61"/>
                    </a:cubicBezTo>
                    <a:cubicBezTo>
                      <a:pt x="234" y="63"/>
                      <a:pt x="234" y="63"/>
                      <a:pt x="234" y="63"/>
                    </a:cubicBezTo>
                    <a:cubicBezTo>
                      <a:pt x="235" y="66"/>
                      <a:pt x="235" y="66"/>
                      <a:pt x="235" y="66"/>
                    </a:cubicBezTo>
                    <a:cubicBezTo>
                      <a:pt x="232" y="66"/>
                      <a:pt x="232" y="66"/>
                      <a:pt x="232" y="66"/>
                    </a:cubicBezTo>
                    <a:cubicBezTo>
                      <a:pt x="231" y="64"/>
                      <a:pt x="231" y="64"/>
                      <a:pt x="231" y="64"/>
                    </a:cubicBezTo>
                    <a:cubicBezTo>
                      <a:pt x="228" y="68"/>
                      <a:pt x="228" y="68"/>
                      <a:pt x="228" y="68"/>
                    </a:cubicBezTo>
                    <a:cubicBezTo>
                      <a:pt x="227" y="71"/>
                      <a:pt x="227" y="71"/>
                      <a:pt x="227" y="71"/>
                    </a:cubicBezTo>
                    <a:cubicBezTo>
                      <a:pt x="223" y="74"/>
                      <a:pt x="223" y="74"/>
                      <a:pt x="223" y="74"/>
                    </a:cubicBezTo>
                    <a:cubicBezTo>
                      <a:pt x="223" y="72"/>
                      <a:pt x="223" y="72"/>
                      <a:pt x="223" y="72"/>
                    </a:cubicBezTo>
                    <a:cubicBezTo>
                      <a:pt x="226" y="70"/>
                      <a:pt x="226" y="70"/>
                      <a:pt x="226" y="70"/>
                    </a:cubicBezTo>
                    <a:cubicBezTo>
                      <a:pt x="225" y="67"/>
                      <a:pt x="225" y="67"/>
                      <a:pt x="225" y="67"/>
                    </a:cubicBezTo>
                    <a:cubicBezTo>
                      <a:pt x="228" y="62"/>
                      <a:pt x="228" y="62"/>
                      <a:pt x="228" y="62"/>
                    </a:cubicBezTo>
                    <a:cubicBezTo>
                      <a:pt x="225" y="52"/>
                      <a:pt x="225" y="52"/>
                      <a:pt x="225" y="52"/>
                    </a:cubicBezTo>
                    <a:cubicBezTo>
                      <a:pt x="223" y="53"/>
                      <a:pt x="223" y="53"/>
                      <a:pt x="223" y="53"/>
                    </a:cubicBezTo>
                    <a:cubicBezTo>
                      <a:pt x="218" y="60"/>
                      <a:pt x="218" y="60"/>
                      <a:pt x="218" y="60"/>
                    </a:cubicBezTo>
                    <a:cubicBezTo>
                      <a:pt x="218" y="65"/>
                      <a:pt x="218" y="65"/>
                      <a:pt x="218" y="65"/>
                    </a:cubicBezTo>
                    <a:cubicBezTo>
                      <a:pt x="219" y="66"/>
                      <a:pt x="219" y="66"/>
                      <a:pt x="219" y="66"/>
                    </a:cubicBezTo>
                    <a:cubicBezTo>
                      <a:pt x="216" y="70"/>
                      <a:pt x="216" y="70"/>
                      <a:pt x="216" y="70"/>
                    </a:cubicBezTo>
                    <a:cubicBezTo>
                      <a:pt x="216" y="66"/>
                      <a:pt x="216" y="66"/>
                      <a:pt x="216" y="66"/>
                    </a:cubicBezTo>
                    <a:cubicBezTo>
                      <a:pt x="217" y="63"/>
                      <a:pt x="217" y="63"/>
                      <a:pt x="217" y="63"/>
                    </a:cubicBezTo>
                    <a:cubicBezTo>
                      <a:pt x="216" y="58"/>
                      <a:pt x="216" y="58"/>
                      <a:pt x="216" y="58"/>
                    </a:cubicBezTo>
                    <a:cubicBezTo>
                      <a:pt x="214" y="57"/>
                      <a:pt x="214" y="57"/>
                      <a:pt x="214" y="57"/>
                    </a:cubicBezTo>
                    <a:cubicBezTo>
                      <a:pt x="210" y="59"/>
                      <a:pt x="210" y="59"/>
                      <a:pt x="210" y="59"/>
                    </a:cubicBezTo>
                    <a:cubicBezTo>
                      <a:pt x="208" y="64"/>
                      <a:pt x="208" y="64"/>
                      <a:pt x="208" y="64"/>
                    </a:cubicBezTo>
                    <a:cubicBezTo>
                      <a:pt x="210" y="68"/>
                      <a:pt x="210" y="68"/>
                      <a:pt x="210" y="68"/>
                    </a:cubicBezTo>
                    <a:cubicBezTo>
                      <a:pt x="209" y="71"/>
                      <a:pt x="209" y="71"/>
                      <a:pt x="209" y="71"/>
                    </a:cubicBezTo>
                    <a:cubicBezTo>
                      <a:pt x="215" y="75"/>
                      <a:pt x="215" y="75"/>
                      <a:pt x="215" y="75"/>
                    </a:cubicBezTo>
                    <a:cubicBezTo>
                      <a:pt x="216" y="77"/>
                      <a:pt x="216" y="77"/>
                      <a:pt x="216" y="77"/>
                    </a:cubicBezTo>
                    <a:cubicBezTo>
                      <a:pt x="214" y="81"/>
                      <a:pt x="214" y="81"/>
                      <a:pt x="214" y="81"/>
                    </a:cubicBezTo>
                    <a:cubicBezTo>
                      <a:pt x="212" y="76"/>
                      <a:pt x="212" y="76"/>
                      <a:pt x="212" y="76"/>
                    </a:cubicBezTo>
                    <a:cubicBezTo>
                      <a:pt x="208" y="74"/>
                      <a:pt x="208" y="74"/>
                      <a:pt x="208" y="74"/>
                    </a:cubicBezTo>
                    <a:cubicBezTo>
                      <a:pt x="206" y="68"/>
                      <a:pt x="206" y="68"/>
                      <a:pt x="206" y="68"/>
                    </a:cubicBezTo>
                    <a:cubicBezTo>
                      <a:pt x="205" y="67"/>
                      <a:pt x="205" y="67"/>
                      <a:pt x="205" y="67"/>
                    </a:cubicBezTo>
                    <a:cubicBezTo>
                      <a:pt x="200" y="69"/>
                      <a:pt x="200" y="69"/>
                      <a:pt x="200" y="69"/>
                    </a:cubicBezTo>
                    <a:cubicBezTo>
                      <a:pt x="199" y="71"/>
                      <a:pt x="199" y="71"/>
                      <a:pt x="199" y="71"/>
                    </a:cubicBezTo>
                    <a:cubicBezTo>
                      <a:pt x="204" y="75"/>
                      <a:pt x="204" y="75"/>
                      <a:pt x="204" y="75"/>
                    </a:cubicBezTo>
                    <a:cubicBezTo>
                      <a:pt x="206" y="75"/>
                      <a:pt x="206" y="75"/>
                      <a:pt x="206" y="75"/>
                    </a:cubicBezTo>
                    <a:cubicBezTo>
                      <a:pt x="208" y="76"/>
                      <a:pt x="208" y="76"/>
                      <a:pt x="208" y="76"/>
                    </a:cubicBezTo>
                    <a:cubicBezTo>
                      <a:pt x="204" y="76"/>
                      <a:pt x="204" y="76"/>
                      <a:pt x="204" y="76"/>
                    </a:cubicBezTo>
                    <a:cubicBezTo>
                      <a:pt x="201" y="77"/>
                      <a:pt x="201" y="77"/>
                      <a:pt x="201" y="77"/>
                    </a:cubicBezTo>
                    <a:cubicBezTo>
                      <a:pt x="203" y="80"/>
                      <a:pt x="203" y="80"/>
                      <a:pt x="203" y="80"/>
                    </a:cubicBezTo>
                    <a:cubicBezTo>
                      <a:pt x="200" y="78"/>
                      <a:pt x="200" y="78"/>
                      <a:pt x="200" y="78"/>
                    </a:cubicBezTo>
                    <a:cubicBezTo>
                      <a:pt x="199" y="74"/>
                      <a:pt x="199" y="74"/>
                      <a:pt x="199" y="74"/>
                    </a:cubicBezTo>
                    <a:cubicBezTo>
                      <a:pt x="198" y="73"/>
                      <a:pt x="198" y="73"/>
                      <a:pt x="198" y="73"/>
                    </a:cubicBezTo>
                    <a:cubicBezTo>
                      <a:pt x="197" y="70"/>
                      <a:pt x="197" y="70"/>
                      <a:pt x="197" y="70"/>
                    </a:cubicBezTo>
                    <a:cubicBezTo>
                      <a:pt x="195" y="72"/>
                      <a:pt x="195" y="72"/>
                      <a:pt x="195" y="72"/>
                    </a:cubicBezTo>
                    <a:cubicBezTo>
                      <a:pt x="194" y="76"/>
                      <a:pt x="194" y="76"/>
                      <a:pt x="194" y="76"/>
                    </a:cubicBezTo>
                    <a:cubicBezTo>
                      <a:pt x="196" y="78"/>
                      <a:pt x="196" y="78"/>
                      <a:pt x="196" y="78"/>
                    </a:cubicBezTo>
                    <a:cubicBezTo>
                      <a:pt x="195" y="82"/>
                      <a:pt x="195" y="82"/>
                      <a:pt x="195" y="82"/>
                    </a:cubicBezTo>
                    <a:cubicBezTo>
                      <a:pt x="192" y="81"/>
                      <a:pt x="192" y="81"/>
                      <a:pt x="192" y="81"/>
                    </a:cubicBezTo>
                    <a:cubicBezTo>
                      <a:pt x="189" y="82"/>
                      <a:pt x="189" y="82"/>
                      <a:pt x="189" y="82"/>
                    </a:cubicBezTo>
                    <a:cubicBezTo>
                      <a:pt x="186" y="86"/>
                      <a:pt x="186" y="86"/>
                      <a:pt x="186" y="86"/>
                    </a:cubicBezTo>
                    <a:cubicBezTo>
                      <a:pt x="186" y="86"/>
                      <a:pt x="186" y="86"/>
                      <a:pt x="186" y="86"/>
                    </a:cubicBezTo>
                    <a:cubicBezTo>
                      <a:pt x="189" y="86"/>
                      <a:pt x="189" y="86"/>
                      <a:pt x="189" y="86"/>
                    </a:cubicBezTo>
                    <a:cubicBezTo>
                      <a:pt x="191" y="89"/>
                      <a:pt x="191" y="89"/>
                      <a:pt x="191" y="89"/>
                    </a:cubicBezTo>
                    <a:cubicBezTo>
                      <a:pt x="188" y="89"/>
                      <a:pt x="188" y="89"/>
                      <a:pt x="188" y="89"/>
                    </a:cubicBezTo>
                    <a:cubicBezTo>
                      <a:pt x="186" y="91"/>
                      <a:pt x="186" y="91"/>
                      <a:pt x="186" y="91"/>
                    </a:cubicBezTo>
                    <a:cubicBezTo>
                      <a:pt x="188" y="92"/>
                      <a:pt x="188" y="92"/>
                      <a:pt x="188" y="92"/>
                    </a:cubicBezTo>
                    <a:cubicBezTo>
                      <a:pt x="187" y="94"/>
                      <a:pt x="187" y="94"/>
                      <a:pt x="187" y="94"/>
                    </a:cubicBezTo>
                    <a:cubicBezTo>
                      <a:pt x="184" y="94"/>
                      <a:pt x="184" y="94"/>
                      <a:pt x="184" y="94"/>
                    </a:cubicBezTo>
                    <a:cubicBezTo>
                      <a:pt x="184" y="96"/>
                      <a:pt x="184" y="96"/>
                      <a:pt x="184" y="96"/>
                    </a:cubicBezTo>
                    <a:cubicBezTo>
                      <a:pt x="185" y="96"/>
                      <a:pt x="185" y="96"/>
                      <a:pt x="185" y="96"/>
                    </a:cubicBezTo>
                    <a:cubicBezTo>
                      <a:pt x="182" y="97"/>
                      <a:pt x="182" y="97"/>
                      <a:pt x="182" y="97"/>
                    </a:cubicBezTo>
                    <a:cubicBezTo>
                      <a:pt x="181" y="95"/>
                      <a:pt x="181" y="95"/>
                      <a:pt x="181" y="95"/>
                    </a:cubicBezTo>
                    <a:cubicBezTo>
                      <a:pt x="178" y="96"/>
                      <a:pt x="178" y="96"/>
                      <a:pt x="178" y="96"/>
                    </a:cubicBezTo>
                    <a:cubicBezTo>
                      <a:pt x="176" y="99"/>
                      <a:pt x="176" y="99"/>
                      <a:pt x="176" y="99"/>
                    </a:cubicBezTo>
                    <a:cubicBezTo>
                      <a:pt x="177" y="101"/>
                      <a:pt x="177" y="101"/>
                      <a:pt x="177" y="101"/>
                    </a:cubicBezTo>
                    <a:cubicBezTo>
                      <a:pt x="176" y="102"/>
                      <a:pt x="176" y="102"/>
                      <a:pt x="176" y="102"/>
                    </a:cubicBezTo>
                    <a:cubicBezTo>
                      <a:pt x="172" y="102"/>
                      <a:pt x="172" y="102"/>
                      <a:pt x="172" y="102"/>
                    </a:cubicBezTo>
                    <a:cubicBezTo>
                      <a:pt x="170" y="105"/>
                      <a:pt x="170" y="105"/>
                      <a:pt x="170" y="105"/>
                    </a:cubicBezTo>
                    <a:cubicBezTo>
                      <a:pt x="173" y="106"/>
                      <a:pt x="173" y="106"/>
                      <a:pt x="173" y="106"/>
                    </a:cubicBezTo>
                    <a:cubicBezTo>
                      <a:pt x="181" y="104"/>
                      <a:pt x="181" y="104"/>
                      <a:pt x="181" y="104"/>
                    </a:cubicBezTo>
                    <a:cubicBezTo>
                      <a:pt x="183" y="105"/>
                      <a:pt x="183" y="105"/>
                      <a:pt x="183" y="105"/>
                    </a:cubicBezTo>
                    <a:cubicBezTo>
                      <a:pt x="187" y="104"/>
                      <a:pt x="187" y="104"/>
                      <a:pt x="187" y="104"/>
                    </a:cubicBezTo>
                    <a:cubicBezTo>
                      <a:pt x="189" y="104"/>
                      <a:pt x="189" y="104"/>
                      <a:pt x="189" y="104"/>
                    </a:cubicBezTo>
                    <a:cubicBezTo>
                      <a:pt x="189" y="106"/>
                      <a:pt x="189" y="106"/>
                      <a:pt x="189" y="106"/>
                    </a:cubicBezTo>
                    <a:cubicBezTo>
                      <a:pt x="187" y="109"/>
                      <a:pt x="187" y="109"/>
                      <a:pt x="187" y="109"/>
                    </a:cubicBezTo>
                    <a:cubicBezTo>
                      <a:pt x="186" y="114"/>
                      <a:pt x="186" y="114"/>
                      <a:pt x="186" y="114"/>
                    </a:cubicBezTo>
                    <a:cubicBezTo>
                      <a:pt x="185" y="115"/>
                      <a:pt x="185" y="115"/>
                      <a:pt x="185" y="115"/>
                    </a:cubicBezTo>
                    <a:cubicBezTo>
                      <a:pt x="183" y="113"/>
                      <a:pt x="183" y="113"/>
                      <a:pt x="183" y="113"/>
                    </a:cubicBezTo>
                    <a:cubicBezTo>
                      <a:pt x="183" y="110"/>
                      <a:pt x="183" y="110"/>
                      <a:pt x="183" y="110"/>
                    </a:cubicBezTo>
                    <a:cubicBezTo>
                      <a:pt x="180" y="111"/>
                      <a:pt x="180" y="111"/>
                      <a:pt x="180" y="111"/>
                    </a:cubicBezTo>
                    <a:cubicBezTo>
                      <a:pt x="179" y="110"/>
                      <a:pt x="179" y="110"/>
                      <a:pt x="179" y="110"/>
                    </a:cubicBezTo>
                    <a:cubicBezTo>
                      <a:pt x="175" y="109"/>
                      <a:pt x="175" y="109"/>
                      <a:pt x="175" y="109"/>
                    </a:cubicBezTo>
                    <a:cubicBezTo>
                      <a:pt x="176" y="111"/>
                      <a:pt x="176" y="111"/>
                      <a:pt x="176" y="111"/>
                    </a:cubicBezTo>
                    <a:cubicBezTo>
                      <a:pt x="175" y="113"/>
                      <a:pt x="175" y="113"/>
                      <a:pt x="175" y="113"/>
                    </a:cubicBezTo>
                    <a:cubicBezTo>
                      <a:pt x="172" y="111"/>
                      <a:pt x="172" y="111"/>
                      <a:pt x="172" y="111"/>
                    </a:cubicBezTo>
                    <a:cubicBezTo>
                      <a:pt x="170" y="111"/>
                      <a:pt x="170" y="111"/>
                      <a:pt x="170" y="111"/>
                    </a:cubicBezTo>
                    <a:cubicBezTo>
                      <a:pt x="173" y="114"/>
                      <a:pt x="173" y="114"/>
                      <a:pt x="173" y="114"/>
                    </a:cubicBezTo>
                    <a:cubicBezTo>
                      <a:pt x="174" y="116"/>
                      <a:pt x="174" y="116"/>
                      <a:pt x="174" y="116"/>
                    </a:cubicBezTo>
                    <a:cubicBezTo>
                      <a:pt x="172" y="116"/>
                      <a:pt x="172" y="116"/>
                      <a:pt x="172" y="116"/>
                    </a:cubicBezTo>
                    <a:cubicBezTo>
                      <a:pt x="171" y="119"/>
                      <a:pt x="171" y="119"/>
                      <a:pt x="171" y="119"/>
                    </a:cubicBezTo>
                    <a:cubicBezTo>
                      <a:pt x="171" y="121"/>
                      <a:pt x="171" y="121"/>
                      <a:pt x="171" y="121"/>
                    </a:cubicBezTo>
                    <a:cubicBezTo>
                      <a:pt x="171" y="123"/>
                      <a:pt x="171" y="123"/>
                      <a:pt x="171" y="123"/>
                    </a:cubicBezTo>
                    <a:cubicBezTo>
                      <a:pt x="169" y="121"/>
                      <a:pt x="169" y="121"/>
                      <a:pt x="169" y="121"/>
                    </a:cubicBezTo>
                    <a:cubicBezTo>
                      <a:pt x="169" y="117"/>
                      <a:pt x="169" y="117"/>
                      <a:pt x="169" y="117"/>
                    </a:cubicBezTo>
                    <a:cubicBezTo>
                      <a:pt x="167" y="114"/>
                      <a:pt x="167" y="114"/>
                      <a:pt x="167" y="114"/>
                    </a:cubicBezTo>
                    <a:cubicBezTo>
                      <a:pt x="164" y="117"/>
                      <a:pt x="164" y="117"/>
                      <a:pt x="164" y="117"/>
                    </a:cubicBezTo>
                    <a:cubicBezTo>
                      <a:pt x="161" y="117"/>
                      <a:pt x="161" y="117"/>
                      <a:pt x="161" y="117"/>
                    </a:cubicBezTo>
                    <a:cubicBezTo>
                      <a:pt x="160" y="115"/>
                      <a:pt x="160" y="115"/>
                      <a:pt x="160" y="115"/>
                    </a:cubicBezTo>
                    <a:cubicBezTo>
                      <a:pt x="161" y="114"/>
                      <a:pt x="161" y="114"/>
                      <a:pt x="161" y="114"/>
                    </a:cubicBezTo>
                    <a:cubicBezTo>
                      <a:pt x="159" y="113"/>
                      <a:pt x="159" y="113"/>
                      <a:pt x="159" y="113"/>
                    </a:cubicBezTo>
                    <a:cubicBezTo>
                      <a:pt x="156" y="117"/>
                      <a:pt x="156" y="117"/>
                      <a:pt x="156" y="117"/>
                    </a:cubicBezTo>
                    <a:cubicBezTo>
                      <a:pt x="158" y="119"/>
                      <a:pt x="158" y="119"/>
                      <a:pt x="158" y="119"/>
                    </a:cubicBezTo>
                    <a:cubicBezTo>
                      <a:pt x="162" y="119"/>
                      <a:pt x="162" y="119"/>
                      <a:pt x="162" y="119"/>
                    </a:cubicBezTo>
                    <a:cubicBezTo>
                      <a:pt x="166" y="121"/>
                      <a:pt x="166" y="121"/>
                      <a:pt x="166" y="121"/>
                    </a:cubicBezTo>
                    <a:cubicBezTo>
                      <a:pt x="164" y="124"/>
                      <a:pt x="164" y="124"/>
                      <a:pt x="164" y="124"/>
                    </a:cubicBezTo>
                    <a:cubicBezTo>
                      <a:pt x="157" y="125"/>
                      <a:pt x="157" y="125"/>
                      <a:pt x="157" y="125"/>
                    </a:cubicBezTo>
                    <a:cubicBezTo>
                      <a:pt x="155" y="124"/>
                      <a:pt x="155" y="124"/>
                      <a:pt x="155" y="124"/>
                    </a:cubicBezTo>
                    <a:cubicBezTo>
                      <a:pt x="153" y="124"/>
                      <a:pt x="153" y="124"/>
                      <a:pt x="153" y="124"/>
                    </a:cubicBezTo>
                    <a:cubicBezTo>
                      <a:pt x="151" y="127"/>
                      <a:pt x="151" y="127"/>
                      <a:pt x="151" y="127"/>
                    </a:cubicBezTo>
                    <a:cubicBezTo>
                      <a:pt x="154" y="129"/>
                      <a:pt x="154" y="129"/>
                      <a:pt x="154" y="129"/>
                    </a:cubicBezTo>
                    <a:cubicBezTo>
                      <a:pt x="151" y="132"/>
                      <a:pt x="151" y="132"/>
                      <a:pt x="151" y="132"/>
                    </a:cubicBezTo>
                    <a:cubicBezTo>
                      <a:pt x="154" y="132"/>
                      <a:pt x="154" y="132"/>
                      <a:pt x="154" y="132"/>
                    </a:cubicBezTo>
                    <a:cubicBezTo>
                      <a:pt x="158" y="128"/>
                      <a:pt x="158" y="128"/>
                      <a:pt x="158" y="128"/>
                    </a:cubicBezTo>
                    <a:cubicBezTo>
                      <a:pt x="161" y="128"/>
                      <a:pt x="161" y="128"/>
                      <a:pt x="161" y="128"/>
                    </a:cubicBezTo>
                    <a:cubicBezTo>
                      <a:pt x="162" y="130"/>
                      <a:pt x="162" y="130"/>
                      <a:pt x="162" y="130"/>
                    </a:cubicBezTo>
                    <a:cubicBezTo>
                      <a:pt x="157" y="131"/>
                      <a:pt x="157" y="131"/>
                      <a:pt x="157" y="131"/>
                    </a:cubicBezTo>
                    <a:cubicBezTo>
                      <a:pt x="156" y="135"/>
                      <a:pt x="156" y="135"/>
                      <a:pt x="156" y="135"/>
                    </a:cubicBezTo>
                    <a:cubicBezTo>
                      <a:pt x="158" y="137"/>
                      <a:pt x="158" y="137"/>
                      <a:pt x="158" y="137"/>
                    </a:cubicBezTo>
                    <a:cubicBezTo>
                      <a:pt x="162" y="140"/>
                      <a:pt x="162" y="140"/>
                      <a:pt x="162" y="140"/>
                    </a:cubicBezTo>
                    <a:cubicBezTo>
                      <a:pt x="162" y="142"/>
                      <a:pt x="162" y="142"/>
                      <a:pt x="162" y="142"/>
                    </a:cubicBezTo>
                    <a:cubicBezTo>
                      <a:pt x="160" y="140"/>
                      <a:pt x="160" y="140"/>
                      <a:pt x="160" y="140"/>
                    </a:cubicBezTo>
                    <a:cubicBezTo>
                      <a:pt x="157" y="141"/>
                      <a:pt x="157" y="141"/>
                      <a:pt x="157" y="141"/>
                    </a:cubicBezTo>
                    <a:cubicBezTo>
                      <a:pt x="154" y="137"/>
                      <a:pt x="154" y="137"/>
                      <a:pt x="154" y="137"/>
                    </a:cubicBezTo>
                    <a:cubicBezTo>
                      <a:pt x="153" y="137"/>
                      <a:pt x="153" y="137"/>
                      <a:pt x="153" y="137"/>
                    </a:cubicBezTo>
                    <a:cubicBezTo>
                      <a:pt x="150" y="140"/>
                      <a:pt x="150" y="140"/>
                      <a:pt x="150" y="140"/>
                    </a:cubicBezTo>
                    <a:cubicBezTo>
                      <a:pt x="153" y="142"/>
                      <a:pt x="153" y="142"/>
                      <a:pt x="153" y="142"/>
                    </a:cubicBezTo>
                    <a:cubicBezTo>
                      <a:pt x="149" y="142"/>
                      <a:pt x="149" y="142"/>
                      <a:pt x="149" y="142"/>
                    </a:cubicBezTo>
                    <a:cubicBezTo>
                      <a:pt x="146" y="144"/>
                      <a:pt x="146" y="144"/>
                      <a:pt x="146" y="144"/>
                    </a:cubicBezTo>
                    <a:cubicBezTo>
                      <a:pt x="146" y="146"/>
                      <a:pt x="146" y="146"/>
                      <a:pt x="146" y="146"/>
                    </a:cubicBezTo>
                    <a:cubicBezTo>
                      <a:pt x="150" y="148"/>
                      <a:pt x="150" y="148"/>
                      <a:pt x="150" y="148"/>
                    </a:cubicBezTo>
                    <a:cubicBezTo>
                      <a:pt x="153" y="146"/>
                      <a:pt x="153" y="146"/>
                      <a:pt x="153" y="146"/>
                    </a:cubicBezTo>
                    <a:cubicBezTo>
                      <a:pt x="155" y="148"/>
                      <a:pt x="155" y="148"/>
                      <a:pt x="155" y="148"/>
                    </a:cubicBezTo>
                    <a:cubicBezTo>
                      <a:pt x="158" y="147"/>
                      <a:pt x="158" y="147"/>
                      <a:pt x="158" y="147"/>
                    </a:cubicBezTo>
                    <a:cubicBezTo>
                      <a:pt x="159" y="150"/>
                      <a:pt x="159" y="150"/>
                      <a:pt x="159" y="150"/>
                    </a:cubicBezTo>
                    <a:cubicBezTo>
                      <a:pt x="161" y="151"/>
                      <a:pt x="161" y="151"/>
                      <a:pt x="161" y="151"/>
                    </a:cubicBezTo>
                    <a:cubicBezTo>
                      <a:pt x="161" y="153"/>
                      <a:pt x="161" y="153"/>
                      <a:pt x="161" y="153"/>
                    </a:cubicBezTo>
                    <a:cubicBezTo>
                      <a:pt x="156" y="150"/>
                      <a:pt x="156" y="150"/>
                      <a:pt x="156" y="150"/>
                    </a:cubicBezTo>
                    <a:cubicBezTo>
                      <a:pt x="152" y="150"/>
                      <a:pt x="152" y="150"/>
                      <a:pt x="152" y="150"/>
                    </a:cubicBezTo>
                    <a:cubicBezTo>
                      <a:pt x="151" y="151"/>
                      <a:pt x="151" y="151"/>
                      <a:pt x="151" y="151"/>
                    </a:cubicBezTo>
                    <a:cubicBezTo>
                      <a:pt x="145" y="152"/>
                      <a:pt x="145" y="152"/>
                      <a:pt x="145" y="152"/>
                    </a:cubicBezTo>
                    <a:cubicBezTo>
                      <a:pt x="145" y="155"/>
                      <a:pt x="145" y="155"/>
                      <a:pt x="145" y="155"/>
                    </a:cubicBezTo>
                    <a:cubicBezTo>
                      <a:pt x="142" y="157"/>
                      <a:pt x="142" y="157"/>
                      <a:pt x="142" y="157"/>
                    </a:cubicBezTo>
                    <a:cubicBezTo>
                      <a:pt x="141" y="155"/>
                      <a:pt x="141" y="155"/>
                      <a:pt x="141" y="155"/>
                    </a:cubicBezTo>
                    <a:cubicBezTo>
                      <a:pt x="136" y="158"/>
                      <a:pt x="136" y="158"/>
                      <a:pt x="136" y="158"/>
                    </a:cubicBezTo>
                    <a:cubicBezTo>
                      <a:pt x="134" y="158"/>
                      <a:pt x="134" y="158"/>
                      <a:pt x="134" y="158"/>
                    </a:cubicBezTo>
                    <a:cubicBezTo>
                      <a:pt x="133" y="160"/>
                      <a:pt x="133" y="160"/>
                      <a:pt x="133" y="160"/>
                    </a:cubicBezTo>
                    <a:cubicBezTo>
                      <a:pt x="136" y="161"/>
                      <a:pt x="136" y="161"/>
                      <a:pt x="136" y="161"/>
                    </a:cubicBezTo>
                    <a:cubicBezTo>
                      <a:pt x="138" y="164"/>
                      <a:pt x="138" y="164"/>
                      <a:pt x="138" y="164"/>
                    </a:cubicBezTo>
                    <a:cubicBezTo>
                      <a:pt x="136" y="164"/>
                      <a:pt x="136" y="164"/>
                      <a:pt x="136" y="164"/>
                    </a:cubicBezTo>
                    <a:cubicBezTo>
                      <a:pt x="134" y="164"/>
                      <a:pt x="134" y="164"/>
                      <a:pt x="134" y="164"/>
                    </a:cubicBezTo>
                    <a:cubicBezTo>
                      <a:pt x="133" y="165"/>
                      <a:pt x="133" y="165"/>
                      <a:pt x="133" y="165"/>
                    </a:cubicBezTo>
                    <a:cubicBezTo>
                      <a:pt x="135" y="167"/>
                      <a:pt x="135" y="167"/>
                      <a:pt x="135" y="167"/>
                    </a:cubicBezTo>
                    <a:cubicBezTo>
                      <a:pt x="135" y="168"/>
                      <a:pt x="135" y="168"/>
                      <a:pt x="135" y="168"/>
                    </a:cubicBezTo>
                    <a:cubicBezTo>
                      <a:pt x="131" y="168"/>
                      <a:pt x="131" y="168"/>
                      <a:pt x="131" y="168"/>
                    </a:cubicBezTo>
                    <a:cubicBezTo>
                      <a:pt x="131" y="167"/>
                      <a:pt x="131" y="167"/>
                      <a:pt x="131" y="167"/>
                    </a:cubicBezTo>
                    <a:cubicBezTo>
                      <a:pt x="129" y="168"/>
                      <a:pt x="129" y="168"/>
                      <a:pt x="129" y="168"/>
                    </a:cubicBezTo>
                    <a:cubicBezTo>
                      <a:pt x="132" y="170"/>
                      <a:pt x="132" y="170"/>
                      <a:pt x="132" y="170"/>
                    </a:cubicBezTo>
                    <a:cubicBezTo>
                      <a:pt x="130" y="171"/>
                      <a:pt x="130" y="171"/>
                      <a:pt x="130" y="171"/>
                    </a:cubicBezTo>
                    <a:cubicBezTo>
                      <a:pt x="131" y="173"/>
                      <a:pt x="131" y="173"/>
                      <a:pt x="131" y="173"/>
                    </a:cubicBezTo>
                    <a:cubicBezTo>
                      <a:pt x="133" y="173"/>
                      <a:pt x="133" y="173"/>
                      <a:pt x="133" y="173"/>
                    </a:cubicBezTo>
                    <a:cubicBezTo>
                      <a:pt x="131" y="174"/>
                      <a:pt x="131" y="174"/>
                      <a:pt x="131" y="174"/>
                    </a:cubicBezTo>
                    <a:cubicBezTo>
                      <a:pt x="128" y="175"/>
                      <a:pt x="128" y="175"/>
                      <a:pt x="128" y="175"/>
                    </a:cubicBezTo>
                    <a:cubicBezTo>
                      <a:pt x="127" y="173"/>
                      <a:pt x="127" y="173"/>
                      <a:pt x="127" y="173"/>
                    </a:cubicBezTo>
                    <a:cubicBezTo>
                      <a:pt x="127" y="176"/>
                      <a:pt x="127" y="176"/>
                      <a:pt x="127" y="176"/>
                    </a:cubicBezTo>
                    <a:cubicBezTo>
                      <a:pt x="126" y="177"/>
                      <a:pt x="126" y="177"/>
                      <a:pt x="126" y="177"/>
                    </a:cubicBezTo>
                    <a:cubicBezTo>
                      <a:pt x="128" y="178"/>
                      <a:pt x="128" y="178"/>
                      <a:pt x="128" y="178"/>
                    </a:cubicBezTo>
                    <a:cubicBezTo>
                      <a:pt x="133" y="180"/>
                      <a:pt x="133" y="180"/>
                      <a:pt x="133" y="180"/>
                    </a:cubicBezTo>
                    <a:cubicBezTo>
                      <a:pt x="134" y="182"/>
                      <a:pt x="134" y="182"/>
                      <a:pt x="134" y="182"/>
                    </a:cubicBezTo>
                    <a:cubicBezTo>
                      <a:pt x="136" y="183"/>
                      <a:pt x="136" y="183"/>
                      <a:pt x="136" y="183"/>
                    </a:cubicBezTo>
                    <a:cubicBezTo>
                      <a:pt x="139" y="182"/>
                      <a:pt x="139" y="182"/>
                      <a:pt x="139" y="182"/>
                    </a:cubicBezTo>
                    <a:cubicBezTo>
                      <a:pt x="136" y="184"/>
                      <a:pt x="136" y="184"/>
                      <a:pt x="136" y="184"/>
                    </a:cubicBezTo>
                    <a:cubicBezTo>
                      <a:pt x="136" y="185"/>
                      <a:pt x="136" y="185"/>
                      <a:pt x="136" y="185"/>
                    </a:cubicBezTo>
                    <a:cubicBezTo>
                      <a:pt x="133" y="185"/>
                      <a:pt x="133" y="185"/>
                      <a:pt x="133" y="185"/>
                    </a:cubicBezTo>
                    <a:cubicBezTo>
                      <a:pt x="132" y="184"/>
                      <a:pt x="132" y="184"/>
                      <a:pt x="132" y="184"/>
                    </a:cubicBezTo>
                    <a:cubicBezTo>
                      <a:pt x="127" y="184"/>
                      <a:pt x="127" y="184"/>
                      <a:pt x="127" y="184"/>
                    </a:cubicBezTo>
                    <a:cubicBezTo>
                      <a:pt x="123" y="187"/>
                      <a:pt x="123" y="187"/>
                      <a:pt x="123" y="187"/>
                    </a:cubicBezTo>
                    <a:cubicBezTo>
                      <a:pt x="124" y="188"/>
                      <a:pt x="124" y="188"/>
                      <a:pt x="124" y="188"/>
                    </a:cubicBezTo>
                    <a:cubicBezTo>
                      <a:pt x="128" y="189"/>
                      <a:pt x="128" y="189"/>
                      <a:pt x="128" y="189"/>
                    </a:cubicBezTo>
                    <a:cubicBezTo>
                      <a:pt x="128" y="191"/>
                      <a:pt x="128" y="191"/>
                      <a:pt x="128" y="191"/>
                    </a:cubicBezTo>
                    <a:cubicBezTo>
                      <a:pt x="130" y="193"/>
                      <a:pt x="130" y="193"/>
                      <a:pt x="130" y="193"/>
                    </a:cubicBezTo>
                    <a:cubicBezTo>
                      <a:pt x="130" y="195"/>
                      <a:pt x="130" y="195"/>
                      <a:pt x="130" y="195"/>
                    </a:cubicBezTo>
                    <a:cubicBezTo>
                      <a:pt x="128" y="193"/>
                      <a:pt x="128" y="193"/>
                      <a:pt x="128" y="193"/>
                    </a:cubicBezTo>
                    <a:cubicBezTo>
                      <a:pt x="126" y="193"/>
                      <a:pt x="126" y="193"/>
                      <a:pt x="126" y="193"/>
                    </a:cubicBezTo>
                    <a:cubicBezTo>
                      <a:pt x="124" y="195"/>
                      <a:pt x="124" y="195"/>
                      <a:pt x="124" y="195"/>
                    </a:cubicBezTo>
                    <a:cubicBezTo>
                      <a:pt x="124" y="198"/>
                      <a:pt x="124" y="198"/>
                      <a:pt x="124" y="198"/>
                    </a:cubicBezTo>
                    <a:cubicBezTo>
                      <a:pt x="123" y="198"/>
                      <a:pt x="123" y="198"/>
                      <a:pt x="123" y="198"/>
                    </a:cubicBezTo>
                    <a:cubicBezTo>
                      <a:pt x="125" y="200"/>
                      <a:pt x="125" y="200"/>
                      <a:pt x="125" y="200"/>
                    </a:cubicBezTo>
                    <a:cubicBezTo>
                      <a:pt x="126" y="203"/>
                      <a:pt x="126" y="203"/>
                      <a:pt x="126" y="203"/>
                    </a:cubicBezTo>
                    <a:cubicBezTo>
                      <a:pt x="124" y="203"/>
                      <a:pt x="124" y="203"/>
                      <a:pt x="124" y="203"/>
                    </a:cubicBezTo>
                    <a:cubicBezTo>
                      <a:pt x="122" y="201"/>
                      <a:pt x="122" y="201"/>
                      <a:pt x="122" y="201"/>
                    </a:cubicBezTo>
                    <a:cubicBezTo>
                      <a:pt x="121" y="202"/>
                      <a:pt x="121" y="202"/>
                      <a:pt x="121" y="202"/>
                    </a:cubicBezTo>
                    <a:cubicBezTo>
                      <a:pt x="121" y="205"/>
                      <a:pt x="121" y="205"/>
                      <a:pt x="121" y="205"/>
                    </a:cubicBezTo>
                    <a:cubicBezTo>
                      <a:pt x="124" y="206"/>
                      <a:pt x="124" y="206"/>
                      <a:pt x="124" y="206"/>
                    </a:cubicBezTo>
                    <a:cubicBezTo>
                      <a:pt x="124" y="207"/>
                      <a:pt x="124" y="207"/>
                      <a:pt x="124" y="207"/>
                    </a:cubicBezTo>
                    <a:cubicBezTo>
                      <a:pt x="124" y="209"/>
                      <a:pt x="124" y="209"/>
                      <a:pt x="124" y="209"/>
                    </a:cubicBezTo>
                    <a:cubicBezTo>
                      <a:pt x="120" y="206"/>
                      <a:pt x="120" y="206"/>
                      <a:pt x="120" y="206"/>
                    </a:cubicBezTo>
                    <a:cubicBezTo>
                      <a:pt x="118" y="207"/>
                      <a:pt x="118" y="207"/>
                      <a:pt x="118" y="207"/>
                    </a:cubicBezTo>
                    <a:cubicBezTo>
                      <a:pt x="118" y="210"/>
                      <a:pt x="118" y="210"/>
                      <a:pt x="118" y="210"/>
                    </a:cubicBezTo>
                    <a:cubicBezTo>
                      <a:pt x="119" y="211"/>
                      <a:pt x="119" y="211"/>
                      <a:pt x="119" y="211"/>
                    </a:cubicBezTo>
                    <a:cubicBezTo>
                      <a:pt x="119" y="214"/>
                      <a:pt x="119" y="214"/>
                      <a:pt x="119" y="214"/>
                    </a:cubicBezTo>
                    <a:cubicBezTo>
                      <a:pt x="121" y="217"/>
                      <a:pt x="121" y="217"/>
                      <a:pt x="121" y="217"/>
                    </a:cubicBezTo>
                    <a:cubicBezTo>
                      <a:pt x="123" y="217"/>
                      <a:pt x="123" y="217"/>
                      <a:pt x="123" y="217"/>
                    </a:cubicBezTo>
                    <a:cubicBezTo>
                      <a:pt x="124" y="214"/>
                      <a:pt x="124" y="214"/>
                      <a:pt x="124" y="214"/>
                    </a:cubicBezTo>
                    <a:cubicBezTo>
                      <a:pt x="126" y="214"/>
                      <a:pt x="126" y="214"/>
                      <a:pt x="126" y="214"/>
                    </a:cubicBezTo>
                    <a:cubicBezTo>
                      <a:pt x="124" y="218"/>
                      <a:pt x="124" y="218"/>
                      <a:pt x="124" y="218"/>
                    </a:cubicBezTo>
                    <a:cubicBezTo>
                      <a:pt x="122" y="219"/>
                      <a:pt x="122" y="219"/>
                      <a:pt x="122" y="219"/>
                    </a:cubicBezTo>
                    <a:cubicBezTo>
                      <a:pt x="119" y="222"/>
                      <a:pt x="119" y="222"/>
                      <a:pt x="119" y="222"/>
                    </a:cubicBezTo>
                    <a:cubicBezTo>
                      <a:pt x="116" y="222"/>
                      <a:pt x="116" y="222"/>
                      <a:pt x="116" y="222"/>
                    </a:cubicBezTo>
                    <a:cubicBezTo>
                      <a:pt x="114" y="223"/>
                      <a:pt x="114" y="223"/>
                      <a:pt x="114" y="223"/>
                    </a:cubicBezTo>
                    <a:cubicBezTo>
                      <a:pt x="114" y="225"/>
                      <a:pt x="114" y="225"/>
                      <a:pt x="114" y="225"/>
                    </a:cubicBezTo>
                    <a:cubicBezTo>
                      <a:pt x="111" y="226"/>
                      <a:pt x="111" y="226"/>
                      <a:pt x="111" y="226"/>
                    </a:cubicBezTo>
                    <a:cubicBezTo>
                      <a:pt x="108" y="228"/>
                      <a:pt x="108" y="228"/>
                      <a:pt x="108" y="228"/>
                    </a:cubicBezTo>
                    <a:cubicBezTo>
                      <a:pt x="111" y="229"/>
                      <a:pt x="111" y="229"/>
                      <a:pt x="111" y="229"/>
                    </a:cubicBezTo>
                    <a:cubicBezTo>
                      <a:pt x="110" y="231"/>
                      <a:pt x="110" y="231"/>
                      <a:pt x="110" y="231"/>
                    </a:cubicBezTo>
                    <a:cubicBezTo>
                      <a:pt x="105" y="231"/>
                      <a:pt x="105" y="231"/>
                      <a:pt x="105" y="231"/>
                    </a:cubicBezTo>
                    <a:cubicBezTo>
                      <a:pt x="103" y="234"/>
                      <a:pt x="103" y="234"/>
                      <a:pt x="103" y="234"/>
                    </a:cubicBezTo>
                    <a:cubicBezTo>
                      <a:pt x="103" y="236"/>
                      <a:pt x="103" y="236"/>
                      <a:pt x="103" y="236"/>
                    </a:cubicBezTo>
                    <a:cubicBezTo>
                      <a:pt x="107" y="237"/>
                      <a:pt x="107" y="237"/>
                      <a:pt x="107" y="237"/>
                    </a:cubicBezTo>
                    <a:cubicBezTo>
                      <a:pt x="104" y="238"/>
                      <a:pt x="104" y="238"/>
                      <a:pt x="104" y="238"/>
                    </a:cubicBezTo>
                    <a:cubicBezTo>
                      <a:pt x="103" y="241"/>
                      <a:pt x="103" y="241"/>
                      <a:pt x="103" y="241"/>
                    </a:cubicBezTo>
                    <a:cubicBezTo>
                      <a:pt x="100" y="241"/>
                      <a:pt x="100" y="241"/>
                      <a:pt x="100" y="241"/>
                    </a:cubicBezTo>
                    <a:cubicBezTo>
                      <a:pt x="99" y="238"/>
                      <a:pt x="99" y="238"/>
                      <a:pt x="99" y="238"/>
                    </a:cubicBezTo>
                    <a:cubicBezTo>
                      <a:pt x="97" y="237"/>
                      <a:pt x="97" y="237"/>
                      <a:pt x="97" y="237"/>
                    </a:cubicBezTo>
                    <a:cubicBezTo>
                      <a:pt x="96" y="239"/>
                      <a:pt x="96" y="239"/>
                      <a:pt x="96" y="239"/>
                    </a:cubicBezTo>
                    <a:cubicBezTo>
                      <a:pt x="94" y="239"/>
                      <a:pt x="94" y="239"/>
                      <a:pt x="94" y="239"/>
                    </a:cubicBezTo>
                    <a:cubicBezTo>
                      <a:pt x="95" y="241"/>
                      <a:pt x="95" y="241"/>
                      <a:pt x="95" y="241"/>
                    </a:cubicBezTo>
                    <a:cubicBezTo>
                      <a:pt x="93" y="243"/>
                      <a:pt x="93" y="243"/>
                      <a:pt x="93" y="243"/>
                    </a:cubicBezTo>
                    <a:cubicBezTo>
                      <a:pt x="92" y="245"/>
                      <a:pt x="92" y="245"/>
                      <a:pt x="92" y="245"/>
                    </a:cubicBezTo>
                    <a:cubicBezTo>
                      <a:pt x="93" y="247"/>
                      <a:pt x="93" y="247"/>
                      <a:pt x="93" y="247"/>
                    </a:cubicBezTo>
                    <a:cubicBezTo>
                      <a:pt x="89" y="247"/>
                      <a:pt x="89" y="247"/>
                      <a:pt x="89" y="247"/>
                    </a:cubicBezTo>
                    <a:cubicBezTo>
                      <a:pt x="87" y="248"/>
                      <a:pt x="87" y="248"/>
                      <a:pt x="87" y="248"/>
                    </a:cubicBezTo>
                    <a:cubicBezTo>
                      <a:pt x="87" y="251"/>
                      <a:pt x="87" y="251"/>
                      <a:pt x="87" y="251"/>
                    </a:cubicBezTo>
                    <a:cubicBezTo>
                      <a:pt x="84" y="253"/>
                      <a:pt x="84" y="253"/>
                      <a:pt x="84" y="253"/>
                    </a:cubicBezTo>
                    <a:cubicBezTo>
                      <a:pt x="85" y="255"/>
                      <a:pt x="85" y="255"/>
                      <a:pt x="85" y="255"/>
                    </a:cubicBezTo>
                    <a:cubicBezTo>
                      <a:pt x="84" y="259"/>
                      <a:pt x="84" y="259"/>
                      <a:pt x="84" y="259"/>
                    </a:cubicBezTo>
                    <a:cubicBezTo>
                      <a:pt x="81" y="260"/>
                      <a:pt x="81" y="260"/>
                      <a:pt x="81" y="260"/>
                    </a:cubicBezTo>
                    <a:cubicBezTo>
                      <a:pt x="78" y="264"/>
                      <a:pt x="78" y="264"/>
                      <a:pt x="78" y="264"/>
                    </a:cubicBezTo>
                    <a:cubicBezTo>
                      <a:pt x="79" y="265"/>
                      <a:pt x="79" y="265"/>
                      <a:pt x="79" y="265"/>
                    </a:cubicBezTo>
                    <a:cubicBezTo>
                      <a:pt x="83" y="263"/>
                      <a:pt x="83" y="263"/>
                      <a:pt x="83" y="263"/>
                    </a:cubicBezTo>
                    <a:cubicBezTo>
                      <a:pt x="85" y="263"/>
                      <a:pt x="85" y="263"/>
                      <a:pt x="85" y="263"/>
                    </a:cubicBezTo>
                    <a:cubicBezTo>
                      <a:pt x="85" y="265"/>
                      <a:pt x="85" y="265"/>
                      <a:pt x="85" y="265"/>
                    </a:cubicBezTo>
                    <a:cubicBezTo>
                      <a:pt x="82" y="266"/>
                      <a:pt x="82" y="266"/>
                      <a:pt x="82" y="266"/>
                    </a:cubicBezTo>
                    <a:cubicBezTo>
                      <a:pt x="82" y="269"/>
                      <a:pt x="82" y="269"/>
                      <a:pt x="82" y="269"/>
                    </a:cubicBezTo>
                    <a:cubicBezTo>
                      <a:pt x="84" y="272"/>
                      <a:pt x="84" y="272"/>
                      <a:pt x="84" y="272"/>
                    </a:cubicBezTo>
                    <a:cubicBezTo>
                      <a:pt x="88" y="270"/>
                      <a:pt x="88" y="270"/>
                      <a:pt x="88" y="270"/>
                    </a:cubicBezTo>
                    <a:cubicBezTo>
                      <a:pt x="93" y="269"/>
                      <a:pt x="93" y="269"/>
                      <a:pt x="93" y="269"/>
                    </a:cubicBezTo>
                    <a:cubicBezTo>
                      <a:pt x="98" y="264"/>
                      <a:pt x="98" y="264"/>
                      <a:pt x="98" y="264"/>
                    </a:cubicBezTo>
                    <a:cubicBezTo>
                      <a:pt x="98" y="261"/>
                      <a:pt x="98" y="261"/>
                      <a:pt x="98" y="261"/>
                    </a:cubicBezTo>
                    <a:cubicBezTo>
                      <a:pt x="95" y="262"/>
                      <a:pt x="95" y="262"/>
                      <a:pt x="95" y="262"/>
                    </a:cubicBezTo>
                    <a:cubicBezTo>
                      <a:pt x="98" y="259"/>
                      <a:pt x="98" y="259"/>
                      <a:pt x="98" y="259"/>
                    </a:cubicBezTo>
                    <a:cubicBezTo>
                      <a:pt x="99" y="255"/>
                      <a:pt x="99" y="255"/>
                      <a:pt x="99" y="255"/>
                    </a:cubicBezTo>
                    <a:cubicBezTo>
                      <a:pt x="100" y="255"/>
                      <a:pt x="100" y="255"/>
                      <a:pt x="100" y="255"/>
                    </a:cubicBezTo>
                    <a:cubicBezTo>
                      <a:pt x="102" y="253"/>
                      <a:pt x="102" y="253"/>
                      <a:pt x="102" y="253"/>
                    </a:cubicBezTo>
                    <a:cubicBezTo>
                      <a:pt x="105" y="254"/>
                      <a:pt x="105" y="254"/>
                      <a:pt x="105" y="254"/>
                    </a:cubicBezTo>
                    <a:cubicBezTo>
                      <a:pt x="107" y="254"/>
                      <a:pt x="107" y="254"/>
                      <a:pt x="107" y="254"/>
                    </a:cubicBezTo>
                    <a:cubicBezTo>
                      <a:pt x="102" y="257"/>
                      <a:pt x="102" y="257"/>
                      <a:pt x="102" y="257"/>
                    </a:cubicBezTo>
                    <a:cubicBezTo>
                      <a:pt x="102" y="259"/>
                      <a:pt x="102" y="259"/>
                      <a:pt x="102" y="259"/>
                    </a:cubicBezTo>
                    <a:cubicBezTo>
                      <a:pt x="107" y="261"/>
                      <a:pt x="107" y="261"/>
                      <a:pt x="107" y="261"/>
                    </a:cubicBezTo>
                    <a:cubicBezTo>
                      <a:pt x="105" y="263"/>
                      <a:pt x="105" y="263"/>
                      <a:pt x="105" y="263"/>
                    </a:cubicBezTo>
                    <a:cubicBezTo>
                      <a:pt x="102" y="263"/>
                      <a:pt x="102" y="263"/>
                      <a:pt x="102" y="263"/>
                    </a:cubicBezTo>
                    <a:cubicBezTo>
                      <a:pt x="97" y="269"/>
                      <a:pt x="97" y="269"/>
                      <a:pt x="97" y="269"/>
                    </a:cubicBezTo>
                    <a:cubicBezTo>
                      <a:pt x="100" y="271"/>
                      <a:pt x="100" y="271"/>
                      <a:pt x="100" y="271"/>
                    </a:cubicBezTo>
                    <a:cubicBezTo>
                      <a:pt x="98" y="273"/>
                      <a:pt x="98" y="273"/>
                      <a:pt x="98" y="273"/>
                    </a:cubicBezTo>
                    <a:cubicBezTo>
                      <a:pt x="98" y="276"/>
                      <a:pt x="98" y="276"/>
                      <a:pt x="98" y="276"/>
                    </a:cubicBezTo>
                    <a:cubicBezTo>
                      <a:pt x="95" y="276"/>
                      <a:pt x="95" y="276"/>
                      <a:pt x="95" y="276"/>
                    </a:cubicBezTo>
                    <a:cubicBezTo>
                      <a:pt x="92" y="273"/>
                      <a:pt x="92" y="273"/>
                      <a:pt x="92" y="273"/>
                    </a:cubicBezTo>
                    <a:cubicBezTo>
                      <a:pt x="88" y="274"/>
                      <a:pt x="88" y="274"/>
                      <a:pt x="88" y="274"/>
                    </a:cubicBezTo>
                    <a:cubicBezTo>
                      <a:pt x="86" y="275"/>
                      <a:pt x="86" y="275"/>
                      <a:pt x="86" y="275"/>
                    </a:cubicBezTo>
                    <a:cubicBezTo>
                      <a:pt x="86" y="278"/>
                      <a:pt x="86" y="278"/>
                      <a:pt x="86" y="278"/>
                    </a:cubicBezTo>
                    <a:cubicBezTo>
                      <a:pt x="83" y="280"/>
                      <a:pt x="83" y="280"/>
                      <a:pt x="83" y="280"/>
                    </a:cubicBezTo>
                    <a:cubicBezTo>
                      <a:pt x="80" y="282"/>
                      <a:pt x="80" y="282"/>
                      <a:pt x="80" y="282"/>
                    </a:cubicBezTo>
                    <a:cubicBezTo>
                      <a:pt x="82" y="279"/>
                      <a:pt x="82" y="279"/>
                      <a:pt x="82" y="279"/>
                    </a:cubicBezTo>
                    <a:cubicBezTo>
                      <a:pt x="84" y="278"/>
                      <a:pt x="84" y="278"/>
                      <a:pt x="84" y="278"/>
                    </a:cubicBezTo>
                    <a:cubicBezTo>
                      <a:pt x="81" y="275"/>
                      <a:pt x="81" y="275"/>
                      <a:pt x="81" y="275"/>
                    </a:cubicBezTo>
                    <a:cubicBezTo>
                      <a:pt x="81" y="272"/>
                      <a:pt x="81" y="272"/>
                      <a:pt x="81" y="272"/>
                    </a:cubicBezTo>
                    <a:cubicBezTo>
                      <a:pt x="79" y="268"/>
                      <a:pt x="79" y="268"/>
                      <a:pt x="79" y="268"/>
                    </a:cubicBezTo>
                    <a:cubicBezTo>
                      <a:pt x="76" y="268"/>
                      <a:pt x="76" y="268"/>
                      <a:pt x="76" y="268"/>
                    </a:cubicBezTo>
                    <a:cubicBezTo>
                      <a:pt x="75" y="271"/>
                      <a:pt x="75" y="271"/>
                      <a:pt x="75" y="271"/>
                    </a:cubicBezTo>
                    <a:cubicBezTo>
                      <a:pt x="71" y="271"/>
                      <a:pt x="71" y="271"/>
                      <a:pt x="71" y="271"/>
                    </a:cubicBezTo>
                    <a:cubicBezTo>
                      <a:pt x="71" y="273"/>
                      <a:pt x="71" y="273"/>
                      <a:pt x="71" y="273"/>
                    </a:cubicBezTo>
                    <a:cubicBezTo>
                      <a:pt x="76" y="273"/>
                      <a:pt x="76" y="273"/>
                      <a:pt x="76" y="273"/>
                    </a:cubicBezTo>
                    <a:cubicBezTo>
                      <a:pt x="71" y="277"/>
                      <a:pt x="71" y="277"/>
                      <a:pt x="71" y="277"/>
                    </a:cubicBezTo>
                    <a:cubicBezTo>
                      <a:pt x="68" y="276"/>
                      <a:pt x="68" y="276"/>
                      <a:pt x="68" y="276"/>
                    </a:cubicBezTo>
                    <a:cubicBezTo>
                      <a:pt x="65" y="276"/>
                      <a:pt x="65" y="276"/>
                      <a:pt x="65" y="276"/>
                    </a:cubicBezTo>
                    <a:cubicBezTo>
                      <a:pt x="61" y="279"/>
                      <a:pt x="61" y="279"/>
                      <a:pt x="61" y="279"/>
                    </a:cubicBezTo>
                    <a:cubicBezTo>
                      <a:pt x="63" y="280"/>
                      <a:pt x="63" y="280"/>
                      <a:pt x="63" y="280"/>
                    </a:cubicBezTo>
                    <a:cubicBezTo>
                      <a:pt x="65" y="279"/>
                      <a:pt x="65" y="279"/>
                      <a:pt x="65" y="279"/>
                    </a:cubicBezTo>
                    <a:cubicBezTo>
                      <a:pt x="66" y="280"/>
                      <a:pt x="66" y="280"/>
                      <a:pt x="66" y="280"/>
                    </a:cubicBezTo>
                    <a:cubicBezTo>
                      <a:pt x="62" y="282"/>
                      <a:pt x="62" y="282"/>
                      <a:pt x="62" y="282"/>
                    </a:cubicBezTo>
                    <a:cubicBezTo>
                      <a:pt x="61" y="284"/>
                      <a:pt x="61" y="284"/>
                      <a:pt x="61" y="284"/>
                    </a:cubicBezTo>
                    <a:cubicBezTo>
                      <a:pt x="59" y="283"/>
                      <a:pt x="59" y="283"/>
                      <a:pt x="59" y="283"/>
                    </a:cubicBezTo>
                    <a:cubicBezTo>
                      <a:pt x="56" y="283"/>
                      <a:pt x="56" y="283"/>
                      <a:pt x="56" y="283"/>
                    </a:cubicBezTo>
                    <a:cubicBezTo>
                      <a:pt x="56" y="284"/>
                      <a:pt x="56" y="284"/>
                      <a:pt x="56" y="284"/>
                    </a:cubicBezTo>
                    <a:cubicBezTo>
                      <a:pt x="60" y="287"/>
                      <a:pt x="60" y="287"/>
                      <a:pt x="60" y="287"/>
                    </a:cubicBezTo>
                    <a:cubicBezTo>
                      <a:pt x="65" y="287"/>
                      <a:pt x="65" y="287"/>
                      <a:pt x="65" y="287"/>
                    </a:cubicBezTo>
                    <a:cubicBezTo>
                      <a:pt x="64" y="289"/>
                      <a:pt x="64" y="289"/>
                      <a:pt x="64" y="289"/>
                    </a:cubicBezTo>
                    <a:cubicBezTo>
                      <a:pt x="66" y="290"/>
                      <a:pt x="66" y="290"/>
                      <a:pt x="66" y="290"/>
                    </a:cubicBezTo>
                    <a:cubicBezTo>
                      <a:pt x="66" y="292"/>
                      <a:pt x="66" y="292"/>
                      <a:pt x="66" y="292"/>
                    </a:cubicBezTo>
                    <a:cubicBezTo>
                      <a:pt x="62" y="291"/>
                      <a:pt x="62" y="291"/>
                      <a:pt x="62" y="291"/>
                    </a:cubicBezTo>
                    <a:cubicBezTo>
                      <a:pt x="61" y="289"/>
                      <a:pt x="61" y="289"/>
                      <a:pt x="61" y="289"/>
                    </a:cubicBezTo>
                    <a:cubicBezTo>
                      <a:pt x="58" y="289"/>
                      <a:pt x="58" y="289"/>
                      <a:pt x="58" y="289"/>
                    </a:cubicBezTo>
                    <a:cubicBezTo>
                      <a:pt x="54" y="286"/>
                      <a:pt x="54" y="286"/>
                      <a:pt x="54" y="286"/>
                    </a:cubicBezTo>
                    <a:cubicBezTo>
                      <a:pt x="54" y="283"/>
                      <a:pt x="54" y="283"/>
                      <a:pt x="54" y="283"/>
                    </a:cubicBezTo>
                    <a:cubicBezTo>
                      <a:pt x="52" y="284"/>
                      <a:pt x="52" y="284"/>
                      <a:pt x="52" y="284"/>
                    </a:cubicBezTo>
                    <a:cubicBezTo>
                      <a:pt x="52" y="286"/>
                      <a:pt x="52" y="286"/>
                      <a:pt x="52" y="286"/>
                    </a:cubicBezTo>
                    <a:cubicBezTo>
                      <a:pt x="55" y="291"/>
                      <a:pt x="55" y="291"/>
                      <a:pt x="55" y="291"/>
                    </a:cubicBezTo>
                    <a:cubicBezTo>
                      <a:pt x="58" y="293"/>
                      <a:pt x="58" y="293"/>
                      <a:pt x="58" y="293"/>
                    </a:cubicBezTo>
                    <a:cubicBezTo>
                      <a:pt x="62" y="294"/>
                      <a:pt x="62" y="294"/>
                      <a:pt x="62" y="294"/>
                    </a:cubicBezTo>
                    <a:cubicBezTo>
                      <a:pt x="63" y="295"/>
                      <a:pt x="63" y="295"/>
                      <a:pt x="63" y="295"/>
                    </a:cubicBezTo>
                    <a:cubicBezTo>
                      <a:pt x="60" y="296"/>
                      <a:pt x="60" y="296"/>
                      <a:pt x="60" y="296"/>
                    </a:cubicBezTo>
                    <a:cubicBezTo>
                      <a:pt x="55" y="294"/>
                      <a:pt x="55" y="294"/>
                      <a:pt x="55" y="294"/>
                    </a:cubicBezTo>
                    <a:cubicBezTo>
                      <a:pt x="50" y="288"/>
                      <a:pt x="50" y="288"/>
                      <a:pt x="50" y="288"/>
                    </a:cubicBezTo>
                    <a:cubicBezTo>
                      <a:pt x="47" y="290"/>
                      <a:pt x="47" y="290"/>
                      <a:pt x="47" y="290"/>
                    </a:cubicBezTo>
                    <a:cubicBezTo>
                      <a:pt x="44" y="287"/>
                      <a:pt x="44" y="287"/>
                      <a:pt x="44" y="287"/>
                    </a:cubicBezTo>
                    <a:cubicBezTo>
                      <a:pt x="41" y="287"/>
                      <a:pt x="41" y="287"/>
                      <a:pt x="41" y="287"/>
                    </a:cubicBezTo>
                    <a:cubicBezTo>
                      <a:pt x="39" y="286"/>
                      <a:pt x="39" y="286"/>
                      <a:pt x="39" y="286"/>
                    </a:cubicBezTo>
                    <a:cubicBezTo>
                      <a:pt x="37" y="288"/>
                      <a:pt x="37" y="288"/>
                      <a:pt x="37" y="288"/>
                    </a:cubicBezTo>
                    <a:cubicBezTo>
                      <a:pt x="38" y="290"/>
                      <a:pt x="38" y="290"/>
                      <a:pt x="38" y="290"/>
                    </a:cubicBezTo>
                    <a:cubicBezTo>
                      <a:pt x="36" y="292"/>
                      <a:pt x="36" y="292"/>
                      <a:pt x="36" y="292"/>
                    </a:cubicBezTo>
                    <a:cubicBezTo>
                      <a:pt x="39" y="295"/>
                      <a:pt x="39" y="295"/>
                      <a:pt x="39" y="295"/>
                    </a:cubicBezTo>
                    <a:cubicBezTo>
                      <a:pt x="45" y="293"/>
                      <a:pt x="45" y="293"/>
                      <a:pt x="45" y="293"/>
                    </a:cubicBezTo>
                    <a:cubicBezTo>
                      <a:pt x="46" y="295"/>
                      <a:pt x="46" y="295"/>
                      <a:pt x="46" y="295"/>
                    </a:cubicBezTo>
                    <a:cubicBezTo>
                      <a:pt x="43" y="296"/>
                      <a:pt x="43" y="296"/>
                      <a:pt x="43" y="296"/>
                    </a:cubicBezTo>
                    <a:cubicBezTo>
                      <a:pt x="45" y="297"/>
                      <a:pt x="45" y="297"/>
                      <a:pt x="45" y="297"/>
                    </a:cubicBezTo>
                    <a:cubicBezTo>
                      <a:pt x="49" y="295"/>
                      <a:pt x="49" y="295"/>
                      <a:pt x="49" y="295"/>
                    </a:cubicBezTo>
                    <a:cubicBezTo>
                      <a:pt x="52" y="295"/>
                      <a:pt x="52" y="295"/>
                      <a:pt x="52" y="295"/>
                    </a:cubicBezTo>
                    <a:cubicBezTo>
                      <a:pt x="50" y="297"/>
                      <a:pt x="50" y="297"/>
                      <a:pt x="50" y="297"/>
                    </a:cubicBezTo>
                    <a:cubicBezTo>
                      <a:pt x="45" y="299"/>
                      <a:pt x="45" y="299"/>
                      <a:pt x="45" y="299"/>
                    </a:cubicBezTo>
                    <a:cubicBezTo>
                      <a:pt x="43" y="302"/>
                      <a:pt x="43" y="302"/>
                      <a:pt x="43" y="302"/>
                    </a:cubicBezTo>
                    <a:cubicBezTo>
                      <a:pt x="39" y="301"/>
                      <a:pt x="39" y="301"/>
                      <a:pt x="39" y="301"/>
                    </a:cubicBezTo>
                    <a:cubicBezTo>
                      <a:pt x="36" y="297"/>
                      <a:pt x="36" y="297"/>
                      <a:pt x="36" y="297"/>
                    </a:cubicBezTo>
                    <a:cubicBezTo>
                      <a:pt x="34" y="297"/>
                      <a:pt x="34" y="297"/>
                      <a:pt x="34" y="297"/>
                    </a:cubicBezTo>
                    <a:cubicBezTo>
                      <a:pt x="32" y="299"/>
                      <a:pt x="32" y="299"/>
                      <a:pt x="32" y="299"/>
                    </a:cubicBezTo>
                    <a:cubicBezTo>
                      <a:pt x="30" y="296"/>
                      <a:pt x="30" y="296"/>
                      <a:pt x="30" y="296"/>
                    </a:cubicBezTo>
                    <a:cubicBezTo>
                      <a:pt x="27" y="298"/>
                      <a:pt x="27" y="298"/>
                      <a:pt x="27" y="298"/>
                    </a:cubicBezTo>
                    <a:cubicBezTo>
                      <a:pt x="26" y="297"/>
                      <a:pt x="26" y="297"/>
                      <a:pt x="26" y="297"/>
                    </a:cubicBezTo>
                    <a:cubicBezTo>
                      <a:pt x="23" y="298"/>
                      <a:pt x="23" y="298"/>
                      <a:pt x="23" y="298"/>
                    </a:cubicBezTo>
                    <a:cubicBezTo>
                      <a:pt x="24" y="300"/>
                      <a:pt x="24" y="300"/>
                      <a:pt x="24" y="300"/>
                    </a:cubicBezTo>
                    <a:cubicBezTo>
                      <a:pt x="30" y="301"/>
                      <a:pt x="30" y="301"/>
                      <a:pt x="30" y="301"/>
                    </a:cubicBezTo>
                    <a:cubicBezTo>
                      <a:pt x="33" y="303"/>
                      <a:pt x="33" y="303"/>
                      <a:pt x="33" y="303"/>
                    </a:cubicBezTo>
                    <a:cubicBezTo>
                      <a:pt x="38" y="305"/>
                      <a:pt x="38" y="305"/>
                      <a:pt x="38" y="305"/>
                    </a:cubicBezTo>
                    <a:cubicBezTo>
                      <a:pt x="37" y="308"/>
                      <a:pt x="37" y="308"/>
                      <a:pt x="37" y="308"/>
                    </a:cubicBezTo>
                    <a:cubicBezTo>
                      <a:pt x="38" y="311"/>
                      <a:pt x="38" y="311"/>
                      <a:pt x="38" y="311"/>
                    </a:cubicBezTo>
                    <a:cubicBezTo>
                      <a:pt x="36" y="312"/>
                      <a:pt x="36" y="312"/>
                      <a:pt x="36" y="312"/>
                    </a:cubicBezTo>
                    <a:cubicBezTo>
                      <a:pt x="34" y="311"/>
                      <a:pt x="34" y="311"/>
                      <a:pt x="34" y="311"/>
                    </a:cubicBezTo>
                    <a:cubicBezTo>
                      <a:pt x="34" y="306"/>
                      <a:pt x="34" y="306"/>
                      <a:pt x="34" y="306"/>
                    </a:cubicBezTo>
                    <a:cubicBezTo>
                      <a:pt x="31" y="305"/>
                      <a:pt x="31" y="305"/>
                      <a:pt x="31" y="305"/>
                    </a:cubicBezTo>
                    <a:cubicBezTo>
                      <a:pt x="28" y="305"/>
                      <a:pt x="28" y="305"/>
                      <a:pt x="28" y="305"/>
                    </a:cubicBezTo>
                    <a:cubicBezTo>
                      <a:pt x="29" y="308"/>
                      <a:pt x="29" y="308"/>
                      <a:pt x="29" y="308"/>
                    </a:cubicBezTo>
                    <a:cubicBezTo>
                      <a:pt x="28" y="310"/>
                      <a:pt x="28" y="310"/>
                      <a:pt x="28" y="310"/>
                    </a:cubicBezTo>
                    <a:cubicBezTo>
                      <a:pt x="24" y="307"/>
                      <a:pt x="24" y="307"/>
                      <a:pt x="24" y="307"/>
                    </a:cubicBezTo>
                    <a:cubicBezTo>
                      <a:pt x="20" y="311"/>
                      <a:pt x="20" y="311"/>
                      <a:pt x="20" y="311"/>
                    </a:cubicBezTo>
                    <a:cubicBezTo>
                      <a:pt x="24" y="313"/>
                      <a:pt x="24" y="313"/>
                      <a:pt x="24" y="313"/>
                    </a:cubicBezTo>
                    <a:cubicBezTo>
                      <a:pt x="21" y="313"/>
                      <a:pt x="21" y="313"/>
                      <a:pt x="21" y="313"/>
                    </a:cubicBezTo>
                    <a:cubicBezTo>
                      <a:pt x="19" y="314"/>
                      <a:pt x="19" y="314"/>
                      <a:pt x="19" y="314"/>
                    </a:cubicBezTo>
                    <a:cubicBezTo>
                      <a:pt x="18" y="311"/>
                      <a:pt x="18" y="311"/>
                      <a:pt x="18" y="311"/>
                    </a:cubicBezTo>
                    <a:cubicBezTo>
                      <a:pt x="13" y="311"/>
                      <a:pt x="13" y="311"/>
                      <a:pt x="13" y="311"/>
                    </a:cubicBezTo>
                    <a:cubicBezTo>
                      <a:pt x="14" y="314"/>
                      <a:pt x="14" y="314"/>
                      <a:pt x="14" y="314"/>
                    </a:cubicBezTo>
                    <a:cubicBezTo>
                      <a:pt x="12" y="316"/>
                      <a:pt x="12" y="316"/>
                      <a:pt x="12" y="316"/>
                    </a:cubicBezTo>
                    <a:cubicBezTo>
                      <a:pt x="11" y="312"/>
                      <a:pt x="11" y="312"/>
                      <a:pt x="11" y="312"/>
                    </a:cubicBezTo>
                    <a:cubicBezTo>
                      <a:pt x="8" y="310"/>
                      <a:pt x="8" y="310"/>
                      <a:pt x="8" y="310"/>
                    </a:cubicBezTo>
                    <a:cubicBezTo>
                      <a:pt x="6" y="310"/>
                      <a:pt x="6" y="310"/>
                      <a:pt x="6" y="310"/>
                    </a:cubicBezTo>
                    <a:cubicBezTo>
                      <a:pt x="6" y="312"/>
                      <a:pt x="6" y="312"/>
                      <a:pt x="6" y="312"/>
                    </a:cubicBezTo>
                    <a:cubicBezTo>
                      <a:pt x="10" y="315"/>
                      <a:pt x="10" y="315"/>
                      <a:pt x="10" y="315"/>
                    </a:cubicBezTo>
                    <a:cubicBezTo>
                      <a:pt x="8" y="317"/>
                      <a:pt x="8" y="317"/>
                      <a:pt x="8" y="317"/>
                    </a:cubicBezTo>
                    <a:cubicBezTo>
                      <a:pt x="10" y="319"/>
                      <a:pt x="10" y="319"/>
                      <a:pt x="10" y="319"/>
                    </a:cubicBezTo>
                    <a:cubicBezTo>
                      <a:pt x="14" y="318"/>
                      <a:pt x="14" y="318"/>
                      <a:pt x="14" y="318"/>
                    </a:cubicBezTo>
                    <a:cubicBezTo>
                      <a:pt x="20" y="319"/>
                      <a:pt x="20" y="319"/>
                      <a:pt x="20" y="319"/>
                    </a:cubicBezTo>
                    <a:cubicBezTo>
                      <a:pt x="24" y="321"/>
                      <a:pt x="24" y="321"/>
                      <a:pt x="24" y="321"/>
                    </a:cubicBezTo>
                    <a:cubicBezTo>
                      <a:pt x="29" y="321"/>
                      <a:pt x="29" y="321"/>
                      <a:pt x="29" y="321"/>
                    </a:cubicBezTo>
                    <a:cubicBezTo>
                      <a:pt x="31" y="320"/>
                      <a:pt x="31" y="320"/>
                      <a:pt x="31" y="320"/>
                    </a:cubicBezTo>
                    <a:cubicBezTo>
                      <a:pt x="34" y="320"/>
                      <a:pt x="34" y="320"/>
                      <a:pt x="34" y="320"/>
                    </a:cubicBezTo>
                    <a:cubicBezTo>
                      <a:pt x="30" y="323"/>
                      <a:pt x="30" y="323"/>
                      <a:pt x="30" y="323"/>
                    </a:cubicBezTo>
                    <a:cubicBezTo>
                      <a:pt x="25" y="323"/>
                      <a:pt x="25" y="323"/>
                      <a:pt x="25" y="323"/>
                    </a:cubicBezTo>
                    <a:cubicBezTo>
                      <a:pt x="23" y="324"/>
                      <a:pt x="23" y="324"/>
                      <a:pt x="23" y="324"/>
                    </a:cubicBezTo>
                    <a:cubicBezTo>
                      <a:pt x="17" y="321"/>
                      <a:pt x="17" y="321"/>
                      <a:pt x="17" y="321"/>
                    </a:cubicBezTo>
                    <a:cubicBezTo>
                      <a:pt x="13" y="322"/>
                      <a:pt x="13" y="322"/>
                      <a:pt x="13" y="322"/>
                    </a:cubicBezTo>
                    <a:cubicBezTo>
                      <a:pt x="12" y="321"/>
                      <a:pt x="12" y="321"/>
                      <a:pt x="12" y="321"/>
                    </a:cubicBezTo>
                    <a:cubicBezTo>
                      <a:pt x="9" y="323"/>
                      <a:pt x="9" y="323"/>
                      <a:pt x="9" y="323"/>
                    </a:cubicBezTo>
                    <a:cubicBezTo>
                      <a:pt x="5" y="324"/>
                      <a:pt x="5" y="324"/>
                      <a:pt x="5" y="324"/>
                    </a:cubicBezTo>
                    <a:cubicBezTo>
                      <a:pt x="4" y="325"/>
                      <a:pt x="4" y="325"/>
                      <a:pt x="4" y="325"/>
                    </a:cubicBezTo>
                    <a:cubicBezTo>
                      <a:pt x="11" y="328"/>
                      <a:pt x="11" y="328"/>
                      <a:pt x="11" y="328"/>
                    </a:cubicBezTo>
                    <a:cubicBezTo>
                      <a:pt x="8" y="331"/>
                      <a:pt x="8" y="331"/>
                      <a:pt x="8" y="331"/>
                    </a:cubicBezTo>
                    <a:cubicBezTo>
                      <a:pt x="11" y="331"/>
                      <a:pt x="11" y="331"/>
                      <a:pt x="11" y="331"/>
                    </a:cubicBezTo>
                    <a:cubicBezTo>
                      <a:pt x="13" y="330"/>
                      <a:pt x="13" y="330"/>
                      <a:pt x="13" y="330"/>
                    </a:cubicBezTo>
                    <a:cubicBezTo>
                      <a:pt x="18" y="330"/>
                      <a:pt x="18" y="330"/>
                      <a:pt x="18" y="330"/>
                    </a:cubicBezTo>
                    <a:cubicBezTo>
                      <a:pt x="15" y="332"/>
                      <a:pt x="15" y="332"/>
                      <a:pt x="15" y="332"/>
                    </a:cubicBezTo>
                    <a:cubicBezTo>
                      <a:pt x="9" y="332"/>
                      <a:pt x="9" y="332"/>
                      <a:pt x="9" y="332"/>
                    </a:cubicBezTo>
                    <a:cubicBezTo>
                      <a:pt x="8" y="333"/>
                      <a:pt x="8" y="333"/>
                      <a:pt x="8" y="333"/>
                    </a:cubicBezTo>
                    <a:cubicBezTo>
                      <a:pt x="6" y="333"/>
                      <a:pt x="6" y="333"/>
                      <a:pt x="6" y="333"/>
                    </a:cubicBezTo>
                    <a:cubicBezTo>
                      <a:pt x="6" y="334"/>
                      <a:pt x="6" y="334"/>
                      <a:pt x="6" y="334"/>
                    </a:cubicBezTo>
                    <a:cubicBezTo>
                      <a:pt x="9" y="335"/>
                      <a:pt x="9" y="335"/>
                      <a:pt x="9" y="335"/>
                    </a:cubicBezTo>
                    <a:cubicBezTo>
                      <a:pt x="11" y="335"/>
                      <a:pt x="11" y="335"/>
                      <a:pt x="11" y="335"/>
                    </a:cubicBezTo>
                    <a:cubicBezTo>
                      <a:pt x="8" y="337"/>
                      <a:pt x="8" y="337"/>
                      <a:pt x="8" y="337"/>
                    </a:cubicBezTo>
                    <a:cubicBezTo>
                      <a:pt x="6" y="337"/>
                      <a:pt x="6" y="337"/>
                      <a:pt x="6" y="337"/>
                    </a:cubicBezTo>
                    <a:cubicBezTo>
                      <a:pt x="7" y="339"/>
                      <a:pt x="7" y="339"/>
                      <a:pt x="7" y="339"/>
                    </a:cubicBezTo>
                    <a:cubicBezTo>
                      <a:pt x="8" y="340"/>
                      <a:pt x="8" y="340"/>
                      <a:pt x="8" y="340"/>
                    </a:cubicBezTo>
                    <a:cubicBezTo>
                      <a:pt x="10" y="342"/>
                      <a:pt x="10" y="342"/>
                      <a:pt x="10" y="342"/>
                    </a:cubicBezTo>
                    <a:cubicBezTo>
                      <a:pt x="14" y="342"/>
                      <a:pt x="14" y="342"/>
                      <a:pt x="14" y="342"/>
                    </a:cubicBezTo>
                    <a:cubicBezTo>
                      <a:pt x="16" y="340"/>
                      <a:pt x="16" y="340"/>
                      <a:pt x="16" y="340"/>
                    </a:cubicBezTo>
                    <a:cubicBezTo>
                      <a:pt x="22" y="340"/>
                      <a:pt x="22" y="340"/>
                      <a:pt x="22" y="340"/>
                    </a:cubicBezTo>
                    <a:cubicBezTo>
                      <a:pt x="26" y="341"/>
                      <a:pt x="26" y="341"/>
                      <a:pt x="26" y="341"/>
                    </a:cubicBezTo>
                    <a:cubicBezTo>
                      <a:pt x="27" y="342"/>
                      <a:pt x="27" y="342"/>
                      <a:pt x="27" y="342"/>
                    </a:cubicBezTo>
                    <a:cubicBezTo>
                      <a:pt x="30" y="340"/>
                      <a:pt x="30" y="340"/>
                      <a:pt x="30" y="340"/>
                    </a:cubicBezTo>
                    <a:cubicBezTo>
                      <a:pt x="30" y="337"/>
                      <a:pt x="30" y="337"/>
                      <a:pt x="30" y="337"/>
                    </a:cubicBezTo>
                    <a:cubicBezTo>
                      <a:pt x="33" y="337"/>
                      <a:pt x="33" y="337"/>
                      <a:pt x="33" y="337"/>
                    </a:cubicBezTo>
                    <a:cubicBezTo>
                      <a:pt x="34" y="339"/>
                      <a:pt x="34" y="339"/>
                      <a:pt x="34" y="339"/>
                    </a:cubicBezTo>
                    <a:cubicBezTo>
                      <a:pt x="37" y="339"/>
                      <a:pt x="37" y="339"/>
                      <a:pt x="37" y="339"/>
                    </a:cubicBezTo>
                    <a:cubicBezTo>
                      <a:pt x="41" y="336"/>
                      <a:pt x="41" y="336"/>
                      <a:pt x="41" y="336"/>
                    </a:cubicBezTo>
                    <a:cubicBezTo>
                      <a:pt x="43" y="336"/>
                      <a:pt x="43" y="336"/>
                      <a:pt x="43" y="336"/>
                    </a:cubicBezTo>
                    <a:cubicBezTo>
                      <a:pt x="42" y="338"/>
                      <a:pt x="42" y="338"/>
                      <a:pt x="42" y="338"/>
                    </a:cubicBezTo>
                    <a:cubicBezTo>
                      <a:pt x="40" y="339"/>
                      <a:pt x="40" y="339"/>
                      <a:pt x="40" y="339"/>
                    </a:cubicBezTo>
                    <a:cubicBezTo>
                      <a:pt x="43" y="340"/>
                      <a:pt x="43" y="340"/>
                      <a:pt x="43" y="340"/>
                    </a:cubicBezTo>
                    <a:cubicBezTo>
                      <a:pt x="45" y="339"/>
                      <a:pt x="45" y="339"/>
                      <a:pt x="45" y="339"/>
                    </a:cubicBezTo>
                    <a:cubicBezTo>
                      <a:pt x="44" y="337"/>
                      <a:pt x="44" y="337"/>
                      <a:pt x="44" y="337"/>
                    </a:cubicBezTo>
                    <a:cubicBezTo>
                      <a:pt x="47" y="333"/>
                      <a:pt x="47" y="333"/>
                      <a:pt x="47" y="333"/>
                    </a:cubicBezTo>
                    <a:cubicBezTo>
                      <a:pt x="46" y="336"/>
                      <a:pt x="46" y="336"/>
                      <a:pt x="46" y="336"/>
                    </a:cubicBezTo>
                    <a:cubicBezTo>
                      <a:pt x="49" y="339"/>
                      <a:pt x="49" y="339"/>
                      <a:pt x="49" y="339"/>
                    </a:cubicBezTo>
                    <a:cubicBezTo>
                      <a:pt x="47" y="342"/>
                      <a:pt x="47" y="342"/>
                      <a:pt x="47" y="342"/>
                    </a:cubicBezTo>
                    <a:cubicBezTo>
                      <a:pt x="42" y="343"/>
                      <a:pt x="42" y="343"/>
                      <a:pt x="42" y="343"/>
                    </a:cubicBezTo>
                    <a:cubicBezTo>
                      <a:pt x="40" y="345"/>
                      <a:pt x="40" y="345"/>
                      <a:pt x="40" y="345"/>
                    </a:cubicBezTo>
                    <a:cubicBezTo>
                      <a:pt x="41" y="346"/>
                      <a:pt x="41" y="346"/>
                      <a:pt x="41" y="346"/>
                    </a:cubicBezTo>
                    <a:cubicBezTo>
                      <a:pt x="39" y="349"/>
                      <a:pt x="39" y="349"/>
                      <a:pt x="39" y="349"/>
                    </a:cubicBezTo>
                    <a:cubicBezTo>
                      <a:pt x="35" y="349"/>
                      <a:pt x="35" y="349"/>
                      <a:pt x="35" y="349"/>
                    </a:cubicBezTo>
                    <a:cubicBezTo>
                      <a:pt x="35" y="347"/>
                      <a:pt x="35" y="347"/>
                      <a:pt x="35" y="347"/>
                    </a:cubicBezTo>
                    <a:cubicBezTo>
                      <a:pt x="37" y="345"/>
                      <a:pt x="37" y="345"/>
                      <a:pt x="37" y="345"/>
                    </a:cubicBezTo>
                    <a:cubicBezTo>
                      <a:pt x="36" y="342"/>
                      <a:pt x="36" y="342"/>
                      <a:pt x="36" y="342"/>
                    </a:cubicBezTo>
                    <a:cubicBezTo>
                      <a:pt x="33" y="342"/>
                      <a:pt x="33" y="342"/>
                      <a:pt x="33" y="342"/>
                    </a:cubicBezTo>
                    <a:cubicBezTo>
                      <a:pt x="29" y="345"/>
                      <a:pt x="29" y="345"/>
                      <a:pt x="29" y="345"/>
                    </a:cubicBezTo>
                    <a:cubicBezTo>
                      <a:pt x="28" y="347"/>
                      <a:pt x="28" y="347"/>
                      <a:pt x="28" y="347"/>
                    </a:cubicBezTo>
                    <a:cubicBezTo>
                      <a:pt x="26" y="344"/>
                      <a:pt x="26" y="344"/>
                      <a:pt x="26" y="344"/>
                    </a:cubicBezTo>
                    <a:cubicBezTo>
                      <a:pt x="22" y="343"/>
                      <a:pt x="22" y="343"/>
                      <a:pt x="22" y="343"/>
                    </a:cubicBezTo>
                    <a:cubicBezTo>
                      <a:pt x="18" y="344"/>
                      <a:pt x="18" y="344"/>
                      <a:pt x="18" y="344"/>
                    </a:cubicBezTo>
                    <a:cubicBezTo>
                      <a:pt x="16" y="343"/>
                      <a:pt x="16" y="343"/>
                      <a:pt x="16" y="343"/>
                    </a:cubicBezTo>
                    <a:cubicBezTo>
                      <a:pt x="11" y="345"/>
                      <a:pt x="11" y="345"/>
                      <a:pt x="11" y="345"/>
                    </a:cubicBezTo>
                    <a:cubicBezTo>
                      <a:pt x="9" y="345"/>
                      <a:pt x="9" y="345"/>
                      <a:pt x="9" y="345"/>
                    </a:cubicBezTo>
                    <a:cubicBezTo>
                      <a:pt x="6" y="344"/>
                      <a:pt x="6" y="344"/>
                      <a:pt x="6" y="344"/>
                    </a:cubicBezTo>
                    <a:cubicBezTo>
                      <a:pt x="5" y="344"/>
                      <a:pt x="5" y="344"/>
                      <a:pt x="5" y="344"/>
                    </a:cubicBezTo>
                    <a:cubicBezTo>
                      <a:pt x="7" y="348"/>
                      <a:pt x="7" y="348"/>
                      <a:pt x="7" y="348"/>
                    </a:cubicBezTo>
                    <a:cubicBezTo>
                      <a:pt x="6" y="349"/>
                      <a:pt x="6" y="349"/>
                      <a:pt x="6" y="349"/>
                    </a:cubicBezTo>
                    <a:cubicBezTo>
                      <a:pt x="7" y="351"/>
                      <a:pt x="7" y="351"/>
                      <a:pt x="7" y="351"/>
                    </a:cubicBezTo>
                    <a:cubicBezTo>
                      <a:pt x="10" y="350"/>
                      <a:pt x="10" y="350"/>
                      <a:pt x="10" y="350"/>
                    </a:cubicBezTo>
                    <a:cubicBezTo>
                      <a:pt x="12" y="348"/>
                      <a:pt x="12" y="348"/>
                      <a:pt x="12" y="348"/>
                    </a:cubicBezTo>
                    <a:cubicBezTo>
                      <a:pt x="14" y="348"/>
                      <a:pt x="14" y="348"/>
                      <a:pt x="14" y="348"/>
                    </a:cubicBezTo>
                    <a:cubicBezTo>
                      <a:pt x="11" y="351"/>
                      <a:pt x="11" y="351"/>
                      <a:pt x="11" y="351"/>
                    </a:cubicBezTo>
                    <a:cubicBezTo>
                      <a:pt x="12" y="354"/>
                      <a:pt x="12" y="354"/>
                      <a:pt x="12" y="354"/>
                    </a:cubicBezTo>
                    <a:cubicBezTo>
                      <a:pt x="10" y="355"/>
                      <a:pt x="10" y="355"/>
                      <a:pt x="10" y="355"/>
                    </a:cubicBezTo>
                    <a:cubicBezTo>
                      <a:pt x="8" y="354"/>
                      <a:pt x="8" y="354"/>
                      <a:pt x="8" y="354"/>
                    </a:cubicBezTo>
                    <a:cubicBezTo>
                      <a:pt x="9" y="358"/>
                      <a:pt x="9" y="358"/>
                      <a:pt x="9" y="358"/>
                    </a:cubicBezTo>
                    <a:cubicBezTo>
                      <a:pt x="11" y="360"/>
                      <a:pt x="11" y="360"/>
                      <a:pt x="11" y="360"/>
                    </a:cubicBezTo>
                    <a:cubicBezTo>
                      <a:pt x="16" y="354"/>
                      <a:pt x="16" y="354"/>
                      <a:pt x="16" y="354"/>
                    </a:cubicBezTo>
                    <a:cubicBezTo>
                      <a:pt x="20" y="356"/>
                      <a:pt x="20" y="356"/>
                      <a:pt x="20" y="356"/>
                    </a:cubicBezTo>
                    <a:cubicBezTo>
                      <a:pt x="18" y="357"/>
                      <a:pt x="18" y="357"/>
                      <a:pt x="18" y="357"/>
                    </a:cubicBezTo>
                    <a:cubicBezTo>
                      <a:pt x="19" y="360"/>
                      <a:pt x="19" y="360"/>
                      <a:pt x="19" y="360"/>
                    </a:cubicBezTo>
                    <a:cubicBezTo>
                      <a:pt x="14" y="362"/>
                      <a:pt x="14" y="362"/>
                      <a:pt x="14" y="362"/>
                    </a:cubicBezTo>
                    <a:cubicBezTo>
                      <a:pt x="15" y="364"/>
                      <a:pt x="15" y="364"/>
                      <a:pt x="15" y="364"/>
                    </a:cubicBezTo>
                    <a:cubicBezTo>
                      <a:pt x="18" y="364"/>
                      <a:pt x="18" y="364"/>
                      <a:pt x="18" y="364"/>
                    </a:cubicBezTo>
                    <a:cubicBezTo>
                      <a:pt x="16" y="366"/>
                      <a:pt x="16" y="366"/>
                      <a:pt x="16" y="366"/>
                    </a:cubicBezTo>
                    <a:cubicBezTo>
                      <a:pt x="18" y="369"/>
                      <a:pt x="18" y="369"/>
                      <a:pt x="18" y="369"/>
                    </a:cubicBezTo>
                    <a:cubicBezTo>
                      <a:pt x="17" y="373"/>
                      <a:pt x="17" y="373"/>
                      <a:pt x="17" y="373"/>
                    </a:cubicBezTo>
                    <a:cubicBezTo>
                      <a:pt x="18" y="373"/>
                      <a:pt x="18" y="373"/>
                      <a:pt x="18" y="373"/>
                    </a:cubicBezTo>
                    <a:cubicBezTo>
                      <a:pt x="21" y="369"/>
                      <a:pt x="21" y="369"/>
                      <a:pt x="21" y="369"/>
                    </a:cubicBezTo>
                    <a:cubicBezTo>
                      <a:pt x="24" y="367"/>
                      <a:pt x="24" y="367"/>
                      <a:pt x="24" y="367"/>
                    </a:cubicBezTo>
                    <a:cubicBezTo>
                      <a:pt x="24" y="364"/>
                      <a:pt x="24" y="364"/>
                      <a:pt x="24" y="364"/>
                    </a:cubicBezTo>
                    <a:cubicBezTo>
                      <a:pt x="31" y="361"/>
                      <a:pt x="31" y="361"/>
                      <a:pt x="31" y="361"/>
                    </a:cubicBezTo>
                    <a:cubicBezTo>
                      <a:pt x="35" y="361"/>
                      <a:pt x="35" y="361"/>
                      <a:pt x="35" y="361"/>
                    </a:cubicBezTo>
                    <a:cubicBezTo>
                      <a:pt x="38" y="360"/>
                      <a:pt x="38" y="360"/>
                      <a:pt x="38" y="360"/>
                    </a:cubicBezTo>
                    <a:cubicBezTo>
                      <a:pt x="36" y="361"/>
                      <a:pt x="36" y="361"/>
                      <a:pt x="36" y="361"/>
                    </a:cubicBezTo>
                    <a:cubicBezTo>
                      <a:pt x="32" y="364"/>
                      <a:pt x="32" y="364"/>
                      <a:pt x="32" y="364"/>
                    </a:cubicBezTo>
                    <a:cubicBezTo>
                      <a:pt x="32" y="368"/>
                      <a:pt x="32" y="368"/>
                      <a:pt x="32" y="368"/>
                    </a:cubicBezTo>
                    <a:cubicBezTo>
                      <a:pt x="33" y="371"/>
                      <a:pt x="33" y="371"/>
                      <a:pt x="33" y="371"/>
                    </a:cubicBezTo>
                    <a:cubicBezTo>
                      <a:pt x="31" y="369"/>
                      <a:pt x="31" y="369"/>
                      <a:pt x="31" y="369"/>
                    </a:cubicBezTo>
                    <a:cubicBezTo>
                      <a:pt x="30" y="365"/>
                      <a:pt x="30" y="365"/>
                      <a:pt x="30" y="365"/>
                    </a:cubicBezTo>
                    <a:cubicBezTo>
                      <a:pt x="28" y="365"/>
                      <a:pt x="28" y="365"/>
                      <a:pt x="28" y="365"/>
                    </a:cubicBezTo>
                    <a:cubicBezTo>
                      <a:pt x="25" y="369"/>
                      <a:pt x="25" y="369"/>
                      <a:pt x="25" y="369"/>
                    </a:cubicBezTo>
                    <a:cubicBezTo>
                      <a:pt x="23" y="370"/>
                      <a:pt x="23" y="370"/>
                      <a:pt x="23" y="370"/>
                    </a:cubicBezTo>
                    <a:cubicBezTo>
                      <a:pt x="27" y="371"/>
                      <a:pt x="27" y="371"/>
                      <a:pt x="27" y="371"/>
                    </a:cubicBezTo>
                    <a:cubicBezTo>
                      <a:pt x="24" y="375"/>
                      <a:pt x="24" y="375"/>
                      <a:pt x="24" y="375"/>
                    </a:cubicBezTo>
                    <a:cubicBezTo>
                      <a:pt x="21" y="375"/>
                      <a:pt x="21" y="375"/>
                      <a:pt x="21" y="375"/>
                    </a:cubicBezTo>
                    <a:cubicBezTo>
                      <a:pt x="20" y="378"/>
                      <a:pt x="20" y="378"/>
                      <a:pt x="20" y="378"/>
                    </a:cubicBezTo>
                    <a:cubicBezTo>
                      <a:pt x="22" y="378"/>
                      <a:pt x="22" y="378"/>
                      <a:pt x="22" y="378"/>
                    </a:cubicBezTo>
                    <a:cubicBezTo>
                      <a:pt x="27" y="378"/>
                      <a:pt x="27" y="378"/>
                      <a:pt x="27" y="378"/>
                    </a:cubicBezTo>
                    <a:cubicBezTo>
                      <a:pt x="29" y="381"/>
                      <a:pt x="29" y="381"/>
                      <a:pt x="29" y="381"/>
                    </a:cubicBezTo>
                    <a:cubicBezTo>
                      <a:pt x="25" y="381"/>
                      <a:pt x="25" y="381"/>
                      <a:pt x="25" y="381"/>
                    </a:cubicBezTo>
                    <a:cubicBezTo>
                      <a:pt x="24" y="383"/>
                      <a:pt x="24" y="383"/>
                      <a:pt x="24" y="383"/>
                    </a:cubicBezTo>
                    <a:cubicBezTo>
                      <a:pt x="23" y="385"/>
                      <a:pt x="23" y="385"/>
                      <a:pt x="23" y="385"/>
                    </a:cubicBezTo>
                    <a:cubicBezTo>
                      <a:pt x="19" y="383"/>
                      <a:pt x="19" y="383"/>
                      <a:pt x="19" y="383"/>
                    </a:cubicBezTo>
                    <a:cubicBezTo>
                      <a:pt x="17" y="384"/>
                      <a:pt x="17" y="384"/>
                      <a:pt x="17" y="384"/>
                    </a:cubicBezTo>
                    <a:cubicBezTo>
                      <a:pt x="17" y="387"/>
                      <a:pt x="17" y="387"/>
                      <a:pt x="17" y="387"/>
                    </a:cubicBezTo>
                    <a:cubicBezTo>
                      <a:pt x="16" y="383"/>
                      <a:pt x="16" y="383"/>
                      <a:pt x="16" y="383"/>
                    </a:cubicBezTo>
                    <a:cubicBezTo>
                      <a:pt x="13" y="385"/>
                      <a:pt x="13" y="385"/>
                      <a:pt x="13" y="385"/>
                    </a:cubicBezTo>
                    <a:cubicBezTo>
                      <a:pt x="10" y="389"/>
                      <a:pt x="10" y="389"/>
                      <a:pt x="10" y="389"/>
                    </a:cubicBezTo>
                    <a:cubicBezTo>
                      <a:pt x="11" y="392"/>
                      <a:pt x="11" y="392"/>
                      <a:pt x="11" y="392"/>
                    </a:cubicBezTo>
                    <a:cubicBezTo>
                      <a:pt x="16" y="397"/>
                      <a:pt x="16" y="397"/>
                      <a:pt x="16" y="397"/>
                    </a:cubicBezTo>
                    <a:cubicBezTo>
                      <a:pt x="17" y="395"/>
                      <a:pt x="17" y="395"/>
                      <a:pt x="17" y="395"/>
                    </a:cubicBezTo>
                    <a:cubicBezTo>
                      <a:pt x="19" y="396"/>
                      <a:pt x="19" y="396"/>
                      <a:pt x="19" y="396"/>
                    </a:cubicBezTo>
                    <a:cubicBezTo>
                      <a:pt x="21" y="394"/>
                      <a:pt x="21" y="394"/>
                      <a:pt x="21" y="394"/>
                    </a:cubicBezTo>
                    <a:cubicBezTo>
                      <a:pt x="21" y="393"/>
                      <a:pt x="21" y="393"/>
                      <a:pt x="21" y="393"/>
                    </a:cubicBezTo>
                    <a:cubicBezTo>
                      <a:pt x="22" y="389"/>
                      <a:pt x="22" y="389"/>
                      <a:pt x="22" y="389"/>
                    </a:cubicBezTo>
                    <a:cubicBezTo>
                      <a:pt x="26" y="392"/>
                      <a:pt x="26" y="392"/>
                      <a:pt x="26" y="392"/>
                    </a:cubicBezTo>
                    <a:cubicBezTo>
                      <a:pt x="24" y="393"/>
                      <a:pt x="24" y="393"/>
                      <a:pt x="24" y="393"/>
                    </a:cubicBezTo>
                    <a:cubicBezTo>
                      <a:pt x="27" y="396"/>
                      <a:pt x="27" y="396"/>
                      <a:pt x="27" y="396"/>
                    </a:cubicBezTo>
                    <a:cubicBezTo>
                      <a:pt x="26" y="399"/>
                      <a:pt x="26" y="399"/>
                      <a:pt x="26" y="399"/>
                    </a:cubicBezTo>
                    <a:cubicBezTo>
                      <a:pt x="23" y="401"/>
                      <a:pt x="23" y="401"/>
                      <a:pt x="23" y="401"/>
                    </a:cubicBezTo>
                    <a:cubicBezTo>
                      <a:pt x="26" y="406"/>
                      <a:pt x="26" y="406"/>
                      <a:pt x="26" y="406"/>
                    </a:cubicBezTo>
                    <a:cubicBezTo>
                      <a:pt x="27" y="404"/>
                      <a:pt x="27" y="404"/>
                      <a:pt x="27" y="404"/>
                    </a:cubicBezTo>
                    <a:cubicBezTo>
                      <a:pt x="32" y="403"/>
                      <a:pt x="32" y="403"/>
                      <a:pt x="32" y="403"/>
                    </a:cubicBezTo>
                    <a:cubicBezTo>
                      <a:pt x="34" y="405"/>
                      <a:pt x="34" y="405"/>
                      <a:pt x="34" y="405"/>
                    </a:cubicBezTo>
                    <a:cubicBezTo>
                      <a:pt x="30" y="405"/>
                      <a:pt x="30" y="405"/>
                      <a:pt x="30" y="405"/>
                    </a:cubicBezTo>
                    <a:cubicBezTo>
                      <a:pt x="28" y="407"/>
                      <a:pt x="28" y="407"/>
                      <a:pt x="28" y="407"/>
                    </a:cubicBezTo>
                    <a:cubicBezTo>
                      <a:pt x="30" y="410"/>
                      <a:pt x="30" y="410"/>
                      <a:pt x="30" y="410"/>
                    </a:cubicBezTo>
                    <a:cubicBezTo>
                      <a:pt x="30" y="411"/>
                      <a:pt x="30" y="411"/>
                      <a:pt x="30" y="411"/>
                    </a:cubicBezTo>
                    <a:cubicBezTo>
                      <a:pt x="23" y="406"/>
                      <a:pt x="23" y="406"/>
                      <a:pt x="23" y="406"/>
                    </a:cubicBezTo>
                    <a:cubicBezTo>
                      <a:pt x="21" y="407"/>
                      <a:pt x="21" y="407"/>
                      <a:pt x="21" y="407"/>
                    </a:cubicBezTo>
                    <a:cubicBezTo>
                      <a:pt x="18" y="405"/>
                      <a:pt x="18" y="405"/>
                      <a:pt x="18" y="405"/>
                    </a:cubicBezTo>
                    <a:cubicBezTo>
                      <a:pt x="15" y="406"/>
                      <a:pt x="15" y="406"/>
                      <a:pt x="15" y="406"/>
                    </a:cubicBezTo>
                    <a:cubicBezTo>
                      <a:pt x="15" y="408"/>
                      <a:pt x="15" y="408"/>
                      <a:pt x="15" y="408"/>
                    </a:cubicBezTo>
                    <a:cubicBezTo>
                      <a:pt x="13" y="411"/>
                      <a:pt x="13" y="411"/>
                      <a:pt x="13" y="411"/>
                    </a:cubicBezTo>
                    <a:cubicBezTo>
                      <a:pt x="18" y="418"/>
                      <a:pt x="18" y="418"/>
                      <a:pt x="18" y="418"/>
                    </a:cubicBezTo>
                    <a:cubicBezTo>
                      <a:pt x="22" y="419"/>
                      <a:pt x="22" y="419"/>
                      <a:pt x="22" y="419"/>
                    </a:cubicBezTo>
                    <a:cubicBezTo>
                      <a:pt x="27" y="423"/>
                      <a:pt x="27" y="423"/>
                      <a:pt x="27" y="423"/>
                    </a:cubicBezTo>
                    <a:cubicBezTo>
                      <a:pt x="35" y="426"/>
                      <a:pt x="35" y="426"/>
                      <a:pt x="35" y="426"/>
                    </a:cubicBezTo>
                    <a:cubicBezTo>
                      <a:pt x="36" y="428"/>
                      <a:pt x="36" y="428"/>
                      <a:pt x="36" y="428"/>
                    </a:cubicBezTo>
                    <a:cubicBezTo>
                      <a:pt x="34" y="429"/>
                      <a:pt x="34" y="429"/>
                      <a:pt x="34" y="429"/>
                    </a:cubicBezTo>
                    <a:cubicBezTo>
                      <a:pt x="37" y="432"/>
                      <a:pt x="37" y="432"/>
                      <a:pt x="37" y="432"/>
                    </a:cubicBezTo>
                    <a:cubicBezTo>
                      <a:pt x="39" y="431"/>
                      <a:pt x="39" y="431"/>
                      <a:pt x="39" y="431"/>
                    </a:cubicBezTo>
                    <a:cubicBezTo>
                      <a:pt x="38" y="427"/>
                      <a:pt x="38" y="427"/>
                      <a:pt x="38" y="427"/>
                    </a:cubicBezTo>
                    <a:cubicBezTo>
                      <a:pt x="40" y="427"/>
                      <a:pt x="40" y="427"/>
                      <a:pt x="40" y="427"/>
                    </a:cubicBezTo>
                    <a:cubicBezTo>
                      <a:pt x="43" y="429"/>
                      <a:pt x="43" y="429"/>
                      <a:pt x="43" y="429"/>
                    </a:cubicBezTo>
                    <a:cubicBezTo>
                      <a:pt x="42" y="430"/>
                      <a:pt x="42" y="430"/>
                      <a:pt x="42" y="430"/>
                    </a:cubicBezTo>
                    <a:cubicBezTo>
                      <a:pt x="46" y="434"/>
                      <a:pt x="46" y="434"/>
                      <a:pt x="46" y="434"/>
                    </a:cubicBezTo>
                    <a:cubicBezTo>
                      <a:pt x="48" y="432"/>
                      <a:pt x="48" y="432"/>
                      <a:pt x="48" y="432"/>
                    </a:cubicBezTo>
                    <a:cubicBezTo>
                      <a:pt x="49" y="433"/>
                      <a:pt x="49" y="433"/>
                      <a:pt x="49" y="433"/>
                    </a:cubicBezTo>
                    <a:cubicBezTo>
                      <a:pt x="53" y="432"/>
                      <a:pt x="53" y="432"/>
                      <a:pt x="53" y="432"/>
                    </a:cubicBezTo>
                    <a:cubicBezTo>
                      <a:pt x="57" y="428"/>
                      <a:pt x="57" y="428"/>
                      <a:pt x="57" y="428"/>
                    </a:cubicBezTo>
                    <a:cubicBezTo>
                      <a:pt x="58" y="428"/>
                      <a:pt x="58" y="428"/>
                      <a:pt x="58" y="428"/>
                    </a:cubicBezTo>
                    <a:cubicBezTo>
                      <a:pt x="60" y="426"/>
                      <a:pt x="60" y="426"/>
                      <a:pt x="60" y="426"/>
                    </a:cubicBezTo>
                    <a:cubicBezTo>
                      <a:pt x="61" y="426"/>
                      <a:pt x="61" y="426"/>
                      <a:pt x="61" y="426"/>
                    </a:cubicBezTo>
                    <a:cubicBezTo>
                      <a:pt x="62" y="429"/>
                      <a:pt x="62" y="429"/>
                      <a:pt x="62" y="429"/>
                    </a:cubicBezTo>
                    <a:cubicBezTo>
                      <a:pt x="64" y="429"/>
                      <a:pt x="64" y="429"/>
                      <a:pt x="64" y="429"/>
                    </a:cubicBezTo>
                    <a:cubicBezTo>
                      <a:pt x="71" y="422"/>
                      <a:pt x="71" y="422"/>
                      <a:pt x="71" y="422"/>
                    </a:cubicBezTo>
                    <a:cubicBezTo>
                      <a:pt x="70" y="420"/>
                      <a:pt x="70" y="420"/>
                      <a:pt x="70" y="420"/>
                    </a:cubicBezTo>
                    <a:cubicBezTo>
                      <a:pt x="67" y="417"/>
                      <a:pt x="67" y="417"/>
                      <a:pt x="67" y="417"/>
                    </a:cubicBezTo>
                    <a:cubicBezTo>
                      <a:pt x="73" y="420"/>
                      <a:pt x="73" y="420"/>
                      <a:pt x="73" y="420"/>
                    </a:cubicBezTo>
                    <a:cubicBezTo>
                      <a:pt x="77" y="416"/>
                      <a:pt x="77" y="416"/>
                      <a:pt x="77" y="416"/>
                    </a:cubicBezTo>
                    <a:cubicBezTo>
                      <a:pt x="75" y="415"/>
                      <a:pt x="75" y="415"/>
                      <a:pt x="75" y="415"/>
                    </a:cubicBezTo>
                    <a:cubicBezTo>
                      <a:pt x="78" y="413"/>
                      <a:pt x="78" y="413"/>
                      <a:pt x="78" y="413"/>
                    </a:cubicBezTo>
                    <a:cubicBezTo>
                      <a:pt x="77" y="410"/>
                      <a:pt x="77" y="410"/>
                      <a:pt x="77" y="410"/>
                    </a:cubicBezTo>
                    <a:cubicBezTo>
                      <a:pt x="80" y="409"/>
                      <a:pt x="80" y="409"/>
                      <a:pt x="80" y="409"/>
                    </a:cubicBezTo>
                    <a:cubicBezTo>
                      <a:pt x="84" y="408"/>
                      <a:pt x="84" y="408"/>
                      <a:pt x="84" y="408"/>
                    </a:cubicBezTo>
                    <a:cubicBezTo>
                      <a:pt x="84" y="406"/>
                      <a:pt x="84" y="406"/>
                      <a:pt x="84" y="406"/>
                    </a:cubicBezTo>
                    <a:cubicBezTo>
                      <a:pt x="81" y="402"/>
                      <a:pt x="81" y="402"/>
                      <a:pt x="81" y="402"/>
                    </a:cubicBezTo>
                    <a:cubicBezTo>
                      <a:pt x="82" y="400"/>
                      <a:pt x="82" y="400"/>
                      <a:pt x="82" y="400"/>
                    </a:cubicBezTo>
                    <a:cubicBezTo>
                      <a:pt x="80" y="396"/>
                      <a:pt x="80" y="396"/>
                      <a:pt x="80" y="396"/>
                    </a:cubicBezTo>
                    <a:cubicBezTo>
                      <a:pt x="76" y="394"/>
                      <a:pt x="76" y="394"/>
                      <a:pt x="76" y="394"/>
                    </a:cubicBezTo>
                    <a:cubicBezTo>
                      <a:pt x="77" y="391"/>
                      <a:pt x="77" y="391"/>
                      <a:pt x="77" y="391"/>
                    </a:cubicBezTo>
                    <a:cubicBezTo>
                      <a:pt x="79" y="392"/>
                      <a:pt x="79" y="392"/>
                      <a:pt x="79" y="392"/>
                    </a:cubicBezTo>
                    <a:cubicBezTo>
                      <a:pt x="82" y="396"/>
                      <a:pt x="82" y="396"/>
                      <a:pt x="82" y="396"/>
                    </a:cubicBezTo>
                    <a:cubicBezTo>
                      <a:pt x="84" y="401"/>
                      <a:pt x="84" y="401"/>
                      <a:pt x="84" y="401"/>
                    </a:cubicBezTo>
                    <a:cubicBezTo>
                      <a:pt x="85" y="402"/>
                      <a:pt x="85" y="402"/>
                      <a:pt x="85" y="402"/>
                    </a:cubicBezTo>
                    <a:cubicBezTo>
                      <a:pt x="87" y="403"/>
                      <a:pt x="87" y="403"/>
                      <a:pt x="87" y="403"/>
                    </a:cubicBezTo>
                    <a:cubicBezTo>
                      <a:pt x="87" y="405"/>
                      <a:pt x="87" y="405"/>
                      <a:pt x="87" y="405"/>
                    </a:cubicBezTo>
                    <a:cubicBezTo>
                      <a:pt x="88" y="407"/>
                      <a:pt x="88" y="407"/>
                      <a:pt x="88" y="407"/>
                    </a:cubicBezTo>
                    <a:cubicBezTo>
                      <a:pt x="92" y="405"/>
                      <a:pt x="92" y="405"/>
                      <a:pt x="92" y="405"/>
                    </a:cubicBezTo>
                    <a:cubicBezTo>
                      <a:pt x="91" y="403"/>
                      <a:pt x="91" y="403"/>
                      <a:pt x="91" y="403"/>
                    </a:cubicBezTo>
                    <a:cubicBezTo>
                      <a:pt x="90" y="402"/>
                      <a:pt x="90" y="402"/>
                      <a:pt x="90" y="402"/>
                    </a:cubicBezTo>
                    <a:cubicBezTo>
                      <a:pt x="91" y="400"/>
                      <a:pt x="91" y="400"/>
                      <a:pt x="91" y="400"/>
                    </a:cubicBezTo>
                    <a:cubicBezTo>
                      <a:pt x="94" y="402"/>
                      <a:pt x="94" y="402"/>
                      <a:pt x="94" y="402"/>
                    </a:cubicBezTo>
                    <a:cubicBezTo>
                      <a:pt x="94" y="404"/>
                      <a:pt x="94" y="404"/>
                      <a:pt x="94" y="404"/>
                    </a:cubicBezTo>
                    <a:cubicBezTo>
                      <a:pt x="99" y="399"/>
                      <a:pt x="99" y="399"/>
                      <a:pt x="99" y="399"/>
                    </a:cubicBezTo>
                    <a:cubicBezTo>
                      <a:pt x="100" y="395"/>
                      <a:pt x="100" y="395"/>
                      <a:pt x="100" y="395"/>
                    </a:cubicBezTo>
                    <a:cubicBezTo>
                      <a:pt x="99" y="392"/>
                      <a:pt x="99" y="392"/>
                      <a:pt x="99" y="392"/>
                    </a:cubicBezTo>
                    <a:cubicBezTo>
                      <a:pt x="96" y="391"/>
                      <a:pt x="96" y="391"/>
                      <a:pt x="96" y="391"/>
                    </a:cubicBezTo>
                    <a:cubicBezTo>
                      <a:pt x="95" y="389"/>
                      <a:pt x="95" y="389"/>
                      <a:pt x="95" y="389"/>
                    </a:cubicBezTo>
                    <a:cubicBezTo>
                      <a:pt x="97" y="388"/>
                      <a:pt x="97" y="388"/>
                      <a:pt x="97" y="388"/>
                    </a:cubicBezTo>
                    <a:cubicBezTo>
                      <a:pt x="97" y="386"/>
                      <a:pt x="97" y="386"/>
                      <a:pt x="97" y="386"/>
                    </a:cubicBezTo>
                    <a:cubicBezTo>
                      <a:pt x="99" y="386"/>
                      <a:pt x="99" y="386"/>
                      <a:pt x="99" y="386"/>
                    </a:cubicBezTo>
                    <a:cubicBezTo>
                      <a:pt x="100" y="384"/>
                      <a:pt x="100" y="384"/>
                      <a:pt x="100" y="384"/>
                    </a:cubicBezTo>
                    <a:cubicBezTo>
                      <a:pt x="99" y="382"/>
                      <a:pt x="99" y="382"/>
                      <a:pt x="99" y="382"/>
                    </a:cubicBezTo>
                    <a:cubicBezTo>
                      <a:pt x="99" y="378"/>
                      <a:pt x="99" y="378"/>
                      <a:pt x="99" y="378"/>
                    </a:cubicBezTo>
                    <a:cubicBezTo>
                      <a:pt x="102" y="376"/>
                      <a:pt x="102" y="376"/>
                      <a:pt x="102" y="376"/>
                    </a:cubicBezTo>
                    <a:cubicBezTo>
                      <a:pt x="104" y="379"/>
                      <a:pt x="104" y="379"/>
                      <a:pt x="104" y="379"/>
                    </a:cubicBezTo>
                    <a:cubicBezTo>
                      <a:pt x="102" y="382"/>
                      <a:pt x="102" y="382"/>
                      <a:pt x="102" y="382"/>
                    </a:cubicBezTo>
                    <a:cubicBezTo>
                      <a:pt x="103" y="387"/>
                      <a:pt x="103" y="387"/>
                      <a:pt x="103" y="387"/>
                    </a:cubicBezTo>
                    <a:cubicBezTo>
                      <a:pt x="102" y="390"/>
                      <a:pt x="102" y="390"/>
                      <a:pt x="102" y="390"/>
                    </a:cubicBezTo>
                    <a:cubicBezTo>
                      <a:pt x="104" y="393"/>
                      <a:pt x="104" y="393"/>
                      <a:pt x="104" y="393"/>
                    </a:cubicBezTo>
                    <a:cubicBezTo>
                      <a:pt x="105" y="396"/>
                      <a:pt x="105" y="396"/>
                      <a:pt x="105" y="396"/>
                    </a:cubicBezTo>
                    <a:cubicBezTo>
                      <a:pt x="109" y="400"/>
                      <a:pt x="109" y="400"/>
                      <a:pt x="109" y="400"/>
                    </a:cubicBezTo>
                    <a:cubicBezTo>
                      <a:pt x="113" y="399"/>
                      <a:pt x="113" y="399"/>
                      <a:pt x="113" y="399"/>
                    </a:cubicBezTo>
                    <a:cubicBezTo>
                      <a:pt x="115" y="401"/>
                      <a:pt x="115" y="401"/>
                      <a:pt x="115" y="401"/>
                    </a:cubicBezTo>
                    <a:cubicBezTo>
                      <a:pt x="114" y="402"/>
                      <a:pt x="114" y="402"/>
                      <a:pt x="114" y="402"/>
                    </a:cubicBezTo>
                    <a:cubicBezTo>
                      <a:pt x="116" y="404"/>
                      <a:pt x="116" y="404"/>
                      <a:pt x="116" y="404"/>
                    </a:cubicBezTo>
                    <a:cubicBezTo>
                      <a:pt x="119" y="407"/>
                      <a:pt x="119" y="407"/>
                      <a:pt x="119" y="407"/>
                    </a:cubicBezTo>
                    <a:cubicBezTo>
                      <a:pt x="121" y="404"/>
                      <a:pt x="121" y="404"/>
                      <a:pt x="121" y="404"/>
                    </a:cubicBezTo>
                    <a:cubicBezTo>
                      <a:pt x="120" y="392"/>
                      <a:pt x="120" y="392"/>
                      <a:pt x="120" y="392"/>
                    </a:cubicBezTo>
                    <a:cubicBezTo>
                      <a:pt x="117" y="387"/>
                      <a:pt x="117" y="387"/>
                      <a:pt x="117" y="387"/>
                    </a:cubicBezTo>
                    <a:cubicBezTo>
                      <a:pt x="119" y="384"/>
                      <a:pt x="119" y="384"/>
                      <a:pt x="119" y="384"/>
                    </a:cubicBezTo>
                    <a:cubicBezTo>
                      <a:pt x="121" y="383"/>
                      <a:pt x="121" y="383"/>
                      <a:pt x="121" y="383"/>
                    </a:cubicBezTo>
                    <a:cubicBezTo>
                      <a:pt x="119" y="379"/>
                      <a:pt x="119" y="379"/>
                      <a:pt x="119" y="379"/>
                    </a:cubicBezTo>
                    <a:cubicBezTo>
                      <a:pt x="120" y="377"/>
                      <a:pt x="120" y="377"/>
                      <a:pt x="120" y="377"/>
                    </a:cubicBezTo>
                    <a:cubicBezTo>
                      <a:pt x="126" y="376"/>
                      <a:pt x="126" y="376"/>
                      <a:pt x="126" y="376"/>
                    </a:cubicBezTo>
                    <a:cubicBezTo>
                      <a:pt x="128" y="373"/>
                      <a:pt x="128" y="373"/>
                      <a:pt x="128" y="373"/>
                    </a:cubicBezTo>
                    <a:cubicBezTo>
                      <a:pt x="128" y="370"/>
                      <a:pt x="128" y="370"/>
                      <a:pt x="128" y="370"/>
                    </a:cubicBezTo>
                    <a:cubicBezTo>
                      <a:pt x="131" y="364"/>
                      <a:pt x="131" y="364"/>
                      <a:pt x="131" y="364"/>
                    </a:cubicBezTo>
                    <a:cubicBezTo>
                      <a:pt x="128" y="360"/>
                      <a:pt x="128" y="360"/>
                      <a:pt x="128" y="360"/>
                    </a:cubicBezTo>
                    <a:cubicBezTo>
                      <a:pt x="126" y="352"/>
                      <a:pt x="126" y="352"/>
                      <a:pt x="126" y="352"/>
                    </a:cubicBezTo>
                    <a:cubicBezTo>
                      <a:pt x="123" y="345"/>
                      <a:pt x="123" y="345"/>
                      <a:pt x="123" y="345"/>
                    </a:cubicBezTo>
                    <a:cubicBezTo>
                      <a:pt x="123" y="342"/>
                      <a:pt x="123" y="342"/>
                      <a:pt x="123" y="342"/>
                    </a:cubicBezTo>
                    <a:cubicBezTo>
                      <a:pt x="132" y="339"/>
                      <a:pt x="132" y="339"/>
                      <a:pt x="132" y="339"/>
                    </a:cubicBezTo>
                    <a:cubicBezTo>
                      <a:pt x="132" y="333"/>
                      <a:pt x="132" y="333"/>
                      <a:pt x="132" y="333"/>
                    </a:cubicBezTo>
                    <a:cubicBezTo>
                      <a:pt x="134" y="329"/>
                      <a:pt x="134" y="329"/>
                      <a:pt x="134" y="329"/>
                    </a:cubicBezTo>
                    <a:cubicBezTo>
                      <a:pt x="127" y="322"/>
                      <a:pt x="127" y="322"/>
                      <a:pt x="127" y="322"/>
                    </a:cubicBezTo>
                    <a:cubicBezTo>
                      <a:pt x="122" y="319"/>
                      <a:pt x="122" y="319"/>
                      <a:pt x="122" y="319"/>
                    </a:cubicBezTo>
                    <a:cubicBezTo>
                      <a:pt x="121" y="312"/>
                      <a:pt x="121" y="312"/>
                      <a:pt x="121" y="312"/>
                    </a:cubicBezTo>
                    <a:cubicBezTo>
                      <a:pt x="123" y="305"/>
                      <a:pt x="123" y="305"/>
                      <a:pt x="123" y="305"/>
                    </a:cubicBezTo>
                    <a:cubicBezTo>
                      <a:pt x="122" y="298"/>
                      <a:pt x="122" y="298"/>
                      <a:pt x="122" y="298"/>
                    </a:cubicBezTo>
                    <a:cubicBezTo>
                      <a:pt x="119" y="293"/>
                      <a:pt x="119" y="293"/>
                      <a:pt x="119" y="293"/>
                    </a:cubicBezTo>
                    <a:cubicBezTo>
                      <a:pt x="121" y="287"/>
                      <a:pt x="121" y="287"/>
                      <a:pt x="121" y="287"/>
                    </a:cubicBezTo>
                    <a:cubicBezTo>
                      <a:pt x="120" y="277"/>
                      <a:pt x="120" y="277"/>
                      <a:pt x="120" y="277"/>
                    </a:cubicBezTo>
                    <a:cubicBezTo>
                      <a:pt x="118" y="268"/>
                      <a:pt x="118" y="268"/>
                      <a:pt x="118" y="268"/>
                    </a:cubicBezTo>
                    <a:cubicBezTo>
                      <a:pt x="120" y="260"/>
                      <a:pt x="120" y="260"/>
                      <a:pt x="120" y="260"/>
                    </a:cubicBezTo>
                    <a:cubicBezTo>
                      <a:pt x="124" y="252"/>
                      <a:pt x="124" y="252"/>
                      <a:pt x="124" y="252"/>
                    </a:cubicBezTo>
                    <a:cubicBezTo>
                      <a:pt x="128" y="250"/>
                      <a:pt x="128" y="250"/>
                      <a:pt x="128" y="250"/>
                    </a:cubicBezTo>
                    <a:cubicBezTo>
                      <a:pt x="133" y="251"/>
                      <a:pt x="133" y="251"/>
                      <a:pt x="133" y="251"/>
                    </a:cubicBezTo>
                    <a:cubicBezTo>
                      <a:pt x="140" y="251"/>
                      <a:pt x="140" y="251"/>
                      <a:pt x="140" y="251"/>
                    </a:cubicBezTo>
                    <a:cubicBezTo>
                      <a:pt x="143" y="247"/>
                      <a:pt x="143" y="247"/>
                      <a:pt x="143" y="247"/>
                    </a:cubicBezTo>
                    <a:cubicBezTo>
                      <a:pt x="142" y="240"/>
                      <a:pt x="142" y="240"/>
                      <a:pt x="142" y="240"/>
                    </a:cubicBezTo>
                    <a:cubicBezTo>
                      <a:pt x="141" y="237"/>
                      <a:pt x="141" y="237"/>
                      <a:pt x="141" y="237"/>
                    </a:cubicBezTo>
                    <a:cubicBezTo>
                      <a:pt x="141" y="233"/>
                      <a:pt x="141" y="233"/>
                      <a:pt x="141" y="233"/>
                    </a:cubicBezTo>
                    <a:cubicBezTo>
                      <a:pt x="147" y="217"/>
                      <a:pt x="147" y="217"/>
                      <a:pt x="147" y="217"/>
                    </a:cubicBezTo>
                    <a:cubicBezTo>
                      <a:pt x="148" y="208"/>
                      <a:pt x="148" y="208"/>
                      <a:pt x="148" y="208"/>
                    </a:cubicBezTo>
                    <a:cubicBezTo>
                      <a:pt x="150" y="200"/>
                      <a:pt x="150" y="200"/>
                      <a:pt x="150" y="200"/>
                    </a:cubicBezTo>
                    <a:cubicBezTo>
                      <a:pt x="152" y="195"/>
                      <a:pt x="152" y="195"/>
                      <a:pt x="152" y="195"/>
                    </a:cubicBezTo>
                    <a:cubicBezTo>
                      <a:pt x="151" y="190"/>
                      <a:pt x="151" y="190"/>
                      <a:pt x="151" y="190"/>
                    </a:cubicBezTo>
                    <a:cubicBezTo>
                      <a:pt x="149" y="187"/>
                      <a:pt x="149" y="187"/>
                      <a:pt x="149" y="187"/>
                    </a:cubicBezTo>
                    <a:cubicBezTo>
                      <a:pt x="149" y="184"/>
                      <a:pt x="149" y="184"/>
                      <a:pt x="149" y="184"/>
                    </a:cubicBezTo>
                    <a:cubicBezTo>
                      <a:pt x="155" y="180"/>
                      <a:pt x="155" y="180"/>
                      <a:pt x="155" y="180"/>
                    </a:cubicBezTo>
                    <a:cubicBezTo>
                      <a:pt x="161" y="179"/>
                      <a:pt x="161" y="179"/>
                      <a:pt x="161" y="179"/>
                    </a:cubicBezTo>
                    <a:cubicBezTo>
                      <a:pt x="165" y="176"/>
                      <a:pt x="165" y="176"/>
                      <a:pt x="165" y="176"/>
                    </a:cubicBezTo>
                    <a:cubicBezTo>
                      <a:pt x="165" y="172"/>
                      <a:pt x="165" y="172"/>
                      <a:pt x="165" y="172"/>
                    </a:cubicBezTo>
                    <a:cubicBezTo>
                      <a:pt x="170" y="163"/>
                      <a:pt x="170" y="163"/>
                      <a:pt x="170" y="163"/>
                    </a:cubicBezTo>
                    <a:cubicBezTo>
                      <a:pt x="175" y="156"/>
                      <a:pt x="175" y="156"/>
                      <a:pt x="175" y="156"/>
                    </a:cubicBezTo>
                    <a:cubicBezTo>
                      <a:pt x="177" y="152"/>
                      <a:pt x="177" y="152"/>
                      <a:pt x="177" y="152"/>
                    </a:cubicBezTo>
                    <a:cubicBezTo>
                      <a:pt x="175" y="146"/>
                      <a:pt x="175" y="146"/>
                      <a:pt x="175" y="146"/>
                    </a:cubicBezTo>
                    <a:cubicBezTo>
                      <a:pt x="173" y="144"/>
                      <a:pt x="173" y="144"/>
                      <a:pt x="173" y="144"/>
                    </a:cubicBezTo>
                    <a:cubicBezTo>
                      <a:pt x="173" y="136"/>
                      <a:pt x="173" y="136"/>
                      <a:pt x="173" y="136"/>
                    </a:cubicBezTo>
                    <a:cubicBezTo>
                      <a:pt x="175" y="134"/>
                      <a:pt x="175" y="134"/>
                      <a:pt x="175" y="134"/>
                    </a:cubicBezTo>
                    <a:cubicBezTo>
                      <a:pt x="178" y="131"/>
                      <a:pt x="178" y="131"/>
                      <a:pt x="178" y="131"/>
                    </a:cubicBezTo>
                    <a:cubicBezTo>
                      <a:pt x="179" y="127"/>
                      <a:pt x="179" y="127"/>
                      <a:pt x="179" y="127"/>
                    </a:cubicBezTo>
                    <a:cubicBezTo>
                      <a:pt x="181" y="125"/>
                      <a:pt x="181" y="125"/>
                      <a:pt x="181" y="125"/>
                    </a:cubicBezTo>
                    <a:cubicBezTo>
                      <a:pt x="184" y="119"/>
                      <a:pt x="184" y="119"/>
                      <a:pt x="184" y="119"/>
                    </a:cubicBezTo>
                    <a:cubicBezTo>
                      <a:pt x="188" y="116"/>
                      <a:pt x="188" y="116"/>
                      <a:pt x="188" y="116"/>
                    </a:cubicBezTo>
                    <a:cubicBezTo>
                      <a:pt x="193" y="118"/>
                      <a:pt x="193" y="118"/>
                      <a:pt x="193" y="118"/>
                    </a:cubicBezTo>
                    <a:cubicBezTo>
                      <a:pt x="194" y="120"/>
                      <a:pt x="194" y="120"/>
                      <a:pt x="194" y="120"/>
                    </a:cubicBezTo>
                    <a:cubicBezTo>
                      <a:pt x="197" y="120"/>
                      <a:pt x="197" y="120"/>
                      <a:pt x="197" y="120"/>
                    </a:cubicBezTo>
                    <a:cubicBezTo>
                      <a:pt x="200" y="117"/>
                      <a:pt x="200" y="117"/>
                      <a:pt x="200" y="117"/>
                    </a:cubicBezTo>
                    <a:cubicBezTo>
                      <a:pt x="197" y="113"/>
                      <a:pt x="197" y="113"/>
                      <a:pt x="197" y="113"/>
                    </a:cubicBezTo>
                    <a:cubicBezTo>
                      <a:pt x="200" y="111"/>
                      <a:pt x="200" y="111"/>
                      <a:pt x="200" y="111"/>
                    </a:cubicBezTo>
                    <a:cubicBezTo>
                      <a:pt x="200" y="109"/>
                      <a:pt x="200" y="109"/>
                      <a:pt x="200" y="109"/>
                    </a:cubicBezTo>
                    <a:cubicBezTo>
                      <a:pt x="201" y="107"/>
                      <a:pt x="201" y="107"/>
                      <a:pt x="201" y="107"/>
                    </a:cubicBezTo>
                    <a:cubicBezTo>
                      <a:pt x="198" y="103"/>
                      <a:pt x="198" y="103"/>
                      <a:pt x="198" y="103"/>
                    </a:cubicBezTo>
                    <a:cubicBezTo>
                      <a:pt x="200" y="101"/>
                      <a:pt x="200" y="101"/>
                      <a:pt x="200" y="101"/>
                    </a:cubicBezTo>
                    <a:cubicBezTo>
                      <a:pt x="205" y="102"/>
                      <a:pt x="205" y="102"/>
                      <a:pt x="205" y="102"/>
                    </a:cubicBezTo>
                    <a:cubicBezTo>
                      <a:pt x="209" y="99"/>
                      <a:pt x="209" y="99"/>
                      <a:pt x="209" y="99"/>
                    </a:cubicBezTo>
                    <a:cubicBezTo>
                      <a:pt x="216" y="101"/>
                      <a:pt x="216" y="101"/>
                      <a:pt x="216" y="101"/>
                    </a:cubicBezTo>
                    <a:cubicBezTo>
                      <a:pt x="220" y="104"/>
                      <a:pt x="220" y="104"/>
                      <a:pt x="220" y="104"/>
                    </a:cubicBezTo>
                    <a:cubicBezTo>
                      <a:pt x="224" y="104"/>
                      <a:pt x="224" y="104"/>
                      <a:pt x="224" y="104"/>
                    </a:cubicBezTo>
                    <a:cubicBezTo>
                      <a:pt x="226" y="106"/>
                      <a:pt x="226" y="106"/>
                      <a:pt x="226" y="106"/>
                    </a:cubicBezTo>
                    <a:cubicBezTo>
                      <a:pt x="228" y="105"/>
                      <a:pt x="228" y="105"/>
                      <a:pt x="228" y="105"/>
                    </a:cubicBezTo>
                    <a:cubicBezTo>
                      <a:pt x="230" y="106"/>
                      <a:pt x="230" y="106"/>
                      <a:pt x="230" y="106"/>
                    </a:cubicBezTo>
                    <a:cubicBezTo>
                      <a:pt x="230" y="102"/>
                      <a:pt x="230" y="102"/>
                      <a:pt x="230" y="102"/>
                    </a:cubicBezTo>
                    <a:cubicBezTo>
                      <a:pt x="228" y="99"/>
                      <a:pt x="228" y="99"/>
                      <a:pt x="228" y="99"/>
                    </a:cubicBezTo>
                    <a:cubicBezTo>
                      <a:pt x="229" y="93"/>
                      <a:pt x="229" y="93"/>
                      <a:pt x="229" y="93"/>
                    </a:cubicBezTo>
                    <a:cubicBezTo>
                      <a:pt x="232" y="92"/>
                      <a:pt x="232" y="92"/>
                      <a:pt x="232" y="92"/>
                    </a:cubicBezTo>
                    <a:cubicBezTo>
                      <a:pt x="231" y="88"/>
                      <a:pt x="231" y="88"/>
                      <a:pt x="231" y="88"/>
                    </a:cubicBezTo>
                    <a:cubicBezTo>
                      <a:pt x="228" y="86"/>
                      <a:pt x="228" y="86"/>
                      <a:pt x="228" y="86"/>
                    </a:cubicBezTo>
                    <a:cubicBezTo>
                      <a:pt x="227" y="82"/>
                      <a:pt x="227" y="82"/>
                      <a:pt x="227" y="82"/>
                    </a:cubicBezTo>
                    <a:cubicBezTo>
                      <a:pt x="232" y="84"/>
                      <a:pt x="232" y="84"/>
                      <a:pt x="232" y="84"/>
                    </a:cubicBezTo>
                    <a:cubicBezTo>
                      <a:pt x="236" y="83"/>
                      <a:pt x="236" y="83"/>
                      <a:pt x="236" y="83"/>
                    </a:cubicBezTo>
                    <a:cubicBezTo>
                      <a:pt x="238" y="82"/>
                      <a:pt x="238" y="82"/>
                      <a:pt x="238" y="82"/>
                    </a:cubicBezTo>
                    <a:cubicBezTo>
                      <a:pt x="238" y="82"/>
                      <a:pt x="238" y="82"/>
                      <a:pt x="238" y="82"/>
                    </a:cubicBezTo>
                    <a:cubicBezTo>
                      <a:pt x="238" y="81"/>
                      <a:pt x="238" y="81"/>
                      <a:pt x="238" y="81"/>
                    </a:cubicBezTo>
                    <a:cubicBezTo>
                      <a:pt x="240" y="82"/>
                      <a:pt x="240" y="82"/>
                      <a:pt x="240" y="82"/>
                    </a:cubicBezTo>
                    <a:cubicBezTo>
                      <a:pt x="241" y="81"/>
                      <a:pt x="241" y="81"/>
                      <a:pt x="241" y="81"/>
                    </a:cubicBezTo>
                    <a:cubicBezTo>
                      <a:pt x="240" y="78"/>
                      <a:pt x="240" y="78"/>
                      <a:pt x="240" y="78"/>
                    </a:cubicBezTo>
                    <a:cubicBezTo>
                      <a:pt x="241" y="75"/>
                      <a:pt x="241" y="75"/>
                      <a:pt x="241" y="75"/>
                    </a:cubicBezTo>
                    <a:cubicBezTo>
                      <a:pt x="243" y="73"/>
                      <a:pt x="243" y="73"/>
                      <a:pt x="243" y="73"/>
                    </a:cubicBezTo>
                    <a:cubicBezTo>
                      <a:pt x="247" y="73"/>
                      <a:pt x="247" y="73"/>
                      <a:pt x="247" y="73"/>
                    </a:cubicBezTo>
                    <a:cubicBezTo>
                      <a:pt x="250" y="78"/>
                      <a:pt x="250" y="78"/>
                      <a:pt x="250" y="78"/>
                    </a:cubicBezTo>
                    <a:cubicBezTo>
                      <a:pt x="258" y="84"/>
                      <a:pt x="258" y="84"/>
                      <a:pt x="258" y="84"/>
                    </a:cubicBezTo>
                    <a:cubicBezTo>
                      <a:pt x="260" y="88"/>
                      <a:pt x="260" y="88"/>
                      <a:pt x="260" y="88"/>
                    </a:cubicBezTo>
                    <a:cubicBezTo>
                      <a:pt x="263" y="92"/>
                      <a:pt x="263" y="92"/>
                      <a:pt x="263" y="92"/>
                    </a:cubicBezTo>
                    <a:cubicBezTo>
                      <a:pt x="268" y="94"/>
                      <a:pt x="268" y="94"/>
                      <a:pt x="268" y="94"/>
                    </a:cubicBezTo>
                    <a:cubicBezTo>
                      <a:pt x="277" y="94"/>
                      <a:pt x="277" y="94"/>
                      <a:pt x="277" y="94"/>
                    </a:cubicBezTo>
                    <a:cubicBezTo>
                      <a:pt x="282" y="90"/>
                      <a:pt x="282" y="90"/>
                      <a:pt x="282" y="90"/>
                    </a:cubicBezTo>
                    <a:cubicBezTo>
                      <a:pt x="284" y="87"/>
                      <a:pt x="284" y="87"/>
                      <a:pt x="284" y="87"/>
                    </a:cubicBezTo>
                    <a:cubicBezTo>
                      <a:pt x="288" y="87"/>
                      <a:pt x="288" y="87"/>
                      <a:pt x="288" y="87"/>
                    </a:cubicBezTo>
                    <a:cubicBezTo>
                      <a:pt x="295" y="92"/>
                      <a:pt x="295" y="92"/>
                      <a:pt x="295" y="92"/>
                    </a:cubicBezTo>
                    <a:cubicBezTo>
                      <a:pt x="299" y="92"/>
                      <a:pt x="299" y="92"/>
                      <a:pt x="299" y="92"/>
                    </a:cubicBezTo>
                    <a:cubicBezTo>
                      <a:pt x="301" y="88"/>
                      <a:pt x="301" y="88"/>
                      <a:pt x="301" y="88"/>
                    </a:cubicBezTo>
                    <a:cubicBezTo>
                      <a:pt x="304" y="87"/>
                      <a:pt x="304" y="87"/>
                      <a:pt x="304" y="87"/>
                    </a:cubicBezTo>
                    <a:cubicBezTo>
                      <a:pt x="307" y="84"/>
                      <a:pt x="307" y="84"/>
                      <a:pt x="307" y="84"/>
                    </a:cubicBezTo>
                    <a:cubicBezTo>
                      <a:pt x="310" y="84"/>
                      <a:pt x="310" y="84"/>
                      <a:pt x="310" y="84"/>
                    </a:cubicBezTo>
                    <a:cubicBezTo>
                      <a:pt x="314" y="82"/>
                      <a:pt x="314" y="82"/>
                      <a:pt x="314" y="82"/>
                    </a:cubicBezTo>
                    <a:cubicBezTo>
                      <a:pt x="315" y="80"/>
                      <a:pt x="315" y="80"/>
                      <a:pt x="315" y="80"/>
                    </a:cubicBezTo>
                    <a:cubicBezTo>
                      <a:pt x="314" y="77"/>
                      <a:pt x="314" y="77"/>
                      <a:pt x="314" y="77"/>
                    </a:cubicBezTo>
                    <a:cubicBezTo>
                      <a:pt x="312" y="71"/>
                      <a:pt x="312" y="71"/>
                      <a:pt x="312" y="71"/>
                    </a:cubicBezTo>
                    <a:cubicBezTo>
                      <a:pt x="313" y="62"/>
                      <a:pt x="313" y="62"/>
                      <a:pt x="313" y="62"/>
                    </a:cubicBezTo>
                    <a:cubicBezTo>
                      <a:pt x="314" y="59"/>
                      <a:pt x="314" y="59"/>
                      <a:pt x="314" y="59"/>
                    </a:cubicBezTo>
                    <a:cubicBezTo>
                      <a:pt x="312" y="56"/>
                      <a:pt x="312" y="56"/>
                      <a:pt x="312" y="56"/>
                    </a:cubicBezTo>
                    <a:cubicBezTo>
                      <a:pt x="314" y="54"/>
                      <a:pt x="314" y="54"/>
                      <a:pt x="314" y="54"/>
                    </a:cubicBezTo>
                    <a:cubicBezTo>
                      <a:pt x="317" y="50"/>
                      <a:pt x="317" y="50"/>
                      <a:pt x="317" y="50"/>
                    </a:cubicBezTo>
                    <a:cubicBezTo>
                      <a:pt x="317" y="48"/>
                      <a:pt x="317" y="48"/>
                      <a:pt x="317" y="48"/>
                    </a:cubicBezTo>
                    <a:cubicBezTo>
                      <a:pt x="321" y="47"/>
                      <a:pt x="321" y="47"/>
                      <a:pt x="321" y="47"/>
                    </a:cubicBezTo>
                    <a:cubicBezTo>
                      <a:pt x="326" y="48"/>
                      <a:pt x="326" y="48"/>
                      <a:pt x="326" y="48"/>
                    </a:cubicBezTo>
                    <a:cubicBezTo>
                      <a:pt x="329" y="47"/>
                      <a:pt x="329" y="47"/>
                      <a:pt x="329" y="47"/>
                    </a:cubicBezTo>
                    <a:cubicBezTo>
                      <a:pt x="329" y="45"/>
                      <a:pt x="329" y="45"/>
                      <a:pt x="329" y="45"/>
                    </a:cubicBezTo>
                    <a:cubicBezTo>
                      <a:pt x="332" y="42"/>
                      <a:pt x="332" y="42"/>
                      <a:pt x="332" y="42"/>
                    </a:cubicBezTo>
                    <a:cubicBezTo>
                      <a:pt x="340" y="42"/>
                      <a:pt x="340" y="42"/>
                      <a:pt x="340" y="42"/>
                    </a:cubicBezTo>
                    <a:cubicBezTo>
                      <a:pt x="344" y="44"/>
                      <a:pt x="344" y="44"/>
                      <a:pt x="344" y="44"/>
                    </a:cubicBezTo>
                    <a:cubicBezTo>
                      <a:pt x="348" y="50"/>
                      <a:pt x="348" y="50"/>
                      <a:pt x="348" y="50"/>
                    </a:cubicBezTo>
                    <a:cubicBezTo>
                      <a:pt x="351" y="53"/>
                      <a:pt x="351" y="53"/>
                      <a:pt x="351" y="53"/>
                    </a:cubicBezTo>
                    <a:cubicBezTo>
                      <a:pt x="355" y="54"/>
                      <a:pt x="355" y="54"/>
                      <a:pt x="355" y="54"/>
                    </a:cubicBezTo>
                    <a:cubicBezTo>
                      <a:pt x="362" y="55"/>
                      <a:pt x="362" y="55"/>
                      <a:pt x="362" y="55"/>
                    </a:cubicBezTo>
                    <a:cubicBezTo>
                      <a:pt x="363" y="58"/>
                      <a:pt x="363" y="58"/>
                      <a:pt x="363" y="58"/>
                    </a:cubicBezTo>
                    <a:cubicBezTo>
                      <a:pt x="367" y="62"/>
                      <a:pt x="367" y="62"/>
                      <a:pt x="367" y="62"/>
                    </a:cubicBezTo>
                    <a:cubicBezTo>
                      <a:pt x="366" y="65"/>
                      <a:pt x="366" y="65"/>
                      <a:pt x="366" y="65"/>
                    </a:cubicBezTo>
                    <a:cubicBezTo>
                      <a:pt x="363" y="71"/>
                      <a:pt x="363" y="71"/>
                      <a:pt x="363" y="71"/>
                    </a:cubicBezTo>
                    <a:cubicBezTo>
                      <a:pt x="363" y="78"/>
                      <a:pt x="363" y="78"/>
                      <a:pt x="363" y="78"/>
                    </a:cubicBezTo>
                    <a:close/>
                    <a:moveTo>
                      <a:pt x="17" y="400"/>
                    </a:moveTo>
                    <a:cubicBezTo>
                      <a:pt x="20" y="402"/>
                      <a:pt x="20" y="402"/>
                      <a:pt x="20" y="402"/>
                    </a:cubicBezTo>
                    <a:cubicBezTo>
                      <a:pt x="17" y="403"/>
                      <a:pt x="17" y="403"/>
                      <a:pt x="17" y="403"/>
                    </a:cubicBezTo>
                    <a:cubicBezTo>
                      <a:pt x="17" y="400"/>
                      <a:pt x="17" y="400"/>
                      <a:pt x="17" y="400"/>
                    </a:cubicBezTo>
                    <a:close/>
                    <a:moveTo>
                      <a:pt x="9" y="379"/>
                    </a:moveTo>
                    <a:cubicBezTo>
                      <a:pt x="11" y="378"/>
                      <a:pt x="11" y="378"/>
                      <a:pt x="11" y="378"/>
                    </a:cubicBezTo>
                    <a:cubicBezTo>
                      <a:pt x="13" y="380"/>
                      <a:pt x="13" y="380"/>
                      <a:pt x="13" y="380"/>
                    </a:cubicBezTo>
                    <a:cubicBezTo>
                      <a:pt x="12" y="383"/>
                      <a:pt x="12" y="383"/>
                      <a:pt x="12" y="383"/>
                    </a:cubicBezTo>
                    <a:cubicBezTo>
                      <a:pt x="9" y="379"/>
                      <a:pt x="9" y="379"/>
                      <a:pt x="9" y="379"/>
                    </a:cubicBezTo>
                    <a:close/>
                    <a:moveTo>
                      <a:pt x="15" y="372"/>
                    </a:moveTo>
                    <a:cubicBezTo>
                      <a:pt x="15" y="375"/>
                      <a:pt x="15" y="375"/>
                      <a:pt x="15" y="375"/>
                    </a:cubicBezTo>
                    <a:cubicBezTo>
                      <a:pt x="14" y="375"/>
                      <a:pt x="14" y="375"/>
                      <a:pt x="14" y="375"/>
                    </a:cubicBezTo>
                    <a:cubicBezTo>
                      <a:pt x="15" y="372"/>
                      <a:pt x="15" y="372"/>
                      <a:pt x="15" y="372"/>
                    </a:cubicBezTo>
                    <a:close/>
                    <a:moveTo>
                      <a:pt x="12" y="370"/>
                    </a:moveTo>
                    <a:cubicBezTo>
                      <a:pt x="12" y="373"/>
                      <a:pt x="12" y="373"/>
                      <a:pt x="12" y="373"/>
                    </a:cubicBezTo>
                    <a:cubicBezTo>
                      <a:pt x="9" y="373"/>
                      <a:pt x="9" y="373"/>
                      <a:pt x="9" y="373"/>
                    </a:cubicBezTo>
                    <a:cubicBezTo>
                      <a:pt x="12" y="370"/>
                      <a:pt x="12" y="370"/>
                      <a:pt x="12" y="370"/>
                    </a:cubicBezTo>
                    <a:close/>
                    <a:moveTo>
                      <a:pt x="5" y="356"/>
                    </a:moveTo>
                    <a:cubicBezTo>
                      <a:pt x="3" y="354"/>
                      <a:pt x="3" y="354"/>
                      <a:pt x="3" y="354"/>
                    </a:cubicBezTo>
                    <a:cubicBezTo>
                      <a:pt x="5" y="352"/>
                      <a:pt x="5" y="352"/>
                      <a:pt x="5" y="352"/>
                    </a:cubicBezTo>
                    <a:cubicBezTo>
                      <a:pt x="5" y="356"/>
                      <a:pt x="5" y="356"/>
                      <a:pt x="5" y="356"/>
                    </a:cubicBezTo>
                    <a:close/>
                    <a:moveTo>
                      <a:pt x="4" y="359"/>
                    </a:moveTo>
                    <a:cubicBezTo>
                      <a:pt x="7" y="359"/>
                      <a:pt x="7" y="359"/>
                      <a:pt x="7" y="359"/>
                    </a:cubicBezTo>
                    <a:cubicBezTo>
                      <a:pt x="5" y="361"/>
                      <a:pt x="5" y="361"/>
                      <a:pt x="5" y="361"/>
                    </a:cubicBezTo>
                    <a:cubicBezTo>
                      <a:pt x="4" y="359"/>
                      <a:pt x="4" y="359"/>
                      <a:pt x="4" y="359"/>
                    </a:cubicBezTo>
                    <a:close/>
                    <a:moveTo>
                      <a:pt x="11" y="362"/>
                    </a:moveTo>
                    <a:cubicBezTo>
                      <a:pt x="14" y="366"/>
                      <a:pt x="14" y="366"/>
                      <a:pt x="14" y="366"/>
                    </a:cubicBezTo>
                    <a:cubicBezTo>
                      <a:pt x="13" y="369"/>
                      <a:pt x="13" y="369"/>
                      <a:pt x="13" y="369"/>
                    </a:cubicBezTo>
                    <a:cubicBezTo>
                      <a:pt x="11" y="362"/>
                      <a:pt x="11" y="362"/>
                      <a:pt x="11" y="362"/>
                    </a:cubicBezTo>
                    <a:close/>
                    <a:moveTo>
                      <a:pt x="6" y="367"/>
                    </a:moveTo>
                    <a:cubicBezTo>
                      <a:pt x="3" y="364"/>
                      <a:pt x="3" y="364"/>
                      <a:pt x="3" y="364"/>
                    </a:cubicBezTo>
                    <a:cubicBezTo>
                      <a:pt x="7" y="363"/>
                      <a:pt x="7" y="363"/>
                      <a:pt x="7" y="363"/>
                    </a:cubicBezTo>
                    <a:cubicBezTo>
                      <a:pt x="6" y="367"/>
                      <a:pt x="6" y="367"/>
                      <a:pt x="6" y="367"/>
                    </a:cubicBezTo>
                    <a:close/>
                    <a:moveTo>
                      <a:pt x="3" y="345"/>
                    </a:moveTo>
                    <a:cubicBezTo>
                      <a:pt x="0" y="348"/>
                      <a:pt x="0" y="348"/>
                      <a:pt x="0" y="348"/>
                    </a:cubicBezTo>
                    <a:cubicBezTo>
                      <a:pt x="2" y="349"/>
                      <a:pt x="2" y="349"/>
                      <a:pt x="2" y="349"/>
                    </a:cubicBezTo>
                    <a:cubicBezTo>
                      <a:pt x="4" y="347"/>
                      <a:pt x="4" y="347"/>
                      <a:pt x="4" y="347"/>
                    </a:cubicBezTo>
                    <a:cubicBezTo>
                      <a:pt x="3" y="345"/>
                      <a:pt x="3" y="345"/>
                      <a:pt x="3" y="345"/>
                    </a:cubicBezTo>
                    <a:close/>
                    <a:moveTo>
                      <a:pt x="2" y="320"/>
                    </a:moveTo>
                    <a:cubicBezTo>
                      <a:pt x="6" y="322"/>
                      <a:pt x="6" y="322"/>
                      <a:pt x="6" y="322"/>
                    </a:cubicBezTo>
                    <a:cubicBezTo>
                      <a:pt x="3" y="322"/>
                      <a:pt x="3" y="322"/>
                      <a:pt x="3" y="322"/>
                    </a:cubicBezTo>
                    <a:cubicBezTo>
                      <a:pt x="2" y="320"/>
                      <a:pt x="2" y="320"/>
                      <a:pt x="2" y="320"/>
                    </a:cubicBezTo>
                    <a:close/>
                    <a:moveTo>
                      <a:pt x="3" y="313"/>
                    </a:moveTo>
                    <a:cubicBezTo>
                      <a:pt x="7" y="315"/>
                      <a:pt x="7" y="315"/>
                      <a:pt x="7" y="315"/>
                    </a:cubicBezTo>
                    <a:cubicBezTo>
                      <a:pt x="5" y="318"/>
                      <a:pt x="5" y="318"/>
                      <a:pt x="5" y="318"/>
                    </a:cubicBezTo>
                    <a:cubicBezTo>
                      <a:pt x="3" y="313"/>
                      <a:pt x="3" y="313"/>
                      <a:pt x="3" y="313"/>
                    </a:cubicBezTo>
                    <a:close/>
                    <a:moveTo>
                      <a:pt x="14" y="306"/>
                    </a:moveTo>
                    <a:cubicBezTo>
                      <a:pt x="15" y="309"/>
                      <a:pt x="15" y="309"/>
                      <a:pt x="15" y="309"/>
                    </a:cubicBezTo>
                    <a:cubicBezTo>
                      <a:pt x="12" y="309"/>
                      <a:pt x="12" y="309"/>
                      <a:pt x="12" y="309"/>
                    </a:cubicBezTo>
                    <a:cubicBezTo>
                      <a:pt x="14" y="306"/>
                      <a:pt x="14" y="306"/>
                      <a:pt x="14" y="306"/>
                    </a:cubicBezTo>
                    <a:close/>
                    <a:moveTo>
                      <a:pt x="17" y="303"/>
                    </a:moveTo>
                    <a:cubicBezTo>
                      <a:pt x="20" y="304"/>
                      <a:pt x="20" y="304"/>
                      <a:pt x="20" y="304"/>
                    </a:cubicBezTo>
                    <a:cubicBezTo>
                      <a:pt x="22" y="306"/>
                      <a:pt x="22" y="306"/>
                      <a:pt x="22" y="306"/>
                    </a:cubicBezTo>
                    <a:cubicBezTo>
                      <a:pt x="18" y="309"/>
                      <a:pt x="18" y="309"/>
                      <a:pt x="18" y="309"/>
                    </a:cubicBezTo>
                    <a:cubicBezTo>
                      <a:pt x="17" y="303"/>
                      <a:pt x="17" y="303"/>
                      <a:pt x="17" y="303"/>
                    </a:cubicBezTo>
                    <a:close/>
                    <a:moveTo>
                      <a:pt x="52" y="280"/>
                    </a:moveTo>
                    <a:cubicBezTo>
                      <a:pt x="55" y="277"/>
                      <a:pt x="55" y="277"/>
                      <a:pt x="55" y="277"/>
                    </a:cubicBezTo>
                    <a:cubicBezTo>
                      <a:pt x="56" y="281"/>
                      <a:pt x="56" y="281"/>
                      <a:pt x="56" y="281"/>
                    </a:cubicBezTo>
                    <a:cubicBezTo>
                      <a:pt x="54" y="282"/>
                      <a:pt x="54" y="282"/>
                      <a:pt x="54" y="282"/>
                    </a:cubicBezTo>
                    <a:cubicBezTo>
                      <a:pt x="52" y="280"/>
                      <a:pt x="52" y="280"/>
                      <a:pt x="52" y="280"/>
                    </a:cubicBezTo>
                    <a:close/>
                    <a:moveTo>
                      <a:pt x="53" y="274"/>
                    </a:moveTo>
                    <a:cubicBezTo>
                      <a:pt x="51" y="276"/>
                      <a:pt x="51" y="276"/>
                      <a:pt x="51" y="276"/>
                    </a:cubicBezTo>
                    <a:cubicBezTo>
                      <a:pt x="48" y="272"/>
                      <a:pt x="48" y="272"/>
                      <a:pt x="48" y="272"/>
                    </a:cubicBezTo>
                    <a:cubicBezTo>
                      <a:pt x="52" y="272"/>
                      <a:pt x="52" y="272"/>
                      <a:pt x="52" y="272"/>
                    </a:cubicBezTo>
                    <a:cubicBezTo>
                      <a:pt x="53" y="274"/>
                      <a:pt x="53" y="274"/>
                      <a:pt x="53" y="274"/>
                    </a:cubicBezTo>
                    <a:close/>
                    <a:moveTo>
                      <a:pt x="56" y="267"/>
                    </a:moveTo>
                    <a:cubicBezTo>
                      <a:pt x="62" y="261"/>
                      <a:pt x="62" y="261"/>
                      <a:pt x="62" y="261"/>
                    </a:cubicBezTo>
                    <a:cubicBezTo>
                      <a:pt x="65" y="264"/>
                      <a:pt x="65" y="264"/>
                      <a:pt x="65" y="264"/>
                    </a:cubicBezTo>
                    <a:cubicBezTo>
                      <a:pt x="61" y="266"/>
                      <a:pt x="61" y="266"/>
                      <a:pt x="61" y="266"/>
                    </a:cubicBezTo>
                    <a:cubicBezTo>
                      <a:pt x="56" y="267"/>
                      <a:pt x="56" y="267"/>
                      <a:pt x="56" y="267"/>
                    </a:cubicBezTo>
                    <a:close/>
                    <a:moveTo>
                      <a:pt x="57" y="274"/>
                    </a:moveTo>
                    <a:cubicBezTo>
                      <a:pt x="60" y="269"/>
                      <a:pt x="60" y="269"/>
                      <a:pt x="60" y="269"/>
                    </a:cubicBezTo>
                    <a:cubicBezTo>
                      <a:pt x="64" y="269"/>
                      <a:pt x="64" y="269"/>
                      <a:pt x="64" y="269"/>
                    </a:cubicBezTo>
                    <a:cubicBezTo>
                      <a:pt x="65" y="267"/>
                      <a:pt x="65" y="267"/>
                      <a:pt x="65" y="267"/>
                    </a:cubicBezTo>
                    <a:cubicBezTo>
                      <a:pt x="68" y="267"/>
                      <a:pt x="68" y="267"/>
                      <a:pt x="68" y="267"/>
                    </a:cubicBezTo>
                    <a:cubicBezTo>
                      <a:pt x="70" y="269"/>
                      <a:pt x="70" y="269"/>
                      <a:pt x="70" y="269"/>
                    </a:cubicBezTo>
                    <a:cubicBezTo>
                      <a:pt x="67" y="273"/>
                      <a:pt x="67" y="273"/>
                      <a:pt x="67" y="273"/>
                    </a:cubicBezTo>
                    <a:cubicBezTo>
                      <a:pt x="63" y="272"/>
                      <a:pt x="63" y="272"/>
                      <a:pt x="63" y="272"/>
                    </a:cubicBezTo>
                    <a:cubicBezTo>
                      <a:pt x="60" y="274"/>
                      <a:pt x="60" y="274"/>
                      <a:pt x="60" y="274"/>
                    </a:cubicBezTo>
                    <a:cubicBezTo>
                      <a:pt x="57" y="274"/>
                      <a:pt x="57" y="274"/>
                      <a:pt x="57" y="274"/>
                    </a:cubicBezTo>
                    <a:close/>
                    <a:moveTo>
                      <a:pt x="107" y="221"/>
                    </a:moveTo>
                    <a:cubicBezTo>
                      <a:pt x="109" y="218"/>
                      <a:pt x="109" y="218"/>
                      <a:pt x="109" y="218"/>
                    </a:cubicBezTo>
                    <a:cubicBezTo>
                      <a:pt x="114" y="217"/>
                      <a:pt x="114" y="217"/>
                      <a:pt x="114" y="217"/>
                    </a:cubicBezTo>
                    <a:cubicBezTo>
                      <a:pt x="110" y="222"/>
                      <a:pt x="110" y="222"/>
                      <a:pt x="110" y="222"/>
                    </a:cubicBezTo>
                    <a:cubicBezTo>
                      <a:pt x="107" y="221"/>
                      <a:pt x="107" y="221"/>
                      <a:pt x="107" y="221"/>
                    </a:cubicBezTo>
                    <a:close/>
                    <a:moveTo>
                      <a:pt x="103" y="230"/>
                    </a:moveTo>
                    <a:cubicBezTo>
                      <a:pt x="102" y="228"/>
                      <a:pt x="102" y="228"/>
                      <a:pt x="102" y="228"/>
                    </a:cubicBezTo>
                    <a:cubicBezTo>
                      <a:pt x="98" y="228"/>
                      <a:pt x="98" y="228"/>
                      <a:pt x="98" y="228"/>
                    </a:cubicBezTo>
                    <a:cubicBezTo>
                      <a:pt x="101" y="225"/>
                      <a:pt x="101" y="225"/>
                      <a:pt x="101" y="225"/>
                    </a:cubicBezTo>
                    <a:cubicBezTo>
                      <a:pt x="107" y="224"/>
                      <a:pt x="107" y="224"/>
                      <a:pt x="107" y="224"/>
                    </a:cubicBezTo>
                    <a:cubicBezTo>
                      <a:pt x="110" y="223"/>
                      <a:pt x="110" y="223"/>
                      <a:pt x="110" y="223"/>
                    </a:cubicBezTo>
                    <a:cubicBezTo>
                      <a:pt x="105" y="228"/>
                      <a:pt x="105" y="228"/>
                      <a:pt x="105" y="228"/>
                    </a:cubicBezTo>
                    <a:cubicBezTo>
                      <a:pt x="103" y="230"/>
                      <a:pt x="103" y="230"/>
                      <a:pt x="103" y="230"/>
                    </a:cubicBezTo>
                    <a:close/>
                    <a:moveTo>
                      <a:pt x="113" y="199"/>
                    </a:moveTo>
                    <a:cubicBezTo>
                      <a:pt x="114" y="200"/>
                      <a:pt x="114" y="200"/>
                      <a:pt x="114" y="200"/>
                    </a:cubicBezTo>
                    <a:cubicBezTo>
                      <a:pt x="114" y="202"/>
                      <a:pt x="114" y="202"/>
                      <a:pt x="114" y="202"/>
                    </a:cubicBezTo>
                    <a:cubicBezTo>
                      <a:pt x="112" y="204"/>
                      <a:pt x="112" y="204"/>
                      <a:pt x="112" y="204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13" y="199"/>
                      <a:pt x="113" y="199"/>
                      <a:pt x="113" y="199"/>
                    </a:cubicBezTo>
                    <a:close/>
                    <a:moveTo>
                      <a:pt x="120" y="192"/>
                    </a:moveTo>
                    <a:cubicBezTo>
                      <a:pt x="122" y="190"/>
                      <a:pt x="122" y="190"/>
                      <a:pt x="122" y="190"/>
                    </a:cubicBezTo>
                    <a:cubicBezTo>
                      <a:pt x="125" y="190"/>
                      <a:pt x="125" y="190"/>
                      <a:pt x="125" y="190"/>
                    </a:cubicBezTo>
                    <a:cubicBezTo>
                      <a:pt x="121" y="194"/>
                      <a:pt x="121" y="194"/>
                      <a:pt x="121" y="194"/>
                    </a:cubicBezTo>
                    <a:cubicBezTo>
                      <a:pt x="120" y="192"/>
                      <a:pt x="120" y="192"/>
                      <a:pt x="120" y="192"/>
                    </a:cubicBezTo>
                    <a:close/>
                    <a:moveTo>
                      <a:pt x="117" y="185"/>
                    </a:moveTo>
                    <a:cubicBezTo>
                      <a:pt x="121" y="181"/>
                      <a:pt x="121" y="181"/>
                      <a:pt x="121" y="181"/>
                    </a:cubicBezTo>
                    <a:cubicBezTo>
                      <a:pt x="122" y="185"/>
                      <a:pt x="122" y="185"/>
                      <a:pt x="122" y="185"/>
                    </a:cubicBezTo>
                    <a:cubicBezTo>
                      <a:pt x="119" y="190"/>
                      <a:pt x="119" y="190"/>
                      <a:pt x="119" y="190"/>
                    </a:cubicBezTo>
                    <a:cubicBezTo>
                      <a:pt x="117" y="185"/>
                      <a:pt x="117" y="185"/>
                      <a:pt x="117" y="185"/>
                    </a:cubicBezTo>
                    <a:close/>
                    <a:moveTo>
                      <a:pt x="141" y="152"/>
                    </a:moveTo>
                    <a:cubicBezTo>
                      <a:pt x="142" y="150"/>
                      <a:pt x="142" y="150"/>
                      <a:pt x="142" y="150"/>
                    </a:cubicBezTo>
                    <a:cubicBezTo>
                      <a:pt x="145" y="150"/>
                      <a:pt x="145" y="150"/>
                      <a:pt x="145" y="150"/>
                    </a:cubicBezTo>
                    <a:cubicBezTo>
                      <a:pt x="143" y="153"/>
                      <a:pt x="143" y="153"/>
                      <a:pt x="143" y="153"/>
                    </a:cubicBezTo>
                    <a:cubicBezTo>
                      <a:pt x="141" y="152"/>
                      <a:pt x="141" y="152"/>
                      <a:pt x="141" y="152"/>
                    </a:cubicBezTo>
                    <a:close/>
                    <a:moveTo>
                      <a:pt x="118" y="133"/>
                    </a:moveTo>
                    <a:cubicBezTo>
                      <a:pt x="120" y="134"/>
                      <a:pt x="120" y="134"/>
                      <a:pt x="120" y="134"/>
                    </a:cubicBezTo>
                    <a:cubicBezTo>
                      <a:pt x="119" y="136"/>
                      <a:pt x="119" y="136"/>
                      <a:pt x="119" y="136"/>
                    </a:cubicBezTo>
                    <a:cubicBezTo>
                      <a:pt x="117" y="135"/>
                      <a:pt x="117" y="135"/>
                      <a:pt x="117" y="135"/>
                    </a:cubicBezTo>
                    <a:cubicBezTo>
                      <a:pt x="118" y="133"/>
                      <a:pt x="118" y="133"/>
                      <a:pt x="118" y="133"/>
                    </a:cubicBezTo>
                    <a:close/>
                    <a:moveTo>
                      <a:pt x="125" y="123"/>
                    </a:moveTo>
                    <a:cubicBezTo>
                      <a:pt x="120" y="127"/>
                      <a:pt x="120" y="127"/>
                      <a:pt x="120" y="127"/>
                    </a:cubicBezTo>
                    <a:cubicBezTo>
                      <a:pt x="120" y="124"/>
                      <a:pt x="120" y="124"/>
                      <a:pt x="120" y="124"/>
                    </a:cubicBezTo>
                    <a:cubicBezTo>
                      <a:pt x="124" y="118"/>
                      <a:pt x="124" y="118"/>
                      <a:pt x="124" y="118"/>
                    </a:cubicBezTo>
                    <a:cubicBezTo>
                      <a:pt x="125" y="123"/>
                      <a:pt x="125" y="123"/>
                      <a:pt x="125" y="123"/>
                    </a:cubicBezTo>
                    <a:close/>
                    <a:moveTo>
                      <a:pt x="127" y="120"/>
                    </a:moveTo>
                    <a:cubicBezTo>
                      <a:pt x="126" y="118"/>
                      <a:pt x="126" y="118"/>
                      <a:pt x="126" y="118"/>
                    </a:cubicBezTo>
                    <a:cubicBezTo>
                      <a:pt x="127" y="116"/>
                      <a:pt x="127" y="116"/>
                      <a:pt x="127" y="116"/>
                    </a:cubicBezTo>
                    <a:cubicBezTo>
                      <a:pt x="129" y="117"/>
                      <a:pt x="129" y="117"/>
                      <a:pt x="129" y="117"/>
                    </a:cubicBezTo>
                    <a:cubicBezTo>
                      <a:pt x="127" y="120"/>
                      <a:pt x="127" y="120"/>
                      <a:pt x="127" y="120"/>
                    </a:cubicBezTo>
                    <a:close/>
                    <a:moveTo>
                      <a:pt x="138" y="112"/>
                    </a:moveTo>
                    <a:cubicBezTo>
                      <a:pt x="138" y="115"/>
                      <a:pt x="138" y="115"/>
                      <a:pt x="138" y="115"/>
                    </a:cubicBezTo>
                    <a:cubicBezTo>
                      <a:pt x="131" y="120"/>
                      <a:pt x="131" y="120"/>
                      <a:pt x="131" y="120"/>
                    </a:cubicBezTo>
                    <a:cubicBezTo>
                      <a:pt x="132" y="114"/>
                      <a:pt x="132" y="114"/>
                      <a:pt x="132" y="114"/>
                    </a:cubicBezTo>
                    <a:cubicBezTo>
                      <a:pt x="138" y="112"/>
                      <a:pt x="138" y="112"/>
                      <a:pt x="138" y="112"/>
                    </a:cubicBezTo>
                    <a:close/>
                    <a:moveTo>
                      <a:pt x="145" y="104"/>
                    </a:moveTo>
                    <a:cubicBezTo>
                      <a:pt x="147" y="101"/>
                      <a:pt x="147" y="101"/>
                      <a:pt x="147" y="101"/>
                    </a:cubicBezTo>
                    <a:cubicBezTo>
                      <a:pt x="150" y="103"/>
                      <a:pt x="150" y="103"/>
                      <a:pt x="150" y="103"/>
                    </a:cubicBezTo>
                    <a:cubicBezTo>
                      <a:pt x="145" y="104"/>
                      <a:pt x="145" y="104"/>
                      <a:pt x="145" y="104"/>
                    </a:cubicBezTo>
                    <a:close/>
                    <a:moveTo>
                      <a:pt x="150" y="105"/>
                    </a:moveTo>
                    <a:cubicBezTo>
                      <a:pt x="149" y="113"/>
                      <a:pt x="149" y="113"/>
                      <a:pt x="149" y="113"/>
                    </a:cubicBezTo>
                    <a:cubicBezTo>
                      <a:pt x="145" y="111"/>
                      <a:pt x="145" y="111"/>
                      <a:pt x="145" y="111"/>
                    </a:cubicBezTo>
                    <a:cubicBezTo>
                      <a:pt x="140" y="114"/>
                      <a:pt x="140" y="114"/>
                      <a:pt x="140" y="114"/>
                    </a:cubicBezTo>
                    <a:cubicBezTo>
                      <a:pt x="141" y="111"/>
                      <a:pt x="141" y="111"/>
                      <a:pt x="141" y="111"/>
                    </a:cubicBezTo>
                    <a:cubicBezTo>
                      <a:pt x="150" y="105"/>
                      <a:pt x="150" y="105"/>
                      <a:pt x="150" y="105"/>
                    </a:cubicBezTo>
                    <a:close/>
                    <a:moveTo>
                      <a:pt x="152" y="87"/>
                    </a:moveTo>
                    <a:cubicBezTo>
                      <a:pt x="153" y="92"/>
                      <a:pt x="153" y="92"/>
                      <a:pt x="153" y="92"/>
                    </a:cubicBezTo>
                    <a:cubicBezTo>
                      <a:pt x="154" y="99"/>
                      <a:pt x="154" y="99"/>
                      <a:pt x="154" y="99"/>
                    </a:cubicBezTo>
                    <a:cubicBezTo>
                      <a:pt x="148" y="100"/>
                      <a:pt x="148" y="100"/>
                      <a:pt x="148" y="100"/>
                    </a:cubicBezTo>
                    <a:cubicBezTo>
                      <a:pt x="146" y="98"/>
                      <a:pt x="146" y="98"/>
                      <a:pt x="146" y="98"/>
                    </a:cubicBezTo>
                    <a:cubicBezTo>
                      <a:pt x="151" y="95"/>
                      <a:pt x="151" y="95"/>
                      <a:pt x="151" y="95"/>
                    </a:cubicBezTo>
                    <a:cubicBezTo>
                      <a:pt x="148" y="95"/>
                      <a:pt x="148" y="95"/>
                      <a:pt x="148" y="95"/>
                    </a:cubicBezTo>
                    <a:cubicBezTo>
                      <a:pt x="144" y="99"/>
                      <a:pt x="144" y="99"/>
                      <a:pt x="144" y="99"/>
                    </a:cubicBezTo>
                    <a:cubicBezTo>
                      <a:pt x="142" y="96"/>
                      <a:pt x="142" y="96"/>
                      <a:pt x="142" y="96"/>
                    </a:cubicBezTo>
                    <a:cubicBezTo>
                      <a:pt x="143" y="93"/>
                      <a:pt x="143" y="93"/>
                      <a:pt x="143" y="93"/>
                    </a:cubicBezTo>
                    <a:cubicBezTo>
                      <a:pt x="147" y="93"/>
                      <a:pt x="147" y="93"/>
                      <a:pt x="147" y="93"/>
                    </a:cubicBezTo>
                    <a:cubicBezTo>
                      <a:pt x="150" y="90"/>
                      <a:pt x="150" y="90"/>
                      <a:pt x="150" y="90"/>
                    </a:cubicBezTo>
                    <a:cubicBezTo>
                      <a:pt x="150" y="88"/>
                      <a:pt x="150" y="88"/>
                      <a:pt x="150" y="88"/>
                    </a:cubicBezTo>
                    <a:cubicBezTo>
                      <a:pt x="152" y="87"/>
                      <a:pt x="152" y="87"/>
                      <a:pt x="152" y="87"/>
                    </a:cubicBezTo>
                    <a:close/>
                    <a:moveTo>
                      <a:pt x="156" y="90"/>
                    </a:moveTo>
                    <a:cubicBezTo>
                      <a:pt x="154" y="88"/>
                      <a:pt x="154" y="88"/>
                      <a:pt x="154" y="88"/>
                    </a:cubicBezTo>
                    <a:cubicBezTo>
                      <a:pt x="155" y="83"/>
                      <a:pt x="155" y="83"/>
                      <a:pt x="155" y="83"/>
                    </a:cubicBezTo>
                    <a:cubicBezTo>
                      <a:pt x="160" y="79"/>
                      <a:pt x="160" y="79"/>
                      <a:pt x="160" y="79"/>
                    </a:cubicBezTo>
                    <a:cubicBezTo>
                      <a:pt x="160" y="76"/>
                      <a:pt x="160" y="76"/>
                      <a:pt x="160" y="76"/>
                    </a:cubicBezTo>
                    <a:cubicBezTo>
                      <a:pt x="165" y="74"/>
                      <a:pt x="165" y="74"/>
                      <a:pt x="165" y="74"/>
                    </a:cubicBezTo>
                    <a:cubicBezTo>
                      <a:pt x="166" y="77"/>
                      <a:pt x="166" y="77"/>
                      <a:pt x="166" y="77"/>
                    </a:cubicBezTo>
                    <a:cubicBezTo>
                      <a:pt x="162" y="80"/>
                      <a:pt x="162" y="80"/>
                      <a:pt x="162" y="80"/>
                    </a:cubicBezTo>
                    <a:cubicBezTo>
                      <a:pt x="161" y="84"/>
                      <a:pt x="161" y="84"/>
                      <a:pt x="161" y="84"/>
                    </a:cubicBezTo>
                    <a:cubicBezTo>
                      <a:pt x="156" y="90"/>
                      <a:pt x="156" y="90"/>
                      <a:pt x="156" y="90"/>
                    </a:cubicBezTo>
                    <a:close/>
                    <a:moveTo>
                      <a:pt x="169" y="92"/>
                    </a:moveTo>
                    <a:cubicBezTo>
                      <a:pt x="174" y="96"/>
                      <a:pt x="174" y="96"/>
                      <a:pt x="174" y="96"/>
                    </a:cubicBezTo>
                    <a:cubicBezTo>
                      <a:pt x="167" y="103"/>
                      <a:pt x="167" y="103"/>
                      <a:pt x="167" y="103"/>
                    </a:cubicBezTo>
                    <a:cubicBezTo>
                      <a:pt x="163" y="106"/>
                      <a:pt x="163" y="106"/>
                      <a:pt x="163" y="106"/>
                    </a:cubicBezTo>
                    <a:cubicBezTo>
                      <a:pt x="161" y="109"/>
                      <a:pt x="161" y="109"/>
                      <a:pt x="161" y="109"/>
                    </a:cubicBezTo>
                    <a:cubicBezTo>
                      <a:pt x="158" y="108"/>
                      <a:pt x="158" y="108"/>
                      <a:pt x="158" y="108"/>
                    </a:cubicBezTo>
                    <a:cubicBezTo>
                      <a:pt x="159" y="104"/>
                      <a:pt x="159" y="104"/>
                      <a:pt x="159" y="104"/>
                    </a:cubicBezTo>
                    <a:cubicBezTo>
                      <a:pt x="154" y="110"/>
                      <a:pt x="154" y="110"/>
                      <a:pt x="154" y="110"/>
                    </a:cubicBezTo>
                    <a:cubicBezTo>
                      <a:pt x="152" y="110"/>
                      <a:pt x="152" y="110"/>
                      <a:pt x="152" y="110"/>
                    </a:cubicBezTo>
                    <a:cubicBezTo>
                      <a:pt x="153" y="105"/>
                      <a:pt x="153" y="105"/>
                      <a:pt x="153" y="105"/>
                    </a:cubicBezTo>
                    <a:cubicBezTo>
                      <a:pt x="155" y="104"/>
                      <a:pt x="155" y="104"/>
                      <a:pt x="155" y="104"/>
                    </a:cubicBezTo>
                    <a:cubicBezTo>
                      <a:pt x="154" y="101"/>
                      <a:pt x="154" y="101"/>
                      <a:pt x="154" y="101"/>
                    </a:cubicBezTo>
                    <a:cubicBezTo>
                      <a:pt x="157" y="98"/>
                      <a:pt x="157" y="98"/>
                      <a:pt x="157" y="98"/>
                    </a:cubicBezTo>
                    <a:cubicBezTo>
                      <a:pt x="157" y="94"/>
                      <a:pt x="157" y="94"/>
                      <a:pt x="157" y="94"/>
                    </a:cubicBezTo>
                    <a:cubicBezTo>
                      <a:pt x="162" y="87"/>
                      <a:pt x="162" y="87"/>
                      <a:pt x="162" y="87"/>
                    </a:cubicBezTo>
                    <a:cubicBezTo>
                      <a:pt x="159" y="97"/>
                      <a:pt x="159" y="97"/>
                      <a:pt x="159" y="97"/>
                    </a:cubicBezTo>
                    <a:cubicBezTo>
                      <a:pt x="160" y="101"/>
                      <a:pt x="160" y="101"/>
                      <a:pt x="160" y="101"/>
                    </a:cubicBezTo>
                    <a:cubicBezTo>
                      <a:pt x="163" y="96"/>
                      <a:pt x="163" y="96"/>
                      <a:pt x="163" y="96"/>
                    </a:cubicBezTo>
                    <a:cubicBezTo>
                      <a:pt x="169" y="96"/>
                      <a:pt x="169" y="96"/>
                      <a:pt x="169" y="96"/>
                    </a:cubicBezTo>
                    <a:cubicBezTo>
                      <a:pt x="167" y="93"/>
                      <a:pt x="167" y="93"/>
                      <a:pt x="167" y="93"/>
                    </a:cubicBezTo>
                    <a:cubicBezTo>
                      <a:pt x="166" y="90"/>
                      <a:pt x="166" y="90"/>
                      <a:pt x="166" y="90"/>
                    </a:cubicBezTo>
                    <a:cubicBezTo>
                      <a:pt x="169" y="92"/>
                      <a:pt x="169" y="92"/>
                      <a:pt x="169" y="92"/>
                    </a:cubicBezTo>
                    <a:close/>
                    <a:moveTo>
                      <a:pt x="168" y="88"/>
                    </a:moveTo>
                    <a:cubicBezTo>
                      <a:pt x="167" y="86"/>
                      <a:pt x="167" y="86"/>
                      <a:pt x="167" y="86"/>
                    </a:cubicBezTo>
                    <a:cubicBezTo>
                      <a:pt x="170" y="85"/>
                      <a:pt x="170" y="85"/>
                      <a:pt x="170" y="85"/>
                    </a:cubicBezTo>
                    <a:cubicBezTo>
                      <a:pt x="174" y="87"/>
                      <a:pt x="174" y="87"/>
                      <a:pt x="174" y="87"/>
                    </a:cubicBezTo>
                    <a:cubicBezTo>
                      <a:pt x="174" y="90"/>
                      <a:pt x="174" y="90"/>
                      <a:pt x="174" y="90"/>
                    </a:cubicBezTo>
                    <a:cubicBezTo>
                      <a:pt x="168" y="88"/>
                      <a:pt x="168" y="88"/>
                      <a:pt x="168" y="88"/>
                    </a:cubicBezTo>
                    <a:close/>
                    <a:moveTo>
                      <a:pt x="179" y="93"/>
                    </a:moveTo>
                    <a:cubicBezTo>
                      <a:pt x="180" y="89"/>
                      <a:pt x="180" y="89"/>
                      <a:pt x="180" y="89"/>
                    </a:cubicBezTo>
                    <a:cubicBezTo>
                      <a:pt x="182" y="92"/>
                      <a:pt x="182" y="92"/>
                      <a:pt x="182" y="92"/>
                    </a:cubicBezTo>
                    <a:cubicBezTo>
                      <a:pt x="179" y="93"/>
                      <a:pt x="179" y="93"/>
                      <a:pt x="179" y="93"/>
                    </a:cubicBezTo>
                    <a:close/>
                    <a:moveTo>
                      <a:pt x="192" y="73"/>
                    </a:moveTo>
                    <a:cubicBezTo>
                      <a:pt x="191" y="75"/>
                      <a:pt x="191" y="75"/>
                      <a:pt x="191" y="75"/>
                    </a:cubicBezTo>
                    <a:cubicBezTo>
                      <a:pt x="192" y="78"/>
                      <a:pt x="192" y="78"/>
                      <a:pt x="192" y="78"/>
                    </a:cubicBezTo>
                    <a:cubicBezTo>
                      <a:pt x="188" y="79"/>
                      <a:pt x="188" y="79"/>
                      <a:pt x="188" y="79"/>
                    </a:cubicBezTo>
                    <a:cubicBezTo>
                      <a:pt x="187" y="81"/>
                      <a:pt x="187" y="81"/>
                      <a:pt x="187" y="81"/>
                    </a:cubicBezTo>
                    <a:cubicBezTo>
                      <a:pt x="182" y="81"/>
                      <a:pt x="182" y="81"/>
                      <a:pt x="182" y="81"/>
                    </a:cubicBezTo>
                    <a:cubicBezTo>
                      <a:pt x="181" y="85"/>
                      <a:pt x="181" y="85"/>
                      <a:pt x="181" y="85"/>
                    </a:cubicBezTo>
                    <a:cubicBezTo>
                      <a:pt x="179" y="85"/>
                      <a:pt x="179" y="85"/>
                      <a:pt x="179" y="85"/>
                    </a:cubicBezTo>
                    <a:cubicBezTo>
                      <a:pt x="179" y="82"/>
                      <a:pt x="179" y="82"/>
                      <a:pt x="179" y="82"/>
                    </a:cubicBezTo>
                    <a:cubicBezTo>
                      <a:pt x="176" y="82"/>
                      <a:pt x="176" y="82"/>
                      <a:pt x="176" y="82"/>
                    </a:cubicBezTo>
                    <a:cubicBezTo>
                      <a:pt x="179" y="78"/>
                      <a:pt x="179" y="78"/>
                      <a:pt x="179" y="78"/>
                    </a:cubicBezTo>
                    <a:cubicBezTo>
                      <a:pt x="175" y="77"/>
                      <a:pt x="175" y="77"/>
                      <a:pt x="175" y="77"/>
                    </a:cubicBezTo>
                    <a:cubicBezTo>
                      <a:pt x="177" y="73"/>
                      <a:pt x="177" y="73"/>
                      <a:pt x="177" y="73"/>
                    </a:cubicBezTo>
                    <a:cubicBezTo>
                      <a:pt x="182" y="73"/>
                      <a:pt x="182" y="73"/>
                      <a:pt x="182" y="73"/>
                    </a:cubicBezTo>
                    <a:cubicBezTo>
                      <a:pt x="177" y="70"/>
                      <a:pt x="177" y="70"/>
                      <a:pt x="177" y="70"/>
                    </a:cubicBezTo>
                    <a:cubicBezTo>
                      <a:pt x="180" y="66"/>
                      <a:pt x="180" y="66"/>
                      <a:pt x="180" y="66"/>
                    </a:cubicBezTo>
                    <a:cubicBezTo>
                      <a:pt x="183" y="69"/>
                      <a:pt x="183" y="69"/>
                      <a:pt x="183" y="69"/>
                    </a:cubicBezTo>
                    <a:cubicBezTo>
                      <a:pt x="182" y="65"/>
                      <a:pt x="182" y="65"/>
                      <a:pt x="182" y="65"/>
                    </a:cubicBezTo>
                    <a:cubicBezTo>
                      <a:pt x="188" y="65"/>
                      <a:pt x="188" y="65"/>
                      <a:pt x="188" y="65"/>
                    </a:cubicBezTo>
                    <a:cubicBezTo>
                      <a:pt x="188" y="68"/>
                      <a:pt x="188" y="68"/>
                      <a:pt x="188" y="68"/>
                    </a:cubicBezTo>
                    <a:cubicBezTo>
                      <a:pt x="191" y="69"/>
                      <a:pt x="191" y="69"/>
                      <a:pt x="191" y="69"/>
                    </a:cubicBezTo>
                    <a:cubicBezTo>
                      <a:pt x="192" y="73"/>
                      <a:pt x="192" y="73"/>
                      <a:pt x="192" y="73"/>
                    </a:cubicBezTo>
                    <a:close/>
                    <a:moveTo>
                      <a:pt x="192" y="62"/>
                    </a:moveTo>
                    <a:cubicBezTo>
                      <a:pt x="197" y="62"/>
                      <a:pt x="197" y="62"/>
                      <a:pt x="197" y="62"/>
                    </a:cubicBezTo>
                    <a:cubicBezTo>
                      <a:pt x="197" y="59"/>
                      <a:pt x="197" y="59"/>
                      <a:pt x="197" y="59"/>
                    </a:cubicBezTo>
                    <a:cubicBezTo>
                      <a:pt x="202" y="59"/>
                      <a:pt x="202" y="59"/>
                      <a:pt x="202" y="59"/>
                    </a:cubicBezTo>
                    <a:cubicBezTo>
                      <a:pt x="204" y="56"/>
                      <a:pt x="204" y="56"/>
                      <a:pt x="204" y="56"/>
                    </a:cubicBezTo>
                    <a:cubicBezTo>
                      <a:pt x="207" y="60"/>
                      <a:pt x="207" y="60"/>
                      <a:pt x="207" y="60"/>
                    </a:cubicBezTo>
                    <a:cubicBezTo>
                      <a:pt x="204" y="63"/>
                      <a:pt x="204" y="63"/>
                      <a:pt x="204" y="63"/>
                    </a:cubicBezTo>
                    <a:cubicBezTo>
                      <a:pt x="204" y="66"/>
                      <a:pt x="204" y="66"/>
                      <a:pt x="204" y="66"/>
                    </a:cubicBezTo>
                    <a:cubicBezTo>
                      <a:pt x="200" y="66"/>
                      <a:pt x="200" y="66"/>
                      <a:pt x="200" y="66"/>
                    </a:cubicBezTo>
                    <a:cubicBezTo>
                      <a:pt x="196" y="67"/>
                      <a:pt x="196" y="67"/>
                      <a:pt x="196" y="67"/>
                    </a:cubicBezTo>
                    <a:cubicBezTo>
                      <a:pt x="192" y="62"/>
                      <a:pt x="192" y="62"/>
                      <a:pt x="192" y="62"/>
                    </a:cubicBezTo>
                    <a:close/>
                    <a:moveTo>
                      <a:pt x="208" y="42"/>
                    </a:moveTo>
                    <a:cubicBezTo>
                      <a:pt x="207" y="39"/>
                      <a:pt x="207" y="39"/>
                      <a:pt x="207" y="39"/>
                    </a:cubicBezTo>
                    <a:cubicBezTo>
                      <a:pt x="210" y="38"/>
                      <a:pt x="210" y="38"/>
                      <a:pt x="210" y="38"/>
                    </a:cubicBezTo>
                    <a:cubicBezTo>
                      <a:pt x="208" y="42"/>
                      <a:pt x="208" y="42"/>
                      <a:pt x="208" y="42"/>
                    </a:cubicBezTo>
                    <a:close/>
                    <a:moveTo>
                      <a:pt x="201" y="49"/>
                    </a:moveTo>
                    <a:cubicBezTo>
                      <a:pt x="201" y="45"/>
                      <a:pt x="201" y="45"/>
                      <a:pt x="201" y="45"/>
                    </a:cubicBezTo>
                    <a:cubicBezTo>
                      <a:pt x="206" y="43"/>
                      <a:pt x="206" y="43"/>
                      <a:pt x="206" y="43"/>
                    </a:cubicBezTo>
                    <a:cubicBezTo>
                      <a:pt x="205" y="46"/>
                      <a:pt x="205" y="46"/>
                      <a:pt x="205" y="46"/>
                    </a:cubicBezTo>
                    <a:cubicBezTo>
                      <a:pt x="201" y="49"/>
                      <a:pt x="201" y="49"/>
                      <a:pt x="201" y="49"/>
                    </a:cubicBezTo>
                    <a:close/>
                    <a:moveTo>
                      <a:pt x="213" y="56"/>
                    </a:moveTo>
                    <a:cubicBezTo>
                      <a:pt x="214" y="51"/>
                      <a:pt x="214" y="51"/>
                      <a:pt x="214" y="51"/>
                    </a:cubicBezTo>
                    <a:cubicBezTo>
                      <a:pt x="216" y="54"/>
                      <a:pt x="216" y="54"/>
                      <a:pt x="216" y="54"/>
                    </a:cubicBezTo>
                    <a:cubicBezTo>
                      <a:pt x="213" y="56"/>
                      <a:pt x="213" y="56"/>
                      <a:pt x="213" y="56"/>
                    </a:cubicBezTo>
                    <a:close/>
                    <a:moveTo>
                      <a:pt x="211" y="55"/>
                    </a:moveTo>
                    <a:cubicBezTo>
                      <a:pt x="210" y="56"/>
                      <a:pt x="210" y="56"/>
                      <a:pt x="210" y="56"/>
                    </a:cubicBezTo>
                    <a:cubicBezTo>
                      <a:pt x="208" y="56"/>
                      <a:pt x="208" y="56"/>
                      <a:pt x="208" y="56"/>
                    </a:cubicBezTo>
                    <a:cubicBezTo>
                      <a:pt x="203" y="51"/>
                      <a:pt x="203" y="51"/>
                      <a:pt x="203" y="51"/>
                    </a:cubicBezTo>
                    <a:cubicBezTo>
                      <a:pt x="209" y="47"/>
                      <a:pt x="209" y="47"/>
                      <a:pt x="209" y="47"/>
                    </a:cubicBezTo>
                    <a:cubicBezTo>
                      <a:pt x="210" y="49"/>
                      <a:pt x="210" y="49"/>
                      <a:pt x="210" y="49"/>
                    </a:cubicBezTo>
                    <a:cubicBezTo>
                      <a:pt x="213" y="48"/>
                      <a:pt x="213" y="48"/>
                      <a:pt x="213" y="48"/>
                    </a:cubicBezTo>
                    <a:cubicBezTo>
                      <a:pt x="214" y="49"/>
                      <a:pt x="214" y="49"/>
                      <a:pt x="214" y="49"/>
                    </a:cubicBezTo>
                    <a:cubicBezTo>
                      <a:pt x="211" y="51"/>
                      <a:pt x="211" y="51"/>
                      <a:pt x="211" y="51"/>
                    </a:cubicBezTo>
                    <a:cubicBezTo>
                      <a:pt x="211" y="55"/>
                      <a:pt x="211" y="55"/>
                      <a:pt x="211" y="55"/>
                    </a:cubicBezTo>
                    <a:close/>
                    <a:moveTo>
                      <a:pt x="222" y="46"/>
                    </a:moveTo>
                    <a:cubicBezTo>
                      <a:pt x="220" y="47"/>
                      <a:pt x="220" y="47"/>
                      <a:pt x="220" y="47"/>
                    </a:cubicBezTo>
                    <a:cubicBezTo>
                      <a:pt x="216" y="45"/>
                      <a:pt x="216" y="45"/>
                      <a:pt x="216" y="45"/>
                    </a:cubicBezTo>
                    <a:cubicBezTo>
                      <a:pt x="215" y="42"/>
                      <a:pt x="215" y="42"/>
                      <a:pt x="215" y="42"/>
                    </a:cubicBezTo>
                    <a:cubicBezTo>
                      <a:pt x="214" y="37"/>
                      <a:pt x="214" y="37"/>
                      <a:pt x="214" y="37"/>
                    </a:cubicBezTo>
                    <a:cubicBezTo>
                      <a:pt x="216" y="36"/>
                      <a:pt x="216" y="36"/>
                      <a:pt x="216" y="36"/>
                    </a:cubicBezTo>
                    <a:cubicBezTo>
                      <a:pt x="217" y="41"/>
                      <a:pt x="217" y="41"/>
                      <a:pt x="217" y="41"/>
                    </a:cubicBezTo>
                    <a:cubicBezTo>
                      <a:pt x="221" y="44"/>
                      <a:pt x="221" y="44"/>
                      <a:pt x="221" y="44"/>
                    </a:cubicBezTo>
                    <a:cubicBezTo>
                      <a:pt x="222" y="46"/>
                      <a:pt x="222" y="46"/>
                      <a:pt x="222" y="46"/>
                    </a:cubicBezTo>
                    <a:close/>
                    <a:moveTo>
                      <a:pt x="232" y="51"/>
                    </a:moveTo>
                    <a:cubicBezTo>
                      <a:pt x="230" y="48"/>
                      <a:pt x="230" y="48"/>
                      <a:pt x="230" y="48"/>
                    </a:cubicBezTo>
                    <a:cubicBezTo>
                      <a:pt x="227" y="47"/>
                      <a:pt x="227" y="47"/>
                      <a:pt x="227" y="47"/>
                    </a:cubicBezTo>
                    <a:cubicBezTo>
                      <a:pt x="227" y="41"/>
                      <a:pt x="227" y="41"/>
                      <a:pt x="227" y="41"/>
                    </a:cubicBezTo>
                    <a:cubicBezTo>
                      <a:pt x="229" y="39"/>
                      <a:pt x="229" y="39"/>
                      <a:pt x="229" y="39"/>
                    </a:cubicBezTo>
                    <a:cubicBezTo>
                      <a:pt x="233" y="42"/>
                      <a:pt x="233" y="42"/>
                      <a:pt x="233" y="42"/>
                    </a:cubicBezTo>
                    <a:cubicBezTo>
                      <a:pt x="232" y="45"/>
                      <a:pt x="232" y="45"/>
                      <a:pt x="232" y="45"/>
                    </a:cubicBezTo>
                    <a:cubicBezTo>
                      <a:pt x="234" y="48"/>
                      <a:pt x="234" y="48"/>
                      <a:pt x="234" y="48"/>
                    </a:cubicBezTo>
                    <a:cubicBezTo>
                      <a:pt x="232" y="51"/>
                      <a:pt x="232" y="51"/>
                      <a:pt x="232" y="51"/>
                    </a:cubicBezTo>
                    <a:close/>
                    <a:moveTo>
                      <a:pt x="261" y="37"/>
                    </a:moveTo>
                    <a:cubicBezTo>
                      <a:pt x="257" y="36"/>
                      <a:pt x="257" y="36"/>
                      <a:pt x="257" y="36"/>
                    </a:cubicBezTo>
                    <a:cubicBezTo>
                      <a:pt x="253" y="34"/>
                      <a:pt x="253" y="34"/>
                      <a:pt x="253" y="34"/>
                    </a:cubicBezTo>
                    <a:cubicBezTo>
                      <a:pt x="256" y="32"/>
                      <a:pt x="256" y="32"/>
                      <a:pt x="256" y="32"/>
                    </a:cubicBezTo>
                    <a:cubicBezTo>
                      <a:pt x="260" y="32"/>
                      <a:pt x="260" y="32"/>
                      <a:pt x="260" y="32"/>
                    </a:cubicBezTo>
                    <a:cubicBezTo>
                      <a:pt x="262" y="34"/>
                      <a:pt x="262" y="34"/>
                      <a:pt x="262" y="34"/>
                    </a:cubicBezTo>
                    <a:cubicBezTo>
                      <a:pt x="261" y="37"/>
                      <a:pt x="261" y="37"/>
                      <a:pt x="261" y="37"/>
                    </a:cubicBezTo>
                    <a:close/>
                    <a:moveTo>
                      <a:pt x="266" y="34"/>
                    </a:moveTo>
                    <a:cubicBezTo>
                      <a:pt x="262" y="29"/>
                      <a:pt x="262" y="29"/>
                      <a:pt x="262" y="29"/>
                    </a:cubicBezTo>
                    <a:cubicBezTo>
                      <a:pt x="269" y="23"/>
                      <a:pt x="269" y="23"/>
                      <a:pt x="269" y="23"/>
                    </a:cubicBezTo>
                    <a:cubicBezTo>
                      <a:pt x="270" y="28"/>
                      <a:pt x="270" y="28"/>
                      <a:pt x="270" y="28"/>
                    </a:cubicBezTo>
                    <a:cubicBezTo>
                      <a:pt x="267" y="31"/>
                      <a:pt x="267" y="31"/>
                      <a:pt x="267" y="31"/>
                    </a:cubicBezTo>
                    <a:cubicBezTo>
                      <a:pt x="266" y="34"/>
                      <a:pt x="266" y="34"/>
                      <a:pt x="266" y="34"/>
                    </a:cubicBezTo>
                    <a:close/>
                    <a:moveTo>
                      <a:pt x="258" y="27"/>
                    </a:moveTo>
                    <a:cubicBezTo>
                      <a:pt x="255" y="28"/>
                      <a:pt x="255" y="28"/>
                      <a:pt x="255" y="28"/>
                    </a:cubicBezTo>
                    <a:cubicBezTo>
                      <a:pt x="249" y="26"/>
                      <a:pt x="249" y="26"/>
                      <a:pt x="249" y="26"/>
                    </a:cubicBezTo>
                    <a:cubicBezTo>
                      <a:pt x="248" y="22"/>
                      <a:pt x="248" y="22"/>
                      <a:pt x="248" y="22"/>
                    </a:cubicBezTo>
                    <a:cubicBezTo>
                      <a:pt x="251" y="23"/>
                      <a:pt x="251" y="23"/>
                      <a:pt x="251" y="23"/>
                    </a:cubicBezTo>
                    <a:cubicBezTo>
                      <a:pt x="254" y="21"/>
                      <a:pt x="254" y="21"/>
                      <a:pt x="254" y="21"/>
                    </a:cubicBezTo>
                    <a:cubicBezTo>
                      <a:pt x="256" y="23"/>
                      <a:pt x="256" y="23"/>
                      <a:pt x="256" y="23"/>
                    </a:cubicBezTo>
                    <a:cubicBezTo>
                      <a:pt x="258" y="19"/>
                      <a:pt x="258" y="19"/>
                      <a:pt x="258" y="19"/>
                    </a:cubicBezTo>
                    <a:cubicBezTo>
                      <a:pt x="261" y="21"/>
                      <a:pt x="261" y="21"/>
                      <a:pt x="261" y="21"/>
                    </a:cubicBezTo>
                    <a:cubicBezTo>
                      <a:pt x="267" y="15"/>
                      <a:pt x="267" y="15"/>
                      <a:pt x="267" y="15"/>
                    </a:cubicBezTo>
                    <a:cubicBezTo>
                      <a:pt x="268" y="18"/>
                      <a:pt x="268" y="18"/>
                      <a:pt x="268" y="18"/>
                    </a:cubicBezTo>
                    <a:cubicBezTo>
                      <a:pt x="258" y="27"/>
                      <a:pt x="258" y="27"/>
                      <a:pt x="258" y="27"/>
                    </a:cubicBezTo>
                    <a:close/>
                    <a:moveTo>
                      <a:pt x="270" y="20"/>
                    </a:moveTo>
                    <a:cubicBezTo>
                      <a:pt x="275" y="18"/>
                      <a:pt x="275" y="18"/>
                      <a:pt x="275" y="18"/>
                    </a:cubicBezTo>
                    <a:cubicBezTo>
                      <a:pt x="279" y="21"/>
                      <a:pt x="279" y="21"/>
                      <a:pt x="279" y="21"/>
                    </a:cubicBezTo>
                    <a:cubicBezTo>
                      <a:pt x="278" y="24"/>
                      <a:pt x="278" y="24"/>
                      <a:pt x="278" y="24"/>
                    </a:cubicBezTo>
                    <a:cubicBezTo>
                      <a:pt x="273" y="26"/>
                      <a:pt x="273" y="26"/>
                      <a:pt x="273" y="26"/>
                    </a:cubicBezTo>
                    <a:cubicBezTo>
                      <a:pt x="273" y="23"/>
                      <a:pt x="273" y="23"/>
                      <a:pt x="273" y="23"/>
                    </a:cubicBezTo>
                    <a:cubicBezTo>
                      <a:pt x="270" y="20"/>
                      <a:pt x="270" y="20"/>
                      <a:pt x="270" y="20"/>
                    </a:cubicBezTo>
                    <a:close/>
                    <a:moveTo>
                      <a:pt x="280" y="11"/>
                    </a:moveTo>
                    <a:cubicBezTo>
                      <a:pt x="279" y="13"/>
                      <a:pt x="279" y="13"/>
                      <a:pt x="279" y="13"/>
                    </a:cubicBezTo>
                    <a:cubicBezTo>
                      <a:pt x="277" y="13"/>
                      <a:pt x="277" y="13"/>
                      <a:pt x="277" y="13"/>
                    </a:cubicBezTo>
                    <a:cubicBezTo>
                      <a:pt x="275" y="9"/>
                      <a:pt x="275" y="9"/>
                      <a:pt x="275" y="9"/>
                    </a:cubicBezTo>
                    <a:cubicBezTo>
                      <a:pt x="278" y="9"/>
                      <a:pt x="278" y="9"/>
                      <a:pt x="278" y="9"/>
                    </a:cubicBezTo>
                    <a:cubicBezTo>
                      <a:pt x="280" y="11"/>
                      <a:pt x="280" y="11"/>
                      <a:pt x="280" y="11"/>
                    </a:cubicBezTo>
                    <a:close/>
                    <a:moveTo>
                      <a:pt x="288" y="5"/>
                    </a:moveTo>
                    <a:cubicBezTo>
                      <a:pt x="286" y="5"/>
                      <a:pt x="286" y="5"/>
                      <a:pt x="286" y="5"/>
                    </a:cubicBezTo>
                    <a:cubicBezTo>
                      <a:pt x="287" y="2"/>
                      <a:pt x="287" y="2"/>
                      <a:pt x="287" y="2"/>
                    </a:cubicBezTo>
                    <a:cubicBezTo>
                      <a:pt x="290" y="2"/>
                      <a:pt x="290" y="2"/>
                      <a:pt x="290" y="2"/>
                    </a:cubicBezTo>
                    <a:cubicBezTo>
                      <a:pt x="288" y="5"/>
                      <a:pt x="288" y="5"/>
                      <a:pt x="288" y="5"/>
                    </a:cubicBezTo>
                    <a:close/>
                    <a:moveTo>
                      <a:pt x="294" y="7"/>
                    </a:moveTo>
                    <a:cubicBezTo>
                      <a:pt x="294" y="5"/>
                      <a:pt x="294" y="5"/>
                      <a:pt x="294" y="5"/>
                    </a:cubicBezTo>
                    <a:cubicBezTo>
                      <a:pt x="296" y="4"/>
                      <a:pt x="296" y="4"/>
                      <a:pt x="296" y="4"/>
                    </a:cubicBezTo>
                    <a:cubicBezTo>
                      <a:pt x="298" y="5"/>
                      <a:pt x="298" y="5"/>
                      <a:pt x="298" y="5"/>
                    </a:cubicBezTo>
                    <a:cubicBezTo>
                      <a:pt x="300" y="3"/>
                      <a:pt x="300" y="3"/>
                      <a:pt x="300" y="3"/>
                    </a:cubicBezTo>
                    <a:cubicBezTo>
                      <a:pt x="300" y="0"/>
                      <a:pt x="300" y="0"/>
                      <a:pt x="300" y="0"/>
                    </a:cubicBezTo>
                    <a:cubicBezTo>
                      <a:pt x="302" y="2"/>
                      <a:pt x="302" y="2"/>
                      <a:pt x="302" y="2"/>
                    </a:cubicBezTo>
                    <a:cubicBezTo>
                      <a:pt x="305" y="3"/>
                      <a:pt x="305" y="3"/>
                      <a:pt x="305" y="3"/>
                    </a:cubicBezTo>
                    <a:cubicBezTo>
                      <a:pt x="303" y="6"/>
                      <a:pt x="303" y="6"/>
                      <a:pt x="303" y="6"/>
                    </a:cubicBezTo>
                    <a:cubicBezTo>
                      <a:pt x="308" y="6"/>
                      <a:pt x="308" y="6"/>
                      <a:pt x="308" y="6"/>
                    </a:cubicBezTo>
                    <a:cubicBezTo>
                      <a:pt x="306" y="10"/>
                      <a:pt x="306" y="10"/>
                      <a:pt x="306" y="10"/>
                    </a:cubicBezTo>
                    <a:cubicBezTo>
                      <a:pt x="302" y="11"/>
                      <a:pt x="302" y="11"/>
                      <a:pt x="302" y="11"/>
                    </a:cubicBezTo>
                    <a:cubicBezTo>
                      <a:pt x="298" y="8"/>
                      <a:pt x="298" y="8"/>
                      <a:pt x="298" y="8"/>
                    </a:cubicBezTo>
                    <a:lnTo>
                      <a:pt x="294" y="7"/>
                    </a:lnTo>
                    <a:close/>
                  </a:path>
                </a:pathLst>
              </a:custGeom>
              <a:solidFill>
                <a:schemeClr val="accent6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772" name="Freeform 576"/>
              <p:cNvSpPr>
                <a:spLocks/>
              </p:cNvSpPr>
              <p:nvPr userDrawn="1"/>
            </p:nvSpPr>
            <p:spPr bwMode="auto">
              <a:xfrm>
                <a:off x="3751" y="1718"/>
                <a:ext cx="4" cy="7"/>
              </a:xfrm>
              <a:custGeom>
                <a:avLst/>
                <a:gdLst>
                  <a:gd name="T0" fmla="*/ 0 w 4"/>
                  <a:gd name="T1" fmla="*/ 7 h 7"/>
                  <a:gd name="T2" fmla="*/ 0 w 4"/>
                  <a:gd name="T3" fmla="*/ 3 h 7"/>
                  <a:gd name="T4" fmla="*/ 4 w 4"/>
                  <a:gd name="T5" fmla="*/ 0 h 7"/>
                  <a:gd name="T6" fmla="*/ 0 w 4"/>
                  <a:gd name="T7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" h="7">
                    <a:moveTo>
                      <a:pt x="0" y="7"/>
                    </a:moveTo>
                    <a:lnTo>
                      <a:pt x="0" y="3"/>
                    </a:lnTo>
                    <a:lnTo>
                      <a:pt x="4" y="0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8D918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773" name="Freeform 577"/>
              <p:cNvSpPr>
                <a:spLocks/>
              </p:cNvSpPr>
              <p:nvPr userDrawn="1"/>
            </p:nvSpPr>
            <p:spPr bwMode="auto">
              <a:xfrm>
                <a:off x="3751" y="1718"/>
                <a:ext cx="4" cy="7"/>
              </a:xfrm>
              <a:custGeom>
                <a:avLst/>
                <a:gdLst>
                  <a:gd name="T0" fmla="*/ 0 w 4"/>
                  <a:gd name="T1" fmla="*/ 7 h 7"/>
                  <a:gd name="T2" fmla="*/ 0 w 4"/>
                  <a:gd name="T3" fmla="*/ 3 h 7"/>
                  <a:gd name="T4" fmla="*/ 4 w 4"/>
                  <a:gd name="T5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7">
                    <a:moveTo>
                      <a:pt x="0" y="7"/>
                    </a:moveTo>
                    <a:lnTo>
                      <a:pt x="0" y="3"/>
                    </a:lnTo>
                    <a:lnTo>
                      <a:pt x="4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774" name="Freeform 578"/>
              <p:cNvSpPr>
                <a:spLocks/>
              </p:cNvSpPr>
              <p:nvPr userDrawn="1"/>
            </p:nvSpPr>
            <p:spPr bwMode="auto">
              <a:xfrm>
                <a:off x="3641" y="1755"/>
                <a:ext cx="3" cy="3"/>
              </a:xfrm>
              <a:custGeom>
                <a:avLst/>
                <a:gdLst>
                  <a:gd name="T0" fmla="*/ 2 w 3"/>
                  <a:gd name="T1" fmla="*/ 3 h 3"/>
                  <a:gd name="T2" fmla="*/ 3 w 3"/>
                  <a:gd name="T3" fmla="*/ 0 h 3"/>
                  <a:gd name="T4" fmla="*/ 0 w 3"/>
                  <a:gd name="T5" fmla="*/ 0 h 3"/>
                  <a:gd name="T6" fmla="*/ 2 w 3"/>
                  <a:gd name="T7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3">
                    <a:moveTo>
                      <a:pt x="2" y="3"/>
                    </a:moveTo>
                    <a:lnTo>
                      <a:pt x="3" y="0"/>
                    </a:lnTo>
                    <a:lnTo>
                      <a:pt x="0" y="0"/>
                    </a:lnTo>
                    <a:lnTo>
                      <a:pt x="2" y="3"/>
                    </a:lnTo>
                    <a:close/>
                  </a:path>
                </a:pathLst>
              </a:custGeom>
              <a:solidFill>
                <a:srgbClr val="8D918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775" name="Freeform 579"/>
              <p:cNvSpPr>
                <a:spLocks/>
              </p:cNvSpPr>
              <p:nvPr userDrawn="1"/>
            </p:nvSpPr>
            <p:spPr bwMode="auto">
              <a:xfrm>
                <a:off x="3641" y="1755"/>
                <a:ext cx="3" cy="3"/>
              </a:xfrm>
              <a:custGeom>
                <a:avLst/>
                <a:gdLst>
                  <a:gd name="T0" fmla="*/ 2 w 3"/>
                  <a:gd name="T1" fmla="*/ 3 h 3"/>
                  <a:gd name="T2" fmla="*/ 3 w 3"/>
                  <a:gd name="T3" fmla="*/ 0 h 3"/>
                  <a:gd name="T4" fmla="*/ 0 w 3"/>
                  <a:gd name="T5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" h="3">
                    <a:moveTo>
                      <a:pt x="2" y="3"/>
                    </a:moveTo>
                    <a:lnTo>
                      <a:pt x="3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776" name="Freeform 580"/>
              <p:cNvSpPr>
                <a:spLocks/>
              </p:cNvSpPr>
              <p:nvPr userDrawn="1"/>
            </p:nvSpPr>
            <p:spPr bwMode="auto">
              <a:xfrm>
                <a:off x="3765" y="1744"/>
                <a:ext cx="2" cy="3"/>
              </a:xfrm>
              <a:custGeom>
                <a:avLst/>
                <a:gdLst>
                  <a:gd name="T0" fmla="*/ 0 w 2"/>
                  <a:gd name="T1" fmla="*/ 3 h 3"/>
                  <a:gd name="T2" fmla="*/ 2 w 2"/>
                  <a:gd name="T3" fmla="*/ 0 h 3"/>
                  <a:gd name="T4" fmla="*/ 0 w 2"/>
                  <a:gd name="T5" fmla="*/ 0 h 3"/>
                  <a:gd name="T6" fmla="*/ 0 w 2"/>
                  <a:gd name="T7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8D918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777" name="Freeform 581"/>
              <p:cNvSpPr>
                <a:spLocks/>
              </p:cNvSpPr>
              <p:nvPr userDrawn="1"/>
            </p:nvSpPr>
            <p:spPr bwMode="auto">
              <a:xfrm>
                <a:off x="3765" y="1744"/>
                <a:ext cx="2" cy="3"/>
              </a:xfrm>
              <a:custGeom>
                <a:avLst/>
                <a:gdLst>
                  <a:gd name="T0" fmla="*/ 0 w 2"/>
                  <a:gd name="T1" fmla="*/ 3 h 3"/>
                  <a:gd name="T2" fmla="*/ 2 w 2"/>
                  <a:gd name="T3" fmla="*/ 0 h 3"/>
                  <a:gd name="T4" fmla="*/ 0 w 2"/>
                  <a:gd name="T5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2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778" name="Freeform 582"/>
              <p:cNvSpPr>
                <a:spLocks/>
              </p:cNvSpPr>
              <p:nvPr userDrawn="1"/>
            </p:nvSpPr>
            <p:spPr bwMode="auto">
              <a:xfrm>
                <a:off x="3761" y="1766"/>
                <a:ext cx="3" cy="5"/>
              </a:xfrm>
              <a:custGeom>
                <a:avLst/>
                <a:gdLst>
                  <a:gd name="T0" fmla="*/ 3 w 3"/>
                  <a:gd name="T1" fmla="*/ 5 h 5"/>
                  <a:gd name="T2" fmla="*/ 0 w 3"/>
                  <a:gd name="T3" fmla="*/ 3 h 5"/>
                  <a:gd name="T4" fmla="*/ 2 w 3"/>
                  <a:gd name="T5" fmla="*/ 0 h 5"/>
                  <a:gd name="T6" fmla="*/ 3 w 3"/>
                  <a:gd name="T7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5">
                    <a:moveTo>
                      <a:pt x="3" y="5"/>
                    </a:moveTo>
                    <a:lnTo>
                      <a:pt x="0" y="3"/>
                    </a:lnTo>
                    <a:lnTo>
                      <a:pt x="2" y="0"/>
                    </a:lnTo>
                    <a:lnTo>
                      <a:pt x="3" y="5"/>
                    </a:lnTo>
                    <a:close/>
                  </a:path>
                </a:pathLst>
              </a:custGeom>
              <a:solidFill>
                <a:srgbClr val="8D918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779" name="Freeform 583"/>
              <p:cNvSpPr>
                <a:spLocks/>
              </p:cNvSpPr>
              <p:nvPr userDrawn="1"/>
            </p:nvSpPr>
            <p:spPr bwMode="auto">
              <a:xfrm>
                <a:off x="3761" y="1766"/>
                <a:ext cx="3" cy="5"/>
              </a:xfrm>
              <a:custGeom>
                <a:avLst/>
                <a:gdLst>
                  <a:gd name="T0" fmla="*/ 3 w 3"/>
                  <a:gd name="T1" fmla="*/ 5 h 5"/>
                  <a:gd name="T2" fmla="*/ 0 w 3"/>
                  <a:gd name="T3" fmla="*/ 3 h 5"/>
                  <a:gd name="T4" fmla="*/ 2 w 3"/>
                  <a:gd name="T5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" h="5">
                    <a:moveTo>
                      <a:pt x="3" y="5"/>
                    </a:moveTo>
                    <a:lnTo>
                      <a:pt x="0" y="3"/>
                    </a:lnTo>
                    <a:lnTo>
                      <a:pt x="2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780" name="Freeform 584"/>
              <p:cNvSpPr>
                <a:spLocks/>
              </p:cNvSpPr>
              <p:nvPr userDrawn="1"/>
            </p:nvSpPr>
            <p:spPr bwMode="auto">
              <a:xfrm>
                <a:off x="3725" y="1799"/>
                <a:ext cx="1" cy="3"/>
              </a:xfrm>
              <a:custGeom>
                <a:avLst/>
                <a:gdLst>
                  <a:gd name="T0" fmla="*/ 0 w 1"/>
                  <a:gd name="T1" fmla="*/ 0 h 3"/>
                  <a:gd name="T2" fmla="*/ 0 w 1"/>
                  <a:gd name="T3" fmla="*/ 0 h 3"/>
                  <a:gd name="T4" fmla="*/ 1 w 1"/>
                  <a:gd name="T5" fmla="*/ 3 h 3"/>
                  <a:gd name="T6" fmla="*/ 0 w 1"/>
                  <a:gd name="T7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3">
                    <a:moveTo>
                      <a:pt x="0" y="0"/>
                    </a:moveTo>
                    <a:lnTo>
                      <a:pt x="0" y="0"/>
                    </a:lnTo>
                    <a:lnTo>
                      <a:pt x="1" y="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68B1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781" name="Freeform 585"/>
              <p:cNvSpPr>
                <a:spLocks/>
              </p:cNvSpPr>
              <p:nvPr userDrawn="1"/>
            </p:nvSpPr>
            <p:spPr bwMode="auto">
              <a:xfrm>
                <a:off x="3725" y="1799"/>
                <a:ext cx="1" cy="3"/>
              </a:xfrm>
              <a:custGeom>
                <a:avLst/>
                <a:gdLst>
                  <a:gd name="T0" fmla="*/ 0 w 1"/>
                  <a:gd name="T1" fmla="*/ 0 h 3"/>
                  <a:gd name="T2" fmla="*/ 0 w 1"/>
                  <a:gd name="T3" fmla="*/ 0 h 3"/>
                  <a:gd name="T4" fmla="*/ 1 w 1"/>
                  <a:gd name="T5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3">
                    <a:moveTo>
                      <a:pt x="0" y="0"/>
                    </a:moveTo>
                    <a:lnTo>
                      <a:pt x="0" y="0"/>
                    </a:lnTo>
                    <a:lnTo>
                      <a:pt x="1" y="3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782" name="Freeform 586"/>
              <p:cNvSpPr>
                <a:spLocks/>
              </p:cNvSpPr>
              <p:nvPr userDrawn="1"/>
            </p:nvSpPr>
            <p:spPr bwMode="auto">
              <a:xfrm>
                <a:off x="3828" y="1547"/>
                <a:ext cx="3" cy="6"/>
              </a:xfrm>
              <a:custGeom>
                <a:avLst/>
                <a:gdLst>
                  <a:gd name="T0" fmla="*/ 2 w 3"/>
                  <a:gd name="T1" fmla="*/ 7 h 7"/>
                  <a:gd name="T2" fmla="*/ 0 w 3"/>
                  <a:gd name="T3" fmla="*/ 3 h 7"/>
                  <a:gd name="T4" fmla="*/ 3 w 3"/>
                  <a:gd name="T5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" h="7">
                    <a:moveTo>
                      <a:pt x="2" y="7"/>
                    </a:moveTo>
                    <a:cubicBezTo>
                      <a:pt x="0" y="3"/>
                      <a:pt x="0" y="3"/>
                      <a:pt x="0" y="3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68B1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783" name="Freeform 587"/>
              <p:cNvSpPr>
                <a:spLocks/>
              </p:cNvSpPr>
              <p:nvPr userDrawn="1"/>
            </p:nvSpPr>
            <p:spPr bwMode="auto">
              <a:xfrm>
                <a:off x="3781" y="1604"/>
                <a:ext cx="3" cy="2"/>
              </a:xfrm>
              <a:custGeom>
                <a:avLst/>
                <a:gdLst>
                  <a:gd name="T0" fmla="*/ 0 w 3"/>
                  <a:gd name="T1" fmla="*/ 0 h 2"/>
                  <a:gd name="T2" fmla="*/ 0 w 3"/>
                  <a:gd name="T3" fmla="*/ 0 h 2"/>
                  <a:gd name="T4" fmla="*/ 3 w 3"/>
                  <a:gd name="T5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3" y="2"/>
                      <a:pt x="3" y="2"/>
                      <a:pt x="3" y="2"/>
                    </a:cubicBezTo>
                  </a:path>
                </a:pathLst>
              </a:custGeom>
              <a:solidFill>
                <a:srgbClr val="F68B1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784" name="Freeform 588"/>
              <p:cNvSpPr>
                <a:spLocks/>
              </p:cNvSpPr>
              <p:nvPr userDrawn="1"/>
            </p:nvSpPr>
            <p:spPr bwMode="auto">
              <a:xfrm>
                <a:off x="3816" y="1700"/>
                <a:ext cx="4" cy="1"/>
              </a:xfrm>
              <a:custGeom>
                <a:avLst/>
                <a:gdLst>
                  <a:gd name="T0" fmla="*/ 4 w 4"/>
                  <a:gd name="T1" fmla="*/ 0 h 2"/>
                  <a:gd name="T2" fmla="*/ 1 w 4"/>
                  <a:gd name="T3" fmla="*/ 2 h 2"/>
                  <a:gd name="T4" fmla="*/ 0 w 4"/>
                  <a:gd name="T5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cubicBezTo>
                      <a:pt x="1" y="2"/>
                      <a:pt x="1" y="2"/>
                      <a:pt x="1" y="2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68B1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785" name="Freeform 589"/>
              <p:cNvSpPr>
                <a:spLocks/>
              </p:cNvSpPr>
              <p:nvPr userDrawn="1"/>
            </p:nvSpPr>
            <p:spPr bwMode="auto">
              <a:xfrm>
                <a:off x="3806" y="1691"/>
                <a:ext cx="6" cy="2"/>
              </a:xfrm>
              <a:custGeom>
                <a:avLst/>
                <a:gdLst>
                  <a:gd name="T0" fmla="*/ 7 w 7"/>
                  <a:gd name="T1" fmla="*/ 0 h 2"/>
                  <a:gd name="T2" fmla="*/ 3 w 7"/>
                  <a:gd name="T3" fmla="*/ 2 h 2"/>
                  <a:gd name="T4" fmla="*/ 0 w 7"/>
                  <a:gd name="T5" fmla="*/ 1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2">
                    <a:moveTo>
                      <a:pt x="7" y="0"/>
                    </a:moveTo>
                    <a:cubicBezTo>
                      <a:pt x="3" y="2"/>
                      <a:pt x="3" y="2"/>
                      <a:pt x="3" y="2"/>
                    </a:cubicBezTo>
                    <a:cubicBezTo>
                      <a:pt x="0" y="1"/>
                      <a:pt x="0" y="1"/>
                      <a:pt x="0" y="1"/>
                    </a:cubicBezTo>
                  </a:path>
                </a:pathLst>
              </a:custGeom>
              <a:solidFill>
                <a:srgbClr val="F68B1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786" name="Freeform 590"/>
              <p:cNvSpPr>
                <a:spLocks/>
              </p:cNvSpPr>
              <p:nvPr userDrawn="1"/>
            </p:nvSpPr>
            <p:spPr bwMode="auto">
              <a:xfrm>
                <a:off x="3799" y="1684"/>
                <a:ext cx="4" cy="3"/>
              </a:xfrm>
              <a:custGeom>
                <a:avLst/>
                <a:gdLst>
                  <a:gd name="T0" fmla="*/ 0 w 4"/>
                  <a:gd name="T1" fmla="*/ 0 h 3"/>
                  <a:gd name="T2" fmla="*/ 0 w 4"/>
                  <a:gd name="T3" fmla="*/ 0 h 3"/>
                  <a:gd name="T4" fmla="*/ 4 w 4"/>
                  <a:gd name="T5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3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4" y="3"/>
                      <a:pt x="4" y="3"/>
                      <a:pt x="4" y="3"/>
                    </a:cubicBezTo>
                  </a:path>
                </a:pathLst>
              </a:custGeom>
              <a:solidFill>
                <a:srgbClr val="F68B1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787" name="Freeform 591"/>
              <p:cNvSpPr>
                <a:spLocks/>
              </p:cNvSpPr>
              <p:nvPr userDrawn="1"/>
            </p:nvSpPr>
            <p:spPr bwMode="auto">
              <a:xfrm>
                <a:off x="3791" y="1685"/>
                <a:ext cx="3" cy="1"/>
              </a:xfrm>
              <a:custGeom>
                <a:avLst/>
                <a:gdLst>
                  <a:gd name="T0" fmla="*/ 0 w 3"/>
                  <a:gd name="T1" fmla="*/ 0 h 1"/>
                  <a:gd name="T2" fmla="*/ 0 w 3"/>
                  <a:gd name="T3" fmla="*/ 0 h 1"/>
                  <a:gd name="T4" fmla="*/ 3 w 3"/>
                  <a:gd name="T5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3" y="1"/>
                      <a:pt x="3" y="1"/>
                      <a:pt x="3" y="1"/>
                    </a:cubicBezTo>
                  </a:path>
                </a:pathLst>
              </a:custGeom>
              <a:solidFill>
                <a:srgbClr val="F68B1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788" name="Freeform 592"/>
              <p:cNvSpPr>
                <a:spLocks/>
              </p:cNvSpPr>
              <p:nvPr userDrawn="1"/>
            </p:nvSpPr>
            <p:spPr bwMode="auto">
              <a:xfrm>
                <a:off x="3769" y="1696"/>
                <a:ext cx="7" cy="5"/>
              </a:xfrm>
              <a:custGeom>
                <a:avLst/>
                <a:gdLst>
                  <a:gd name="T0" fmla="*/ 7 w 7"/>
                  <a:gd name="T1" fmla="*/ 5 h 5"/>
                  <a:gd name="T2" fmla="*/ 4 w 7"/>
                  <a:gd name="T3" fmla="*/ 2 h 5"/>
                  <a:gd name="T4" fmla="*/ 0 w 7"/>
                  <a:gd name="T5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5">
                    <a:moveTo>
                      <a:pt x="7" y="5"/>
                    </a:moveTo>
                    <a:cubicBezTo>
                      <a:pt x="4" y="2"/>
                      <a:pt x="4" y="2"/>
                      <a:pt x="4" y="2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8D918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789" name="Freeform 593"/>
              <p:cNvSpPr>
                <a:spLocks/>
              </p:cNvSpPr>
              <p:nvPr userDrawn="1"/>
            </p:nvSpPr>
            <p:spPr bwMode="auto">
              <a:xfrm>
                <a:off x="3784" y="2040"/>
                <a:ext cx="74" cy="95"/>
              </a:xfrm>
              <a:custGeom>
                <a:avLst/>
                <a:gdLst>
                  <a:gd name="T0" fmla="*/ 2 w 74"/>
                  <a:gd name="T1" fmla="*/ 7 h 95"/>
                  <a:gd name="T2" fmla="*/ 9 w 74"/>
                  <a:gd name="T3" fmla="*/ 6 h 95"/>
                  <a:gd name="T4" fmla="*/ 15 w 74"/>
                  <a:gd name="T5" fmla="*/ 0 h 95"/>
                  <a:gd name="T6" fmla="*/ 22 w 74"/>
                  <a:gd name="T7" fmla="*/ 2 h 95"/>
                  <a:gd name="T8" fmla="*/ 28 w 74"/>
                  <a:gd name="T9" fmla="*/ 7 h 95"/>
                  <a:gd name="T10" fmla="*/ 35 w 74"/>
                  <a:gd name="T11" fmla="*/ 16 h 95"/>
                  <a:gd name="T12" fmla="*/ 46 w 74"/>
                  <a:gd name="T13" fmla="*/ 22 h 95"/>
                  <a:gd name="T14" fmla="*/ 44 w 74"/>
                  <a:gd name="T15" fmla="*/ 28 h 95"/>
                  <a:gd name="T16" fmla="*/ 51 w 74"/>
                  <a:gd name="T17" fmla="*/ 33 h 95"/>
                  <a:gd name="T18" fmla="*/ 58 w 74"/>
                  <a:gd name="T19" fmla="*/ 34 h 95"/>
                  <a:gd name="T20" fmla="*/ 68 w 74"/>
                  <a:gd name="T21" fmla="*/ 31 h 95"/>
                  <a:gd name="T22" fmla="*/ 66 w 74"/>
                  <a:gd name="T23" fmla="*/ 37 h 95"/>
                  <a:gd name="T24" fmla="*/ 65 w 74"/>
                  <a:gd name="T25" fmla="*/ 48 h 95"/>
                  <a:gd name="T26" fmla="*/ 71 w 74"/>
                  <a:gd name="T27" fmla="*/ 60 h 95"/>
                  <a:gd name="T28" fmla="*/ 73 w 74"/>
                  <a:gd name="T29" fmla="*/ 68 h 95"/>
                  <a:gd name="T30" fmla="*/ 67 w 74"/>
                  <a:gd name="T31" fmla="*/ 76 h 95"/>
                  <a:gd name="T32" fmla="*/ 68 w 74"/>
                  <a:gd name="T33" fmla="*/ 83 h 95"/>
                  <a:gd name="T34" fmla="*/ 60 w 74"/>
                  <a:gd name="T35" fmla="*/ 85 h 95"/>
                  <a:gd name="T36" fmla="*/ 50 w 74"/>
                  <a:gd name="T37" fmla="*/ 86 h 95"/>
                  <a:gd name="T38" fmla="*/ 43 w 74"/>
                  <a:gd name="T39" fmla="*/ 89 h 95"/>
                  <a:gd name="T40" fmla="*/ 38 w 74"/>
                  <a:gd name="T41" fmla="*/ 94 h 95"/>
                  <a:gd name="T42" fmla="*/ 36 w 74"/>
                  <a:gd name="T43" fmla="*/ 93 h 95"/>
                  <a:gd name="T44" fmla="*/ 35 w 74"/>
                  <a:gd name="T45" fmla="*/ 85 h 95"/>
                  <a:gd name="T46" fmla="*/ 29 w 74"/>
                  <a:gd name="T47" fmla="*/ 83 h 95"/>
                  <a:gd name="T48" fmla="*/ 26 w 74"/>
                  <a:gd name="T49" fmla="*/ 77 h 95"/>
                  <a:gd name="T50" fmla="*/ 28 w 74"/>
                  <a:gd name="T51" fmla="*/ 73 h 95"/>
                  <a:gd name="T52" fmla="*/ 24 w 74"/>
                  <a:gd name="T53" fmla="*/ 69 h 95"/>
                  <a:gd name="T54" fmla="*/ 17 w 74"/>
                  <a:gd name="T55" fmla="*/ 66 h 95"/>
                  <a:gd name="T56" fmla="*/ 15 w 74"/>
                  <a:gd name="T57" fmla="*/ 61 h 95"/>
                  <a:gd name="T58" fmla="*/ 12 w 74"/>
                  <a:gd name="T59" fmla="*/ 56 h 95"/>
                  <a:gd name="T60" fmla="*/ 8 w 74"/>
                  <a:gd name="T61" fmla="*/ 49 h 95"/>
                  <a:gd name="T62" fmla="*/ 13 w 74"/>
                  <a:gd name="T63" fmla="*/ 49 h 95"/>
                  <a:gd name="T64" fmla="*/ 12 w 74"/>
                  <a:gd name="T65" fmla="*/ 45 h 95"/>
                  <a:gd name="T66" fmla="*/ 5 w 74"/>
                  <a:gd name="T67" fmla="*/ 40 h 95"/>
                  <a:gd name="T68" fmla="*/ 8 w 74"/>
                  <a:gd name="T69" fmla="*/ 32 h 95"/>
                  <a:gd name="T70" fmla="*/ 6 w 74"/>
                  <a:gd name="T71" fmla="*/ 28 h 95"/>
                  <a:gd name="T72" fmla="*/ 4 w 74"/>
                  <a:gd name="T73" fmla="*/ 28 h 95"/>
                  <a:gd name="T74" fmla="*/ 6 w 74"/>
                  <a:gd name="T75" fmla="*/ 24 h 95"/>
                  <a:gd name="T76" fmla="*/ 8 w 74"/>
                  <a:gd name="T77" fmla="*/ 22 h 95"/>
                  <a:gd name="T78" fmla="*/ 4 w 74"/>
                  <a:gd name="T79" fmla="*/ 20 h 95"/>
                  <a:gd name="T80" fmla="*/ 0 w 74"/>
                  <a:gd name="T81" fmla="*/ 10 h 95"/>
                  <a:gd name="T82" fmla="*/ 0 w 74"/>
                  <a:gd name="T83" fmla="*/ 9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74" h="95">
                    <a:moveTo>
                      <a:pt x="0" y="9"/>
                    </a:moveTo>
                    <a:lnTo>
                      <a:pt x="2" y="7"/>
                    </a:lnTo>
                    <a:lnTo>
                      <a:pt x="6" y="5"/>
                    </a:lnTo>
                    <a:lnTo>
                      <a:pt x="9" y="6"/>
                    </a:lnTo>
                    <a:lnTo>
                      <a:pt x="10" y="4"/>
                    </a:lnTo>
                    <a:lnTo>
                      <a:pt x="15" y="0"/>
                    </a:lnTo>
                    <a:lnTo>
                      <a:pt x="18" y="1"/>
                    </a:lnTo>
                    <a:lnTo>
                      <a:pt x="22" y="2"/>
                    </a:lnTo>
                    <a:lnTo>
                      <a:pt x="28" y="4"/>
                    </a:lnTo>
                    <a:lnTo>
                      <a:pt x="28" y="7"/>
                    </a:lnTo>
                    <a:lnTo>
                      <a:pt x="34" y="13"/>
                    </a:lnTo>
                    <a:lnTo>
                      <a:pt x="35" y="16"/>
                    </a:lnTo>
                    <a:lnTo>
                      <a:pt x="40" y="18"/>
                    </a:lnTo>
                    <a:lnTo>
                      <a:pt x="46" y="22"/>
                    </a:lnTo>
                    <a:lnTo>
                      <a:pt x="43" y="27"/>
                    </a:lnTo>
                    <a:lnTo>
                      <a:pt x="44" y="28"/>
                    </a:lnTo>
                    <a:lnTo>
                      <a:pt x="50" y="30"/>
                    </a:lnTo>
                    <a:lnTo>
                      <a:pt x="51" y="33"/>
                    </a:lnTo>
                    <a:lnTo>
                      <a:pt x="55" y="31"/>
                    </a:lnTo>
                    <a:lnTo>
                      <a:pt x="58" y="34"/>
                    </a:lnTo>
                    <a:lnTo>
                      <a:pt x="62" y="30"/>
                    </a:lnTo>
                    <a:lnTo>
                      <a:pt x="68" y="31"/>
                    </a:lnTo>
                    <a:lnTo>
                      <a:pt x="65" y="35"/>
                    </a:lnTo>
                    <a:lnTo>
                      <a:pt x="66" y="37"/>
                    </a:lnTo>
                    <a:lnTo>
                      <a:pt x="68" y="45"/>
                    </a:lnTo>
                    <a:lnTo>
                      <a:pt x="65" y="48"/>
                    </a:lnTo>
                    <a:lnTo>
                      <a:pt x="67" y="54"/>
                    </a:lnTo>
                    <a:lnTo>
                      <a:pt x="71" y="60"/>
                    </a:lnTo>
                    <a:lnTo>
                      <a:pt x="74" y="65"/>
                    </a:lnTo>
                    <a:lnTo>
                      <a:pt x="73" y="68"/>
                    </a:lnTo>
                    <a:lnTo>
                      <a:pt x="67" y="73"/>
                    </a:lnTo>
                    <a:lnTo>
                      <a:pt x="67" y="76"/>
                    </a:lnTo>
                    <a:lnTo>
                      <a:pt x="70" y="80"/>
                    </a:lnTo>
                    <a:lnTo>
                      <a:pt x="68" y="83"/>
                    </a:lnTo>
                    <a:lnTo>
                      <a:pt x="65" y="83"/>
                    </a:lnTo>
                    <a:lnTo>
                      <a:pt x="60" y="85"/>
                    </a:lnTo>
                    <a:lnTo>
                      <a:pt x="56" y="84"/>
                    </a:lnTo>
                    <a:lnTo>
                      <a:pt x="50" y="86"/>
                    </a:lnTo>
                    <a:lnTo>
                      <a:pt x="47" y="88"/>
                    </a:lnTo>
                    <a:lnTo>
                      <a:pt x="43" y="89"/>
                    </a:lnTo>
                    <a:lnTo>
                      <a:pt x="38" y="92"/>
                    </a:lnTo>
                    <a:lnTo>
                      <a:pt x="38" y="94"/>
                    </a:lnTo>
                    <a:lnTo>
                      <a:pt x="37" y="95"/>
                    </a:lnTo>
                    <a:lnTo>
                      <a:pt x="36" y="93"/>
                    </a:lnTo>
                    <a:lnTo>
                      <a:pt x="36" y="88"/>
                    </a:lnTo>
                    <a:lnTo>
                      <a:pt x="35" y="85"/>
                    </a:lnTo>
                    <a:lnTo>
                      <a:pt x="31" y="83"/>
                    </a:lnTo>
                    <a:lnTo>
                      <a:pt x="29" y="83"/>
                    </a:lnTo>
                    <a:lnTo>
                      <a:pt x="27" y="78"/>
                    </a:lnTo>
                    <a:lnTo>
                      <a:pt x="26" y="77"/>
                    </a:lnTo>
                    <a:lnTo>
                      <a:pt x="26" y="76"/>
                    </a:lnTo>
                    <a:lnTo>
                      <a:pt x="28" y="73"/>
                    </a:lnTo>
                    <a:lnTo>
                      <a:pt x="28" y="70"/>
                    </a:lnTo>
                    <a:lnTo>
                      <a:pt x="24" y="69"/>
                    </a:lnTo>
                    <a:lnTo>
                      <a:pt x="21" y="66"/>
                    </a:lnTo>
                    <a:lnTo>
                      <a:pt x="17" y="66"/>
                    </a:lnTo>
                    <a:lnTo>
                      <a:pt x="15" y="64"/>
                    </a:lnTo>
                    <a:lnTo>
                      <a:pt x="15" y="61"/>
                    </a:lnTo>
                    <a:lnTo>
                      <a:pt x="11" y="58"/>
                    </a:lnTo>
                    <a:lnTo>
                      <a:pt x="12" y="56"/>
                    </a:lnTo>
                    <a:lnTo>
                      <a:pt x="8" y="52"/>
                    </a:lnTo>
                    <a:lnTo>
                      <a:pt x="8" y="49"/>
                    </a:lnTo>
                    <a:lnTo>
                      <a:pt x="10" y="47"/>
                    </a:lnTo>
                    <a:lnTo>
                      <a:pt x="13" y="49"/>
                    </a:lnTo>
                    <a:lnTo>
                      <a:pt x="14" y="47"/>
                    </a:lnTo>
                    <a:lnTo>
                      <a:pt x="12" y="45"/>
                    </a:lnTo>
                    <a:lnTo>
                      <a:pt x="9" y="45"/>
                    </a:lnTo>
                    <a:lnTo>
                      <a:pt x="5" y="40"/>
                    </a:lnTo>
                    <a:lnTo>
                      <a:pt x="5" y="38"/>
                    </a:lnTo>
                    <a:lnTo>
                      <a:pt x="8" y="32"/>
                    </a:lnTo>
                    <a:lnTo>
                      <a:pt x="8" y="28"/>
                    </a:lnTo>
                    <a:lnTo>
                      <a:pt x="6" y="28"/>
                    </a:lnTo>
                    <a:lnTo>
                      <a:pt x="5" y="28"/>
                    </a:lnTo>
                    <a:lnTo>
                      <a:pt x="4" y="28"/>
                    </a:lnTo>
                    <a:lnTo>
                      <a:pt x="4" y="25"/>
                    </a:lnTo>
                    <a:lnTo>
                      <a:pt x="6" y="24"/>
                    </a:lnTo>
                    <a:lnTo>
                      <a:pt x="8" y="24"/>
                    </a:lnTo>
                    <a:lnTo>
                      <a:pt x="8" y="22"/>
                    </a:lnTo>
                    <a:lnTo>
                      <a:pt x="5" y="22"/>
                    </a:lnTo>
                    <a:lnTo>
                      <a:pt x="4" y="20"/>
                    </a:lnTo>
                    <a:lnTo>
                      <a:pt x="2" y="15"/>
                    </a:lnTo>
                    <a:lnTo>
                      <a:pt x="0" y="10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F68B1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790" name="Freeform 594"/>
              <p:cNvSpPr>
                <a:spLocks noEditPoints="1"/>
              </p:cNvSpPr>
              <p:nvPr userDrawn="1"/>
            </p:nvSpPr>
            <p:spPr bwMode="auto">
              <a:xfrm>
                <a:off x="3336" y="1679"/>
                <a:ext cx="158" cy="281"/>
              </a:xfrm>
              <a:custGeom>
                <a:avLst/>
                <a:gdLst>
                  <a:gd name="T0" fmla="*/ 8 w 166"/>
                  <a:gd name="T1" fmla="*/ 168 h 294"/>
                  <a:gd name="T2" fmla="*/ 38 w 166"/>
                  <a:gd name="T3" fmla="*/ 170 h 294"/>
                  <a:gd name="T4" fmla="*/ 35 w 166"/>
                  <a:gd name="T5" fmla="*/ 185 h 294"/>
                  <a:gd name="T6" fmla="*/ 119 w 166"/>
                  <a:gd name="T7" fmla="*/ 0 h 294"/>
                  <a:gd name="T8" fmla="*/ 115 w 166"/>
                  <a:gd name="T9" fmla="*/ 5 h 294"/>
                  <a:gd name="T10" fmla="*/ 111 w 166"/>
                  <a:gd name="T11" fmla="*/ 12 h 294"/>
                  <a:gd name="T12" fmla="*/ 152 w 166"/>
                  <a:gd name="T13" fmla="*/ 253 h 294"/>
                  <a:gd name="T14" fmla="*/ 110 w 166"/>
                  <a:gd name="T15" fmla="*/ 275 h 294"/>
                  <a:gd name="T16" fmla="*/ 19 w 166"/>
                  <a:gd name="T17" fmla="*/ 123 h 294"/>
                  <a:gd name="T18" fmla="*/ 28 w 166"/>
                  <a:gd name="T19" fmla="*/ 110 h 294"/>
                  <a:gd name="T20" fmla="*/ 79 w 166"/>
                  <a:gd name="T21" fmla="*/ 58 h 294"/>
                  <a:gd name="T22" fmla="*/ 76 w 166"/>
                  <a:gd name="T23" fmla="*/ 66 h 294"/>
                  <a:gd name="T24" fmla="*/ 33 w 166"/>
                  <a:gd name="T25" fmla="*/ 77 h 294"/>
                  <a:gd name="T26" fmla="*/ 22 w 166"/>
                  <a:gd name="T27" fmla="*/ 87 h 294"/>
                  <a:gd name="T28" fmla="*/ 13 w 166"/>
                  <a:gd name="T29" fmla="*/ 99 h 294"/>
                  <a:gd name="T30" fmla="*/ 16 w 166"/>
                  <a:gd name="T31" fmla="*/ 103 h 294"/>
                  <a:gd name="T32" fmla="*/ 28 w 166"/>
                  <a:gd name="T33" fmla="*/ 101 h 294"/>
                  <a:gd name="T34" fmla="*/ 32 w 166"/>
                  <a:gd name="T35" fmla="*/ 103 h 294"/>
                  <a:gd name="T36" fmla="*/ 38 w 166"/>
                  <a:gd name="T37" fmla="*/ 124 h 294"/>
                  <a:gd name="T38" fmla="*/ 36 w 166"/>
                  <a:gd name="T39" fmla="*/ 140 h 294"/>
                  <a:gd name="T40" fmla="*/ 48 w 166"/>
                  <a:gd name="T41" fmla="*/ 154 h 294"/>
                  <a:gd name="T42" fmla="*/ 52 w 166"/>
                  <a:gd name="T43" fmla="*/ 188 h 294"/>
                  <a:gd name="T44" fmla="*/ 49 w 166"/>
                  <a:gd name="T45" fmla="*/ 289 h 294"/>
                  <a:gd name="T46" fmla="*/ 73 w 166"/>
                  <a:gd name="T47" fmla="*/ 287 h 294"/>
                  <a:gd name="T48" fmla="*/ 96 w 166"/>
                  <a:gd name="T49" fmla="*/ 277 h 294"/>
                  <a:gd name="T50" fmla="*/ 124 w 166"/>
                  <a:gd name="T51" fmla="*/ 273 h 294"/>
                  <a:gd name="T52" fmla="*/ 155 w 166"/>
                  <a:gd name="T53" fmla="*/ 265 h 294"/>
                  <a:gd name="T54" fmla="*/ 148 w 166"/>
                  <a:gd name="T55" fmla="*/ 254 h 294"/>
                  <a:gd name="T56" fmla="*/ 153 w 166"/>
                  <a:gd name="T57" fmla="*/ 244 h 294"/>
                  <a:gd name="T58" fmla="*/ 163 w 166"/>
                  <a:gd name="T59" fmla="*/ 236 h 294"/>
                  <a:gd name="T60" fmla="*/ 134 w 166"/>
                  <a:gd name="T61" fmla="*/ 216 h 294"/>
                  <a:gd name="T62" fmla="*/ 123 w 166"/>
                  <a:gd name="T63" fmla="*/ 195 h 294"/>
                  <a:gd name="T64" fmla="*/ 128 w 166"/>
                  <a:gd name="T65" fmla="*/ 184 h 294"/>
                  <a:gd name="T66" fmla="*/ 102 w 166"/>
                  <a:gd name="T67" fmla="*/ 148 h 294"/>
                  <a:gd name="T68" fmla="*/ 69 w 166"/>
                  <a:gd name="T69" fmla="*/ 135 h 294"/>
                  <a:gd name="T70" fmla="*/ 77 w 166"/>
                  <a:gd name="T71" fmla="*/ 127 h 294"/>
                  <a:gd name="T72" fmla="*/ 96 w 166"/>
                  <a:gd name="T73" fmla="*/ 102 h 294"/>
                  <a:gd name="T74" fmla="*/ 72 w 166"/>
                  <a:gd name="T75" fmla="*/ 94 h 294"/>
                  <a:gd name="T76" fmla="*/ 65 w 166"/>
                  <a:gd name="T77" fmla="*/ 87 h 294"/>
                  <a:gd name="T78" fmla="*/ 68 w 166"/>
                  <a:gd name="T79" fmla="*/ 71 h 294"/>
                  <a:gd name="T80" fmla="*/ 48 w 166"/>
                  <a:gd name="T81" fmla="*/ 73 h 294"/>
                  <a:gd name="T82" fmla="*/ 43 w 166"/>
                  <a:gd name="T83" fmla="*/ 89 h 294"/>
                  <a:gd name="T84" fmla="*/ 40 w 166"/>
                  <a:gd name="T85" fmla="*/ 98 h 294"/>
                  <a:gd name="T86" fmla="*/ 41 w 166"/>
                  <a:gd name="T87" fmla="*/ 105 h 294"/>
                  <a:gd name="T88" fmla="*/ 37 w 166"/>
                  <a:gd name="T89" fmla="*/ 116 h 294"/>
                  <a:gd name="T90" fmla="*/ 40 w 166"/>
                  <a:gd name="T91" fmla="*/ 124 h 294"/>
                  <a:gd name="T92" fmla="*/ 39 w 166"/>
                  <a:gd name="T93" fmla="*/ 142 h 294"/>
                  <a:gd name="T94" fmla="*/ 44 w 166"/>
                  <a:gd name="T95" fmla="*/ 143 h 294"/>
                  <a:gd name="T96" fmla="*/ 51 w 166"/>
                  <a:gd name="T97" fmla="*/ 133 h 294"/>
                  <a:gd name="T98" fmla="*/ 50 w 166"/>
                  <a:gd name="T99" fmla="*/ 165 h 294"/>
                  <a:gd name="T100" fmla="*/ 68 w 166"/>
                  <a:gd name="T101" fmla="*/ 168 h 294"/>
                  <a:gd name="T102" fmla="*/ 86 w 166"/>
                  <a:gd name="T103" fmla="*/ 184 h 294"/>
                  <a:gd name="T104" fmla="*/ 82 w 166"/>
                  <a:gd name="T105" fmla="*/ 204 h 294"/>
                  <a:gd name="T106" fmla="*/ 53 w 166"/>
                  <a:gd name="T107" fmla="*/ 221 h 294"/>
                  <a:gd name="T108" fmla="*/ 59 w 166"/>
                  <a:gd name="T109" fmla="*/ 236 h 294"/>
                  <a:gd name="T110" fmla="*/ 50 w 166"/>
                  <a:gd name="T111" fmla="*/ 251 h 294"/>
                  <a:gd name="T112" fmla="*/ 72 w 166"/>
                  <a:gd name="T113" fmla="*/ 254 h 294"/>
                  <a:gd name="T114" fmla="*/ 82 w 166"/>
                  <a:gd name="T115" fmla="*/ 262 h 294"/>
                  <a:gd name="T116" fmla="*/ 49 w 166"/>
                  <a:gd name="T117" fmla="*/ 279 h 294"/>
                  <a:gd name="T118" fmla="*/ 45 w 166"/>
                  <a:gd name="T119" fmla="*/ 294 h 2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66" h="294">
                    <a:moveTo>
                      <a:pt x="30" y="189"/>
                    </a:moveTo>
                    <a:cubicBezTo>
                      <a:pt x="26" y="187"/>
                      <a:pt x="26" y="187"/>
                      <a:pt x="26" y="187"/>
                    </a:cubicBezTo>
                    <a:cubicBezTo>
                      <a:pt x="23" y="186"/>
                      <a:pt x="23" y="186"/>
                      <a:pt x="23" y="186"/>
                    </a:cubicBezTo>
                    <a:cubicBezTo>
                      <a:pt x="19" y="179"/>
                      <a:pt x="19" y="179"/>
                      <a:pt x="19" y="179"/>
                    </a:cubicBezTo>
                    <a:cubicBezTo>
                      <a:pt x="14" y="176"/>
                      <a:pt x="14" y="176"/>
                      <a:pt x="14" y="176"/>
                    </a:cubicBezTo>
                    <a:cubicBezTo>
                      <a:pt x="11" y="178"/>
                      <a:pt x="11" y="178"/>
                      <a:pt x="11" y="178"/>
                    </a:cubicBezTo>
                    <a:cubicBezTo>
                      <a:pt x="10" y="183"/>
                      <a:pt x="10" y="183"/>
                      <a:pt x="10" y="183"/>
                    </a:cubicBezTo>
                    <a:cubicBezTo>
                      <a:pt x="8" y="184"/>
                      <a:pt x="8" y="184"/>
                      <a:pt x="8" y="184"/>
                    </a:cubicBezTo>
                    <a:cubicBezTo>
                      <a:pt x="0" y="176"/>
                      <a:pt x="0" y="176"/>
                      <a:pt x="0" y="176"/>
                    </a:cubicBezTo>
                    <a:cubicBezTo>
                      <a:pt x="4" y="168"/>
                      <a:pt x="4" y="168"/>
                      <a:pt x="4" y="168"/>
                    </a:cubicBezTo>
                    <a:cubicBezTo>
                      <a:pt x="8" y="168"/>
                      <a:pt x="8" y="168"/>
                      <a:pt x="8" y="168"/>
                    </a:cubicBezTo>
                    <a:cubicBezTo>
                      <a:pt x="9" y="164"/>
                      <a:pt x="9" y="164"/>
                      <a:pt x="9" y="164"/>
                    </a:cubicBezTo>
                    <a:cubicBezTo>
                      <a:pt x="11" y="163"/>
                      <a:pt x="11" y="163"/>
                      <a:pt x="11" y="163"/>
                    </a:cubicBezTo>
                    <a:cubicBezTo>
                      <a:pt x="13" y="161"/>
                      <a:pt x="13" y="161"/>
                      <a:pt x="13" y="161"/>
                    </a:cubicBezTo>
                    <a:cubicBezTo>
                      <a:pt x="17" y="160"/>
                      <a:pt x="17" y="160"/>
                      <a:pt x="17" y="160"/>
                    </a:cubicBezTo>
                    <a:cubicBezTo>
                      <a:pt x="18" y="159"/>
                      <a:pt x="18" y="159"/>
                      <a:pt x="18" y="159"/>
                    </a:cubicBezTo>
                    <a:cubicBezTo>
                      <a:pt x="20" y="159"/>
                      <a:pt x="20" y="159"/>
                      <a:pt x="20" y="159"/>
                    </a:cubicBezTo>
                    <a:cubicBezTo>
                      <a:pt x="24" y="157"/>
                      <a:pt x="24" y="157"/>
                      <a:pt x="24" y="157"/>
                    </a:cubicBezTo>
                    <a:cubicBezTo>
                      <a:pt x="29" y="157"/>
                      <a:pt x="29" y="157"/>
                      <a:pt x="29" y="157"/>
                    </a:cubicBezTo>
                    <a:cubicBezTo>
                      <a:pt x="32" y="159"/>
                      <a:pt x="32" y="159"/>
                      <a:pt x="32" y="159"/>
                    </a:cubicBezTo>
                    <a:cubicBezTo>
                      <a:pt x="33" y="162"/>
                      <a:pt x="33" y="162"/>
                      <a:pt x="33" y="162"/>
                    </a:cubicBezTo>
                    <a:cubicBezTo>
                      <a:pt x="38" y="170"/>
                      <a:pt x="38" y="170"/>
                      <a:pt x="38" y="170"/>
                    </a:cubicBezTo>
                    <a:cubicBezTo>
                      <a:pt x="35" y="172"/>
                      <a:pt x="35" y="172"/>
                      <a:pt x="35" y="172"/>
                    </a:cubicBezTo>
                    <a:cubicBezTo>
                      <a:pt x="41" y="172"/>
                      <a:pt x="41" y="172"/>
                      <a:pt x="41" y="172"/>
                    </a:cubicBezTo>
                    <a:cubicBezTo>
                      <a:pt x="42" y="180"/>
                      <a:pt x="42" y="180"/>
                      <a:pt x="42" y="180"/>
                    </a:cubicBezTo>
                    <a:cubicBezTo>
                      <a:pt x="40" y="174"/>
                      <a:pt x="40" y="174"/>
                      <a:pt x="40" y="174"/>
                    </a:cubicBezTo>
                    <a:cubicBezTo>
                      <a:pt x="37" y="174"/>
                      <a:pt x="37" y="174"/>
                      <a:pt x="37" y="174"/>
                    </a:cubicBezTo>
                    <a:cubicBezTo>
                      <a:pt x="39" y="176"/>
                      <a:pt x="39" y="176"/>
                      <a:pt x="39" y="176"/>
                    </a:cubicBezTo>
                    <a:cubicBezTo>
                      <a:pt x="37" y="179"/>
                      <a:pt x="37" y="179"/>
                      <a:pt x="37" y="179"/>
                    </a:cubicBezTo>
                    <a:cubicBezTo>
                      <a:pt x="40" y="180"/>
                      <a:pt x="40" y="180"/>
                      <a:pt x="40" y="180"/>
                    </a:cubicBezTo>
                    <a:cubicBezTo>
                      <a:pt x="40" y="183"/>
                      <a:pt x="40" y="183"/>
                      <a:pt x="40" y="183"/>
                    </a:cubicBezTo>
                    <a:cubicBezTo>
                      <a:pt x="35" y="182"/>
                      <a:pt x="35" y="182"/>
                      <a:pt x="35" y="182"/>
                    </a:cubicBezTo>
                    <a:cubicBezTo>
                      <a:pt x="35" y="185"/>
                      <a:pt x="35" y="185"/>
                      <a:pt x="35" y="185"/>
                    </a:cubicBezTo>
                    <a:cubicBezTo>
                      <a:pt x="32" y="187"/>
                      <a:pt x="32" y="187"/>
                      <a:pt x="32" y="187"/>
                    </a:cubicBezTo>
                    <a:cubicBezTo>
                      <a:pt x="30" y="187"/>
                      <a:pt x="30" y="187"/>
                      <a:pt x="30" y="187"/>
                    </a:cubicBezTo>
                    <a:cubicBezTo>
                      <a:pt x="30" y="189"/>
                      <a:pt x="30" y="189"/>
                      <a:pt x="30" y="189"/>
                    </a:cubicBezTo>
                    <a:cubicBezTo>
                      <a:pt x="30" y="189"/>
                      <a:pt x="30" y="189"/>
                      <a:pt x="30" y="189"/>
                    </a:cubicBezTo>
                    <a:close/>
                    <a:moveTo>
                      <a:pt x="110" y="27"/>
                    </a:moveTo>
                    <a:cubicBezTo>
                      <a:pt x="112" y="23"/>
                      <a:pt x="112" y="23"/>
                      <a:pt x="112" y="23"/>
                    </a:cubicBezTo>
                    <a:cubicBezTo>
                      <a:pt x="113" y="25"/>
                      <a:pt x="113" y="25"/>
                      <a:pt x="113" y="25"/>
                    </a:cubicBezTo>
                    <a:cubicBezTo>
                      <a:pt x="110" y="27"/>
                      <a:pt x="110" y="27"/>
                      <a:pt x="110" y="27"/>
                    </a:cubicBezTo>
                    <a:close/>
                    <a:moveTo>
                      <a:pt x="118" y="4"/>
                    </a:moveTo>
                    <a:cubicBezTo>
                      <a:pt x="117" y="3"/>
                      <a:pt x="117" y="3"/>
                      <a:pt x="117" y="3"/>
                    </a:cubicBezTo>
                    <a:cubicBezTo>
                      <a:pt x="119" y="0"/>
                      <a:pt x="119" y="0"/>
                      <a:pt x="119" y="0"/>
                    </a:cubicBezTo>
                    <a:cubicBezTo>
                      <a:pt x="118" y="4"/>
                      <a:pt x="118" y="4"/>
                      <a:pt x="118" y="4"/>
                    </a:cubicBezTo>
                    <a:close/>
                    <a:moveTo>
                      <a:pt x="110" y="13"/>
                    </a:moveTo>
                    <a:cubicBezTo>
                      <a:pt x="110" y="9"/>
                      <a:pt x="110" y="9"/>
                      <a:pt x="110" y="9"/>
                    </a:cubicBezTo>
                    <a:cubicBezTo>
                      <a:pt x="107" y="9"/>
                      <a:pt x="107" y="9"/>
                      <a:pt x="107" y="9"/>
                    </a:cubicBezTo>
                    <a:cubicBezTo>
                      <a:pt x="107" y="11"/>
                      <a:pt x="107" y="11"/>
                      <a:pt x="107" y="11"/>
                    </a:cubicBezTo>
                    <a:cubicBezTo>
                      <a:pt x="107" y="11"/>
                      <a:pt x="109" y="13"/>
                      <a:pt x="110" y="13"/>
                    </a:cubicBezTo>
                    <a:close/>
                    <a:moveTo>
                      <a:pt x="114" y="11"/>
                    </a:moveTo>
                    <a:cubicBezTo>
                      <a:pt x="112" y="9"/>
                      <a:pt x="112" y="9"/>
                      <a:pt x="112" y="9"/>
                    </a:cubicBezTo>
                    <a:cubicBezTo>
                      <a:pt x="113" y="6"/>
                      <a:pt x="113" y="6"/>
                      <a:pt x="113" y="6"/>
                    </a:cubicBezTo>
                    <a:cubicBezTo>
                      <a:pt x="114" y="4"/>
                      <a:pt x="114" y="4"/>
                      <a:pt x="114" y="4"/>
                    </a:cubicBezTo>
                    <a:cubicBezTo>
                      <a:pt x="115" y="5"/>
                      <a:pt x="115" y="5"/>
                      <a:pt x="115" y="5"/>
                    </a:cubicBezTo>
                    <a:cubicBezTo>
                      <a:pt x="115" y="9"/>
                      <a:pt x="115" y="9"/>
                      <a:pt x="115" y="9"/>
                    </a:cubicBezTo>
                    <a:cubicBezTo>
                      <a:pt x="114" y="11"/>
                      <a:pt x="114" y="11"/>
                      <a:pt x="114" y="11"/>
                    </a:cubicBezTo>
                    <a:close/>
                    <a:moveTo>
                      <a:pt x="112" y="22"/>
                    </a:moveTo>
                    <a:cubicBezTo>
                      <a:pt x="110" y="19"/>
                      <a:pt x="110" y="19"/>
                      <a:pt x="110" y="19"/>
                    </a:cubicBezTo>
                    <a:cubicBezTo>
                      <a:pt x="106" y="18"/>
                      <a:pt x="106" y="18"/>
                      <a:pt x="106" y="18"/>
                    </a:cubicBezTo>
                    <a:cubicBezTo>
                      <a:pt x="104" y="17"/>
                      <a:pt x="104" y="17"/>
                      <a:pt x="104" y="17"/>
                    </a:cubicBezTo>
                    <a:cubicBezTo>
                      <a:pt x="107" y="16"/>
                      <a:pt x="107" y="16"/>
                      <a:pt x="107" y="16"/>
                    </a:cubicBezTo>
                    <a:cubicBezTo>
                      <a:pt x="111" y="16"/>
                      <a:pt x="111" y="16"/>
                      <a:pt x="111" y="16"/>
                    </a:cubicBezTo>
                    <a:cubicBezTo>
                      <a:pt x="111" y="14"/>
                      <a:pt x="111" y="14"/>
                      <a:pt x="111" y="14"/>
                    </a:cubicBezTo>
                    <a:cubicBezTo>
                      <a:pt x="110" y="13"/>
                      <a:pt x="110" y="13"/>
                      <a:pt x="110" y="13"/>
                    </a:cubicBezTo>
                    <a:cubicBezTo>
                      <a:pt x="111" y="12"/>
                      <a:pt x="111" y="12"/>
                      <a:pt x="111" y="12"/>
                    </a:cubicBezTo>
                    <a:cubicBezTo>
                      <a:pt x="113" y="13"/>
                      <a:pt x="113" y="13"/>
                      <a:pt x="113" y="13"/>
                    </a:cubicBezTo>
                    <a:cubicBezTo>
                      <a:pt x="116" y="14"/>
                      <a:pt x="116" y="14"/>
                      <a:pt x="116" y="14"/>
                    </a:cubicBezTo>
                    <a:cubicBezTo>
                      <a:pt x="114" y="16"/>
                      <a:pt x="114" y="16"/>
                      <a:pt x="114" y="16"/>
                    </a:cubicBezTo>
                    <a:cubicBezTo>
                      <a:pt x="115" y="18"/>
                      <a:pt x="115" y="18"/>
                      <a:pt x="115" y="18"/>
                    </a:cubicBezTo>
                    <a:cubicBezTo>
                      <a:pt x="113" y="19"/>
                      <a:pt x="113" y="19"/>
                      <a:pt x="113" y="19"/>
                    </a:cubicBezTo>
                    <a:cubicBezTo>
                      <a:pt x="114" y="22"/>
                      <a:pt x="114" y="22"/>
                      <a:pt x="114" y="22"/>
                    </a:cubicBezTo>
                    <a:cubicBezTo>
                      <a:pt x="112" y="22"/>
                      <a:pt x="112" y="22"/>
                      <a:pt x="112" y="22"/>
                    </a:cubicBezTo>
                    <a:close/>
                    <a:moveTo>
                      <a:pt x="149" y="254"/>
                    </a:moveTo>
                    <a:cubicBezTo>
                      <a:pt x="151" y="255"/>
                      <a:pt x="151" y="255"/>
                      <a:pt x="151" y="255"/>
                    </a:cubicBezTo>
                    <a:cubicBezTo>
                      <a:pt x="153" y="255"/>
                      <a:pt x="153" y="255"/>
                      <a:pt x="153" y="255"/>
                    </a:cubicBezTo>
                    <a:cubicBezTo>
                      <a:pt x="152" y="253"/>
                      <a:pt x="152" y="253"/>
                      <a:pt x="152" y="253"/>
                    </a:cubicBezTo>
                    <a:cubicBezTo>
                      <a:pt x="151" y="253"/>
                      <a:pt x="151" y="253"/>
                      <a:pt x="151" y="253"/>
                    </a:cubicBezTo>
                    <a:cubicBezTo>
                      <a:pt x="149" y="254"/>
                      <a:pt x="149" y="254"/>
                      <a:pt x="149" y="254"/>
                    </a:cubicBezTo>
                    <a:close/>
                    <a:moveTo>
                      <a:pt x="110" y="275"/>
                    </a:moveTo>
                    <a:cubicBezTo>
                      <a:pt x="115" y="273"/>
                      <a:pt x="115" y="273"/>
                      <a:pt x="115" y="273"/>
                    </a:cubicBezTo>
                    <a:cubicBezTo>
                      <a:pt x="117" y="274"/>
                      <a:pt x="117" y="274"/>
                      <a:pt x="117" y="274"/>
                    </a:cubicBezTo>
                    <a:cubicBezTo>
                      <a:pt x="119" y="274"/>
                      <a:pt x="119" y="274"/>
                      <a:pt x="119" y="274"/>
                    </a:cubicBezTo>
                    <a:cubicBezTo>
                      <a:pt x="117" y="276"/>
                      <a:pt x="117" y="276"/>
                      <a:pt x="117" y="276"/>
                    </a:cubicBezTo>
                    <a:cubicBezTo>
                      <a:pt x="117" y="277"/>
                      <a:pt x="117" y="277"/>
                      <a:pt x="117" y="277"/>
                    </a:cubicBezTo>
                    <a:cubicBezTo>
                      <a:pt x="115" y="278"/>
                      <a:pt x="115" y="278"/>
                      <a:pt x="115" y="278"/>
                    </a:cubicBezTo>
                    <a:cubicBezTo>
                      <a:pt x="112" y="276"/>
                      <a:pt x="112" y="276"/>
                      <a:pt x="112" y="276"/>
                    </a:cubicBezTo>
                    <a:cubicBezTo>
                      <a:pt x="110" y="275"/>
                      <a:pt x="110" y="275"/>
                      <a:pt x="110" y="275"/>
                    </a:cubicBezTo>
                    <a:close/>
                    <a:moveTo>
                      <a:pt x="48" y="140"/>
                    </a:moveTo>
                    <a:cubicBezTo>
                      <a:pt x="47" y="143"/>
                      <a:pt x="47" y="143"/>
                      <a:pt x="47" y="143"/>
                    </a:cubicBezTo>
                    <a:cubicBezTo>
                      <a:pt x="49" y="144"/>
                      <a:pt x="49" y="144"/>
                      <a:pt x="49" y="144"/>
                    </a:cubicBezTo>
                    <a:cubicBezTo>
                      <a:pt x="49" y="142"/>
                      <a:pt x="49" y="142"/>
                      <a:pt x="49" y="142"/>
                    </a:cubicBezTo>
                    <a:cubicBezTo>
                      <a:pt x="48" y="140"/>
                      <a:pt x="48" y="140"/>
                      <a:pt x="48" y="140"/>
                    </a:cubicBezTo>
                    <a:close/>
                    <a:moveTo>
                      <a:pt x="30" y="137"/>
                    </a:moveTo>
                    <a:cubicBezTo>
                      <a:pt x="31" y="134"/>
                      <a:pt x="31" y="134"/>
                      <a:pt x="31" y="134"/>
                    </a:cubicBezTo>
                    <a:cubicBezTo>
                      <a:pt x="31" y="136"/>
                      <a:pt x="31" y="136"/>
                      <a:pt x="31" y="136"/>
                    </a:cubicBezTo>
                    <a:cubicBezTo>
                      <a:pt x="30" y="137"/>
                      <a:pt x="30" y="137"/>
                      <a:pt x="30" y="137"/>
                    </a:cubicBezTo>
                    <a:close/>
                    <a:moveTo>
                      <a:pt x="19" y="126"/>
                    </a:moveTo>
                    <a:cubicBezTo>
                      <a:pt x="19" y="123"/>
                      <a:pt x="19" y="123"/>
                      <a:pt x="19" y="123"/>
                    </a:cubicBezTo>
                    <a:cubicBezTo>
                      <a:pt x="22" y="123"/>
                      <a:pt x="22" y="123"/>
                      <a:pt x="22" y="123"/>
                    </a:cubicBezTo>
                    <a:cubicBezTo>
                      <a:pt x="19" y="126"/>
                      <a:pt x="19" y="126"/>
                      <a:pt x="19" y="126"/>
                    </a:cubicBezTo>
                    <a:close/>
                    <a:moveTo>
                      <a:pt x="24" y="122"/>
                    </a:moveTo>
                    <a:cubicBezTo>
                      <a:pt x="27" y="118"/>
                      <a:pt x="27" y="118"/>
                      <a:pt x="27" y="118"/>
                    </a:cubicBezTo>
                    <a:cubicBezTo>
                      <a:pt x="26" y="121"/>
                      <a:pt x="26" y="121"/>
                      <a:pt x="26" y="121"/>
                    </a:cubicBezTo>
                    <a:cubicBezTo>
                      <a:pt x="24" y="122"/>
                      <a:pt x="24" y="122"/>
                      <a:pt x="24" y="122"/>
                    </a:cubicBezTo>
                    <a:close/>
                    <a:moveTo>
                      <a:pt x="31" y="115"/>
                    </a:moveTo>
                    <a:cubicBezTo>
                      <a:pt x="33" y="113"/>
                      <a:pt x="33" y="113"/>
                      <a:pt x="33" y="113"/>
                    </a:cubicBezTo>
                    <a:cubicBezTo>
                      <a:pt x="31" y="113"/>
                      <a:pt x="31" y="113"/>
                      <a:pt x="31" y="113"/>
                    </a:cubicBezTo>
                    <a:cubicBezTo>
                      <a:pt x="31" y="115"/>
                      <a:pt x="31" y="115"/>
                      <a:pt x="31" y="115"/>
                    </a:cubicBezTo>
                    <a:close/>
                    <a:moveTo>
                      <a:pt x="28" y="110"/>
                    </a:moveTo>
                    <a:cubicBezTo>
                      <a:pt x="29" y="113"/>
                      <a:pt x="29" y="113"/>
                      <a:pt x="29" y="113"/>
                    </a:cubicBezTo>
                    <a:cubicBezTo>
                      <a:pt x="31" y="112"/>
                      <a:pt x="31" y="112"/>
                      <a:pt x="31" y="112"/>
                    </a:cubicBezTo>
                    <a:cubicBezTo>
                      <a:pt x="30" y="110"/>
                      <a:pt x="30" y="110"/>
                      <a:pt x="30" y="110"/>
                    </a:cubicBezTo>
                    <a:cubicBezTo>
                      <a:pt x="28" y="110"/>
                      <a:pt x="28" y="110"/>
                      <a:pt x="28" y="110"/>
                    </a:cubicBezTo>
                    <a:close/>
                    <a:moveTo>
                      <a:pt x="78" y="55"/>
                    </a:moveTo>
                    <a:cubicBezTo>
                      <a:pt x="79" y="57"/>
                      <a:pt x="79" y="57"/>
                      <a:pt x="79" y="57"/>
                    </a:cubicBezTo>
                    <a:cubicBezTo>
                      <a:pt x="80" y="55"/>
                      <a:pt x="80" y="55"/>
                      <a:pt x="80" y="55"/>
                    </a:cubicBezTo>
                    <a:cubicBezTo>
                      <a:pt x="78" y="55"/>
                      <a:pt x="78" y="55"/>
                      <a:pt x="78" y="55"/>
                    </a:cubicBezTo>
                    <a:close/>
                    <a:moveTo>
                      <a:pt x="74" y="56"/>
                    </a:moveTo>
                    <a:cubicBezTo>
                      <a:pt x="77" y="56"/>
                      <a:pt x="77" y="56"/>
                      <a:pt x="77" y="56"/>
                    </a:cubicBezTo>
                    <a:cubicBezTo>
                      <a:pt x="79" y="58"/>
                      <a:pt x="79" y="58"/>
                      <a:pt x="79" y="58"/>
                    </a:cubicBezTo>
                    <a:cubicBezTo>
                      <a:pt x="78" y="60"/>
                      <a:pt x="78" y="60"/>
                      <a:pt x="78" y="60"/>
                    </a:cubicBezTo>
                    <a:cubicBezTo>
                      <a:pt x="82" y="59"/>
                      <a:pt x="82" y="59"/>
                      <a:pt x="82" y="59"/>
                    </a:cubicBezTo>
                    <a:cubicBezTo>
                      <a:pt x="82" y="62"/>
                      <a:pt x="82" y="62"/>
                      <a:pt x="82" y="62"/>
                    </a:cubicBezTo>
                    <a:cubicBezTo>
                      <a:pt x="80" y="61"/>
                      <a:pt x="80" y="61"/>
                      <a:pt x="80" y="61"/>
                    </a:cubicBezTo>
                    <a:cubicBezTo>
                      <a:pt x="76" y="61"/>
                      <a:pt x="76" y="61"/>
                      <a:pt x="76" y="61"/>
                    </a:cubicBezTo>
                    <a:cubicBezTo>
                      <a:pt x="76" y="59"/>
                      <a:pt x="76" y="59"/>
                      <a:pt x="76" y="59"/>
                    </a:cubicBezTo>
                    <a:cubicBezTo>
                      <a:pt x="75" y="61"/>
                      <a:pt x="75" y="61"/>
                      <a:pt x="75" y="61"/>
                    </a:cubicBezTo>
                    <a:cubicBezTo>
                      <a:pt x="74" y="60"/>
                      <a:pt x="74" y="60"/>
                      <a:pt x="74" y="60"/>
                    </a:cubicBezTo>
                    <a:cubicBezTo>
                      <a:pt x="74" y="56"/>
                      <a:pt x="74" y="56"/>
                      <a:pt x="74" y="56"/>
                    </a:cubicBezTo>
                    <a:close/>
                    <a:moveTo>
                      <a:pt x="74" y="62"/>
                    </a:moveTo>
                    <a:cubicBezTo>
                      <a:pt x="76" y="66"/>
                      <a:pt x="76" y="66"/>
                      <a:pt x="76" y="66"/>
                    </a:cubicBezTo>
                    <a:cubicBezTo>
                      <a:pt x="76" y="64"/>
                      <a:pt x="76" y="64"/>
                      <a:pt x="76" y="64"/>
                    </a:cubicBezTo>
                    <a:cubicBezTo>
                      <a:pt x="75" y="62"/>
                      <a:pt x="75" y="62"/>
                      <a:pt x="75" y="62"/>
                    </a:cubicBezTo>
                    <a:cubicBezTo>
                      <a:pt x="74" y="62"/>
                      <a:pt x="74" y="62"/>
                      <a:pt x="74" y="62"/>
                    </a:cubicBezTo>
                    <a:close/>
                    <a:moveTo>
                      <a:pt x="19" y="85"/>
                    </a:moveTo>
                    <a:cubicBezTo>
                      <a:pt x="20" y="83"/>
                      <a:pt x="20" y="83"/>
                      <a:pt x="20" y="83"/>
                    </a:cubicBezTo>
                    <a:cubicBezTo>
                      <a:pt x="18" y="81"/>
                      <a:pt x="18" y="81"/>
                      <a:pt x="18" y="81"/>
                    </a:cubicBezTo>
                    <a:cubicBezTo>
                      <a:pt x="20" y="79"/>
                      <a:pt x="20" y="79"/>
                      <a:pt x="20" y="79"/>
                    </a:cubicBezTo>
                    <a:cubicBezTo>
                      <a:pt x="24" y="81"/>
                      <a:pt x="24" y="81"/>
                      <a:pt x="24" y="81"/>
                    </a:cubicBezTo>
                    <a:cubicBezTo>
                      <a:pt x="23" y="78"/>
                      <a:pt x="23" y="78"/>
                      <a:pt x="23" y="78"/>
                    </a:cubicBezTo>
                    <a:cubicBezTo>
                      <a:pt x="32" y="72"/>
                      <a:pt x="32" y="72"/>
                      <a:pt x="32" y="72"/>
                    </a:cubicBezTo>
                    <a:cubicBezTo>
                      <a:pt x="33" y="77"/>
                      <a:pt x="33" y="77"/>
                      <a:pt x="33" y="77"/>
                    </a:cubicBezTo>
                    <a:cubicBezTo>
                      <a:pt x="29" y="80"/>
                      <a:pt x="29" y="80"/>
                      <a:pt x="29" y="80"/>
                    </a:cubicBezTo>
                    <a:cubicBezTo>
                      <a:pt x="28" y="82"/>
                      <a:pt x="28" y="82"/>
                      <a:pt x="28" y="82"/>
                    </a:cubicBezTo>
                    <a:cubicBezTo>
                      <a:pt x="29" y="83"/>
                      <a:pt x="29" y="83"/>
                      <a:pt x="29" y="83"/>
                    </a:cubicBezTo>
                    <a:cubicBezTo>
                      <a:pt x="27" y="87"/>
                      <a:pt x="27" y="87"/>
                      <a:pt x="27" y="87"/>
                    </a:cubicBezTo>
                    <a:cubicBezTo>
                      <a:pt x="24" y="86"/>
                      <a:pt x="24" y="86"/>
                      <a:pt x="24" y="86"/>
                    </a:cubicBezTo>
                    <a:cubicBezTo>
                      <a:pt x="20" y="86"/>
                      <a:pt x="20" y="86"/>
                      <a:pt x="20" y="86"/>
                    </a:cubicBezTo>
                    <a:cubicBezTo>
                      <a:pt x="19" y="85"/>
                      <a:pt x="19" y="85"/>
                      <a:pt x="19" y="85"/>
                    </a:cubicBezTo>
                    <a:close/>
                    <a:moveTo>
                      <a:pt x="18" y="90"/>
                    </a:moveTo>
                    <a:cubicBezTo>
                      <a:pt x="21" y="92"/>
                      <a:pt x="21" y="92"/>
                      <a:pt x="21" y="92"/>
                    </a:cubicBezTo>
                    <a:cubicBezTo>
                      <a:pt x="25" y="88"/>
                      <a:pt x="25" y="88"/>
                      <a:pt x="25" y="88"/>
                    </a:cubicBezTo>
                    <a:cubicBezTo>
                      <a:pt x="22" y="87"/>
                      <a:pt x="22" y="87"/>
                      <a:pt x="22" y="87"/>
                    </a:cubicBezTo>
                    <a:cubicBezTo>
                      <a:pt x="20" y="88"/>
                      <a:pt x="20" y="88"/>
                      <a:pt x="20" y="88"/>
                    </a:cubicBezTo>
                    <a:cubicBezTo>
                      <a:pt x="20" y="89"/>
                      <a:pt x="20" y="89"/>
                      <a:pt x="20" y="89"/>
                    </a:cubicBezTo>
                    <a:cubicBezTo>
                      <a:pt x="18" y="90"/>
                      <a:pt x="18" y="90"/>
                      <a:pt x="18" y="90"/>
                    </a:cubicBezTo>
                    <a:close/>
                    <a:moveTo>
                      <a:pt x="18" y="96"/>
                    </a:moveTo>
                    <a:cubicBezTo>
                      <a:pt x="14" y="97"/>
                      <a:pt x="14" y="97"/>
                      <a:pt x="14" y="97"/>
                    </a:cubicBezTo>
                    <a:cubicBezTo>
                      <a:pt x="12" y="94"/>
                      <a:pt x="12" y="94"/>
                      <a:pt x="12" y="94"/>
                    </a:cubicBezTo>
                    <a:cubicBezTo>
                      <a:pt x="13" y="93"/>
                      <a:pt x="13" y="93"/>
                      <a:pt x="13" y="93"/>
                    </a:cubicBezTo>
                    <a:cubicBezTo>
                      <a:pt x="18" y="94"/>
                      <a:pt x="18" y="94"/>
                      <a:pt x="18" y="94"/>
                    </a:cubicBezTo>
                    <a:cubicBezTo>
                      <a:pt x="18" y="96"/>
                      <a:pt x="18" y="96"/>
                      <a:pt x="18" y="96"/>
                    </a:cubicBezTo>
                    <a:close/>
                    <a:moveTo>
                      <a:pt x="16" y="100"/>
                    </a:moveTo>
                    <a:cubicBezTo>
                      <a:pt x="13" y="99"/>
                      <a:pt x="13" y="99"/>
                      <a:pt x="13" y="99"/>
                    </a:cubicBezTo>
                    <a:cubicBezTo>
                      <a:pt x="13" y="98"/>
                      <a:pt x="13" y="98"/>
                      <a:pt x="13" y="98"/>
                    </a:cubicBezTo>
                    <a:cubicBezTo>
                      <a:pt x="17" y="98"/>
                      <a:pt x="17" y="98"/>
                      <a:pt x="17" y="98"/>
                    </a:cubicBezTo>
                    <a:cubicBezTo>
                      <a:pt x="16" y="100"/>
                      <a:pt x="16" y="100"/>
                      <a:pt x="16" y="100"/>
                    </a:cubicBezTo>
                    <a:close/>
                    <a:moveTo>
                      <a:pt x="12" y="109"/>
                    </a:moveTo>
                    <a:cubicBezTo>
                      <a:pt x="13" y="111"/>
                      <a:pt x="13" y="111"/>
                      <a:pt x="13" y="111"/>
                    </a:cubicBezTo>
                    <a:cubicBezTo>
                      <a:pt x="11" y="113"/>
                      <a:pt x="11" y="113"/>
                      <a:pt x="11" y="113"/>
                    </a:cubicBezTo>
                    <a:cubicBezTo>
                      <a:pt x="11" y="111"/>
                      <a:pt x="11" y="111"/>
                      <a:pt x="11" y="111"/>
                    </a:cubicBezTo>
                    <a:cubicBezTo>
                      <a:pt x="12" y="109"/>
                      <a:pt x="12" y="109"/>
                      <a:pt x="12" y="109"/>
                    </a:cubicBezTo>
                    <a:close/>
                    <a:moveTo>
                      <a:pt x="16" y="108"/>
                    </a:moveTo>
                    <a:cubicBezTo>
                      <a:pt x="15" y="105"/>
                      <a:pt x="15" y="105"/>
                      <a:pt x="15" y="105"/>
                    </a:cubicBezTo>
                    <a:cubicBezTo>
                      <a:pt x="16" y="103"/>
                      <a:pt x="16" y="103"/>
                      <a:pt x="16" y="103"/>
                    </a:cubicBezTo>
                    <a:cubicBezTo>
                      <a:pt x="15" y="101"/>
                      <a:pt x="15" y="101"/>
                      <a:pt x="15" y="101"/>
                    </a:cubicBezTo>
                    <a:cubicBezTo>
                      <a:pt x="13" y="101"/>
                      <a:pt x="13" y="101"/>
                      <a:pt x="13" y="101"/>
                    </a:cubicBezTo>
                    <a:cubicBezTo>
                      <a:pt x="14" y="103"/>
                      <a:pt x="14" y="103"/>
                      <a:pt x="14" y="103"/>
                    </a:cubicBezTo>
                    <a:cubicBezTo>
                      <a:pt x="13" y="105"/>
                      <a:pt x="13" y="105"/>
                      <a:pt x="13" y="105"/>
                    </a:cubicBezTo>
                    <a:cubicBezTo>
                      <a:pt x="13" y="107"/>
                      <a:pt x="13" y="107"/>
                      <a:pt x="13" y="107"/>
                    </a:cubicBezTo>
                    <a:cubicBezTo>
                      <a:pt x="16" y="108"/>
                      <a:pt x="16" y="108"/>
                      <a:pt x="16" y="108"/>
                    </a:cubicBezTo>
                    <a:close/>
                    <a:moveTo>
                      <a:pt x="34" y="110"/>
                    </a:moveTo>
                    <a:cubicBezTo>
                      <a:pt x="34" y="106"/>
                      <a:pt x="34" y="106"/>
                      <a:pt x="34" y="106"/>
                    </a:cubicBezTo>
                    <a:cubicBezTo>
                      <a:pt x="30" y="107"/>
                      <a:pt x="30" y="107"/>
                      <a:pt x="30" y="107"/>
                    </a:cubicBezTo>
                    <a:cubicBezTo>
                      <a:pt x="27" y="103"/>
                      <a:pt x="27" y="103"/>
                      <a:pt x="27" y="103"/>
                    </a:cubicBezTo>
                    <a:cubicBezTo>
                      <a:pt x="28" y="101"/>
                      <a:pt x="28" y="101"/>
                      <a:pt x="28" y="101"/>
                    </a:cubicBezTo>
                    <a:cubicBezTo>
                      <a:pt x="26" y="100"/>
                      <a:pt x="26" y="100"/>
                      <a:pt x="26" y="100"/>
                    </a:cubicBezTo>
                    <a:cubicBezTo>
                      <a:pt x="26" y="102"/>
                      <a:pt x="26" y="102"/>
                      <a:pt x="26" y="102"/>
                    </a:cubicBezTo>
                    <a:cubicBezTo>
                      <a:pt x="23" y="99"/>
                      <a:pt x="23" y="99"/>
                      <a:pt x="23" y="99"/>
                    </a:cubicBezTo>
                    <a:cubicBezTo>
                      <a:pt x="24" y="98"/>
                      <a:pt x="24" y="98"/>
                      <a:pt x="24" y="98"/>
                    </a:cubicBezTo>
                    <a:cubicBezTo>
                      <a:pt x="25" y="99"/>
                      <a:pt x="25" y="99"/>
                      <a:pt x="25" y="99"/>
                    </a:cubicBezTo>
                    <a:cubicBezTo>
                      <a:pt x="25" y="96"/>
                      <a:pt x="25" y="96"/>
                      <a:pt x="25" y="96"/>
                    </a:cubicBezTo>
                    <a:cubicBezTo>
                      <a:pt x="29" y="98"/>
                      <a:pt x="29" y="98"/>
                      <a:pt x="29" y="98"/>
                    </a:cubicBezTo>
                    <a:cubicBezTo>
                      <a:pt x="29" y="94"/>
                      <a:pt x="29" y="94"/>
                      <a:pt x="29" y="94"/>
                    </a:cubicBezTo>
                    <a:cubicBezTo>
                      <a:pt x="31" y="93"/>
                      <a:pt x="31" y="93"/>
                      <a:pt x="31" y="93"/>
                    </a:cubicBezTo>
                    <a:cubicBezTo>
                      <a:pt x="33" y="96"/>
                      <a:pt x="33" y="96"/>
                      <a:pt x="33" y="96"/>
                    </a:cubicBezTo>
                    <a:cubicBezTo>
                      <a:pt x="32" y="103"/>
                      <a:pt x="32" y="103"/>
                      <a:pt x="32" y="103"/>
                    </a:cubicBezTo>
                    <a:cubicBezTo>
                      <a:pt x="36" y="105"/>
                      <a:pt x="36" y="105"/>
                      <a:pt x="36" y="105"/>
                    </a:cubicBezTo>
                    <a:cubicBezTo>
                      <a:pt x="38" y="104"/>
                      <a:pt x="38" y="104"/>
                      <a:pt x="38" y="104"/>
                    </a:cubicBezTo>
                    <a:cubicBezTo>
                      <a:pt x="40" y="105"/>
                      <a:pt x="40" y="105"/>
                      <a:pt x="40" y="105"/>
                    </a:cubicBezTo>
                    <a:cubicBezTo>
                      <a:pt x="37" y="107"/>
                      <a:pt x="37" y="107"/>
                      <a:pt x="37" y="107"/>
                    </a:cubicBezTo>
                    <a:cubicBezTo>
                      <a:pt x="36" y="110"/>
                      <a:pt x="36" y="110"/>
                      <a:pt x="36" y="110"/>
                    </a:cubicBezTo>
                    <a:cubicBezTo>
                      <a:pt x="34" y="110"/>
                      <a:pt x="34" y="110"/>
                      <a:pt x="34" y="110"/>
                    </a:cubicBezTo>
                    <a:close/>
                    <a:moveTo>
                      <a:pt x="28" y="130"/>
                    </a:moveTo>
                    <a:cubicBezTo>
                      <a:pt x="36" y="128"/>
                      <a:pt x="36" y="128"/>
                      <a:pt x="36" y="128"/>
                    </a:cubicBezTo>
                    <a:cubicBezTo>
                      <a:pt x="36" y="129"/>
                      <a:pt x="36" y="129"/>
                      <a:pt x="36" y="129"/>
                    </a:cubicBezTo>
                    <a:cubicBezTo>
                      <a:pt x="39" y="127"/>
                      <a:pt x="39" y="127"/>
                      <a:pt x="39" y="127"/>
                    </a:cubicBezTo>
                    <a:cubicBezTo>
                      <a:pt x="38" y="124"/>
                      <a:pt x="38" y="124"/>
                      <a:pt x="38" y="124"/>
                    </a:cubicBezTo>
                    <a:cubicBezTo>
                      <a:pt x="35" y="124"/>
                      <a:pt x="35" y="124"/>
                      <a:pt x="35" y="124"/>
                    </a:cubicBezTo>
                    <a:cubicBezTo>
                      <a:pt x="32" y="120"/>
                      <a:pt x="32" y="120"/>
                      <a:pt x="32" y="120"/>
                    </a:cubicBezTo>
                    <a:cubicBezTo>
                      <a:pt x="29" y="123"/>
                      <a:pt x="29" y="123"/>
                      <a:pt x="29" y="123"/>
                    </a:cubicBezTo>
                    <a:cubicBezTo>
                      <a:pt x="34" y="125"/>
                      <a:pt x="34" y="125"/>
                      <a:pt x="34" y="125"/>
                    </a:cubicBezTo>
                    <a:cubicBezTo>
                      <a:pt x="31" y="127"/>
                      <a:pt x="31" y="127"/>
                      <a:pt x="31" y="127"/>
                    </a:cubicBezTo>
                    <a:cubicBezTo>
                      <a:pt x="32" y="128"/>
                      <a:pt x="32" y="128"/>
                      <a:pt x="32" y="128"/>
                    </a:cubicBezTo>
                    <a:cubicBezTo>
                      <a:pt x="28" y="130"/>
                      <a:pt x="28" y="130"/>
                      <a:pt x="28" y="130"/>
                    </a:cubicBezTo>
                    <a:close/>
                    <a:moveTo>
                      <a:pt x="34" y="143"/>
                    </a:moveTo>
                    <a:cubicBezTo>
                      <a:pt x="33" y="139"/>
                      <a:pt x="33" y="139"/>
                      <a:pt x="33" y="139"/>
                    </a:cubicBezTo>
                    <a:cubicBezTo>
                      <a:pt x="39" y="134"/>
                      <a:pt x="39" y="134"/>
                      <a:pt x="39" y="134"/>
                    </a:cubicBezTo>
                    <a:cubicBezTo>
                      <a:pt x="36" y="140"/>
                      <a:pt x="36" y="140"/>
                      <a:pt x="36" y="140"/>
                    </a:cubicBezTo>
                    <a:cubicBezTo>
                      <a:pt x="34" y="143"/>
                      <a:pt x="34" y="143"/>
                      <a:pt x="34" y="143"/>
                    </a:cubicBezTo>
                    <a:close/>
                    <a:moveTo>
                      <a:pt x="29" y="147"/>
                    </a:moveTo>
                    <a:cubicBezTo>
                      <a:pt x="33" y="145"/>
                      <a:pt x="33" y="145"/>
                      <a:pt x="33" y="145"/>
                    </a:cubicBezTo>
                    <a:cubicBezTo>
                      <a:pt x="31" y="139"/>
                      <a:pt x="31" y="139"/>
                      <a:pt x="31" y="139"/>
                    </a:cubicBezTo>
                    <a:cubicBezTo>
                      <a:pt x="26" y="141"/>
                      <a:pt x="26" y="141"/>
                      <a:pt x="26" y="141"/>
                    </a:cubicBezTo>
                    <a:cubicBezTo>
                      <a:pt x="26" y="146"/>
                      <a:pt x="26" y="146"/>
                      <a:pt x="26" y="146"/>
                    </a:cubicBezTo>
                    <a:cubicBezTo>
                      <a:pt x="29" y="144"/>
                      <a:pt x="29" y="144"/>
                      <a:pt x="29" y="144"/>
                    </a:cubicBezTo>
                    <a:cubicBezTo>
                      <a:pt x="29" y="147"/>
                      <a:pt x="29" y="147"/>
                      <a:pt x="29" y="147"/>
                    </a:cubicBezTo>
                    <a:close/>
                    <a:moveTo>
                      <a:pt x="43" y="147"/>
                    </a:moveTo>
                    <a:cubicBezTo>
                      <a:pt x="44" y="152"/>
                      <a:pt x="44" y="152"/>
                      <a:pt x="44" y="152"/>
                    </a:cubicBezTo>
                    <a:cubicBezTo>
                      <a:pt x="48" y="154"/>
                      <a:pt x="48" y="154"/>
                      <a:pt x="48" y="154"/>
                    </a:cubicBezTo>
                    <a:cubicBezTo>
                      <a:pt x="49" y="150"/>
                      <a:pt x="49" y="150"/>
                      <a:pt x="49" y="150"/>
                    </a:cubicBezTo>
                    <a:cubicBezTo>
                      <a:pt x="46" y="145"/>
                      <a:pt x="46" y="145"/>
                      <a:pt x="46" y="145"/>
                    </a:cubicBezTo>
                    <a:cubicBezTo>
                      <a:pt x="43" y="147"/>
                      <a:pt x="43" y="147"/>
                      <a:pt x="43" y="147"/>
                    </a:cubicBezTo>
                    <a:close/>
                    <a:moveTo>
                      <a:pt x="56" y="208"/>
                    </a:moveTo>
                    <a:cubicBezTo>
                      <a:pt x="61" y="210"/>
                      <a:pt x="61" y="210"/>
                      <a:pt x="61" y="210"/>
                    </a:cubicBezTo>
                    <a:cubicBezTo>
                      <a:pt x="66" y="207"/>
                      <a:pt x="66" y="207"/>
                      <a:pt x="66" y="207"/>
                    </a:cubicBezTo>
                    <a:cubicBezTo>
                      <a:pt x="62" y="207"/>
                      <a:pt x="62" y="207"/>
                      <a:pt x="62" y="207"/>
                    </a:cubicBezTo>
                    <a:cubicBezTo>
                      <a:pt x="61" y="204"/>
                      <a:pt x="61" y="204"/>
                      <a:pt x="61" y="204"/>
                    </a:cubicBezTo>
                    <a:cubicBezTo>
                      <a:pt x="57" y="205"/>
                      <a:pt x="57" y="205"/>
                      <a:pt x="57" y="205"/>
                    </a:cubicBezTo>
                    <a:cubicBezTo>
                      <a:pt x="56" y="208"/>
                      <a:pt x="56" y="208"/>
                      <a:pt x="56" y="208"/>
                    </a:cubicBezTo>
                    <a:close/>
                    <a:moveTo>
                      <a:pt x="52" y="188"/>
                    </a:moveTo>
                    <a:cubicBezTo>
                      <a:pt x="54" y="183"/>
                      <a:pt x="54" y="183"/>
                      <a:pt x="54" y="183"/>
                    </a:cubicBezTo>
                    <a:cubicBezTo>
                      <a:pt x="60" y="178"/>
                      <a:pt x="60" y="178"/>
                      <a:pt x="60" y="178"/>
                    </a:cubicBezTo>
                    <a:cubicBezTo>
                      <a:pt x="59" y="181"/>
                      <a:pt x="59" y="181"/>
                      <a:pt x="59" y="181"/>
                    </a:cubicBezTo>
                    <a:cubicBezTo>
                      <a:pt x="60" y="183"/>
                      <a:pt x="60" y="183"/>
                      <a:pt x="60" y="183"/>
                    </a:cubicBezTo>
                    <a:cubicBezTo>
                      <a:pt x="55" y="188"/>
                      <a:pt x="55" y="188"/>
                      <a:pt x="55" y="188"/>
                    </a:cubicBezTo>
                    <a:cubicBezTo>
                      <a:pt x="52" y="188"/>
                      <a:pt x="52" y="188"/>
                      <a:pt x="52" y="188"/>
                    </a:cubicBezTo>
                    <a:close/>
                    <a:moveTo>
                      <a:pt x="45" y="294"/>
                    </a:moveTo>
                    <a:cubicBezTo>
                      <a:pt x="47" y="292"/>
                      <a:pt x="47" y="292"/>
                      <a:pt x="47" y="292"/>
                    </a:cubicBezTo>
                    <a:cubicBezTo>
                      <a:pt x="46" y="290"/>
                      <a:pt x="46" y="290"/>
                      <a:pt x="46" y="290"/>
                    </a:cubicBezTo>
                    <a:cubicBezTo>
                      <a:pt x="48" y="288"/>
                      <a:pt x="48" y="288"/>
                      <a:pt x="48" y="288"/>
                    </a:cubicBezTo>
                    <a:cubicBezTo>
                      <a:pt x="49" y="289"/>
                      <a:pt x="49" y="289"/>
                      <a:pt x="49" y="289"/>
                    </a:cubicBezTo>
                    <a:cubicBezTo>
                      <a:pt x="51" y="287"/>
                      <a:pt x="51" y="287"/>
                      <a:pt x="51" y="287"/>
                    </a:cubicBezTo>
                    <a:cubicBezTo>
                      <a:pt x="53" y="287"/>
                      <a:pt x="53" y="287"/>
                      <a:pt x="53" y="287"/>
                    </a:cubicBezTo>
                    <a:cubicBezTo>
                      <a:pt x="54" y="284"/>
                      <a:pt x="54" y="284"/>
                      <a:pt x="54" y="284"/>
                    </a:cubicBezTo>
                    <a:cubicBezTo>
                      <a:pt x="57" y="285"/>
                      <a:pt x="57" y="285"/>
                      <a:pt x="57" y="285"/>
                    </a:cubicBezTo>
                    <a:cubicBezTo>
                      <a:pt x="60" y="284"/>
                      <a:pt x="60" y="284"/>
                      <a:pt x="60" y="284"/>
                    </a:cubicBezTo>
                    <a:cubicBezTo>
                      <a:pt x="63" y="284"/>
                      <a:pt x="63" y="284"/>
                      <a:pt x="63" y="284"/>
                    </a:cubicBezTo>
                    <a:cubicBezTo>
                      <a:pt x="64" y="283"/>
                      <a:pt x="64" y="283"/>
                      <a:pt x="64" y="283"/>
                    </a:cubicBezTo>
                    <a:cubicBezTo>
                      <a:pt x="66" y="285"/>
                      <a:pt x="66" y="285"/>
                      <a:pt x="66" y="285"/>
                    </a:cubicBezTo>
                    <a:cubicBezTo>
                      <a:pt x="68" y="285"/>
                      <a:pt x="68" y="285"/>
                      <a:pt x="68" y="285"/>
                    </a:cubicBezTo>
                    <a:cubicBezTo>
                      <a:pt x="70" y="287"/>
                      <a:pt x="70" y="287"/>
                      <a:pt x="70" y="287"/>
                    </a:cubicBezTo>
                    <a:cubicBezTo>
                      <a:pt x="73" y="287"/>
                      <a:pt x="73" y="287"/>
                      <a:pt x="73" y="287"/>
                    </a:cubicBezTo>
                    <a:cubicBezTo>
                      <a:pt x="73" y="285"/>
                      <a:pt x="73" y="285"/>
                      <a:pt x="73" y="285"/>
                    </a:cubicBezTo>
                    <a:cubicBezTo>
                      <a:pt x="75" y="284"/>
                      <a:pt x="75" y="284"/>
                      <a:pt x="75" y="284"/>
                    </a:cubicBezTo>
                    <a:cubicBezTo>
                      <a:pt x="76" y="282"/>
                      <a:pt x="76" y="282"/>
                      <a:pt x="76" y="282"/>
                    </a:cubicBezTo>
                    <a:cubicBezTo>
                      <a:pt x="75" y="279"/>
                      <a:pt x="75" y="279"/>
                      <a:pt x="75" y="279"/>
                    </a:cubicBezTo>
                    <a:cubicBezTo>
                      <a:pt x="77" y="277"/>
                      <a:pt x="77" y="277"/>
                      <a:pt x="77" y="277"/>
                    </a:cubicBezTo>
                    <a:cubicBezTo>
                      <a:pt x="79" y="277"/>
                      <a:pt x="79" y="277"/>
                      <a:pt x="79" y="277"/>
                    </a:cubicBezTo>
                    <a:cubicBezTo>
                      <a:pt x="80" y="276"/>
                      <a:pt x="80" y="276"/>
                      <a:pt x="80" y="276"/>
                    </a:cubicBezTo>
                    <a:cubicBezTo>
                      <a:pt x="87" y="274"/>
                      <a:pt x="87" y="274"/>
                      <a:pt x="87" y="274"/>
                    </a:cubicBezTo>
                    <a:cubicBezTo>
                      <a:pt x="90" y="274"/>
                      <a:pt x="90" y="274"/>
                      <a:pt x="90" y="274"/>
                    </a:cubicBezTo>
                    <a:cubicBezTo>
                      <a:pt x="94" y="277"/>
                      <a:pt x="94" y="277"/>
                      <a:pt x="94" y="277"/>
                    </a:cubicBezTo>
                    <a:cubicBezTo>
                      <a:pt x="96" y="277"/>
                      <a:pt x="96" y="277"/>
                      <a:pt x="96" y="277"/>
                    </a:cubicBezTo>
                    <a:cubicBezTo>
                      <a:pt x="100" y="277"/>
                      <a:pt x="100" y="277"/>
                      <a:pt x="100" y="277"/>
                    </a:cubicBezTo>
                    <a:cubicBezTo>
                      <a:pt x="103" y="278"/>
                      <a:pt x="103" y="278"/>
                      <a:pt x="103" y="278"/>
                    </a:cubicBezTo>
                    <a:cubicBezTo>
                      <a:pt x="104" y="275"/>
                      <a:pt x="104" y="275"/>
                      <a:pt x="104" y="275"/>
                    </a:cubicBezTo>
                    <a:cubicBezTo>
                      <a:pt x="108" y="273"/>
                      <a:pt x="108" y="273"/>
                      <a:pt x="108" y="273"/>
                    </a:cubicBezTo>
                    <a:cubicBezTo>
                      <a:pt x="111" y="274"/>
                      <a:pt x="111" y="274"/>
                      <a:pt x="111" y="274"/>
                    </a:cubicBezTo>
                    <a:cubicBezTo>
                      <a:pt x="115" y="271"/>
                      <a:pt x="115" y="271"/>
                      <a:pt x="115" y="271"/>
                    </a:cubicBezTo>
                    <a:cubicBezTo>
                      <a:pt x="118" y="272"/>
                      <a:pt x="118" y="272"/>
                      <a:pt x="118" y="272"/>
                    </a:cubicBezTo>
                    <a:cubicBezTo>
                      <a:pt x="119" y="271"/>
                      <a:pt x="119" y="271"/>
                      <a:pt x="119" y="271"/>
                    </a:cubicBezTo>
                    <a:cubicBezTo>
                      <a:pt x="121" y="270"/>
                      <a:pt x="121" y="270"/>
                      <a:pt x="121" y="270"/>
                    </a:cubicBezTo>
                    <a:cubicBezTo>
                      <a:pt x="122" y="271"/>
                      <a:pt x="122" y="271"/>
                      <a:pt x="122" y="271"/>
                    </a:cubicBezTo>
                    <a:cubicBezTo>
                      <a:pt x="124" y="273"/>
                      <a:pt x="124" y="273"/>
                      <a:pt x="124" y="273"/>
                    </a:cubicBezTo>
                    <a:cubicBezTo>
                      <a:pt x="127" y="271"/>
                      <a:pt x="127" y="271"/>
                      <a:pt x="127" y="271"/>
                    </a:cubicBezTo>
                    <a:cubicBezTo>
                      <a:pt x="133" y="271"/>
                      <a:pt x="133" y="271"/>
                      <a:pt x="133" y="271"/>
                    </a:cubicBezTo>
                    <a:cubicBezTo>
                      <a:pt x="137" y="270"/>
                      <a:pt x="137" y="270"/>
                      <a:pt x="137" y="270"/>
                    </a:cubicBezTo>
                    <a:cubicBezTo>
                      <a:pt x="141" y="271"/>
                      <a:pt x="141" y="271"/>
                      <a:pt x="141" y="271"/>
                    </a:cubicBezTo>
                    <a:cubicBezTo>
                      <a:pt x="143" y="272"/>
                      <a:pt x="143" y="272"/>
                      <a:pt x="143" y="272"/>
                    </a:cubicBezTo>
                    <a:cubicBezTo>
                      <a:pt x="146" y="269"/>
                      <a:pt x="146" y="269"/>
                      <a:pt x="146" y="269"/>
                    </a:cubicBezTo>
                    <a:cubicBezTo>
                      <a:pt x="149" y="269"/>
                      <a:pt x="149" y="269"/>
                      <a:pt x="149" y="269"/>
                    </a:cubicBezTo>
                    <a:cubicBezTo>
                      <a:pt x="151" y="266"/>
                      <a:pt x="151" y="266"/>
                      <a:pt x="151" y="266"/>
                    </a:cubicBezTo>
                    <a:cubicBezTo>
                      <a:pt x="153" y="266"/>
                      <a:pt x="153" y="266"/>
                      <a:pt x="153" y="266"/>
                    </a:cubicBezTo>
                    <a:cubicBezTo>
                      <a:pt x="155" y="267"/>
                      <a:pt x="155" y="267"/>
                      <a:pt x="155" y="267"/>
                    </a:cubicBezTo>
                    <a:cubicBezTo>
                      <a:pt x="155" y="265"/>
                      <a:pt x="155" y="265"/>
                      <a:pt x="155" y="265"/>
                    </a:cubicBezTo>
                    <a:cubicBezTo>
                      <a:pt x="159" y="262"/>
                      <a:pt x="159" y="262"/>
                      <a:pt x="159" y="262"/>
                    </a:cubicBezTo>
                    <a:cubicBezTo>
                      <a:pt x="162" y="261"/>
                      <a:pt x="162" y="261"/>
                      <a:pt x="162" y="261"/>
                    </a:cubicBezTo>
                    <a:cubicBezTo>
                      <a:pt x="162" y="258"/>
                      <a:pt x="162" y="258"/>
                      <a:pt x="162" y="258"/>
                    </a:cubicBezTo>
                    <a:cubicBezTo>
                      <a:pt x="161" y="256"/>
                      <a:pt x="161" y="256"/>
                      <a:pt x="161" y="256"/>
                    </a:cubicBezTo>
                    <a:cubicBezTo>
                      <a:pt x="162" y="254"/>
                      <a:pt x="162" y="254"/>
                      <a:pt x="162" y="254"/>
                    </a:cubicBezTo>
                    <a:cubicBezTo>
                      <a:pt x="157" y="254"/>
                      <a:pt x="157" y="254"/>
                      <a:pt x="157" y="254"/>
                    </a:cubicBezTo>
                    <a:cubicBezTo>
                      <a:pt x="154" y="256"/>
                      <a:pt x="154" y="256"/>
                      <a:pt x="154" y="256"/>
                    </a:cubicBezTo>
                    <a:cubicBezTo>
                      <a:pt x="152" y="256"/>
                      <a:pt x="152" y="256"/>
                      <a:pt x="152" y="256"/>
                    </a:cubicBezTo>
                    <a:cubicBezTo>
                      <a:pt x="148" y="255"/>
                      <a:pt x="148" y="255"/>
                      <a:pt x="148" y="255"/>
                    </a:cubicBezTo>
                    <a:cubicBezTo>
                      <a:pt x="147" y="255"/>
                      <a:pt x="147" y="255"/>
                      <a:pt x="147" y="255"/>
                    </a:cubicBezTo>
                    <a:cubicBezTo>
                      <a:pt x="148" y="254"/>
                      <a:pt x="148" y="254"/>
                      <a:pt x="148" y="254"/>
                    </a:cubicBezTo>
                    <a:cubicBezTo>
                      <a:pt x="149" y="253"/>
                      <a:pt x="149" y="253"/>
                      <a:pt x="149" y="253"/>
                    </a:cubicBezTo>
                    <a:cubicBezTo>
                      <a:pt x="150" y="253"/>
                      <a:pt x="150" y="253"/>
                      <a:pt x="150" y="253"/>
                    </a:cubicBezTo>
                    <a:cubicBezTo>
                      <a:pt x="147" y="252"/>
                      <a:pt x="147" y="252"/>
                      <a:pt x="147" y="252"/>
                    </a:cubicBezTo>
                    <a:cubicBezTo>
                      <a:pt x="144" y="253"/>
                      <a:pt x="144" y="253"/>
                      <a:pt x="144" y="253"/>
                    </a:cubicBezTo>
                    <a:cubicBezTo>
                      <a:pt x="148" y="250"/>
                      <a:pt x="148" y="250"/>
                      <a:pt x="148" y="250"/>
                    </a:cubicBezTo>
                    <a:cubicBezTo>
                      <a:pt x="150" y="251"/>
                      <a:pt x="150" y="251"/>
                      <a:pt x="150" y="251"/>
                    </a:cubicBezTo>
                    <a:cubicBezTo>
                      <a:pt x="153" y="249"/>
                      <a:pt x="153" y="249"/>
                      <a:pt x="153" y="249"/>
                    </a:cubicBezTo>
                    <a:cubicBezTo>
                      <a:pt x="152" y="247"/>
                      <a:pt x="152" y="247"/>
                      <a:pt x="152" y="247"/>
                    </a:cubicBezTo>
                    <a:cubicBezTo>
                      <a:pt x="149" y="247"/>
                      <a:pt x="149" y="247"/>
                      <a:pt x="149" y="247"/>
                    </a:cubicBezTo>
                    <a:cubicBezTo>
                      <a:pt x="151" y="245"/>
                      <a:pt x="151" y="245"/>
                      <a:pt x="151" y="245"/>
                    </a:cubicBezTo>
                    <a:cubicBezTo>
                      <a:pt x="153" y="244"/>
                      <a:pt x="153" y="244"/>
                      <a:pt x="153" y="244"/>
                    </a:cubicBezTo>
                    <a:cubicBezTo>
                      <a:pt x="155" y="245"/>
                      <a:pt x="155" y="245"/>
                      <a:pt x="155" y="245"/>
                    </a:cubicBezTo>
                    <a:cubicBezTo>
                      <a:pt x="157" y="243"/>
                      <a:pt x="157" y="243"/>
                      <a:pt x="157" y="243"/>
                    </a:cubicBezTo>
                    <a:cubicBezTo>
                      <a:pt x="159" y="241"/>
                      <a:pt x="159" y="241"/>
                      <a:pt x="159" y="241"/>
                    </a:cubicBezTo>
                    <a:cubicBezTo>
                      <a:pt x="157" y="241"/>
                      <a:pt x="157" y="241"/>
                      <a:pt x="157" y="241"/>
                    </a:cubicBezTo>
                    <a:cubicBezTo>
                      <a:pt x="158" y="240"/>
                      <a:pt x="158" y="240"/>
                      <a:pt x="158" y="240"/>
                    </a:cubicBezTo>
                    <a:cubicBezTo>
                      <a:pt x="155" y="240"/>
                      <a:pt x="155" y="240"/>
                      <a:pt x="155" y="240"/>
                    </a:cubicBezTo>
                    <a:cubicBezTo>
                      <a:pt x="156" y="238"/>
                      <a:pt x="156" y="238"/>
                      <a:pt x="156" y="238"/>
                    </a:cubicBezTo>
                    <a:cubicBezTo>
                      <a:pt x="158" y="238"/>
                      <a:pt x="158" y="238"/>
                      <a:pt x="158" y="238"/>
                    </a:cubicBezTo>
                    <a:cubicBezTo>
                      <a:pt x="159" y="239"/>
                      <a:pt x="159" y="239"/>
                      <a:pt x="159" y="239"/>
                    </a:cubicBezTo>
                    <a:cubicBezTo>
                      <a:pt x="161" y="237"/>
                      <a:pt x="161" y="237"/>
                      <a:pt x="161" y="237"/>
                    </a:cubicBezTo>
                    <a:cubicBezTo>
                      <a:pt x="163" y="236"/>
                      <a:pt x="163" y="236"/>
                      <a:pt x="163" y="236"/>
                    </a:cubicBezTo>
                    <a:cubicBezTo>
                      <a:pt x="164" y="230"/>
                      <a:pt x="164" y="230"/>
                      <a:pt x="164" y="230"/>
                    </a:cubicBezTo>
                    <a:cubicBezTo>
                      <a:pt x="166" y="225"/>
                      <a:pt x="166" y="225"/>
                      <a:pt x="166" y="225"/>
                    </a:cubicBezTo>
                    <a:cubicBezTo>
                      <a:pt x="164" y="223"/>
                      <a:pt x="164" y="223"/>
                      <a:pt x="164" y="223"/>
                    </a:cubicBezTo>
                    <a:cubicBezTo>
                      <a:pt x="163" y="219"/>
                      <a:pt x="163" y="219"/>
                      <a:pt x="163" y="219"/>
                    </a:cubicBezTo>
                    <a:cubicBezTo>
                      <a:pt x="157" y="214"/>
                      <a:pt x="157" y="214"/>
                      <a:pt x="157" y="214"/>
                    </a:cubicBezTo>
                    <a:cubicBezTo>
                      <a:pt x="148" y="214"/>
                      <a:pt x="148" y="214"/>
                      <a:pt x="148" y="214"/>
                    </a:cubicBezTo>
                    <a:cubicBezTo>
                      <a:pt x="142" y="214"/>
                      <a:pt x="142" y="214"/>
                      <a:pt x="142" y="214"/>
                    </a:cubicBezTo>
                    <a:cubicBezTo>
                      <a:pt x="142" y="218"/>
                      <a:pt x="142" y="218"/>
                      <a:pt x="142" y="218"/>
                    </a:cubicBezTo>
                    <a:cubicBezTo>
                      <a:pt x="140" y="220"/>
                      <a:pt x="140" y="220"/>
                      <a:pt x="140" y="220"/>
                    </a:cubicBezTo>
                    <a:cubicBezTo>
                      <a:pt x="137" y="217"/>
                      <a:pt x="137" y="217"/>
                      <a:pt x="137" y="217"/>
                    </a:cubicBezTo>
                    <a:cubicBezTo>
                      <a:pt x="134" y="216"/>
                      <a:pt x="134" y="216"/>
                      <a:pt x="134" y="216"/>
                    </a:cubicBezTo>
                    <a:cubicBezTo>
                      <a:pt x="139" y="211"/>
                      <a:pt x="139" y="211"/>
                      <a:pt x="139" y="211"/>
                    </a:cubicBezTo>
                    <a:cubicBezTo>
                      <a:pt x="139" y="207"/>
                      <a:pt x="139" y="207"/>
                      <a:pt x="139" y="207"/>
                    </a:cubicBezTo>
                    <a:cubicBezTo>
                      <a:pt x="135" y="201"/>
                      <a:pt x="135" y="201"/>
                      <a:pt x="135" y="201"/>
                    </a:cubicBezTo>
                    <a:cubicBezTo>
                      <a:pt x="133" y="200"/>
                      <a:pt x="133" y="200"/>
                      <a:pt x="133" y="200"/>
                    </a:cubicBezTo>
                    <a:cubicBezTo>
                      <a:pt x="130" y="198"/>
                      <a:pt x="130" y="198"/>
                      <a:pt x="130" y="198"/>
                    </a:cubicBezTo>
                    <a:cubicBezTo>
                      <a:pt x="128" y="196"/>
                      <a:pt x="128" y="196"/>
                      <a:pt x="128" y="196"/>
                    </a:cubicBezTo>
                    <a:cubicBezTo>
                      <a:pt x="126" y="196"/>
                      <a:pt x="126" y="196"/>
                      <a:pt x="126" y="196"/>
                    </a:cubicBezTo>
                    <a:cubicBezTo>
                      <a:pt x="125" y="196"/>
                      <a:pt x="125" y="196"/>
                      <a:pt x="125" y="196"/>
                    </a:cubicBezTo>
                    <a:cubicBezTo>
                      <a:pt x="122" y="196"/>
                      <a:pt x="122" y="196"/>
                      <a:pt x="122" y="196"/>
                    </a:cubicBezTo>
                    <a:cubicBezTo>
                      <a:pt x="121" y="196"/>
                      <a:pt x="121" y="196"/>
                      <a:pt x="121" y="196"/>
                    </a:cubicBezTo>
                    <a:cubicBezTo>
                      <a:pt x="123" y="195"/>
                      <a:pt x="123" y="195"/>
                      <a:pt x="123" y="195"/>
                    </a:cubicBezTo>
                    <a:cubicBezTo>
                      <a:pt x="125" y="195"/>
                      <a:pt x="125" y="195"/>
                      <a:pt x="125" y="195"/>
                    </a:cubicBezTo>
                    <a:cubicBezTo>
                      <a:pt x="128" y="195"/>
                      <a:pt x="128" y="195"/>
                      <a:pt x="128" y="195"/>
                    </a:cubicBezTo>
                    <a:cubicBezTo>
                      <a:pt x="130" y="196"/>
                      <a:pt x="130" y="196"/>
                      <a:pt x="130" y="196"/>
                    </a:cubicBezTo>
                    <a:cubicBezTo>
                      <a:pt x="131" y="197"/>
                      <a:pt x="131" y="197"/>
                      <a:pt x="131" y="197"/>
                    </a:cubicBezTo>
                    <a:cubicBezTo>
                      <a:pt x="133" y="197"/>
                      <a:pt x="133" y="197"/>
                      <a:pt x="133" y="197"/>
                    </a:cubicBezTo>
                    <a:cubicBezTo>
                      <a:pt x="135" y="197"/>
                      <a:pt x="135" y="197"/>
                      <a:pt x="135" y="197"/>
                    </a:cubicBezTo>
                    <a:cubicBezTo>
                      <a:pt x="130" y="191"/>
                      <a:pt x="130" y="191"/>
                      <a:pt x="130" y="191"/>
                    </a:cubicBezTo>
                    <a:cubicBezTo>
                      <a:pt x="128" y="188"/>
                      <a:pt x="128" y="188"/>
                      <a:pt x="128" y="188"/>
                    </a:cubicBezTo>
                    <a:cubicBezTo>
                      <a:pt x="129" y="186"/>
                      <a:pt x="129" y="186"/>
                      <a:pt x="129" y="186"/>
                    </a:cubicBezTo>
                    <a:cubicBezTo>
                      <a:pt x="130" y="185"/>
                      <a:pt x="130" y="185"/>
                      <a:pt x="130" y="185"/>
                    </a:cubicBezTo>
                    <a:cubicBezTo>
                      <a:pt x="128" y="184"/>
                      <a:pt x="128" y="184"/>
                      <a:pt x="128" y="184"/>
                    </a:cubicBezTo>
                    <a:cubicBezTo>
                      <a:pt x="127" y="182"/>
                      <a:pt x="127" y="182"/>
                      <a:pt x="127" y="182"/>
                    </a:cubicBezTo>
                    <a:cubicBezTo>
                      <a:pt x="126" y="182"/>
                      <a:pt x="126" y="182"/>
                      <a:pt x="126" y="182"/>
                    </a:cubicBezTo>
                    <a:cubicBezTo>
                      <a:pt x="123" y="176"/>
                      <a:pt x="123" y="176"/>
                      <a:pt x="123" y="176"/>
                    </a:cubicBezTo>
                    <a:cubicBezTo>
                      <a:pt x="118" y="174"/>
                      <a:pt x="118" y="174"/>
                      <a:pt x="118" y="174"/>
                    </a:cubicBezTo>
                    <a:cubicBezTo>
                      <a:pt x="112" y="173"/>
                      <a:pt x="112" y="173"/>
                      <a:pt x="112" y="173"/>
                    </a:cubicBezTo>
                    <a:cubicBezTo>
                      <a:pt x="111" y="170"/>
                      <a:pt x="111" y="170"/>
                      <a:pt x="111" y="170"/>
                    </a:cubicBezTo>
                    <a:cubicBezTo>
                      <a:pt x="110" y="169"/>
                      <a:pt x="110" y="169"/>
                      <a:pt x="110" y="169"/>
                    </a:cubicBezTo>
                    <a:cubicBezTo>
                      <a:pt x="108" y="163"/>
                      <a:pt x="108" y="163"/>
                      <a:pt x="108" y="163"/>
                    </a:cubicBezTo>
                    <a:cubicBezTo>
                      <a:pt x="106" y="159"/>
                      <a:pt x="106" y="159"/>
                      <a:pt x="106" y="159"/>
                    </a:cubicBezTo>
                    <a:cubicBezTo>
                      <a:pt x="104" y="150"/>
                      <a:pt x="104" y="150"/>
                      <a:pt x="104" y="150"/>
                    </a:cubicBezTo>
                    <a:cubicBezTo>
                      <a:pt x="102" y="148"/>
                      <a:pt x="102" y="148"/>
                      <a:pt x="102" y="148"/>
                    </a:cubicBezTo>
                    <a:cubicBezTo>
                      <a:pt x="100" y="148"/>
                      <a:pt x="100" y="148"/>
                      <a:pt x="100" y="148"/>
                    </a:cubicBezTo>
                    <a:cubicBezTo>
                      <a:pt x="95" y="140"/>
                      <a:pt x="95" y="140"/>
                      <a:pt x="95" y="140"/>
                    </a:cubicBezTo>
                    <a:cubicBezTo>
                      <a:pt x="92" y="139"/>
                      <a:pt x="92" y="139"/>
                      <a:pt x="92" y="139"/>
                    </a:cubicBezTo>
                    <a:cubicBezTo>
                      <a:pt x="89" y="137"/>
                      <a:pt x="89" y="137"/>
                      <a:pt x="89" y="137"/>
                    </a:cubicBezTo>
                    <a:cubicBezTo>
                      <a:pt x="85" y="136"/>
                      <a:pt x="85" y="136"/>
                      <a:pt x="85" y="136"/>
                    </a:cubicBezTo>
                    <a:cubicBezTo>
                      <a:pt x="84" y="137"/>
                      <a:pt x="84" y="137"/>
                      <a:pt x="84" y="137"/>
                    </a:cubicBezTo>
                    <a:cubicBezTo>
                      <a:pt x="80" y="139"/>
                      <a:pt x="80" y="139"/>
                      <a:pt x="80" y="139"/>
                    </a:cubicBezTo>
                    <a:cubicBezTo>
                      <a:pt x="76" y="138"/>
                      <a:pt x="76" y="138"/>
                      <a:pt x="76" y="138"/>
                    </a:cubicBezTo>
                    <a:cubicBezTo>
                      <a:pt x="74" y="138"/>
                      <a:pt x="74" y="138"/>
                      <a:pt x="74" y="138"/>
                    </a:cubicBezTo>
                    <a:cubicBezTo>
                      <a:pt x="70" y="137"/>
                      <a:pt x="70" y="137"/>
                      <a:pt x="70" y="137"/>
                    </a:cubicBezTo>
                    <a:cubicBezTo>
                      <a:pt x="69" y="135"/>
                      <a:pt x="69" y="135"/>
                      <a:pt x="69" y="135"/>
                    </a:cubicBezTo>
                    <a:cubicBezTo>
                      <a:pt x="71" y="136"/>
                      <a:pt x="71" y="136"/>
                      <a:pt x="71" y="136"/>
                    </a:cubicBezTo>
                    <a:cubicBezTo>
                      <a:pt x="76" y="136"/>
                      <a:pt x="76" y="136"/>
                      <a:pt x="76" y="136"/>
                    </a:cubicBezTo>
                    <a:cubicBezTo>
                      <a:pt x="79" y="135"/>
                      <a:pt x="79" y="135"/>
                      <a:pt x="79" y="135"/>
                    </a:cubicBezTo>
                    <a:cubicBezTo>
                      <a:pt x="80" y="132"/>
                      <a:pt x="80" y="132"/>
                      <a:pt x="80" y="132"/>
                    </a:cubicBezTo>
                    <a:cubicBezTo>
                      <a:pt x="84" y="133"/>
                      <a:pt x="84" y="133"/>
                      <a:pt x="84" y="133"/>
                    </a:cubicBezTo>
                    <a:cubicBezTo>
                      <a:pt x="87" y="130"/>
                      <a:pt x="87" y="130"/>
                      <a:pt x="87" y="130"/>
                    </a:cubicBezTo>
                    <a:cubicBezTo>
                      <a:pt x="84" y="129"/>
                      <a:pt x="84" y="129"/>
                      <a:pt x="84" y="129"/>
                    </a:cubicBezTo>
                    <a:cubicBezTo>
                      <a:pt x="84" y="127"/>
                      <a:pt x="84" y="127"/>
                      <a:pt x="84" y="127"/>
                    </a:cubicBezTo>
                    <a:cubicBezTo>
                      <a:pt x="82" y="126"/>
                      <a:pt x="82" y="126"/>
                      <a:pt x="82" y="126"/>
                    </a:cubicBezTo>
                    <a:cubicBezTo>
                      <a:pt x="78" y="128"/>
                      <a:pt x="78" y="128"/>
                      <a:pt x="78" y="128"/>
                    </a:cubicBezTo>
                    <a:cubicBezTo>
                      <a:pt x="77" y="127"/>
                      <a:pt x="77" y="127"/>
                      <a:pt x="77" y="127"/>
                    </a:cubicBezTo>
                    <a:cubicBezTo>
                      <a:pt x="80" y="125"/>
                      <a:pt x="80" y="125"/>
                      <a:pt x="80" y="125"/>
                    </a:cubicBezTo>
                    <a:cubicBezTo>
                      <a:pt x="85" y="125"/>
                      <a:pt x="85" y="125"/>
                      <a:pt x="85" y="125"/>
                    </a:cubicBezTo>
                    <a:cubicBezTo>
                      <a:pt x="87" y="123"/>
                      <a:pt x="87" y="123"/>
                      <a:pt x="87" y="123"/>
                    </a:cubicBezTo>
                    <a:cubicBezTo>
                      <a:pt x="88" y="121"/>
                      <a:pt x="88" y="121"/>
                      <a:pt x="88" y="121"/>
                    </a:cubicBezTo>
                    <a:cubicBezTo>
                      <a:pt x="89" y="120"/>
                      <a:pt x="89" y="120"/>
                      <a:pt x="89" y="120"/>
                    </a:cubicBezTo>
                    <a:cubicBezTo>
                      <a:pt x="92" y="115"/>
                      <a:pt x="92" y="115"/>
                      <a:pt x="92" y="115"/>
                    </a:cubicBezTo>
                    <a:cubicBezTo>
                      <a:pt x="94" y="113"/>
                      <a:pt x="94" y="113"/>
                      <a:pt x="94" y="113"/>
                    </a:cubicBezTo>
                    <a:cubicBezTo>
                      <a:pt x="93" y="111"/>
                      <a:pt x="93" y="111"/>
                      <a:pt x="93" y="111"/>
                    </a:cubicBezTo>
                    <a:cubicBezTo>
                      <a:pt x="95" y="108"/>
                      <a:pt x="95" y="108"/>
                      <a:pt x="95" y="108"/>
                    </a:cubicBezTo>
                    <a:cubicBezTo>
                      <a:pt x="95" y="107"/>
                      <a:pt x="95" y="107"/>
                      <a:pt x="95" y="107"/>
                    </a:cubicBezTo>
                    <a:cubicBezTo>
                      <a:pt x="96" y="102"/>
                      <a:pt x="96" y="102"/>
                      <a:pt x="96" y="102"/>
                    </a:cubicBezTo>
                    <a:cubicBezTo>
                      <a:pt x="99" y="100"/>
                      <a:pt x="99" y="100"/>
                      <a:pt x="99" y="100"/>
                    </a:cubicBezTo>
                    <a:cubicBezTo>
                      <a:pt x="99" y="97"/>
                      <a:pt x="99" y="97"/>
                      <a:pt x="99" y="97"/>
                    </a:cubicBezTo>
                    <a:cubicBezTo>
                      <a:pt x="95" y="93"/>
                      <a:pt x="95" y="93"/>
                      <a:pt x="95" y="93"/>
                    </a:cubicBezTo>
                    <a:cubicBezTo>
                      <a:pt x="94" y="94"/>
                      <a:pt x="94" y="94"/>
                      <a:pt x="94" y="94"/>
                    </a:cubicBezTo>
                    <a:cubicBezTo>
                      <a:pt x="86" y="94"/>
                      <a:pt x="86" y="94"/>
                      <a:pt x="86" y="94"/>
                    </a:cubicBezTo>
                    <a:cubicBezTo>
                      <a:pt x="81" y="93"/>
                      <a:pt x="81" y="93"/>
                      <a:pt x="81" y="93"/>
                    </a:cubicBezTo>
                    <a:cubicBezTo>
                      <a:pt x="80" y="94"/>
                      <a:pt x="80" y="94"/>
                      <a:pt x="80" y="94"/>
                    </a:cubicBezTo>
                    <a:cubicBezTo>
                      <a:pt x="78" y="94"/>
                      <a:pt x="78" y="94"/>
                      <a:pt x="78" y="94"/>
                    </a:cubicBezTo>
                    <a:cubicBezTo>
                      <a:pt x="75" y="93"/>
                      <a:pt x="75" y="93"/>
                      <a:pt x="75" y="93"/>
                    </a:cubicBezTo>
                    <a:cubicBezTo>
                      <a:pt x="73" y="93"/>
                      <a:pt x="73" y="93"/>
                      <a:pt x="73" y="93"/>
                    </a:cubicBezTo>
                    <a:cubicBezTo>
                      <a:pt x="72" y="94"/>
                      <a:pt x="72" y="94"/>
                      <a:pt x="72" y="94"/>
                    </a:cubicBezTo>
                    <a:cubicBezTo>
                      <a:pt x="69" y="95"/>
                      <a:pt x="69" y="95"/>
                      <a:pt x="69" y="95"/>
                    </a:cubicBezTo>
                    <a:cubicBezTo>
                      <a:pt x="66" y="97"/>
                      <a:pt x="66" y="97"/>
                      <a:pt x="66" y="97"/>
                    </a:cubicBezTo>
                    <a:cubicBezTo>
                      <a:pt x="65" y="97"/>
                      <a:pt x="65" y="97"/>
                      <a:pt x="65" y="97"/>
                    </a:cubicBezTo>
                    <a:cubicBezTo>
                      <a:pt x="63" y="98"/>
                      <a:pt x="63" y="98"/>
                      <a:pt x="63" y="98"/>
                    </a:cubicBezTo>
                    <a:cubicBezTo>
                      <a:pt x="62" y="98"/>
                      <a:pt x="62" y="98"/>
                      <a:pt x="62" y="98"/>
                    </a:cubicBezTo>
                    <a:cubicBezTo>
                      <a:pt x="65" y="94"/>
                      <a:pt x="65" y="94"/>
                      <a:pt x="65" y="94"/>
                    </a:cubicBezTo>
                    <a:cubicBezTo>
                      <a:pt x="68" y="90"/>
                      <a:pt x="68" y="90"/>
                      <a:pt x="68" y="90"/>
                    </a:cubicBezTo>
                    <a:cubicBezTo>
                      <a:pt x="66" y="91"/>
                      <a:pt x="66" y="91"/>
                      <a:pt x="66" y="91"/>
                    </a:cubicBezTo>
                    <a:cubicBezTo>
                      <a:pt x="63" y="90"/>
                      <a:pt x="63" y="90"/>
                      <a:pt x="63" y="90"/>
                    </a:cubicBezTo>
                    <a:cubicBezTo>
                      <a:pt x="65" y="89"/>
                      <a:pt x="65" y="89"/>
                      <a:pt x="65" y="89"/>
                    </a:cubicBezTo>
                    <a:cubicBezTo>
                      <a:pt x="65" y="87"/>
                      <a:pt x="65" y="87"/>
                      <a:pt x="65" y="87"/>
                    </a:cubicBezTo>
                    <a:cubicBezTo>
                      <a:pt x="73" y="81"/>
                      <a:pt x="73" y="81"/>
                      <a:pt x="73" y="81"/>
                    </a:cubicBezTo>
                    <a:cubicBezTo>
                      <a:pt x="75" y="78"/>
                      <a:pt x="75" y="78"/>
                      <a:pt x="75" y="78"/>
                    </a:cubicBezTo>
                    <a:cubicBezTo>
                      <a:pt x="78" y="77"/>
                      <a:pt x="78" y="77"/>
                      <a:pt x="78" y="77"/>
                    </a:cubicBezTo>
                    <a:cubicBezTo>
                      <a:pt x="79" y="74"/>
                      <a:pt x="79" y="74"/>
                      <a:pt x="79" y="74"/>
                    </a:cubicBezTo>
                    <a:cubicBezTo>
                      <a:pt x="78" y="72"/>
                      <a:pt x="78" y="72"/>
                      <a:pt x="78" y="72"/>
                    </a:cubicBezTo>
                    <a:cubicBezTo>
                      <a:pt x="79" y="70"/>
                      <a:pt x="79" y="70"/>
                      <a:pt x="79" y="70"/>
                    </a:cubicBezTo>
                    <a:cubicBezTo>
                      <a:pt x="79" y="69"/>
                      <a:pt x="79" y="69"/>
                      <a:pt x="79" y="69"/>
                    </a:cubicBezTo>
                    <a:cubicBezTo>
                      <a:pt x="75" y="69"/>
                      <a:pt x="75" y="69"/>
                      <a:pt x="75" y="69"/>
                    </a:cubicBezTo>
                    <a:cubicBezTo>
                      <a:pt x="74" y="70"/>
                      <a:pt x="74" y="70"/>
                      <a:pt x="74" y="70"/>
                    </a:cubicBezTo>
                    <a:cubicBezTo>
                      <a:pt x="71" y="70"/>
                      <a:pt x="71" y="70"/>
                      <a:pt x="71" y="70"/>
                    </a:cubicBezTo>
                    <a:cubicBezTo>
                      <a:pt x="68" y="71"/>
                      <a:pt x="68" y="71"/>
                      <a:pt x="68" y="71"/>
                    </a:cubicBezTo>
                    <a:cubicBezTo>
                      <a:pt x="64" y="71"/>
                      <a:pt x="64" y="71"/>
                      <a:pt x="64" y="71"/>
                    </a:cubicBezTo>
                    <a:cubicBezTo>
                      <a:pt x="61" y="72"/>
                      <a:pt x="61" y="72"/>
                      <a:pt x="61" y="72"/>
                    </a:cubicBezTo>
                    <a:cubicBezTo>
                      <a:pt x="60" y="72"/>
                      <a:pt x="60" y="72"/>
                      <a:pt x="60" y="72"/>
                    </a:cubicBezTo>
                    <a:cubicBezTo>
                      <a:pt x="58" y="73"/>
                      <a:pt x="58" y="73"/>
                      <a:pt x="58" y="73"/>
                    </a:cubicBezTo>
                    <a:cubicBezTo>
                      <a:pt x="59" y="72"/>
                      <a:pt x="59" y="72"/>
                      <a:pt x="59" y="72"/>
                    </a:cubicBezTo>
                    <a:cubicBezTo>
                      <a:pt x="57" y="71"/>
                      <a:pt x="57" y="71"/>
                      <a:pt x="57" y="71"/>
                    </a:cubicBezTo>
                    <a:cubicBezTo>
                      <a:pt x="54" y="74"/>
                      <a:pt x="54" y="74"/>
                      <a:pt x="54" y="74"/>
                    </a:cubicBezTo>
                    <a:cubicBezTo>
                      <a:pt x="55" y="71"/>
                      <a:pt x="55" y="71"/>
                      <a:pt x="55" y="71"/>
                    </a:cubicBezTo>
                    <a:cubicBezTo>
                      <a:pt x="51" y="70"/>
                      <a:pt x="51" y="70"/>
                      <a:pt x="51" y="70"/>
                    </a:cubicBezTo>
                    <a:cubicBezTo>
                      <a:pt x="50" y="72"/>
                      <a:pt x="50" y="72"/>
                      <a:pt x="50" y="72"/>
                    </a:cubicBezTo>
                    <a:cubicBezTo>
                      <a:pt x="48" y="73"/>
                      <a:pt x="48" y="73"/>
                      <a:pt x="48" y="73"/>
                    </a:cubicBezTo>
                    <a:cubicBezTo>
                      <a:pt x="49" y="76"/>
                      <a:pt x="49" y="76"/>
                      <a:pt x="49" y="76"/>
                    </a:cubicBezTo>
                    <a:cubicBezTo>
                      <a:pt x="48" y="76"/>
                      <a:pt x="48" y="76"/>
                      <a:pt x="48" y="76"/>
                    </a:cubicBezTo>
                    <a:cubicBezTo>
                      <a:pt x="48" y="79"/>
                      <a:pt x="48" y="79"/>
                      <a:pt x="48" y="79"/>
                    </a:cubicBezTo>
                    <a:cubicBezTo>
                      <a:pt x="45" y="79"/>
                      <a:pt x="45" y="79"/>
                      <a:pt x="45" y="79"/>
                    </a:cubicBezTo>
                    <a:cubicBezTo>
                      <a:pt x="46" y="82"/>
                      <a:pt x="46" y="82"/>
                      <a:pt x="46" y="82"/>
                    </a:cubicBezTo>
                    <a:cubicBezTo>
                      <a:pt x="45" y="84"/>
                      <a:pt x="45" y="84"/>
                      <a:pt x="45" y="84"/>
                    </a:cubicBezTo>
                    <a:cubicBezTo>
                      <a:pt x="44" y="84"/>
                      <a:pt x="44" y="84"/>
                      <a:pt x="44" y="84"/>
                    </a:cubicBezTo>
                    <a:cubicBezTo>
                      <a:pt x="47" y="87"/>
                      <a:pt x="47" y="87"/>
                      <a:pt x="47" y="87"/>
                    </a:cubicBezTo>
                    <a:cubicBezTo>
                      <a:pt x="49" y="90"/>
                      <a:pt x="49" y="90"/>
                      <a:pt x="49" y="90"/>
                    </a:cubicBezTo>
                    <a:cubicBezTo>
                      <a:pt x="45" y="88"/>
                      <a:pt x="45" y="88"/>
                      <a:pt x="45" y="88"/>
                    </a:cubicBezTo>
                    <a:cubicBezTo>
                      <a:pt x="43" y="89"/>
                      <a:pt x="43" y="89"/>
                      <a:pt x="43" y="89"/>
                    </a:cubicBezTo>
                    <a:cubicBezTo>
                      <a:pt x="41" y="87"/>
                      <a:pt x="41" y="87"/>
                      <a:pt x="41" y="87"/>
                    </a:cubicBezTo>
                    <a:cubicBezTo>
                      <a:pt x="41" y="89"/>
                      <a:pt x="41" y="89"/>
                      <a:pt x="41" y="89"/>
                    </a:cubicBezTo>
                    <a:cubicBezTo>
                      <a:pt x="41" y="90"/>
                      <a:pt x="41" y="90"/>
                      <a:pt x="41" y="90"/>
                    </a:cubicBezTo>
                    <a:cubicBezTo>
                      <a:pt x="40" y="92"/>
                      <a:pt x="40" y="92"/>
                      <a:pt x="40" y="92"/>
                    </a:cubicBezTo>
                    <a:cubicBezTo>
                      <a:pt x="39" y="89"/>
                      <a:pt x="39" y="89"/>
                      <a:pt x="39" y="89"/>
                    </a:cubicBezTo>
                    <a:cubicBezTo>
                      <a:pt x="38" y="92"/>
                      <a:pt x="38" y="92"/>
                      <a:pt x="38" y="92"/>
                    </a:cubicBezTo>
                    <a:cubicBezTo>
                      <a:pt x="39" y="93"/>
                      <a:pt x="39" y="93"/>
                      <a:pt x="39" y="93"/>
                    </a:cubicBezTo>
                    <a:cubicBezTo>
                      <a:pt x="38" y="95"/>
                      <a:pt x="38" y="95"/>
                      <a:pt x="38" y="95"/>
                    </a:cubicBezTo>
                    <a:cubicBezTo>
                      <a:pt x="40" y="97"/>
                      <a:pt x="40" y="97"/>
                      <a:pt x="40" y="97"/>
                    </a:cubicBezTo>
                    <a:cubicBezTo>
                      <a:pt x="42" y="97"/>
                      <a:pt x="42" y="97"/>
                      <a:pt x="42" y="97"/>
                    </a:cubicBezTo>
                    <a:cubicBezTo>
                      <a:pt x="40" y="98"/>
                      <a:pt x="40" y="98"/>
                      <a:pt x="40" y="98"/>
                    </a:cubicBezTo>
                    <a:cubicBezTo>
                      <a:pt x="37" y="97"/>
                      <a:pt x="37" y="97"/>
                      <a:pt x="37" y="97"/>
                    </a:cubicBezTo>
                    <a:cubicBezTo>
                      <a:pt x="38" y="101"/>
                      <a:pt x="38" y="101"/>
                      <a:pt x="38" y="101"/>
                    </a:cubicBezTo>
                    <a:cubicBezTo>
                      <a:pt x="38" y="102"/>
                      <a:pt x="38" y="102"/>
                      <a:pt x="38" y="102"/>
                    </a:cubicBezTo>
                    <a:cubicBezTo>
                      <a:pt x="43" y="101"/>
                      <a:pt x="43" y="101"/>
                      <a:pt x="43" y="101"/>
                    </a:cubicBezTo>
                    <a:cubicBezTo>
                      <a:pt x="39" y="103"/>
                      <a:pt x="39" y="103"/>
                      <a:pt x="39" y="103"/>
                    </a:cubicBezTo>
                    <a:cubicBezTo>
                      <a:pt x="39" y="104"/>
                      <a:pt x="39" y="104"/>
                      <a:pt x="39" y="104"/>
                    </a:cubicBezTo>
                    <a:cubicBezTo>
                      <a:pt x="40" y="104"/>
                      <a:pt x="40" y="104"/>
                      <a:pt x="40" y="104"/>
                    </a:cubicBezTo>
                    <a:cubicBezTo>
                      <a:pt x="43" y="103"/>
                      <a:pt x="43" y="103"/>
                      <a:pt x="43" y="103"/>
                    </a:cubicBezTo>
                    <a:cubicBezTo>
                      <a:pt x="42" y="104"/>
                      <a:pt x="42" y="104"/>
                      <a:pt x="42" y="104"/>
                    </a:cubicBezTo>
                    <a:cubicBezTo>
                      <a:pt x="44" y="106"/>
                      <a:pt x="44" y="106"/>
                      <a:pt x="44" y="106"/>
                    </a:cubicBezTo>
                    <a:cubicBezTo>
                      <a:pt x="41" y="105"/>
                      <a:pt x="41" y="105"/>
                      <a:pt x="41" y="105"/>
                    </a:cubicBezTo>
                    <a:cubicBezTo>
                      <a:pt x="40" y="105"/>
                      <a:pt x="40" y="105"/>
                      <a:pt x="40" y="105"/>
                    </a:cubicBezTo>
                    <a:cubicBezTo>
                      <a:pt x="40" y="107"/>
                      <a:pt x="40" y="107"/>
                      <a:pt x="40" y="107"/>
                    </a:cubicBezTo>
                    <a:cubicBezTo>
                      <a:pt x="41" y="108"/>
                      <a:pt x="41" y="108"/>
                      <a:pt x="41" y="108"/>
                    </a:cubicBezTo>
                    <a:cubicBezTo>
                      <a:pt x="39" y="108"/>
                      <a:pt x="39" y="108"/>
                      <a:pt x="39" y="108"/>
                    </a:cubicBezTo>
                    <a:cubicBezTo>
                      <a:pt x="38" y="110"/>
                      <a:pt x="38" y="110"/>
                      <a:pt x="38" y="110"/>
                    </a:cubicBezTo>
                    <a:cubicBezTo>
                      <a:pt x="40" y="111"/>
                      <a:pt x="40" y="111"/>
                      <a:pt x="40" y="111"/>
                    </a:cubicBezTo>
                    <a:cubicBezTo>
                      <a:pt x="41" y="112"/>
                      <a:pt x="41" y="112"/>
                      <a:pt x="41" y="112"/>
                    </a:cubicBezTo>
                    <a:cubicBezTo>
                      <a:pt x="37" y="111"/>
                      <a:pt x="37" y="111"/>
                      <a:pt x="37" y="111"/>
                    </a:cubicBezTo>
                    <a:cubicBezTo>
                      <a:pt x="37" y="113"/>
                      <a:pt x="37" y="113"/>
                      <a:pt x="37" y="113"/>
                    </a:cubicBezTo>
                    <a:cubicBezTo>
                      <a:pt x="38" y="114"/>
                      <a:pt x="38" y="114"/>
                      <a:pt x="38" y="114"/>
                    </a:cubicBezTo>
                    <a:cubicBezTo>
                      <a:pt x="37" y="116"/>
                      <a:pt x="37" y="116"/>
                      <a:pt x="37" y="116"/>
                    </a:cubicBezTo>
                    <a:cubicBezTo>
                      <a:pt x="35" y="117"/>
                      <a:pt x="35" y="117"/>
                      <a:pt x="35" y="117"/>
                    </a:cubicBezTo>
                    <a:cubicBezTo>
                      <a:pt x="32" y="117"/>
                      <a:pt x="32" y="117"/>
                      <a:pt x="32" y="117"/>
                    </a:cubicBezTo>
                    <a:cubicBezTo>
                      <a:pt x="31" y="118"/>
                      <a:pt x="31" y="118"/>
                      <a:pt x="31" y="118"/>
                    </a:cubicBezTo>
                    <a:cubicBezTo>
                      <a:pt x="32" y="119"/>
                      <a:pt x="32" y="119"/>
                      <a:pt x="32" y="119"/>
                    </a:cubicBezTo>
                    <a:cubicBezTo>
                      <a:pt x="35" y="119"/>
                      <a:pt x="35" y="119"/>
                      <a:pt x="35" y="119"/>
                    </a:cubicBezTo>
                    <a:cubicBezTo>
                      <a:pt x="37" y="119"/>
                      <a:pt x="37" y="119"/>
                      <a:pt x="37" y="119"/>
                    </a:cubicBezTo>
                    <a:cubicBezTo>
                      <a:pt x="36" y="120"/>
                      <a:pt x="36" y="120"/>
                      <a:pt x="36" y="120"/>
                    </a:cubicBezTo>
                    <a:cubicBezTo>
                      <a:pt x="34" y="120"/>
                      <a:pt x="34" y="120"/>
                      <a:pt x="34" y="120"/>
                    </a:cubicBezTo>
                    <a:cubicBezTo>
                      <a:pt x="37" y="123"/>
                      <a:pt x="37" y="123"/>
                      <a:pt x="37" y="123"/>
                    </a:cubicBezTo>
                    <a:cubicBezTo>
                      <a:pt x="38" y="123"/>
                      <a:pt x="38" y="123"/>
                      <a:pt x="38" y="123"/>
                    </a:cubicBezTo>
                    <a:cubicBezTo>
                      <a:pt x="40" y="124"/>
                      <a:pt x="40" y="124"/>
                      <a:pt x="40" y="124"/>
                    </a:cubicBezTo>
                    <a:cubicBezTo>
                      <a:pt x="47" y="117"/>
                      <a:pt x="47" y="117"/>
                      <a:pt x="47" y="117"/>
                    </a:cubicBezTo>
                    <a:cubicBezTo>
                      <a:pt x="46" y="119"/>
                      <a:pt x="46" y="119"/>
                      <a:pt x="46" y="119"/>
                    </a:cubicBezTo>
                    <a:cubicBezTo>
                      <a:pt x="47" y="120"/>
                      <a:pt x="47" y="120"/>
                      <a:pt x="47" y="120"/>
                    </a:cubicBezTo>
                    <a:cubicBezTo>
                      <a:pt x="45" y="120"/>
                      <a:pt x="45" y="120"/>
                      <a:pt x="45" y="120"/>
                    </a:cubicBezTo>
                    <a:cubicBezTo>
                      <a:pt x="43" y="125"/>
                      <a:pt x="43" y="125"/>
                      <a:pt x="43" y="125"/>
                    </a:cubicBezTo>
                    <a:cubicBezTo>
                      <a:pt x="43" y="126"/>
                      <a:pt x="43" y="126"/>
                      <a:pt x="43" y="126"/>
                    </a:cubicBezTo>
                    <a:cubicBezTo>
                      <a:pt x="41" y="130"/>
                      <a:pt x="41" y="130"/>
                      <a:pt x="41" y="130"/>
                    </a:cubicBezTo>
                    <a:cubicBezTo>
                      <a:pt x="42" y="131"/>
                      <a:pt x="42" y="131"/>
                      <a:pt x="42" y="131"/>
                    </a:cubicBezTo>
                    <a:cubicBezTo>
                      <a:pt x="40" y="136"/>
                      <a:pt x="40" y="136"/>
                      <a:pt x="40" y="136"/>
                    </a:cubicBezTo>
                    <a:cubicBezTo>
                      <a:pt x="40" y="140"/>
                      <a:pt x="40" y="140"/>
                      <a:pt x="40" y="140"/>
                    </a:cubicBezTo>
                    <a:cubicBezTo>
                      <a:pt x="39" y="142"/>
                      <a:pt x="39" y="142"/>
                      <a:pt x="39" y="142"/>
                    </a:cubicBezTo>
                    <a:cubicBezTo>
                      <a:pt x="40" y="143"/>
                      <a:pt x="40" y="143"/>
                      <a:pt x="40" y="143"/>
                    </a:cubicBezTo>
                    <a:cubicBezTo>
                      <a:pt x="41" y="143"/>
                      <a:pt x="41" y="143"/>
                      <a:pt x="41" y="143"/>
                    </a:cubicBezTo>
                    <a:cubicBezTo>
                      <a:pt x="39" y="146"/>
                      <a:pt x="39" y="146"/>
                      <a:pt x="39" y="146"/>
                    </a:cubicBezTo>
                    <a:cubicBezTo>
                      <a:pt x="38" y="152"/>
                      <a:pt x="38" y="152"/>
                      <a:pt x="38" y="152"/>
                    </a:cubicBezTo>
                    <a:cubicBezTo>
                      <a:pt x="37" y="153"/>
                      <a:pt x="37" y="153"/>
                      <a:pt x="37" y="153"/>
                    </a:cubicBezTo>
                    <a:cubicBezTo>
                      <a:pt x="37" y="155"/>
                      <a:pt x="37" y="155"/>
                      <a:pt x="37" y="155"/>
                    </a:cubicBezTo>
                    <a:cubicBezTo>
                      <a:pt x="41" y="155"/>
                      <a:pt x="41" y="155"/>
                      <a:pt x="41" y="155"/>
                    </a:cubicBezTo>
                    <a:cubicBezTo>
                      <a:pt x="40" y="152"/>
                      <a:pt x="40" y="152"/>
                      <a:pt x="40" y="152"/>
                    </a:cubicBezTo>
                    <a:cubicBezTo>
                      <a:pt x="42" y="148"/>
                      <a:pt x="42" y="148"/>
                      <a:pt x="42" y="148"/>
                    </a:cubicBezTo>
                    <a:cubicBezTo>
                      <a:pt x="42" y="146"/>
                      <a:pt x="42" y="146"/>
                      <a:pt x="42" y="146"/>
                    </a:cubicBezTo>
                    <a:cubicBezTo>
                      <a:pt x="44" y="143"/>
                      <a:pt x="44" y="143"/>
                      <a:pt x="44" y="143"/>
                    </a:cubicBezTo>
                    <a:cubicBezTo>
                      <a:pt x="42" y="137"/>
                      <a:pt x="42" y="137"/>
                      <a:pt x="42" y="137"/>
                    </a:cubicBezTo>
                    <a:cubicBezTo>
                      <a:pt x="44" y="137"/>
                      <a:pt x="44" y="137"/>
                      <a:pt x="44" y="137"/>
                    </a:cubicBezTo>
                    <a:cubicBezTo>
                      <a:pt x="49" y="131"/>
                      <a:pt x="49" y="131"/>
                      <a:pt x="49" y="131"/>
                    </a:cubicBezTo>
                    <a:cubicBezTo>
                      <a:pt x="45" y="136"/>
                      <a:pt x="45" y="136"/>
                      <a:pt x="45" y="136"/>
                    </a:cubicBezTo>
                    <a:cubicBezTo>
                      <a:pt x="45" y="140"/>
                      <a:pt x="45" y="140"/>
                      <a:pt x="45" y="140"/>
                    </a:cubicBezTo>
                    <a:cubicBezTo>
                      <a:pt x="46" y="141"/>
                      <a:pt x="46" y="141"/>
                      <a:pt x="46" y="141"/>
                    </a:cubicBezTo>
                    <a:cubicBezTo>
                      <a:pt x="46" y="139"/>
                      <a:pt x="46" y="139"/>
                      <a:pt x="46" y="139"/>
                    </a:cubicBezTo>
                    <a:cubicBezTo>
                      <a:pt x="49" y="137"/>
                      <a:pt x="49" y="137"/>
                      <a:pt x="49" y="137"/>
                    </a:cubicBezTo>
                    <a:cubicBezTo>
                      <a:pt x="50" y="140"/>
                      <a:pt x="50" y="140"/>
                      <a:pt x="50" y="140"/>
                    </a:cubicBezTo>
                    <a:cubicBezTo>
                      <a:pt x="52" y="136"/>
                      <a:pt x="52" y="136"/>
                      <a:pt x="52" y="136"/>
                    </a:cubicBezTo>
                    <a:cubicBezTo>
                      <a:pt x="51" y="133"/>
                      <a:pt x="51" y="133"/>
                      <a:pt x="51" y="133"/>
                    </a:cubicBezTo>
                    <a:cubicBezTo>
                      <a:pt x="53" y="132"/>
                      <a:pt x="53" y="132"/>
                      <a:pt x="53" y="132"/>
                    </a:cubicBezTo>
                    <a:cubicBezTo>
                      <a:pt x="52" y="136"/>
                      <a:pt x="52" y="136"/>
                      <a:pt x="52" y="136"/>
                    </a:cubicBezTo>
                    <a:cubicBezTo>
                      <a:pt x="56" y="139"/>
                      <a:pt x="56" y="139"/>
                      <a:pt x="56" y="139"/>
                    </a:cubicBezTo>
                    <a:cubicBezTo>
                      <a:pt x="53" y="138"/>
                      <a:pt x="53" y="138"/>
                      <a:pt x="53" y="138"/>
                    </a:cubicBezTo>
                    <a:cubicBezTo>
                      <a:pt x="52" y="143"/>
                      <a:pt x="52" y="143"/>
                      <a:pt x="52" y="143"/>
                    </a:cubicBezTo>
                    <a:cubicBezTo>
                      <a:pt x="52" y="147"/>
                      <a:pt x="52" y="147"/>
                      <a:pt x="52" y="147"/>
                    </a:cubicBezTo>
                    <a:cubicBezTo>
                      <a:pt x="55" y="147"/>
                      <a:pt x="55" y="147"/>
                      <a:pt x="55" y="147"/>
                    </a:cubicBezTo>
                    <a:cubicBezTo>
                      <a:pt x="56" y="151"/>
                      <a:pt x="56" y="151"/>
                      <a:pt x="56" y="151"/>
                    </a:cubicBezTo>
                    <a:cubicBezTo>
                      <a:pt x="53" y="154"/>
                      <a:pt x="53" y="154"/>
                      <a:pt x="53" y="154"/>
                    </a:cubicBezTo>
                    <a:cubicBezTo>
                      <a:pt x="49" y="162"/>
                      <a:pt x="49" y="162"/>
                      <a:pt x="49" y="162"/>
                    </a:cubicBezTo>
                    <a:cubicBezTo>
                      <a:pt x="50" y="165"/>
                      <a:pt x="50" y="165"/>
                      <a:pt x="50" y="165"/>
                    </a:cubicBezTo>
                    <a:cubicBezTo>
                      <a:pt x="47" y="163"/>
                      <a:pt x="47" y="163"/>
                      <a:pt x="47" y="163"/>
                    </a:cubicBezTo>
                    <a:cubicBezTo>
                      <a:pt x="48" y="167"/>
                      <a:pt x="48" y="167"/>
                      <a:pt x="48" y="167"/>
                    </a:cubicBezTo>
                    <a:cubicBezTo>
                      <a:pt x="51" y="172"/>
                      <a:pt x="51" y="172"/>
                      <a:pt x="51" y="172"/>
                    </a:cubicBezTo>
                    <a:cubicBezTo>
                      <a:pt x="50" y="168"/>
                      <a:pt x="50" y="168"/>
                      <a:pt x="50" y="168"/>
                    </a:cubicBezTo>
                    <a:cubicBezTo>
                      <a:pt x="53" y="167"/>
                      <a:pt x="53" y="167"/>
                      <a:pt x="53" y="167"/>
                    </a:cubicBezTo>
                    <a:cubicBezTo>
                      <a:pt x="60" y="172"/>
                      <a:pt x="60" y="172"/>
                      <a:pt x="60" y="172"/>
                    </a:cubicBezTo>
                    <a:cubicBezTo>
                      <a:pt x="60" y="168"/>
                      <a:pt x="60" y="168"/>
                      <a:pt x="60" y="168"/>
                    </a:cubicBezTo>
                    <a:cubicBezTo>
                      <a:pt x="57" y="166"/>
                      <a:pt x="57" y="166"/>
                      <a:pt x="57" y="166"/>
                    </a:cubicBezTo>
                    <a:cubicBezTo>
                      <a:pt x="59" y="165"/>
                      <a:pt x="59" y="165"/>
                      <a:pt x="59" y="165"/>
                    </a:cubicBezTo>
                    <a:cubicBezTo>
                      <a:pt x="64" y="169"/>
                      <a:pt x="64" y="169"/>
                      <a:pt x="64" y="169"/>
                    </a:cubicBezTo>
                    <a:cubicBezTo>
                      <a:pt x="68" y="168"/>
                      <a:pt x="68" y="168"/>
                      <a:pt x="68" y="168"/>
                    </a:cubicBezTo>
                    <a:cubicBezTo>
                      <a:pt x="68" y="166"/>
                      <a:pt x="68" y="166"/>
                      <a:pt x="68" y="166"/>
                    </a:cubicBezTo>
                    <a:cubicBezTo>
                      <a:pt x="71" y="167"/>
                      <a:pt x="71" y="167"/>
                      <a:pt x="71" y="167"/>
                    </a:cubicBezTo>
                    <a:cubicBezTo>
                      <a:pt x="72" y="163"/>
                      <a:pt x="72" y="163"/>
                      <a:pt x="72" y="163"/>
                    </a:cubicBezTo>
                    <a:cubicBezTo>
                      <a:pt x="82" y="164"/>
                      <a:pt x="82" y="164"/>
                      <a:pt x="82" y="164"/>
                    </a:cubicBezTo>
                    <a:cubicBezTo>
                      <a:pt x="76" y="165"/>
                      <a:pt x="76" y="165"/>
                      <a:pt x="76" y="165"/>
                    </a:cubicBezTo>
                    <a:cubicBezTo>
                      <a:pt x="72" y="176"/>
                      <a:pt x="72" y="176"/>
                      <a:pt x="72" y="176"/>
                    </a:cubicBezTo>
                    <a:cubicBezTo>
                      <a:pt x="76" y="184"/>
                      <a:pt x="76" y="184"/>
                      <a:pt x="76" y="184"/>
                    </a:cubicBezTo>
                    <a:cubicBezTo>
                      <a:pt x="79" y="183"/>
                      <a:pt x="79" y="183"/>
                      <a:pt x="79" y="183"/>
                    </a:cubicBezTo>
                    <a:cubicBezTo>
                      <a:pt x="79" y="187"/>
                      <a:pt x="79" y="187"/>
                      <a:pt x="79" y="187"/>
                    </a:cubicBezTo>
                    <a:cubicBezTo>
                      <a:pt x="82" y="183"/>
                      <a:pt x="82" y="183"/>
                      <a:pt x="82" y="183"/>
                    </a:cubicBezTo>
                    <a:cubicBezTo>
                      <a:pt x="86" y="184"/>
                      <a:pt x="86" y="184"/>
                      <a:pt x="86" y="184"/>
                    </a:cubicBezTo>
                    <a:cubicBezTo>
                      <a:pt x="84" y="188"/>
                      <a:pt x="84" y="188"/>
                      <a:pt x="84" y="188"/>
                    </a:cubicBezTo>
                    <a:cubicBezTo>
                      <a:pt x="85" y="189"/>
                      <a:pt x="85" y="189"/>
                      <a:pt x="85" y="189"/>
                    </a:cubicBezTo>
                    <a:cubicBezTo>
                      <a:pt x="82" y="192"/>
                      <a:pt x="82" y="192"/>
                      <a:pt x="82" y="192"/>
                    </a:cubicBezTo>
                    <a:cubicBezTo>
                      <a:pt x="83" y="197"/>
                      <a:pt x="83" y="197"/>
                      <a:pt x="83" y="197"/>
                    </a:cubicBezTo>
                    <a:cubicBezTo>
                      <a:pt x="81" y="201"/>
                      <a:pt x="81" y="201"/>
                      <a:pt x="81" y="201"/>
                    </a:cubicBezTo>
                    <a:cubicBezTo>
                      <a:pt x="83" y="204"/>
                      <a:pt x="83" y="204"/>
                      <a:pt x="83" y="204"/>
                    </a:cubicBezTo>
                    <a:cubicBezTo>
                      <a:pt x="86" y="206"/>
                      <a:pt x="86" y="206"/>
                      <a:pt x="86" y="206"/>
                    </a:cubicBezTo>
                    <a:cubicBezTo>
                      <a:pt x="88" y="206"/>
                      <a:pt x="88" y="206"/>
                      <a:pt x="88" y="206"/>
                    </a:cubicBezTo>
                    <a:cubicBezTo>
                      <a:pt x="87" y="207"/>
                      <a:pt x="87" y="207"/>
                      <a:pt x="87" y="207"/>
                    </a:cubicBezTo>
                    <a:cubicBezTo>
                      <a:pt x="84" y="207"/>
                      <a:pt x="84" y="207"/>
                      <a:pt x="84" y="207"/>
                    </a:cubicBezTo>
                    <a:cubicBezTo>
                      <a:pt x="82" y="204"/>
                      <a:pt x="82" y="204"/>
                      <a:pt x="82" y="204"/>
                    </a:cubicBezTo>
                    <a:cubicBezTo>
                      <a:pt x="80" y="205"/>
                      <a:pt x="80" y="205"/>
                      <a:pt x="80" y="205"/>
                    </a:cubicBezTo>
                    <a:cubicBezTo>
                      <a:pt x="82" y="208"/>
                      <a:pt x="82" y="208"/>
                      <a:pt x="82" y="208"/>
                    </a:cubicBezTo>
                    <a:cubicBezTo>
                      <a:pt x="83" y="209"/>
                      <a:pt x="83" y="209"/>
                      <a:pt x="83" y="209"/>
                    </a:cubicBezTo>
                    <a:cubicBezTo>
                      <a:pt x="80" y="209"/>
                      <a:pt x="80" y="209"/>
                      <a:pt x="80" y="209"/>
                    </a:cubicBezTo>
                    <a:cubicBezTo>
                      <a:pt x="78" y="206"/>
                      <a:pt x="78" y="206"/>
                      <a:pt x="78" y="206"/>
                    </a:cubicBezTo>
                    <a:cubicBezTo>
                      <a:pt x="72" y="208"/>
                      <a:pt x="72" y="208"/>
                      <a:pt x="72" y="208"/>
                    </a:cubicBezTo>
                    <a:cubicBezTo>
                      <a:pt x="69" y="208"/>
                      <a:pt x="69" y="208"/>
                      <a:pt x="69" y="208"/>
                    </a:cubicBezTo>
                    <a:cubicBezTo>
                      <a:pt x="63" y="211"/>
                      <a:pt x="63" y="211"/>
                      <a:pt x="63" y="211"/>
                    </a:cubicBezTo>
                    <a:cubicBezTo>
                      <a:pt x="60" y="215"/>
                      <a:pt x="60" y="215"/>
                      <a:pt x="60" y="215"/>
                    </a:cubicBezTo>
                    <a:cubicBezTo>
                      <a:pt x="55" y="218"/>
                      <a:pt x="55" y="218"/>
                      <a:pt x="55" y="218"/>
                    </a:cubicBezTo>
                    <a:cubicBezTo>
                      <a:pt x="53" y="221"/>
                      <a:pt x="53" y="221"/>
                      <a:pt x="53" y="221"/>
                    </a:cubicBezTo>
                    <a:cubicBezTo>
                      <a:pt x="56" y="220"/>
                      <a:pt x="56" y="220"/>
                      <a:pt x="56" y="220"/>
                    </a:cubicBezTo>
                    <a:cubicBezTo>
                      <a:pt x="57" y="221"/>
                      <a:pt x="57" y="221"/>
                      <a:pt x="57" y="221"/>
                    </a:cubicBezTo>
                    <a:cubicBezTo>
                      <a:pt x="58" y="219"/>
                      <a:pt x="58" y="219"/>
                      <a:pt x="58" y="219"/>
                    </a:cubicBezTo>
                    <a:cubicBezTo>
                      <a:pt x="64" y="217"/>
                      <a:pt x="64" y="217"/>
                      <a:pt x="64" y="217"/>
                    </a:cubicBezTo>
                    <a:cubicBezTo>
                      <a:pt x="64" y="221"/>
                      <a:pt x="64" y="221"/>
                      <a:pt x="64" y="221"/>
                    </a:cubicBezTo>
                    <a:cubicBezTo>
                      <a:pt x="66" y="223"/>
                      <a:pt x="66" y="223"/>
                      <a:pt x="66" y="223"/>
                    </a:cubicBezTo>
                    <a:cubicBezTo>
                      <a:pt x="64" y="225"/>
                      <a:pt x="64" y="225"/>
                      <a:pt x="64" y="225"/>
                    </a:cubicBezTo>
                    <a:cubicBezTo>
                      <a:pt x="65" y="227"/>
                      <a:pt x="65" y="227"/>
                      <a:pt x="65" y="227"/>
                    </a:cubicBezTo>
                    <a:cubicBezTo>
                      <a:pt x="67" y="228"/>
                      <a:pt x="67" y="228"/>
                      <a:pt x="67" y="228"/>
                    </a:cubicBezTo>
                    <a:cubicBezTo>
                      <a:pt x="62" y="235"/>
                      <a:pt x="62" y="235"/>
                      <a:pt x="62" y="235"/>
                    </a:cubicBezTo>
                    <a:cubicBezTo>
                      <a:pt x="59" y="236"/>
                      <a:pt x="59" y="236"/>
                      <a:pt x="59" y="236"/>
                    </a:cubicBezTo>
                    <a:cubicBezTo>
                      <a:pt x="56" y="239"/>
                      <a:pt x="56" y="239"/>
                      <a:pt x="56" y="239"/>
                    </a:cubicBezTo>
                    <a:cubicBezTo>
                      <a:pt x="55" y="239"/>
                      <a:pt x="55" y="239"/>
                      <a:pt x="55" y="239"/>
                    </a:cubicBezTo>
                    <a:cubicBezTo>
                      <a:pt x="51" y="241"/>
                      <a:pt x="51" y="241"/>
                      <a:pt x="51" y="241"/>
                    </a:cubicBezTo>
                    <a:cubicBezTo>
                      <a:pt x="48" y="241"/>
                      <a:pt x="48" y="241"/>
                      <a:pt x="48" y="241"/>
                    </a:cubicBezTo>
                    <a:cubicBezTo>
                      <a:pt x="43" y="244"/>
                      <a:pt x="43" y="244"/>
                      <a:pt x="43" y="244"/>
                    </a:cubicBezTo>
                    <a:cubicBezTo>
                      <a:pt x="47" y="244"/>
                      <a:pt x="47" y="244"/>
                      <a:pt x="47" y="244"/>
                    </a:cubicBezTo>
                    <a:cubicBezTo>
                      <a:pt x="47" y="247"/>
                      <a:pt x="47" y="247"/>
                      <a:pt x="47" y="247"/>
                    </a:cubicBezTo>
                    <a:cubicBezTo>
                      <a:pt x="45" y="248"/>
                      <a:pt x="45" y="248"/>
                      <a:pt x="45" y="248"/>
                    </a:cubicBezTo>
                    <a:cubicBezTo>
                      <a:pt x="49" y="249"/>
                      <a:pt x="49" y="249"/>
                      <a:pt x="49" y="249"/>
                    </a:cubicBezTo>
                    <a:cubicBezTo>
                      <a:pt x="48" y="250"/>
                      <a:pt x="48" y="250"/>
                      <a:pt x="48" y="250"/>
                    </a:cubicBezTo>
                    <a:cubicBezTo>
                      <a:pt x="50" y="251"/>
                      <a:pt x="50" y="251"/>
                      <a:pt x="50" y="251"/>
                    </a:cubicBezTo>
                    <a:cubicBezTo>
                      <a:pt x="52" y="250"/>
                      <a:pt x="52" y="250"/>
                      <a:pt x="52" y="250"/>
                    </a:cubicBezTo>
                    <a:cubicBezTo>
                      <a:pt x="56" y="248"/>
                      <a:pt x="56" y="248"/>
                      <a:pt x="56" y="248"/>
                    </a:cubicBezTo>
                    <a:cubicBezTo>
                      <a:pt x="60" y="247"/>
                      <a:pt x="60" y="247"/>
                      <a:pt x="60" y="247"/>
                    </a:cubicBezTo>
                    <a:cubicBezTo>
                      <a:pt x="61" y="249"/>
                      <a:pt x="61" y="249"/>
                      <a:pt x="61" y="249"/>
                    </a:cubicBezTo>
                    <a:cubicBezTo>
                      <a:pt x="65" y="250"/>
                      <a:pt x="65" y="250"/>
                      <a:pt x="65" y="250"/>
                    </a:cubicBezTo>
                    <a:cubicBezTo>
                      <a:pt x="62" y="251"/>
                      <a:pt x="62" y="251"/>
                      <a:pt x="62" y="251"/>
                    </a:cubicBezTo>
                    <a:cubicBezTo>
                      <a:pt x="61" y="253"/>
                      <a:pt x="61" y="253"/>
                      <a:pt x="61" y="253"/>
                    </a:cubicBezTo>
                    <a:cubicBezTo>
                      <a:pt x="67" y="253"/>
                      <a:pt x="67" y="253"/>
                      <a:pt x="67" y="253"/>
                    </a:cubicBezTo>
                    <a:cubicBezTo>
                      <a:pt x="67" y="252"/>
                      <a:pt x="67" y="252"/>
                      <a:pt x="67" y="252"/>
                    </a:cubicBezTo>
                    <a:cubicBezTo>
                      <a:pt x="69" y="251"/>
                      <a:pt x="69" y="251"/>
                      <a:pt x="69" y="251"/>
                    </a:cubicBezTo>
                    <a:cubicBezTo>
                      <a:pt x="72" y="254"/>
                      <a:pt x="72" y="254"/>
                      <a:pt x="72" y="254"/>
                    </a:cubicBezTo>
                    <a:cubicBezTo>
                      <a:pt x="75" y="257"/>
                      <a:pt x="75" y="257"/>
                      <a:pt x="75" y="257"/>
                    </a:cubicBezTo>
                    <a:cubicBezTo>
                      <a:pt x="81" y="257"/>
                      <a:pt x="81" y="257"/>
                      <a:pt x="81" y="257"/>
                    </a:cubicBezTo>
                    <a:cubicBezTo>
                      <a:pt x="82" y="254"/>
                      <a:pt x="82" y="254"/>
                      <a:pt x="82" y="254"/>
                    </a:cubicBezTo>
                    <a:cubicBezTo>
                      <a:pt x="85" y="253"/>
                      <a:pt x="85" y="253"/>
                      <a:pt x="85" y="253"/>
                    </a:cubicBezTo>
                    <a:cubicBezTo>
                      <a:pt x="89" y="252"/>
                      <a:pt x="89" y="252"/>
                      <a:pt x="89" y="252"/>
                    </a:cubicBezTo>
                    <a:cubicBezTo>
                      <a:pt x="91" y="250"/>
                      <a:pt x="91" y="250"/>
                      <a:pt x="91" y="250"/>
                    </a:cubicBezTo>
                    <a:cubicBezTo>
                      <a:pt x="94" y="248"/>
                      <a:pt x="94" y="248"/>
                      <a:pt x="94" y="248"/>
                    </a:cubicBezTo>
                    <a:cubicBezTo>
                      <a:pt x="89" y="253"/>
                      <a:pt x="89" y="253"/>
                      <a:pt x="89" y="253"/>
                    </a:cubicBezTo>
                    <a:cubicBezTo>
                      <a:pt x="85" y="258"/>
                      <a:pt x="85" y="258"/>
                      <a:pt x="85" y="258"/>
                    </a:cubicBezTo>
                    <a:cubicBezTo>
                      <a:pt x="85" y="262"/>
                      <a:pt x="85" y="262"/>
                      <a:pt x="85" y="262"/>
                    </a:cubicBezTo>
                    <a:cubicBezTo>
                      <a:pt x="82" y="262"/>
                      <a:pt x="82" y="262"/>
                      <a:pt x="82" y="262"/>
                    </a:cubicBezTo>
                    <a:cubicBezTo>
                      <a:pt x="79" y="263"/>
                      <a:pt x="79" y="263"/>
                      <a:pt x="79" y="263"/>
                    </a:cubicBezTo>
                    <a:cubicBezTo>
                      <a:pt x="76" y="262"/>
                      <a:pt x="76" y="262"/>
                      <a:pt x="76" y="262"/>
                    </a:cubicBezTo>
                    <a:cubicBezTo>
                      <a:pt x="68" y="261"/>
                      <a:pt x="68" y="261"/>
                      <a:pt x="68" y="261"/>
                    </a:cubicBezTo>
                    <a:cubicBezTo>
                      <a:pt x="63" y="262"/>
                      <a:pt x="63" y="262"/>
                      <a:pt x="63" y="262"/>
                    </a:cubicBezTo>
                    <a:cubicBezTo>
                      <a:pt x="63" y="265"/>
                      <a:pt x="63" y="265"/>
                      <a:pt x="63" y="265"/>
                    </a:cubicBezTo>
                    <a:cubicBezTo>
                      <a:pt x="60" y="267"/>
                      <a:pt x="60" y="267"/>
                      <a:pt x="60" y="267"/>
                    </a:cubicBezTo>
                    <a:cubicBezTo>
                      <a:pt x="57" y="267"/>
                      <a:pt x="57" y="267"/>
                      <a:pt x="57" y="267"/>
                    </a:cubicBezTo>
                    <a:cubicBezTo>
                      <a:pt x="57" y="274"/>
                      <a:pt x="57" y="274"/>
                      <a:pt x="57" y="274"/>
                    </a:cubicBezTo>
                    <a:cubicBezTo>
                      <a:pt x="53" y="277"/>
                      <a:pt x="53" y="277"/>
                      <a:pt x="53" y="277"/>
                    </a:cubicBezTo>
                    <a:cubicBezTo>
                      <a:pt x="52" y="278"/>
                      <a:pt x="52" y="278"/>
                      <a:pt x="52" y="278"/>
                    </a:cubicBezTo>
                    <a:cubicBezTo>
                      <a:pt x="49" y="279"/>
                      <a:pt x="49" y="279"/>
                      <a:pt x="49" y="279"/>
                    </a:cubicBezTo>
                    <a:cubicBezTo>
                      <a:pt x="48" y="283"/>
                      <a:pt x="48" y="283"/>
                      <a:pt x="48" y="283"/>
                    </a:cubicBezTo>
                    <a:cubicBezTo>
                      <a:pt x="46" y="283"/>
                      <a:pt x="46" y="283"/>
                      <a:pt x="46" y="283"/>
                    </a:cubicBezTo>
                    <a:cubicBezTo>
                      <a:pt x="45" y="285"/>
                      <a:pt x="45" y="285"/>
                      <a:pt x="45" y="285"/>
                    </a:cubicBezTo>
                    <a:cubicBezTo>
                      <a:pt x="41" y="288"/>
                      <a:pt x="41" y="288"/>
                      <a:pt x="41" y="288"/>
                    </a:cubicBezTo>
                    <a:cubicBezTo>
                      <a:pt x="39" y="287"/>
                      <a:pt x="39" y="287"/>
                      <a:pt x="39" y="287"/>
                    </a:cubicBezTo>
                    <a:cubicBezTo>
                      <a:pt x="36" y="289"/>
                      <a:pt x="36" y="289"/>
                      <a:pt x="36" y="289"/>
                    </a:cubicBezTo>
                    <a:cubicBezTo>
                      <a:pt x="36" y="292"/>
                      <a:pt x="36" y="292"/>
                      <a:pt x="36" y="292"/>
                    </a:cubicBezTo>
                    <a:cubicBezTo>
                      <a:pt x="39" y="292"/>
                      <a:pt x="39" y="292"/>
                      <a:pt x="39" y="292"/>
                    </a:cubicBezTo>
                    <a:cubicBezTo>
                      <a:pt x="39" y="290"/>
                      <a:pt x="39" y="290"/>
                      <a:pt x="39" y="290"/>
                    </a:cubicBezTo>
                    <a:cubicBezTo>
                      <a:pt x="43" y="291"/>
                      <a:pt x="43" y="291"/>
                      <a:pt x="43" y="291"/>
                    </a:cubicBezTo>
                    <a:lnTo>
                      <a:pt x="45" y="294"/>
                    </a:lnTo>
                    <a:close/>
                  </a:path>
                </a:pathLst>
              </a:custGeom>
              <a:solidFill>
                <a:schemeClr val="accent6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791" name="Freeform 595"/>
              <p:cNvSpPr>
                <a:spLocks noEditPoints="1"/>
              </p:cNvSpPr>
              <p:nvPr userDrawn="1"/>
            </p:nvSpPr>
            <p:spPr bwMode="auto">
              <a:xfrm>
                <a:off x="3766" y="1547"/>
                <a:ext cx="70" cy="154"/>
              </a:xfrm>
              <a:custGeom>
                <a:avLst/>
                <a:gdLst>
                  <a:gd name="T0" fmla="*/ 72 w 74"/>
                  <a:gd name="T1" fmla="*/ 5 h 162"/>
                  <a:gd name="T2" fmla="*/ 71 w 74"/>
                  <a:gd name="T3" fmla="*/ 7 h 162"/>
                  <a:gd name="T4" fmla="*/ 67 w 74"/>
                  <a:gd name="T5" fmla="*/ 7 h 162"/>
                  <a:gd name="T6" fmla="*/ 65 w 74"/>
                  <a:gd name="T7" fmla="*/ 3 h 162"/>
                  <a:gd name="T8" fmla="*/ 68 w 74"/>
                  <a:gd name="T9" fmla="*/ 0 h 162"/>
                  <a:gd name="T10" fmla="*/ 74 w 74"/>
                  <a:gd name="T11" fmla="*/ 1 h 162"/>
                  <a:gd name="T12" fmla="*/ 74 w 74"/>
                  <a:gd name="T13" fmla="*/ 3 h 162"/>
                  <a:gd name="T14" fmla="*/ 70 w 74"/>
                  <a:gd name="T15" fmla="*/ 3 h 162"/>
                  <a:gd name="T16" fmla="*/ 72 w 74"/>
                  <a:gd name="T17" fmla="*/ 5 h 162"/>
                  <a:gd name="T18" fmla="*/ 18 w 74"/>
                  <a:gd name="T19" fmla="*/ 58 h 162"/>
                  <a:gd name="T20" fmla="*/ 18 w 74"/>
                  <a:gd name="T21" fmla="*/ 55 h 162"/>
                  <a:gd name="T22" fmla="*/ 21 w 74"/>
                  <a:gd name="T23" fmla="*/ 57 h 162"/>
                  <a:gd name="T24" fmla="*/ 19 w 74"/>
                  <a:gd name="T25" fmla="*/ 59 h 162"/>
                  <a:gd name="T26" fmla="*/ 18 w 74"/>
                  <a:gd name="T27" fmla="*/ 58 h 162"/>
                  <a:gd name="T28" fmla="*/ 16 w 74"/>
                  <a:gd name="T29" fmla="*/ 60 h 162"/>
                  <a:gd name="T30" fmla="*/ 19 w 74"/>
                  <a:gd name="T31" fmla="*/ 62 h 162"/>
                  <a:gd name="T32" fmla="*/ 21 w 74"/>
                  <a:gd name="T33" fmla="*/ 61 h 162"/>
                  <a:gd name="T34" fmla="*/ 21 w 74"/>
                  <a:gd name="T35" fmla="*/ 64 h 162"/>
                  <a:gd name="T36" fmla="*/ 17 w 74"/>
                  <a:gd name="T37" fmla="*/ 66 h 162"/>
                  <a:gd name="T38" fmla="*/ 15 w 74"/>
                  <a:gd name="T39" fmla="*/ 63 h 162"/>
                  <a:gd name="T40" fmla="*/ 16 w 74"/>
                  <a:gd name="T41" fmla="*/ 60 h 162"/>
                  <a:gd name="T42" fmla="*/ 56 w 74"/>
                  <a:gd name="T43" fmla="*/ 158 h 162"/>
                  <a:gd name="T44" fmla="*/ 57 w 74"/>
                  <a:gd name="T45" fmla="*/ 160 h 162"/>
                  <a:gd name="T46" fmla="*/ 54 w 74"/>
                  <a:gd name="T47" fmla="*/ 162 h 162"/>
                  <a:gd name="T48" fmla="*/ 53 w 74"/>
                  <a:gd name="T49" fmla="*/ 160 h 162"/>
                  <a:gd name="T50" fmla="*/ 55 w 74"/>
                  <a:gd name="T51" fmla="*/ 159 h 162"/>
                  <a:gd name="T52" fmla="*/ 56 w 74"/>
                  <a:gd name="T53" fmla="*/ 158 h 162"/>
                  <a:gd name="T54" fmla="*/ 51 w 74"/>
                  <a:gd name="T55" fmla="*/ 153 h 162"/>
                  <a:gd name="T56" fmla="*/ 52 w 74"/>
                  <a:gd name="T57" fmla="*/ 156 h 162"/>
                  <a:gd name="T58" fmla="*/ 51 w 74"/>
                  <a:gd name="T59" fmla="*/ 156 h 162"/>
                  <a:gd name="T60" fmla="*/ 51 w 74"/>
                  <a:gd name="T61" fmla="*/ 153 h 162"/>
                  <a:gd name="T62" fmla="*/ 43 w 74"/>
                  <a:gd name="T63" fmla="*/ 150 h 162"/>
                  <a:gd name="T64" fmla="*/ 49 w 74"/>
                  <a:gd name="T65" fmla="*/ 149 h 162"/>
                  <a:gd name="T66" fmla="*/ 49 w 74"/>
                  <a:gd name="T67" fmla="*/ 151 h 162"/>
                  <a:gd name="T68" fmla="*/ 45 w 74"/>
                  <a:gd name="T69" fmla="*/ 153 h 162"/>
                  <a:gd name="T70" fmla="*/ 42 w 74"/>
                  <a:gd name="T71" fmla="*/ 152 h 162"/>
                  <a:gd name="T72" fmla="*/ 43 w 74"/>
                  <a:gd name="T73" fmla="*/ 150 h 162"/>
                  <a:gd name="T74" fmla="*/ 35 w 74"/>
                  <a:gd name="T75" fmla="*/ 144 h 162"/>
                  <a:gd name="T76" fmla="*/ 39 w 74"/>
                  <a:gd name="T77" fmla="*/ 147 h 162"/>
                  <a:gd name="T78" fmla="*/ 37 w 74"/>
                  <a:gd name="T79" fmla="*/ 148 h 162"/>
                  <a:gd name="T80" fmla="*/ 35 w 74"/>
                  <a:gd name="T81" fmla="*/ 147 h 162"/>
                  <a:gd name="T82" fmla="*/ 35 w 74"/>
                  <a:gd name="T83" fmla="*/ 144 h 162"/>
                  <a:gd name="T84" fmla="*/ 27 w 74"/>
                  <a:gd name="T85" fmla="*/ 145 h 162"/>
                  <a:gd name="T86" fmla="*/ 30 w 74"/>
                  <a:gd name="T87" fmla="*/ 146 h 162"/>
                  <a:gd name="T88" fmla="*/ 28 w 74"/>
                  <a:gd name="T89" fmla="*/ 146 h 162"/>
                  <a:gd name="T90" fmla="*/ 27 w 74"/>
                  <a:gd name="T91" fmla="*/ 145 h 162"/>
                  <a:gd name="T92" fmla="*/ 13 w 74"/>
                  <a:gd name="T93" fmla="*/ 156 h 162"/>
                  <a:gd name="T94" fmla="*/ 14 w 74"/>
                  <a:gd name="T95" fmla="*/ 159 h 162"/>
                  <a:gd name="T96" fmla="*/ 11 w 74"/>
                  <a:gd name="T97" fmla="*/ 161 h 162"/>
                  <a:gd name="T98" fmla="*/ 8 w 74"/>
                  <a:gd name="T99" fmla="*/ 158 h 162"/>
                  <a:gd name="T100" fmla="*/ 4 w 74"/>
                  <a:gd name="T101" fmla="*/ 156 h 162"/>
                  <a:gd name="T102" fmla="*/ 2 w 74"/>
                  <a:gd name="T103" fmla="*/ 154 h 162"/>
                  <a:gd name="T104" fmla="*/ 0 w 74"/>
                  <a:gd name="T105" fmla="*/ 152 h 162"/>
                  <a:gd name="T106" fmla="*/ 1 w 74"/>
                  <a:gd name="T107" fmla="*/ 150 h 162"/>
                  <a:gd name="T108" fmla="*/ 5 w 74"/>
                  <a:gd name="T109" fmla="*/ 152 h 162"/>
                  <a:gd name="T110" fmla="*/ 7 w 74"/>
                  <a:gd name="T111" fmla="*/ 150 h 162"/>
                  <a:gd name="T112" fmla="*/ 4 w 74"/>
                  <a:gd name="T113" fmla="*/ 148 h 162"/>
                  <a:gd name="T114" fmla="*/ 4 w 74"/>
                  <a:gd name="T115" fmla="*/ 146 h 162"/>
                  <a:gd name="T116" fmla="*/ 6 w 74"/>
                  <a:gd name="T117" fmla="*/ 145 h 162"/>
                  <a:gd name="T118" fmla="*/ 11 w 74"/>
                  <a:gd name="T119" fmla="*/ 149 h 162"/>
                  <a:gd name="T120" fmla="*/ 12 w 74"/>
                  <a:gd name="T121" fmla="*/ 152 h 162"/>
                  <a:gd name="T122" fmla="*/ 9 w 74"/>
                  <a:gd name="T123" fmla="*/ 152 h 162"/>
                  <a:gd name="T124" fmla="*/ 8 w 74"/>
                  <a:gd name="T125" fmla="*/ 153 h 1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74" h="162">
                    <a:moveTo>
                      <a:pt x="72" y="5"/>
                    </a:moveTo>
                    <a:cubicBezTo>
                      <a:pt x="71" y="7"/>
                      <a:pt x="71" y="7"/>
                      <a:pt x="71" y="7"/>
                    </a:cubicBezTo>
                    <a:cubicBezTo>
                      <a:pt x="67" y="7"/>
                      <a:pt x="67" y="7"/>
                      <a:pt x="67" y="7"/>
                    </a:cubicBezTo>
                    <a:cubicBezTo>
                      <a:pt x="65" y="3"/>
                      <a:pt x="65" y="3"/>
                      <a:pt x="65" y="3"/>
                    </a:cubicBezTo>
                    <a:cubicBezTo>
                      <a:pt x="68" y="0"/>
                      <a:pt x="68" y="0"/>
                      <a:pt x="68" y="0"/>
                    </a:cubicBezTo>
                    <a:cubicBezTo>
                      <a:pt x="74" y="1"/>
                      <a:pt x="74" y="1"/>
                      <a:pt x="74" y="1"/>
                    </a:cubicBezTo>
                    <a:cubicBezTo>
                      <a:pt x="74" y="3"/>
                      <a:pt x="74" y="3"/>
                      <a:pt x="74" y="3"/>
                    </a:cubicBezTo>
                    <a:cubicBezTo>
                      <a:pt x="70" y="3"/>
                      <a:pt x="70" y="3"/>
                      <a:pt x="70" y="3"/>
                    </a:cubicBezTo>
                    <a:cubicBezTo>
                      <a:pt x="72" y="5"/>
                      <a:pt x="72" y="5"/>
                      <a:pt x="72" y="5"/>
                    </a:cubicBezTo>
                    <a:close/>
                    <a:moveTo>
                      <a:pt x="18" y="58"/>
                    </a:moveTo>
                    <a:cubicBezTo>
                      <a:pt x="18" y="55"/>
                      <a:pt x="18" y="55"/>
                      <a:pt x="18" y="55"/>
                    </a:cubicBezTo>
                    <a:cubicBezTo>
                      <a:pt x="21" y="57"/>
                      <a:pt x="21" y="57"/>
                      <a:pt x="21" y="57"/>
                    </a:cubicBezTo>
                    <a:cubicBezTo>
                      <a:pt x="19" y="59"/>
                      <a:pt x="19" y="59"/>
                      <a:pt x="19" y="59"/>
                    </a:cubicBezTo>
                    <a:cubicBezTo>
                      <a:pt x="18" y="58"/>
                      <a:pt x="18" y="58"/>
                      <a:pt x="18" y="58"/>
                    </a:cubicBezTo>
                    <a:close/>
                    <a:moveTo>
                      <a:pt x="16" y="60"/>
                    </a:moveTo>
                    <a:cubicBezTo>
                      <a:pt x="19" y="62"/>
                      <a:pt x="19" y="62"/>
                      <a:pt x="19" y="62"/>
                    </a:cubicBezTo>
                    <a:cubicBezTo>
                      <a:pt x="21" y="61"/>
                      <a:pt x="21" y="61"/>
                      <a:pt x="21" y="61"/>
                    </a:cubicBezTo>
                    <a:cubicBezTo>
                      <a:pt x="21" y="64"/>
                      <a:pt x="21" y="64"/>
                      <a:pt x="21" y="64"/>
                    </a:cubicBezTo>
                    <a:cubicBezTo>
                      <a:pt x="17" y="66"/>
                      <a:pt x="17" y="66"/>
                      <a:pt x="17" y="66"/>
                    </a:cubicBezTo>
                    <a:cubicBezTo>
                      <a:pt x="15" y="63"/>
                      <a:pt x="15" y="63"/>
                      <a:pt x="15" y="63"/>
                    </a:cubicBezTo>
                    <a:cubicBezTo>
                      <a:pt x="16" y="60"/>
                      <a:pt x="16" y="60"/>
                      <a:pt x="16" y="60"/>
                    </a:cubicBezTo>
                    <a:close/>
                    <a:moveTo>
                      <a:pt x="56" y="158"/>
                    </a:moveTo>
                    <a:cubicBezTo>
                      <a:pt x="57" y="160"/>
                      <a:pt x="57" y="160"/>
                      <a:pt x="57" y="160"/>
                    </a:cubicBezTo>
                    <a:cubicBezTo>
                      <a:pt x="54" y="162"/>
                      <a:pt x="54" y="162"/>
                      <a:pt x="54" y="162"/>
                    </a:cubicBezTo>
                    <a:cubicBezTo>
                      <a:pt x="53" y="160"/>
                      <a:pt x="53" y="160"/>
                      <a:pt x="53" y="160"/>
                    </a:cubicBezTo>
                    <a:cubicBezTo>
                      <a:pt x="55" y="159"/>
                      <a:pt x="55" y="159"/>
                      <a:pt x="55" y="159"/>
                    </a:cubicBezTo>
                    <a:cubicBezTo>
                      <a:pt x="56" y="158"/>
                      <a:pt x="56" y="158"/>
                      <a:pt x="56" y="158"/>
                    </a:cubicBezTo>
                    <a:close/>
                    <a:moveTo>
                      <a:pt x="51" y="153"/>
                    </a:moveTo>
                    <a:cubicBezTo>
                      <a:pt x="52" y="156"/>
                      <a:pt x="52" y="156"/>
                      <a:pt x="52" y="156"/>
                    </a:cubicBezTo>
                    <a:cubicBezTo>
                      <a:pt x="51" y="156"/>
                      <a:pt x="51" y="156"/>
                      <a:pt x="51" y="156"/>
                    </a:cubicBezTo>
                    <a:cubicBezTo>
                      <a:pt x="51" y="153"/>
                      <a:pt x="51" y="153"/>
                      <a:pt x="51" y="153"/>
                    </a:cubicBezTo>
                    <a:close/>
                    <a:moveTo>
                      <a:pt x="43" y="150"/>
                    </a:moveTo>
                    <a:cubicBezTo>
                      <a:pt x="49" y="149"/>
                      <a:pt x="49" y="149"/>
                      <a:pt x="49" y="149"/>
                    </a:cubicBezTo>
                    <a:cubicBezTo>
                      <a:pt x="49" y="151"/>
                      <a:pt x="49" y="151"/>
                      <a:pt x="49" y="151"/>
                    </a:cubicBezTo>
                    <a:cubicBezTo>
                      <a:pt x="45" y="153"/>
                      <a:pt x="45" y="153"/>
                      <a:pt x="45" y="153"/>
                    </a:cubicBezTo>
                    <a:cubicBezTo>
                      <a:pt x="42" y="152"/>
                      <a:pt x="42" y="152"/>
                      <a:pt x="42" y="152"/>
                    </a:cubicBezTo>
                    <a:cubicBezTo>
                      <a:pt x="43" y="150"/>
                      <a:pt x="43" y="150"/>
                      <a:pt x="43" y="150"/>
                    </a:cubicBezTo>
                    <a:close/>
                    <a:moveTo>
                      <a:pt x="35" y="144"/>
                    </a:moveTo>
                    <a:cubicBezTo>
                      <a:pt x="39" y="147"/>
                      <a:pt x="39" y="147"/>
                      <a:pt x="39" y="147"/>
                    </a:cubicBezTo>
                    <a:cubicBezTo>
                      <a:pt x="37" y="148"/>
                      <a:pt x="37" y="148"/>
                      <a:pt x="37" y="148"/>
                    </a:cubicBezTo>
                    <a:cubicBezTo>
                      <a:pt x="35" y="147"/>
                      <a:pt x="35" y="147"/>
                      <a:pt x="35" y="147"/>
                    </a:cubicBezTo>
                    <a:cubicBezTo>
                      <a:pt x="35" y="144"/>
                      <a:pt x="35" y="144"/>
                      <a:pt x="35" y="144"/>
                    </a:cubicBezTo>
                    <a:close/>
                    <a:moveTo>
                      <a:pt x="27" y="145"/>
                    </a:moveTo>
                    <a:cubicBezTo>
                      <a:pt x="30" y="146"/>
                      <a:pt x="30" y="146"/>
                      <a:pt x="30" y="146"/>
                    </a:cubicBezTo>
                    <a:cubicBezTo>
                      <a:pt x="28" y="146"/>
                      <a:pt x="28" y="146"/>
                      <a:pt x="28" y="146"/>
                    </a:cubicBezTo>
                    <a:cubicBezTo>
                      <a:pt x="28" y="146"/>
                      <a:pt x="26" y="145"/>
                      <a:pt x="27" y="145"/>
                    </a:cubicBezTo>
                    <a:close/>
                    <a:moveTo>
                      <a:pt x="13" y="156"/>
                    </a:moveTo>
                    <a:cubicBezTo>
                      <a:pt x="14" y="159"/>
                      <a:pt x="14" y="159"/>
                      <a:pt x="14" y="159"/>
                    </a:cubicBezTo>
                    <a:cubicBezTo>
                      <a:pt x="11" y="161"/>
                      <a:pt x="11" y="161"/>
                      <a:pt x="11" y="161"/>
                    </a:cubicBezTo>
                    <a:cubicBezTo>
                      <a:pt x="8" y="158"/>
                      <a:pt x="8" y="158"/>
                      <a:pt x="8" y="158"/>
                    </a:cubicBezTo>
                    <a:cubicBezTo>
                      <a:pt x="4" y="156"/>
                      <a:pt x="4" y="156"/>
                      <a:pt x="4" y="156"/>
                    </a:cubicBezTo>
                    <a:cubicBezTo>
                      <a:pt x="2" y="154"/>
                      <a:pt x="2" y="154"/>
                      <a:pt x="2" y="154"/>
                    </a:cubicBezTo>
                    <a:cubicBezTo>
                      <a:pt x="0" y="152"/>
                      <a:pt x="0" y="152"/>
                      <a:pt x="0" y="152"/>
                    </a:cubicBezTo>
                    <a:cubicBezTo>
                      <a:pt x="1" y="150"/>
                      <a:pt x="1" y="150"/>
                      <a:pt x="1" y="150"/>
                    </a:cubicBezTo>
                    <a:cubicBezTo>
                      <a:pt x="5" y="152"/>
                      <a:pt x="5" y="152"/>
                      <a:pt x="5" y="152"/>
                    </a:cubicBezTo>
                    <a:cubicBezTo>
                      <a:pt x="7" y="150"/>
                      <a:pt x="7" y="150"/>
                      <a:pt x="7" y="150"/>
                    </a:cubicBezTo>
                    <a:cubicBezTo>
                      <a:pt x="4" y="148"/>
                      <a:pt x="4" y="148"/>
                      <a:pt x="4" y="148"/>
                    </a:cubicBezTo>
                    <a:cubicBezTo>
                      <a:pt x="4" y="146"/>
                      <a:pt x="4" y="146"/>
                      <a:pt x="4" y="146"/>
                    </a:cubicBezTo>
                    <a:cubicBezTo>
                      <a:pt x="6" y="145"/>
                      <a:pt x="6" y="145"/>
                      <a:pt x="6" y="145"/>
                    </a:cubicBezTo>
                    <a:cubicBezTo>
                      <a:pt x="11" y="149"/>
                      <a:pt x="11" y="149"/>
                      <a:pt x="11" y="149"/>
                    </a:cubicBezTo>
                    <a:cubicBezTo>
                      <a:pt x="12" y="152"/>
                      <a:pt x="12" y="152"/>
                      <a:pt x="12" y="152"/>
                    </a:cubicBezTo>
                    <a:cubicBezTo>
                      <a:pt x="9" y="152"/>
                      <a:pt x="9" y="152"/>
                      <a:pt x="9" y="152"/>
                    </a:cubicBezTo>
                    <a:cubicBezTo>
                      <a:pt x="8" y="153"/>
                      <a:pt x="8" y="153"/>
                      <a:pt x="8" y="153"/>
                    </a:cubicBezTo>
                  </a:path>
                </a:pathLst>
              </a:cu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792" name="Freeform 596"/>
              <p:cNvSpPr>
                <a:spLocks/>
              </p:cNvSpPr>
              <p:nvPr userDrawn="1"/>
            </p:nvSpPr>
            <p:spPr bwMode="auto">
              <a:xfrm>
                <a:off x="3784" y="2040"/>
                <a:ext cx="74" cy="95"/>
              </a:xfrm>
              <a:custGeom>
                <a:avLst/>
                <a:gdLst>
                  <a:gd name="T0" fmla="*/ 2 w 74"/>
                  <a:gd name="T1" fmla="*/ 7 h 95"/>
                  <a:gd name="T2" fmla="*/ 9 w 74"/>
                  <a:gd name="T3" fmla="*/ 6 h 95"/>
                  <a:gd name="T4" fmla="*/ 15 w 74"/>
                  <a:gd name="T5" fmla="*/ 0 h 95"/>
                  <a:gd name="T6" fmla="*/ 22 w 74"/>
                  <a:gd name="T7" fmla="*/ 2 h 95"/>
                  <a:gd name="T8" fmla="*/ 28 w 74"/>
                  <a:gd name="T9" fmla="*/ 7 h 95"/>
                  <a:gd name="T10" fmla="*/ 35 w 74"/>
                  <a:gd name="T11" fmla="*/ 16 h 95"/>
                  <a:gd name="T12" fmla="*/ 46 w 74"/>
                  <a:gd name="T13" fmla="*/ 22 h 95"/>
                  <a:gd name="T14" fmla="*/ 44 w 74"/>
                  <a:gd name="T15" fmla="*/ 28 h 95"/>
                  <a:gd name="T16" fmla="*/ 51 w 74"/>
                  <a:gd name="T17" fmla="*/ 33 h 95"/>
                  <a:gd name="T18" fmla="*/ 58 w 74"/>
                  <a:gd name="T19" fmla="*/ 34 h 95"/>
                  <a:gd name="T20" fmla="*/ 68 w 74"/>
                  <a:gd name="T21" fmla="*/ 31 h 95"/>
                  <a:gd name="T22" fmla="*/ 66 w 74"/>
                  <a:gd name="T23" fmla="*/ 37 h 95"/>
                  <a:gd name="T24" fmla="*/ 65 w 74"/>
                  <a:gd name="T25" fmla="*/ 48 h 95"/>
                  <a:gd name="T26" fmla="*/ 71 w 74"/>
                  <a:gd name="T27" fmla="*/ 60 h 95"/>
                  <a:gd name="T28" fmla="*/ 73 w 74"/>
                  <a:gd name="T29" fmla="*/ 68 h 95"/>
                  <a:gd name="T30" fmla="*/ 67 w 74"/>
                  <a:gd name="T31" fmla="*/ 76 h 95"/>
                  <a:gd name="T32" fmla="*/ 68 w 74"/>
                  <a:gd name="T33" fmla="*/ 83 h 95"/>
                  <a:gd name="T34" fmla="*/ 60 w 74"/>
                  <a:gd name="T35" fmla="*/ 85 h 95"/>
                  <a:gd name="T36" fmla="*/ 50 w 74"/>
                  <a:gd name="T37" fmla="*/ 86 h 95"/>
                  <a:gd name="T38" fmla="*/ 43 w 74"/>
                  <a:gd name="T39" fmla="*/ 89 h 95"/>
                  <a:gd name="T40" fmla="*/ 38 w 74"/>
                  <a:gd name="T41" fmla="*/ 94 h 95"/>
                  <a:gd name="T42" fmla="*/ 36 w 74"/>
                  <a:gd name="T43" fmla="*/ 93 h 95"/>
                  <a:gd name="T44" fmla="*/ 35 w 74"/>
                  <a:gd name="T45" fmla="*/ 85 h 95"/>
                  <a:gd name="T46" fmla="*/ 29 w 74"/>
                  <a:gd name="T47" fmla="*/ 83 h 95"/>
                  <a:gd name="T48" fmla="*/ 26 w 74"/>
                  <a:gd name="T49" fmla="*/ 77 h 95"/>
                  <a:gd name="T50" fmla="*/ 28 w 74"/>
                  <a:gd name="T51" fmla="*/ 73 h 95"/>
                  <a:gd name="T52" fmla="*/ 24 w 74"/>
                  <a:gd name="T53" fmla="*/ 69 h 95"/>
                  <a:gd name="T54" fmla="*/ 17 w 74"/>
                  <a:gd name="T55" fmla="*/ 66 h 95"/>
                  <a:gd name="T56" fmla="*/ 15 w 74"/>
                  <a:gd name="T57" fmla="*/ 61 h 95"/>
                  <a:gd name="T58" fmla="*/ 12 w 74"/>
                  <a:gd name="T59" fmla="*/ 56 h 95"/>
                  <a:gd name="T60" fmla="*/ 8 w 74"/>
                  <a:gd name="T61" fmla="*/ 49 h 95"/>
                  <a:gd name="T62" fmla="*/ 13 w 74"/>
                  <a:gd name="T63" fmla="*/ 49 h 95"/>
                  <a:gd name="T64" fmla="*/ 12 w 74"/>
                  <a:gd name="T65" fmla="*/ 45 h 95"/>
                  <a:gd name="T66" fmla="*/ 5 w 74"/>
                  <a:gd name="T67" fmla="*/ 40 h 95"/>
                  <a:gd name="T68" fmla="*/ 8 w 74"/>
                  <a:gd name="T69" fmla="*/ 32 h 95"/>
                  <a:gd name="T70" fmla="*/ 6 w 74"/>
                  <a:gd name="T71" fmla="*/ 28 h 95"/>
                  <a:gd name="T72" fmla="*/ 4 w 74"/>
                  <a:gd name="T73" fmla="*/ 28 h 95"/>
                  <a:gd name="T74" fmla="*/ 6 w 74"/>
                  <a:gd name="T75" fmla="*/ 24 h 95"/>
                  <a:gd name="T76" fmla="*/ 8 w 74"/>
                  <a:gd name="T77" fmla="*/ 22 h 95"/>
                  <a:gd name="T78" fmla="*/ 4 w 74"/>
                  <a:gd name="T79" fmla="*/ 20 h 95"/>
                  <a:gd name="T80" fmla="*/ 0 w 74"/>
                  <a:gd name="T81" fmla="*/ 10 h 95"/>
                  <a:gd name="T82" fmla="*/ 0 w 74"/>
                  <a:gd name="T83" fmla="*/ 9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74" h="95">
                    <a:moveTo>
                      <a:pt x="0" y="9"/>
                    </a:moveTo>
                    <a:lnTo>
                      <a:pt x="2" y="7"/>
                    </a:lnTo>
                    <a:lnTo>
                      <a:pt x="6" y="5"/>
                    </a:lnTo>
                    <a:lnTo>
                      <a:pt x="9" y="6"/>
                    </a:lnTo>
                    <a:lnTo>
                      <a:pt x="10" y="4"/>
                    </a:lnTo>
                    <a:lnTo>
                      <a:pt x="15" y="0"/>
                    </a:lnTo>
                    <a:lnTo>
                      <a:pt x="18" y="1"/>
                    </a:lnTo>
                    <a:lnTo>
                      <a:pt x="22" y="2"/>
                    </a:lnTo>
                    <a:lnTo>
                      <a:pt x="28" y="4"/>
                    </a:lnTo>
                    <a:lnTo>
                      <a:pt x="28" y="7"/>
                    </a:lnTo>
                    <a:lnTo>
                      <a:pt x="34" y="13"/>
                    </a:lnTo>
                    <a:lnTo>
                      <a:pt x="35" y="16"/>
                    </a:lnTo>
                    <a:lnTo>
                      <a:pt x="40" y="18"/>
                    </a:lnTo>
                    <a:lnTo>
                      <a:pt x="46" y="22"/>
                    </a:lnTo>
                    <a:lnTo>
                      <a:pt x="43" y="27"/>
                    </a:lnTo>
                    <a:lnTo>
                      <a:pt x="44" y="28"/>
                    </a:lnTo>
                    <a:lnTo>
                      <a:pt x="50" y="30"/>
                    </a:lnTo>
                    <a:lnTo>
                      <a:pt x="51" y="33"/>
                    </a:lnTo>
                    <a:lnTo>
                      <a:pt x="55" y="31"/>
                    </a:lnTo>
                    <a:lnTo>
                      <a:pt x="58" y="34"/>
                    </a:lnTo>
                    <a:lnTo>
                      <a:pt x="62" y="30"/>
                    </a:lnTo>
                    <a:lnTo>
                      <a:pt x="68" y="31"/>
                    </a:lnTo>
                    <a:lnTo>
                      <a:pt x="65" y="35"/>
                    </a:lnTo>
                    <a:lnTo>
                      <a:pt x="66" y="37"/>
                    </a:lnTo>
                    <a:lnTo>
                      <a:pt x="68" y="45"/>
                    </a:lnTo>
                    <a:lnTo>
                      <a:pt x="65" y="48"/>
                    </a:lnTo>
                    <a:lnTo>
                      <a:pt x="67" y="54"/>
                    </a:lnTo>
                    <a:lnTo>
                      <a:pt x="71" y="60"/>
                    </a:lnTo>
                    <a:lnTo>
                      <a:pt x="74" y="65"/>
                    </a:lnTo>
                    <a:lnTo>
                      <a:pt x="73" y="68"/>
                    </a:lnTo>
                    <a:lnTo>
                      <a:pt x="67" y="73"/>
                    </a:lnTo>
                    <a:lnTo>
                      <a:pt x="67" y="76"/>
                    </a:lnTo>
                    <a:lnTo>
                      <a:pt x="70" y="80"/>
                    </a:lnTo>
                    <a:lnTo>
                      <a:pt x="68" y="83"/>
                    </a:lnTo>
                    <a:lnTo>
                      <a:pt x="65" y="83"/>
                    </a:lnTo>
                    <a:lnTo>
                      <a:pt x="60" y="85"/>
                    </a:lnTo>
                    <a:lnTo>
                      <a:pt x="56" y="84"/>
                    </a:lnTo>
                    <a:lnTo>
                      <a:pt x="50" y="86"/>
                    </a:lnTo>
                    <a:lnTo>
                      <a:pt x="47" y="88"/>
                    </a:lnTo>
                    <a:lnTo>
                      <a:pt x="43" y="89"/>
                    </a:lnTo>
                    <a:lnTo>
                      <a:pt x="38" y="92"/>
                    </a:lnTo>
                    <a:lnTo>
                      <a:pt x="38" y="94"/>
                    </a:lnTo>
                    <a:lnTo>
                      <a:pt x="37" y="95"/>
                    </a:lnTo>
                    <a:lnTo>
                      <a:pt x="36" y="93"/>
                    </a:lnTo>
                    <a:lnTo>
                      <a:pt x="36" y="88"/>
                    </a:lnTo>
                    <a:lnTo>
                      <a:pt x="35" y="85"/>
                    </a:lnTo>
                    <a:lnTo>
                      <a:pt x="31" y="83"/>
                    </a:lnTo>
                    <a:lnTo>
                      <a:pt x="29" y="83"/>
                    </a:lnTo>
                    <a:lnTo>
                      <a:pt x="27" y="78"/>
                    </a:lnTo>
                    <a:lnTo>
                      <a:pt x="26" y="77"/>
                    </a:lnTo>
                    <a:lnTo>
                      <a:pt x="26" y="76"/>
                    </a:lnTo>
                    <a:lnTo>
                      <a:pt x="28" y="73"/>
                    </a:lnTo>
                    <a:lnTo>
                      <a:pt x="28" y="70"/>
                    </a:lnTo>
                    <a:lnTo>
                      <a:pt x="24" y="69"/>
                    </a:lnTo>
                    <a:lnTo>
                      <a:pt x="21" y="66"/>
                    </a:lnTo>
                    <a:lnTo>
                      <a:pt x="17" y="66"/>
                    </a:lnTo>
                    <a:lnTo>
                      <a:pt x="15" y="64"/>
                    </a:lnTo>
                    <a:lnTo>
                      <a:pt x="15" y="61"/>
                    </a:lnTo>
                    <a:lnTo>
                      <a:pt x="11" y="58"/>
                    </a:lnTo>
                    <a:lnTo>
                      <a:pt x="12" y="56"/>
                    </a:lnTo>
                    <a:lnTo>
                      <a:pt x="8" y="52"/>
                    </a:lnTo>
                    <a:lnTo>
                      <a:pt x="8" y="49"/>
                    </a:lnTo>
                    <a:lnTo>
                      <a:pt x="10" y="47"/>
                    </a:lnTo>
                    <a:lnTo>
                      <a:pt x="13" y="49"/>
                    </a:lnTo>
                    <a:lnTo>
                      <a:pt x="14" y="47"/>
                    </a:lnTo>
                    <a:lnTo>
                      <a:pt x="12" y="45"/>
                    </a:lnTo>
                    <a:lnTo>
                      <a:pt x="9" y="45"/>
                    </a:lnTo>
                    <a:lnTo>
                      <a:pt x="5" y="40"/>
                    </a:lnTo>
                    <a:lnTo>
                      <a:pt x="5" y="38"/>
                    </a:lnTo>
                    <a:lnTo>
                      <a:pt x="8" y="32"/>
                    </a:lnTo>
                    <a:lnTo>
                      <a:pt x="8" y="28"/>
                    </a:lnTo>
                    <a:lnTo>
                      <a:pt x="6" y="28"/>
                    </a:lnTo>
                    <a:lnTo>
                      <a:pt x="5" y="28"/>
                    </a:lnTo>
                    <a:lnTo>
                      <a:pt x="4" y="28"/>
                    </a:lnTo>
                    <a:lnTo>
                      <a:pt x="4" y="25"/>
                    </a:lnTo>
                    <a:lnTo>
                      <a:pt x="6" y="24"/>
                    </a:lnTo>
                    <a:lnTo>
                      <a:pt x="8" y="24"/>
                    </a:lnTo>
                    <a:lnTo>
                      <a:pt x="8" y="22"/>
                    </a:lnTo>
                    <a:lnTo>
                      <a:pt x="5" y="22"/>
                    </a:lnTo>
                    <a:lnTo>
                      <a:pt x="4" y="20"/>
                    </a:lnTo>
                    <a:lnTo>
                      <a:pt x="2" y="15"/>
                    </a:lnTo>
                    <a:lnTo>
                      <a:pt x="0" y="10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793" name="Freeform 597"/>
              <p:cNvSpPr>
                <a:spLocks/>
              </p:cNvSpPr>
              <p:nvPr userDrawn="1"/>
            </p:nvSpPr>
            <p:spPr bwMode="auto">
              <a:xfrm>
                <a:off x="4073" y="2309"/>
                <a:ext cx="29" cy="79"/>
              </a:xfrm>
              <a:custGeom>
                <a:avLst/>
                <a:gdLst>
                  <a:gd name="T0" fmla="*/ 19 w 29"/>
                  <a:gd name="T1" fmla="*/ 79 h 79"/>
                  <a:gd name="T2" fmla="*/ 20 w 29"/>
                  <a:gd name="T3" fmla="*/ 76 h 79"/>
                  <a:gd name="T4" fmla="*/ 20 w 29"/>
                  <a:gd name="T5" fmla="*/ 75 h 79"/>
                  <a:gd name="T6" fmla="*/ 20 w 29"/>
                  <a:gd name="T7" fmla="*/ 73 h 79"/>
                  <a:gd name="T8" fmla="*/ 22 w 29"/>
                  <a:gd name="T9" fmla="*/ 71 h 79"/>
                  <a:gd name="T10" fmla="*/ 22 w 29"/>
                  <a:gd name="T11" fmla="*/ 66 h 79"/>
                  <a:gd name="T12" fmla="*/ 23 w 29"/>
                  <a:gd name="T13" fmla="*/ 62 h 79"/>
                  <a:gd name="T14" fmla="*/ 23 w 29"/>
                  <a:gd name="T15" fmla="*/ 57 h 79"/>
                  <a:gd name="T16" fmla="*/ 24 w 29"/>
                  <a:gd name="T17" fmla="*/ 57 h 79"/>
                  <a:gd name="T18" fmla="*/ 24 w 29"/>
                  <a:gd name="T19" fmla="*/ 53 h 79"/>
                  <a:gd name="T20" fmla="*/ 25 w 29"/>
                  <a:gd name="T21" fmla="*/ 48 h 79"/>
                  <a:gd name="T22" fmla="*/ 25 w 29"/>
                  <a:gd name="T23" fmla="*/ 46 h 79"/>
                  <a:gd name="T24" fmla="*/ 26 w 29"/>
                  <a:gd name="T25" fmla="*/ 39 h 79"/>
                  <a:gd name="T26" fmla="*/ 24 w 29"/>
                  <a:gd name="T27" fmla="*/ 39 h 79"/>
                  <a:gd name="T28" fmla="*/ 22 w 29"/>
                  <a:gd name="T29" fmla="*/ 39 h 79"/>
                  <a:gd name="T30" fmla="*/ 19 w 29"/>
                  <a:gd name="T31" fmla="*/ 41 h 79"/>
                  <a:gd name="T32" fmla="*/ 18 w 29"/>
                  <a:gd name="T33" fmla="*/ 39 h 79"/>
                  <a:gd name="T34" fmla="*/ 19 w 29"/>
                  <a:gd name="T35" fmla="*/ 33 h 79"/>
                  <a:gd name="T36" fmla="*/ 19 w 29"/>
                  <a:gd name="T37" fmla="*/ 24 h 79"/>
                  <a:gd name="T38" fmla="*/ 18 w 29"/>
                  <a:gd name="T39" fmla="*/ 23 h 79"/>
                  <a:gd name="T40" fmla="*/ 19 w 29"/>
                  <a:gd name="T41" fmla="*/ 19 h 79"/>
                  <a:gd name="T42" fmla="*/ 22 w 29"/>
                  <a:gd name="T43" fmla="*/ 19 h 79"/>
                  <a:gd name="T44" fmla="*/ 23 w 29"/>
                  <a:gd name="T45" fmla="*/ 20 h 79"/>
                  <a:gd name="T46" fmla="*/ 25 w 29"/>
                  <a:gd name="T47" fmla="*/ 21 h 79"/>
                  <a:gd name="T48" fmla="*/ 27 w 29"/>
                  <a:gd name="T49" fmla="*/ 19 h 79"/>
                  <a:gd name="T50" fmla="*/ 27 w 29"/>
                  <a:gd name="T51" fmla="*/ 18 h 79"/>
                  <a:gd name="T52" fmla="*/ 27 w 29"/>
                  <a:gd name="T53" fmla="*/ 18 h 79"/>
                  <a:gd name="T54" fmla="*/ 27 w 29"/>
                  <a:gd name="T55" fmla="*/ 16 h 79"/>
                  <a:gd name="T56" fmla="*/ 26 w 29"/>
                  <a:gd name="T57" fmla="*/ 13 h 79"/>
                  <a:gd name="T58" fmla="*/ 27 w 29"/>
                  <a:gd name="T59" fmla="*/ 7 h 79"/>
                  <a:gd name="T60" fmla="*/ 28 w 29"/>
                  <a:gd name="T61" fmla="*/ 3 h 79"/>
                  <a:gd name="T62" fmla="*/ 29 w 29"/>
                  <a:gd name="T63" fmla="*/ 0 h 79"/>
                  <a:gd name="T64" fmla="*/ 27 w 29"/>
                  <a:gd name="T65" fmla="*/ 1 h 79"/>
                  <a:gd name="T66" fmla="*/ 25 w 29"/>
                  <a:gd name="T67" fmla="*/ 4 h 79"/>
                  <a:gd name="T68" fmla="*/ 19 w 29"/>
                  <a:gd name="T69" fmla="*/ 5 h 79"/>
                  <a:gd name="T70" fmla="*/ 17 w 29"/>
                  <a:gd name="T71" fmla="*/ 4 h 79"/>
                  <a:gd name="T72" fmla="*/ 13 w 29"/>
                  <a:gd name="T73" fmla="*/ 9 h 79"/>
                  <a:gd name="T74" fmla="*/ 12 w 29"/>
                  <a:gd name="T75" fmla="*/ 21 h 79"/>
                  <a:gd name="T76" fmla="*/ 6 w 29"/>
                  <a:gd name="T77" fmla="*/ 32 h 79"/>
                  <a:gd name="T78" fmla="*/ 0 w 29"/>
                  <a:gd name="T79" fmla="*/ 39 h 79"/>
                  <a:gd name="T80" fmla="*/ 2 w 29"/>
                  <a:gd name="T81" fmla="*/ 40 h 79"/>
                  <a:gd name="T82" fmla="*/ 6 w 29"/>
                  <a:gd name="T83" fmla="*/ 45 h 79"/>
                  <a:gd name="T84" fmla="*/ 8 w 29"/>
                  <a:gd name="T85" fmla="*/ 52 h 79"/>
                  <a:gd name="T86" fmla="*/ 14 w 29"/>
                  <a:gd name="T87" fmla="*/ 59 h 79"/>
                  <a:gd name="T88" fmla="*/ 18 w 29"/>
                  <a:gd name="T89" fmla="*/ 68 h 79"/>
                  <a:gd name="T90" fmla="*/ 16 w 29"/>
                  <a:gd name="T91" fmla="*/ 73 h 79"/>
                  <a:gd name="T92" fmla="*/ 19 w 29"/>
                  <a:gd name="T93" fmla="*/ 79 h 79"/>
                  <a:gd name="T94" fmla="*/ 19 w 29"/>
                  <a:gd name="T95" fmla="*/ 79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9" h="79">
                    <a:moveTo>
                      <a:pt x="19" y="79"/>
                    </a:moveTo>
                    <a:lnTo>
                      <a:pt x="20" y="76"/>
                    </a:lnTo>
                    <a:lnTo>
                      <a:pt x="20" y="75"/>
                    </a:lnTo>
                    <a:lnTo>
                      <a:pt x="20" y="73"/>
                    </a:lnTo>
                    <a:lnTo>
                      <a:pt x="22" y="71"/>
                    </a:lnTo>
                    <a:lnTo>
                      <a:pt x="22" y="66"/>
                    </a:lnTo>
                    <a:lnTo>
                      <a:pt x="23" y="62"/>
                    </a:lnTo>
                    <a:lnTo>
                      <a:pt x="23" y="57"/>
                    </a:lnTo>
                    <a:lnTo>
                      <a:pt x="24" y="57"/>
                    </a:lnTo>
                    <a:lnTo>
                      <a:pt x="24" y="53"/>
                    </a:lnTo>
                    <a:lnTo>
                      <a:pt x="25" y="48"/>
                    </a:lnTo>
                    <a:lnTo>
                      <a:pt x="25" y="46"/>
                    </a:lnTo>
                    <a:lnTo>
                      <a:pt x="26" y="39"/>
                    </a:lnTo>
                    <a:lnTo>
                      <a:pt x="24" y="39"/>
                    </a:lnTo>
                    <a:lnTo>
                      <a:pt x="22" y="39"/>
                    </a:lnTo>
                    <a:lnTo>
                      <a:pt x="19" y="41"/>
                    </a:lnTo>
                    <a:lnTo>
                      <a:pt x="18" y="39"/>
                    </a:lnTo>
                    <a:lnTo>
                      <a:pt x="19" y="33"/>
                    </a:lnTo>
                    <a:lnTo>
                      <a:pt x="19" y="24"/>
                    </a:lnTo>
                    <a:lnTo>
                      <a:pt x="18" y="23"/>
                    </a:lnTo>
                    <a:lnTo>
                      <a:pt x="19" y="19"/>
                    </a:lnTo>
                    <a:lnTo>
                      <a:pt x="22" y="19"/>
                    </a:lnTo>
                    <a:lnTo>
                      <a:pt x="23" y="20"/>
                    </a:lnTo>
                    <a:lnTo>
                      <a:pt x="25" y="21"/>
                    </a:lnTo>
                    <a:lnTo>
                      <a:pt x="27" y="19"/>
                    </a:lnTo>
                    <a:lnTo>
                      <a:pt x="27" y="18"/>
                    </a:lnTo>
                    <a:lnTo>
                      <a:pt x="27" y="18"/>
                    </a:lnTo>
                    <a:lnTo>
                      <a:pt x="27" y="16"/>
                    </a:lnTo>
                    <a:lnTo>
                      <a:pt x="26" y="13"/>
                    </a:lnTo>
                    <a:lnTo>
                      <a:pt x="27" y="7"/>
                    </a:lnTo>
                    <a:lnTo>
                      <a:pt x="28" y="3"/>
                    </a:lnTo>
                    <a:lnTo>
                      <a:pt x="29" y="0"/>
                    </a:lnTo>
                    <a:lnTo>
                      <a:pt x="27" y="1"/>
                    </a:lnTo>
                    <a:lnTo>
                      <a:pt x="25" y="4"/>
                    </a:lnTo>
                    <a:lnTo>
                      <a:pt x="19" y="5"/>
                    </a:lnTo>
                    <a:lnTo>
                      <a:pt x="17" y="4"/>
                    </a:lnTo>
                    <a:lnTo>
                      <a:pt x="13" y="9"/>
                    </a:lnTo>
                    <a:lnTo>
                      <a:pt x="12" y="21"/>
                    </a:lnTo>
                    <a:lnTo>
                      <a:pt x="6" y="32"/>
                    </a:lnTo>
                    <a:lnTo>
                      <a:pt x="0" y="39"/>
                    </a:lnTo>
                    <a:lnTo>
                      <a:pt x="2" y="40"/>
                    </a:lnTo>
                    <a:lnTo>
                      <a:pt x="6" y="45"/>
                    </a:lnTo>
                    <a:lnTo>
                      <a:pt x="8" y="52"/>
                    </a:lnTo>
                    <a:lnTo>
                      <a:pt x="14" y="59"/>
                    </a:lnTo>
                    <a:lnTo>
                      <a:pt x="18" y="68"/>
                    </a:lnTo>
                    <a:lnTo>
                      <a:pt x="16" y="73"/>
                    </a:lnTo>
                    <a:lnTo>
                      <a:pt x="19" y="79"/>
                    </a:lnTo>
                    <a:lnTo>
                      <a:pt x="19" y="79"/>
                    </a:lnTo>
                    <a:close/>
                  </a:path>
                </a:pathLst>
              </a:custGeom>
              <a:solidFill>
                <a:srgbClr val="F68B1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794" name="Freeform 598"/>
              <p:cNvSpPr>
                <a:spLocks/>
              </p:cNvSpPr>
              <p:nvPr userDrawn="1"/>
            </p:nvSpPr>
            <p:spPr bwMode="auto">
              <a:xfrm>
                <a:off x="4073" y="2309"/>
                <a:ext cx="29" cy="79"/>
              </a:xfrm>
              <a:custGeom>
                <a:avLst/>
                <a:gdLst>
                  <a:gd name="T0" fmla="*/ 19 w 29"/>
                  <a:gd name="T1" fmla="*/ 79 h 79"/>
                  <a:gd name="T2" fmla="*/ 20 w 29"/>
                  <a:gd name="T3" fmla="*/ 76 h 79"/>
                  <a:gd name="T4" fmla="*/ 20 w 29"/>
                  <a:gd name="T5" fmla="*/ 75 h 79"/>
                  <a:gd name="T6" fmla="*/ 20 w 29"/>
                  <a:gd name="T7" fmla="*/ 73 h 79"/>
                  <a:gd name="T8" fmla="*/ 22 w 29"/>
                  <a:gd name="T9" fmla="*/ 71 h 79"/>
                  <a:gd name="T10" fmla="*/ 22 w 29"/>
                  <a:gd name="T11" fmla="*/ 66 h 79"/>
                  <a:gd name="T12" fmla="*/ 23 w 29"/>
                  <a:gd name="T13" fmla="*/ 62 h 79"/>
                  <a:gd name="T14" fmla="*/ 23 w 29"/>
                  <a:gd name="T15" fmla="*/ 57 h 79"/>
                  <a:gd name="T16" fmla="*/ 24 w 29"/>
                  <a:gd name="T17" fmla="*/ 57 h 79"/>
                  <a:gd name="T18" fmla="*/ 24 w 29"/>
                  <a:gd name="T19" fmla="*/ 53 h 79"/>
                  <a:gd name="T20" fmla="*/ 25 w 29"/>
                  <a:gd name="T21" fmla="*/ 48 h 79"/>
                  <a:gd name="T22" fmla="*/ 25 w 29"/>
                  <a:gd name="T23" fmla="*/ 46 h 79"/>
                  <a:gd name="T24" fmla="*/ 26 w 29"/>
                  <a:gd name="T25" fmla="*/ 39 h 79"/>
                  <a:gd name="T26" fmla="*/ 24 w 29"/>
                  <a:gd name="T27" fmla="*/ 39 h 79"/>
                  <a:gd name="T28" fmla="*/ 22 w 29"/>
                  <a:gd name="T29" fmla="*/ 39 h 79"/>
                  <a:gd name="T30" fmla="*/ 19 w 29"/>
                  <a:gd name="T31" fmla="*/ 41 h 79"/>
                  <a:gd name="T32" fmla="*/ 18 w 29"/>
                  <a:gd name="T33" fmla="*/ 39 h 79"/>
                  <a:gd name="T34" fmla="*/ 19 w 29"/>
                  <a:gd name="T35" fmla="*/ 33 h 79"/>
                  <a:gd name="T36" fmla="*/ 19 w 29"/>
                  <a:gd name="T37" fmla="*/ 24 h 79"/>
                  <a:gd name="T38" fmla="*/ 18 w 29"/>
                  <a:gd name="T39" fmla="*/ 23 h 79"/>
                  <a:gd name="T40" fmla="*/ 19 w 29"/>
                  <a:gd name="T41" fmla="*/ 19 h 79"/>
                  <a:gd name="T42" fmla="*/ 22 w 29"/>
                  <a:gd name="T43" fmla="*/ 19 h 79"/>
                  <a:gd name="T44" fmla="*/ 23 w 29"/>
                  <a:gd name="T45" fmla="*/ 20 h 79"/>
                  <a:gd name="T46" fmla="*/ 25 w 29"/>
                  <a:gd name="T47" fmla="*/ 21 h 79"/>
                  <a:gd name="T48" fmla="*/ 27 w 29"/>
                  <a:gd name="T49" fmla="*/ 19 h 79"/>
                  <a:gd name="T50" fmla="*/ 27 w 29"/>
                  <a:gd name="T51" fmla="*/ 18 h 79"/>
                  <a:gd name="T52" fmla="*/ 27 w 29"/>
                  <a:gd name="T53" fmla="*/ 18 h 79"/>
                  <a:gd name="T54" fmla="*/ 27 w 29"/>
                  <a:gd name="T55" fmla="*/ 16 h 79"/>
                  <a:gd name="T56" fmla="*/ 26 w 29"/>
                  <a:gd name="T57" fmla="*/ 13 h 79"/>
                  <a:gd name="T58" fmla="*/ 27 w 29"/>
                  <a:gd name="T59" fmla="*/ 7 h 79"/>
                  <a:gd name="T60" fmla="*/ 28 w 29"/>
                  <a:gd name="T61" fmla="*/ 3 h 79"/>
                  <a:gd name="T62" fmla="*/ 29 w 29"/>
                  <a:gd name="T63" fmla="*/ 0 h 79"/>
                  <a:gd name="T64" fmla="*/ 27 w 29"/>
                  <a:gd name="T65" fmla="*/ 1 h 79"/>
                  <a:gd name="T66" fmla="*/ 25 w 29"/>
                  <a:gd name="T67" fmla="*/ 4 h 79"/>
                  <a:gd name="T68" fmla="*/ 19 w 29"/>
                  <a:gd name="T69" fmla="*/ 5 h 79"/>
                  <a:gd name="T70" fmla="*/ 17 w 29"/>
                  <a:gd name="T71" fmla="*/ 4 h 79"/>
                  <a:gd name="T72" fmla="*/ 13 w 29"/>
                  <a:gd name="T73" fmla="*/ 9 h 79"/>
                  <a:gd name="T74" fmla="*/ 12 w 29"/>
                  <a:gd name="T75" fmla="*/ 21 h 79"/>
                  <a:gd name="T76" fmla="*/ 6 w 29"/>
                  <a:gd name="T77" fmla="*/ 32 h 79"/>
                  <a:gd name="T78" fmla="*/ 0 w 29"/>
                  <a:gd name="T79" fmla="*/ 39 h 79"/>
                  <a:gd name="T80" fmla="*/ 2 w 29"/>
                  <a:gd name="T81" fmla="*/ 40 h 79"/>
                  <a:gd name="T82" fmla="*/ 6 w 29"/>
                  <a:gd name="T83" fmla="*/ 45 h 79"/>
                  <a:gd name="T84" fmla="*/ 8 w 29"/>
                  <a:gd name="T85" fmla="*/ 52 h 79"/>
                  <a:gd name="T86" fmla="*/ 14 w 29"/>
                  <a:gd name="T87" fmla="*/ 59 h 79"/>
                  <a:gd name="T88" fmla="*/ 18 w 29"/>
                  <a:gd name="T89" fmla="*/ 68 h 79"/>
                  <a:gd name="T90" fmla="*/ 16 w 29"/>
                  <a:gd name="T91" fmla="*/ 73 h 79"/>
                  <a:gd name="T92" fmla="*/ 19 w 29"/>
                  <a:gd name="T93" fmla="*/ 79 h 79"/>
                  <a:gd name="T94" fmla="*/ 19 w 29"/>
                  <a:gd name="T95" fmla="*/ 79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9" h="79">
                    <a:moveTo>
                      <a:pt x="19" y="79"/>
                    </a:moveTo>
                    <a:lnTo>
                      <a:pt x="20" y="76"/>
                    </a:lnTo>
                    <a:lnTo>
                      <a:pt x="20" y="75"/>
                    </a:lnTo>
                    <a:lnTo>
                      <a:pt x="20" y="73"/>
                    </a:lnTo>
                    <a:lnTo>
                      <a:pt x="22" y="71"/>
                    </a:lnTo>
                    <a:lnTo>
                      <a:pt x="22" y="66"/>
                    </a:lnTo>
                    <a:lnTo>
                      <a:pt x="23" y="62"/>
                    </a:lnTo>
                    <a:lnTo>
                      <a:pt x="23" y="57"/>
                    </a:lnTo>
                    <a:lnTo>
                      <a:pt x="24" y="57"/>
                    </a:lnTo>
                    <a:lnTo>
                      <a:pt x="24" y="53"/>
                    </a:lnTo>
                    <a:lnTo>
                      <a:pt x="25" y="48"/>
                    </a:lnTo>
                    <a:lnTo>
                      <a:pt x="25" y="46"/>
                    </a:lnTo>
                    <a:lnTo>
                      <a:pt x="26" y="39"/>
                    </a:lnTo>
                    <a:lnTo>
                      <a:pt x="24" y="39"/>
                    </a:lnTo>
                    <a:lnTo>
                      <a:pt x="22" y="39"/>
                    </a:lnTo>
                    <a:lnTo>
                      <a:pt x="19" y="41"/>
                    </a:lnTo>
                    <a:lnTo>
                      <a:pt x="18" y="39"/>
                    </a:lnTo>
                    <a:lnTo>
                      <a:pt x="19" y="33"/>
                    </a:lnTo>
                    <a:lnTo>
                      <a:pt x="19" y="24"/>
                    </a:lnTo>
                    <a:lnTo>
                      <a:pt x="18" y="23"/>
                    </a:lnTo>
                    <a:lnTo>
                      <a:pt x="19" y="19"/>
                    </a:lnTo>
                    <a:lnTo>
                      <a:pt x="22" y="19"/>
                    </a:lnTo>
                    <a:lnTo>
                      <a:pt x="23" y="20"/>
                    </a:lnTo>
                    <a:lnTo>
                      <a:pt x="25" y="21"/>
                    </a:lnTo>
                    <a:lnTo>
                      <a:pt x="27" y="19"/>
                    </a:lnTo>
                    <a:lnTo>
                      <a:pt x="27" y="18"/>
                    </a:lnTo>
                    <a:lnTo>
                      <a:pt x="27" y="18"/>
                    </a:lnTo>
                    <a:lnTo>
                      <a:pt x="27" y="16"/>
                    </a:lnTo>
                    <a:lnTo>
                      <a:pt x="26" y="13"/>
                    </a:lnTo>
                    <a:lnTo>
                      <a:pt x="27" y="7"/>
                    </a:lnTo>
                    <a:lnTo>
                      <a:pt x="28" y="3"/>
                    </a:lnTo>
                    <a:lnTo>
                      <a:pt x="29" y="0"/>
                    </a:lnTo>
                    <a:lnTo>
                      <a:pt x="27" y="1"/>
                    </a:lnTo>
                    <a:lnTo>
                      <a:pt x="25" y="4"/>
                    </a:lnTo>
                    <a:lnTo>
                      <a:pt x="19" y="5"/>
                    </a:lnTo>
                    <a:lnTo>
                      <a:pt x="17" y="4"/>
                    </a:lnTo>
                    <a:lnTo>
                      <a:pt x="13" y="9"/>
                    </a:lnTo>
                    <a:lnTo>
                      <a:pt x="12" y="21"/>
                    </a:lnTo>
                    <a:lnTo>
                      <a:pt x="6" y="32"/>
                    </a:lnTo>
                    <a:lnTo>
                      <a:pt x="0" y="39"/>
                    </a:lnTo>
                    <a:lnTo>
                      <a:pt x="2" y="40"/>
                    </a:lnTo>
                    <a:lnTo>
                      <a:pt x="6" y="45"/>
                    </a:lnTo>
                    <a:lnTo>
                      <a:pt x="8" y="52"/>
                    </a:lnTo>
                    <a:lnTo>
                      <a:pt x="14" y="59"/>
                    </a:lnTo>
                    <a:lnTo>
                      <a:pt x="18" y="68"/>
                    </a:lnTo>
                    <a:lnTo>
                      <a:pt x="16" y="73"/>
                    </a:lnTo>
                    <a:lnTo>
                      <a:pt x="19" y="79"/>
                    </a:lnTo>
                    <a:lnTo>
                      <a:pt x="19" y="79"/>
                    </a:lnTo>
                    <a:close/>
                  </a:path>
                </a:pathLst>
              </a:custGeom>
              <a:solidFill>
                <a:srgbClr val="F68B1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795" name="Freeform 599"/>
              <p:cNvSpPr>
                <a:spLocks/>
              </p:cNvSpPr>
              <p:nvPr userDrawn="1"/>
            </p:nvSpPr>
            <p:spPr bwMode="auto">
              <a:xfrm>
                <a:off x="4073" y="2309"/>
                <a:ext cx="29" cy="79"/>
              </a:xfrm>
              <a:custGeom>
                <a:avLst/>
                <a:gdLst>
                  <a:gd name="T0" fmla="*/ 19 w 29"/>
                  <a:gd name="T1" fmla="*/ 79 h 79"/>
                  <a:gd name="T2" fmla="*/ 20 w 29"/>
                  <a:gd name="T3" fmla="*/ 76 h 79"/>
                  <a:gd name="T4" fmla="*/ 20 w 29"/>
                  <a:gd name="T5" fmla="*/ 75 h 79"/>
                  <a:gd name="T6" fmla="*/ 20 w 29"/>
                  <a:gd name="T7" fmla="*/ 73 h 79"/>
                  <a:gd name="T8" fmla="*/ 22 w 29"/>
                  <a:gd name="T9" fmla="*/ 71 h 79"/>
                  <a:gd name="T10" fmla="*/ 22 w 29"/>
                  <a:gd name="T11" fmla="*/ 66 h 79"/>
                  <a:gd name="T12" fmla="*/ 23 w 29"/>
                  <a:gd name="T13" fmla="*/ 62 h 79"/>
                  <a:gd name="T14" fmla="*/ 23 w 29"/>
                  <a:gd name="T15" fmla="*/ 57 h 79"/>
                  <a:gd name="T16" fmla="*/ 24 w 29"/>
                  <a:gd name="T17" fmla="*/ 57 h 79"/>
                  <a:gd name="T18" fmla="*/ 24 w 29"/>
                  <a:gd name="T19" fmla="*/ 53 h 79"/>
                  <a:gd name="T20" fmla="*/ 25 w 29"/>
                  <a:gd name="T21" fmla="*/ 48 h 79"/>
                  <a:gd name="T22" fmla="*/ 25 w 29"/>
                  <a:gd name="T23" fmla="*/ 46 h 79"/>
                  <a:gd name="T24" fmla="*/ 26 w 29"/>
                  <a:gd name="T25" fmla="*/ 39 h 79"/>
                  <a:gd name="T26" fmla="*/ 24 w 29"/>
                  <a:gd name="T27" fmla="*/ 39 h 79"/>
                  <a:gd name="T28" fmla="*/ 22 w 29"/>
                  <a:gd name="T29" fmla="*/ 39 h 79"/>
                  <a:gd name="T30" fmla="*/ 19 w 29"/>
                  <a:gd name="T31" fmla="*/ 41 h 79"/>
                  <a:gd name="T32" fmla="*/ 18 w 29"/>
                  <a:gd name="T33" fmla="*/ 39 h 79"/>
                  <a:gd name="T34" fmla="*/ 19 w 29"/>
                  <a:gd name="T35" fmla="*/ 33 h 79"/>
                  <a:gd name="T36" fmla="*/ 19 w 29"/>
                  <a:gd name="T37" fmla="*/ 24 h 79"/>
                  <a:gd name="T38" fmla="*/ 18 w 29"/>
                  <a:gd name="T39" fmla="*/ 23 h 79"/>
                  <a:gd name="T40" fmla="*/ 19 w 29"/>
                  <a:gd name="T41" fmla="*/ 19 h 79"/>
                  <a:gd name="T42" fmla="*/ 22 w 29"/>
                  <a:gd name="T43" fmla="*/ 19 h 79"/>
                  <a:gd name="T44" fmla="*/ 23 w 29"/>
                  <a:gd name="T45" fmla="*/ 20 h 79"/>
                  <a:gd name="T46" fmla="*/ 25 w 29"/>
                  <a:gd name="T47" fmla="*/ 21 h 79"/>
                  <a:gd name="T48" fmla="*/ 27 w 29"/>
                  <a:gd name="T49" fmla="*/ 19 h 79"/>
                  <a:gd name="T50" fmla="*/ 27 w 29"/>
                  <a:gd name="T51" fmla="*/ 18 h 79"/>
                  <a:gd name="T52" fmla="*/ 27 w 29"/>
                  <a:gd name="T53" fmla="*/ 18 h 79"/>
                  <a:gd name="T54" fmla="*/ 27 w 29"/>
                  <a:gd name="T55" fmla="*/ 16 h 79"/>
                  <a:gd name="T56" fmla="*/ 26 w 29"/>
                  <a:gd name="T57" fmla="*/ 13 h 79"/>
                  <a:gd name="T58" fmla="*/ 27 w 29"/>
                  <a:gd name="T59" fmla="*/ 7 h 79"/>
                  <a:gd name="T60" fmla="*/ 28 w 29"/>
                  <a:gd name="T61" fmla="*/ 3 h 79"/>
                  <a:gd name="T62" fmla="*/ 29 w 29"/>
                  <a:gd name="T63" fmla="*/ 0 h 79"/>
                  <a:gd name="T64" fmla="*/ 27 w 29"/>
                  <a:gd name="T65" fmla="*/ 1 h 79"/>
                  <a:gd name="T66" fmla="*/ 25 w 29"/>
                  <a:gd name="T67" fmla="*/ 4 h 79"/>
                  <a:gd name="T68" fmla="*/ 19 w 29"/>
                  <a:gd name="T69" fmla="*/ 5 h 79"/>
                  <a:gd name="T70" fmla="*/ 17 w 29"/>
                  <a:gd name="T71" fmla="*/ 4 h 79"/>
                  <a:gd name="T72" fmla="*/ 13 w 29"/>
                  <a:gd name="T73" fmla="*/ 9 h 79"/>
                  <a:gd name="T74" fmla="*/ 12 w 29"/>
                  <a:gd name="T75" fmla="*/ 21 h 79"/>
                  <a:gd name="T76" fmla="*/ 6 w 29"/>
                  <a:gd name="T77" fmla="*/ 32 h 79"/>
                  <a:gd name="T78" fmla="*/ 0 w 29"/>
                  <a:gd name="T79" fmla="*/ 39 h 79"/>
                  <a:gd name="T80" fmla="*/ 2 w 29"/>
                  <a:gd name="T81" fmla="*/ 40 h 79"/>
                  <a:gd name="T82" fmla="*/ 6 w 29"/>
                  <a:gd name="T83" fmla="*/ 45 h 79"/>
                  <a:gd name="T84" fmla="*/ 8 w 29"/>
                  <a:gd name="T85" fmla="*/ 52 h 79"/>
                  <a:gd name="T86" fmla="*/ 14 w 29"/>
                  <a:gd name="T87" fmla="*/ 59 h 79"/>
                  <a:gd name="T88" fmla="*/ 18 w 29"/>
                  <a:gd name="T89" fmla="*/ 68 h 79"/>
                  <a:gd name="T90" fmla="*/ 16 w 29"/>
                  <a:gd name="T91" fmla="*/ 73 h 79"/>
                  <a:gd name="T92" fmla="*/ 19 w 29"/>
                  <a:gd name="T93" fmla="*/ 79 h 79"/>
                  <a:gd name="T94" fmla="*/ 19 w 29"/>
                  <a:gd name="T95" fmla="*/ 79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9" h="79">
                    <a:moveTo>
                      <a:pt x="19" y="79"/>
                    </a:moveTo>
                    <a:lnTo>
                      <a:pt x="20" y="76"/>
                    </a:lnTo>
                    <a:lnTo>
                      <a:pt x="20" y="75"/>
                    </a:lnTo>
                    <a:lnTo>
                      <a:pt x="20" y="73"/>
                    </a:lnTo>
                    <a:lnTo>
                      <a:pt x="22" y="71"/>
                    </a:lnTo>
                    <a:lnTo>
                      <a:pt x="22" y="66"/>
                    </a:lnTo>
                    <a:lnTo>
                      <a:pt x="23" y="62"/>
                    </a:lnTo>
                    <a:lnTo>
                      <a:pt x="23" y="57"/>
                    </a:lnTo>
                    <a:lnTo>
                      <a:pt x="24" y="57"/>
                    </a:lnTo>
                    <a:lnTo>
                      <a:pt x="24" y="53"/>
                    </a:lnTo>
                    <a:lnTo>
                      <a:pt x="25" y="48"/>
                    </a:lnTo>
                    <a:lnTo>
                      <a:pt x="25" y="46"/>
                    </a:lnTo>
                    <a:lnTo>
                      <a:pt x="26" y="39"/>
                    </a:lnTo>
                    <a:lnTo>
                      <a:pt x="24" y="39"/>
                    </a:lnTo>
                    <a:lnTo>
                      <a:pt x="22" y="39"/>
                    </a:lnTo>
                    <a:lnTo>
                      <a:pt x="19" y="41"/>
                    </a:lnTo>
                    <a:lnTo>
                      <a:pt x="18" y="39"/>
                    </a:lnTo>
                    <a:lnTo>
                      <a:pt x="19" y="33"/>
                    </a:lnTo>
                    <a:lnTo>
                      <a:pt x="19" y="24"/>
                    </a:lnTo>
                    <a:lnTo>
                      <a:pt x="18" y="23"/>
                    </a:lnTo>
                    <a:lnTo>
                      <a:pt x="19" y="19"/>
                    </a:lnTo>
                    <a:lnTo>
                      <a:pt x="22" y="19"/>
                    </a:lnTo>
                    <a:lnTo>
                      <a:pt x="23" y="20"/>
                    </a:lnTo>
                    <a:lnTo>
                      <a:pt x="25" y="21"/>
                    </a:lnTo>
                    <a:lnTo>
                      <a:pt x="27" y="19"/>
                    </a:lnTo>
                    <a:lnTo>
                      <a:pt x="27" y="18"/>
                    </a:lnTo>
                    <a:lnTo>
                      <a:pt x="27" y="18"/>
                    </a:lnTo>
                    <a:lnTo>
                      <a:pt x="27" y="16"/>
                    </a:lnTo>
                    <a:lnTo>
                      <a:pt x="26" y="13"/>
                    </a:lnTo>
                    <a:lnTo>
                      <a:pt x="27" y="7"/>
                    </a:lnTo>
                    <a:lnTo>
                      <a:pt x="28" y="3"/>
                    </a:lnTo>
                    <a:lnTo>
                      <a:pt x="29" y="0"/>
                    </a:lnTo>
                    <a:lnTo>
                      <a:pt x="27" y="1"/>
                    </a:lnTo>
                    <a:lnTo>
                      <a:pt x="25" y="4"/>
                    </a:lnTo>
                    <a:lnTo>
                      <a:pt x="19" y="5"/>
                    </a:lnTo>
                    <a:lnTo>
                      <a:pt x="17" y="4"/>
                    </a:lnTo>
                    <a:lnTo>
                      <a:pt x="13" y="9"/>
                    </a:lnTo>
                    <a:lnTo>
                      <a:pt x="12" y="21"/>
                    </a:lnTo>
                    <a:lnTo>
                      <a:pt x="6" y="32"/>
                    </a:lnTo>
                    <a:lnTo>
                      <a:pt x="0" y="39"/>
                    </a:lnTo>
                    <a:lnTo>
                      <a:pt x="2" y="40"/>
                    </a:lnTo>
                    <a:lnTo>
                      <a:pt x="6" y="45"/>
                    </a:lnTo>
                    <a:lnTo>
                      <a:pt x="8" y="52"/>
                    </a:lnTo>
                    <a:lnTo>
                      <a:pt x="14" y="59"/>
                    </a:lnTo>
                    <a:lnTo>
                      <a:pt x="18" y="68"/>
                    </a:lnTo>
                    <a:lnTo>
                      <a:pt x="16" y="73"/>
                    </a:lnTo>
                    <a:lnTo>
                      <a:pt x="19" y="79"/>
                    </a:lnTo>
                    <a:lnTo>
                      <a:pt x="19" y="79"/>
                    </a:lnTo>
                    <a:close/>
                  </a:path>
                </a:pathLst>
              </a:custGeom>
              <a:solidFill>
                <a:schemeClr val="accent4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796" name="Freeform 600"/>
              <p:cNvSpPr>
                <a:spLocks/>
              </p:cNvSpPr>
              <p:nvPr userDrawn="1"/>
            </p:nvSpPr>
            <p:spPr bwMode="auto">
              <a:xfrm>
                <a:off x="3864" y="3074"/>
                <a:ext cx="217" cy="179"/>
              </a:xfrm>
              <a:custGeom>
                <a:avLst/>
                <a:gdLst>
                  <a:gd name="T0" fmla="*/ 46 w 217"/>
                  <a:gd name="T1" fmla="*/ 55 h 179"/>
                  <a:gd name="T2" fmla="*/ 49 w 217"/>
                  <a:gd name="T3" fmla="*/ 60 h 179"/>
                  <a:gd name="T4" fmla="*/ 57 w 217"/>
                  <a:gd name="T5" fmla="*/ 56 h 179"/>
                  <a:gd name="T6" fmla="*/ 64 w 217"/>
                  <a:gd name="T7" fmla="*/ 60 h 179"/>
                  <a:gd name="T8" fmla="*/ 70 w 217"/>
                  <a:gd name="T9" fmla="*/ 66 h 179"/>
                  <a:gd name="T10" fmla="*/ 83 w 217"/>
                  <a:gd name="T11" fmla="*/ 70 h 179"/>
                  <a:gd name="T12" fmla="*/ 93 w 217"/>
                  <a:gd name="T13" fmla="*/ 67 h 179"/>
                  <a:gd name="T14" fmla="*/ 99 w 217"/>
                  <a:gd name="T15" fmla="*/ 62 h 179"/>
                  <a:gd name="T16" fmla="*/ 107 w 217"/>
                  <a:gd name="T17" fmla="*/ 75 h 179"/>
                  <a:gd name="T18" fmla="*/ 125 w 217"/>
                  <a:gd name="T19" fmla="*/ 87 h 179"/>
                  <a:gd name="T20" fmla="*/ 139 w 217"/>
                  <a:gd name="T21" fmla="*/ 94 h 179"/>
                  <a:gd name="T22" fmla="*/ 145 w 217"/>
                  <a:gd name="T23" fmla="*/ 95 h 179"/>
                  <a:gd name="T24" fmla="*/ 140 w 217"/>
                  <a:gd name="T25" fmla="*/ 74 h 179"/>
                  <a:gd name="T26" fmla="*/ 132 w 217"/>
                  <a:gd name="T27" fmla="*/ 78 h 179"/>
                  <a:gd name="T28" fmla="*/ 122 w 217"/>
                  <a:gd name="T29" fmla="*/ 66 h 179"/>
                  <a:gd name="T30" fmla="*/ 126 w 217"/>
                  <a:gd name="T31" fmla="*/ 46 h 179"/>
                  <a:gd name="T32" fmla="*/ 128 w 217"/>
                  <a:gd name="T33" fmla="*/ 38 h 179"/>
                  <a:gd name="T34" fmla="*/ 129 w 217"/>
                  <a:gd name="T35" fmla="*/ 30 h 179"/>
                  <a:gd name="T36" fmla="*/ 124 w 217"/>
                  <a:gd name="T37" fmla="*/ 21 h 179"/>
                  <a:gd name="T38" fmla="*/ 173 w 217"/>
                  <a:gd name="T39" fmla="*/ 5 h 179"/>
                  <a:gd name="T40" fmla="*/ 181 w 217"/>
                  <a:gd name="T41" fmla="*/ 9 h 179"/>
                  <a:gd name="T42" fmla="*/ 197 w 217"/>
                  <a:gd name="T43" fmla="*/ 13 h 179"/>
                  <a:gd name="T44" fmla="*/ 206 w 217"/>
                  <a:gd name="T45" fmla="*/ 22 h 179"/>
                  <a:gd name="T46" fmla="*/ 210 w 217"/>
                  <a:gd name="T47" fmla="*/ 28 h 179"/>
                  <a:gd name="T48" fmla="*/ 212 w 217"/>
                  <a:gd name="T49" fmla="*/ 36 h 179"/>
                  <a:gd name="T50" fmla="*/ 217 w 217"/>
                  <a:gd name="T51" fmla="*/ 46 h 179"/>
                  <a:gd name="T52" fmla="*/ 212 w 217"/>
                  <a:gd name="T53" fmla="*/ 55 h 179"/>
                  <a:gd name="T54" fmla="*/ 212 w 217"/>
                  <a:gd name="T55" fmla="*/ 66 h 179"/>
                  <a:gd name="T56" fmla="*/ 213 w 217"/>
                  <a:gd name="T57" fmla="*/ 74 h 179"/>
                  <a:gd name="T58" fmla="*/ 214 w 217"/>
                  <a:gd name="T59" fmla="*/ 78 h 179"/>
                  <a:gd name="T60" fmla="*/ 206 w 217"/>
                  <a:gd name="T61" fmla="*/ 85 h 179"/>
                  <a:gd name="T62" fmla="*/ 206 w 217"/>
                  <a:gd name="T63" fmla="*/ 94 h 179"/>
                  <a:gd name="T64" fmla="*/ 205 w 217"/>
                  <a:gd name="T65" fmla="*/ 102 h 179"/>
                  <a:gd name="T66" fmla="*/ 201 w 217"/>
                  <a:gd name="T67" fmla="*/ 109 h 179"/>
                  <a:gd name="T68" fmla="*/ 163 w 217"/>
                  <a:gd name="T69" fmla="*/ 121 h 179"/>
                  <a:gd name="T70" fmla="*/ 157 w 217"/>
                  <a:gd name="T71" fmla="*/ 136 h 179"/>
                  <a:gd name="T72" fmla="*/ 148 w 217"/>
                  <a:gd name="T73" fmla="*/ 136 h 179"/>
                  <a:gd name="T74" fmla="*/ 137 w 217"/>
                  <a:gd name="T75" fmla="*/ 137 h 179"/>
                  <a:gd name="T76" fmla="*/ 127 w 217"/>
                  <a:gd name="T77" fmla="*/ 144 h 179"/>
                  <a:gd name="T78" fmla="*/ 125 w 217"/>
                  <a:gd name="T79" fmla="*/ 150 h 179"/>
                  <a:gd name="T80" fmla="*/ 94 w 217"/>
                  <a:gd name="T81" fmla="*/ 178 h 179"/>
                  <a:gd name="T82" fmla="*/ 82 w 217"/>
                  <a:gd name="T83" fmla="*/ 176 h 179"/>
                  <a:gd name="T84" fmla="*/ 75 w 217"/>
                  <a:gd name="T85" fmla="*/ 175 h 179"/>
                  <a:gd name="T86" fmla="*/ 64 w 217"/>
                  <a:gd name="T87" fmla="*/ 174 h 179"/>
                  <a:gd name="T88" fmla="*/ 55 w 217"/>
                  <a:gd name="T89" fmla="*/ 170 h 179"/>
                  <a:gd name="T90" fmla="*/ 50 w 217"/>
                  <a:gd name="T91" fmla="*/ 169 h 179"/>
                  <a:gd name="T92" fmla="*/ 25 w 217"/>
                  <a:gd name="T93" fmla="*/ 173 h 179"/>
                  <a:gd name="T94" fmla="*/ 18 w 217"/>
                  <a:gd name="T95" fmla="*/ 164 h 179"/>
                  <a:gd name="T96" fmla="*/ 7 w 217"/>
                  <a:gd name="T97" fmla="*/ 156 h 179"/>
                  <a:gd name="T98" fmla="*/ 0 w 217"/>
                  <a:gd name="T99" fmla="*/ 146 h 179"/>
                  <a:gd name="T100" fmla="*/ 40 w 217"/>
                  <a:gd name="T101" fmla="*/ 81 h 179"/>
                  <a:gd name="T102" fmla="*/ 39 w 217"/>
                  <a:gd name="T103" fmla="*/ 70 h 179"/>
                  <a:gd name="T104" fmla="*/ 39 w 217"/>
                  <a:gd name="T105" fmla="*/ 53 h 1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17" h="179">
                    <a:moveTo>
                      <a:pt x="39" y="53"/>
                    </a:moveTo>
                    <a:lnTo>
                      <a:pt x="41" y="54"/>
                    </a:lnTo>
                    <a:lnTo>
                      <a:pt x="43" y="54"/>
                    </a:lnTo>
                    <a:lnTo>
                      <a:pt x="46" y="55"/>
                    </a:lnTo>
                    <a:lnTo>
                      <a:pt x="47" y="55"/>
                    </a:lnTo>
                    <a:lnTo>
                      <a:pt x="47" y="58"/>
                    </a:lnTo>
                    <a:lnTo>
                      <a:pt x="48" y="59"/>
                    </a:lnTo>
                    <a:lnTo>
                      <a:pt x="49" y="60"/>
                    </a:lnTo>
                    <a:lnTo>
                      <a:pt x="51" y="58"/>
                    </a:lnTo>
                    <a:lnTo>
                      <a:pt x="54" y="57"/>
                    </a:lnTo>
                    <a:lnTo>
                      <a:pt x="56" y="57"/>
                    </a:lnTo>
                    <a:lnTo>
                      <a:pt x="57" y="56"/>
                    </a:lnTo>
                    <a:lnTo>
                      <a:pt x="62" y="55"/>
                    </a:lnTo>
                    <a:lnTo>
                      <a:pt x="63" y="55"/>
                    </a:lnTo>
                    <a:lnTo>
                      <a:pt x="63" y="58"/>
                    </a:lnTo>
                    <a:lnTo>
                      <a:pt x="64" y="60"/>
                    </a:lnTo>
                    <a:lnTo>
                      <a:pt x="65" y="63"/>
                    </a:lnTo>
                    <a:lnTo>
                      <a:pt x="64" y="64"/>
                    </a:lnTo>
                    <a:lnTo>
                      <a:pt x="66" y="64"/>
                    </a:lnTo>
                    <a:lnTo>
                      <a:pt x="70" y="66"/>
                    </a:lnTo>
                    <a:lnTo>
                      <a:pt x="72" y="66"/>
                    </a:lnTo>
                    <a:lnTo>
                      <a:pt x="76" y="68"/>
                    </a:lnTo>
                    <a:lnTo>
                      <a:pt x="79" y="69"/>
                    </a:lnTo>
                    <a:lnTo>
                      <a:pt x="83" y="70"/>
                    </a:lnTo>
                    <a:lnTo>
                      <a:pt x="84" y="71"/>
                    </a:lnTo>
                    <a:lnTo>
                      <a:pt x="87" y="71"/>
                    </a:lnTo>
                    <a:lnTo>
                      <a:pt x="93" y="69"/>
                    </a:lnTo>
                    <a:lnTo>
                      <a:pt x="93" y="67"/>
                    </a:lnTo>
                    <a:lnTo>
                      <a:pt x="95" y="63"/>
                    </a:lnTo>
                    <a:lnTo>
                      <a:pt x="97" y="62"/>
                    </a:lnTo>
                    <a:lnTo>
                      <a:pt x="99" y="61"/>
                    </a:lnTo>
                    <a:lnTo>
                      <a:pt x="99" y="62"/>
                    </a:lnTo>
                    <a:lnTo>
                      <a:pt x="99" y="67"/>
                    </a:lnTo>
                    <a:lnTo>
                      <a:pt x="102" y="70"/>
                    </a:lnTo>
                    <a:lnTo>
                      <a:pt x="103" y="72"/>
                    </a:lnTo>
                    <a:lnTo>
                      <a:pt x="107" y="75"/>
                    </a:lnTo>
                    <a:lnTo>
                      <a:pt x="114" y="76"/>
                    </a:lnTo>
                    <a:lnTo>
                      <a:pt x="119" y="79"/>
                    </a:lnTo>
                    <a:lnTo>
                      <a:pt x="122" y="84"/>
                    </a:lnTo>
                    <a:lnTo>
                      <a:pt x="125" y="87"/>
                    </a:lnTo>
                    <a:lnTo>
                      <a:pt x="129" y="91"/>
                    </a:lnTo>
                    <a:lnTo>
                      <a:pt x="133" y="95"/>
                    </a:lnTo>
                    <a:lnTo>
                      <a:pt x="135" y="95"/>
                    </a:lnTo>
                    <a:lnTo>
                      <a:pt x="139" y="94"/>
                    </a:lnTo>
                    <a:lnTo>
                      <a:pt x="142" y="93"/>
                    </a:lnTo>
                    <a:lnTo>
                      <a:pt x="142" y="93"/>
                    </a:lnTo>
                    <a:lnTo>
                      <a:pt x="142" y="94"/>
                    </a:lnTo>
                    <a:lnTo>
                      <a:pt x="145" y="95"/>
                    </a:lnTo>
                    <a:lnTo>
                      <a:pt x="146" y="93"/>
                    </a:lnTo>
                    <a:lnTo>
                      <a:pt x="145" y="75"/>
                    </a:lnTo>
                    <a:lnTo>
                      <a:pt x="143" y="74"/>
                    </a:lnTo>
                    <a:lnTo>
                      <a:pt x="140" y="74"/>
                    </a:lnTo>
                    <a:lnTo>
                      <a:pt x="140" y="76"/>
                    </a:lnTo>
                    <a:lnTo>
                      <a:pt x="141" y="77"/>
                    </a:lnTo>
                    <a:lnTo>
                      <a:pt x="140" y="78"/>
                    </a:lnTo>
                    <a:lnTo>
                      <a:pt x="132" y="78"/>
                    </a:lnTo>
                    <a:lnTo>
                      <a:pt x="131" y="76"/>
                    </a:lnTo>
                    <a:lnTo>
                      <a:pt x="130" y="73"/>
                    </a:lnTo>
                    <a:lnTo>
                      <a:pt x="124" y="68"/>
                    </a:lnTo>
                    <a:lnTo>
                      <a:pt x="122" y="66"/>
                    </a:lnTo>
                    <a:lnTo>
                      <a:pt x="122" y="61"/>
                    </a:lnTo>
                    <a:lnTo>
                      <a:pt x="121" y="52"/>
                    </a:lnTo>
                    <a:lnTo>
                      <a:pt x="122" y="50"/>
                    </a:lnTo>
                    <a:lnTo>
                      <a:pt x="126" y="46"/>
                    </a:lnTo>
                    <a:lnTo>
                      <a:pt x="127" y="44"/>
                    </a:lnTo>
                    <a:lnTo>
                      <a:pt x="126" y="43"/>
                    </a:lnTo>
                    <a:lnTo>
                      <a:pt x="128" y="42"/>
                    </a:lnTo>
                    <a:lnTo>
                      <a:pt x="128" y="38"/>
                    </a:lnTo>
                    <a:lnTo>
                      <a:pt x="128" y="36"/>
                    </a:lnTo>
                    <a:lnTo>
                      <a:pt x="128" y="33"/>
                    </a:lnTo>
                    <a:lnTo>
                      <a:pt x="128" y="32"/>
                    </a:lnTo>
                    <a:lnTo>
                      <a:pt x="129" y="30"/>
                    </a:lnTo>
                    <a:lnTo>
                      <a:pt x="129" y="28"/>
                    </a:lnTo>
                    <a:lnTo>
                      <a:pt x="127" y="27"/>
                    </a:lnTo>
                    <a:lnTo>
                      <a:pt x="125" y="25"/>
                    </a:lnTo>
                    <a:lnTo>
                      <a:pt x="124" y="21"/>
                    </a:lnTo>
                    <a:lnTo>
                      <a:pt x="132" y="8"/>
                    </a:lnTo>
                    <a:lnTo>
                      <a:pt x="162" y="0"/>
                    </a:lnTo>
                    <a:lnTo>
                      <a:pt x="170" y="5"/>
                    </a:lnTo>
                    <a:lnTo>
                      <a:pt x="173" y="5"/>
                    </a:lnTo>
                    <a:lnTo>
                      <a:pt x="176" y="6"/>
                    </a:lnTo>
                    <a:lnTo>
                      <a:pt x="178" y="6"/>
                    </a:lnTo>
                    <a:lnTo>
                      <a:pt x="181" y="8"/>
                    </a:lnTo>
                    <a:lnTo>
                      <a:pt x="181" y="9"/>
                    </a:lnTo>
                    <a:lnTo>
                      <a:pt x="183" y="11"/>
                    </a:lnTo>
                    <a:lnTo>
                      <a:pt x="186" y="11"/>
                    </a:lnTo>
                    <a:lnTo>
                      <a:pt x="195" y="13"/>
                    </a:lnTo>
                    <a:lnTo>
                      <a:pt x="197" y="13"/>
                    </a:lnTo>
                    <a:lnTo>
                      <a:pt x="199" y="15"/>
                    </a:lnTo>
                    <a:lnTo>
                      <a:pt x="201" y="15"/>
                    </a:lnTo>
                    <a:lnTo>
                      <a:pt x="202" y="18"/>
                    </a:lnTo>
                    <a:lnTo>
                      <a:pt x="206" y="22"/>
                    </a:lnTo>
                    <a:lnTo>
                      <a:pt x="207" y="22"/>
                    </a:lnTo>
                    <a:lnTo>
                      <a:pt x="207" y="25"/>
                    </a:lnTo>
                    <a:lnTo>
                      <a:pt x="209" y="26"/>
                    </a:lnTo>
                    <a:lnTo>
                      <a:pt x="210" y="28"/>
                    </a:lnTo>
                    <a:lnTo>
                      <a:pt x="212" y="30"/>
                    </a:lnTo>
                    <a:lnTo>
                      <a:pt x="215" y="31"/>
                    </a:lnTo>
                    <a:lnTo>
                      <a:pt x="215" y="32"/>
                    </a:lnTo>
                    <a:lnTo>
                      <a:pt x="212" y="36"/>
                    </a:lnTo>
                    <a:lnTo>
                      <a:pt x="213" y="38"/>
                    </a:lnTo>
                    <a:lnTo>
                      <a:pt x="216" y="40"/>
                    </a:lnTo>
                    <a:lnTo>
                      <a:pt x="217" y="43"/>
                    </a:lnTo>
                    <a:lnTo>
                      <a:pt x="217" y="46"/>
                    </a:lnTo>
                    <a:lnTo>
                      <a:pt x="216" y="48"/>
                    </a:lnTo>
                    <a:lnTo>
                      <a:pt x="216" y="49"/>
                    </a:lnTo>
                    <a:lnTo>
                      <a:pt x="212" y="53"/>
                    </a:lnTo>
                    <a:lnTo>
                      <a:pt x="212" y="55"/>
                    </a:lnTo>
                    <a:lnTo>
                      <a:pt x="213" y="58"/>
                    </a:lnTo>
                    <a:lnTo>
                      <a:pt x="213" y="61"/>
                    </a:lnTo>
                    <a:lnTo>
                      <a:pt x="214" y="63"/>
                    </a:lnTo>
                    <a:lnTo>
                      <a:pt x="212" y="66"/>
                    </a:lnTo>
                    <a:lnTo>
                      <a:pt x="214" y="69"/>
                    </a:lnTo>
                    <a:lnTo>
                      <a:pt x="213" y="71"/>
                    </a:lnTo>
                    <a:lnTo>
                      <a:pt x="212" y="71"/>
                    </a:lnTo>
                    <a:lnTo>
                      <a:pt x="213" y="74"/>
                    </a:lnTo>
                    <a:lnTo>
                      <a:pt x="213" y="76"/>
                    </a:lnTo>
                    <a:lnTo>
                      <a:pt x="215" y="76"/>
                    </a:lnTo>
                    <a:lnTo>
                      <a:pt x="216" y="77"/>
                    </a:lnTo>
                    <a:lnTo>
                      <a:pt x="214" y="78"/>
                    </a:lnTo>
                    <a:lnTo>
                      <a:pt x="213" y="80"/>
                    </a:lnTo>
                    <a:lnTo>
                      <a:pt x="210" y="81"/>
                    </a:lnTo>
                    <a:lnTo>
                      <a:pt x="207" y="84"/>
                    </a:lnTo>
                    <a:lnTo>
                      <a:pt x="206" y="85"/>
                    </a:lnTo>
                    <a:lnTo>
                      <a:pt x="206" y="88"/>
                    </a:lnTo>
                    <a:lnTo>
                      <a:pt x="207" y="90"/>
                    </a:lnTo>
                    <a:lnTo>
                      <a:pt x="206" y="91"/>
                    </a:lnTo>
                    <a:lnTo>
                      <a:pt x="206" y="94"/>
                    </a:lnTo>
                    <a:lnTo>
                      <a:pt x="203" y="97"/>
                    </a:lnTo>
                    <a:lnTo>
                      <a:pt x="201" y="98"/>
                    </a:lnTo>
                    <a:lnTo>
                      <a:pt x="202" y="99"/>
                    </a:lnTo>
                    <a:lnTo>
                      <a:pt x="205" y="102"/>
                    </a:lnTo>
                    <a:lnTo>
                      <a:pt x="206" y="106"/>
                    </a:lnTo>
                    <a:lnTo>
                      <a:pt x="207" y="108"/>
                    </a:lnTo>
                    <a:lnTo>
                      <a:pt x="206" y="108"/>
                    </a:lnTo>
                    <a:lnTo>
                      <a:pt x="201" y="109"/>
                    </a:lnTo>
                    <a:lnTo>
                      <a:pt x="189" y="114"/>
                    </a:lnTo>
                    <a:lnTo>
                      <a:pt x="186" y="115"/>
                    </a:lnTo>
                    <a:lnTo>
                      <a:pt x="167" y="121"/>
                    </a:lnTo>
                    <a:lnTo>
                      <a:pt x="163" y="121"/>
                    </a:lnTo>
                    <a:lnTo>
                      <a:pt x="157" y="125"/>
                    </a:lnTo>
                    <a:lnTo>
                      <a:pt x="155" y="128"/>
                    </a:lnTo>
                    <a:lnTo>
                      <a:pt x="157" y="134"/>
                    </a:lnTo>
                    <a:lnTo>
                      <a:pt x="157" y="136"/>
                    </a:lnTo>
                    <a:lnTo>
                      <a:pt x="156" y="136"/>
                    </a:lnTo>
                    <a:lnTo>
                      <a:pt x="154" y="136"/>
                    </a:lnTo>
                    <a:lnTo>
                      <a:pt x="150" y="135"/>
                    </a:lnTo>
                    <a:lnTo>
                      <a:pt x="148" y="136"/>
                    </a:lnTo>
                    <a:lnTo>
                      <a:pt x="148" y="135"/>
                    </a:lnTo>
                    <a:lnTo>
                      <a:pt x="142" y="135"/>
                    </a:lnTo>
                    <a:lnTo>
                      <a:pt x="139" y="136"/>
                    </a:lnTo>
                    <a:lnTo>
                      <a:pt x="137" y="137"/>
                    </a:lnTo>
                    <a:lnTo>
                      <a:pt x="134" y="138"/>
                    </a:lnTo>
                    <a:lnTo>
                      <a:pt x="128" y="141"/>
                    </a:lnTo>
                    <a:lnTo>
                      <a:pt x="127" y="142"/>
                    </a:lnTo>
                    <a:lnTo>
                      <a:pt x="127" y="144"/>
                    </a:lnTo>
                    <a:lnTo>
                      <a:pt x="126" y="146"/>
                    </a:lnTo>
                    <a:lnTo>
                      <a:pt x="127" y="148"/>
                    </a:lnTo>
                    <a:lnTo>
                      <a:pt x="126" y="149"/>
                    </a:lnTo>
                    <a:lnTo>
                      <a:pt x="125" y="150"/>
                    </a:lnTo>
                    <a:lnTo>
                      <a:pt x="119" y="152"/>
                    </a:lnTo>
                    <a:lnTo>
                      <a:pt x="108" y="160"/>
                    </a:lnTo>
                    <a:lnTo>
                      <a:pt x="99" y="170"/>
                    </a:lnTo>
                    <a:lnTo>
                      <a:pt x="94" y="178"/>
                    </a:lnTo>
                    <a:lnTo>
                      <a:pt x="89" y="179"/>
                    </a:lnTo>
                    <a:lnTo>
                      <a:pt x="85" y="178"/>
                    </a:lnTo>
                    <a:lnTo>
                      <a:pt x="83" y="176"/>
                    </a:lnTo>
                    <a:lnTo>
                      <a:pt x="82" y="176"/>
                    </a:lnTo>
                    <a:lnTo>
                      <a:pt x="81" y="176"/>
                    </a:lnTo>
                    <a:lnTo>
                      <a:pt x="80" y="176"/>
                    </a:lnTo>
                    <a:lnTo>
                      <a:pt x="78" y="175"/>
                    </a:lnTo>
                    <a:lnTo>
                      <a:pt x="75" y="175"/>
                    </a:lnTo>
                    <a:lnTo>
                      <a:pt x="71" y="178"/>
                    </a:lnTo>
                    <a:lnTo>
                      <a:pt x="70" y="178"/>
                    </a:lnTo>
                    <a:lnTo>
                      <a:pt x="68" y="176"/>
                    </a:lnTo>
                    <a:lnTo>
                      <a:pt x="64" y="174"/>
                    </a:lnTo>
                    <a:lnTo>
                      <a:pt x="60" y="174"/>
                    </a:lnTo>
                    <a:lnTo>
                      <a:pt x="58" y="174"/>
                    </a:lnTo>
                    <a:lnTo>
                      <a:pt x="56" y="170"/>
                    </a:lnTo>
                    <a:lnTo>
                      <a:pt x="55" y="170"/>
                    </a:lnTo>
                    <a:lnTo>
                      <a:pt x="54" y="169"/>
                    </a:lnTo>
                    <a:lnTo>
                      <a:pt x="52" y="170"/>
                    </a:lnTo>
                    <a:lnTo>
                      <a:pt x="51" y="169"/>
                    </a:lnTo>
                    <a:lnTo>
                      <a:pt x="50" y="169"/>
                    </a:lnTo>
                    <a:lnTo>
                      <a:pt x="48" y="168"/>
                    </a:lnTo>
                    <a:lnTo>
                      <a:pt x="44" y="169"/>
                    </a:lnTo>
                    <a:lnTo>
                      <a:pt x="42" y="169"/>
                    </a:lnTo>
                    <a:lnTo>
                      <a:pt x="25" y="173"/>
                    </a:lnTo>
                    <a:lnTo>
                      <a:pt x="24" y="170"/>
                    </a:lnTo>
                    <a:lnTo>
                      <a:pt x="21" y="169"/>
                    </a:lnTo>
                    <a:lnTo>
                      <a:pt x="19" y="166"/>
                    </a:lnTo>
                    <a:lnTo>
                      <a:pt x="18" y="164"/>
                    </a:lnTo>
                    <a:lnTo>
                      <a:pt x="15" y="163"/>
                    </a:lnTo>
                    <a:lnTo>
                      <a:pt x="13" y="162"/>
                    </a:lnTo>
                    <a:lnTo>
                      <a:pt x="9" y="157"/>
                    </a:lnTo>
                    <a:lnTo>
                      <a:pt x="7" y="156"/>
                    </a:lnTo>
                    <a:lnTo>
                      <a:pt x="5" y="154"/>
                    </a:lnTo>
                    <a:lnTo>
                      <a:pt x="3" y="152"/>
                    </a:lnTo>
                    <a:lnTo>
                      <a:pt x="0" y="149"/>
                    </a:lnTo>
                    <a:lnTo>
                      <a:pt x="0" y="146"/>
                    </a:lnTo>
                    <a:lnTo>
                      <a:pt x="1" y="88"/>
                    </a:lnTo>
                    <a:lnTo>
                      <a:pt x="40" y="88"/>
                    </a:lnTo>
                    <a:lnTo>
                      <a:pt x="39" y="86"/>
                    </a:lnTo>
                    <a:lnTo>
                      <a:pt x="40" y="81"/>
                    </a:lnTo>
                    <a:lnTo>
                      <a:pt x="41" y="79"/>
                    </a:lnTo>
                    <a:lnTo>
                      <a:pt x="41" y="76"/>
                    </a:lnTo>
                    <a:lnTo>
                      <a:pt x="39" y="74"/>
                    </a:lnTo>
                    <a:lnTo>
                      <a:pt x="39" y="70"/>
                    </a:lnTo>
                    <a:lnTo>
                      <a:pt x="39" y="63"/>
                    </a:lnTo>
                    <a:lnTo>
                      <a:pt x="38" y="55"/>
                    </a:lnTo>
                    <a:lnTo>
                      <a:pt x="39" y="55"/>
                    </a:lnTo>
                    <a:lnTo>
                      <a:pt x="39" y="53"/>
                    </a:lnTo>
                    <a:lnTo>
                      <a:pt x="39" y="53"/>
                    </a:lnTo>
                    <a:lnTo>
                      <a:pt x="39" y="53"/>
                    </a:lnTo>
                    <a:close/>
                  </a:path>
                </a:pathLst>
              </a:custGeom>
              <a:solidFill>
                <a:schemeClr val="accent6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797" name="Freeform 601"/>
              <p:cNvSpPr>
                <a:spLocks noEditPoints="1"/>
              </p:cNvSpPr>
              <p:nvPr userDrawn="1"/>
            </p:nvSpPr>
            <p:spPr bwMode="auto">
              <a:xfrm>
                <a:off x="5622" y="2563"/>
                <a:ext cx="183" cy="265"/>
              </a:xfrm>
              <a:custGeom>
                <a:avLst/>
                <a:gdLst>
                  <a:gd name="T0" fmla="*/ 74 w 192"/>
                  <a:gd name="T1" fmla="*/ 4 h 278"/>
                  <a:gd name="T2" fmla="*/ 97 w 192"/>
                  <a:gd name="T3" fmla="*/ 110 h 278"/>
                  <a:gd name="T4" fmla="*/ 122 w 192"/>
                  <a:gd name="T5" fmla="*/ 113 h 278"/>
                  <a:gd name="T6" fmla="*/ 134 w 192"/>
                  <a:gd name="T7" fmla="*/ 131 h 278"/>
                  <a:gd name="T8" fmla="*/ 130 w 192"/>
                  <a:gd name="T9" fmla="*/ 135 h 278"/>
                  <a:gd name="T10" fmla="*/ 103 w 192"/>
                  <a:gd name="T11" fmla="*/ 114 h 278"/>
                  <a:gd name="T12" fmla="*/ 80 w 192"/>
                  <a:gd name="T13" fmla="*/ 120 h 278"/>
                  <a:gd name="T14" fmla="*/ 67 w 192"/>
                  <a:gd name="T15" fmla="*/ 104 h 278"/>
                  <a:gd name="T16" fmla="*/ 54 w 192"/>
                  <a:gd name="T17" fmla="*/ 95 h 278"/>
                  <a:gd name="T18" fmla="*/ 52 w 192"/>
                  <a:gd name="T19" fmla="*/ 68 h 278"/>
                  <a:gd name="T20" fmla="*/ 72 w 192"/>
                  <a:gd name="T21" fmla="*/ 20 h 278"/>
                  <a:gd name="T22" fmla="*/ 88 w 192"/>
                  <a:gd name="T23" fmla="*/ 34 h 278"/>
                  <a:gd name="T24" fmla="*/ 89 w 192"/>
                  <a:gd name="T25" fmla="*/ 68 h 278"/>
                  <a:gd name="T26" fmla="*/ 92 w 192"/>
                  <a:gd name="T27" fmla="*/ 105 h 278"/>
                  <a:gd name="T28" fmla="*/ 95 w 192"/>
                  <a:gd name="T29" fmla="*/ 90 h 278"/>
                  <a:gd name="T30" fmla="*/ 64 w 192"/>
                  <a:gd name="T31" fmla="*/ 124 h 278"/>
                  <a:gd name="T32" fmla="*/ 86 w 192"/>
                  <a:gd name="T33" fmla="*/ 141 h 278"/>
                  <a:gd name="T34" fmla="*/ 135 w 192"/>
                  <a:gd name="T35" fmla="*/ 111 h 278"/>
                  <a:gd name="T36" fmla="*/ 96 w 192"/>
                  <a:gd name="T37" fmla="*/ 125 h 278"/>
                  <a:gd name="T38" fmla="*/ 100 w 192"/>
                  <a:gd name="T39" fmla="*/ 145 h 278"/>
                  <a:gd name="T40" fmla="*/ 115 w 192"/>
                  <a:gd name="T41" fmla="*/ 128 h 278"/>
                  <a:gd name="T42" fmla="*/ 126 w 192"/>
                  <a:gd name="T43" fmla="*/ 139 h 278"/>
                  <a:gd name="T44" fmla="*/ 124 w 192"/>
                  <a:gd name="T45" fmla="*/ 142 h 278"/>
                  <a:gd name="T46" fmla="*/ 98 w 192"/>
                  <a:gd name="T47" fmla="*/ 182 h 278"/>
                  <a:gd name="T48" fmla="*/ 104 w 192"/>
                  <a:gd name="T49" fmla="*/ 157 h 278"/>
                  <a:gd name="T50" fmla="*/ 116 w 192"/>
                  <a:gd name="T51" fmla="*/ 170 h 278"/>
                  <a:gd name="T52" fmla="*/ 112 w 192"/>
                  <a:gd name="T53" fmla="*/ 180 h 278"/>
                  <a:gd name="T54" fmla="*/ 137 w 192"/>
                  <a:gd name="T55" fmla="*/ 181 h 278"/>
                  <a:gd name="T56" fmla="*/ 126 w 192"/>
                  <a:gd name="T57" fmla="*/ 201 h 278"/>
                  <a:gd name="T58" fmla="*/ 115 w 192"/>
                  <a:gd name="T59" fmla="*/ 181 h 278"/>
                  <a:gd name="T60" fmla="*/ 125 w 192"/>
                  <a:gd name="T61" fmla="*/ 207 h 278"/>
                  <a:gd name="T62" fmla="*/ 146 w 192"/>
                  <a:gd name="T63" fmla="*/ 188 h 278"/>
                  <a:gd name="T64" fmla="*/ 163 w 192"/>
                  <a:gd name="T65" fmla="*/ 192 h 278"/>
                  <a:gd name="T66" fmla="*/ 147 w 192"/>
                  <a:gd name="T67" fmla="*/ 163 h 278"/>
                  <a:gd name="T68" fmla="*/ 170 w 192"/>
                  <a:gd name="T69" fmla="*/ 170 h 278"/>
                  <a:gd name="T70" fmla="*/ 155 w 192"/>
                  <a:gd name="T71" fmla="*/ 140 h 278"/>
                  <a:gd name="T72" fmla="*/ 155 w 192"/>
                  <a:gd name="T73" fmla="*/ 158 h 278"/>
                  <a:gd name="T74" fmla="*/ 144 w 192"/>
                  <a:gd name="T75" fmla="*/ 168 h 278"/>
                  <a:gd name="T76" fmla="*/ 162 w 192"/>
                  <a:gd name="T77" fmla="*/ 187 h 278"/>
                  <a:gd name="T78" fmla="*/ 172 w 192"/>
                  <a:gd name="T79" fmla="*/ 174 h 278"/>
                  <a:gd name="T80" fmla="*/ 170 w 192"/>
                  <a:gd name="T81" fmla="*/ 182 h 278"/>
                  <a:gd name="T82" fmla="*/ 176 w 192"/>
                  <a:gd name="T83" fmla="*/ 197 h 278"/>
                  <a:gd name="T84" fmla="*/ 154 w 192"/>
                  <a:gd name="T85" fmla="*/ 222 h 278"/>
                  <a:gd name="T86" fmla="*/ 165 w 192"/>
                  <a:gd name="T87" fmla="*/ 200 h 278"/>
                  <a:gd name="T88" fmla="*/ 182 w 192"/>
                  <a:gd name="T89" fmla="*/ 216 h 278"/>
                  <a:gd name="T90" fmla="*/ 192 w 192"/>
                  <a:gd name="T91" fmla="*/ 246 h 278"/>
                  <a:gd name="T92" fmla="*/ 182 w 192"/>
                  <a:gd name="T93" fmla="*/ 257 h 278"/>
                  <a:gd name="T94" fmla="*/ 176 w 192"/>
                  <a:gd name="T95" fmla="*/ 270 h 278"/>
                  <a:gd name="T96" fmla="*/ 152 w 192"/>
                  <a:gd name="T97" fmla="*/ 270 h 278"/>
                  <a:gd name="T98" fmla="*/ 146 w 192"/>
                  <a:gd name="T99" fmla="*/ 249 h 278"/>
                  <a:gd name="T100" fmla="*/ 129 w 192"/>
                  <a:gd name="T101" fmla="*/ 244 h 278"/>
                  <a:gd name="T102" fmla="*/ 114 w 192"/>
                  <a:gd name="T103" fmla="*/ 236 h 278"/>
                  <a:gd name="T104" fmla="*/ 105 w 192"/>
                  <a:gd name="T105" fmla="*/ 232 h 278"/>
                  <a:gd name="T106" fmla="*/ 136 w 192"/>
                  <a:gd name="T107" fmla="*/ 227 h 278"/>
                  <a:gd name="T108" fmla="*/ 103 w 192"/>
                  <a:gd name="T109" fmla="*/ 256 h 278"/>
                  <a:gd name="T110" fmla="*/ 60 w 192"/>
                  <a:gd name="T111" fmla="*/ 152 h 278"/>
                  <a:gd name="T112" fmla="*/ 54 w 192"/>
                  <a:gd name="T113" fmla="*/ 181 h 278"/>
                  <a:gd name="T114" fmla="*/ 13 w 192"/>
                  <a:gd name="T115" fmla="*/ 219 h 278"/>
                  <a:gd name="T116" fmla="*/ 44 w 192"/>
                  <a:gd name="T117" fmla="*/ 187 h 278"/>
                  <a:gd name="T118" fmla="*/ 41 w 192"/>
                  <a:gd name="T119" fmla="*/ 174 h 278"/>
                  <a:gd name="T120" fmla="*/ 15 w 192"/>
                  <a:gd name="T121" fmla="*/ 211 h 278"/>
                  <a:gd name="T122" fmla="*/ 10 w 192"/>
                  <a:gd name="T123" fmla="*/ 227 h 2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92" h="278">
                    <a:moveTo>
                      <a:pt x="69" y="13"/>
                    </a:moveTo>
                    <a:cubicBezTo>
                      <a:pt x="74" y="13"/>
                      <a:pt x="74" y="13"/>
                      <a:pt x="74" y="13"/>
                    </a:cubicBezTo>
                    <a:cubicBezTo>
                      <a:pt x="71" y="15"/>
                      <a:pt x="71" y="15"/>
                      <a:pt x="71" y="15"/>
                    </a:cubicBezTo>
                    <a:cubicBezTo>
                      <a:pt x="69" y="13"/>
                      <a:pt x="69" y="13"/>
                      <a:pt x="69" y="13"/>
                    </a:cubicBezTo>
                    <a:close/>
                    <a:moveTo>
                      <a:pt x="66" y="5"/>
                    </a:moveTo>
                    <a:cubicBezTo>
                      <a:pt x="69" y="7"/>
                      <a:pt x="69" y="7"/>
                      <a:pt x="69" y="7"/>
                    </a:cubicBezTo>
                    <a:cubicBezTo>
                      <a:pt x="65" y="8"/>
                      <a:pt x="65" y="8"/>
                      <a:pt x="65" y="8"/>
                    </a:cubicBezTo>
                    <a:cubicBezTo>
                      <a:pt x="66" y="5"/>
                      <a:pt x="66" y="5"/>
                      <a:pt x="66" y="5"/>
                    </a:cubicBezTo>
                    <a:close/>
                    <a:moveTo>
                      <a:pt x="75" y="0"/>
                    </a:moveTo>
                    <a:cubicBezTo>
                      <a:pt x="72" y="2"/>
                      <a:pt x="72" y="2"/>
                      <a:pt x="72" y="2"/>
                    </a:cubicBezTo>
                    <a:cubicBezTo>
                      <a:pt x="74" y="4"/>
                      <a:pt x="74" y="4"/>
                      <a:pt x="74" y="4"/>
                    </a:cubicBezTo>
                    <a:cubicBezTo>
                      <a:pt x="75" y="0"/>
                      <a:pt x="75" y="0"/>
                      <a:pt x="75" y="0"/>
                    </a:cubicBezTo>
                    <a:close/>
                    <a:moveTo>
                      <a:pt x="83" y="9"/>
                    </a:moveTo>
                    <a:cubicBezTo>
                      <a:pt x="80" y="12"/>
                      <a:pt x="80" y="12"/>
                      <a:pt x="80" y="12"/>
                    </a:cubicBezTo>
                    <a:cubicBezTo>
                      <a:pt x="83" y="14"/>
                      <a:pt x="83" y="14"/>
                      <a:pt x="83" y="14"/>
                    </a:cubicBezTo>
                    <a:cubicBezTo>
                      <a:pt x="84" y="11"/>
                      <a:pt x="84" y="11"/>
                      <a:pt x="84" y="11"/>
                    </a:cubicBezTo>
                    <a:cubicBezTo>
                      <a:pt x="83" y="9"/>
                      <a:pt x="83" y="9"/>
                      <a:pt x="83" y="9"/>
                    </a:cubicBezTo>
                    <a:close/>
                    <a:moveTo>
                      <a:pt x="85" y="103"/>
                    </a:moveTo>
                    <a:cubicBezTo>
                      <a:pt x="87" y="106"/>
                      <a:pt x="87" y="106"/>
                      <a:pt x="87" y="106"/>
                    </a:cubicBezTo>
                    <a:cubicBezTo>
                      <a:pt x="89" y="109"/>
                      <a:pt x="89" y="109"/>
                      <a:pt x="89" y="109"/>
                    </a:cubicBezTo>
                    <a:cubicBezTo>
                      <a:pt x="94" y="111"/>
                      <a:pt x="94" y="111"/>
                      <a:pt x="94" y="111"/>
                    </a:cubicBezTo>
                    <a:cubicBezTo>
                      <a:pt x="97" y="110"/>
                      <a:pt x="97" y="110"/>
                      <a:pt x="97" y="110"/>
                    </a:cubicBezTo>
                    <a:cubicBezTo>
                      <a:pt x="98" y="107"/>
                      <a:pt x="98" y="107"/>
                      <a:pt x="98" y="107"/>
                    </a:cubicBezTo>
                    <a:cubicBezTo>
                      <a:pt x="103" y="103"/>
                      <a:pt x="103" y="103"/>
                      <a:pt x="103" y="103"/>
                    </a:cubicBezTo>
                    <a:cubicBezTo>
                      <a:pt x="106" y="103"/>
                      <a:pt x="106" y="103"/>
                      <a:pt x="106" y="103"/>
                    </a:cubicBezTo>
                    <a:cubicBezTo>
                      <a:pt x="112" y="106"/>
                      <a:pt x="112" y="106"/>
                      <a:pt x="112" y="106"/>
                    </a:cubicBezTo>
                    <a:cubicBezTo>
                      <a:pt x="114" y="111"/>
                      <a:pt x="114" y="111"/>
                      <a:pt x="114" y="111"/>
                    </a:cubicBezTo>
                    <a:cubicBezTo>
                      <a:pt x="114" y="114"/>
                      <a:pt x="114" y="114"/>
                      <a:pt x="114" y="114"/>
                    </a:cubicBezTo>
                    <a:cubicBezTo>
                      <a:pt x="116" y="116"/>
                      <a:pt x="116" y="116"/>
                      <a:pt x="116" y="116"/>
                    </a:cubicBezTo>
                    <a:cubicBezTo>
                      <a:pt x="118" y="115"/>
                      <a:pt x="118" y="115"/>
                      <a:pt x="118" y="115"/>
                    </a:cubicBezTo>
                    <a:cubicBezTo>
                      <a:pt x="118" y="111"/>
                      <a:pt x="118" y="111"/>
                      <a:pt x="118" y="111"/>
                    </a:cubicBezTo>
                    <a:cubicBezTo>
                      <a:pt x="120" y="110"/>
                      <a:pt x="120" y="110"/>
                      <a:pt x="120" y="110"/>
                    </a:cubicBezTo>
                    <a:cubicBezTo>
                      <a:pt x="122" y="113"/>
                      <a:pt x="122" y="113"/>
                      <a:pt x="122" y="113"/>
                    </a:cubicBezTo>
                    <a:cubicBezTo>
                      <a:pt x="126" y="114"/>
                      <a:pt x="126" y="114"/>
                      <a:pt x="126" y="114"/>
                    </a:cubicBezTo>
                    <a:cubicBezTo>
                      <a:pt x="130" y="116"/>
                      <a:pt x="130" y="116"/>
                      <a:pt x="130" y="116"/>
                    </a:cubicBez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28" y="118"/>
                      <a:pt x="128" y="118"/>
                      <a:pt x="128" y="118"/>
                    </a:cubicBezTo>
                    <a:cubicBezTo>
                      <a:pt x="126" y="117"/>
                      <a:pt x="126" y="117"/>
                      <a:pt x="126" y="117"/>
                    </a:cubicBezTo>
                    <a:cubicBezTo>
                      <a:pt x="124" y="118"/>
                      <a:pt x="124" y="118"/>
                      <a:pt x="124" y="118"/>
                    </a:cubicBezTo>
                    <a:cubicBezTo>
                      <a:pt x="125" y="121"/>
                      <a:pt x="125" y="121"/>
                      <a:pt x="125" y="121"/>
                    </a:cubicBezTo>
                    <a:cubicBezTo>
                      <a:pt x="128" y="127"/>
                      <a:pt x="128" y="127"/>
                      <a:pt x="128" y="127"/>
                    </a:cubicBezTo>
                    <a:cubicBezTo>
                      <a:pt x="128" y="130"/>
                      <a:pt x="128" y="130"/>
                      <a:pt x="128" y="130"/>
                    </a:cubicBezTo>
                    <a:cubicBezTo>
                      <a:pt x="132" y="130"/>
                      <a:pt x="132" y="130"/>
                      <a:pt x="132" y="130"/>
                    </a:cubicBezTo>
                    <a:cubicBezTo>
                      <a:pt x="134" y="131"/>
                      <a:pt x="134" y="131"/>
                      <a:pt x="134" y="131"/>
                    </a:cubicBezTo>
                    <a:cubicBezTo>
                      <a:pt x="138" y="131"/>
                      <a:pt x="138" y="131"/>
                      <a:pt x="138" y="131"/>
                    </a:cubicBezTo>
                    <a:cubicBezTo>
                      <a:pt x="139" y="133"/>
                      <a:pt x="139" y="133"/>
                      <a:pt x="139" y="133"/>
                    </a:cubicBezTo>
                    <a:cubicBezTo>
                      <a:pt x="137" y="135"/>
                      <a:pt x="137" y="135"/>
                      <a:pt x="137" y="135"/>
                    </a:cubicBezTo>
                    <a:cubicBezTo>
                      <a:pt x="138" y="137"/>
                      <a:pt x="138" y="137"/>
                      <a:pt x="138" y="137"/>
                    </a:cubicBezTo>
                    <a:cubicBezTo>
                      <a:pt x="136" y="142"/>
                      <a:pt x="136" y="142"/>
                      <a:pt x="136" y="142"/>
                    </a:cubicBezTo>
                    <a:cubicBezTo>
                      <a:pt x="133" y="141"/>
                      <a:pt x="133" y="141"/>
                      <a:pt x="133" y="141"/>
                    </a:cubicBezTo>
                    <a:cubicBezTo>
                      <a:pt x="130" y="138"/>
                      <a:pt x="130" y="138"/>
                      <a:pt x="130" y="138"/>
                    </a:cubicBezTo>
                    <a:cubicBezTo>
                      <a:pt x="133" y="136"/>
                      <a:pt x="133" y="136"/>
                      <a:pt x="133" y="136"/>
                    </a:cubicBezTo>
                    <a:cubicBezTo>
                      <a:pt x="133" y="134"/>
                      <a:pt x="133" y="134"/>
                      <a:pt x="133" y="134"/>
                    </a:cubicBezTo>
                    <a:cubicBezTo>
                      <a:pt x="130" y="133"/>
                      <a:pt x="130" y="133"/>
                      <a:pt x="130" y="133"/>
                    </a:cubicBezTo>
                    <a:cubicBezTo>
                      <a:pt x="130" y="135"/>
                      <a:pt x="130" y="135"/>
                      <a:pt x="130" y="135"/>
                    </a:cubicBezTo>
                    <a:cubicBezTo>
                      <a:pt x="127" y="136"/>
                      <a:pt x="127" y="136"/>
                      <a:pt x="127" y="136"/>
                    </a:cubicBezTo>
                    <a:cubicBezTo>
                      <a:pt x="123" y="131"/>
                      <a:pt x="123" y="131"/>
                      <a:pt x="123" y="131"/>
                    </a:cubicBezTo>
                    <a:cubicBezTo>
                      <a:pt x="120" y="130"/>
                      <a:pt x="120" y="130"/>
                      <a:pt x="120" y="130"/>
                    </a:cubicBezTo>
                    <a:cubicBezTo>
                      <a:pt x="120" y="126"/>
                      <a:pt x="120" y="126"/>
                      <a:pt x="120" y="126"/>
                    </a:cubicBezTo>
                    <a:cubicBezTo>
                      <a:pt x="118" y="122"/>
                      <a:pt x="118" y="122"/>
                      <a:pt x="118" y="122"/>
                    </a:cubicBezTo>
                    <a:cubicBezTo>
                      <a:pt x="113" y="120"/>
                      <a:pt x="113" y="120"/>
                      <a:pt x="113" y="120"/>
                    </a:cubicBezTo>
                    <a:cubicBezTo>
                      <a:pt x="110" y="116"/>
                      <a:pt x="110" y="116"/>
                      <a:pt x="110" y="116"/>
                    </a:cubicBezTo>
                    <a:cubicBezTo>
                      <a:pt x="108" y="115"/>
                      <a:pt x="108" y="115"/>
                      <a:pt x="108" y="115"/>
                    </a:cubicBezTo>
                    <a:cubicBezTo>
                      <a:pt x="105" y="113"/>
                      <a:pt x="105" y="113"/>
                      <a:pt x="105" y="113"/>
                    </a:cubicBezTo>
                    <a:cubicBezTo>
                      <a:pt x="103" y="112"/>
                      <a:pt x="103" y="112"/>
                      <a:pt x="103" y="112"/>
                    </a:cubicBezTo>
                    <a:cubicBezTo>
                      <a:pt x="103" y="114"/>
                      <a:pt x="103" y="114"/>
                      <a:pt x="103" y="114"/>
                    </a:cubicBezTo>
                    <a:cubicBezTo>
                      <a:pt x="107" y="121"/>
                      <a:pt x="107" y="121"/>
                      <a:pt x="107" y="121"/>
                    </a:cubicBezTo>
                    <a:cubicBezTo>
                      <a:pt x="108" y="127"/>
                      <a:pt x="108" y="127"/>
                      <a:pt x="108" y="127"/>
                    </a:cubicBezTo>
                    <a:cubicBezTo>
                      <a:pt x="107" y="127"/>
                      <a:pt x="107" y="127"/>
                      <a:pt x="107" y="127"/>
                    </a:cubicBezTo>
                    <a:cubicBezTo>
                      <a:pt x="103" y="121"/>
                      <a:pt x="103" y="121"/>
                      <a:pt x="103" y="121"/>
                    </a:cubicBezTo>
                    <a:cubicBezTo>
                      <a:pt x="99" y="118"/>
                      <a:pt x="99" y="118"/>
                      <a:pt x="99" y="118"/>
                    </a:cubicBezTo>
                    <a:cubicBezTo>
                      <a:pt x="97" y="116"/>
                      <a:pt x="97" y="116"/>
                      <a:pt x="97" y="116"/>
                    </a:cubicBezTo>
                    <a:cubicBezTo>
                      <a:pt x="89" y="112"/>
                      <a:pt x="89" y="112"/>
                      <a:pt x="89" y="112"/>
                    </a:cubicBezTo>
                    <a:cubicBezTo>
                      <a:pt x="85" y="113"/>
                      <a:pt x="85" y="113"/>
                      <a:pt x="85" y="113"/>
                    </a:cubicBezTo>
                    <a:cubicBezTo>
                      <a:pt x="83" y="115"/>
                      <a:pt x="83" y="115"/>
                      <a:pt x="83" y="115"/>
                    </a:cubicBezTo>
                    <a:cubicBezTo>
                      <a:pt x="84" y="118"/>
                      <a:pt x="84" y="118"/>
                      <a:pt x="84" y="118"/>
                    </a:cubicBezTo>
                    <a:cubicBezTo>
                      <a:pt x="80" y="120"/>
                      <a:pt x="80" y="120"/>
                      <a:pt x="80" y="120"/>
                    </a:cubicBezTo>
                    <a:cubicBezTo>
                      <a:pt x="76" y="116"/>
                      <a:pt x="76" y="116"/>
                      <a:pt x="76" y="116"/>
                    </a:cubicBezTo>
                    <a:cubicBezTo>
                      <a:pt x="73" y="118"/>
                      <a:pt x="73" y="118"/>
                      <a:pt x="73" y="118"/>
                    </a:cubicBezTo>
                    <a:cubicBezTo>
                      <a:pt x="70" y="119"/>
                      <a:pt x="70" y="119"/>
                      <a:pt x="70" y="119"/>
                    </a:cubicBezTo>
                    <a:cubicBezTo>
                      <a:pt x="72" y="116"/>
                      <a:pt x="72" y="116"/>
                      <a:pt x="72" y="116"/>
                    </a:cubicBezTo>
                    <a:cubicBezTo>
                      <a:pt x="70" y="112"/>
                      <a:pt x="70" y="112"/>
                      <a:pt x="70" y="112"/>
                    </a:cubicBezTo>
                    <a:cubicBezTo>
                      <a:pt x="68" y="113"/>
                      <a:pt x="68" y="113"/>
                      <a:pt x="68" y="113"/>
                    </a:cubicBezTo>
                    <a:cubicBezTo>
                      <a:pt x="67" y="117"/>
                      <a:pt x="67" y="117"/>
                      <a:pt x="67" y="117"/>
                    </a:cubicBezTo>
                    <a:cubicBezTo>
                      <a:pt x="65" y="113"/>
                      <a:pt x="65" y="113"/>
                      <a:pt x="65" y="113"/>
                    </a:cubicBezTo>
                    <a:cubicBezTo>
                      <a:pt x="65" y="108"/>
                      <a:pt x="65" y="108"/>
                      <a:pt x="65" y="108"/>
                    </a:cubicBezTo>
                    <a:cubicBezTo>
                      <a:pt x="65" y="106"/>
                      <a:pt x="65" y="106"/>
                      <a:pt x="65" y="106"/>
                    </a:cubicBezTo>
                    <a:cubicBezTo>
                      <a:pt x="67" y="104"/>
                      <a:pt x="67" y="104"/>
                      <a:pt x="67" y="104"/>
                    </a:cubicBezTo>
                    <a:cubicBezTo>
                      <a:pt x="71" y="99"/>
                      <a:pt x="71" y="99"/>
                      <a:pt x="71" y="99"/>
                    </a:cubicBezTo>
                    <a:cubicBezTo>
                      <a:pt x="67" y="96"/>
                      <a:pt x="67" y="96"/>
                      <a:pt x="67" y="96"/>
                    </a:cubicBezTo>
                    <a:cubicBezTo>
                      <a:pt x="63" y="96"/>
                      <a:pt x="63" y="96"/>
                      <a:pt x="63" y="96"/>
                    </a:cubicBezTo>
                    <a:cubicBezTo>
                      <a:pt x="63" y="98"/>
                      <a:pt x="63" y="98"/>
                      <a:pt x="63" y="98"/>
                    </a:cubicBezTo>
                    <a:cubicBezTo>
                      <a:pt x="65" y="100"/>
                      <a:pt x="65" y="100"/>
                      <a:pt x="65" y="100"/>
                    </a:cubicBezTo>
                    <a:cubicBezTo>
                      <a:pt x="63" y="103"/>
                      <a:pt x="63" y="103"/>
                      <a:pt x="63" y="103"/>
                    </a:cubicBezTo>
                    <a:cubicBezTo>
                      <a:pt x="61" y="103"/>
                      <a:pt x="61" y="103"/>
                      <a:pt x="61" y="103"/>
                    </a:cubicBezTo>
                    <a:cubicBezTo>
                      <a:pt x="57" y="98"/>
                      <a:pt x="57" y="98"/>
                      <a:pt x="57" y="98"/>
                    </a:cubicBezTo>
                    <a:cubicBezTo>
                      <a:pt x="57" y="94"/>
                      <a:pt x="57" y="94"/>
                      <a:pt x="57" y="94"/>
                    </a:cubicBezTo>
                    <a:cubicBezTo>
                      <a:pt x="55" y="94"/>
                      <a:pt x="55" y="94"/>
                      <a:pt x="55" y="94"/>
                    </a:cubicBezTo>
                    <a:cubicBezTo>
                      <a:pt x="54" y="95"/>
                      <a:pt x="54" y="95"/>
                      <a:pt x="54" y="95"/>
                    </a:cubicBezTo>
                    <a:cubicBezTo>
                      <a:pt x="52" y="94"/>
                      <a:pt x="52" y="94"/>
                      <a:pt x="52" y="94"/>
                    </a:cubicBezTo>
                    <a:cubicBezTo>
                      <a:pt x="52" y="87"/>
                      <a:pt x="52" y="87"/>
                      <a:pt x="52" y="87"/>
                    </a:cubicBezTo>
                    <a:cubicBezTo>
                      <a:pt x="49" y="82"/>
                      <a:pt x="49" y="82"/>
                      <a:pt x="49" y="82"/>
                    </a:cubicBezTo>
                    <a:cubicBezTo>
                      <a:pt x="48" y="77"/>
                      <a:pt x="48" y="77"/>
                      <a:pt x="48" y="77"/>
                    </a:cubicBezTo>
                    <a:cubicBezTo>
                      <a:pt x="49" y="74"/>
                      <a:pt x="49" y="74"/>
                      <a:pt x="49" y="74"/>
                    </a:cubicBezTo>
                    <a:cubicBezTo>
                      <a:pt x="48" y="73"/>
                      <a:pt x="48" y="73"/>
                      <a:pt x="48" y="73"/>
                    </a:cubicBezTo>
                    <a:cubicBezTo>
                      <a:pt x="46" y="73"/>
                      <a:pt x="46" y="73"/>
                      <a:pt x="46" y="73"/>
                    </a:cubicBezTo>
                    <a:cubicBezTo>
                      <a:pt x="45" y="69"/>
                      <a:pt x="45" y="69"/>
                      <a:pt x="45" y="69"/>
                    </a:cubicBezTo>
                    <a:cubicBezTo>
                      <a:pt x="46" y="64"/>
                      <a:pt x="46" y="64"/>
                      <a:pt x="46" y="64"/>
                    </a:cubicBezTo>
                    <a:cubicBezTo>
                      <a:pt x="48" y="67"/>
                      <a:pt x="48" y="67"/>
                      <a:pt x="48" y="67"/>
                    </a:cubicBezTo>
                    <a:cubicBezTo>
                      <a:pt x="52" y="68"/>
                      <a:pt x="52" y="68"/>
                      <a:pt x="52" y="68"/>
                    </a:cubicBezTo>
                    <a:cubicBezTo>
                      <a:pt x="54" y="66"/>
                      <a:pt x="54" y="66"/>
                      <a:pt x="54" y="66"/>
                    </a:cubicBezTo>
                    <a:cubicBezTo>
                      <a:pt x="54" y="64"/>
                      <a:pt x="54" y="64"/>
                      <a:pt x="54" y="64"/>
                    </a:cubicBezTo>
                    <a:cubicBezTo>
                      <a:pt x="51" y="58"/>
                      <a:pt x="51" y="58"/>
                      <a:pt x="51" y="58"/>
                    </a:cubicBezTo>
                    <a:cubicBezTo>
                      <a:pt x="53" y="53"/>
                      <a:pt x="53" y="53"/>
                      <a:pt x="53" y="53"/>
                    </a:cubicBezTo>
                    <a:cubicBezTo>
                      <a:pt x="55" y="44"/>
                      <a:pt x="55" y="44"/>
                      <a:pt x="55" y="44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4" y="32"/>
                      <a:pt x="54" y="32"/>
                      <a:pt x="54" y="32"/>
                    </a:cubicBezTo>
                    <a:cubicBezTo>
                      <a:pt x="58" y="24"/>
                      <a:pt x="58" y="24"/>
                      <a:pt x="58" y="24"/>
                    </a:cubicBezTo>
                    <a:cubicBezTo>
                      <a:pt x="59" y="20"/>
                      <a:pt x="59" y="20"/>
                      <a:pt x="59" y="20"/>
                    </a:cubicBezTo>
                    <a:cubicBezTo>
                      <a:pt x="64" y="18"/>
                      <a:pt x="64" y="18"/>
                      <a:pt x="64" y="18"/>
                    </a:cubicBezTo>
                    <a:cubicBezTo>
                      <a:pt x="72" y="20"/>
                      <a:pt x="72" y="20"/>
                      <a:pt x="72" y="20"/>
                    </a:cubicBezTo>
                    <a:cubicBezTo>
                      <a:pt x="75" y="23"/>
                      <a:pt x="75" y="23"/>
                      <a:pt x="75" y="23"/>
                    </a:cubicBezTo>
                    <a:cubicBezTo>
                      <a:pt x="78" y="25"/>
                      <a:pt x="78" y="25"/>
                      <a:pt x="78" y="25"/>
                    </a:cubicBezTo>
                    <a:cubicBezTo>
                      <a:pt x="79" y="23"/>
                      <a:pt x="79" y="23"/>
                      <a:pt x="79" y="23"/>
                    </a:cubicBezTo>
                    <a:cubicBezTo>
                      <a:pt x="84" y="23"/>
                      <a:pt x="84" y="23"/>
                      <a:pt x="84" y="23"/>
                    </a:cubicBezTo>
                    <a:cubicBezTo>
                      <a:pt x="87" y="21"/>
                      <a:pt x="87" y="21"/>
                      <a:pt x="87" y="21"/>
                    </a:cubicBezTo>
                    <a:cubicBezTo>
                      <a:pt x="87" y="19"/>
                      <a:pt x="87" y="19"/>
                      <a:pt x="87" y="19"/>
                    </a:cubicBezTo>
                    <a:cubicBezTo>
                      <a:pt x="89" y="19"/>
                      <a:pt x="89" y="19"/>
                      <a:pt x="89" y="19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1" y="24"/>
                      <a:pt x="91" y="24"/>
                      <a:pt x="91" y="24"/>
                    </a:cubicBezTo>
                    <a:cubicBezTo>
                      <a:pt x="89" y="27"/>
                      <a:pt x="89" y="27"/>
                      <a:pt x="89" y="27"/>
                    </a:cubicBezTo>
                    <a:cubicBezTo>
                      <a:pt x="88" y="34"/>
                      <a:pt x="88" y="34"/>
                      <a:pt x="88" y="34"/>
                    </a:cubicBezTo>
                    <a:cubicBezTo>
                      <a:pt x="91" y="40"/>
                      <a:pt x="91" y="40"/>
                      <a:pt x="91" y="40"/>
                    </a:cubicBezTo>
                    <a:cubicBezTo>
                      <a:pt x="94" y="41"/>
                      <a:pt x="94" y="41"/>
                      <a:pt x="94" y="41"/>
                    </a:cubicBezTo>
                    <a:cubicBezTo>
                      <a:pt x="95" y="45"/>
                      <a:pt x="95" y="45"/>
                      <a:pt x="95" y="45"/>
                    </a:cubicBezTo>
                    <a:cubicBezTo>
                      <a:pt x="97" y="48"/>
                      <a:pt x="97" y="48"/>
                      <a:pt x="97" y="48"/>
                    </a:cubicBezTo>
                    <a:cubicBezTo>
                      <a:pt x="95" y="56"/>
                      <a:pt x="95" y="56"/>
                      <a:pt x="95" y="56"/>
                    </a:cubicBezTo>
                    <a:cubicBezTo>
                      <a:pt x="93" y="62"/>
                      <a:pt x="93" y="62"/>
                      <a:pt x="93" y="62"/>
                    </a:cubicBezTo>
                    <a:cubicBezTo>
                      <a:pt x="94" y="66"/>
                      <a:pt x="94" y="66"/>
                      <a:pt x="94" y="66"/>
                    </a:cubicBezTo>
                    <a:cubicBezTo>
                      <a:pt x="90" y="71"/>
                      <a:pt x="90" y="71"/>
                      <a:pt x="90" y="71"/>
                    </a:cubicBezTo>
                    <a:cubicBezTo>
                      <a:pt x="90" y="69"/>
                      <a:pt x="90" y="69"/>
                      <a:pt x="90" y="69"/>
                    </a:cubicBezTo>
                    <a:cubicBezTo>
                      <a:pt x="91" y="66"/>
                      <a:pt x="91" y="66"/>
                      <a:pt x="91" y="66"/>
                    </a:cubicBezTo>
                    <a:cubicBezTo>
                      <a:pt x="89" y="68"/>
                      <a:pt x="89" y="68"/>
                      <a:pt x="89" y="68"/>
                    </a:cubicBezTo>
                    <a:cubicBezTo>
                      <a:pt x="83" y="73"/>
                      <a:pt x="83" y="73"/>
                      <a:pt x="83" y="73"/>
                    </a:cubicBezTo>
                    <a:cubicBezTo>
                      <a:pt x="82" y="77"/>
                      <a:pt x="82" y="77"/>
                      <a:pt x="82" y="77"/>
                    </a:cubicBezTo>
                    <a:cubicBezTo>
                      <a:pt x="82" y="81"/>
                      <a:pt x="82" y="81"/>
                      <a:pt x="82" y="81"/>
                    </a:cubicBezTo>
                    <a:cubicBezTo>
                      <a:pt x="80" y="84"/>
                      <a:pt x="80" y="84"/>
                      <a:pt x="80" y="84"/>
                    </a:cubicBezTo>
                    <a:cubicBezTo>
                      <a:pt x="80" y="88"/>
                      <a:pt x="80" y="88"/>
                      <a:pt x="80" y="88"/>
                    </a:cubicBezTo>
                    <a:cubicBezTo>
                      <a:pt x="82" y="90"/>
                      <a:pt x="82" y="90"/>
                      <a:pt x="82" y="90"/>
                    </a:cubicBezTo>
                    <a:cubicBezTo>
                      <a:pt x="84" y="95"/>
                      <a:pt x="84" y="95"/>
                      <a:pt x="84" y="95"/>
                    </a:cubicBezTo>
                    <a:cubicBezTo>
                      <a:pt x="86" y="97"/>
                      <a:pt x="86" y="97"/>
                      <a:pt x="86" y="97"/>
                    </a:cubicBezTo>
                    <a:cubicBezTo>
                      <a:pt x="85" y="99"/>
                      <a:pt x="85" y="99"/>
                      <a:pt x="85" y="99"/>
                    </a:cubicBezTo>
                    <a:cubicBezTo>
                      <a:pt x="85" y="103"/>
                      <a:pt x="85" y="103"/>
                      <a:pt x="85" y="103"/>
                    </a:cubicBezTo>
                    <a:close/>
                    <a:moveTo>
                      <a:pt x="92" y="105"/>
                    </a:moveTo>
                    <a:cubicBezTo>
                      <a:pt x="92" y="108"/>
                      <a:pt x="92" y="108"/>
                      <a:pt x="92" y="108"/>
                    </a:cubicBezTo>
                    <a:cubicBezTo>
                      <a:pt x="95" y="109"/>
                      <a:pt x="95" y="109"/>
                      <a:pt x="95" y="109"/>
                    </a:cubicBezTo>
                    <a:cubicBezTo>
                      <a:pt x="94" y="106"/>
                      <a:pt x="94" y="106"/>
                      <a:pt x="94" y="106"/>
                    </a:cubicBezTo>
                    <a:cubicBezTo>
                      <a:pt x="92" y="105"/>
                      <a:pt x="92" y="105"/>
                      <a:pt x="92" y="105"/>
                    </a:cubicBezTo>
                    <a:close/>
                    <a:moveTo>
                      <a:pt x="88" y="91"/>
                    </a:moveTo>
                    <a:cubicBezTo>
                      <a:pt x="90" y="96"/>
                      <a:pt x="90" y="96"/>
                      <a:pt x="90" y="96"/>
                    </a:cubicBezTo>
                    <a:cubicBezTo>
                      <a:pt x="90" y="97"/>
                      <a:pt x="90" y="97"/>
                      <a:pt x="90" y="97"/>
                    </a:cubicBezTo>
                    <a:cubicBezTo>
                      <a:pt x="90" y="100"/>
                      <a:pt x="90" y="100"/>
                      <a:pt x="90" y="100"/>
                    </a:cubicBezTo>
                    <a:cubicBezTo>
                      <a:pt x="93" y="97"/>
                      <a:pt x="93" y="97"/>
                      <a:pt x="93" y="97"/>
                    </a:cubicBezTo>
                    <a:cubicBezTo>
                      <a:pt x="93" y="92"/>
                      <a:pt x="93" y="92"/>
                      <a:pt x="93" y="92"/>
                    </a:cubicBezTo>
                    <a:cubicBezTo>
                      <a:pt x="95" y="90"/>
                      <a:pt x="95" y="90"/>
                      <a:pt x="95" y="90"/>
                    </a:cubicBezTo>
                    <a:cubicBezTo>
                      <a:pt x="93" y="88"/>
                      <a:pt x="93" y="88"/>
                      <a:pt x="93" y="88"/>
                    </a:cubicBezTo>
                    <a:cubicBezTo>
                      <a:pt x="88" y="91"/>
                      <a:pt x="88" y="91"/>
                      <a:pt x="88" y="91"/>
                    </a:cubicBezTo>
                    <a:close/>
                    <a:moveTo>
                      <a:pt x="54" y="114"/>
                    </a:moveTo>
                    <a:cubicBezTo>
                      <a:pt x="55" y="117"/>
                      <a:pt x="55" y="117"/>
                      <a:pt x="55" y="117"/>
                    </a:cubicBezTo>
                    <a:cubicBezTo>
                      <a:pt x="59" y="119"/>
                      <a:pt x="59" y="119"/>
                      <a:pt x="59" y="119"/>
                    </a:cubicBezTo>
                    <a:cubicBezTo>
                      <a:pt x="60" y="118"/>
                      <a:pt x="60" y="118"/>
                      <a:pt x="60" y="118"/>
                    </a:cubicBezTo>
                    <a:cubicBezTo>
                      <a:pt x="57" y="114"/>
                      <a:pt x="57" y="114"/>
                      <a:pt x="57" y="114"/>
                    </a:cubicBezTo>
                    <a:cubicBezTo>
                      <a:pt x="54" y="114"/>
                      <a:pt x="54" y="114"/>
                      <a:pt x="54" y="114"/>
                    </a:cubicBezTo>
                    <a:close/>
                    <a:moveTo>
                      <a:pt x="61" y="122"/>
                    </a:moveTo>
                    <a:cubicBezTo>
                      <a:pt x="62" y="124"/>
                      <a:pt x="62" y="124"/>
                      <a:pt x="62" y="124"/>
                    </a:cubicBezTo>
                    <a:cubicBezTo>
                      <a:pt x="64" y="124"/>
                      <a:pt x="64" y="124"/>
                      <a:pt x="64" y="124"/>
                    </a:cubicBezTo>
                    <a:cubicBezTo>
                      <a:pt x="65" y="128"/>
                      <a:pt x="65" y="128"/>
                      <a:pt x="65" y="128"/>
                    </a:cubicBezTo>
                    <a:cubicBezTo>
                      <a:pt x="68" y="129"/>
                      <a:pt x="68" y="129"/>
                      <a:pt x="68" y="129"/>
                    </a:cubicBezTo>
                    <a:cubicBezTo>
                      <a:pt x="70" y="132"/>
                      <a:pt x="70" y="132"/>
                      <a:pt x="70" y="132"/>
                    </a:cubicBezTo>
                    <a:cubicBezTo>
                      <a:pt x="70" y="138"/>
                      <a:pt x="70" y="138"/>
                      <a:pt x="70" y="138"/>
                    </a:cubicBezTo>
                    <a:cubicBezTo>
                      <a:pt x="73" y="140"/>
                      <a:pt x="73" y="140"/>
                      <a:pt x="73" y="140"/>
                    </a:cubicBezTo>
                    <a:cubicBezTo>
                      <a:pt x="74" y="143"/>
                      <a:pt x="74" y="143"/>
                      <a:pt x="74" y="143"/>
                    </a:cubicBezTo>
                    <a:cubicBezTo>
                      <a:pt x="77" y="148"/>
                      <a:pt x="77" y="148"/>
                      <a:pt x="77" y="148"/>
                    </a:cubicBezTo>
                    <a:cubicBezTo>
                      <a:pt x="80" y="148"/>
                      <a:pt x="80" y="148"/>
                      <a:pt x="80" y="148"/>
                    </a:cubicBezTo>
                    <a:cubicBezTo>
                      <a:pt x="84" y="145"/>
                      <a:pt x="84" y="145"/>
                      <a:pt x="84" y="145"/>
                    </a:cubicBezTo>
                    <a:cubicBezTo>
                      <a:pt x="84" y="142"/>
                      <a:pt x="84" y="142"/>
                      <a:pt x="84" y="142"/>
                    </a:cubicBezTo>
                    <a:cubicBezTo>
                      <a:pt x="86" y="141"/>
                      <a:pt x="86" y="141"/>
                      <a:pt x="86" y="141"/>
                    </a:cubicBezTo>
                    <a:cubicBezTo>
                      <a:pt x="86" y="138"/>
                      <a:pt x="86" y="138"/>
                      <a:pt x="86" y="138"/>
                    </a:cubicBezTo>
                    <a:cubicBezTo>
                      <a:pt x="84" y="135"/>
                      <a:pt x="84" y="135"/>
                      <a:pt x="84" y="135"/>
                    </a:cubicBezTo>
                    <a:cubicBezTo>
                      <a:pt x="85" y="133"/>
                      <a:pt x="85" y="133"/>
                      <a:pt x="85" y="133"/>
                    </a:cubicBezTo>
                    <a:cubicBezTo>
                      <a:pt x="85" y="129"/>
                      <a:pt x="85" y="129"/>
                      <a:pt x="85" y="129"/>
                    </a:cubicBezTo>
                    <a:cubicBezTo>
                      <a:pt x="81" y="128"/>
                      <a:pt x="81" y="128"/>
                      <a:pt x="81" y="128"/>
                    </a:cubicBezTo>
                    <a:cubicBezTo>
                      <a:pt x="73" y="121"/>
                      <a:pt x="73" y="121"/>
                      <a:pt x="73" y="121"/>
                    </a:cubicBezTo>
                    <a:cubicBezTo>
                      <a:pt x="69" y="122"/>
                      <a:pt x="69" y="122"/>
                      <a:pt x="69" y="122"/>
                    </a:cubicBezTo>
                    <a:cubicBezTo>
                      <a:pt x="64" y="120"/>
                      <a:pt x="64" y="120"/>
                      <a:pt x="64" y="120"/>
                    </a:cubicBezTo>
                    <a:cubicBezTo>
                      <a:pt x="61" y="122"/>
                      <a:pt x="61" y="122"/>
                      <a:pt x="61" y="122"/>
                    </a:cubicBezTo>
                    <a:close/>
                    <a:moveTo>
                      <a:pt x="137" y="109"/>
                    </a:moveTo>
                    <a:cubicBezTo>
                      <a:pt x="135" y="111"/>
                      <a:pt x="135" y="111"/>
                      <a:pt x="135" y="111"/>
                    </a:cubicBezTo>
                    <a:cubicBezTo>
                      <a:pt x="136" y="115"/>
                      <a:pt x="136" y="115"/>
                      <a:pt x="136" y="115"/>
                    </a:cubicBezTo>
                    <a:cubicBezTo>
                      <a:pt x="135" y="118"/>
                      <a:pt x="135" y="118"/>
                      <a:pt x="135" y="118"/>
                    </a:cubicBezTo>
                    <a:cubicBezTo>
                      <a:pt x="134" y="119"/>
                      <a:pt x="134" y="119"/>
                      <a:pt x="134" y="119"/>
                    </a:cubicBezTo>
                    <a:cubicBezTo>
                      <a:pt x="135" y="121"/>
                      <a:pt x="135" y="121"/>
                      <a:pt x="135" y="121"/>
                    </a:cubicBezTo>
                    <a:cubicBezTo>
                      <a:pt x="140" y="120"/>
                      <a:pt x="140" y="120"/>
                      <a:pt x="140" y="120"/>
                    </a:cubicBezTo>
                    <a:cubicBezTo>
                      <a:pt x="142" y="116"/>
                      <a:pt x="142" y="116"/>
                      <a:pt x="142" y="116"/>
                    </a:cubicBezTo>
                    <a:cubicBezTo>
                      <a:pt x="140" y="112"/>
                      <a:pt x="140" y="112"/>
                      <a:pt x="140" y="112"/>
                    </a:cubicBezTo>
                    <a:cubicBezTo>
                      <a:pt x="137" y="109"/>
                      <a:pt x="137" y="109"/>
                      <a:pt x="137" y="109"/>
                    </a:cubicBezTo>
                    <a:close/>
                    <a:moveTo>
                      <a:pt x="90" y="124"/>
                    </a:moveTo>
                    <a:cubicBezTo>
                      <a:pt x="95" y="127"/>
                      <a:pt x="95" y="127"/>
                      <a:pt x="95" y="127"/>
                    </a:cubicBezTo>
                    <a:cubicBezTo>
                      <a:pt x="96" y="125"/>
                      <a:pt x="96" y="125"/>
                      <a:pt x="96" y="125"/>
                    </a:cubicBezTo>
                    <a:cubicBezTo>
                      <a:pt x="97" y="123"/>
                      <a:pt x="97" y="123"/>
                      <a:pt x="97" y="123"/>
                    </a:cubicBezTo>
                    <a:cubicBezTo>
                      <a:pt x="95" y="120"/>
                      <a:pt x="95" y="120"/>
                      <a:pt x="95" y="120"/>
                    </a:cubicBezTo>
                    <a:cubicBezTo>
                      <a:pt x="92" y="119"/>
                      <a:pt x="92" y="119"/>
                      <a:pt x="92" y="119"/>
                    </a:cubicBezTo>
                    <a:cubicBezTo>
                      <a:pt x="90" y="122"/>
                      <a:pt x="90" y="122"/>
                      <a:pt x="90" y="122"/>
                    </a:cubicBezTo>
                    <a:cubicBezTo>
                      <a:pt x="90" y="124"/>
                      <a:pt x="90" y="124"/>
                      <a:pt x="90" y="124"/>
                    </a:cubicBezTo>
                    <a:close/>
                    <a:moveTo>
                      <a:pt x="98" y="138"/>
                    </a:moveTo>
                    <a:cubicBezTo>
                      <a:pt x="96" y="142"/>
                      <a:pt x="96" y="142"/>
                      <a:pt x="96" y="142"/>
                    </a:cubicBezTo>
                    <a:cubicBezTo>
                      <a:pt x="94" y="145"/>
                      <a:pt x="94" y="145"/>
                      <a:pt x="94" y="145"/>
                    </a:cubicBezTo>
                    <a:cubicBezTo>
                      <a:pt x="96" y="150"/>
                      <a:pt x="96" y="150"/>
                      <a:pt x="96" y="150"/>
                    </a:cubicBezTo>
                    <a:cubicBezTo>
                      <a:pt x="98" y="149"/>
                      <a:pt x="98" y="149"/>
                      <a:pt x="98" y="149"/>
                    </a:cubicBezTo>
                    <a:cubicBezTo>
                      <a:pt x="100" y="145"/>
                      <a:pt x="100" y="145"/>
                      <a:pt x="100" y="145"/>
                    </a:cubicBezTo>
                    <a:cubicBezTo>
                      <a:pt x="99" y="141"/>
                      <a:pt x="99" y="141"/>
                      <a:pt x="99" y="141"/>
                    </a:cubicBezTo>
                    <a:cubicBezTo>
                      <a:pt x="100" y="137"/>
                      <a:pt x="100" y="137"/>
                      <a:pt x="100" y="137"/>
                    </a:cubicBezTo>
                    <a:cubicBezTo>
                      <a:pt x="98" y="138"/>
                      <a:pt x="98" y="138"/>
                      <a:pt x="98" y="138"/>
                    </a:cubicBezTo>
                    <a:close/>
                    <a:moveTo>
                      <a:pt x="107" y="141"/>
                    </a:moveTo>
                    <a:cubicBezTo>
                      <a:pt x="105" y="143"/>
                      <a:pt x="105" y="143"/>
                      <a:pt x="105" y="143"/>
                    </a:cubicBezTo>
                    <a:cubicBezTo>
                      <a:pt x="106" y="145"/>
                      <a:pt x="106" y="145"/>
                      <a:pt x="106" y="145"/>
                    </a:cubicBezTo>
                    <a:cubicBezTo>
                      <a:pt x="109" y="145"/>
                      <a:pt x="109" y="145"/>
                      <a:pt x="109" y="145"/>
                    </a:cubicBezTo>
                    <a:cubicBezTo>
                      <a:pt x="110" y="143"/>
                      <a:pt x="110" y="143"/>
                      <a:pt x="110" y="143"/>
                    </a:cubicBezTo>
                    <a:cubicBezTo>
                      <a:pt x="107" y="141"/>
                      <a:pt x="107" y="141"/>
                      <a:pt x="107" y="141"/>
                    </a:cubicBezTo>
                    <a:close/>
                    <a:moveTo>
                      <a:pt x="119" y="132"/>
                    </a:moveTo>
                    <a:cubicBezTo>
                      <a:pt x="115" y="128"/>
                      <a:pt x="115" y="128"/>
                      <a:pt x="115" y="128"/>
                    </a:cubicBezTo>
                    <a:cubicBezTo>
                      <a:pt x="114" y="129"/>
                      <a:pt x="114" y="129"/>
                      <a:pt x="114" y="129"/>
                    </a:cubicBezTo>
                    <a:cubicBezTo>
                      <a:pt x="114" y="131"/>
                      <a:pt x="114" y="131"/>
                      <a:pt x="114" y="131"/>
                    </a:cubicBezTo>
                    <a:cubicBezTo>
                      <a:pt x="119" y="136"/>
                      <a:pt x="119" y="136"/>
                      <a:pt x="119" y="136"/>
                    </a:cubicBezTo>
                    <a:cubicBezTo>
                      <a:pt x="119" y="134"/>
                      <a:pt x="119" y="134"/>
                      <a:pt x="119" y="134"/>
                    </a:cubicBezTo>
                    <a:cubicBezTo>
                      <a:pt x="119" y="132"/>
                      <a:pt x="119" y="132"/>
                      <a:pt x="119" y="132"/>
                    </a:cubicBezTo>
                    <a:close/>
                    <a:moveTo>
                      <a:pt x="126" y="139"/>
                    </a:moveTo>
                    <a:cubicBezTo>
                      <a:pt x="127" y="141"/>
                      <a:pt x="127" y="141"/>
                      <a:pt x="127" y="141"/>
                    </a:cubicBezTo>
                    <a:cubicBezTo>
                      <a:pt x="130" y="144"/>
                      <a:pt x="130" y="144"/>
                      <a:pt x="130" y="144"/>
                    </a:cubicBezTo>
                    <a:cubicBezTo>
                      <a:pt x="132" y="144"/>
                      <a:pt x="132" y="144"/>
                      <a:pt x="132" y="144"/>
                    </a:cubicBezTo>
                    <a:cubicBezTo>
                      <a:pt x="129" y="140"/>
                      <a:pt x="129" y="140"/>
                      <a:pt x="129" y="140"/>
                    </a:cubicBezTo>
                    <a:cubicBezTo>
                      <a:pt x="126" y="139"/>
                      <a:pt x="126" y="139"/>
                      <a:pt x="126" y="139"/>
                    </a:cubicBezTo>
                    <a:close/>
                    <a:moveTo>
                      <a:pt x="120" y="153"/>
                    </a:moveTo>
                    <a:cubicBezTo>
                      <a:pt x="123" y="148"/>
                      <a:pt x="123" y="148"/>
                      <a:pt x="123" y="148"/>
                    </a:cubicBezTo>
                    <a:cubicBezTo>
                      <a:pt x="126" y="148"/>
                      <a:pt x="126" y="148"/>
                      <a:pt x="126" y="148"/>
                    </a:cubicBezTo>
                    <a:cubicBezTo>
                      <a:pt x="130" y="153"/>
                      <a:pt x="130" y="153"/>
                      <a:pt x="130" y="153"/>
                    </a:cubicBezTo>
                    <a:cubicBezTo>
                      <a:pt x="135" y="154"/>
                      <a:pt x="135" y="154"/>
                      <a:pt x="135" y="154"/>
                    </a:cubicBezTo>
                    <a:cubicBezTo>
                      <a:pt x="138" y="154"/>
                      <a:pt x="138" y="154"/>
                      <a:pt x="138" y="154"/>
                    </a:cubicBezTo>
                    <a:cubicBezTo>
                      <a:pt x="138" y="152"/>
                      <a:pt x="138" y="152"/>
                      <a:pt x="138" y="152"/>
                    </a:cubicBezTo>
                    <a:cubicBezTo>
                      <a:pt x="135" y="149"/>
                      <a:pt x="135" y="149"/>
                      <a:pt x="135" y="149"/>
                    </a:cubicBezTo>
                    <a:cubicBezTo>
                      <a:pt x="130" y="145"/>
                      <a:pt x="130" y="145"/>
                      <a:pt x="130" y="145"/>
                    </a:cubicBezTo>
                    <a:cubicBezTo>
                      <a:pt x="127" y="145"/>
                      <a:pt x="127" y="145"/>
                      <a:pt x="127" y="145"/>
                    </a:cubicBezTo>
                    <a:cubicBezTo>
                      <a:pt x="124" y="142"/>
                      <a:pt x="124" y="142"/>
                      <a:pt x="124" y="142"/>
                    </a:cubicBezTo>
                    <a:cubicBezTo>
                      <a:pt x="122" y="142"/>
                      <a:pt x="122" y="142"/>
                      <a:pt x="122" y="142"/>
                    </a:cubicBezTo>
                    <a:cubicBezTo>
                      <a:pt x="123" y="141"/>
                      <a:pt x="123" y="141"/>
                      <a:pt x="123" y="141"/>
                    </a:cubicBezTo>
                    <a:cubicBezTo>
                      <a:pt x="120" y="140"/>
                      <a:pt x="120" y="140"/>
                      <a:pt x="120" y="140"/>
                    </a:cubicBezTo>
                    <a:cubicBezTo>
                      <a:pt x="120" y="144"/>
                      <a:pt x="120" y="144"/>
                      <a:pt x="120" y="144"/>
                    </a:cubicBezTo>
                    <a:cubicBezTo>
                      <a:pt x="121" y="147"/>
                      <a:pt x="121" y="147"/>
                      <a:pt x="121" y="147"/>
                    </a:cubicBezTo>
                    <a:cubicBezTo>
                      <a:pt x="119" y="148"/>
                      <a:pt x="119" y="148"/>
                      <a:pt x="119" y="148"/>
                    </a:cubicBezTo>
                    <a:cubicBezTo>
                      <a:pt x="119" y="151"/>
                      <a:pt x="119" y="151"/>
                      <a:pt x="119" y="151"/>
                    </a:cubicBezTo>
                    <a:cubicBezTo>
                      <a:pt x="120" y="153"/>
                      <a:pt x="120" y="153"/>
                      <a:pt x="120" y="153"/>
                    </a:cubicBezTo>
                    <a:close/>
                    <a:moveTo>
                      <a:pt x="101" y="180"/>
                    </a:moveTo>
                    <a:cubicBezTo>
                      <a:pt x="100" y="181"/>
                      <a:pt x="100" y="181"/>
                      <a:pt x="100" y="181"/>
                    </a:cubicBezTo>
                    <a:cubicBezTo>
                      <a:pt x="98" y="182"/>
                      <a:pt x="98" y="182"/>
                      <a:pt x="98" y="182"/>
                    </a:cubicBezTo>
                    <a:cubicBezTo>
                      <a:pt x="97" y="176"/>
                      <a:pt x="97" y="176"/>
                      <a:pt x="97" y="176"/>
                    </a:cubicBezTo>
                    <a:cubicBezTo>
                      <a:pt x="98" y="171"/>
                      <a:pt x="98" y="171"/>
                      <a:pt x="98" y="171"/>
                    </a:cubicBezTo>
                    <a:cubicBezTo>
                      <a:pt x="98" y="165"/>
                      <a:pt x="98" y="165"/>
                      <a:pt x="98" y="165"/>
                    </a:cubicBezTo>
                    <a:cubicBezTo>
                      <a:pt x="99" y="161"/>
                      <a:pt x="99" y="161"/>
                      <a:pt x="99" y="161"/>
                    </a:cubicBezTo>
                    <a:cubicBezTo>
                      <a:pt x="99" y="158"/>
                      <a:pt x="99" y="158"/>
                      <a:pt x="99" y="158"/>
                    </a:cubicBezTo>
                    <a:cubicBezTo>
                      <a:pt x="97" y="157"/>
                      <a:pt x="97" y="157"/>
                      <a:pt x="97" y="157"/>
                    </a:cubicBezTo>
                    <a:cubicBezTo>
                      <a:pt x="93" y="156"/>
                      <a:pt x="93" y="156"/>
                      <a:pt x="93" y="156"/>
                    </a:cubicBezTo>
                    <a:cubicBezTo>
                      <a:pt x="94" y="154"/>
                      <a:pt x="94" y="154"/>
                      <a:pt x="94" y="154"/>
                    </a:cubicBezTo>
                    <a:cubicBezTo>
                      <a:pt x="98" y="153"/>
                      <a:pt x="98" y="153"/>
                      <a:pt x="98" y="153"/>
                    </a:cubicBezTo>
                    <a:cubicBezTo>
                      <a:pt x="101" y="156"/>
                      <a:pt x="101" y="156"/>
                      <a:pt x="101" y="156"/>
                    </a:cubicBezTo>
                    <a:cubicBezTo>
                      <a:pt x="104" y="157"/>
                      <a:pt x="104" y="157"/>
                      <a:pt x="104" y="157"/>
                    </a:cubicBezTo>
                    <a:cubicBezTo>
                      <a:pt x="103" y="159"/>
                      <a:pt x="103" y="159"/>
                      <a:pt x="103" y="159"/>
                    </a:cubicBezTo>
                    <a:cubicBezTo>
                      <a:pt x="105" y="159"/>
                      <a:pt x="105" y="159"/>
                      <a:pt x="105" y="159"/>
                    </a:cubicBezTo>
                    <a:cubicBezTo>
                      <a:pt x="110" y="159"/>
                      <a:pt x="110" y="159"/>
                      <a:pt x="110" y="159"/>
                    </a:cubicBezTo>
                    <a:cubicBezTo>
                      <a:pt x="112" y="159"/>
                      <a:pt x="112" y="159"/>
                      <a:pt x="112" y="159"/>
                    </a:cubicBezTo>
                    <a:cubicBezTo>
                      <a:pt x="115" y="163"/>
                      <a:pt x="115" y="163"/>
                      <a:pt x="115" y="163"/>
                    </a:cubicBezTo>
                    <a:cubicBezTo>
                      <a:pt x="117" y="160"/>
                      <a:pt x="117" y="160"/>
                      <a:pt x="117" y="160"/>
                    </a:cubicBezTo>
                    <a:cubicBezTo>
                      <a:pt x="119" y="158"/>
                      <a:pt x="119" y="158"/>
                      <a:pt x="119" y="158"/>
                    </a:cubicBezTo>
                    <a:cubicBezTo>
                      <a:pt x="121" y="161"/>
                      <a:pt x="121" y="161"/>
                      <a:pt x="121" y="161"/>
                    </a:cubicBezTo>
                    <a:cubicBezTo>
                      <a:pt x="120" y="164"/>
                      <a:pt x="120" y="164"/>
                      <a:pt x="120" y="164"/>
                    </a:cubicBezTo>
                    <a:cubicBezTo>
                      <a:pt x="118" y="166"/>
                      <a:pt x="118" y="166"/>
                      <a:pt x="118" y="166"/>
                    </a:cubicBezTo>
                    <a:cubicBezTo>
                      <a:pt x="116" y="170"/>
                      <a:pt x="116" y="170"/>
                      <a:pt x="116" y="170"/>
                    </a:cubicBezTo>
                    <a:cubicBezTo>
                      <a:pt x="112" y="173"/>
                      <a:pt x="112" y="173"/>
                      <a:pt x="112" y="173"/>
                    </a:cubicBezTo>
                    <a:cubicBezTo>
                      <a:pt x="110" y="176"/>
                      <a:pt x="110" y="176"/>
                      <a:pt x="110" y="176"/>
                    </a:cubicBezTo>
                    <a:cubicBezTo>
                      <a:pt x="108" y="176"/>
                      <a:pt x="108" y="176"/>
                      <a:pt x="108" y="176"/>
                    </a:cubicBezTo>
                    <a:cubicBezTo>
                      <a:pt x="108" y="177"/>
                      <a:pt x="108" y="177"/>
                      <a:pt x="108" y="177"/>
                    </a:cubicBezTo>
                    <a:cubicBezTo>
                      <a:pt x="105" y="177"/>
                      <a:pt x="105" y="177"/>
                      <a:pt x="105" y="177"/>
                    </a:cubicBezTo>
                    <a:cubicBezTo>
                      <a:pt x="101" y="180"/>
                      <a:pt x="101" y="180"/>
                      <a:pt x="101" y="180"/>
                    </a:cubicBezTo>
                    <a:close/>
                    <a:moveTo>
                      <a:pt x="111" y="177"/>
                    </a:moveTo>
                    <a:cubicBezTo>
                      <a:pt x="108" y="178"/>
                      <a:pt x="108" y="178"/>
                      <a:pt x="108" y="178"/>
                    </a:cubicBezTo>
                    <a:cubicBezTo>
                      <a:pt x="106" y="182"/>
                      <a:pt x="106" y="182"/>
                      <a:pt x="106" y="182"/>
                    </a:cubicBezTo>
                    <a:cubicBezTo>
                      <a:pt x="109" y="184"/>
                      <a:pt x="109" y="184"/>
                      <a:pt x="109" y="184"/>
                    </a:cubicBezTo>
                    <a:cubicBezTo>
                      <a:pt x="112" y="180"/>
                      <a:pt x="112" y="180"/>
                      <a:pt x="112" y="180"/>
                    </a:cubicBezTo>
                    <a:cubicBezTo>
                      <a:pt x="112" y="178"/>
                      <a:pt x="112" y="178"/>
                      <a:pt x="112" y="178"/>
                    </a:cubicBezTo>
                    <a:cubicBezTo>
                      <a:pt x="111" y="177"/>
                      <a:pt x="111" y="177"/>
                      <a:pt x="111" y="177"/>
                    </a:cubicBezTo>
                    <a:close/>
                    <a:moveTo>
                      <a:pt x="143" y="176"/>
                    </a:moveTo>
                    <a:cubicBezTo>
                      <a:pt x="143" y="180"/>
                      <a:pt x="143" y="180"/>
                      <a:pt x="143" y="180"/>
                    </a:cubicBezTo>
                    <a:cubicBezTo>
                      <a:pt x="142" y="178"/>
                      <a:pt x="142" y="178"/>
                      <a:pt x="142" y="178"/>
                    </a:cubicBezTo>
                    <a:cubicBezTo>
                      <a:pt x="143" y="176"/>
                      <a:pt x="143" y="176"/>
                      <a:pt x="143" y="176"/>
                    </a:cubicBezTo>
                    <a:close/>
                    <a:moveTo>
                      <a:pt x="126" y="201"/>
                    </a:moveTo>
                    <a:cubicBezTo>
                      <a:pt x="129" y="198"/>
                      <a:pt x="129" y="198"/>
                      <a:pt x="129" y="198"/>
                    </a:cubicBezTo>
                    <a:cubicBezTo>
                      <a:pt x="131" y="190"/>
                      <a:pt x="131" y="190"/>
                      <a:pt x="131" y="190"/>
                    </a:cubicBezTo>
                    <a:cubicBezTo>
                      <a:pt x="136" y="184"/>
                      <a:pt x="136" y="184"/>
                      <a:pt x="136" y="184"/>
                    </a:cubicBezTo>
                    <a:cubicBezTo>
                      <a:pt x="137" y="181"/>
                      <a:pt x="137" y="181"/>
                      <a:pt x="137" y="181"/>
                    </a:cubicBezTo>
                    <a:cubicBezTo>
                      <a:pt x="136" y="177"/>
                      <a:pt x="136" y="177"/>
                      <a:pt x="136" y="177"/>
                    </a:cubicBezTo>
                    <a:cubicBezTo>
                      <a:pt x="138" y="175"/>
                      <a:pt x="138" y="175"/>
                      <a:pt x="138" y="175"/>
                    </a:cubicBezTo>
                    <a:cubicBezTo>
                      <a:pt x="138" y="168"/>
                      <a:pt x="138" y="168"/>
                      <a:pt x="138" y="168"/>
                    </a:cubicBezTo>
                    <a:cubicBezTo>
                      <a:pt x="135" y="169"/>
                      <a:pt x="135" y="169"/>
                      <a:pt x="135" y="169"/>
                    </a:cubicBezTo>
                    <a:cubicBezTo>
                      <a:pt x="134" y="175"/>
                      <a:pt x="134" y="175"/>
                      <a:pt x="134" y="175"/>
                    </a:cubicBezTo>
                    <a:cubicBezTo>
                      <a:pt x="131" y="181"/>
                      <a:pt x="131" y="181"/>
                      <a:pt x="131" y="181"/>
                    </a:cubicBezTo>
                    <a:cubicBezTo>
                      <a:pt x="130" y="185"/>
                      <a:pt x="130" y="185"/>
                      <a:pt x="130" y="185"/>
                    </a:cubicBezTo>
                    <a:cubicBezTo>
                      <a:pt x="129" y="191"/>
                      <a:pt x="129" y="191"/>
                      <a:pt x="129" y="191"/>
                    </a:cubicBezTo>
                    <a:cubicBezTo>
                      <a:pt x="126" y="194"/>
                      <a:pt x="126" y="194"/>
                      <a:pt x="126" y="194"/>
                    </a:cubicBezTo>
                    <a:cubicBezTo>
                      <a:pt x="126" y="198"/>
                      <a:pt x="126" y="198"/>
                      <a:pt x="126" y="198"/>
                    </a:cubicBezTo>
                    <a:cubicBezTo>
                      <a:pt x="126" y="201"/>
                      <a:pt x="126" y="201"/>
                      <a:pt x="126" y="201"/>
                    </a:cubicBezTo>
                    <a:close/>
                    <a:moveTo>
                      <a:pt x="122" y="199"/>
                    </a:moveTo>
                    <a:cubicBezTo>
                      <a:pt x="122" y="192"/>
                      <a:pt x="122" y="192"/>
                      <a:pt x="122" y="192"/>
                    </a:cubicBezTo>
                    <a:cubicBezTo>
                      <a:pt x="124" y="181"/>
                      <a:pt x="124" y="181"/>
                      <a:pt x="124" y="181"/>
                    </a:cubicBezTo>
                    <a:cubicBezTo>
                      <a:pt x="128" y="178"/>
                      <a:pt x="128" y="178"/>
                      <a:pt x="128" y="178"/>
                    </a:cubicBezTo>
                    <a:cubicBezTo>
                      <a:pt x="128" y="175"/>
                      <a:pt x="128" y="175"/>
                      <a:pt x="128" y="175"/>
                    </a:cubicBezTo>
                    <a:cubicBezTo>
                      <a:pt x="125" y="173"/>
                      <a:pt x="125" y="173"/>
                      <a:pt x="125" y="173"/>
                    </a:cubicBezTo>
                    <a:cubicBezTo>
                      <a:pt x="123" y="174"/>
                      <a:pt x="123" y="174"/>
                      <a:pt x="123" y="174"/>
                    </a:cubicBezTo>
                    <a:cubicBezTo>
                      <a:pt x="121" y="173"/>
                      <a:pt x="121" y="173"/>
                      <a:pt x="121" y="173"/>
                    </a:cubicBezTo>
                    <a:cubicBezTo>
                      <a:pt x="117" y="175"/>
                      <a:pt x="117" y="175"/>
                      <a:pt x="117" y="175"/>
                    </a:cubicBezTo>
                    <a:cubicBezTo>
                      <a:pt x="117" y="178"/>
                      <a:pt x="117" y="178"/>
                      <a:pt x="117" y="178"/>
                    </a:cubicBezTo>
                    <a:cubicBezTo>
                      <a:pt x="115" y="181"/>
                      <a:pt x="115" y="181"/>
                      <a:pt x="115" y="181"/>
                    </a:cubicBezTo>
                    <a:cubicBezTo>
                      <a:pt x="116" y="186"/>
                      <a:pt x="116" y="186"/>
                      <a:pt x="116" y="186"/>
                    </a:cubicBezTo>
                    <a:cubicBezTo>
                      <a:pt x="114" y="191"/>
                      <a:pt x="114" y="191"/>
                      <a:pt x="114" y="191"/>
                    </a:cubicBezTo>
                    <a:cubicBezTo>
                      <a:pt x="108" y="192"/>
                      <a:pt x="108" y="192"/>
                      <a:pt x="108" y="192"/>
                    </a:cubicBezTo>
                    <a:cubicBezTo>
                      <a:pt x="106" y="194"/>
                      <a:pt x="106" y="194"/>
                      <a:pt x="106" y="194"/>
                    </a:cubicBezTo>
                    <a:cubicBezTo>
                      <a:pt x="107" y="200"/>
                      <a:pt x="107" y="200"/>
                      <a:pt x="107" y="200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4" y="203"/>
                      <a:pt x="114" y="203"/>
                      <a:pt x="114" y="203"/>
                    </a:cubicBezTo>
                    <a:cubicBezTo>
                      <a:pt x="118" y="204"/>
                      <a:pt x="118" y="204"/>
                      <a:pt x="118" y="204"/>
                    </a:cubicBezTo>
                    <a:cubicBezTo>
                      <a:pt x="118" y="208"/>
                      <a:pt x="118" y="208"/>
                      <a:pt x="118" y="208"/>
                    </a:cubicBezTo>
                    <a:cubicBezTo>
                      <a:pt x="121" y="209"/>
                      <a:pt x="121" y="209"/>
                      <a:pt x="121" y="209"/>
                    </a:cubicBezTo>
                    <a:cubicBezTo>
                      <a:pt x="125" y="207"/>
                      <a:pt x="125" y="207"/>
                      <a:pt x="125" y="207"/>
                    </a:cubicBezTo>
                    <a:cubicBezTo>
                      <a:pt x="125" y="204"/>
                      <a:pt x="125" y="204"/>
                      <a:pt x="125" y="204"/>
                    </a:cubicBezTo>
                    <a:cubicBezTo>
                      <a:pt x="122" y="199"/>
                      <a:pt x="122" y="199"/>
                      <a:pt x="122" y="199"/>
                    </a:cubicBezTo>
                    <a:close/>
                    <a:moveTo>
                      <a:pt x="132" y="205"/>
                    </a:moveTo>
                    <a:cubicBezTo>
                      <a:pt x="133" y="206"/>
                      <a:pt x="133" y="206"/>
                      <a:pt x="133" y="206"/>
                    </a:cubicBezTo>
                    <a:cubicBezTo>
                      <a:pt x="133" y="208"/>
                      <a:pt x="133" y="208"/>
                      <a:pt x="133" y="208"/>
                    </a:cubicBezTo>
                    <a:cubicBezTo>
                      <a:pt x="130" y="210"/>
                      <a:pt x="130" y="210"/>
                      <a:pt x="130" y="210"/>
                    </a:cubicBezTo>
                    <a:cubicBezTo>
                      <a:pt x="127" y="208"/>
                      <a:pt x="127" y="208"/>
                      <a:pt x="127" y="208"/>
                    </a:cubicBezTo>
                    <a:cubicBezTo>
                      <a:pt x="128" y="206"/>
                      <a:pt x="128" y="206"/>
                      <a:pt x="128" y="206"/>
                    </a:cubicBezTo>
                    <a:cubicBezTo>
                      <a:pt x="132" y="205"/>
                      <a:pt x="132" y="205"/>
                      <a:pt x="132" y="205"/>
                    </a:cubicBezTo>
                    <a:close/>
                    <a:moveTo>
                      <a:pt x="144" y="188"/>
                    </a:moveTo>
                    <a:cubicBezTo>
                      <a:pt x="146" y="188"/>
                      <a:pt x="146" y="188"/>
                      <a:pt x="146" y="188"/>
                    </a:cubicBezTo>
                    <a:cubicBezTo>
                      <a:pt x="148" y="190"/>
                      <a:pt x="148" y="190"/>
                      <a:pt x="148" y="190"/>
                    </a:cubicBezTo>
                    <a:cubicBezTo>
                      <a:pt x="148" y="194"/>
                      <a:pt x="148" y="194"/>
                      <a:pt x="148" y="194"/>
                    </a:cubicBezTo>
                    <a:cubicBezTo>
                      <a:pt x="147" y="196"/>
                      <a:pt x="147" y="196"/>
                      <a:pt x="147" y="196"/>
                    </a:cubicBezTo>
                    <a:cubicBezTo>
                      <a:pt x="141" y="199"/>
                      <a:pt x="141" y="199"/>
                      <a:pt x="141" y="199"/>
                    </a:cubicBezTo>
                    <a:cubicBezTo>
                      <a:pt x="136" y="199"/>
                      <a:pt x="136" y="199"/>
                      <a:pt x="136" y="199"/>
                    </a:cubicBezTo>
                    <a:cubicBezTo>
                      <a:pt x="137" y="197"/>
                      <a:pt x="137" y="197"/>
                      <a:pt x="137" y="197"/>
                    </a:cubicBezTo>
                    <a:cubicBezTo>
                      <a:pt x="135" y="195"/>
                      <a:pt x="135" y="195"/>
                      <a:pt x="135" y="195"/>
                    </a:cubicBezTo>
                    <a:cubicBezTo>
                      <a:pt x="137" y="192"/>
                      <a:pt x="137" y="192"/>
                      <a:pt x="137" y="192"/>
                    </a:cubicBezTo>
                    <a:cubicBezTo>
                      <a:pt x="144" y="188"/>
                      <a:pt x="144" y="188"/>
                      <a:pt x="144" y="188"/>
                    </a:cubicBezTo>
                    <a:close/>
                    <a:moveTo>
                      <a:pt x="161" y="189"/>
                    </a:moveTo>
                    <a:cubicBezTo>
                      <a:pt x="163" y="192"/>
                      <a:pt x="163" y="192"/>
                      <a:pt x="163" y="192"/>
                    </a:cubicBezTo>
                    <a:cubicBezTo>
                      <a:pt x="163" y="195"/>
                      <a:pt x="163" y="195"/>
                      <a:pt x="163" y="195"/>
                    </a:cubicBezTo>
                    <a:cubicBezTo>
                      <a:pt x="161" y="192"/>
                      <a:pt x="161" y="192"/>
                      <a:pt x="161" y="192"/>
                    </a:cubicBezTo>
                    <a:cubicBezTo>
                      <a:pt x="161" y="189"/>
                      <a:pt x="161" y="189"/>
                      <a:pt x="161" y="189"/>
                    </a:cubicBezTo>
                    <a:close/>
                    <a:moveTo>
                      <a:pt x="151" y="203"/>
                    </a:moveTo>
                    <a:cubicBezTo>
                      <a:pt x="154" y="206"/>
                      <a:pt x="154" y="206"/>
                      <a:pt x="154" y="206"/>
                    </a:cubicBezTo>
                    <a:cubicBezTo>
                      <a:pt x="153" y="209"/>
                      <a:pt x="153" y="209"/>
                      <a:pt x="153" y="209"/>
                    </a:cubicBezTo>
                    <a:cubicBezTo>
                      <a:pt x="151" y="208"/>
                      <a:pt x="151" y="208"/>
                      <a:pt x="151" y="208"/>
                    </a:cubicBezTo>
                    <a:cubicBezTo>
                      <a:pt x="150" y="205"/>
                      <a:pt x="150" y="205"/>
                      <a:pt x="150" y="205"/>
                    </a:cubicBezTo>
                    <a:cubicBezTo>
                      <a:pt x="151" y="203"/>
                      <a:pt x="151" y="203"/>
                      <a:pt x="151" y="203"/>
                    </a:cubicBezTo>
                    <a:close/>
                    <a:moveTo>
                      <a:pt x="148" y="159"/>
                    </a:moveTo>
                    <a:cubicBezTo>
                      <a:pt x="147" y="163"/>
                      <a:pt x="147" y="163"/>
                      <a:pt x="147" y="163"/>
                    </a:cubicBezTo>
                    <a:cubicBezTo>
                      <a:pt x="144" y="163"/>
                      <a:pt x="144" y="163"/>
                      <a:pt x="144" y="163"/>
                    </a:cubicBezTo>
                    <a:cubicBezTo>
                      <a:pt x="141" y="161"/>
                      <a:pt x="141" y="161"/>
                      <a:pt x="141" y="161"/>
                    </a:cubicBezTo>
                    <a:cubicBezTo>
                      <a:pt x="143" y="160"/>
                      <a:pt x="143" y="160"/>
                      <a:pt x="143" y="160"/>
                    </a:cubicBezTo>
                    <a:cubicBezTo>
                      <a:pt x="148" y="159"/>
                      <a:pt x="148" y="159"/>
                      <a:pt x="148" y="159"/>
                    </a:cubicBezTo>
                    <a:close/>
                    <a:moveTo>
                      <a:pt x="156" y="164"/>
                    </a:moveTo>
                    <a:cubicBezTo>
                      <a:pt x="159" y="166"/>
                      <a:pt x="159" y="166"/>
                      <a:pt x="159" y="166"/>
                    </a:cubicBezTo>
                    <a:cubicBezTo>
                      <a:pt x="160" y="169"/>
                      <a:pt x="160" y="169"/>
                      <a:pt x="160" y="169"/>
                    </a:cubicBezTo>
                    <a:cubicBezTo>
                      <a:pt x="166" y="169"/>
                      <a:pt x="166" y="169"/>
                      <a:pt x="166" y="169"/>
                    </a:cubicBezTo>
                    <a:cubicBezTo>
                      <a:pt x="167" y="170"/>
                      <a:pt x="167" y="170"/>
                      <a:pt x="167" y="170"/>
                    </a:cubicBezTo>
                    <a:cubicBezTo>
                      <a:pt x="168" y="169"/>
                      <a:pt x="168" y="169"/>
                      <a:pt x="168" y="169"/>
                    </a:cubicBezTo>
                    <a:cubicBezTo>
                      <a:pt x="170" y="170"/>
                      <a:pt x="170" y="170"/>
                      <a:pt x="170" y="170"/>
                    </a:cubicBezTo>
                    <a:cubicBezTo>
                      <a:pt x="168" y="167"/>
                      <a:pt x="168" y="167"/>
                      <a:pt x="168" y="167"/>
                    </a:cubicBezTo>
                    <a:cubicBezTo>
                      <a:pt x="167" y="164"/>
                      <a:pt x="167" y="164"/>
                      <a:pt x="167" y="164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157"/>
                      <a:pt x="165" y="157"/>
                      <a:pt x="165" y="157"/>
                    </a:cubicBezTo>
                    <a:cubicBezTo>
                      <a:pt x="164" y="150"/>
                      <a:pt x="164" y="150"/>
                      <a:pt x="164" y="150"/>
                    </a:cubicBezTo>
                    <a:cubicBezTo>
                      <a:pt x="165" y="148"/>
                      <a:pt x="165" y="148"/>
                      <a:pt x="165" y="148"/>
                    </a:cubicBezTo>
                    <a:cubicBezTo>
                      <a:pt x="163" y="147"/>
                      <a:pt x="163" y="147"/>
                      <a:pt x="163" y="147"/>
                    </a:cubicBezTo>
                    <a:cubicBezTo>
                      <a:pt x="160" y="143"/>
                      <a:pt x="160" y="143"/>
                      <a:pt x="160" y="143"/>
                    </a:cubicBezTo>
                    <a:cubicBezTo>
                      <a:pt x="158" y="139"/>
                      <a:pt x="158" y="139"/>
                      <a:pt x="158" y="139"/>
                    </a:cubicBezTo>
                    <a:cubicBezTo>
                      <a:pt x="156" y="139"/>
                      <a:pt x="156" y="139"/>
                      <a:pt x="156" y="139"/>
                    </a:cubicBezTo>
                    <a:cubicBezTo>
                      <a:pt x="155" y="140"/>
                      <a:pt x="155" y="140"/>
                      <a:pt x="155" y="140"/>
                    </a:cubicBezTo>
                    <a:cubicBezTo>
                      <a:pt x="153" y="139"/>
                      <a:pt x="153" y="139"/>
                      <a:pt x="153" y="139"/>
                    </a:cubicBezTo>
                    <a:cubicBezTo>
                      <a:pt x="151" y="139"/>
                      <a:pt x="151" y="139"/>
                      <a:pt x="151" y="139"/>
                    </a:cubicBezTo>
                    <a:cubicBezTo>
                      <a:pt x="149" y="141"/>
                      <a:pt x="149" y="141"/>
                      <a:pt x="149" y="141"/>
                    </a:cubicBezTo>
                    <a:cubicBezTo>
                      <a:pt x="146" y="141"/>
                      <a:pt x="146" y="141"/>
                      <a:pt x="146" y="141"/>
                    </a:cubicBezTo>
                    <a:cubicBezTo>
                      <a:pt x="142" y="141"/>
                      <a:pt x="142" y="141"/>
                      <a:pt x="142" y="141"/>
                    </a:cubicBezTo>
                    <a:cubicBezTo>
                      <a:pt x="141" y="140"/>
                      <a:pt x="141" y="140"/>
                      <a:pt x="141" y="140"/>
                    </a:cubicBezTo>
                    <a:cubicBezTo>
                      <a:pt x="141" y="142"/>
                      <a:pt x="141" y="142"/>
                      <a:pt x="141" y="142"/>
                    </a:cubicBezTo>
                    <a:cubicBezTo>
                      <a:pt x="144" y="148"/>
                      <a:pt x="144" y="148"/>
                      <a:pt x="144" y="148"/>
                    </a:cubicBezTo>
                    <a:cubicBezTo>
                      <a:pt x="149" y="152"/>
                      <a:pt x="149" y="152"/>
                      <a:pt x="149" y="152"/>
                    </a:cubicBezTo>
                    <a:cubicBezTo>
                      <a:pt x="153" y="157"/>
                      <a:pt x="153" y="157"/>
                      <a:pt x="153" y="157"/>
                    </a:cubicBezTo>
                    <a:cubicBezTo>
                      <a:pt x="155" y="158"/>
                      <a:pt x="155" y="158"/>
                      <a:pt x="155" y="158"/>
                    </a:cubicBezTo>
                    <a:cubicBezTo>
                      <a:pt x="154" y="160"/>
                      <a:pt x="154" y="160"/>
                      <a:pt x="154" y="160"/>
                    </a:cubicBezTo>
                    <a:cubicBezTo>
                      <a:pt x="153" y="162"/>
                      <a:pt x="153" y="162"/>
                      <a:pt x="153" y="162"/>
                    </a:cubicBezTo>
                    <a:cubicBezTo>
                      <a:pt x="152" y="163"/>
                      <a:pt x="152" y="163"/>
                      <a:pt x="152" y="163"/>
                    </a:cubicBezTo>
                    <a:cubicBezTo>
                      <a:pt x="154" y="162"/>
                      <a:pt x="154" y="162"/>
                      <a:pt x="154" y="162"/>
                    </a:cubicBezTo>
                    <a:cubicBezTo>
                      <a:pt x="155" y="163"/>
                      <a:pt x="155" y="163"/>
                      <a:pt x="155" y="163"/>
                    </a:cubicBezTo>
                    <a:cubicBezTo>
                      <a:pt x="156" y="164"/>
                      <a:pt x="156" y="164"/>
                      <a:pt x="156" y="164"/>
                    </a:cubicBezTo>
                    <a:close/>
                    <a:moveTo>
                      <a:pt x="153" y="165"/>
                    </a:moveTo>
                    <a:cubicBezTo>
                      <a:pt x="149" y="166"/>
                      <a:pt x="149" y="166"/>
                      <a:pt x="149" y="166"/>
                    </a:cubicBezTo>
                    <a:cubicBezTo>
                      <a:pt x="145" y="165"/>
                      <a:pt x="145" y="165"/>
                      <a:pt x="145" y="165"/>
                    </a:cubicBezTo>
                    <a:cubicBezTo>
                      <a:pt x="143" y="165"/>
                      <a:pt x="143" y="165"/>
                      <a:pt x="143" y="165"/>
                    </a:cubicBezTo>
                    <a:cubicBezTo>
                      <a:pt x="144" y="168"/>
                      <a:pt x="144" y="168"/>
                      <a:pt x="144" y="168"/>
                    </a:cubicBezTo>
                    <a:cubicBezTo>
                      <a:pt x="144" y="172"/>
                      <a:pt x="144" y="172"/>
                      <a:pt x="144" y="172"/>
                    </a:cubicBezTo>
                    <a:cubicBezTo>
                      <a:pt x="147" y="174"/>
                      <a:pt x="147" y="174"/>
                      <a:pt x="147" y="174"/>
                    </a:cubicBezTo>
                    <a:cubicBezTo>
                      <a:pt x="149" y="172"/>
                      <a:pt x="149" y="172"/>
                      <a:pt x="149" y="172"/>
                    </a:cubicBezTo>
                    <a:cubicBezTo>
                      <a:pt x="151" y="174"/>
                      <a:pt x="151" y="174"/>
                      <a:pt x="151" y="174"/>
                    </a:cubicBezTo>
                    <a:cubicBezTo>
                      <a:pt x="150" y="179"/>
                      <a:pt x="150" y="179"/>
                      <a:pt x="150" y="179"/>
                    </a:cubicBezTo>
                    <a:cubicBezTo>
                      <a:pt x="152" y="183"/>
                      <a:pt x="152" y="183"/>
                      <a:pt x="152" y="183"/>
                    </a:cubicBezTo>
                    <a:cubicBezTo>
                      <a:pt x="153" y="188"/>
                      <a:pt x="153" y="188"/>
                      <a:pt x="153" y="188"/>
                    </a:cubicBezTo>
                    <a:cubicBezTo>
                      <a:pt x="156" y="190"/>
                      <a:pt x="156" y="190"/>
                      <a:pt x="156" y="190"/>
                    </a:cubicBezTo>
                    <a:cubicBezTo>
                      <a:pt x="156" y="185"/>
                      <a:pt x="156" y="185"/>
                      <a:pt x="156" y="185"/>
                    </a:cubicBezTo>
                    <a:cubicBezTo>
                      <a:pt x="158" y="188"/>
                      <a:pt x="158" y="188"/>
                      <a:pt x="158" y="188"/>
                    </a:cubicBezTo>
                    <a:cubicBezTo>
                      <a:pt x="162" y="187"/>
                      <a:pt x="162" y="187"/>
                      <a:pt x="162" y="187"/>
                    </a:cubicBezTo>
                    <a:cubicBezTo>
                      <a:pt x="162" y="184"/>
                      <a:pt x="162" y="184"/>
                      <a:pt x="162" y="184"/>
                    </a:cubicBezTo>
                    <a:cubicBezTo>
                      <a:pt x="159" y="178"/>
                      <a:pt x="159" y="178"/>
                      <a:pt x="159" y="178"/>
                    </a:cubicBezTo>
                    <a:cubicBezTo>
                      <a:pt x="156" y="177"/>
                      <a:pt x="156" y="177"/>
                      <a:pt x="156" y="177"/>
                    </a:cubicBezTo>
                    <a:cubicBezTo>
                      <a:pt x="156" y="171"/>
                      <a:pt x="156" y="171"/>
                      <a:pt x="156" y="171"/>
                    </a:cubicBezTo>
                    <a:cubicBezTo>
                      <a:pt x="153" y="166"/>
                      <a:pt x="153" y="166"/>
                      <a:pt x="153" y="166"/>
                    </a:cubicBezTo>
                    <a:cubicBezTo>
                      <a:pt x="153" y="165"/>
                      <a:pt x="153" y="165"/>
                      <a:pt x="153" y="165"/>
                    </a:cubicBezTo>
                    <a:close/>
                    <a:moveTo>
                      <a:pt x="172" y="174"/>
                    </a:moveTo>
                    <a:cubicBezTo>
                      <a:pt x="173" y="174"/>
                      <a:pt x="173" y="174"/>
                      <a:pt x="173" y="174"/>
                    </a:cubicBezTo>
                    <a:cubicBezTo>
                      <a:pt x="172" y="172"/>
                      <a:pt x="172" y="172"/>
                      <a:pt x="172" y="172"/>
                    </a:cubicBezTo>
                    <a:cubicBezTo>
                      <a:pt x="171" y="173"/>
                      <a:pt x="171" y="173"/>
                      <a:pt x="171" y="173"/>
                    </a:cubicBezTo>
                    <a:cubicBezTo>
                      <a:pt x="172" y="174"/>
                      <a:pt x="172" y="174"/>
                      <a:pt x="172" y="174"/>
                    </a:cubicBezTo>
                    <a:close/>
                    <a:moveTo>
                      <a:pt x="172" y="177"/>
                    </a:moveTo>
                    <a:cubicBezTo>
                      <a:pt x="170" y="176"/>
                      <a:pt x="170" y="176"/>
                      <a:pt x="170" y="176"/>
                    </a:cubicBezTo>
                    <a:cubicBezTo>
                      <a:pt x="170" y="178"/>
                      <a:pt x="170" y="178"/>
                      <a:pt x="170" y="178"/>
                    </a:cubicBezTo>
                    <a:cubicBezTo>
                      <a:pt x="171" y="179"/>
                      <a:pt x="171" y="179"/>
                      <a:pt x="171" y="179"/>
                    </a:cubicBezTo>
                    <a:cubicBezTo>
                      <a:pt x="172" y="177"/>
                      <a:pt x="172" y="177"/>
                      <a:pt x="172" y="177"/>
                    </a:cubicBezTo>
                    <a:close/>
                    <a:moveTo>
                      <a:pt x="171" y="195"/>
                    </a:moveTo>
                    <a:cubicBezTo>
                      <a:pt x="172" y="191"/>
                      <a:pt x="172" y="191"/>
                      <a:pt x="172" y="191"/>
                    </a:cubicBezTo>
                    <a:cubicBezTo>
                      <a:pt x="170" y="188"/>
                      <a:pt x="170" y="188"/>
                      <a:pt x="170" y="188"/>
                    </a:cubicBezTo>
                    <a:cubicBezTo>
                      <a:pt x="170" y="185"/>
                      <a:pt x="170" y="185"/>
                      <a:pt x="170" y="185"/>
                    </a:cubicBezTo>
                    <a:cubicBezTo>
                      <a:pt x="171" y="184"/>
                      <a:pt x="171" y="184"/>
                      <a:pt x="171" y="184"/>
                    </a:cubicBezTo>
                    <a:cubicBezTo>
                      <a:pt x="170" y="182"/>
                      <a:pt x="170" y="182"/>
                      <a:pt x="170" y="182"/>
                    </a:cubicBezTo>
                    <a:cubicBezTo>
                      <a:pt x="168" y="183"/>
                      <a:pt x="168" y="183"/>
                      <a:pt x="168" y="183"/>
                    </a:cubicBezTo>
                    <a:cubicBezTo>
                      <a:pt x="168" y="187"/>
                      <a:pt x="168" y="187"/>
                      <a:pt x="168" y="187"/>
                    </a:cubicBezTo>
                    <a:cubicBezTo>
                      <a:pt x="170" y="191"/>
                      <a:pt x="170" y="191"/>
                      <a:pt x="170" y="191"/>
                    </a:cubicBezTo>
                    <a:cubicBezTo>
                      <a:pt x="169" y="193"/>
                      <a:pt x="169" y="193"/>
                      <a:pt x="169" y="193"/>
                    </a:cubicBezTo>
                    <a:cubicBezTo>
                      <a:pt x="170" y="195"/>
                      <a:pt x="170" y="195"/>
                      <a:pt x="170" y="195"/>
                    </a:cubicBezTo>
                    <a:cubicBezTo>
                      <a:pt x="171" y="195"/>
                      <a:pt x="171" y="195"/>
                      <a:pt x="171" y="195"/>
                    </a:cubicBezTo>
                    <a:close/>
                    <a:moveTo>
                      <a:pt x="176" y="197"/>
                    </a:moveTo>
                    <a:cubicBezTo>
                      <a:pt x="175" y="199"/>
                      <a:pt x="175" y="199"/>
                      <a:pt x="175" y="199"/>
                    </a:cubicBezTo>
                    <a:cubicBezTo>
                      <a:pt x="177" y="201"/>
                      <a:pt x="177" y="201"/>
                      <a:pt x="177" y="201"/>
                    </a:cubicBezTo>
                    <a:cubicBezTo>
                      <a:pt x="178" y="198"/>
                      <a:pt x="178" y="198"/>
                      <a:pt x="178" y="198"/>
                    </a:cubicBezTo>
                    <a:cubicBezTo>
                      <a:pt x="176" y="197"/>
                      <a:pt x="176" y="197"/>
                      <a:pt x="176" y="197"/>
                    </a:cubicBezTo>
                    <a:close/>
                    <a:moveTo>
                      <a:pt x="178" y="188"/>
                    </a:moveTo>
                    <a:cubicBezTo>
                      <a:pt x="178" y="192"/>
                      <a:pt x="178" y="192"/>
                      <a:pt x="178" y="192"/>
                    </a:cubicBezTo>
                    <a:cubicBezTo>
                      <a:pt x="177" y="194"/>
                      <a:pt x="177" y="194"/>
                      <a:pt x="177" y="194"/>
                    </a:cubicBezTo>
                    <a:cubicBezTo>
                      <a:pt x="179" y="196"/>
                      <a:pt x="179" y="196"/>
                      <a:pt x="179" y="196"/>
                    </a:cubicBezTo>
                    <a:cubicBezTo>
                      <a:pt x="182" y="195"/>
                      <a:pt x="182" y="195"/>
                      <a:pt x="182" y="195"/>
                    </a:cubicBezTo>
                    <a:cubicBezTo>
                      <a:pt x="180" y="192"/>
                      <a:pt x="180" y="192"/>
                      <a:pt x="180" y="192"/>
                    </a:cubicBezTo>
                    <a:cubicBezTo>
                      <a:pt x="178" y="188"/>
                      <a:pt x="178" y="188"/>
                      <a:pt x="178" y="188"/>
                    </a:cubicBezTo>
                    <a:close/>
                    <a:moveTo>
                      <a:pt x="146" y="220"/>
                    </a:moveTo>
                    <a:cubicBezTo>
                      <a:pt x="150" y="218"/>
                      <a:pt x="150" y="218"/>
                      <a:pt x="150" y="218"/>
                    </a:cubicBezTo>
                    <a:cubicBezTo>
                      <a:pt x="152" y="223"/>
                      <a:pt x="152" y="223"/>
                      <a:pt x="152" y="223"/>
                    </a:cubicBezTo>
                    <a:cubicBezTo>
                      <a:pt x="154" y="222"/>
                      <a:pt x="154" y="222"/>
                      <a:pt x="154" y="222"/>
                    </a:cubicBezTo>
                    <a:cubicBezTo>
                      <a:pt x="154" y="219"/>
                      <a:pt x="154" y="219"/>
                      <a:pt x="154" y="219"/>
                    </a:cubicBezTo>
                    <a:cubicBezTo>
                      <a:pt x="153" y="218"/>
                      <a:pt x="153" y="218"/>
                      <a:pt x="153" y="218"/>
                    </a:cubicBezTo>
                    <a:cubicBezTo>
                      <a:pt x="155" y="210"/>
                      <a:pt x="155" y="210"/>
                      <a:pt x="155" y="210"/>
                    </a:cubicBezTo>
                    <a:cubicBezTo>
                      <a:pt x="159" y="212"/>
                      <a:pt x="159" y="212"/>
                      <a:pt x="159" y="212"/>
                    </a:cubicBezTo>
                    <a:cubicBezTo>
                      <a:pt x="161" y="214"/>
                      <a:pt x="161" y="214"/>
                      <a:pt x="161" y="214"/>
                    </a:cubicBezTo>
                    <a:cubicBezTo>
                      <a:pt x="162" y="212"/>
                      <a:pt x="162" y="212"/>
                      <a:pt x="162" y="212"/>
                    </a:cubicBezTo>
                    <a:cubicBezTo>
                      <a:pt x="162" y="207"/>
                      <a:pt x="162" y="207"/>
                      <a:pt x="162" y="207"/>
                    </a:cubicBezTo>
                    <a:cubicBezTo>
                      <a:pt x="164" y="207"/>
                      <a:pt x="164" y="207"/>
                      <a:pt x="164" y="207"/>
                    </a:cubicBezTo>
                    <a:cubicBezTo>
                      <a:pt x="167" y="210"/>
                      <a:pt x="167" y="210"/>
                      <a:pt x="167" y="210"/>
                    </a:cubicBezTo>
                    <a:cubicBezTo>
                      <a:pt x="167" y="207"/>
                      <a:pt x="167" y="207"/>
                      <a:pt x="167" y="207"/>
                    </a:cubicBezTo>
                    <a:cubicBezTo>
                      <a:pt x="165" y="200"/>
                      <a:pt x="165" y="200"/>
                      <a:pt x="165" y="200"/>
                    </a:cubicBezTo>
                    <a:cubicBezTo>
                      <a:pt x="165" y="196"/>
                      <a:pt x="165" y="196"/>
                      <a:pt x="165" y="196"/>
                    </a:cubicBezTo>
                    <a:cubicBezTo>
                      <a:pt x="168" y="196"/>
                      <a:pt x="168" y="196"/>
                      <a:pt x="168" y="196"/>
                    </a:cubicBezTo>
                    <a:cubicBezTo>
                      <a:pt x="170" y="196"/>
                      <a:pt x="170" y="196"/>
                      <a:pt x="170" y="196"/>
                    </a:cubicBezTo>
                    <a:cubicBezTo>
                      <a:pt x="170" y="199"/>
                      <a:pt x="170" y="199"/>
                      <a:pt x="170" y="199"/>
                    </a:cubicBezTo>
                    <a:cubicBezTo>
                      <a:pt x="176" y="203"/>
                      <a:pt x="176" y="203"/>
                      <a:pt x="176" y="203"/>
                    </a:cubicBezTo>
                    <a:cubicBezTo>
                      <a:pt x="179" y="207"/>
                      <a:pt x="179" y="207"/>
                      <a:pt x="179" y="207"/>
                    </a:cubicBezTo>
                    <a:cubicBezTo>
                      <a:pt x="182" y="205"/>
                      <a:pt x="182" y="205"/>
                      <a:pt x="182" y="205"/>
                    </a:cubicBezTo>
                    <a:cubicBezTo>
                      <a:pt x="182" y="208"/>
                      <a:pt x="182" y="208"/>
                      <a:pt x="182" y="208"/>
                    </a:cubicBezTo>
                    <a:cubicBezTo>
                      <a:pt x="185" y="212"/>
                      <a:pt x="185" y="212"/>
                      <a:pt x="185" y="212"/>
                    </a:cubicBezTo>
                    <a:cubicBezTo>
                      <a:pt x="185" y="216"/>
                      <a:pt x="185" y="216"/>
                      <a:pt x="185" y="216"/>
                    </a:cubicBezTo>
                    <a:cubicBezTo>
                      <a:pt x="182" y="216"/>
                      <a:pt x="182" y="216"/>
                      <a:pt x="182" y="216"/>
                    </a:cubicBezTo>
                    <a:cubicBezTo>
                      <a:pt x="181" y="218"/>
                      <a:pt x="181" y="218"/>
                      <a:pt x="181" y="218"/>
                    </a:cubicBezTo>
                    <a:cubicBezTo>
                      <a:pt x="184" y="221"/>
                      <a:pt x="184" y="221"/>
                      <a:pt x="184" y="221"/>
                    </a:cubicBezTo>
                    <a:cubicBezTo>
                      <a:pt x="185" y="221"/>
                      <a:pt x="185" y="221"/>
                      <a:pt x="185" y="221"/>
                    </a:cubicBezTo>
                    <a:cubicBezTo>
                      <a:pt x="185" y="223"/>
                      <a:pt x="185" y="223"/>
                      <a:pt x="185" y="223"/>
                    </a:cubicBezTo>
                    <a:cubicBezTo>
                      <a:pt x="185" y="227"/>
                      <a:pt x="185" y="227"/>
                      <a:pt x="185" y="227"/>
                    </a:cubicBezTo>
                    <a:cubicBezTo>
                      <a:pt x="186" y="225"/>
                      <a:pt x="186" y="225"/>
                      <a:pt x="186" y="225"/>
                    </a:cubicBezTo>
                    <a:cubicBezTo>
                      <a:pt x="187" y="230"/>
                      <a:pt x="187" y="230"/>
                      <a:pt x="187" y="230"/>
                    </a:cubicBezTo>
                    <a:cubicBezTo>
                      <a:pt x="187" y="234"/>
                      <a:pt x="187" y="234"/>
                      <a:pt x="187" y="234"/>
                    </a:cubicBezTo>
                    <a:cubicBezTo>
                      <a:pt x="189" y="237"/>
                      <a:pt x="189" y="237"/>
                      <a:pt x="189" y="237"/>
                    </a:cubicBezTo>
                    <a:cubicBezTo>
                      <a:pt x="191" y="240"/>
                      <a:pt x="191" y="240"/>
                      <a:pt x="191" y="240"/>
                    </a:cubicBezTo>
                    <a:cubicBezTo>
                      <a:pt x="192" y="246"/>
                      <a:pt x="192" y="246"/>
                      <a:pt x="192" y="246"/>
                    </a:cubicBezTo>
                    <a:cubicBezTo>
                      <a:pt x="190" y="251"/>
                      <a:pt x="190" y="251"/>
                      <a:pt x="190" y="251"/>
                    </a:cubicBezTo>
                    <a:cubicBezTo>
                      <a:pt x="188" y="251"/>
                      <a:pt x="188" y="251"/>
                      <a:pt x="188" y="251"/>
                    </a:cubicBezTo>
                    <a:cubicBezTo>
                      <a:pt x="188" y="253"/>
                      <a:pt x="188" y="253"/>
                      <a:pt x="188" y="253"/>
                    </a:cubicBezTo>
                    <a:cubicBezTo>
                      <a:pt x="187" y="251"/>
                      <a:pt x="187" y="251"/>
                      <a:pt x="187" y="251"/>
                    </a:cubicBezTo>
                    <a:cubicBezTo>
                      <a:pt x="185" y="251"/>
                      <a:pt x="185" y="251"/>
                      <a:pt x="185" y="251"/>
                    </a:cubicBezTo>
                    <a:cubicBezTo>
                      <a:pt x="184" y="254"/>
                      <a:pt x="184" y="254"/>
                      <a:pt x="184" y="254"/>
                    </a:cubicBezTo>
                    <a:cubicBezTo>
                      <a:pt x="186" y="259"/>
                      <a:pt x="186" y="259"/>
                      <a:pt x="186" y="259"/>
                    </a:cubicBezTo>
                    <a:cubicBezTo>
                      <a:pt x="185" y="263"/>
                      <a:pt x="185" y="263"/>
                      <a:pt x="185" y="263"/>
                    </a:cubicBezTo>
                    <a:cubicBezTo>
                      <a:pt x="185" y="266"/>
                      <a:pt x="185" y="266"/>
                      <a:pt x="185" y="266"/>
                    </a:cubicBezTo>
                    <a:cubicBezTo>
                      <a:pt x="184" y="263"/>
                      <a:pt x="184" y="263"/>
                      <a:pt x="184" y="263"/>
                    </a:cubicBezTo>
                    <a:cubicBezTo>
                      <a:pt x="182" y="257"/>
                      <a:pt x="182" y="257"/>
                      <a:pt x="182" y="257"/>
                    </a:cubicBezTo>
                    <a:cubicBezTo>
                      <a:pt x="182" y="254"/>
                      <a:pt x="182" y="254"/>
                      <a:pt x="182" y="254"/>
                    </a:cubicBezTo>
                    <a:cubicBezTo>
                      <a:pt x="180" y="251"/>
                      <a:pt x="180" y="251"/>
                      <a:pt x="180" y="251"/>
                    </a:cubicBezTo>
                    <a:cubicBezTo>
                      <a:pt x="179" y="248"/>
                      <a:pt x="179" y="248"/>
                      <a:pt x="179" y="248"/>
                    </a:cubicBezTo>
                    <a:cubicBezTo>
                      <a:pt x="177" y="244"/>
                      <a:pt x="177" y="244"/>
                      <a:pt x="177" y="244"/>
                    </a:cubicBezTo>
                    <a:cubicBezTo>
                      <a:pt x="174" y="245"/>
                      <a:pt x="174" y="245"/>
                      <a:pt x="174" y="245"/>
                    </a:cubicBezTo>
                    <a:cubicBezTo>
                      <a:pt x="169" y="253"/>
                      <a:pt x="169" y="253"/>
                      <a:pt x="169" y="253"/>
                    </a:cubicBezTo>
                    <a:cubicBezTo>
                      <a:pt x="169" y="256"/>
                      <a:pt x="169" y="256"/>
                      <a:pt x="169" y="256"/>
                    </a:cubicBezTo>
                    <a:cubicBezTo>
                      <a:pt x="172" y="259"/>
                      <a:pt x="172" y="259"/>
                      <a:pt x="172" y="259"/>
                    </a:cubicBezTo>
                    <a:cubicBezTo>
                      <a:pt x="174" y="264"/>
                      <a:pt x="174" y="264"/>
                      <a:pt x="174" y="264"/>
                    </a:cubicBezTo>
                    <a:cubicBezTo>
                      <a:pt x="176" y="266"/>
                      <a:pt x="176" y="266"/>
                      <a:pt x="176" y="266"/>
                    </a:cubicBezTo>
                    <a:cubicBezTo>
                      <a:pt x="176" y="270"/>
                      <a:pt x="176" y="270"/>
                      <a:pt x="176" y="270"/>
                    </a:cubicBezTo>
                    <a:cubicBezTo>
                      <a:pt x="170" y="276"/>
                      <a:pt x="170" y="276"/>
                      <a:pt x="170" y="276"/>
                    </a:cubicBezTo>
                    <a:cubicBezTo>
                      <a:pt x="168" y="278"/>
                      <a:pt x="168" y="278"/>
                      <a:pt x="168" y="278"/>
                    </a:cubicBezTo>
                    <a:cubicBezTo>
                      <a:pt x="166" y="277"/>
                      <a:pt x="166" y="277"/>
                      <a:pt x="166" y="277"/>
                    </a:cubicBezTo>
                    <a:cubicBezTo>
                      <a:pt x="165" y="273"/>
                      <a:pt x="165" y="273"/>
                      <a:pt x="165" y="273"/>
                    </a:cubicBezTo>
                    <a:cubicBezTo>
                      <a:pt x="167" y="271"/>
                      <a:pt x="167" y="271"/>
                      <a:pt x="167" y="271"/>
                    </a:cubicBezTo>
                    <a:cubicBezTo>
                      <a:pt x="165" y="270"/>
                      <a:pt x="165" y="270"/>
                      <a:pt x="165" y="270"/>
                    </a:cubicBezTo>
                    <a:cubicBezTo>
                      <a:pt x="163" y="271"/>
                      <a:pt x="163" y="271"/>
                      <a:pt x="163" y="271"/>
                    </a:cubicBezTo>
                    <a:cubicBezTo>
                      <a:pt x="163" y="273"/>
                      <a:pt x="163" y="273"/>
                      <a:pt x="163" y="273"/>
                    </a:cubicBezTo>
                    <a:cubicBezTo>
                      <a:pt x="160" y="275"/>
                      <a:pt x="160" y="275"/>
                      <a:pt x="160" y="275"/>
                    </a:cubicBezTo>
                    <a:cubicBezTo>
                      <a:pt x="156" y="273"/>
                      <a:pt x="156" y="273"/>
                      <a:pt x="156" y="273"/>
                    </a:cubicBezTo>
                    <a:cubicBezTo>
                      <a:pt x="152" y="270"/>
                      <a:pt x="152" y="270"/>
                      <a:pt x="152" y="270"/>
                    </a:cubicBezTo>
                    <a:cubicBezTo>
                      <a:pt x="148" y="270"/>
                      <a:pt x="148" y="270"/>
                      <a:pt x="148" y="270"/>
                    </a:cubicBezTo>
                    <a:cubicBezTo>
                      <a:pt x="145" y="266"/>
                      <a:pt x="145" y="266"/>
                      <a:pt x="145" y="266"/>
                    </a:cubicBezTo>
                    <a:cubicBezTo>
                      <a:pt x="144" y="263"/>
                      <a:pt x="144" y="263"/>
                      <a:pt x="144" y="263"/>
                    </a:cubicBezTo>
                    <a:cubicBezTo>
                      <a:pt x="141" y="260"/>
                      <a:pt x="141" y="260"/>
                      <a:pt x="141" y="260"/>
                    </a:cubicBezTo>
                    <a:cubicBezTo>
                      <a:pt x="142" y="257"/>
                      <a:pt x="142" y="257"/>
                      <a:pt x="142" y="257"/>
                    </a:cubicBezTo>
                    <a:cubicBezTo>
                      <a:pt x="142" y="254"/>
                      <a:pt x="142" y="254"/>
                      <a:pt x="142" y="254"/>
                    </a:cubicBezTo>
                    <a:cubicBezTo>
                      <a:pt x="140" y="252"/>
                      <a:pt x="140" y="252"/>
                      <a:pt x="140" y="252"/>
                    </a:cubicBezTo>
                    <a:cubicBezTo>
                      <a:pt x="142" y="250"/>
                      <a:pt x="142" y="250"/>
                      <a:pt x="142" y="250"/>
                    </a:cubicBezTo>
                    <a:cubicBezTo>
                      <a:pt x="141" y="248"/>
                      <a:pt x="141" y="248"/>
                      <a:pt x="141" y="248"/>
                    </a:cubicBezTo>
                    <a:cubicBezTo>
                      <a:pt x="143" y="248"/>
                      <a:pt x="143" y="248"/>
                      <a:pt x="143" y="248"/>
                    </a:cubicBezTo>
                    <a:cubicBezTo>
                      <a:pt x="146" y="249"/>
                      <a:pt x="146" y="249"/>
                      <a:pt x="146" y="249"/>
                    </a:cubicBezTo>
                    <a:cubicBezTo>
                      <a:pt x="143" y="246"/>
                      <a:pt x="143" y="246"/>
                      <a:pt x="143" y="246"/>
                    </a:cubicBezTo>
                    <a:cubicBezTo>
                      <a:pt x="142" y="243"/>
                      <a:pt x="142" y="243"/>
                      <a:pt x="142" y="243"/>
                    </a:cubicBezTo>
                    <a:cubicBezTo>
                      <a:pt x="139" y="240"/>
                      <a:pt x="139" y="240"/>
                      <a:pt x="139" y="240"/>
                    </a:cubicBezTo>
                    <a:cubicBezTo>
                      <a:pt x="136" y="239"/>
                      <a:pt x="136" y="239"/>
                      <a:pt x="136" y="239"/>
                    </a:cubicBezTo>
                    <a:cubicBezTo>
                      <a:pt x="132" y="236"/>
                      <a:pt x="132" y="236"/>
                      <a:pt x="132" y="236"/>
                    </a:cubicBezTo>
                    <a:cubicBezTo>
                      <a:pt x="130" y="236"/>
                      <a:pt x="130" y="236"/>
                      <a:pt x="130" y="236"/>
                    </a:cubicBezTo>
                    <a:cubicBezTo>
                      <a:pt x="129" y="238"/>
                      <a:pt x="129" y="238"/>
                      <a:pt x="129" y="238"/>
                    </a:cubicBezTo>
                    <a:cubicBezTo>
                      <a:pt x="129" y="239"/>
                      <a:pt x="129" y="239"/>
                      <a:pt x="129" y="239"/>
                    </a:cubicBezTo>
                    <a:cubicBezTo>
                      <a:pt x="128" y="241"/>
                      <a:pt x="128" y="241"/>
                      <a:pt x="128" y="241"/>
                    </a:cubicBezTo>
                    <a:cubicBezTo>
                      <a:pt x="130" y="244"/>
                      <a:pt x="130" y="244"/>
                      <a:pt x="130" y="244"/>
                    </a:cubicBezTo>
                    <a:cubicBezTo>
                      <a:pt x="129" y="244"/>
                      <a:pt x="129" y="244"/>
                      <a:pt x="129" y="244"/>
                    </a:cubicBezTo>
                    <a:cubicBezTo>
                      <a:pt x="126" y="241"/>
                      <a:pt x="126" y="241"/>
                      <a:pt x="126" y="241"/>
                    </a:cubicBezTo>
                    <a:cubicBezTo>
                      <a:pt x="124" y="242"/>
                      <a:pt x="124" y="242"/>
                      <a:pt x="124" y="242"/>
                    </a:cubicBezTo>
                    <a:cubicBezTo>
                      <a:pt x="125" y="239"/>
                      <a:pt x="125" y="239"/>
                      <a:pt x="125" y="239"/>
                    </a:cubicBezTo>
                    <a:cubicBezTo>
                      <a:pt x="123" y="239"/>
                      <a:pt x="123" y="239"/>
                      <a:pt x="123" y="239"/>
                    </a:cubicBezTo>
                    <a:cubicBezTo>
                      <a:pt x="121" y="240"/>
                      <a:pt x="121" y="240"/>
                      <a:pt x="121" y="240"/>
                    </a:cubicBezTo>
                    <a:cubicBezTo>
                      <a:pt x="121" y="243"/>
                      <a:pt x="121" y="243"/>
                      <a:pt x="121" y="243"/>
                    </a:cubicBezTo>
                    <a:cubicBezTo>
                      <a:pt x="119" y="242"/>
                      <a:pt x="119" y="242"/>
                      <a:pt x="119" y="242"/>
                    </a:cubicBezTo>
                    <a:cubicBezTo>
                      <a:pt x="117" y="243"/>
                      <a:pt x="117" y="243"/>
                      <a:pt x="117" y="243"/>
                    </a:cubicBezTo>
                    <a:cubicBezTo>
                      <a:pt x="116" y="242"/>
                      <a:pt x="116" y="242"/>
                      <a:pt x="116" y="242"/>
                    </a:cubicBezTo>
                    <a:cubicBezTo>
                      <a:pt x="117" y="238"/>
                      <a:pt x="117" y="238"/>
                      <a:pt x="117" y="238"/>
                    </a:cubicBezTo>
                    <a:cubicBezTo>
                      <a:pt x="114" y="236"/>
                      <a:pt x="114" y="236"/>
                      <a:pt x="114" y="236"/>
                    </a:cubicBezTo>
                    <a:cubicBezTo>
                      <a:pt x="112" y="237"/>
                      <a:pt x="112" y="237"/>
                      <a:pt x="112" y="237"/>
                    </a:cubicBezTo>
                    <a:cubicBezTo>
                      <a:pt x="110" y="241"/>
                      <a:pt x="110" y="241"/>
                      <a:pt x="110" y="241"/>
                    </a:cubicBezTo>
                    <a:cubicBezTo>
                      <a:pt x="108" y="243"/>
                      <a:pt x="108" y="243"/>
                      <a:pt x="108" y="243"/>
                    </a:cubicBezTo>
                    <a:cubicBezTo>
                      <a:pt x="105" y="251"/>
                      <a:pt x="105" y="251"/>
                      <a:pt x="105" y="251"/>
                    </a:cubicBezTo>
                    <a:cubicBezTo>
                      <a:pt x="103" y="253"/>
                      <a:pt x="103" y="253"/>
                      <a:pt x="103" y="253"/>
                    </a:cubicBezTo>
                    <a:cubicBezTo>
                      <a:pt x="103" y="253"/>
                      <a:pt x="103" y="253"/>
                      <a:pt x="103" y="253"/>
                    </a:cubicBezTo>
                    <a:cubicBezTo>
                      <a:pt x="99" y="249"/>
                      <a:pt x="99" y="249"/>
                      <a:pt x="99" y="249"/>
                    </a:cubicBezTo>
                    <a:cubicBezTo>
                      <a:pt x="102" y="244"/>
                      <a:pt x="102" y="244"/>
                      <a:pt x="102" y="244"/>
                    </a:cubicBezTo>
                    <a:cubicBezTo>
                      <a:pt x="103" y="239"/>
                      <a:pt x="103" y="239"/>
                      <a:pt x="103" y="239"/>
                    </a:cubicBezTo>
                    <a:cubicBezTo>
                      <a:pt x="102" y="236"/>
                      <a:pt x="102" y="236"/>
                      <a:pt x="102" y="236"/>
                    </a:cubicBezTo>
                    <a:cubicBezTo>
                      <a:pt x="105" y="232"/>
                      <a:pt x="105" y="232"/>
                      <a:pt x="105" y="232"/>
                    </a:cubicBezTo>
                    <a:cubicBezTo>
                      <a:pt x="109" y="231"/>
                      <a:pt x="109" y="231"/>
                      <a:pt x="109" y="231"/>
                    </a:cubicBezTo>
                    <a:cubicBezTo>
                      <a:pt x="112" y="228"/>
                      <a:pt x="112" y="228"/>
                      <a:pt x="112" y="228"/>
                    </a:cubicBezTo>
                    <a:cubicBezTo>
                      <a:pt x="116" y="229"/>
                      <a:pt x="116" y="229"/>
                      <a:pt x="116" y="229"/>
                    </a:cubicBezTo>
                    <a:cubicBezTo>
                      <a:pt x="121" y="228"/>
                      <a:pt x="121" y="228"/>
                      <a:pt x="121" y="228"/>
                    </a:cubicBezTo>
                    <a:cubicBezTo>
                      <a:pt x="119" y="225"/>
                      <a:pt x="119" y="225"/>
                      <a:pt x="119" y="225"/>
                    </a:cubicBezTo>
                    <a:cubicBezTo>
                      <a:pt x="121" y="222"/>
                      <a:pt x="121" y="222"/>
                      <a:pt x="121" y="222"/>
                    </a:cubicBezTo>
                    <a:cubicBezTo>
                      <a:pt x="126" y="220"/>
                      <a:pt x="126" y="220"/>
                      <a:pt x="126" y="220"/>
                    </a:cubicBezTo>
                    <a:cubicBezTo>
                      <a:pt x="128" y="217"/>
                      <a:pt x="128" y="217"/>
                      <a:pt x="128" y="217"/>
                    </a:cubicBezTo>
                    <a:cubicBezTo>
                      <a:pt x="131" y="217"/>
                      <a:pt x="131" y="217"/>
                      <a:pt x="131" y="217"/>
                    </a:cubicBezTo>
                    <a:cubicBezTo>
                      <a:pt x="136" y="221"/>
                      <a:pt x="136" y="221"/>
                      <a:pt x="136" y="221"/>
                    </a:cubicBezTo>
                    <a:cubicBezTo>
                      <a:pt x="136" y="227"/>
                      <a:pt x="136" y="227"/>
                      <a:pt x="136" y="227"/>
                    </a:cubicBezTo>
                    <a:cubicBezTo>
                      <a:pt x="132" y="233"/>
                      <a:pt x="132" y="233"/>
                      <a:pt x="132" y="233"/>
                    </a:cubicBezTo>
                    <a:cubicBezTo>
                      <a:pt x="136" y="229"/>
                      <a:pt x="136" y="229"/>
                      <a:pt x="136" y="229"/>
                    </a:cubicBezTo>
                    <a:cubicBezTo>
                      <a:pt x="139" y="229"/>
                      <a:pt x="139" y="229"/>
                      <a:pt x="139" y="229"/>
                    </a:cubicBezTo>
                    <a:moveTo>
                      <a:pt x="98" y="258"/>
                    </a:moveTo>
                    <a:cubicBezTo>
                      <a:pt x="98" y="260"/>
                      <a:pt x="98" y="260"/>
                      <a:pt x="98" y="260"/>
                    </a:cubicBezTo>
                    <a:cubicBezTo>
                      <a:pt x="100" y="263"/>
                      <a:pt x="100" y="263"/>
                      <a:pt x="100" y="263"/>
                    </a:cubicBezTo>
                    <a:cubicBezTo>
                      <a:pt x="102" y="264"/>
                      <a:pt x="102" y="264"/>
                      <a:pt x="102" y="264"/>
                    </a:cubicBezTo>
                    <a:cubicBezTo>
                      <a:pt x="107" y="260"/>
                      <a:pt x="107" y="260"/>
                      <a:pt x="107" y="260"/>
                    </a:cubicBezTo>
                    <a:cubicBezTo>
                      <a:pt x="107" y="258"/>
                      <a:pt x="107" y="258"/>
                      <a:pt x="107" y="258"/>
                    </a:cubicBezTo>
                    <a:cubicBezTo>
                      <a:pt x="105" y="258"/>
                      <a:pt x="105" y="258"/>
                      <a:pt x="105" y="258"/>
                    </a:cubicBezTo>
                    <a:cubicBezTo>
                      <a:pt x="103" y="256"/>
                      <a:pt x="103" y="256"/>
                      <a:pt x="103" y="256"/>
                    </a:cubicBezTo>
                    <a:cubicBezTo>
                      <a:pt x="101" y="258"/>
                      <a:pt x="101" y="258"/>
                      <a:pt x="101" y="258"/>
                    </a:cubicBezTo>
                    <a:cubicBezTo>
                      <a:pt x="98" y="258"/>
                      <a:pt x="98" y="258"/>
                      <a:pt x="98" y="258"/>
                    </a:cubicBezTo>
                    <a:close/>
                    <a:moveTo>
                      <a:pt x="54" y="151"/>
                    </a:moveTo>
                    <a:cubicBezTo>
                      <a:pt x="52" y="149"/>
                      <a:pt x="52" y="149"/>
                      <a:pt x="52" y="149"/>
                    </a:cubicBezTo>
                    <a:cubicBezTo>
                      <a:pt x="51" y="146"/>
                      <a:pt x="51" y="146"/>
                      <a:pt x="51" y="146"/>
                    </a:cubicBezTo>
                    <a:cubicBezTo>
                      <a:pt x="52" y="145"/>
                      <a:pt x="52" y="145"/>
                      <a:pt x="52" y="145"/>
                    </a:cubicBezTo>
                    <a:cubicBezTo>
                      <a:pt x="55" y="145"/>
                      <a:pt x="55" y="145"/>
                      <a:pt x="55" y="145"/>
                    </a:cubicBezTo>
                    <a:cubicBezTo>
                      <a:pt x="57" y="148"/>
                      <a:pt x="57" y="148"/>
                      <a:pt x="57" y="148"/>
                    </a:cubicBezTo>
                    <a:cubicBezTo>
                      <a:pt x="61" y="149"/>
                      <a:pt x="61" y="149"/>
                      <a:pt x="61" y="149"/>
                    </a:cubicBezTo>
                    <a:cubicBezTo>
                      <a:pt x="62" y="151"/>
                      <a:pt x="62" y="151"/>
                      <a:pt x="62" y="151"/>
                    </a:cubicBezTo>
                    <a:cubicBezTo>
                      <a:pt x="60" y="152"/>
                      <a:pt x="60" y="152"/>
                      <a:pt x="60" y="152"/>
                    </a:cubicBezTo>
                    <a:cubicBezTo>
                      <a:pt x="58" y="151"/>
                      <a:pt x="58" y="151"/>
                      <a:pt x="58" y="151"/>
                    </a:cubicBezTo>
                    <a:cubicBezTo>
                      <a:pt x="54" y="151"/>
                      <a:pt x="54" y="151"/>
                      <a:pt x="54" y="151"/>
                    </a:cubicBezTo>
                    <a:close/>
                    <a:moveTo>
                      <a:pt x="51" y="153"/>
                    </a:moveTo>
                    <a:cubicBezTo>
                      <a:pt x="55" y="154"/>
                      <a:pt x="55" y="154"/>
                      <a:pt x="55" y="154"/>
                    </a:cubicBezTo>
                    <a:cubicBezTo>
                      <a:pt x="56" y="157"/>
                      <a:pt x="56" y="157"/>
                      <a:pt x="56" y="157"/>
                    </a:cubicBezTo>
                    <a:cubicBezTo>
                      <a:pt x="55" y="158"/>
                      <a:pt x="55" y="158"/>
                      <a:pt x="55" y="158"/>
                    </a:cubicBezTo>
                    <a:cubicBezTo>
                      <a:pt x="54" y="159"/>
                      <a:pt x="54" y="159"/>
                      <a:pt x="54" y="159"/>
                    </a:cubicBezTo>
                    <a:cubicBezTo>
                      <a:pt x="52" y="159"/>
                      <a:pt x="52" y="159"/>
                      <a:pt x="52" y="159"/>
                    </a:cubicBezTo>
                    <a:cubicBezTo>
                      <a:pt x="51" y="155"/>
                      <a:pt x="51" y="155"/>
                      <a:pt x="51" y="155"/>
                    </a:cubicBezTo>
                    <a:cubicBezTo>
                      <a:pt x="51" y="153"/>
                      <a:pt x="51" y="153"/>
                      <a:pt x="51" y="153"/>
                    </a:cubicBezTo>
                    <a:close/>
                    <a:moveTo>
                      <a:pt x="54" y="181"/>
                    </a:moveTo>
                    <a:cubicBezTo>
                      <a:pt x="55" y="180"/>
                      <a:pt x="55" y="180"/>
                      <a:pt x="55" y="180"/>
                    </a:cubicBezTo>
                    <a:cubicBezTo>
                      <a:pt x="56" y="178"/>
                      <a:pt x="56" y="178"/>
                      <a:pt x="56" y="178"/>
                    </a:cubicBezTo>
                    <a:cubicBezTo>
                      <a:pt x="57" y="180"/>
                      <a:pt x="57" y="180"/>
                      <a:pt x="57" y="180"/>
                    </a:cubicBezTo>
                    <a:cubicBezTo>
                      <a:pt x="58" y="181"/>
                      <a:pt x="58" y="181"/>
                      <a:pt x="58" y="181"/>
                    </a:cubicBezTo>
                    <a:cubicBezTo>
                      <a:pt x="58" y="183"/>
                      <a:pt x="58" y="183"/>
                      <a:pt x="58" y="183"/>
                    </a:cubicBezTo>
                    <a:cubicBezTo>
                      <a:pt x="55" y="183"/>
                      <a:pt x="55" y="183"/>
                      <a:pt x="55" y="183"/>
                    </a:cubicBezTo>
                    <a:cubicBezTo>
                      <a:pt x="53" y="183"/>
                      <a:pt x="53" y="183"/>
                      <a:pt x="53" y="183"/>
                    </a:cubicBezTo>
                    <a:cubicBezTo>
                      <a:pt x="54" y="181"/>
                      <a:pt x="54" y="181"/>
                      <a:pt x="54" y="181"/>
                    </a:cubicBezTo>
                    <a:close/>
                    <a:moveTo>
                      <a:pt x="7" y="222"/>
                    </a:moveTo>
                    <a:cubicBezTo>
                      <a:pt x="11" y="219"/>
                      <a:pt x="11" y="219"/>
                      <a:pt x="11" y="219"/>
                    </a:cubicBezTo>
                    <a:cubicBezTo>
                      <a:pt x="13" y="219"/>
                      <a:pt x="13" y="219"/>
                      <a:pt x="13" y="219"/>
                    </a:cubicBezTo>
                    <a:cubicBezTo>
                      <a:pt x="16" y="216"/>
                      <a:pt x="16" y="216"/>
                      <a:pt x="16" y="216"/>
                    </a:cubicBezTo>
                    <a:cubicBezTo>
                      <a:pt x="20" y="215"/>
                      <a:pt x="20" y="215"/>
                      <a:pt x="20" y="215"/>
                    </a:cubicBezTo>
                    <a:cubicBezTo>
                      <a:pt x="24" y="208"/>
                      <a:pt x="24" y="208"/>
                      <a:pt x="24" y="208"/>
                    </a:cubicBezTo>
                    <a:cubicBezTo>
                      <a:pt x="28" y="207"/>
                      <a:pt x="28" y="207"/>
                      <a:pt x="28" y="207"/>
                    </a:cubicBezTo>
                    <a:cubicBezTo>
                      <a:pt x="31" y="204"/>
                      <a:pt x="31" y="204"/>
                      <a:pt x="31" y="204"/>
                    </a:cubicBezTo>
                    <a:cubicBezTo>
                      <a:pt x="32" y="203"/>
                      <a:pt x="32" y="203"/>
                      <a:pt x="32" y="203"/>
                    </a:cubicBezTo>
                    <a:cubicBezTo>
                      <a:pt x="34" y="200"/>
                      <a:pt x="34" y="200"/>
                      <a:pt x="34" y="200"/>
                    </a:cubicBezTo>
                    <a:cubicBezTo>
                      <a:pt x="34" y="194"/>
                      <a:pt x="34" y="194"/>
                      <a:pt x="34" y="194"/>
                    </a:cubicBezTo>
                    <a:cubicBezTo>
                      <a:pt x="37" y="191"/>
                      <a:pt x="37" y="191"/>
                      <a:pt x="37" y="191"/>
                    </a:cubicBezTo>
                    <a:cubicBezTo>
                      <a:pt x="42" y="191"/>
                      <a:pt x="42" y="191"/>
                      <a:pt x="42" y="191"/>
                    </a:cubicBezTo>
                    <a:cubicBezTo>
                      <a:pt x="44" y="187"/>
                      <a:pt x="44" y="187"/>
                      <a:pt x="44" y="187"/>
                    </a:cubicBezTo>
                    <a:cubicBezTo>
                      <a:pt x="47" y="185"/>
                      <a:pt x="47" y="185"/>
                      <a:pt x="47" y="185"/>
                    </a:cubicBezTo>
                    <a:cubicBezTo>
                      <a:pt x="50" y="184"/>
                      <a:pt x="50" y="184"/>
                      <a:pt x="50" y="184"/>
                    </a:cubicBezTo>
                    <a:cubicBezTo>
                      <a:pt x="51" y="181"/>
                      <a:pt x="51" y="181"/>
                      <a:pt x="51" y="181"/>
                    </a:cubicBezTo>
                    <a:cubicBezTo>
                      <a:pt x="49" y="176"/>
                      <a:pt x="49" y="176"/>
                      <a:pt x="49" y="176"/>
                    </a:cubicBezTo>
                    <a:cubicBezTo>
                      <a:pt x="46" y="173"/>
                      <a:pt x="46" y="173"/>
                      <a:pt x="46" y="173"/>
                    </a:cubicBezTo>
                    <a:cubicBezTo>
                      <a:pt x="47" y="170"/>
                      <a:pt x="47" y="170"/>
                      <a:pt x="47" y="170"/>
                    </a:cubicBezTo>
                    <a:cubicBezTo>
                      <a:pt x="46" y="164"/>
                      <a:pt x="46" y="164"/>
                      <a:pt x="46" y="164"/>
                    </a:cubicBezTo>
                    <a:cubicBezTo>
                      <a:pt x="45" y="165"/>
                      <a:pt x="45" y="165"/>
                      <a:pt x="45" y="165"/>
                    </a:cubicBezTo>
                    <a:cubicBezTo>
                      <a:pt x="44" y="171"/>
                      <a:pt x="44" y="171"/>
                      <a:pt x="44" y="171"/>
                    </a:cubicBezTo>
                    <a:cubicBezTo>
                      <a:pt x="44" y="176"/>
                      <a:pt x="44" y="176"/>
                      <a:pt x="44" y="176"/>
                    </a:cubicBezTo>
                    <a:cubicBezTo>
                      <a:pt x="41" y="174"/>
                      <a:pt x="41" y="174"/>
                      <a:pt x="41" y="174"/>
                    </a:cubicBezTo>
                    <a:cubicBezTo>
                      <a:pt x="44" y="178"/>
                      <a:pt x="44" y="178"/>
                      <a:pt x="44" y="178"/>
                    </a:cubicBezTo>
                    <a:cubicBezTo>
                      <a:pt x="44" y="181"/>
                      <a:pt x="44" y="181"/>
                      <a:pt x="44" y="181"/>
                    </a:cubicBezTo>
                    <a:cubicBezTo>
                      <a:pt x="40" y="184"/>
                      <a:pt x="40" y="184"/>
                      <a:pt x="40" y="184"/>
                    </a:cubicBezTo>
                    <a:cubicBezTo>
                      <a:pt x="38" y="184"/>
                      <a:pt x="38" y="184"/>
                      <a:pt x="38" y="184"/>
                    </a:cubicBezTo>
                    <a:cubicBezTo>
                      <a:pt x="35" y="188"/>
                      <a:pt x="35" y="188"/>
                      <a:pt x="35" y="188"/>
                    </a:cubicBezTo>
                    <a:cubicBezTo>
                      <a:pt x="34" y="191"/>
                      <a:pt x="34" y="191"/>
                      <a:pt x="34" y="191"/>
                    </a:cubicBezTo>
                    <a:cubicBezTo>
                      <a:pt x="30" y="193"/>
                      <a:pt x="30" y="193"/>
                      <a:pt x="30" y="193"/>
                    </a:cubicBezTo>
                    <a:cubicBezTo>
                      <a:pt x="26" y="201"/>
                      <a:pt x="26" y="201"/>
                      <a:pt x="26" y="201"/>
                    </a:cubicBezTo>
                    <a:cubicBezTo>
                      <a:pt x="21" y="206"/>
                      <a:pt x="21" y="206"/>
                      <a:pt x="21" y="206"/>
                    </a:cubicBezTo>
                    <a:cubicBezTo>
                      <a:pt x="18" y="206"/>
                      <a:pt x="18" y="206"/>
                      <a:pt x="18" y="206"/>
                    </a:cubicBezTo>
                    <a:cubicBezTo>
                      <a:pt x="15" y="211"/>
                      <a:pt x="15" y="211"/>
                      <a:pt x="15" y="211"/>
                    </a:cubicBezTo>
                    <a:cubicBezTo>
                      <a:pt x="13" y="212"/>
                      <a:pt x="13" y="212"/>
                      <a:pt x="13" y="212"/>
                    </a:cubicBezTo>
                    <a:cubicBezTo>
                      <a:pt x="7" y="219"/>
                      <a:pt x="7" y="219"/>
                      <a:pt x="7" y="219"/>
                    </a:cubicBezTo>
                    <a:cubicBezTo>
                      <a:pt x="6" y="221"/>
                      <a:pt x="6" y="221"/>
                      <a:pt x="6" y="221"/>
                    </a:cubicBezTo>
                    <a:cubicBezTo>
                      <a:pt x="7" y="222"/>
                      <a:pt x="7" y="222"/>
                      <a:pt x="7" y="222"/>
                    </a:cubicBezTo>
                    <a:close/>
                    <a:moveTo>
                      <a:pt x="7" y="224"/>
                    </a:moveTo>
                    <a:cubicBezTo>
                      <a:pt x="6" y="226"/>
                      <a:pt x="6" y="226"/>
                      <a:pt x="6" y="226"/>
                    </a:cubicBezTo>
                    <a:cubicBezTo>
                      <a:pt x="7" y="226"/>
                      <a:pt x="7" y="226"/>
                      <a:pt x="7" y="226"/>
                    </a:cubicBezTo>
                    <a:cubicBezTo>
                      <a:pt x="7" y="224"/>
                      <a:pt x="7" y="224"/>
                      <a:pt x="7" y="224"/>
                    </a:cubicBezTo>
                    <a:close/>
                    <a:moveTo>
                      <a:pt x="9" y="225"/>
                    </a:moveTo>
                    <a:cubicBezTo>
                      <a:pt x="8" y="226"/>
                      <a:pt x="8" y="226"/>
                      <a:pt x="8" y="226"/>
                    </a:cubicBezTo>
                    <a:cubicBezTo>
                      <a:pt x="10" y="227"/>
                      <a:pt x="10" y="227"/>
                      <a:pt x="10" y="227"/>
                    </a:cubicBezTo>
                    <a:cubicBezTo>
                      <a:pt x="9" y="225"/>
                      <a:pt x="9" y="225"/>
                      <a:pt x="9" y="225"/>
                    </a:cubicBezTo>
                    <a:close/>
                    <a:moveTo>
                      <a:pt x="4" y="229"/>
                    </a:moveTo>
                    <a:cubicBezTo>
                      <a:pt x="1" y="230"/>
                      <a:pt x="1" y="230"/>
                      <a:pt x="1" y="230"/>
                    </a:cubicBezTo>
                    <a:cubicBezTo>
                      <a:pt x="0" y="233"/>
                      <a:pt x="0" y="233"/>
                      <a:pt x="0" y="233"/>
                    </a:cubicBezTo>
                    <a:cubicBezTo>
                      <a:pt x="3" y="236"/>
                      <a:pt x="3" y="236"/>
                      <a:pt x="3" y="236"/>
                    </a:cubicBezTo>
                    <a:cubicBezTo>
                      <a:pt x="4" y="236"/>
                      <a:pt x="4" y="236"/>
                      <a:pt x="4" y="236"/>
                    </a:cubicBezTo>
                    <a:cubicBezTo>
                      <a:pt x="5" y="231"/>
                      <a:pt x="5" y="231"/>
                      <a:pt x="5" y="231"/>
                    </a:cubicBezTo>
                    <a:cubicBezTo>
                      <a:pt x="5" y="230"/>
                      <a:pt x="5" y="230"/>
                      <a:pt x="5" y="230"/>
                    </a:cubicBezTo>
                    <a:lnTo>
                      <a:pt x="4" y="229"/>
                    </a:lnTo>
                    <a:close/>
                  </a:path>
                </a:pathLst>
              </a:custGeom>
              <a:solidFill>
                <a:schemeClr val="accent6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798" name="Freeform 602"/>
              <p:cNvSpPr>
                <a:spLocks noEditPoints="1"/>
              </p:cNvSpPr>
              <p:nvPr userDrawn="1"/>
            </p:nvSpPr>
            <p:spPr bwMode="auto">
              <a:xfrm>
                <a:off x="5315" y="2796"/>
                <a:ext cx="353" cy="120"/>
              </a:xfrm>
              <a:custGeom>
                <a:avLst/>
                <a:gdLst>
                  <a:gd name="T0" fmla="*/ 213 w 353"/>
                  <a:gd name="T1" fmla="*/ 88 h 120"/>
                  <a:gd name="T2" fmla="*/ 1 w 353"/>
                  <a:gd name="T3" fmla="*/ 36 h 120"/>
                  <a:gd name="T4" fmla="*/ 0 w 353"/>
                  <a:gd name="T5" fmla="*/ 32 h 120"/>
                  <a:gd name="T6" fmla="*/ 220 w 353"/>
                  <a:gd name="T7" fmla="*/ 92 h 120"/>
                  <a:gd name="T8" fmla="*/ 210 w 353"/>
                  <a:gd name="T9" fmla="*/ 96 h 120"/>
                  <a:gd name="T10" fmla="*/ 199 w 353"/>
                  <a:gd name="T11" fmla="*/ 110 h 120"/>
                  <a:gd name="T12" fmla="*/ 178 w 353"/>
                  <a:gd name="T13" fmla="*/ 101 h 120"/>
                  <a:gd name="T14" fmla="*/ 189 w 353"/>
                  <a:gd name="T15" fmla="*/ 114 h 120"/>
                  <a:gd name="T16" fmla="*/ 203 w 353"/>
                  <a:gd name="T17" fmla="*/ 117 h 120"/>
                  <a:gd name="T18" fmla="*/ 234 w 353"/>
                  <a:gd name="T19" fmla="*/ 111 h 120"/>
                  <a:gd name="T20" fmla="*/ 261 w 353"/>
                  <a:gd name="T21" fmla="*/ 111 h 120"/>
                  <a:gd name="T22" fmla="*/ 285 w 353"/>
                  <a:gd name="T23" fmla="*/ 80 h 120"/>
                  <a:gd name="T24" fmla="*/ 294 w 353"/>
                  <a:gd name="T25" fmla="*/ 54 h 120"/>
                  <a:gd name="T26" fmla="*/ 318 w 353"/>
                  <a:gd name="T27" fmla="*/ 56 h 120"/>
                  <a:gd name="T28" fmla="*/ 333 w 353"/>
                  <a:gd name="T29" fmla="*/ 57 h 120"/>
                  <a:gd name="T30" fmla="*/ 335 w 353"/>
                  <a:gd name="T31" fmla="*/ 45 h 120"/>
                  <a:gd name="T32" fmla="*/ 350 w 353"/>
                  <a:gd name="T33" fmla="*/ 38 h 120"/>
                  <a:gd name="T34" fmla="*/ 331 w 353"/>
                  <a:gd name="T35" fmla="*/ 30 h 120"/>
                  <a:gd name="T36" fmla="*/ 328 w 353"/>
                  <a:gd name="T37" fmla="*/ 27 h 120"/>
                  <a:gd name="T38" fmla="*/ 326 w 353"/>
                  <a:gd name="T39" fmla="*/ 21 h 120"/>
                  <a:gd name="T40" fmla="*/ 315 w 353"/>
                  <a:gd name="T41" fmla="*/ 9 h 120"/>
                  <a:gd name="T42" fmla="*/ 306 w 353"/>
                  <a:gd name="T43" fmla="*/ 14 h 120"/>
                  <a:gd name="T44" fmla="*/ 299 w 353"/>
                  <a:gd name="T45" fmla="*/ 17 h 120"/>
                  <a:gd name="T46" fmla="*/ 279 w 353"/>
                  <a:gd name="T47" fmla="*/ 38 h 120"/>
                  <a:gd name="T48" fmla="*/ 284 w 353"/>
                  <a:gd name="T49" fmla="*/ 42 h 120"/>
                  <a:gd name="T50" fmla="*/ 282 w 353"/>
                  <a:gd name="T51" fmla="*/ 54 h 120"/>
                  <a:gd name="T52" fmla="*/ 275 w 353"/>
                  <a:gd name="T53" fmla="*/ 49 h 120"/>
                  <a:gd name="T54" fmla="*/ 271 w 353"/>
                  <a:gd name="T55" fmla="*/ 60 h 120"/>
                  <a:gd name="T56" fmla="*/ 257 w 353"/>
                  <a:gd name="T57" fmla="*/ 53 h 120"/>
                  <a:gd name="T58" fmla="*/ 244 w 353"/>
                  <a:gd name="T59" fmla="*/ 73 h 120"/>
                  <a:gd name="T60" fmla="*/ 307 w 353"/>
                  <a:gd name="T61" fmla="*/ 3 h 120"/>
                  <a:gd name="T62" fmla="*/ 314 w 353"/>
                  <a:gd name="T63" fmla="*/ 1 h 120"/>
                  <a:gd name="T64" fmla="*/ 314 w 353"/>
                  <a:gd name="T65" fmla="*/ 1 h 120"/>
                  <a:gd name="T66" fmla="*/ 212 w 353"/>
                  <a:gd name="T67" fmla="*/ 92 h 120"/>
                  <a:gd name="T68" fmla="*/ 213 w 353"/>
                  <a:gd name="T69" fmla="*/ 94 h 120"/>
                  <a:gd name="T70" fmla="*/ 216 w 353"/>
                  <a:gd name="T71" fmla="*/ 93 h 120"/>
                  <a:gd name="T72" fmla="*/ 214 w 353"/>
                  <a:gd name="T73" fmla="*/ 88 h 120"/>
                  <a:gd name="T74" fmla="*/ 218 w 353"/>
                  <a:gd name="T75" fmla="*/ 87 h 120"/>
                  <a:gd name="T76" fmla="*/ 12 w 353"/>
                  <a:gd name="T77" fmla="*/ 15 h 120"/>
                  <a:gd name="T78" fmla="*/ 17 w 353"/>
                  <a:gd name="T79" fmla="*/ 27 h 120"/>
                  <a:gd name="T80" fmla="*/ 31 w 353"/>
                  <a:gd name="T81" fmla="*/ 29 h 120"/>
                  <a:gd name="T82" fmla="*/ 38 w 353"/>
                  <a:gd name="T83" fmla="*/ 23 h 120"/>
                  <a:gd name="T84" fmla="*/ 61 w 353"/>
                  <a:gd name="T85" fmla="*/ 45 h 120"/>
                  <a:gd name="T86" fmla="*/ 61 w 353"/>
                  <a:gd name="T87" fmla="*/ 67 h 120"/>
                  <a:gd name="T88" fmla="*/ 71 w 353"/>
                  <a:gd name="T89" fmla="*/ 87 h 120"/>
                  <a:gd name="T90" fmla="*/ 75 w 353"/>
                  <a:gd name="T91" fmla="*/ 97 h 120"/>
                  <a:gd name="T92" fmla="*/ 77 w 353"/>
                  <a:gd name="T93" fmla="*/ 110 h 120"/>
                  <a:gd name="T94" fmla="*/ 75 w 353"/>
                  <a:gd name="T95" fmla="*/ 109 h 120"/>
                  <a:gd name="T96" fmla="*/ 71 w 353"/>
                  <a:gd name="T97" fmla="*/ 111 h 120"/>
                  <a:gd name="T98" fmla="*/ 52 w 353"/>
                  <a:gd name="T99" fmla="*/ 103 h 120"/>
                  <a:gd name="T100" fmla="*/ 38 w 353"/>
                  <a:gd name="T101" fmla="*/ 95 h 120"/>
                  <a:gd name="T102" fmla="*/ 25 w 353"/>
                  <a:gd name="T103" fmla="*/ 80 h 120"/>
                  <a:gd name="T104" fmla="*/ 13 w 353"/>
                  <a:gd name="T105" fmla="*/ 65 h 120"/>
                  <a:gd name="T106" fmla="*/ 10 w 353"/>
                  <a:gd name="T107" fmla="*/ 53 h 120"/>
                  <a:gd name="T108" fmla="*/ 1 w 353"/>
                  <a:gd name="T109" fmla="*/ 17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353" h="120">
                    <a:moveTo>
                      <a:pt x="213" y="88"/>
                    </a:moveTo>
                    <a:lnTo>
                      <a:pt x="213" y="91"/>
                    </a:lnTo>
                    <a:lnTo>
                      <a:pt x="212" y="91"/>
                    </a:lnTo>
                    <a:lnTo>
                      <a:pt x="212" y="90"/>
                    </a:lnTo>
                    <a:lnTo>
                      <a:pt x="213" y="88"/>
                    </a:lnTo>
                    <a:lnTo>
                      <a:pt x="213" y="88"/>
                    </a:lnTo>
                    <a:lnTo>
                      <a:pt x="213" y="88"/>
                    </a:lnTo>
                    <a:lnTo>
                      <a:pt x="213" y="88"/>
                    </a:lnTo>
                    <a:close/>
                    <a:moveTo>
                      <a:pt x="0" y="32"/>
                    </a:moveTo>
                    <a:lnTo>
                      <a:pt x="1" y="36"/>
                    </a:lnTo>
                    <a:lnTo>
                      <a:pt x="3" y="39"/>
                    </a:lnTo>
                    <a:lnTo>
                      <a:pt x="4" y="38"/>
                    </a:lnTo>
                    <a:lnTo>
                      <a:pt x="4" y="35"/>
                    </a:lnTo>
                    <a:lnTo>
                      <a:pt x="2" y="33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0" y="32"/>
                    </a:lnTo>
                    <a:close/>
                    <a:moveTo>
                      <a:pt x="220" y="86"/>
                    </a:moveTo>
                    <a:lnTo>
                      <a:pt x="219" y="87"/>
                    </a:lnTo>
                    <a:lnTo>
                      <a:pt x="220" y="92"/>
                    </a:lnTo>
                    <a:lnTo>
                      <a:pt x="221" y="94"/>
                    </a:lnTo>
                    <a:lnTo>
                      <a:pt x="219" y="93"/>
                    </a:lnTo>
                    <a:lnTo>
                      <a:pt x="217" y="94"/>
                    </a:lnTo>
                    <a:lnTo>
                      <a:pt x="212" y="95"/>
                    </a:lnTo>
                    <a:lnTo>
                      <a:pt x="210" y="96"/>
                    </a:lnTo>
                    <a:lnTo>
                      <a:pt x="209" y="100"/>
                    </a:lnTo>
                    <a:lnTo>
                      <a:pt x="209" y="105"/>
                    </a:lnTo>
                    <a:lnTo>
                      <a:pt x="205" y="110"/>
                    </a:lnTo>
                    <a:lnTo>
                      <a:pt x="205" y="111"/>
                    </a:lnTo>
                    <a:lnTo>
                      <a:pt x="199" y="110"/>
                    </a:lnTo>
                    <a:lnTo>
                      <a:pt x="191" y="107"/>
                    </a:lnTo>
                    <a:lnTo>
                      <a:pt x="185" y="108"/>
                    </a:lnTo>
                    <a:lnTo>
                      <a:pt x="183" y="105"/>
                    </a:lnTo>
                    <a:lnTo>
                      <a:pt x="180" y="101"/>
                    </a:lnTo>
                    <a:lnTo>
                      <a:pt x="178" y="101"/>
                    </a:lnTo>
                    <a:lnTo>
                      <a:pt x="178" y="101"/>
                    </a:lnTo>
                    <a:lnTo>
                      <a:pt x="178" y="101"/>
                    </a:lnTo>
                    <a:lnTo>
                      <a:pt x="182" y="108"/>
                    </a:lnTo>
                    <a:lnTo>
                      <a:pt x="189" y="112"/>
                    </a:lnTo>
                    <a:lnTo>
                      <a:pt x="189" y="114"/>
                    </a:lnTo>
                    <a:lnTo>
                      <a:pt x="193" y="117"/>
                    </a:lnTo>
                    <a:lnTo>
                      <a:pt x="195" y="120"/>
                    </a:lnTo>
                    <a:lnTo>
                      <a:pt x="198" y="120"/>
                    </a:lnTo>
                    <a:lnTo>
                      <a:pt x="202" y="119"/>
                    </a:lnTo>
                    <a:lnTo>
                      <a:pt x="203" y="117"/>
                    </a:lnTo>
                    <a:lnTo>
                      <a:pt x="208" y="117"/>
                    </a:lnTo>
                    <a:lnTo>
                      <a:pt x="211" y="116"/>
                    </a:lnTo>
                    <a:lnTo>
                      <a:pt x="221" y="116"/>
                    </a:lnTo>
                    <a:lnTo>
                      <a:pt x="231" y="113"/>
                    </a:lnTo>
                    <a:lnTo>
                      <a:pt x="234" y="111"/>
                    </a:lnTo>
                    <a:lnTo>
                      <a:pt x="242" y="110"/>
                    </a:lnTo>
                    <a:lnTo>
                      <a:pt x="247" y="113"/>
                    </a:lnTo>
                    <a:lnTo>
                      <a:pt x="248" y="115"/>
                    </a:lnTo>
                    <a:lnTo>
                      <a:pt x="253" y="115"/>
                    </a:lnTo>
                    <a:lnTo>
                      <a:pt x="261" y="111"/>
                    </a:lnTo>
                    <a:lnTo>
                      <a:pt x="269" y="109"/>
                    </a:lnTo>
                    <a:lnTo>
                      <a:pt x="268" y="107"/>
                    </a:lnTo>
                    <a:lnTo>
                      <a:pt x="276" y="95"/>
                    </a:lnTo>
                    <a:lnTo>
                      <a:pt x="279" y="89"/>
                    </a:lnTo>
                    <a:lnTo>
                      <a:pt x="285" y="80"/>
                    </a:lnTo>
                    <a:lnTo>
                      <a:pt x="288" y="67"/>
                    </a:lnTo>
                    <a:lnTo>
                      <a:pt x="288" y="64"/>
                    </a:lnTo>
                    <a:lnTo>
                      <a:pt x="290" y="61"/>
                    </a:lnTo>
                    <a:lnTo>
                      <a:pt x="290" y="58"/>
                    </a:lnTo>
                    <a:lnTo>
                      <a:pt x="294" y="54"/>
                    </a:lnTo>
                    <a:lnTo>
                      <a:pt x="297" y="55"/>
                    </a:lnTo>
                    <a:lnTo>
                      <a:pt x="303" y="55"/>
                    </a:lnTo>
                    <a:lnTo>
                      <a:pt x="311" y="55"/>
                    </a:lnTo>
                    <a:lnTo>
                      <a:pt x="313" y="56"/>
                    </a:lnTo>
                    <a:lnTo>
                      <a:pt x="318" y="56"/>
                    </a:lnTo>
                    <a:lnTo>
                      <a:pt x="322" y="57"/>
                    </a:lnTo>
                    <a:lnTo>
                      <a:pt x="322" y="56"/>
                    </a:lnTo>
                    <a:lnTo>
                      <a:pt x="327" y="59"/>
                    </a:lnTo>
                    <a:lnTo>
                      <a:pt x="329" y="59"/>
                    </a:lnTo>
                    <a:lnTo>
                      <a:pt x="333" y="57"/>
                    </a:lnTo>
                    <a:lnTo>
                      <a:pt x="338" y="56"/>
                    </a:lnTo>
                    <a:lnTo>
                      <a:pt x="338" y="54"/>
                    </a:lnTo>
                    <a:lnTo>
                      <a:pt x="333" y="51"/>
                    </a:lnTo>
                    <a:lnTo>
                      <a:pt x="333" y="46"/>
                    </a:lnTo>
                    <a:lnTo>
                      <a:pt x="335" y="45"/>
                    </a:lnTo>
                    <a:lnTo>
                      <a:pt x="343" y="45"/>
                    </a:lnTo>
                    <a:lnTo>
                      <a:pt x="350" y="44"/>
                    </a:lnTo>
                    <a:lnTo>
                      <a:pt x="353" y="41"/>
                    </a:lnTo>
                    <a:lnTo>
                      <a:pt x="352" y="38"/>
                    </a:lnTo>
                    <a:lnTo>
                      <a:pt x="350" y="38"/>
                    </a:lnTo>
                    <a:lnTo>
                      <a:pt x="345" y="37"/>
                    </a:lnTo>
                    <a:lnTo>
                      <a:pt x="342" y="34"/>
                    </a:lnTo>
                    <a:lnTo>
                      <a:pt x="339" y="35"/>
                    </a:lnTo>
                    <a:lnTo>
                      <a:pt x="334" y="30"/>
                    </a:lnTo>
                    <a:lnTo>
                      <a:pt x="331" y="30"/>
                    </a:lnTo>
                    <a:lnTo>
                      <a:pt x="329" y="33"/>
                    </a:lnTo>
                    <a:lnTo>
                      <a:pt x="327" y="31"/>
                    </a:lnTo>
                    <a:lnTo>
                      <a:pt x="331" y="29"/>
                    </a:lnTo>
                    <a:lnTo>
                      <a:pt x="329" y="27"/>
                    </a:lnTo>
                    <a:lnTo>
                      <a:pt x="328" y="27"/>
                    </a:lnTo>
                    <a:lnTo>
                      <a:pt x="325" y="30"/>
                    </a:lnTo>
                    <a:lnTo>
                      <a:pt x="324" y="29"/>
                    </a:lnTo>
                    <a:lnTo>
                      <a:pt x="322" y="28"/>
                    </a:lnTo>
                    <a:lnTo>
                      <a:pt x="322" y="22"/>
                    </a:lnTo>
                    <a:lnTo>
                      <a:pt x="326" y="21"/>
                    </a:lnTo>
                    <a:lnTo>
                      <a:pt x="325" y="19"/>
                    </a:lnTo>
                    <a:lnTo>
                      <a:pt x="321" y="16"/>
                    </a:lnTo>
                    <a:lnTo>
                      <a:pt x="319" y="17"/>
                    </a:lnTo>
                    <a:lnTo>
                      <a:pt x="316" y="14"/>
                    </a:lnTo>
                    <a:lnTo>
                      <a:pt x="315" y="9"/>
                    </a:lnTo>
                    <a:lnTo>
                      <a:pt x="312" y="7"/>
                    </a:lnTo>
                    <a:lnTo>
                      <a:pt x="310" y="8"/>
                    </a:lnTo>
                    <a:lnTo>
                      <a:pt x="311" y="11"/>
                    </a:lnTo>
                    <a:lnTo>
                      <a:pt x="307" y="15"/>
                    </a:lnTo>
                    <a:lnTo>
                      <a:pt x="306" y="14"/>
                    </a:lnTo>
                    <a:lnTo>
                      <a:pt x="307" y="11"/>
                    </a:lnTo>
                    <a:lnTo>
                      <a:pt x="307" y="8"/>
                    </a:lnTo>
                    <a:lnTo>
                      <a:pt x="304" y="8"/>
                    </a:lnTo>
                    <a:lnTo>
                      <a:pt x="301" y="16"/>
                    </a:lnTo>
                    <a:lnTo>
                      <a:pt x="299" y="17"/>
                    </a:lnTo>
                    <a:lnTo>
                      <a:pt x="295" y="26"/>
                    </a:lnTo>
                    <a:lnTo>
                      <a:pt x="294" y="30"/>
                    </a:lnTo>
                    <a:lnTo>
                      <a:pt x="287" y="36"/>
                    </a:lnTo>
                    <a:lnTo>
                      <a:pt x="285" y="36"/>
                    </a:lnTo>
                    <a:lnTo>
                      <a:pt x="279" y="38"/>
                    </a:lnTo>
                    <a:lnTo>
                      <a:pt x="277" y="41"/>
                    </a:lnTo>
                    <a:lnTo>
                      <a:pt x="279" y="41"/>
                    </a:lnTo>
                    <a:lnTo>
                      <a:pt x="278" y="43"/>
                    </a:lnTo>
                    <a:lnTo>
                      <a:pt x="280" y="43"/>
                    </a:lnTo>
                    <a:lnTo>
                      <a:pt x="284" y="42"/>
                    </a:lnTo>
                    <a:lnTo>
                      <a:pt x="282" y="45"/>
                    </a:lnTo>
                    <a:lnTo>
                      <a:pt x="279" y="46"/>
                    </a:lnTo>
                    <a:lnTo>
                      <a:pt x="279" y="47"/>
                    </a:lnTo>
                    <a:lnTo>
                      <a:pt x="279" y="49"/>
                    </a:lnTo>
                    <a:lnTo>
                      <a:pt x="282" y="54"/>
                    </a:lnTo>
                    <a:lnTo>
                      <a:pt x="280" y="57"/>
                    </a:lnTo>
                    <a:lnTo>
                      <a:pt x="277" y="56"/>
                    </a:lnTo>
                    <a:lnTo>
                      <a:pt x="277" y="51"/>
                    </a:lnTo>
                    <a:lnTo>
                      <a:pt x="276" y="49"/>
                    </a:lnTo>
                    <a:lnTo>
                      <a:pt x="275" y="49"/>
                    </a:lnTo>
                    <a:lnTo>
                      <a:pt x="276" y="48"/>
                    </a:lnTo>
                    <a:lnTo>
                      <a:pt x="274" y="48"/>
                    </a:lnTo>
                    <a:lnTo>
                      <a:pt x="272" y="51"/>
                    </a:lnTo>
                    <a:lnTo>
                      <a:pt x="273" y="59"/>
                    </a:lnTo>
                    <a:lnTo>
                      <a:pt x="271" y="60"/>
                    </a:lnTo>
                    <a:lnTo>
                      <a:pt x="267" y="57"/>
                    </a:lnTo>
                    <a:lnTo>
                      <a:pt x="264" y="51"/>
                    </a:lnTo>
                    <a:lnTo>
                      <a:pt x="263" y="51"/>
                    </a:lnTo>
                    <a:lnTo>
                      <a:pt x="260" y="51"/>
                    </a:lnTo>
                    <a:lnTo>
                      <a:pt x="257" y="53"/>
                    </a:lnTo>
                    <a:lnTo>
                      <a:pt x="257" y="57"/>
                    </a:lnTo>
                    <a:lnTo>
                      <a:pt x="252" y="62"/>
                    </a:lnTo>
                    <a:lnTo>
                      <a:pt x="251" y="65"/>
                    </a:lnTo>
                    <a:lnTo>
                      <a:pt x="245" y="70"/>
                    </a:lnTo>
                    <a:lnTo>
                      <a:pt x="244" y="73"/>
                    </a:lnTo>
                    <a:lnTo>
                      <a:pt x="240" y="78"/>
                    </a:lnTo>
                    <a:lnTo>
                      <a:pt x="220" y="86"/>
                    </a:lnTo>
                    <a:close/>
                    <a:moveTo>
                      <a:pt x="309" y="0"/>
                    </a:moveTo>
                    <a:lnTo>
                      <a:pt x="305" y="3"/>
                    </a:lnTo>
                    <a:lnTo>
                      <a:pt x="307" y="3"/>
                    </a:lnTo>
                    <a:lnTo>
                      <a:pt x="309" y="2"/>
                    </a:lnTo>
                    <a:lnTo>
                      <a:pt x="309" y="0"/>
                    </a:lnTo>
                    <a:lnTo>
                      <a:pt x="309" y="0"/>
                    </a:lnTo>
                    <a:lnTo>
                      <a:pt x="309" y="0"/>
                    </a:lnTo>
                    <a:close/>
                    <a:moveTo>
                      <a:pt x="314" y="1"/>
                    </a:moveTo>
                    <a:lnTo>
                      <a:pt x="311" y="4"/>
                    </a:lnTo>
                    <a:lnTo>
                      <a:pt x="312" y="5"/>
                    </a:lnTo>
                    <a:lnTo>
                      <a:pt x="316" y="4"/>
                    </a:lnTo>
                    <a:lnTo>
                      <a:pt x="316" y="1"/>
                    </a:lnTo>
                    <a:lnTo>
                      <a:pt x="314" y="1"/>
                    </a:lnTo>
                    <a:lnTo>
                      <a:pt x="314" y="1"/>
                    </a:lnTo>
                    <a:lnTo>
                      <a:pt x="314" y="1"/>
                    </a:lnTo>
                    <a:close/>
                    <a:moveTo>
                      <a:pt x="213" y="94"/>
                    </a:moveTo>
                    <a:lnTo>
                      <a:pt x="210" y="95"/>
                    </a:lnTo>
                    <a:lnTo>
                      <a:pt x="212" y="92"/>
                    </a:lnTo>
                    <a:lnTo>
                      <a:pt x="213" y="94"/>
                    </a:lnTo>
                    <a:lnTo>
                      <a:pt x="213" y="94"/>
                    </a:lnTo>
                    <a:lnTo>
                      <a:pt x="213" y="94"/>
                    </a:lnTo>
                    <a:close/>
                    <a:moveTo>
                      <a:pt x="216" y="93"/>
                    </a:moveTo>
                    <a:lnTo>
                      <a:pt x="213" y="94"/>
                    </a:lnTo>
                    <a:lnTo>
                      <a:pt x="213" y="92"/>
                    </a:lnTo>
                    <a:lnTo>
                      <a:pt x="213" y="91"/>
                    </a:lnTo>
                    <a:lnTo>
                      <a:pt x="216" y="93"/>
                    </a:lnTo>
                    <a:lnTo>
                      <a:pt x="216" y="93"/>
                    </a:lnTo>
                    <a:lnTo>
                      <a:pt x="216" y="93"/>
                    </a:lnTo>
                    <a:close/>
                    <a:moveTo>
                      <a:pt x="218" y="87"/>
                    </a:moveTo>
                    <a:lnTo>
                      <a:pt x="219" y="91"/>
                    </a:lnTo>
                    <a:lnTo>
                      <a:pt x="217" y="92"/>
                    </a:lnTo>
                    <a:lnTo>
                      <a:pt x="214" y="90"/>
                    </a:lnTo>
                    <a:lnTo>
                      <a:pt x="214" y="88"/>
                    </a:lnTo>
                    <a:lnTo>
                      <a:pt x="215" y="88"/>
                    </a:lnTo>
                    <a:lnTo>
                      <a:pt x="215" y="88"/>
                    </a:lnTo>
                    <a:lnTo>
                      <a:pt x="218" y="87"/>
                    </a:lnTo>
                    <a:lnTo>
                      <a:pt x="218" y="87"/>
                    </a:lnTo>
                    <a:lnTo>
                      <a:pt x="218" y="87"/>
                    </a:lnTo>
                    <a:close/>
                    <a:moveTo>
                      <a:pt x="1" y="17"/>
                    </a:moveTo>
                    <a:lnTo>
                      <a:pt x="2" y="13"/>
                    </a:lnTo>
                    <a:lnTo>
                      <a:pt x="5" y="10"/>
                    </a:lnTo>
                    <a:lnTo>
                      <a:pt x="7" y="13"/>
                    </a:lnTo>
                    <a:lnTo>
                      <a:pt x="12" y="15"/>
                    </a:lnTo>
                    <a:lnTo>
                      <a:pt x="13" y="17"/>
                    </a:lnTo>
                    <a:lnTo>
                      <a:pt x="17" y="17"/>
                    </a:lnTo>
                    <a:lnTo>
                      <a:pt x="20" y="19"/>
                    </a:lnTo>
                    <a:lnTo>
                      <a:pt x="19" y="25"/>
                    </a:lnTo>
                    <a:lnTo>
                      <a:pt x="17" y="27"/>
                    </a:lnTo>
                    <a:lnTo>
                      <a:pt x="17" y="30"/>
                    </a:lnTo>
                    <a:lnTo>
                      <a:pt x="22" y="30"/>
                    </a:lnTo>
                    <a:lnTo>
                      <a:pt x="26" y="28"/>
                    </a:lnTo>
                    <a:lnTo>
                      <a:pt x="29" y="27"/>
                    </a:lnTo>
                    <a:lnTo>
                      <a:pt x="31" y="29"/>
                    </a:lnTo>
                    <a:lnTo>
                      <a:pt x="34" y="27"/>
                    </a:lnTo>
                    <a:lnTo>
                      <a:pt x="34" y="24"/>
                    </a:lnTo>
                    <a:lnTo>
                      <a:pt x="35" y="23"/>
                    </a:lnTo>
                    <a:lnTo>
                      <a:pt x="35" y="23"/>
                    </a:lnTo>
                    <a:lnTo>
                      <a:pt x="38" y="23"/>
                    </a:lnTo>
                    <a:lnTo>
                      <a:pt x="40" y="21"/>
                    </a:lnTo>
                    <a:lnTo>
                      <a:pt x="41" y="21"/>
                    </a:lnTo>
                    <a:lnTo>
                      <a:pt x="44" y="26"/>
                    </a:lnTo>
                    <a:lnTo>
                      <a:pt x="57" y="39"/>
                    </a:lnTo>
                    <a:lnTo>
                      <a:pt x="61" y="45"/>
                    </a:lnTo>
                    <a:lnTo>
                      <a:pt x="63" y="52"/>
                    </a:lnTo>
                    <a:lnTo>
                      <a:pt x="62" y="54"/>
                    </a:lnTo>
                    <a:lnTo>
                      <a:pt x="62" y="63"/>
                    </a:lnTo>
                    <a:lnTo>
                      <a:pt x="61" y="64"/>
                    </a:lnTo>
                    <a:lnTo>
                      <a:pt x="61" y="67"/>
                    </a:lnTo>
                    <a:lnTo>
                      <a:pt x="63" y="70"/>
                    </a:lnTo>
                    <a:lnTo>
                      <a:pt x="63" y="78"/>
                    </a:lnTo>
                    <a:lnTo>
                      <a:pt x="65" y="83"/>
                    </a:lnTo>
                    <a:lnTo>
                      <a:pt x="69" y="87"/>
                    </a:lnTo>
                    <a:lnTo>
                      <a:pt x="71" y="87"/>
                    </a:lnTo>
                    <a:lnTo>
                      <a:pt x="72" y="89"/>
                    </a:lnTo>
                    <a:lnTo>
                      <a:pt x="72" y="90"/>
                    </a:lnTo>
                    <a:lnTo>
                      <a:pt x="73" y="95"/>
                    </a:lnTo>
                    <a:lnTo>
                      <a:pt x="74" y="96"/>
                    </a:lnTo>
                    <a:lnTo>
                      <a:pt x="75" y="97"/>
                    </a:lnTo>
                    <a:lnTo>
                      <a:pt x="75" y="98"/>
                    </a:lnTo>
                    <a:lnTo>
                      <a:pt x="76" y="99"/>
                    </a:lnTo>
                    <a:lnTo>
                      <a:pt x="80" y="106"/>
                    </a:lnTo>
                    <a:lnTo>
                      <a:pt x="80" y="111"/>
                    </a:lnTo>
                    <a:lnTo>
                      <a:pt x="77" y="110"/>
                    </a:lnTo>
                    <a:lnTo>
                      <a:pt x="76" y="109"/>
                    </a:lnTo>
                    <a:lnTo>
                      <a:pt x="76" y="107"/>
                    </a:lnTo>
                    <a:lnTo>
                      <a:pt x="74" y="105"/>
                    </a:lnTo>
                    <a:lnTo>
                      <a:pt x="75" y="107"/>
                    </a:lnTo>
                    <a:lnTo>
                      <a:pt x="75" y="109"/>
                    </a:lnTo>
                    <a:lnTo>
                      <a:pt x="74" y="109"/>
                    </a:lnTo>
                    <a:lnTo>
                      <a:pt x="76" y="110"/>
                    </a:lnTo>
                    <a:lnTo>
                      <a:pt x="76" y="110"/>
                    </a:lnTo>
                    <a:lnTo>
                      <a:pt x="72" y="113"/>
                    </a:lnTo>
                    <a:lnTo>
                      <a:pt x="71" y="111"/>
                    </a:lnTo>
                    <a:lnTo>
                      <a:pt x="70" y="112"/>
                    </a:lnTo>
                    <a:lnTo>
                      <a:pt x="67" y="110"/>
                    </a:lnTo>
                    <a:lnTo>
                      <a:pt x="64" y="108"/>
                    </a:lnTo>
                    <a:lnTo>
                      <a:pt x="58" y="106"/>
                    </a:lnTo>
                    <a:lnTo>
                      <a:pt x="52" y="103"/>
                    </a:lnTo>
                    <a:lnTo>
                      <a:pt x="49" y="100"/>
                    </a:lnTo>
                    <a:lnTo>
                      <a:pt x="48" y="99"/>
                    </a:lnTo>
                    <a:lnTo>
                      <a:pt x="45" y="99"/>
                    </a:lnTo>
                    <a:lnTo>
                      <a:pt x="43" y="99"/>
                    </a:lnTo>
                    <a:lnTo>
                      <a:pt x="38" y="95"/>
                    </a:lnTo>
                    <a:lnTo>
                      <a:pt x="38" y="92"/>
                    </a:lnTo>
                    <a:lnTo>
                      <a:pt x="32" y="88"/>
                    </a:lnTo>
                    <a:lnTo>
                      <a:pt x="26" y="85"/>
                    </a:lnTo>
                    <a:lnTo>
                      <a:pt x="24" y="83"/>
                    </a:lnTo>
                    <a:lnTo>
                      <a:pt x="25" y="80"/>
                    </a:lnTo>
                    <a:lnTo>
                      <a:pt x="27" y="78"/>
                    </a:lnTo>
                    <a:lnTo>
                      <a:pt x="25" y="74"/>
                    </a:lnTo>
                    <a:lnTo>
                      <a:pt x="22" y="73"/>
                    </a:lnTo>
                    <a:lnTo>
                      <a:pt x="18" y="68"/>
                    </a:lnTo>
                    <a:lnTo>
                      <a:pt x="13" y="65"/>
                    </a:lnTo>
                    <a:lnTo>
                      <a:pt x="11" y="62"/>
                    </a:lnTo>
                    <a:lnTo>
                      <a:pt x="12" y="60"/>
                    </a:lnTo>
                    <a:lnTo>
                      <a:pt x="9" y="58"/>
                    </a:lnTo>
                    <a:lnTo>
                      <a:pt x="8" y="54"/>
                    </a:lnTo>
                    <a:lnTo>
                      <a:pt x="10" y="53"/>
                    </a:lnTo>
                    <a:lnTo>
                      <a:pt x="10" y="48"/>
                    </a:lnTo>
                    <a:lnTo>
                      <a:pt x="8" y="43"/>
                    </a:lnTo>
                    <a:lnTo>
                      <a:pt x="6" y="38"/>
                    </a:lnTo>
                    <a:lnTo>
                      <a:pt x="5" y="24"/>
                    </a:lnTo>
                    <a:lnTo>
                      <a:pt x="1" y="17"/>
                    </a:lnTo>
                    <a:lnTo>
                      <a:pt x="1" y="17"/>
                    </a:ln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799" name="Freeform 603"/>
              <p:cNvSpPr>
                <a:spLocks noEditPoints="1"/>
              </p:cNvSpPr>
              <p:nvPr userDrawn="1"/>
            </p:nvSpPr>
            <p:spPr bwMode="auto">
              <a:xfrm>
                <a:off x="5315" y="2796"/>
                <a:ext cx="353" cy="120"/>
              </a:xfrm>
              <a:custGeom>
                <a:avLst/>
                <a:gdLst>
                  <a:gd name="T0" fmla="*/ 213 w 353"/>
                  <a:gd name="T1" fmla="*/ 88 h 120"/>
                  <a:gd name="T2" fmla="*/ 1 w 353"/>
                  <a:gd name="T3" fmla="*/ 36 h 120"/>
                  <a:gd name="T4" fmla="*/ 0 w 353"/>
                  <a:gd name="T5" fmla="*/ 32 h 120"/>
                  <a:gd name="T6" fmla="*/ 220 w 353"/>
                  <a:gd name="T7" fmla="*/ 92 h 120"/>
                  <a:gd name="T8" fmla="*/ 210 w 353"/>
                  <a:gd name="T9" fmla="*/ 96 h 120"/>
                  <a:gd name="T10" fmla="*/ 199 w 353"/>
                  <a:gd name="T11" fmla="*/ 110 h 120"/>
                  <a:gd name="T12" fmla="*/ 178 w 353"/>
                  <a:gd name="T13" fmla="*/ 101 h 120"/>
                  <a:gd name="T14" fmla="*/ 189 w 353"/>
                  <a:gd name="T15" fmla="*/ 114 h 120"/>
                  <a:gd name="T16" fmla="*/ 203 w 353"/>
                  <a:gd name="T17" fmla="*/ 117 h 120"/>
                  <a:gd name="T18" fmla="*/ 234 w 353"/>
                  <a:gd name="T19" fmla="*/ 111 h 120"/>
                  <a:gd name="T20" fmla="*/ 261 w 353"/>
                  <a:gd name="T21" fmla="*/ 111 h 120"/>
                  <a:gd name="T22" fmla="*/ 285 w 353"/>
                  <a:gd name="T23" fmla="*/ 80 h 120"/>
                  <a:gd name="T24" fmla="*/ 294 w 353"/>
                  <a:gd name="T25" fmla="*/ 54 h 120"/>
                  <a:gd name="T26" fmla="*/ 318 w 353"/>
                  <a:gd name="T27" fmla="*/ 56 h 120"/>
                  <a:gd name="T28" fmla="*/ 333 w 353"/>
                  <a:gd name="T29" fmla="*/ 57 h 120"/>
                  <a:gd name="T30" fmla="*/ 335 w 353"/>
                  <a:gd name="T31" fmla="*/ 45 h 120"/>
                  <a:gd name="T32" fmla="*/ 350 w 353"/>
                  <a:gd name="T33" fmla="*/ 38 h 120"/>
                  <a:gd name="T34" fmla="*/ 331 w 353"/>
                  <a:gd name="T35" fmla="*/ 30 h 120"/>
                  <a:gd name="T36" fmla="*/ 328 w 353"/>
                  <a:gd name="T37" fmla="*/ 27 h 120"/>
                  <a:gd name="T38" fmla="*/ 326 w 353"/>
                  <a:gd name="T39" fmla="*/ 21 h 120"/>
                  <a:gd name="T40" fmla="*/ 315 w 353"/>
                  <a:gd name="T41" fmla="*/ 9 h 120"/>
                  <a:gd name="T42" fmla="*/ 306 w 353"/>
                  <a:gd name="T43" fmla="*/ 14 h 120"/>
                  <a:gd name="T44" fmla="*/ 299 w 353"/>
                  <a:gd name="T45" fmla="*/ 17 h 120"/>
                  <a:gd name="T46" fmla="*/ 279 w 353"/>
                  <a:gd name="T47" fmla="*/ 38 h 120"/>
                  <a:gd name="T48" fmla="*/ 284 w 353"/>
                  <a:gd name="T49" fmla="*/ 42 h 120"/>
                  <a:gd name="T50" fmla="*/ 282 w 353"/>
                  <a:gd name="T51" fmla="*/ 54 h 120"/>
                  <a:gd name="T52" fmla="*/ 275 w 353"/>
                  <a:gd name="T53" fmla="*/ 49 h 120"/>
                  <a:gd name="T54" fmla="*/ 271 w 353"/>
                  <a:gd name="T55" fmla="*/ 60 h 120"/>
                  <a:gd name="T56" fmla="*/ 257 w 353"/>
                  <a:gd name="T57" fmla="*/ 53 h 120"/>
                  <a:gd name="T58" fmla="*/ 244 w 353"/>
                  <a:gd name="T59" fmla="*/ 73 h 120"/>
                  <a:gd name="T60" fmla="*/ 309 w 353"/>
                  <a:gd name="T61" fmla="*/ 2 h 120"/>
                  <a:gd name="T62" fmla="*/ 311 w 353"/>
                  <a:gd name="T63" fmla="*/ 4 h 120"/>
                  <a:gd name="T64" fmla="*/ 314 w 353"/>
                  <a:gd name="T65" fmla="*/ 1 h 120"/>
                  <a:gd name="T66" fmla="*/ 213 w 353"/>
                  <a:gd name="T67" fmla="*/ 94 h 120"/>
                  <a:gd name="T68" fmla="*/ 213 w 353"/>
                  <a:gd name="T69" fmla="*/ 92 h 120"/>
                  <a:gd name="T70" fmla="*/ 218 w 353"/>
                  <a:gd name="T71" fmla="*/ 87 h 120"/>
                  <a:gd name="T72" fmla="*/ 215 w 353"/>
                  <a:gd name="T73" fmla="*/ 88 h 120"/>
                  <a:gd name="T74" fmla="*/ 1 w 353"/>
                  <a:gd name="T75" fmla="*/ 17 h 120"/>
                  <a:gd name="T76" fmla="*/ 13 w 353"/>
                  <a:gd name="T77" fmla="*/ 17 h 120"/>
                  <a:gd name="T78" fmla="*/ 17 w 353"/>
                  <a:gd name="T79" fmla="*/ 30 h 120"/>
                  <a:gd name="T80" fmla="*/ 34 w 353"/>
                  <a:gd name="T81" fmla="*/ 27 h 120"/>
                  <a:gd name="T82" fmla="*/ 40 w 353"/>
                  <a:gd name="T83" fmla="*/ 21 h 120"/>
                  <a:gd name="T84" fmla="*/ 63 w 353"/>
                  <a:gd name="T85" fmla="*/ 52 h 120"/>
                  <a:gd name="T86" fmla="*/ 63 w 353"/>
                  <a:gd name="T87" fmla="*/ 70 h 120"/>
                  <a:gd name="T88" fmla="*/ 72 w 353"/>
                  <a:gd name="T89" fmla="*/ 89 h 120"/>
                  <a:gd name="T90" fmla="*/ 75 w 353"/>
                  <a:gd name="T91" fmla="*/ 98 h 120"/>
                  <a:gd name="T92" fmla="*/ 76 w 353"/>
                  <a:gd name="T93" fmla="*/ 109 h 120"/>
                  <a:gd name="T94" fmla="*/ 74 w 353"/>
                  <a:gd name="T95" fmla="*/ 109 h 120"/>
                  <a:gd name="T96" fmla="*/ 70 w 353"/>
                  <a:gd name="T97" fmla="*/ 112 h 120"/>
                  <a:gd name="T98" fmla="*/ 49 w 353"/>
                  <a:gd name="T99" fmla="*/ 100 h 120"/>
                  <a:gd name="T100" fmla="*/ 38 w 353"/>
                  <a:gd name="T101" fmla="*/ 92 h 120"/>
                  <a:gd name="T102" fmla="*/ 27 w 353"/>
                  <a:gd name="T103" fmla="*/ 78 h 120"/>
                  <a:gd name="T104" fmla="*/ 11 w 353"/>
                  <a:gd name="T105" fmla="*/ 62 h 120"/>
                  <a:gd name="T106" fmla="*/ 10 w 353"/>
                  <a:gd name="T107" fmla="*/ 48 h 120"/>
                  <a:gd name="T108" fmla="*/ 1 w 353"/>
                  <a:gd name="T109" fmla="*/ 17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353" h="120">
                    <a:moveTo>
                      <a:pt x="213" y="88"/>
                    </a:moveTo>
                    <a:lnTo>
                      <a:pt x="213" y="91"/>
                    </a:lnTo>
                    <a:lnTo>
                      <a:pt x="212" y="91"/>
                    </a:lnTo>
                    <a:lnTo>
                      <a:pt x="212" y="90"/>
                    </a:lnTo>
                    <a:lnTo>
                      <a:pt x="213" y="88"/>
                    </a:lnTo>
                    <a:lnTo>
                      <a:pt x="213" y="88"/>
                    </a:lnTo>
                    <a:lnTo>
                      <a:pt x="213" y="88"/>
                    </a:lnTo>
                    <a:lnTo>
                      <a:pt x="213" y="88"/>
                    </a:lnTo>
                    <a:moveTo>
                      <a:pt x="0" y="32"/>
                    </a:moveTo>
                    <a:lnTo>
                      <a:pt x="1" y="36"/>
                    </a:lnTo>
                    <a:lnTo>
                      <a:pt x="3" y="39"/>
                    </a:lnTo>
                    <a:lnTo>
                      <a:pt x="4" y="38"/>
                    </a:lnTo>
                    <a:lnTo>
                      <a:pt x="4" y="35"/>
                    </a:lnTo>
                    <a:lnTo>
                      <a:pt x="2" y="33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0" y="32"/>
                    </a:lnTo>
                    <a:moveTo>
                      <a:pt x="220" y="86"/>
                    </a:moveTo>
                    <a:lnTo>
                      <a:pt x="219" y="87"/>
                    </a:lnTo>
                    <a:lnTo>
                      <a:pt x="220" y="92"/>
                    </a:lnTo>
                    <a:lnTo>
                      <a:pt x="221" y="94"/>
                    </a:lnTo>
                    <a:lnTo>
                      <a:pt x="219" y="93"/>
                    </a:lnTo>
                    <a:lnTo>
                      <a:pt x="217" y="94"/>
                    </a:lnTo>
                    <a:lnTo>
                      <a:pt x="212" y="95"/>
                    </a:lnTo>
                    <a:lnTo>
                      <a:pt x="210" y="96"/>
                    </a:lnTo>
                    <a:lnTo>
                      <a:pt x="209" y="100"/>
                    </a:lnTo>
                    <a:lnTo>
                      <a:pt x="209" y="105"/>
                    </a:lnTo>
                    <a:lnTo>
                      <a:pt x="205" y="110"/>
                    </a:lnTo>
                    <a:lnTo>
                      <a:pt x="205" y="111"/>
                    </a:lnTo>
                    <a:lnTo>
                      <a:pt x="199" y="110"/>
                    </a:lnTo>
                    <a:lnTo>
                      <a:pt x="191" y="107"/>
                    </a:lnTo>
                    <a:lnTo>
                      <a:pt x="185" y="108"/>
                    </a:lnTo>
                    <a:lnTo>
                      <a:pt x="183" y="105"/>
                    </a:lnTo>
                    <a:lnTo>
                      <a:pt x="180" y="101"/>
                    </a:lnTo>
                    <a:lnTo>
                      <a:pt x="178" y="101"/>
                    </a:lnTo>
                    <a:lnTo>
                      <a:pt x="178" y="101"/>
                    </a:lnTo>
                    <a:lnTo>
                      <a:pt x="178" y="101"/>
                    </a:lnTo>
                    <a:lnTo>
                      <a:pt x="182" y="108"/>
                    </a:lnTo>
                    <a:lnTo>
                      <a:pt x="189" y="112"/>
                    </a:lnTo>
                    <a:lnTo>
                      <a:pt x="189" y="114"/>
                    </a:lnTo>
                    <a:lnTo>
                      <a:pt x="193" y="117"/>
                    </a:lnTo>
                    <a:lnTo>
                      <a:pt x="195" y="120"/>
                    </a:lnTo>
                    <a:lnTo>
                      <a:pt x="198" y="120"/>
                    </a:lnTo>
                    <a:lnTo>
                      <a:pt x="202" y="119"/>
                    </a:lnTo>
                    <a:lnTo>
                      <a:pt x="203" y="117"/>
                    </a:lnTo>
                    <a:lnTo>
                      <a:pt x="208" y="117"/>
                    </a:lnTo>
                    <a:lnTo>
                      <a:pt x="211" y="116"/>
                    </a:lnTo>
                    <a:lnTo>
                      <a:pt x="221" y="116"/>
                    </a:lnTo>
                    <a:lnTo>
                      <a:pt x="231" y="113"/>
                    </a:lnTo>
                    <a:lnTo>
                      <a:pt x="234" y="111"/>
                    </a:lnTo>
                    <a:lnTo>
                      <a:pt x="242" y="110"/>
                    </a:lnTo>
                    <a:lnTo>
                      <a:pt x="247" y="113"/>
                    </a:lnTo>
                    <a:lnTo>
                      <a:pt x="248" y="115"/>
                    </a:lnTo>
                    <a:lnTo>
                      <a:pt x="253" y="115"/>
                    </a:lnTo>
                    <a:lnTo>
                      <a:pt x="261" y="111"/>
                    </a:lnTo>
                    <a:lnTo>
                      <a:pt x="269" y="109"/>
                    </a:lnTo>
                    <a:lnTo>
                      <a:pt x="268" y="107"/>
                    </a:lnTo>
                    <a:lnTo>
                      <a:pt x="276" y="95"/>
                    </a:lnTo>
                    <a:lnTo>
                      <a:pt x="279" y="89"/>
                    </a:lnTo>
                    <a:lnTo>
                      <a:pt x="285" y="80"/>
                    </a:lnTo>
                    <a:lnTo>
                      <a:pt x="288" y="67"/>
                    </a:lnTo>
                    <a:lnTo>
                      <a:pt x="288" y="64"/>
                    </a:lnTo>
                    <a:lnTo>
                      <a:pt x="290" y="61"/>
                    </a:lnTo>
                    <a:lnTo>
                      <a:pt x="290" y="58"/>
                    </a:lnTo>
                    <a:lnTo>
                      <a:pt x="294" y="54"/>
                    </a:lnTo>
                    <a:lnTo>
                      <a:pt x="297" y="55"/>
                    </a:lnTo>
                    <a:lnTo>
                      <a:pt x="303" y="55"/>
                    </a:lnTo>
                    <a:lnTo>
                      <a:pt x="311" y="55"/>
                    </a:lnTo>
                    <a:lnTo>
                      <a:pt x="313" y="56"/>
                    </a:lnTo>
                    <a:lnTo>
                      <a:pt x="318" y="56"/>
                    </a:lnTo>
                    <a:lnTo>
                      <a:pt x="322" y="57"/>
                    </a:lnTo>
                    <a:lnTo>
                      <a:pt x="322" y="56"/>
                    </a:lnTo>
                    <a:lnTo>
                      <a:pt x="327" y="59"/>
                    </a:lnTo>
                    <a:lnTo>
                      <a:pt x="329" y="59"/>
                    </a:lnTo>
                    <a:lnTo>
                      <a:pt x="333" y="57"/>
                    </a:lnTo>
                    <a:lnTo>
                      <a:pt x="338" y="56"/>
                    </a:lnTo>
                    <a:lnTo>
                      <a:pt x="338" y="54"/>
                    </a:lnTo>
                    <a:lnTo>
                      <a:pt x="333" y="51"/>
                    </a:lnTo>
                    <a:lnTo>
                      <a:pt x="333" y="46"/>
                    </a:lnTo>
                    <a:lnTo>
                      <a:pt x="335" y="45"/>
                    </a:lnTo>
                    <a:lnTo>
                      <a:pt x="343" y="45"/>
                    </a:lnTo>
                    <a:lnTo>
                      <a:pt x="350" y="44"/>
                    </a:lnTo>
                    <a:lnTo>
                      <a:pt x="353" y="41"/>
                    </a:lnTo>
                    <a:lnTo>
                      <a:pt x="352" y="38"/>
                    </a:lnTo>
                    <a:lnTo>
                      <a:pt x="350" y="38"/>
                    </a:lnTo>
                    <a:lnTo>
                      <a:pt x="345" y="37"/>
                    </a:lnTo>
                    <a:lnTo>
                      <a:pt x="342" y="34"/>
                    </a:lnTo>
                    <a:lnTo>
                      <a:pt x="339" y="35"/>
                    </a:lnTo>
                    <a:lnTo>
                      <a:pt x="334" y="30"/>
                    </a:lnTo>
                    <a:lnTo>
                      <a:pt x="331" y="30"/>
                    </a:lnTo>
                    <a:lnTo>
                      <a:pt x="329" y="33"/>
                    </a:lnTo>
                    <a:lnTo>
                      <a:pt x="327" y="31"/>
                    </a:lnTo>
                    <a:lnTo>
                      <a:pt x="331" y="29"/>
                    </a:lnTo>
                    <a:lnTo>
                      <a:pt x="329" y="27"/>
                    </a:lnTo>
                    <a:lnTo>
                      <a:pt x="328" y="27"/>
                    </a:lnTo>
                    <a:lnTo>
                      <a:pt x="325" y="30"/>
                    </a:lnTo>
                    <a:lnTo>
                      <a:pt x="324" y="29"/>
                    </a:lnTo>
                    <a:lnTo>
                      <a:pt x="322" y="28"/>
                    </a:lnTo>
                    <a:lnTo>
                      <a:pt x="322" y="22"/>
                    </a:lnTo>
                    <a:lnTo>
                      <a:pt x="326" y="21"/>
                    </a:lnTo>
                    <a:lnTo>
                      <a:pt x="325" y="19"/>
                    </a:lnTo>
                    <a:lnTo>
                      <a:pt x="321" y="16"/>
                    </a:lnTo>
                    <a:lnTo>
                      <a:pt x="319" y="17"/>
                    </a:lnTo>
                    <a:lnTo>
                      <a:pt x="316" y="14"/>
                    </a:lnTo>
                    <a:lnTo>
                      <a:pt x="315" y="9"/>
                    </a:lnTo>
                    <a:lnTo>
                      <a:pt x="312" y="7"/>
                    </a:lnTo>
                    <a:lnTo>
                      <a:pt x="310" y="8"/>
                    </a:lnTo>
                    <a:lnTo>
                      <a:pt x="311" y="11"/>
                    </a:lnTo>
                    <a:lnTo>
                      <a:pt x="307" y="15"/>
                    </a:lnTo>
                    <a:lnTo>
                      <a:pt x="306" y="14"/>
                    </a:lnTo>
                    <a:lnTo>
                      <a:pt x="307" y="11"/>
                    </a:lnTo>
                    <a:lnTo>
                      <a:pt x="307" y="8"/>
                    </a:lnTo>
                    <a:lnTo>
                      <a:pt x="304" y="8"/>
                    </a:lnTo>
                    <a:lnTo>
                      <a:pt x="301" y="16"/>
                    </a:lnTo>
                    <a:lnTo>
                      <a:pt x="299" y="17"/>
                    </a:lnTo>
                    <a:lnTo>
                      <a:pt x="295" y="26"/>
                    </a:lnTo>
                    <a:lnTo>
                      <a:pt x="294" y="30"/>
                    </a:lnTo>
                    <a:lnTo>
                      <a:pt x="287" y="36"/>
                    </a:lnTo>
                    <a:lnTo>
                      <a:pt x="285" y="36"/>
                    </a:lnTo>
                    <a:lnTo>
                      <a:pt x="279" y="38"/>
                    </a:lnTo>
                    <a:lnTo>
                      <a:pt x="277" y="41"/>
                    </a:lnTo>
                    <a:lnTo>
                      <a:pt x="279" y="41"/>
                    </a:lnTo>
                    <a:lnTo>
                      <a:pt x="278" y="43"/>
                    </a:lnTo>
                    <a:lnTo>
                      <a:pt x="280" y="43"/>
                    </a:lnTo>
                    <a:lnTo>
                      <a:pt x="284" y="42"/>
                    </a:lnTo>
                    <a:lnTo>
                      <a:pt x="282" y="45"/>
                    </a:lnTo>
                    <a:lnTo>
                      <a:pt x="279" y="46"/>
                    </a:lnTo>
                    <a:lnTo>
                      <a:pt x="279" y="47"/>
                    </a:lnTo>
                    <a:lnTo>
                      <a:pt x="279" y="49"/>
                    </a:lnTo>
                    <a:lnTo>
                      <a:pt x="282" y="54"/>
                    </a:lnTo>
                    <a:lnTo>
                      <a:pt x="280" y="57"/>
                    </a:lnTo>
                    <a:lnTo>
                      <a:pt x="277" y="56"/>
                    </a:lnTo>
                    <a:lnTo>
                      <a:pt x="277" y="51"/>
                    </a:lnTo>
                    <a:lnTo>
                      <a:pt x="276" y="49"/>
                    </a:lnTo>
                    <a:lnTo>
                      <a:pt x="275" y="49"/>
                    </a:lnTo>
                    <a:lnTo>
                      <a:pt x="276" y="48"/>
                    </a:lnTo>
                    <a:lnTo>
                      <a:pt x="274" y="48"/>
                    </a:lnTo>
                    <a:lnTo>
                      <a:pt x="272" y="51"/>
                    </a:lnTo>
                    <a:lnTo>
                      <a:pt x="273" y="59"/>
                    </a:lnTo>
                    <a:lnTo>
                      <a:pt x="271" y="60"/>
                    </a:lnTo>
                    <a:lnTo>
                      <a:pt x="267" y="57"/>
                    </a:lnTo>
                    <a:lnTo>
                      <a:pt x="264" y="51"/>
                    </a:lnTo>
                    <a:lnTo>
                      <a:pt x="263" y="51"/>
                    </a:lnTo>
                    <a:lnTo>
                      <a:pt x="260" y="51"/>
                    </a:lnTo>
                    <a:lnTo>
                      <a:pt x="257" y="53"/>
                    </a:lnTo>
                    <a:lnTo>
                      <a:pt x="257" y="57"/>
                    </a:lnTo>
                    <a:lnTo>
                      <a:pt x="252" y="62"/>
                    </a:lnTo>
                    <a:lnTo>
                      <a:pt x="251" y="65"/>
                    </a:lnTo>
                    <a:lnTo>
                      <a:pt x="245" y="70"/>
                    </a:lnTo>
                    <a:lnTo>
                      <a:pt x="244" y="73"/>
                    </a:lnTo>
                    <a:lnTo>
                      <a:pt x="240" y="78"/>
                    </a:lnTo>
                    <a:moveTo>
                      <a:pt x="309" y="0"/>
                    </a:moveTo>
                    <a:lnTo>
                      <a:pt x="305" y="3"/>
                    </a:lnTo>
                    <a:lnTo>
                      <a:pt x="307" y="3"/>
                    </a:lnTo>
                    <a:lnTo>
                      <a:pt x="309" y="2"/>
                    </a:lnTo>
                    <a:lnTo>
                      <a:pt x="309" y="0"/>
                    </a:lnTo>
                    <a:lnTo>
                      <a:pt x="309" y="0"/>
                    </a:lnTo>
                    <a:lnTo>
                      <a:pt x="309" y="0"/>
                    </a:lnTo>
                    <a:moveTo>
                      <a:pt x="314" y="1"/>
                    </a:moveTo>
                    <a:lnTo>
                      <a:pt x="311" y="4"/>
                    </a:lnTo>
                    <a:lnTo>
                      <a:pt x="312" y="5"/>
                    </a:lnTo>
                    <a:lnTo>
                      <a:pt x="316" y="4"/>
                    </a:lnTo>
                    <a:lnTo>
                      <a:pt x="316" y="1"/>
                    </a:lnTo>
                    <a:lnTo>
                      <a:pt x="314" y="1"/>
                    </a:lnTo>
                    <a:lnTo>
                      <a:pt x="314" y="1"/>
                    </a:lnTo>
                    <a:lnTo>
                      <a:pt x="314" y="1"/>
                    </a:lnTo>
                    <a:moveTo>
                      <a:pt x="213" y="94"/>
                    </a:moveTo>
                    <a:lnTo>
                      <a:pt x="210" y="95"/>
                    </a:lnTo>
                    <a:lnTo>
                      <a:pt x="212" y="92"/>
                    </a:lnTo>
                    <a:lnTo>
                      <a:pt x="213" y="94"/>
                    </a:lnTo>
                    <a:lnTo>
                      <a:pt x="213" y="94"/>
                    </a:lnTo>
                    <a:lnTo>
                      <a:pt x="213" y="94"/>
                    </a:lnTo>
                    <a:moveTo>
                      <a:pt x="216" y="93"/>
                    </a:moveTo>
                    <a:lnTo>
                      <a:pt x="213" y="94"/>
                    </a:lnTo>
                    <a:lnTo>
                      <a:pt x="213" y="92"/>
                    </a:lnTo>
                    <a:lnTo>
                      <a:pt x="213" y="91"/>
                    </a:lnTo>
                    <a:lnTo>
                      <a:pt x="216" y="93"/>
                    </a:lnTo>
                    <a:lnTo>
                      <a:pt x="216" y="93"/>
                    </a:lnTo>
                    <a:lnTo>
                      <a:pt x="216" y="93"/>
                    </a:lnTo>
                    <a:moveTo>
                      <a:pt x="218" y="87"/>
                    </a:moveTo>
                    <a:lnTo>
                      <a:pt x="219" y="91"/>
                    </a:lnTo>
                    <a:lnTo>
                      <a:pt x="217" y="92"/>
                    </a:lnTo>
                    <a:lnTo>
                      <a:pt x="214" y="90"/>
                    </a:lnTo>
                    <a:lnTo>
                      <a:pt x="214" y="88"/>
                    </a:lnTo>
                    <a:lnTo>
                      <a:pt x="215" y="88"/>
                    </a:lnTo>
                    <a:lnTo>
                      <a:pt x="215" y="88"/>
                    </a:lnTo>
                    <a:lnTo>
                      <a:pt x="218" y="87"/>
                    </a:lnTo>
                    <a:lnTo>
                      <a:pt x="218" y="87"/>
                    </a:lnTo>
                    <a:lnTo>
                      <a:pt x="218" y="87"/>
                    </a:lnTo>
                    <a:moveTo>
                      <a:pt x="1" y="17"/>
                    </a:moveTo>
                    <a:lnTo>
                      <a:pt x="2" y="13"/>
                    </a:lnTo>
                    <a:lnTo>
                      <a:pt x="5" y="10"/>
                    </a:lnTo>
                    <a:lnTo>
                      <a:pt x="7" y="13"/>
                    </a:lnTo>
                    <a:lnTo>
                      <a:pt x="12" y="15"/>
                    </a:lnTo>
                    <a:lnTo>
                      <a:pt x="13" y="17"/>
                    </a:lnTo>
                    <a:lnTo>
                      <a:pt x="17" y="17"/>
                    </a:lnTo>
                    <a:lnTo>
                      <a:pt x="20" y="19"/>
                    </a:lnTo>
                    <a:lnTo>
                      <a:pt x="19" y="25"/>
                    </a:lnTo>
                    <a:lnTo>
                      <a:pt x="17" y="27"/>
                    </a:lnTo>
                    <a:lnTo>
                      <a:pt x="17" y="30"/>
                    </a:lnTo>
                    <a:lnTo>
                      <a:pt x="22" y="30"/>
                    </a:lnTo>
                    <a:lnTo>
                      <a:pt x="26" y="28"/>
                    </a:lnTo>
                    <a:lnTo>
                      <a:pt x="29" y="27"/>
                    </a:lnTo>
                    <a:lnTo>
                      <a:pt x="31" y="29"/>
                    </a:lnTo>
                    <a:lnTo>
                      <a:pt x="34" y="27"/>
                    </a:lnTo>
                    <a:lnTo>
                      <a:pt x="34" y="24"/>
                    </a:lnTo>
                    <a:lnTo>
                      <a:pt x="35" y="23"/>
                    </a:lnTo>
                    <a:lnTo>
                      <a:pt x="35" y="23"/>
                    </a:lnTo>
                    <a:lnTo>
                      <a:pt x="38" y="23"/>
                    </a:lnTo>
                    <a:lnTo>
                      <a:pt x="40" y="21"/>
                    </a:lnTo>
                    <a:lnTo>
                      <a:pt x="41" y="21"/>
                    </a:lnTo>
                    <a:lnTo>
                      <a:pt x="44" y="26"/>
                    </a:lnTo>
                    <a:lnTo>
                      <a:pt x="57" y="39"/>
                    </a:lnTo>
                    <a:lnTo>
                      <a:pt x="61" y="45"/>
                    </a:lnTo>
                    <a:lnTo>
                      <a:pt x="63" y="52"/>
                    </a:lnTo>
                    <a:lnTo>
                      <a:pt x="62" y="54"/>
                    </a:lnTo>
                    <a:lnTo>
                      <a:pt x="62" y="63"/>
                    </a:lnTo>
                    <a:lnTo>
                      <a:pt x="61" y="64"/>
                    </a:lnTo>
                    <a:lnTo>
                      <a:pt x="61" y="67"/>
                    </a:lnTo>
                    <a:lnTo>
                      <a:pt x="63" y="70"/>
                    </a:lnTo>
                    <a:lnTo>
                      <a:pt x="63" y="78"/>
                    </a:lnTo>
                    <a:lnTo>
                      <a:pt x="65" y="83"/>
                    </a:lnTo>
                    <a:lnTo>
                      <a:pt x="69" y="87"/>
                    </a:lnTo>
                    <a:lnTo>
                      <a:pt x="71" y="87"/>
                    </a:lnTo>
                    <a:lnTo>
                      <a:pt x="72" y="89"/>
                    </a:lnTo>
                    <a:lnTo>
                      <a:pt x="72" y="90"/>
                    </a:lnTo>
                    <a:lnTo>
                      <a:pt x="73" y="95"/>
                    </a:lnTo>
                    <a:lnTo>
                      <a:pt x="74" y="96"/>
                    </a:lnTo>
                    <a:lnTo>
                      <a:pt x="75" y="97"/>
                    </a:lnTo>
                    <a:lnTo>
                      <a:pt x="75" y="98"/>
                    </a:lnTo>
                    <a:lnTo>
                      <a:pt x="76" y="99"/>
                    </a:lnTo>
                    <a:lnTo>
                      <a:pt x="80" y="106"/>
                    </a:lnTo>
                    <a:lnTo>
                      <a:pt x="80" y="111"/>
                    </a:lnTo>
                    <a:lnTo>
                      <a:pt x="77" y="110"/>
                    </a:lnTo>
                    <a:lnTo>
                      <a:pt x="76" y="109"/>
                    </a:lnTo>
                    <a:lnTo>
                      <a:pt x="76" y="107"/>
                    </a:lnTo>
                    <a:lnTo>
                      <a:pt x="74" y="105"/>
                    </a:lnTo>
                    <a:lnTo>
                      <a:pt x="75" y="107"/>
                    </a:lnTo>
                    <a:lnTo>
                      <a:pt x="75" y="109"/>
                    </a:lnTo>
                    <a:lnTo>
                      <a:pt x="74" y="109"/>
                    </a:lnTo>
                    <a:lnTo>
                      <a:pt x="76" y="110"/>
                    </a:lnTo>
                    <a:lnTo>
                      <a:pt x="76" y="110"/>
                    </a:lnTo>
                    <a:lnTo>
                      <a:pt x="72" y="113"/>
                    </a:lnTo>
                    <a:lnTo>
                      <a:pt x="71" y="111"/>
                    </a:lnTo>
                    <a:lnTo>
                      <a:pt x="70" y="112"/>
                    </a:lnTo>
                    <a:lnTo>
                      <a:pt x="67" y="110"/>
                    </a:lnTo>
                    <a:lnTo>
                      <a:pt x="64" y="108"/>
                    </a:lnTo>
                    <a:lnTo>
                      <a:pt x="58" y="106"/>
                    </a:lnTo>
                    <a:lnTo>
                      <a:pt x="52" y="103"/>
                    </a:lnTo>
                    <a:lnTo>
                      <a:pt x="49" y="100"/>
                    </a:lnTo>
                    <a:lnTo>
                      <a:pt x="48" y="99"/>
                    </a:lnTo>
                    <a:lnTo>
                      <a:pt x="45" y="99"/>
                    </a:lnTo>
                    <a:lnTo>
                      <a:pt x="43" y="99"/>
                    </a:lnTo>
                    <a:lnTo>
                      <a:pt x="38" y="95"/>
                    </a:lnTo>
                    <a:lnTo>
                      <a:pt x="38" y="92"/>
                    </a:lnTo>
                    <a:lnTo>
                      <a:pt x="32" y="88"/>
                    </a:lnTo>
                    <a:lnTo>
                      <a:pt x="26" y="85"/>
                    </a:lnTo>
                    <a:lnTo>
                      <a:pt x="24" y="83"/>
                    </a:lnTo>
                    <a:lnTo>
                      <a:pt x="25" y="80"/>
                    </a:lnTo>
                    <a:lnTo>
                      <a:pt x="27" y="78"/>
                    </a:lnTo>
                    <a:lnTo>
                      <a:pt x="25" y="74"/>
                    </a:lnTo>
                    <a:lnTo>
                      <a:pt x="22" y="73"/>
                    </a:lnTo>
                    <a:lnTo>
                      <a:pt x="18" y="68"/>
                    </a:lnTo>
                    <a:lnTo>
                      <a:pt x="13" y="65"/>
                    </a:lnTo>
                    <a:lnTo>
                      <a:pt x="11" y="62"/>
                    </a:lnTo>
                    <a:lnTo>
                      <a:pt x="12" y="60"/>
                    </a:lnTo>
                    <a:lnTo>
                      <a:pt x="9" y="58"/>
                    </a:lnTo>
                    <a:lnTo>
                      <a:pt x="8" y="54"/>
                    </a:lnTo>
                    <a:lnTo>
                      <a:pt x="10" y="53"/>
                    </a:lnTo>
                    <a:lnTo>
                      <a:pt x="10" y="48"/>
                    </a:lnTo>
                    <a:lnTo>
                      <a:pt x="8" y="43"/>
                    </a:lnTo>
                    <a:lnTo>
                      <a:pt x="6" y="38"/>
                    </a:lnTo>
                    <a:lnTo>
                      <a:pt x="5" y="24"/>
                    </a:lnTo>
                    <a:lnTo>
                      <a:pt x="1" y="17"/>
                    </a:lnTo>
                    <a:lnTo>
                      <a:pt x="1" y="17"/>
                    </a:lnTo>
                  </a:path>
                </a:pathLst>
              </a:custGeom>
              <a:noFill/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800" name="Freeform 604"/>
              <p:cNvSpPr>
                <a:spLocks noEditPoints="1"/>
              </p:cNvSpPr>
              <p:nvPr userDrawn="1"/>
            </p:nvSpPr>
            <p:spPr bwMode="auto">
              <a:xfrm>
                <a:off x="5330" y="2489"/>
                <a:ext cx="152" cy="284"/>
              </a:xfrm>
              <a:custGeom>
                <a:avLst/>
                <a:gdLst>
                  <a:gd name="T0" fmla="*/ 6 w 152"/>
                  <a:gd name="T1" fmla="*/ 14 h 284"/>
                  <a:gd name="T2" fmla="*/ 16 w 152"/>
                  <a:gd name="T3" fmla="*/ 17 h 284"/>
                  <a:gd name="T4" fmla="*/ 28 w 152"/>
                  <a:gd name="T5" fmla="*/ 13 h 284"/>
                  <a:gd name="T6" fmla="*/ 41 w 152"/>
                  <a:gd name="T7" fmla="*/ 12 h 284"/>
                  <a:gd name="T8" fmla="*/ 58 w 152"/>
                  <a:gd name="T9" fmla="*/ 0 h 284"/>
                  <a:gd name="T10" fmla="*/ 77 w 152"/>
                  <a:gd name="T11" fmla="*/ 9 h 284"/>
                  <a:gd name="T12" fmla="*/ 82 w 152"/>
                  <a:gd name="T13" fmla="*/ 14 h 284"/>
                  <a:gd name="T14" fmla="*/ 92 w 152"/>
                  <a:gd name="T15" fmla="*/ 31 h 284"/>
                  <a:gd name="T16" fmla="*/ 107 w 152"/>
                  <a:gd name="T17" fmla="*/ 34 h 284"/>
                  <a:gd name="T18" fmla="*/ 107 w 152"/>
                  <a:gd name="T19" fmla="*/ 39 h 284"/>
                  <a:gd name="T20" fmla="*/ 96 w 152"/>
                  <a:gd name="T21" fmla="*/ 43 h 284"/>
                  <a:gd name="T22" fmla="*/ 89 w 152"/>
                  <a:gd name="T23" fmla="*/ 48 h 284"/>
                  <a:gd name="T24" fmla="*/ 83 w 152"/>
                  <a:gd name="T25" fmla="*/ 50 h 284"/>
                  <a:gd name="T26" fmla="*/ 82 w 152"/>
                  <a:gd name="T27" fmla="*/ 59 h 284"/>
                  <a:gd name="T28" fmla="*/ 76 w 152"/>
                  <a:gd name="T29" fmla="*/ 67 h 284"/>
                  <a:gd name="T30" fmla="*/ 71 w 152"/>
                  <a:gd name="T31" fmla="*/ 73 h 284"/>
                  <a:gd name="T32" fmla="*/ 69 w 152"/>
                  <a:gd name="T33" fmla="*/ 87 h 284"/>
                  <a:gd name="T34" fmla="*/ 78 w 152"/>
                  <a:gd name="T35" fmla="*/ 98 h 284"/>
                  <a:gd name="T36" fmla="*/ 87 w 152"/>
                  <a:gd name="T37" fmla="*/ 109 h 284"/>
                  <a:gd name="T38" fmla="*/ 100 w 152"/>
                  <a:gd name="T39" fmla="*/ 124 h 284"/>
                  <a:gd name="T40" fmla="*/ 132 w 152"/>
                  <a:gd name="T41" fmla="*/ 149 h 284"/>
                  <a:gd name="T42" fmla="*/ 138 w 152"/>
                  <a:gd name="T43" fmla="*/ 161 h 284"/>
                  <a:gd name="T44" fmla="*/ 143 w 152"/>
                  <a:gd name="T45" fmla="*/ 175 h 284"/>
                  <a:gd name="T46" fmla="*/ 146 w 152"/>
                  <a:gd name="T47" fmla="*/ 190 h 284"/>
                  <a:gd name="T48" fmla="*/ 150 w 152"/>
                  <a:gd name="T49" fmla="*/ 201 h 284"/>
                  <a:gd name="T50" fmla="*/ 149 w 152"/>
                  <a:gd name="T51" fmla="*/ 205 h 284"/>
                  <a:gd name="T52" fmla="*/ 147 w 152"/>
                  <a:gd name="T53" fmla="*/ 213 h 284"/>
                  <a:gd name="T54" fmla="*/ 147 w 152"/>
                  <a:gd name="T55" fmla="*/ 226 h 284"/>
                  <a:gd name="T56" fmla="*/ 136 w 152"/>
                  <a:gd name="T57" fmla="*/ 237 h 284"/>
                  <a:gd name="T58" fmla="*/ 123 w 152"/>
                  <a:gd name="T59" fmla="*/ 247 h 284"/>
                  <a:gd name="T60" fmla="*/ 104 w 152"/>
                  <a:gd name="T61" fmla="*/ 250 h 284"/>
                  <a:gd name="T62" fmla="*/ 100 w 152"/>
                  <a:gd name="T63" fmla="*/ 249 h 284"/>
                  <a:gd name="T64" fmla="*/ 103 w 152"/>
                  <a:gd name="T65" fmla="*/ 254 h 284"/>
                  <a:gd name="T66" fmla="*/ 100 w 152"/>
                  <a:gd name="T67" fmla="*/ 260 h 284"/>
                  <a:gd name="T68" fmla="*/ 94 w 152"/>
                  <a:gd name="T69" fmla="*/ 262 h 284"/>
                  <a:gd name="T70" fmla="*/ 93 w 152"/>
                  <a:gd name="T71" fmla="*/ 269 h 284"/>
                  <a:gd name="T72" fmla="*/ 82 w 152"/>
                  <a:gd name="T73" fmla="*/ 274 h 284"/>
                  <a:gd name="T74" fmla="*/ 71 w 152"/>
                  <a:gd name="T75" fmla="*/ 284 h 284"/>
                  <a:gd name="T76" fmla="*/ 73 w 152"/>
                  <a:gd name="T77" fmla="*/ 279 h 284"/>
                  <a:gd name="T78" fmla="*/ 71 w 152"/>
                  <a:gd name="T79" fmla="*/ 270 h 284"/>
                  <a:gd name="T80" fmla="*/ 77 w 152"/>
                  <a:gd name="T81" fmla="*/ 255 h 284"/>
                  <a:gd name="T82" fmla="*/ 63 w 152"/>
                  <a:gd name="T83" fmla="*/ 254 h 284"/>
                  <a:gd name="T84" fmla="*/ 70 w 152"/>
                  <a:gd name="T85" fmla="*/ 245 h 284"/>
                  <a:gd name="T86" fmla="*/ 90 w 152"/>
                  <a:gd name="T87" fmla="*/ 241 h 284"/>
                  <a:gd name="T88" fmla="*/ 93 w 152"/>
                  <a:gd name="T89" fmla="*/ 233 h 284"/>
                  <a:gd name="T90" fmla="*/ 99 w 152"/>
                  <a:gd name="T91" fmla="*/ 221 h 284"/>
                  <a:gd name="T92" fmla="*/ 117 w 152"/>
                  <a:gd name="T93" fmla="*/ 207 h 284"/>
                  <a:gd name="T94" fmla="*/ 114 w 152"/>
                  <a:gd name="T95" fmla="*/ 183 h 284"/>
                  <a:gd name="T96" fmla="*/ 112 w 152"/>
                  <a:gd name="T97" fmla="*/ 167 h 284"/>
                  <a:gd name="T98" fmla="*/ 112 w 152"/>
                  <a:gd name="T99" fmla="*/ 152 h 284"/>
                  <a:gd name="T100" fmla="*/ 109 w 152"/>
                  <a:gd name="T101" fmla="*/ 142 h 284"/>
                  <a:gd name="T102" fmla="*/ 99 w 152"/>
                  <a:gd name="T103" fmla="*/ 133 h 284"/>
                  <a:gd name="T104" fmla="*/ 91 w 152"/>
                  <a:gd name="T105" fmla="*/ 124 h 284"/>
                  <a:gd name="T106" fmla="*/ 77 w 152"/>
                  <a:gd name="T107" fmla="*/ 110 h 284"/>
                  <a:gd name="T108" fmla="*/ 54 w 152"/>
                  <a:gd name="T109" fmla="*/ 93 h 284"/>
                  <a:gd name="T110" fmla="*/ 44 w 152"/>
                  <a:gd name="T111" fmla="*/ 83 h 284"/>
                  <a:gd name="T112" fmla="*/ 52 w 152"/>
                  <a:gd name="T113" fmla="*/ 74 h 284"/>
                  <a:gd name="T114" fmla="*/ 53 w 152"/>
                  <a:gd name="T115" fmla="*/ 60 h 284"/>
                  <a:gd name="T116" fmla="*/ 40 w 152"/>
                  <a:gd name="T117" fmla="*/ 49 h 284"/>
                  <a:gd name="T118" fmla="*/ 13 w 152"/>
                  <a:gd name="T119" fmla="*/ 38 h 284"/>
                  <a:gd name="T120" fmla="*/ 2 w 152"/>
                  <a:gd name="T121" fmla="*/ 22 h 284"/>
                  <a:gd name="T122" fmla="*/ 54 w 152"/>
                  <a:gd name="T123" fmla="*/ 253 h 284"/>
                  <a:gd name="T124" fmla="*/ 55 w 152"/>
                  <a:gd name="T125" fmla="*/ 251 h 2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52" h="284">
                    <a:moveTo>
                      <a:pt x="0" y="19"/>
                    </a:moveTo>
                    <a:lnTo>
                      <a:pt x="2" y="18"/>
                    </a:lnTo>
                    <a:lnTo>
                      <a:pt x="3" y="18"/>
                    </a:lnTo>
                    <a:lnTo>
                      <a:pt x="4" y="16"/>
                    </a:lnTo>
                    <a:lnTo>
                      <a:pt x="6" y="14"/>
                    </a:lnTo>
                    <a:lnTo>
                      <a:pt x="10" y="13"/>
                    </a:lnTo>
                    <a:lnTo>
                      <a:pt x="12" y="13"/>
                    </a:lnTo>
                    <a:lnTo>
                      <a:pt x="12" y="16"/>
                    </a:lnTo>
                    <a:lnTo>
                      <a:pt x="13" y="17"/>
                    </a:lnTo>
                    <a:lnTo>
                      <a:pt x="16" y="17"/>
                    </a:lnTo>
                    <a:lnTo>
                      <a:pt x="17" y="14"/>
                    </a:lnTo>
                    <a:lnTo>
                      <a:pt x="20" y="12"/>
                    </a:lnTo>
                    <a:lnTo>
                      <a:pt x="23" y="15"/>
                    </a:lnTo>
                    <a:lnTo>
                      <a:pt x="25" y="13"/>
                    </a:lnTo>
                    <a:lnTo>
                      <a:pt x="28" y="13"/>
                    </a:lnTo>
                    <a:lnTo>
                      <a:pt x="29" y="16"/>
                    </a:lnTo>
                    <a:lnTo>
                      <a:pt x="33" y="14"/>
                    </a:lnTo>
                    <a:lnTo>
                      <a:pt x="33" y="12"/>
                    </a:lnTo>
                    <a:lnTo>
                      <a:pt x="37" y="10"/>
                    </a:lnTo>
                    <a:lnTo>
                      <a:pt x="41" y="12"/>
                    </a:lnTo>
                    <a:lnTo>
                      <a:pt x="47" y="10"/>
                    </a:lnTo>
                    <a:lnTo>
                      <a:pt x="47" y="5"/>
                    </a:lnTo>
                    <a:lnTo>
                      <a:pt x="51" y="2"/>
                    </a:lnTo>
                    <a:lnTo>
                      <a:pt x="55" y="2"/>
                    </a:lnTo>
                    <a:lnTo>
                      <a:pt x="58" y="0"/>
                    </a:lnTo>
                    <a:lnTo>
                      <a:pt x="62" y="3"/>
                    </a:lnTo>
                    <a:lnTo>
                      <a:pt x="62" y="6"/>
                    </a:lnTo>
                    <a:lnTo>
                      <a:pt x="66" y="6"/>
                    </a:lnTo>
                    <a:lnTo>
                      <a:pt x="68" y="9"/>
                    </a:lnTo>
                    <a:lnTo>
                      <a:pt x="77" y="9"/>
                    </a:lnTo>
                    <a:lnTo>
                      <a:pt x="77" y="10"/>
                    </a:lnTo>
                    <a:lnTo>
                      <a:pt x="82" y="8"/>
                    </a:lnTo>
                    <a:lnTo>
                      <a:pt x="86" y="11"/>
                    </a:lnTo>
                    <a:lnTo>
                      <a:pt x="85" y="14"/>
                    </a:lnTo>
                    <a:lnTo>
                      <a:pt x="82" y="14"/>
                    </a:lnTo>
                    <a:lnTo>
                      <a:pt x="80" y="21"/>
                    </a:lnTo>
                    <a:lnTo>
                      <a:pt x="82" y="22"/>
                    </a:lnTo>
                    <a:lnTo>
                      <a:pt x="83" y="26"/>
                    </a:lnTo>
                    <a:lnTo>
                      <a:pt x="91" y="28"/>
                    </a:lnTo>
                    <a:lnTo>
                      <a:pt x="92" y="31"/>
                    </a:lnTo>
                    <a:lnTo>
                      <a:pt x="96" y="32"/>
                    </a:lnTo>
                    <a:lnTo>
                      <a:pt x="99" y="34"/>
                    </a:lnTo>
                    <a:lnTo>
                      <a:pt x="103" y="33"/>
                    </a:lnTo>
                    <a:lnTo>
                      <a:pt x="105" y="34"/>
                    </a:lnTo>
                    <a:lnTo>
                      <a:pt x="107" y="34"/>
                    </a:lnTo>
                    <a:lnTo>
                      <a:pt x="110" y="35"/>
                    </a:lnTo>
                    <a:lnTo>
                      <a:pt x="110" y="34"/>
                    </a:lnTo>
                    <a:lnTo>
                      <a:pt x="111" y="36"/>
                    </a:lnTo>
                    <a:lnTo>
                      <a:pt x="109" y="38"/>
                    </a:lnTo>
                    <a:lnTo>
                      <a:pt x="107" y="39"/>
                    </a:lnTo>
                    <a:lnTo>
                      <a:pt x="106" y="39"/>
                    </a:lnTo>
                    <a:lnTo>
                      <a:pt x="102" y="41"/>
                    </a:lnTo>
                    <a:lnTo>
                      <a:pt x="99" y="41"/>
                    </a:lnTo>
                    <a:lnTo>
                      <a:pt x="97" y="41"/>
                    </a:lnTo>
                    <a:lnTo>
                      <a:pt x="96" y="43"/>
                    </a:lnTo>
                    <a:lnTo>
                      <a:pt x="96" y="46"/>
                    </a:lnTo>
                    <a:lnTo>
                      <a:pt x="95" y="47"/>
                    </a:lnTo>
                    <a:lnTo>
                      <a:pt x="94" y="48"/>
                    </a:lnTo>
                    <a:lnTo>
                      <a:pt x="92" y="47"/>
                    </a:lnTo>
                    <a:lnTo>
                      <a:pt x="89" y="48"/>
                    </a:lnTo>
                    <a:lnTo>
                      <a:pt x="87" y="49"/>
                    </a:lnTo>
                    <a:lnTo>
                      <a:pt x="86" y="50"/>
                    </a:lnTo>
                    <a:lnTo>
                      <a:pt x="85" y="48"/>
                    </a:lnTo>
                    <a:lnTo>
                      <a:pt x="83" y="48"/>
                    </a:lnTo>
                    <a:lnTo>
                      <a:pt x="83" y="50"/>
                    </a:lnTo>
                    <a:lnTo>
                      <a:pt x="82" y="52"/>
                    </a:lnTo>
                    <a:lnTo>
                      <a:pt x="83" y="53"/>
                    </a:lnTo>
                    <a:lnTo>
                      <a:pt x="82" y="55"/>
                    </a:lnTo>
                    <a:lnTo>
                      <a:pt x="82" y="58"/>
                    </a:lnTo>
                    <a:lnTo>
                      <a:pt x="82" y="59"/>
                    </a:lnTo>
                    <a:lnTo>
                      <a:pt x="83" y="61"/>
                    </a:lnTo>
                    <a:lnTo>
                      <a:pt x="82" y="63"/>
                    </a:lnTo>
                    <a:lnTo>
                      <a:pt x="80" y="63"/>
                    </a:lnTo>
                    <a:lnTo>
                      <a:pt x="78" y="67"/>
                    </a:lnTo>
                    <a:lnTo>
                      <a:pt x="76" y="67"/>
                    </a:lnTo>
                    <a:lnTo>
                      <a:pt x="75" y="66"/>
                    </a:lnTo>
                    <a:lnTo>
                      <a:pt x="75" y="68"/>
                    </a:lnTo>
                    <a:lnTo>
                      <a:pt x="73" y="69"/>
                    </a:lnTo>
                    <a:lnTo>
                      <a:pt x="72" y="72"/>
                    </a:lnTo>
                    <a:lnTo>
                      <a:pt x="71" y="73"/>
                    </a:lnTo>
                    <a:lnTo>
                      <a:pt x="71" y="77"/>
                    </a:lnTo>
                    <a:lnTo>
                      <a:pt x="72" y="77"/>
                    </a:lnTo>
                    <a:lnTo>
                      <a:pt x="73" y="78"/>
                    </a:lnTo>
                    <a:lnTo>
                      <a:pt x="72" y="84"/>
                    </a:lnTo>
                    <a:lnTo>
                      <a:pt x="69" y="87"/>
                    </a:lnTo>
                    <a:lnTo>
                      <a:pt x="73" y="91"/>
                    </a:lnTo>
                    <a:lnTo>
                      <a:pt x="73" y="93"/>
                    </a:lnTo>
                    <a:lnTo>
                      <a:pt x="70" y="93"/>
                    </a:lnTo>
                    <a:lnTo>
                      <a:pt x="73" y="94"/>
                    </a:lnTo>
                    <a:lnTo>
                      <a:pt x="78" y="98"/>
                    </a:lnTo>
                    <a:lnTo>
                      <a:pt x="83" y="101"/>
                    </a:lnTo>
                    <a:lnTo>
                      <a:pt x="85" y="101"/>
                    </a:lnTo>
                    <a:lnTo>
                      <a:pt x="87" y="105"/>
                    </a:lnTo>
                    <a:lnTo>
                      <a:pt x="87" y="108"/>
                    </a:lnTo>
                    <a:lnTo>
                      <a:pt x="87" y="109"/>
                    </a:lnTo>
                    <a:lnTo>
                      <a:pt x="88" y="113"/>
                    </a:lnTo>
                    <a:lnTo>
                      <a:pt x="89" y="115"/>
                    </a:lnTo>
                    <a:lnTo>
                      <a:pt x="96" y="120"/>
                    </a:lnTo>
                    <a:lnTo>
                      <a:pt x="100" y="123"/>
                    </a:lnTo>
                    <a:lnTo>
                      <a:pt x="100" y="124"/>
                    </a:lnTo>
                    <a:lnTo>
                      <a:pt x="110" y="129"/>
                    </a:lnTo>
                    <a:lnTo>
                      <a:pt x="120" y="136"/>
                    </a:lnTo>
                    <a:lnTo>
                      <a:pt x="121" y="139"/>
                    </a:lnTo>
                    <a:lnTo>
                      <a:pt x="129" y="145"/>
                    </a:lnTo>
                    <a:lnTo>
                      <a:pt x="132" y="149"/>
                    </a:lnTo>
                    <a:lnTo>
                      <a:pt x="133" y="152"/>
                    </a:lnTo>
                    <a:lnTo>
                      <a:pt x="134" y="152"/>
                    </a:lnTo>
                    <a:lnTo>
                      <a:pt x="134" y="155"/>
                    </a:lnTo>
                    <a:lnTo>
                      <a:pt x="138" y="159"/>
                    </a:lnTo>
                    <a:lnTo>
                      <a:pt x="138" y="161"/>
                    </a:lnTo>
                    <a:lnTo>
                      <a:pt x="139" y="163"/>
                    </a:lnTo>
                    <a:lnTo>
                      <a:pt x="138" y="164"/>
                    </a:lnTo>
                    <a:lnTo>
                      <a:pt x="141" y="167"/>
                    </a:lnTo>
                    <a:lnTo>
                      <a:pt x="141" y="174"/>
                    </a:lnTo>
                    <a:lnTo>
                      <a:pt x="143" y="175"/>
                    </a:lnTo>
                    <a:lnTo>
                      <a:pt x="144" y="181"/>
                    </a:lnTo>
                    <a:lnTo>
                      <a:pt x="146" y="182"/>
                    </a:lnTo>
                    <a:lnTo>
                      <a:pt x="146" y="185"/>
                    </a:lnTo>
                    <a:lnTo>
                      <a:pt x="145" y="186"/>
                    </a:lnTo>
                    <a:lnTo>
                      <a:pt x="146" y="190"/>
                    </a:lnTo>
                    <a:lnTo>
                      <a:pt x="145" y="191"/>
                    </a:lnTo>
                    <a:lnTo>
                      <a:pt x="147" y="196"/>
                    </a:lnTo>
                    <a:lnTo>
                      <a:pt x="147" y="197"/>
                    </a:lnTo>
                    <a:lnTo>
                      <a:pt x="149" y="198"/>
                    </a:lnTo>
                    <a:lnTo>
                      <a:pt x="150" y="201"/>
                    </a:lnTo>
                    <a:lnTo>
                      <a:pt x="152" y="205"/>
                    </a:lnTo>
                    <a:lnTo>
                      <a:pt x="151" y="207"/>
                    </a:lnTo>
                    <a:lnTo>
                      <a:pt x="151" y="207"/>
                    </a:lnTo>
                    <a:lnTo>
                      <a:pt x="150" y="206"/>
                    </a:lnTo>
                    <a:lnTo>
                      <a:pt x="149" y="205"/>
                    </a:lnTo>
                    <a:lnTo>
                      <a:pt x="148" y="206"/>
                    </a:lnTo>
                    <a:lnTo>
                      <a:pt x="148" y="208"/>
                    </a:lnTo>
                    <a:lnTo>
                      <a:pt x="150" y="210"/>
                    </a:lnTo>
                    <a:lnTo>
                      <a:pt x="149" y="211"/>
                    </a:lnTo>
                    <a:lnTo>
                      <a:pt x="147" y="213"/>
                    </a:lnTo>
                    <a:lnTo>
                      <a:pt x="147" y="215"/>
                    </a:lnTo>
                    <a:lnTo>
                      <a:pt x="144" y="217"/>
                    </a:lnTo>
                    <a:lnTo>
                      <a:pt x="147" y="221"/>
                    </a:lnTo>
                    <a:lnTo>
                      <a:pt x="145" y="224"/>
                    </a:lnTo>
                    <a:lnTo>
                      <a:pt x="147" y="226"/>
                    </a:lnTo>
                    <a:lnTo>
                      <a:pt x="144" y="228"/>
                    </a:lnTo>
                    <a:lnTo>
                      <a:pt x="142" y="229"/>
                    </a:lnTo>
                    <a:lnTo>
                      <a:pt x="141" y="232"/>
                    </a:lnTo>
                    <a:lnTo>
                      <a:pt x="140" y="233"/>
                    </a:lnTo>
                    <a:lnTo>
                      <a:pt x="136" y="237"/>
                    </a:lnTo>
                    <a:lnTo>
                      <a:pt x="133" y="239"/>
                    </a:lnTo>
                    <a:lnTo>
                      <a:pt x="129" y="241"/>
                    </a:lnTo>
                    <a:lnTo>
                      <a:pt x="129" y="245"/>
                    </a:lnTo>
                    <a:lnTo>
                      <a:pt x="125" y="245"/>
                    </a:lnTo>
                    <a:lnTo>
                      <a:pt x="123" y="247"/>
                    </a:lnTo>
                    <a:lnTo>
                      <a:pt x="116" y="251"/>
                    </a:lnTo>
                    <a:lnTo>
                      <a:pt x="111" y="251"/>
                    </a:lnTo>
                    <a:lnTo>
                      <a:pt x="109" y="250"/>
                    </a:lnTo>
                    <a:lnTo>
                      <a:pt x="105" y="251"/>
                    </a:lnTo>
                    <a:lnTo>
                      <a:pt x="104" y="250"/>
                    </a:lnTo>
                    <a:lnTo>
                      <a:pt x="105" y="249"/>
                    </a:lnTo>
                    <a:lnTo>
                      <a:pt x="105" y="247"/>
                    </a:lnTo>
                    <a:lnTo>
                      <a:pt x="104" y="249"/>
                    </a:lnTo>
                    <a:lnTo>
                      <a:pt x="103" y="250"/>
                    </a:lnTo>
                    <a:lnTo>
                      <a:pt x="100" y="249"/>
                    </a:lnTo>
                    <a:lnTo>
                      <a:pt x="102" y="250"/>
                    </a:lnTo>
                    <a:lnTo>
                      <a:pt x="102" y="251"/>
                    </a:lnTo>
                    <a:lnTo>
                      <a:pt x="101" y="252"/>
                    </a:lnTo>
                    <a:lnTo>
                      <a:pt x="98" y="251"/>
                    </a:lnTo>
                    <a:lnTo>
                      <a:pt x="103" y="254"/>
                    </a:lnTo>
                    <a:lnTo>
                      <a:pt x="102" y="255"/>
                    </a:lnTo>
                    <a:lnTo>
                      <a:pt x="103" y="258"/>
                    </a:lnTo>
                    <a:lnTo>
                      <a:pt x="101" y="260"/>
                    </a:lnTo>
                    <a:lnTo>
                      <a:pt x="97" y="257"/>
                    </a:lnTo>
                    <a:lnTo>
                      <a:pt x="100" y="260"/>
                    </a:lnTo>
                    <a:lnTo>
                      <a:pt x="100" y="262"/>
                    </a:lnTo>
                    <a:lnTo>
                      <a:pt x="98" y="264"/>
                    </a:lnTo>
                    <a:lnTo>
                      <a:pt x="97" y="264"/>
                    </a:lnTo>
                    <a:lnTo>
                      <a:pt x="96" y="261"/>
                    </a:lnTo>
                    <a:lnTo>
                      <a:pt x="94" y="262"/>
                    </a:lnTo>
                    <a:lnTo>
                      <a:pt x="95" y="264"/>
                    </a:lnTo>
                    <a:lnTo>
                      <a:pt x="95" y="265"/>
                    </a:lnTo>
                    <a:lnTo>
                      <a:pt x="95" y="266"/>
                    </a:lnTo>
                    <a:lnTo>
                      <a:pt x="94" y="267"/>
                    </a:lnTo>
                    <a:lnTo>
                      <a:pt x="93" y="269"/>
                    </a:lnTo>
                    <a:lnTo>
                      <a:pt x="91" y="269"/>
                    </a:lnTo>
                    <a:lnTo>
                      <a:pt x="87" y="272"/>
                    </a:lnTo>
                    <a:lnTo>
                      <a:pt x="86" y="272"/>
                    </a:lnTo>
                    <a:lnTo>
                      <a:pt x="83" y="272"/>
                    </a:lnTo>
                    <a:lnTo>
                      <a:pt x="82" y="274"/>
                    </a:lnTo>
                    <a:lnTo>
                      <a:pt x="82" y="278"/>
                    </a:lnTo>
                    <a:lnTo>
                      <a:pt x="79" y="280"/>
                    </a:lnTo>
                    <a:lnTo>
                      <a:pt x="78" y="280"/>
                    </a:lnTo>
                    <a:lnTo>
                      <a:pt x="79" y="281"/>
                    </a:lnTo>
                    <a:lnTo>
                      <a:pt x="71" y="284"/>
                    </a:lnTo>
                    <a:lnTo>
                      <a:pt x="66" y="284"/>
                    </a:lnTo>
                    <a:lnTo>
                      <a:pt x="69" y="282"/>
                    </a:lnTo>
                    <a:lnTo>
                      <a:pt x="73" y="281"/>
                    </a:lnTo>
                    <a:lnTo>
                      <a:pt x="75" y="279"/>
                    </a:lnTo>
                    <a:lnTo>
                      <a:pt x="73" y="279"/>
                    </a:lnTo>
                    <a:lnTo>
                      <a:pt x="70" y="278"/>
                    </a:lnTo>
                    <a:lnTo>
                      <a:pt x="71" y="272"/>
                    </a:lnTo>
                    <a:lnTo>
                      <a:pt x="71" y="272"/>
                    </a:lnTo>
                    <a:lnTo>
                      <a:pt x="70" y="272"/>
                    </a:lnTo>
                    <a:lnTo>
                      <a:pt x="71" y="270"/>
                    </a:lnTo>
                    <a:lnTo>
                      <a:pt x="70" y="264"/>
                    </a:lnTo>
                    <a:lnTo>
                      <a:pt x="73" y="260"/>
                    </a:lnTo>
                    <a:lnTo>
                      <a:pt x="77" y="256"/>
                    </a:lnTo>
                    <a:lnTo>
                      <a:pt x="79" y="254"/>
                    </a:lnTo>
                    <a:lnTo>
                      <a:pt x="77" y="255"/>
                    </a:lnTo>
                    <a:lnTo>
                      <a:pt x="73" y="254"/>
                    </a:lnTo>
                    <a:lnTo>
                      <a:pt x="70" y="255"/>
                    </a:lnTo>
                    <a:lnTo>
                      <a:pt x="69" y="254"/>
                    </a:lnTo>
                    <a:lnTo>
                      <a:pt x="67" y="255"/>
                    </a:lnTo>
                    <a:lnTo>
                      <a:pt x="63" y="254"/>
                    </a:lnTo>
                    <a:lnTo>
                      <a:pt x="64" y="253"/>
                    </a:lnTo>
                    <a:lnTo>
                      <a:pt x="63" y="250"/>
                    </a:lnTo>
                    <a:lnTo>
                      <a:pt x="63" y="250"/>
                    </a:lnTo>
                    <a:lnTo>
                      <a:pt x="66" y="246"/>
                    </a:lnTo>
                    <a:lnTo>
                      <a:pt x="70" y="245"/>
                    </a:lnTo>
                    <a:lnTo>
                      <a:pt x="73" y="240"/>
                    </a:lnTo>
                    <a:lnTo>
                      <a:pt x="76" y="240"/>
                    </a:lnTo>
                    <a:lnTo>
                      <a:pt x="77" y="241"/>
                    </a:lnTo>
                    <a:lnTo>
                      <a:pt x="86" y="239"/>
                    </a:lnTo>
                    <a:lnTo>
                      <a:pt x="90" y="241"/>
                    </a:lnTo>
                    <a:lnTo>
                      <a:pt x="91" y="244"/>
                    </a:lnTo>
                    <a:lnTo>
                      <a:pt x="97" y="243"/>
                    </a:lnTo>
                    <a:lnTo>
                      <a:pt x="95" y="239"/>
                    </a:lnTo>
                    <a:lnTo>
                      <a:pt x="96" y="237"/>
                    </a:lnTo>
                    <a:lnTo>
                      <a:pt x="93" y="233"/>
                    </a:lnTo>
                    <a:lnTo>
                      <a:pt x="88" y="232"/>
                    </a:lnTo>
                    <a:lnTo>
                      <a:pt x="88" y="227"/>
                    </a:lnTo>
                    <a:lnTo>
                      <a:pt x="91" y="224"/>
                    </a:lnTo>
                    <a:lnTo>
                      <a:pt x="98" y="224"/>
                    </a:lnTo>
                    <a:lnTo>
                      <a:pt x="99" y="221"/>
                    </a:lnTo>
                    <a:lnTo>
                      <a:pt x="105" y="217"/>
                    </a:lnTo>
                    <a:lnTo>
                      <a:pt x="110" y="216"/>
                    </a:lnTo>
                    <a:lnTo>
                      <a:pt x="111" y="213"/>
                    </a:lnTo>
                    <a:lnTo>
                      <a:pt x="114" y="212"/>
                    </a:lnTo>
                    <a:lnTo>
                      <a:pt x="117" y="207"/>
                    </a:lnTo>
                    <a:lnTo>
                      <a:pt x="116" y="203"/>
                    </a:lnTo>
                    <a:lnTo>
                      <a:pt x="117" y="198"/>
                    </a:lnTo>
                    <a:lnTo>
                      <a:pt x="116" y="195"/>
                    </a:lnTo>
                    <a:lnTo>
                      <a:pt x="117" y="189"/>
                    </a:lnTo>
                    <a:lnTo>
                      <a:pt x="114" y="183"/>
                    </a:lnTo>
                    <a:lnTo>
                      <a:pt x="110" y="181"/>
                    </a:lnTo>
                    <a:lnTo>
                      <a:pt x="108" y="175"/>
                    </a:lnTo>
                    <a:lnTo>
                      <a:pt x="108" y="175"/>
                    </a:lnTo>
                    <a:lnTo>
                      <a:pt x="112" y="173"/>
                    </a:lnTo>
                    <a:lnTo>
                      <a:pt x="112" y="167"/>
                    </a:lnTo>
                    <a:lnTo>
                      <a:pt x="110" y="165"/>
                    </a:lnTo>
                    <a:lnTo>
                      <a:pt x="109" y="161"/>
                    </a:lnTo>
                    <a:lnTo>
                      <a:pt x="115" y="157"/>
                    </a:lnTo>
                    <a:lnTo>
                      <a:pt x="115" y="153"/>
                    </a:lnTo>
                    <a:lnTo>
                      <a:pt x="112" y="152"/>
                    </a:lnTo>
                    <a:lnTo>
                      <a:pt x="110" y="150"/>
                    </a:lnTo>
                    <a:lnTo>
                      <a:pt x="111" y="145"/>
                    </a:lnTo>
                    <a:lnTo>
                      <a:pt x="114" y="142"/>
                    </a:lnTo>
                    <a:lnTo>
                      <a:pt x="112" y="141"/>
                    </a:lnTo>
                    <a:lnTo>
                      <a:pt x="109" y="142"/>
                    </a:lnTo>
                    <a:lnTo>
                      <a:pt x="107" y="142"/>
                    </a:lnTo>
                    <a:lnTo>
                      <a:pt x="104" y="138"/>
                    </a:lnTo>
                    <a:lnTo>
                      <a:pt x="100" y="138"/>
                    </a:lnTo>
                    <a:lnTo>
                      <a:pt x="99" y="136"/>
                    </a:lnTo>
                    <a:lnTo>
                      <a:pt x="99" y="133"/>
                    </a:lnTo>
                    <a:lnTo>
                      <a:pt x="97" y="132"/>
                    </a:lnTo>
                    <a:lnTo>
                      <a:pt x="96" y="133"/>
                    </a:lnTo>
                    <a:lnTo>
                      <a:pt x="93" y="130"/>
                    </a:lnTo>
                    <a:lnTo>
                      <a:pt x="93" y="127"/>
                    </a:lnTo>
                    <a:lnTo>
                      <a:pt x="91" y="124"/>
                    </a:lnTo>
                    <a:lnTo>
                      <a:pt x="86" y="124"/>
                    </a:lnTo>
                    <a:lnTo>
                      <a:pt x="83" y="122"/>
                    </a:lnTo>
                    <a:lnTo>
                      <a:pt x="82" y="119"/>
                    </a:lnTo>
                    <a:lnTo>
                      <a:pt x="77" y="112"/>
                    </a:lnTo>
                    <a:lnTo>
                      <a:pt x="77" y="110"/>
                    </a:lnTo>
                    <a:lnTo>
                      <a:pt x="73" y="104"/>
                    </a:lnTo>
                    <a:lnTo>
                      <a:pt x="68" y="102"/>
                    </a:lnTo>
                    <a:lnTo>
                      <a:pt x="63" y="97"/>
                    </a:lnTo>
                    <a:lnTo>
                      <a:pt x="59" y="96"/>
                    </a:lnTo>
                    <a:lnTo>
                      <a:pt x="54" y="93"/>
                    </a:lnTo>
                    <a:lnTo>
                      <a:pt x="48" y="93"/>
                    </a:lnTo>
                    <a:lnTo>
                      <a:pt x="45" y="88"/>
                    </a:lnTo>
                    <a:lnTo>
                      <a:pt x="42" y="88"/>
                    </a:lnTo>
                    <a:lnTo>
                      <a:pt x="42" y="86"/>
                    </a:lnTo>
                    <a:lnTo>
                      <a:pt x="44" y="83"/>
                    </a:lnTo>
                    <a:lnTo>
                      <a:pt x="40" y="78"/>
                    </a:lnTo>
                    <a:lnTo>
                      <a:pt x="40" y="76"/>
                    </a:lnTo>
                    <a:lnTo>
                      <a:pt x="43" y="76"/>
                    </a:lnTo>
                    <a:lnTo>
                      <a:pt x="48" y="74"/>
                    </a:lnTo>
                    <a:lnTo>
                      <a:pt x="52" y="74"/>
                    </a:lnTo>
                    <a:lnTo>
                      <a:pt x="54" y="72"/>
                    </a:lnTo>
                    <a:lnTo>
                      <a:pt x="55" y="64"/>
                    </a:lnTo>
                    <a:lnTo>
                      <a:pt x="58" y="63"/>
                    </a:lnTo>
                    <a:lnTo>
                      <a:pt x="58" y="61"/>
                    </a:lnTo>
                    <a:lnTo>
                      <a:pt x="53" y="60"/>
                    </a:lnTo>
                    <a:lnTo>
                      <a:pt x="54" y="56"/>
                    </a:lnTo>
                    <a:lnTo>
                      <a:pt x="53" y="53"/>
                    </a:lnTo>
                    <a:lnTo>
                      <a:pt x="48" y="53"/>
                    </a:lnTo>
                    <a:lnTo>
                      <a:pt x="45" y="49"/>
                    </a:lnTo>
                    <a:lnTo>
                      <a:pt x="40" y="49"/>
                    </a:lnTo>
                    <a:lnTo>
                      <a:pt x="35" y="52"/>
                    </a:lnTo>
                    <a:lnTo>
                      <a:pt x="32" y="50"/>
                    </a:lnTo>
                    <a:lnTo>
                      <a:pt x="24" y="50"/>
                    </a:lnTo>
                    <a:lnTo>
                      <a:pt x="20" y="44"/>
                    </a:lnTo>
                    <a:lnTo>
                      <a:pt x="13" y="38"/>
                    </a:lnTo>
                    <a:lnTo>
                      <a:pt x="15" y="35"/>
                    </a:lnTo>
                    <a:lnTo>
                      <a:pt x="14" y="32"/>
                    </a:lnTo>
                    <a:lnTo>
                      <a:pt x="11" y="29"/>
                    </a:lnTo>
                    <a:lnTo>
                      <a:pt x="8" y="24"/>
                    </a:lnTo>
                    <a:lnTo>
                      <a:pt x="2" y="22"/>
                    </a:lnTo>
                    <a:lnTo>
                      <a:pt x="0" y="19"/>
                    </a:lnTo>
                    <a:lnTo>
                      <a:pt x="0" y="19"/>
                    </a:lnTo>
                    <a:lnTo>
                      <a:pt x="0" y="19"/>
                    </a:lnTo>
                    <a:close/>
                    <a:moveTo>
                      <a:pt x="51" y="251"/>
                    </a:moveTo>
                    <a:lnTo>
                      <a:pt x="54" y="253"/>
                    </a:lnTo>
                    <a:lnTo>
                      <a:pt x="53" y="255"/>
                    </a:lnTo>
                    <a:lnTo>
                      <a:pt x="54" y="258"/>
                    </a:lnTo>
                    <a:lnTo>
                      <a:pt x="56" y="257"/>
                    </a:lnTo>
                    <a:lnTo>
                      <a:pt x="56" y="252"/>
                    </a:lnTo>
                    <a:lnTo>
                      <a:pt x="55" y="251"/>
                    </a:lnTo>
                    <a:lnTo>
                      <a:pt x="55" y="250"/>
                    </a:lnTo>
                    <a:lnTo>
                      <a:pt x="51" y="251"/>
                    </a:lnTo>
                    <a:lnTo>
                      <a:pt x="51" y="251"/>
                    </a:lnTo>
                    <a:close/>
                  </a:path>
                </a:pathLst>
              </a:custGeom>
              <a:solidFill>
                <a:schemeClr val="accent6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801" name="Freeform 605"/>
              <p:cNvSpPr>
                <a:spLocks/>
              </p:cNvSpPr>
              <p:nvPr userDrawn="1"/>
            </p:nvSpPr>
            <p:spPr bwMode="auto">
              <a:xfrm>
                <a:off x="5350" y="2658"/>
                <a:ext cx="97" cy="81"/>
              </a:xfrm>
              <a:custGeom>
                <a:avLst/>
                <a:gdLst>
                  <a:gd name="T0" fmla="*/ 46 w 97"/>
                  <a:gd name="T1" fmla="*/ 77 h 81"/>
                  <a:gd name="T2" fmla="*/ 53 w 97"/>
                  <a:gd name="T3" fmla="*/ 71 h 81"/>
                  <a:gd name="T4" fmla="*/ 57 w 97"/>
                  <a:gd name="T5" fmla="*/ 72 h 81"/>
                  <a:gd name="T6" fmla="*/ 70 w 97"/>
                  <a:gd name="T7" fmla="*/ 72 h 81"/>
                  <a:gd name="T8" fmla="*/ 77 w 97"/>
                  <a:gd name="T9" fmla="*/ 74 h 81"/>
                  <a:gd name="T10" fmla="*/ 76 w 97"/>
                  <a:gd name="T11" fmla="*/ 68 h 81"/>
                  <a:gd name="T12" fmla="*/ 68 w 97"/>
                  <a:gd name="T13" fmla="*/ 63 h 81"/>
                  <a:gd name="T14" fmla="*/ 71 w 97"/>
                  <a:gd name="T15" fmla="*/ 55 h 81"/>
                  <a:gd name="T16" fmla="*/ 79 w 97"/>
                  <a:gd name="T17" fmla="*/ 52 h 81"/>
                  <a:gd name="T18" fmla="*/ 90 w 97"/>
                  <a:gd name="T19" fmla="*/ 47 h 81"/>
                  <a:gd name="T20" fmla="*/ 94 w 97"/>
                  <a:gd name="T21" fmla="*/ 43 h 81"/>
                  <a:gd name="T22" fmla="*/ 96 w 97"/>
                  <a:gd name="T23" fmla="*/ 34 h 81"/>
                  <a:gd name="T24" fmla="*/ 96 w 97"/>
                  <a:gd name="T25" fmla="*/ 26 h 81"/>
                  <a:gd name="T26" fmla="*/ 94 w 97"/>
                  <a:gd name="T27" fmla="*/ 14 h 81"/>
                  <a:gd name="T28" fmla="*/ 88 w 97"/>
                  <a:gd name="T29" fmla="*/ 6 h 81"/>
                  <a:gd name="T30" fmla="*/ 81 w 97"/>
                  <a:gd name="T31" fmla="*/ 4 h 81"/>
                  <a:gd name="T32" fmla="*/ 78 w 97"/>
                  <a:gd name="T33" fmla="*/ 0 h 81"/>
                  <a:gd name="T34" fmla="*/ 68 w 97"/>
                  <a:gd name="T35" fmla="*/ 4 h 81"/>
                  <a:gd name="T36" fmla="*/ 71 w 97"/>
                  <a:gd name="T37" fmla="*/ 12 h 81"/>
                  <a:gd name="T38" fmla="*/ 72 w 97"/>
                  <a:gd name="T39" fmla="*/ 17 h 81"/>
                  <a:gd name="T40" fmla="*/ 63 w 97"/>
                  <a:gd name="T41" fmla="*/ 10 h 81"/>
                  <a:gd name="T42" fmla="*/ 56 w 97"/>
                  <a:gd name="T43" fmla="*/ 8 h 81"/>
                  <a:gd name="T44" fmla="*/ 49 w 97"/>
                  <a:gd name="T45" fmla="*/ 6 h 81"/>
                  <a:gd name="T46" fmla="*/ 41 w 97"/>
                  <a:gd name="T47" fmla="*/ 4 h 81"/>
                  <a:gd name="T48" fmla="*/ 33 w 97"/>
                  <a:gd name="T49" fmla="*/ 3 h 81"/>
                  <a:gd name="T50" fmla="*/ 26 w 97"/>
                  <a:gd name="T51" fmla="*/ 3 h 81"/>
                  <a:gd name="T52" fmla="*/ 13 w 97"/>
                  <a:gd name="T53" fmla="*/ 6 h 81"/>
                  <a:gd name="T54" fmla="*/ 5 w 97"/>
                  <a:gd name="T55" fmla="*/ 11 h 81"/>
                  <a:gd name="T56" fmla="*/ 1 w 97"/>
                  <a:gd name="T57" fmla="*/ 20 h 81"/>
                  <a:gd name="T58" fmla="*/ 2 w 97"/>
                  <a:gd name="T59" fmla="*/ 34 h 81"/>
                  <a:gd name="T60" fmla="*/ 7 w 97"/>
                  <a:gd name="T61" fmla="*/ 39 h 81"/>
                  <a:gd name="T62" fmla="*/ 6 w 97"/>
                  <a:gd name="T63" fmla="*/ 48 h 81"/>
                  <a:gd name="T64" fmla="*/ 9 w 97"/>
                  <a:gd name="T65" fmla="*/ 51 h 81"/>
                  <a:gd name="T66" fmla="*/ 11 w 97"/>
                  <a:gd name="T67" fmla="*/ 57 h 81"/>
                  <a:gd name="T68" fmla="*/ 13 w 97"/>
                  <a:gd name="T69" fmla="*/ 63 h 81"/>
                  <a:gd name="T70" fmla="*/ 16 w 97"/>
                  <a:gd name="T71" fmla="*/ 65 h 81"/>
                  <a:gd name="T72" fmla="*/ 17 w 97"/>
                  <a:gd name="T73" fmla="*/ 70 h 81"/>
                  <a:gd name="T74" fmla="*/ 21 w 97"/>
                  <a:gd name="T75" fmla="*/ 74 h 81"/>
                  <a:gd name="T76" fmla="*/ 23 w 97"/>
                  <a:gd name="T77" fmla="*/ 70 h 81"/>
                  <a:gd name="T78" fmla="*/ 27 w 97"/>
                  <a:gd name="T79" fmla="*/ 67 h 81"/>
                  <a:gd name="T80" fmla="*/ 28 w 97"/>
                  <a:gd name="T81" fmla="*/ 72 h 81"/>
                  <a:gd name="T82" fmla="*/ 26 w 97"/>
                  <a:gd name="T83" fmla="*/ 77 h 81"/>
                  <a:gd name="T84" fmla="*/ 27 w 97"/>
                  <a:gd name="T85" fmla="*/ 80 h 81"/>
                  <a:gd name="T86" fmla="*/ 33 w 97"/>
                  <a:gd name="T87" fmla="*/ 78 h 81"/>
                  <a:gd name="T88" fmla="*/ 35 w 97"/>
                  <a:gd name="T89" fmla="*/ 78 h 81"/>
                  <a:gd name="T90" fmla="*/ 39 w 97"/>
                  <a:gd name="T91" fmla="*/ 79 h 81"/>
                  <a:gd name="T92" fmla="*/ 43 w 97"/>
                  <a:gd name="T93" fmla="*/ 81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97" h="81">
                    <a:moveTo>
                      <a:pt x="43" y="81"/>
                    </a:moveTo>
                    <a:lnTo>
                      <a:pt x="46" y="77"/>
                    </a:lnTo>
                    <a:lnTo>
                      <a:pt x="50" y="76"/>
                    </a:lnTo>
                    <a:lnTo>
                      <a:pt x="53" y="71"/>
                    </a:lnTo>
                    <a:lnTo>
                      <a:pt x="56" y="71"/>
                    </a:lnTo>
                    <a:lnTo>
                      <a:pt x="57" y="72"/>
                    </a:lnTo>
                    <a:lnTo>
                      <a:pt x="66" y="70"/>
                    </a:lnTo>
                    <a:lnTo>
                      <a:pt x="70" y="72"/>
                    </a:lnTo>
                    <a:lnTo>
                      <a:pt x="71" y="75"/>
                    </a:lnTo>
                    <a:lnTo>
                      <a:pt x="77" y="74"/>
                    </a:lnTo>
                    <a:lnTo>
                      <a:pt x="75" y="70"/>
                    </a:lnTo>
                    <a:lnTo>
                      <a:pt x="76" y="68"/>
                    </a:lnTo>
                    <a:lnTo>
                      <a:pt x="73" y="64"/>
                    </a:lnTo>
                    <a:lnTo>
                      <a:pt x="68" y="63"/>
                    </a:lnTo>
                    <a:lnTo>
                      <a:pt x="68" y="58"/>
                    </a:lnTo>
                    <a:lnTo>
                      <a:pt x="71" y="55"/>
                    </a:lnTo>
                    <a:lnTo>
                      <a:pt x="78" y="55"/>
                    </a:lnTo>
                    <a:lnTo>
                      <a:pt x="79" y="52"/>
                    </a:lnTo>
                    <a:lnTo>
                      <a:pt x="85" y="48"/>
                    </a:lnTo>
                    <a:lnTo>
                      <a:pt x="90" y="47"/>
                    </a:lnTo>
                    <a:lnTo>
                      <a:pt x="91" y="44"/>
                    </a:lnTo>
                    <a:lnTo>
                      <a:pt x="94" y="43"/>
                    </a:lnTo>
                    <a:lnTo>
                      <a:pt x="97" y="38"/>
                    </a:lnTo>
                    <a:lnTo>
                      <a:pt x="96" y="34"/>
                    </a:lnTo>
                    <a:lnTo>
                      <a:pt x="97" y="29"/>
                    </a:lnTo>
                    <a:lnTo>
                      <a:pt x="96" y="26"/>
                    </a:lnTo>
                    <a:lnTo>
                      <a:pt x="97" y="20"/>
                    </a:lnTo>
                    <a:lnTo>
                      <a:pt x="94" y="14"/>
                    </a:lnTo>
                    <a:lnTo>
                      <a:pt x="90" y="12"/>
                    </a:lnTo>
                    <a:lnTo>
                      <a:pt x="88" y="6"/>
                    </a:lnTo>
                    <a:lnTo>
                      <a:pt x="85" y="6"/>
                    </a:lnTo>
                    <a:lnTo>
                      <a:pt x="81" y="4"/>
                    </a:lnTo>
                    <a:lnTo>
                      <a:pt x="78" y="3"/>
                    </a:lnTo>
                    <a:lnTo>
                      <a:pt x="78" y="0"/>
                    </a:lnTo>
                    <a:lnTo>
                      <a:pt x="71" y="1"/>
                    </a:lnTo>
                    <a:lnTo>
                      <a:pt x="68" y="4"/>
                    </a:lnTo>
                    <a:lnTo>
                      <a:pt x="72" y="8"/>
                    </a:lnTo>
                    <a:lnTo>
                      <a:pt x="71" y="12"/>
                    </a:lnTo>
                    <a:lnTo>
                      <a:pt x="72" y="15"/>
                    </a:lnTo>
                    <a:lnTo>
                      <a:pt x="72" y="17"/>
                    </a:lnTo>
                    <a:lnTo>
                      <a:pt x="66" y="16"/>
                    </a:lnTo>
                    <a:lnTo>
                      <a:pt x="63" y="10"/>
                    </a:lnTo>
                    <a:lnTo>
                      <a:pt x="57" y="10"/>
                    </a:lnTo>
                    <a:lnTo>
                      <a:pt x="56" y="8"/>
                    </a:lnTo>
                    <a:lnTo>
                      <a:pt x="52" y="5"/>
                    </a:lnTo>
                    <a:lnTo>
                      <a:pt x="49" y="6"/>
                    </a:lnTo>
                    <a:lnTo>
                      <a:pt x="46" y="3"/>
                    </a:lnTo>
                    <a:lnTo>
                      <a:pt x="41" y="4"/>
                    </a:lnTo>
                    <a:lnTo>
                      <a:pt x="37" y="3"/>
                    </a:lnTo>
                    <a:lnTo>
                      <a:pt x="33" y="3"/>
                    </a:lnTo>
                    <a:lnTo>
                      <a:pt x="28" y="5"/>
                    </a:lnTo>
                    <a:lnTo>
                      <a:pt x="26" y="3"/>
                    </a:lnTo>
                    <a:lnTo>
                      <a:pt x="21" y="3"/>
                    </a:lnTo>
                    <a:lnTo>
                      <a:pt x="13" y="6"/>
                    </a:lnTo>
                    <a:lnTo>
                      <a:pt x="9" y="6"/>
                    </a:lnTo>
                    <a:lnTo>
                      <a:pt x="5" y="11"/>
                    </a:lnTo>
                    <a:lnTo>
                      <a:pt x="4" y="16"/>
                    </a:lnTo>
                    <a:lnTo>
                      <a:pt x="1" y="20"/>
                    </a:lnTo>
                    <a:lnTo>
                      <a:pt x="0" y="27"/>
                    </a:lnTo>
                    <a:lnTo>
                      <a:pt x="2" y="34"/>
                    </a:lnTo>
                    <a:lnTo>
                      <a:pt x="5" y="36"/>
                    </a:lnTo>
                    <a:lnTo>
                      <a:pt x="7" y="39"/>
                    </a:lnTo>
                    <a:lnTo>
                      <a:pt x="7" y="45"/>
                    </a:lnTo>
                    <a:lnTo>
                      <a:pt x="6" y="48"/>
                    </a:lnTo>
                    <a:lnTo>
                      <a:pt x="6" y="48"/>
                    </a:lnTo>
                    <a:lnTo>
                      <a:pt x="9" y="51"/>
                    </a:lnTo>
                    <a:lnTo>
                      <a:pt x="9" y="55"/>
                    </a:lnTo>
                    <a:lnTo>
                      <a:pt x="11" y="57"/>
                    </a:lnTo>
                    <a:lnTo>
                      <a:pt x="12" y="60"/>
                    </a:lnTo>
                    <a:lnTo>
                      <a:pt x="13" y="63"/>
                    </a:lnTo>
                    <a:lnTo>
                      <a:pt x="15" y="63"/>
                    </a:lnTo>
                    <a:lnTo>
                      <a:pt x="16" y="65"/>
                    </a:lnTo>
                    <a:lnTo>
                      <a:pt x="16" y="68"/>
                    </a:lnTo>
                    <a:lnTo>
                      <a:pt x="17" y="70"/>
                    </a:lnTo>
                    <a:lnTo>
                      <a:pt x="18" y="73"/>
                    </a:lnTo>
                    <a:lnTo>
                      <a:pt x="21" y="74"/>
                    </a:lnTo>
                    <a:lnTo>
                      <a:pt x="23" y="73"/>
                    </a:lnTo>
                    <a:lnTo>
                      <a:pt x="23" y="70"/>
                    </a:lnTo>
                    <a:lnTo>
                      <a:pt x="26" y="68"/>
                    </a:lnTo>
                    <a:lnTo>
                      <a:pt x="27" y="67"/>
                    </a:lnTo>
                    <a:lnTo>
                      <a:pt x="27" y="69"/>
                    </a:lnTo>
                    <a:lnTo>
                      <a:pt x="28" y="72"/>
                    </a:lnTo>
                    <a:lnTo>
                      <a:pt x="28" y="75"/>
                    </a:lnTo>
                    <a:lnTo>
                      <a:pt x="26" y="77"/>
                    </a:lnTo>
                    <a:lnTo>
                      <a:pt x="27" y="79"/>
                    </a:lnTo>
                    <a:lnTo>
                      <a:pt x="27" y="80"/>
                    </a:lnTo>
                    <a:lnTo>
                      <a:pt x="30" y="80"/>
                    </a:lnTo>
                    <a:lnTo>
                      <a:pt x="33" y="78"/>
                    </a:lnTo>
                    <a:lnTo>
                      <a:pt x="33" y="77"/>
                    </a:lnTo>
                    <a:lnTo>
                      <a:pt x="35" y="78"/>
                    </a:lnTo>
                    <a:lnTo>
                      <a:pt x="38" y="79"/>
                    </a:lnTo>
                    <a:lnTo>
                      <a:pt x="39" y="79"/>
                    </a:lnTo>
                    <a:lnTo>
                      <a:pt x="43" y="81"/>
                    </a:lnTo>
                    <a:lnTo>
                      <a:pt x="43" y="81"/>
                    </a:lnTo>
                    <a:close/>
                  </a:path>
                </a:pathLst>
              </a:custGeom>
              <a:solidFill>
                <a:srgbClr val="F68B1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802" name="Freeform 606"/>
              <p:cNvSpPr>
                <a:spLocks/>
              </p:cNvSpPr>
              <p:nvPr userDrawn="1"/>
            </p:nvSpPr>
            <p:spPr bwMode="auto">
              <a:xfrm>
                <a:off x="5295" y="2508"/>
                <a:ext cx="150" cy="167"/>
              </a:xfrm>
              <a:custGeom>
                <a:avLst/>
                <a:gdLst>
                  <a:gd name="T0" fmla="*/ 21 w 150"/>
                  <a:gd name="T1" fmla="*/ 24 h 167"/>
                  <a:gd name="T2" fmla="*/ 27 w 150"/>
                  <a:gd name="T3" fmla="*/ 18 h 167"/>
                  <a:gd name="T4" fmla="*/ 25 w 150"/>
                  <a:gd name="T5" fmla="*/ 5 h 167"/>
                  <a:gd name="T6" fmla="*/ 35 w 150"/>
                  <a:gd name="T7" fmla="*/ 0 h 167"/>
                  <a:gd name="T8" fmla="*/ 46 w 150"/>
                  <a:gd name="T9" fmla="*/ 10 h 167"/>
                  <a:gd name="T10" fmla="*/ 48 w 150"/>
                  <a:gd name="T11" fmla="*/ 19 h 167"/>
                  <a:gd name="T12" fmla="*/ 67 w 150"/>
                  <a:gd name="T13" fmla="*/ 31 h 167"/>
                  <a:gd name="T14" fmla="*/ 80 w 150"/>
                  <a:gd name="T15" fmla="*/ 30 h 167"/>
                  <a:gd name="T16" fmla="*/ 89 w 150"/>
                  <a:gd name="T17" fmla="*/ 37 h 167"/>
                  <a:gd name="T18" fmla="*/ 93 w 150"/>
                  <a:gd name="T19" fmla="*/ 44 h 167"/>
                  <a:gd name="T20" fmla="*/ 87 w 150"/>
                  <a:gd name="T21" fmla="*/ 55 h 167"/>
                  <a:gd name="T22" fmla="*/ 75 w 150"/>
                  <a:gd name="T23" fmla="*/ 57 h 167"/>
                  <a:gd name="T24" fmla="*/ 77 w 150"/>
                  <a:gd name="T25" fmla="*/ 67 h 167"/>
                  <a:gd name="T26" fmla="*/ 83 w 150"/>
                  <a:gd name="T27" fmla="*/ 74 h 167"/>
                  <a:gd name="T28" fmla="*/ 98 w 150"/>
                  <a:gd name="T29" fmla="*/ 78 h 167"/>
                  <a:gd name="T30" fmla="*/ 112 w 150"/>
                  <a:gd name="T31" fmla="*/ 91 h 167"/>
                  <a:gd name="T32" fmla="*/ 118 w 150"/>
                  <a:gd name="T33" fmla="*/ 103 h 167"/>
                  <a:gd name="T34" fmla="*/ 128 w 150"/>
                  <a:gd name="T35" fmla="*/ 108 h 167"/>
                  <a:gd name="T36" fmla="*/ 132 w 150"/>
                  <a:gd name="T37" fmla="*/ 113 h 167"/>
                  <a:gd name="T38" fmla="*/ 135 w 150"/>
                  <a:gd name="T39" fmla="*/ 119 h 167"/>
                  <a:gd name="T40" fmla="*/ 144 w 150"/>
                  <a:gd name="T41" fmla="*/ 123 h 167"/>
                  <a:gd name="T42" fmla="*/ 146 w 150"/>
                  <a:gd name="T43" fmla="*/ 126 h 167"/>
                  <a:gd name="T44" fmla="*/ 150 w 150"/>
                  <a:gd name="T45" fmla="*/ 134 h 167"/>
                  <a:gd name="T46" fmla="*/ 145 w 150"/>
                  <a:gd name="T47" fmla="*/ 146 h 167"/>
                  <a:gd name="T48" fmla="*/ 143 w 150"/>
                  <a:gd name="T49" fmla="*/ 156 h 167"/>
                  <a:gd name="T50" fmla="*/ 133 w 150"/>
                  <a:gd name="T51" fmla="*/ 153 h 167"/>
                  <a:gd name="T52" fmla="*/ 123 w 150"/>
                  <a:gd name="T53" fmla="*/ 154 h 167"/>
                  <a:gd name="T54" fmla="*/ 127 w 150"/>
                  <a:gd name="T55" fmla="*/ 165 h 167"/>
                  <a:gd name="T56" fmla="*/ 118 w 150"/>
                  <a:gd name="T57" fmla="*/ 160 h 167"/>
                  <a:gd name="T58" fmla="*/ 107 w 150"/>
                  <a:gd name="T59" fmla="*/ 155 h 167"/>
                  <a:gd name="T60" fmla="*/ 112 w 150"/>
                  <a:gd name="T61" fmla="*/ 145 h 167"/>
                  <a:gd name="T62" fmla="*/ 112 w 150"/>
                  <a:gd name="T63" fmla="*/ 136 h 167"/>
                  <a:gd name="T64" fmla="*/ 107 w 150"/>
                  <a:gd name="T65" fmla="*/ 127 h 167"/>
                  <a:gd name="T66" fmla="*/ 101 w 150"/>
                  <a:gd name="T67" fmla="*/ 123 h 167"/>
                  <a:gd name="T68" fmla="*/ 95 w 150"/>
                  <a:gd name="T69" fmla="*/ 115 h 167"/>
                  <a:gd name="T70" fmla="*/ 95 w 150"/>
                  <a:gd name="T71" fmla="*/ 103 h 167"/>
                  <a:gd name="T72" fmla="*/ 90 w 150"/>
                  <a:gd name="T73" fmla="*/ 93 h 167"/>
                  <a:gd name="T74" fmla="*/ 70 w 150"/>
                  <a:gd name="T75" fmla="*/ 80 h 167"/>
                  <a:gd name="T76" fmla="*/ 52 w 150"/>
                  <a:gd name="T77" fmla="*/ 90 h 167"/>
                  <a:gd name="T78" fmla="*/ 40 w 150"/>
                  <a:gd name="T79" fmla="*/ 83 h 167"/>
                  <a:gd name="T80" fmla="*/ 28 w 150"/>
                  <a:gd name="T81" fmla="*/ 91 h 167"/>
                  <a:gd name="T82" fmla="*/ 24 w 150"/>
                  <a:gd name="T83" fmla="*/ 78 h 167"/>
                  <a:gd name="T84" fmla="*/ 24 w 150"/>
                  <a:gd name="T85" fmla="*/ 68 h 167"/>
                  <a:gd name="T86" fmla="*/ 24 w 150"/>
                  <a:gd name="T87" fmla="*/ 58 h 167"/>
                  <a:gd name="T88" fmla="*/ 11 w 150"/>
                  <a:gd name="T89" fmla="*/ 58 h 167"/>
                  <a:gd name="T90" fmla="*/ 10 w 150"/>
                  <a:gd name="T91" fmla="*/ 46 h 167"/>
                  <a:gd name="T92" fmla="*/ 0 w 150"/>
                  <a:gd name="T93" fmla="*/ 39 h 167"/>
                  <a:gd name="T94" fmla="*/ 7 w 150"/>
                  <a:gd name="T95" fmla="*/ 32 h 167"/>
                  <a:gd name="T96" fmla="*/ 8 w 150"/>
                  <a:gd name="T97" fmla="*/ 23 h 167"/>
                  <a:gd name="T98" fmla="*/ 17 w 150"/>
                  <a:gd name="T99" fmla="*/ 19 h 1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50" h="167">
                    <a:moveTo>
                      <a:pt x="17" y="19"/>
                    </a:moveTo>
                    <a:lnTo>
                      <a:pt x="19" y="21"/>
                    </a:lnTo>
                    <a:lnTo>
                      <a:pt x="21" y="24"/>
                    </a:lnTo>
                    <a:lnTo>
                      <a:pt x="25" y="22"/>
                    </a:lnTo>
                    <a:lnTo>
                      <a:pt x="28" y="23"/>
                    </a:lnTo>
                    <a:lnTo>
                      <a:pt x="27" y="18"/>
                    </a:lnTo>
                    <a:lnTo>
                      <a:pt x="27" y="15"/>
                    </a:lnTo>
                    <a:lnTo>
                      <a:pt x="26" y="11"/>
                    </a:lnTo>
                    <a:lnTo>
                      <a:pt x="25" y="5"/>
                    </a:lnTo>
                    <a:lnTo>
                      <a:pt x="28" y="3"/>
                    </a:lnTo>
                    <a:lnTo>
                      <a:pt x="28" y="0"/>
                    </a:lnTo>
                    <a:lnTo>
                      <a:pt x="35" y="0"/>
                    </a:lnTo>
                    <a:lnTo>
                      <a:pt x="37" y="3"/>
                    </a:lnTo>
                    <a:lnTo>
                      <a:pt x="43" y="5"/>
                    </a:lnTo>
                    <a:lnTo>
                      <a:pt x="46" y="10"/>
                    </a:lnTo>
                    <a:lnTo>
                      <a:pt x="49" y="13"/>
                    </a:lnTo>
                    <a:lnTo>
                      <a:pt x="50" y="16"/>
                    </a:lnTo>
                    <a:lnTo>
                      <a:pt x="48" y="19"/>
                    </a:lnTo>
                    <a:lnTo>
                      <a:pt x="55" y="25"/>
                    </a:lnTo>
                    <a:lnTo>
                      <a:pt x="59" y="31"/>
                    </a:lnTo>
                    <a:lnTo>
                      <a:pt x="67" y="31"/>
                    </a:lnTo>
                    <a:lnTo>
                      <a:pt x="70" y="33"/>
                    </a:lnTo>
                    <a:lnTo>
                      <a:pt x="75" y="30"/>
                    </a:lnTo>
                    <a:lnTo>
                      <a:pt x="80" y="30"/>
                    </a:lnTo>
                    <a:lnTo>
                      <a:pt x="83" y="34"/>
                    </a:lnTo>
                    <a:lnTo>
                      <a:pt x="88" y="34"/>
                    </a:lnTo>
                    <a:lnTo>
                      <a:pt x="89" y="37"/>
                    </a:lnTo>
                    <a:lnTo>
                      <a:pt x="88" y="41"/>
                    </a:lnTo>
                    <a:lnTo>
                      <a:pt x="93" y="42"/>
                    </a:lnTo>
                    <a:lnTo>
                      <a:pt x="93" y="44"/>
                    </a:lnTo>
                    <a:lnTo>
                      <a:pt x="90" y="45"/>
                    </a:lnTo>
                    <a:lnTo>
                      <a:pt x="89" y="53"/>
                    </a:lnTo>
                    <a:lnTo>
                      <a:pt x="87" y="55"/>
                    </a:lnTo>
                    <a:lnTo>
                      <a:pt x="83" y="55"/>
                    </a:lnTo>
                    <a:lnTo>
                      <a:pt x="78" y="57"/>
                    </a:lnTo>
                    <a:lnTo>
                      <a:pt x="75" y="57"/>
                    </a:lnTo>
                    <a:lnTo>
                      <a:pt x="75" y="59"/>
                    </a:lnTo>
                    <a:lnTo>
                      <a:pt x="79" y="64"/>
                    </a:lnTo>
                    <a:lnTo>
                      <a:pt x="77" y="67"/>
                    </a:lnTo>
                    <a:lnTo>
                      <a:pt x="77" y="69"/>
                    </a:lnTo>
                    <a:lnTo>
                      <a:pt x="80" y="69"/>
                    </a:lnTo>
                    <a:lnTo>
                      <a:pt x="83" y="74"/>
                    </a:lnTo>
                    <a:lnTo>
                      <a:pt x="89" y="74"/>
                    </a:lnTo>
                    <a:lnTo>
                      <a:pt x="94" y="77"/>
                    </a:lnTo>
                    <a:lnTo>
                      <a:pt x="98" y="78"/>
                    </a:lnTo>
                    <a:lnTo>
                      <a:pt x="103" y="83"/>
                    </a:lnTo>
                    <a:lnTo>
                      <a:pt x="108" y="85"/>
                    </a:lnTo>
                    <a:lnTo>
                      <a:pt x="112" y="91"/>
                    </a:lnTo>
                    <a:lnTo>
                      <a:pt x="112" y="93"/>
                    </a:lnTo>
                    <a:lnTo>
                      <a:pt x="117" y="100"/>
                    </a:lnTo>
                    <a:lnTo>
                      <a:pt x="118" y="103"/>
                    </a:lnTo>
                    <a:lnTo>
                      <a:pt x="121" y="105"/>
                    </a:lnTo>
                    <a:lnTo>
                      <a:pt x="126" y="105"/>
                    </a:lnTo>
                    <a:lnTo>
                      <a:pt x="128" y="108"/>
                    </a:lnTo>
                    <a:lnTo>
                      <a:pt x="128" y="111"/>
                    </a:lnTo>
                    <a:lnTo>
                      <a:pt x="131" y="114"/>
                    </a:lnTo>
                    <a:lnTo>
                      <a:pt x="132" y="113"/>
                    </a:lnTo>
                    <a:lnTo>
                      <a:pt x="134" y="114"/>
                    </a:lnTo>
                    <a:lnTo>
                      <a:pt x="134" y="117"/>
                    </a:lnTo>
                    <a:lnTo>
                      <a:pt x="135" y="119"/>
                    </a:lnTo>
                    <a:lnTo>
                      <a:pt x="139" y="119"/>
                    </a:lnTo>
                    <a:lnTo>
                      <a:pt x="142" y="123"/>
                    </a:lnTo>
                    <a:lnTo>
                      <a:pt x="144" y="123"/>
                    </a:lnTo>
                    <a:lnTo>
                      <a:pt x="147" y="122"/>
                    </a:lnTo>
                    <a:lnTo>
                      <a:pt x="149" y="123"/>
                    </a:lnTo>
                    <a:lnTo>
                      <a:pt x="146" y="126"/>
                    </a:lnTo>
                    <a:lnTo>
                      <a:pt x="145" y="131"/>
                    </a:lnTo>
                    <a:lnTo>
                      <a:pt x="147" y="133"/>
                    </a:lnTo>
                    <a:lnTo>
                      <a:pt x="150" y="134"/>
                    </a:lnTo>
                    <a:lnTo>
                      <a:pt x="150" y="138"/>
                    </a:lnTo>
                    <a:lnTo>
                      <a:pt x="144" y="142"/>
                    </a:lnTo>
                    <a:lnTo>
                      <a:pt x="145" y="146"/>
                    </a:lnTo>
                    <a:lnTo>
                      <a:pt x="147" y="148"/>
                    </a:lnTo>
                    <a:lnTo>
                      <a:pt x="147" y="154"/>
                    </a:lnTo>
                    <a:lnTo>
                      <a:pt x="143" y="156"/>
                    </a:lnTo>
                    <a:lnTo>
                      <a:pt x="140" y="156"/>
                    </a:lnTo>
                    <a:lnTo>
                      <a:pt x="136" y="154"/>
                    </a:lnTo>
                    <a:lnTo>
                      <a:pt x="133" y="153"/>
                    </a:lnTo>
                    <a:lnTo>
                      <a:pt x="133" y="150"/>
                    </a:lnTo>
                    <a:lnTo>
                      <a:pt x="126" y="151"/>
                    </a:lnTo>
                    <a:lnTo>
                      <a:pt x="123" y="154"/>
                    </a:lnTo>
                    <a:lnTo>
                      <a:pt x="127" y="158"/>
                    </a:lnTo>
                    <a:lnTo>
                      <a:pt x="126" y="162"/>
                    </a:lnTo>
                    <a:lnTo>
                      <a:pt x="127" y="165"/>
                    </a:lnTo>
                    <a:lnTo>
                      <a:pt x="127" y="167"/>
                    </a:lnTo>
                    <a:lnTo>
                      <a:pt x="121" y="166"/>
                    </a:lnTo>
                    <a:lnTo>
                      <a:pt x="118" y="160"/>
                    </a:lnTo>
                    <a:lnTo>
                      <a:pt x="112" y="160"/>
                    </a:lnTo>
                    <a:lnTo>
                      <a:pt x="111" y="158"/>
                    </a:lnTo>
                    <a:lnTo>
                      <a:pt x="107" y="155"/>
                    </a:lnTo>
                    <a:lnTo>
                      <a:pt x="109" y="154"/>
                    </a:lnTo>
                    <a:lnTo>
                      <a:pt x="112" y="151"/>
                    </a:lnTo>
                    <a:lnTo>
                      <a:pt x="112" y="145"/>
                    </a:lnTo>
                    <a:lnTo>
                      <a:pt x="110" y="142"/>
                    </a:lnTo>
                    <a:lnTo>
                      <a:pt x="112" y="139"/>
                    </a:lnTo>
                    <a:lnTo>
                      <a:pt x="112" y="136"/>
                    </a:lnTo>
                    <a:lnTo>
                      <a:pt x="112" y="132"/>
                    </a:lnTo>
                    <a:lnTo>
                      <a:pt x="112" y="130"/>
                    </a:lnTo>
                    <a:lnTo>
                      <a:pt x="107" y="127"/>
                    </a:lnTo>
                    <a:lnTo>
                      <a:pt x="108" y="125"/>
                    </a:lnTo>
                    <a:lnTo>
                      <a:pt x="105" y="123"/>
                    </a:lnTo>
                    <a:lnTo>
                      <a:pt x="101" y="123"/>
                    </a:lnTo>
                    <a:lnTo>
                      <a:pt x="97" y="120"/>
                    </a:lnTo>
                    <a:lnTo>
                      <a:pt x="94" y="117"/>
                    </a:lnTo>
                    <a:lnTo>
                      <a:pt x="95" y="115"/>
                    </a:lnTo>
                    <a:lnTo>
                      <a:pt x="95" y="109"/>
                    </a:lnTo>
                    <a:lnTo>
                      <a:pt x="93" y="105"/>
                    </a:lnTo>
                    <a:lnTo>
                      <a:pt x="95" y="103"/>
                    </a:lnTo>
                    <a:lnTo>
                      <a:pt x="95" y="100"/>
                    </a:lnTo>
                    <a:lnTo>
                      <a:pt x="93" y="96"/>
                    </a:lnTo>
                    <a:lnTo>
                      <a:pt x="90" y="93"/>
                    </a:lnTo>
                    <a:lnTo>
                      <a:pt x="81" y="87"/>
                    </a:lnTo>
                    <a:lnTo>
                      <a:pt x="78" y="82"/>
                    </a:lnTo>
                    <a:lnTo>
                      <a:pt x="70" y="80"/>
                    </a:lnTo>
                    <a:lnTo>
                      <a:pt x="64" y="81"/>
                    </a:lnTo>
                    <a:lnTo>
                      <a:pt x="60" y="89"/>
                    </a:lnTo>
                    <a:lnTo>
                      <a:pt x="52" y="90"/>
                    </a:lnTo>
                    <a:lnTo>
                      <a:pt x="49" y="86"/>
                    </a:lnTo>
                    <a:lnTo>
                      <a:pt x="46" y="86"/>
                    </a:lnTo>
                    <a:lnTo>
                      <a:pt x="40" y="83"/>
                    </a:lnTo>
                    <a:lnTo>
                      <a:pt x="34" y="86"/>
                    </a:lnTo>
                    <a:lnTo>
                      <a:pt x="33" y="90"/>
                    </a:lnTo>
                    <a:lnTo>
                      <a:pt x="28" y="91"/>
                    </a:lnTo>
                    <a:lnTo>
                      <a:pt x="24" y="93"/>
                    </a:lnTo>
                    <a:lnTo>
                      <a:pt x="24" y="84"/>
                    </a:lnTo>
                    <a:lnTo>
                      <a:pt x="24" y="78"/>
                    </a:lnTo>
                    <a:lnTo>
                      <a:pt x="22" y="74"/>
                    </a:lnTo>
                    <a:lnTo>
                      <a:pt x="24" y="71"/>
                    </a:lnTo>
                    <a:lnTo>
                      <a:pt x="24" y="68"/>
                    </a:lnTo>
                    <a:lnTo>
                      <a:pt x="22" y="64"/>
                    </a:lnTo>
                    <a:lnTo>
                      <a:pt x="24" y="60"/>
                    </a:lnTo>
                    <a:lnTo>
                      <a:pt x="24" y="58"/>
                    </a:lnTo>
                    <a:lnTo>
                      <a:pt x="17" y="58"/>
                    </a:lnTo>
                    <a:lnTo>
                      <a:pt x="14" y="59"/>
                    </a:lnTo>
                    <a:lnTo>
                      <a:pt x="11" y="58"/>
                    </a:lnTo>
                    <a:lnTo>
                      <a:pt x="8" y="55"/>
                    </a:lnTo>
                    <a:lnTo>
                      <a:pt x="11" y="53"/>
                    </a:lnTo>
                    <a:lnTo>
                      <a:pt x="10" y="46"/>
                    </a:lnTo>
                    <a:lnTo>
                      <a:pt x="6" y="42"/>
                    </a:lnTo>
                    <a:lnTo>
                      <a:pt x="2" y="43"/>
                    </a:lnTo>
                    <a:lnTo>
                      <a:pt x="0" y="39"/>
                    </a:lnTo>
                    <a:lnTo>
                      <a:pt x="2" y="35"/>
                    </a:lnTo>
                    <a:lnTo>
                      <a:pt x="4" y="35"/>
                    </a:lnTo>
                    <a:lnTo>
                      <a:pt x="7" y="32"/>
                    </a:lnTo>
                    <a:lnTo>
                      <a:pt x="5" y="30"/>
                    </a:lnTo>
                    <a:lnTo>
                      <a:pt x="8" y="27"/>
                    </a:lnTo>
                    <a:lnTo>
                      <a:pt x="8" y="23"/>
                    </a:lnTo>
                    <a:lnTo>
                      <a:pt x="13" y="22"/>
                    </a:lnTo>
                    <a:lnTo>
                      <a:pt x="17" y="19"/>
                    </a:lnTo>
                    <a:lnTo>
                      <a:pt x="17" y="19"/>
                    </a:lnTo>
                    <a:close/>
                  </a:path>
                </a:pathLst>
              </a:custGeom>
              <a:solidFill>
                <a:srgbClr val="F68B1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</p:grpSp>
        <p:grpSp>
          <p:nvGrpSpPr>
            <p:cNvPr id="1061" name="Group 808"/>
            <p:cNvGrpSpPr>
              <a:grpSpLocks/>
            </p:cNvGrpSpPr>
            <p:nvPr userDrawn="1"/>
          </p:nvGrpSpPr>
          <p:grpSpPr bwMode="auto">
            <a:xfrm>
              <a:off x="1561" y="1546"/>
              <a:ext cx="4382" cy="1946"/>
              <a:chOff x="1561" y="1546"/>
              <a:chExt cx="4382" cy="1946"/>
            </a:xfrm>
          </p:grpSpPr>
          <p:sp>
            <p:nvSpPr>
              <p:cNvPr id="1403" name="Rectangle 763"/>
              <p:cNvSpPr>
                <a:spLocks noChangeArrowheads="1"/>
              </p:cNvSpPr>
              <p:nvPr userDrawn="1"/>
            </p:nvSpPr>
            <p:spPr bwMode="auto">
              <a:xfrm>
                <a:off x="2498" y="2836"/>
                <a:ext cx="281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Fransk Guyana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404" name="Freeform 608"/>
              <p:cNvSpPr>
                <a:spLocks noEditPoints="1"/>
              </p:cNvSpPr>
              <p:nvPr userDrawn="1"/>
            </p:nvSpPr>
            <p:spPr bwMode="auto">
              <a:xfrm>
                <a:off x="5251" y="2547"/>
                <a:ext cx="156" cy="279"/>
              </a:xfrm>
              <a:custGeom>
                <a:avLst/>
                <a:gdLst>
                  <a:gd name="T0" fmla="*/ 58 w 164"/>
                  <a:gd name="T1" fmla="*/ 14 h 292"/>
                  <a:gd name="T2" fmla="*/ 71 w 164"/>
                  <a:gd name="T3" fmla="*/ 19 h 292"/>
                  <a:gd name="T4" fmla="*/ 69 w 164"/>
                  <a:gd name="T5" fmla="*/ 36 h 292"/>
                  <a:gd name="T6" fmla="*/ 81 w 164"/>
                  <a:gd name="T7" fmla="*/ 53 h 292"/>
                  <a:gd name="T8" fmla="*/ 101 w 164"/>
                  <a:gd name="T9" fmla="*/ 53 h 292"/>
                  <a:gd name="T10" fmla="*/ 131 w 164"/>
                  <a:gd name="T11" fmla="*/ 50 h 292"/>
                  <a:gd name="T12" fmla="*/ 144 w 164"/>
                  <a:gd name="T13" fmla="*/ 69 h 292"/>
                  <a:gd name="T14" fmla="*/ 152 w 164"/>
                  <a:gd name="T15" fmla="*/ 88 h 292"/>
                  <a:gd name="T16" fmla="*/ 164 w 164"/>
                  <a:gd name="T17" fmla="*/ 97 h 292"/>
                  <a:gd name="T18" fmla="*/ 163 w 164"/>
                  <a:gd name="T19" fmla="*/ 117 h 292"/>
                  <a:gd name="T20" fmla="*/ 143 w 164"/>
                  <a:gd name="T21" fmla="*/ 119 h 292"/>
                  <a:gd name="T22" fmla="*/ 117 w 164"/>
                  <a:gd name="T23" fmla="*/ 122 h 292"/>
                  <a:gd name="T24" fmla="*/ 104 w 164"/>
                  <a:gd name="T25" fmla="*/ 144 h 292"/>
                  <a:gd name="T26" fmla="*/ 110 w 164"/>
                  <a:gd name="T27" fmla="*/ 166 h 292"/>
                  <a:gd name="T28" fmla="*/ 103 w 164"/>
                  <a:gd name="T29" fmla="*/ 165 h 292"/>
                  <a:gd name="T30" fmla="*/ 91 w 164"/>
                  <a:gd name="T31" fmla="*/ 156 h 292"/>
                  <a:gd name="T32" fmla="*/ 83 w 164"/>
                  <a:gd name="T33" fmla="*/ 157 h 292"/>
                  <a:gd name="T34" fmla="*/ 76 w 164"/>
                  <a:gd name="T35" fmla="*/ 153 h 292"/>
                  <a:gd name="T36" fmla="*/ 71 w 164"/>
                  <a:gd name="T37" fmla="*/ 141 h 292"/>
                  <a:gd name="T38" fmla="*/ 63 w 164"/>
                  <a:gd name="T39" fmla="*/ 142 h 292"/>
                  <a:gd name="T40" fmla="*/ 57 w 164"/>
                  <a:gd name="T41" fmla="*/ 143 h 292"/>
                  <a:gd name="T42" fmla="*/ 58 w 164"/>
                  <a:gd name="T43" fmla="*/ 157 h 292"/>
                  <a:gd name="T44" fmla="*/ 55 w 164"/>
                  <a:gd name="T45" fmla="*/ 173 h 292"/>
                  <a:gd name="T46" fmla="*/ 45 w 164"/>
                  <a:gd name="T47" fmla="*/ 204 h 292"/>
                  <a:gd name="T48" fmla="*/ 47 w 164"/>
                  <a:gd name="T49" fmla="*/ 213 h 292"/>
                  <a:gd name="T50" fmla="*/ 52 w 164"/>
                  <a:gd name="T51" fmla="*/ 225 h 292"/>
                  <a:gd name="T52" fmla="*/ 60 w 164"/>
                  <a:gd name="T53" fmla="*/ 225 h 292"/>
                  <a:gd name="T54" fmla="*/ 65 w 164"/>
                  <a:gd name="T55" fmla="*/ 239 h 292"/>
                  <a:gd name="T56" fmla="*/ 71 w 164"/>
                  <a:gd name="T57" fmla="*/ 242 h 292"/>
                  <a:gd name="T58" fmla="*/ 73 w 164"/>
                  <a:gd name="T59" fmla="*/ 256 h 292"/>
                  <a:gd name="T60" fmla="*/ 75 w 164"/>
                  <a:gd name="T61" fmla="*/ 258 h 292"/>
                  <a:gd name="T62" fmla="*/ 86 w 164"/>
                  <a:gd name="T63" fmla="*/ 272 h 292"/>
                  <a:gd name="T64" fmla="*/ 100 w 164"/>
                  <a:gd name="T65" fmla="*/ 280 h 292"/>
                  <a:gd name="T66" fmla="*/ 100 w 164"/>
                  <a:gd name="T67" fmla="*/ 290 h 292"/>
                  <a:gd name="T68" fmla="*/ 85 w 164"/>
                  <a:gd name="T69" fmla="*/ 288 h 292"/>
                  <a:gd name="T70" fmla="*/ 80 w 164"/>
                  <a:gd name="T71" fmla="*/ 276 h 292"/>
                  <a:gd name="T72" fmla="*/ 66 w 164"/>
                  <a:gd name="T73" fmla="*/ 276 h 292"/>
                  <a:gd name="T74" fmla="*/ 57 w 164"/>
                  <a:gd name="T75" fmla="*/ 265 h 292"/>
                  <a:gd name="T76" fmla="*/ 45 w 164"/>
                  <a:gd name="T77" fmla="*/ 253 h 292"/>
                  <a:gd name="T78" fmla="*/ 37 w 164"/>
                  <a:gd name="T79" fmla="*/ 239 h 292"/>
                  <a:gd name="T80" fmla="*/ 29 w 164"/>
                  <a:gd name="T81" fmla="*/ 235 h 292"/>
                  <a:gd name="T82" fmla="*/ 33 w 164"/>
                  <a:gd name="T83" fmla="*/ 221 h 292"/>
                  <a:gd name="T84" fmla="*/ 37 w 164"/>
                  <a:gd name="T85" fmla="*/ 209 h 292"/>
                  <a:gd name="T86" fmla="*/ 39 w 164"/>
                  <a:gd name="T87" fmla="*/ 192 h 292"/>
                  <a:gd name="T88" fmla="*/ 48 w 164"/>
                  <a:gd name="T89" fmla="*/ 165 h 292"/>
                  <a:gd name="T90" fmla="*/ 44 w 164"/>
                  <a:gd name="T91" fmla="*/ 145 h 292"/>
                  <a:gd name="T92" fmla="*/ 31 w 164"/>
                  <a:gd name="T93" fmla="*/ 121 h 292"/>
                  <a:gd name="T94" fmla="*/ 27 w 164"/>
                  <a:gd name="T95" fmla="*/ 100 h 292"/>
                  <a:gd name="T96" fmla="*/ 26 w 164"/>
                  <a:gd name="T97" fmla="*/ 81 h 292"/>
                  <a:gd name="T98" fmla="*/ 10 w 164"/>
                  <a:gd name="T99" fmla="*/ 58 h 292"/>
                  <a:gd name="T100" fmla="*/ 0 w 164"/>
                  <a:gd name="T101" fmla="*/ 43 h 292"/>
                  <a:gd name="T102" fmla="*/ 10 w 164"/>
                  <a:gd name="T103" fmla="*/ 28 h 292"/>
                  <a:gd name="T104" fmla="*/ 28 w 164"/>
                  <a:gd name="T105" fmla="*/ 17 h 292"/>
                  <a:gd name="T106" fmla="*/ 38 w 164"/>
                  <a:gd name="T107" fmla="*/ 7 h 292"/>
                  <a:gd name="T108" fmla="*/ 46 w 164"/>
                  <a:gd name="T109" fmla="*/ 0 h 292"/>
                  <a:gd name="T110" fmla="*/ 58 w 164"/>
                  <a:gd name="T111" fmla="*/ 273 h 292"/>
                  <a:gd name="T112" fmla="*/ 46 w 164"/>
                  <a:gd name="T113" fmla="*/ 255 h 292"/>
                  <a:gd name="T114" fmla="*/ 31 w 164"/>
                  <a:gd name="T115" fmla="*/ 253 h 292"/>
                  <a:gd name="T116" fmla="*/ 101 w 164"/>
                  <a:gd name="T117" fmla="*/ 169 h 292"/>
                  <a:gd name="T118" fmla="*/ 59 w 164"/>
                  <a:gd name="T119" fmla="*/ 213 h 292"/>
                  <a:gd name="T120" fmla="*/ 61 w 164"/>
                  <a:gd name="T121" fmla="*/ 220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64" h="292">
                    <a:moveTo>
                      <a:pt x="46" y="0"/>
                    </a:moveTo>
                    <a:cubicBezTo>
                      <a:pt x="48" y="4"/>
                      <a:pt x="48" y="4"/>
                      <a:pt x="48" y="4"/>
                    </a:cubicBezTo>
                    <a:cubicBezTo>
                      <a:pt x="53" y="3"/>
                      <a:pt x="53" y="3"/>
                      <a:pt x="53" y="3"/>
                    </a:cubicBezTo>
                    <a:cubicBezTo>
                      <a:pt x="57" y="7"/>
                      <a:pt x="57" y="7"/>
                      <a:pt x="57" y="7"/>
                    </a:cubicBezTo>
                    <a:cubicBezTo>
                      <a:pt x="58" y="14"/>
                      <a:pt x="58" y="14"/>
                      <a:pt x="58" y="14"/>
                    </a:cubicBezTo>
                    <a:cubicBezTo>
                      <a:pt x="55" y="16"/>
                      <a:pt x="55" y="16"/>
                      <a:pt x="55" y="16"/>
                    </a:cubicBezTo>
                    <a:cubicBezTo>
                      <a:pt x="58" y="20"/>
                      <a:pt x="58" y="20"/>
                      <a:pt x="58" y="20"/>
                    </a:cubicBezTo>
                    <a:cubicBezTo>
                      <a:pt x="61" y="21"/>
                      <a:pt x="61" y="21"/>
                      <a:pt x="61" y="21"/>
                    </a:cubicBezTo>
                    <a:cubicBezTo>
                      <a:pt x="64" y="19"/>
                      <a:pt x="64" y="19"/>
                      <a:pt x="64" y="19"/>
                    </a:cubicBezTo>
                    <a:cubicBezTo>
                      <a:pt x="71" y="19"/>
                      <a:pt x="71" y="19"/>
                      <a:pt x="71" y="19"/>
                    </a:cubicBezTo>
                    <a:cubicBezTo>
                      <a:pt x="71" y="22"/>
                      <a:pt x="71" y="22"/>
                      <a:pt x="71" y="22"/>
                    </a:cubicBezTo>
                    <a:cubicBezTo>
                      <a:pt x="69" y="26"/>
                      <a:pt x="69" y="26"/>
                      <a:pt x="69" y="26"/>
                    </a:cubicBezTo>
                    <a:cubicBezTo>
                      <a:pt x="71" y="30"/>
                      <a:pt x="71" y="30"/>
                      <a:pt x="71" y="30"/>
                    </a:cubicBezTo>
                    <a:cubicBezTo>
                      <a:pt x="71" y="33"/>
                      <a:pt x="71" y="33"/>
                      <a:pt x="71" y="33"/>
                    </a:cubicBezTo>
                    <a:cubicBezTo>
                      <a:pt x="69" y="36"/>
                      <a:pt x="69" y="36"/>
                      <a:pt x="69" y="36"/>
                    </a:cubicBezTo>
                    <a:cubicBezTo>
                      <a:pt x="71" y="40"/>
                      <a:pt x="71" y="40"/>
                      <a:pt x="71" y="40"/>
                    </a:cubicBezTo>
                    <a:cubicBezTo>
                      <a:pt x="71" y="47"/>
                      <a:pt x="71" y="47"/>
                      <a:pt x="71" y="47"/>
                    </a:cubicBezTo>
                    <a:cubicBezTo>
                      <a:pt x="71" y="56"/>
                      <a:pt x="71" y="56"/>
                      <a:pt x="71" y="56"/>
                    </a:cubicBezTo>
                    <a:cubicBezTo>
                      <a:pt x="76" y="54"/>
                      <a:pt x="76" y="54"/>
                      <a:pt x="76" y="54"/>
                    </a:cubicBezTo>
                    <a:cubicBezTo>
                      <a:pt x="81" y="53"/>
                      <a:pt x="81" y="53"/>
                      <a:pt x="81" y="53"/>
                    </a:cubicBezTo>
                    <a:cubicBezTo>
                      <a:pt x="82" y="49"/>
                      <a:pt x="82" y="49"/>
                      <a:pt x="82" y="49"/>
                    </a:cubicBezTo>
                    <a:cubicBezTo>
                      <a:pt x="88" y="46"/>
                      <a:pt x="88" y="46"/>
                      <a:pt x="88" y="46"/>
                    </a:cubicBezTo>
                    <a:cubicBezTo>
                      <a:pt x="94" y="49"/>
                      <a:pt x="94" y="49"/>
                      <a:pt x="94" y="49"/>
                    </a:cubicBezTo>
                    <a:cubicBezTo>
                      <a:pt x="98" y="49"/>
                      <a:pt x="98" y="49"/>
                      <a:pt x="98" y="49"/>
                    </a:cubicBezTo>
                    <a:cubicBezTo>
                      <a:pt x="101" y="53"/>
                      <a:pt x="101" y="53"/>
                      <a:pt x="101" y="53"/>
                    </a:cubicBezTo>
                    <a:cubicBezTo>
                      <a:pt x="109" y="52"/>
                      <a:pt x="109" y="52"/>
                      <a:pt x="109" y="52"/>
                    </a:cubicBezTo>
                    <a:cubicBezTo>
                      <a:pt x="113" y="44"/>
                      <a:pt x="113" y="44"/>
                      <a:pt x="113" y="44"/>
                    </a:cubicBezTo>
                    <a:cubicBezTo>
                      <a:pt x="120" y="43"/>
                      <a:pt x="120" y="43"/>
                      <a:pt x="120" y="43"/>
                    </a:cubicBezTo>
                    <a:cubicBezTo>
                      <a:pt x="128" y="45"/>
                      <a:pt x="128" y="45"/>
                      <a:pt x="128" y="45"/>
                    </a:cubicBezTo>
                    <a:cubicBezTo>
                      <a:pt x="131" y="50"/>
                      <a:pt x="131" y="50"/>
                      <a:pt x="131" y="50"/>
                    </a:cubicBezTo>
                    <a:cubicBezTo>
                      <a:pt x="140" y="56"/>
                      <a:pt x="140" y="56"/>
                      <a:pt x="140" y="56"/>
                    </a:cubicBezTo>
                    <a:cubicBezTo>
                      <a:pt x="144" y="59"/>
                      <a:pt x="144" y="59"/>
                      <a:pt x="144" y="59"/>
                    </a:cubicBezTo>
                    <a:cubicBezTo>
                      <a:pt x="146" y="63"/>
                      <a:pt x="146" y="63"/>
                      <a:pt x="146" y="63"/>
                    </a:cubicBezTo>
                    <a:cubicBezTo>
                      <a:pt x="146" y="67"/>
                      <a:pt x="146" y="67"/>
                      <a:pt x="146" y="67"/>
                    </a:cubicBezTo>
                    <a:cubicBezTo>
                      <a:pt x="144" y="69"/>
                      <a:pt x="144" y="69"/>
                      <a:pt x="144" y="69"/>
                    </a:cubicBezTo>
                    <a:cubicBezTo>
                      <a:pt x="146" y="73"/>
                      <a:pt x="146" y="73"/>
                      <a:pt x="146" y="73"/>
                    </a:cubicBezTo>
                    <a:cubicBezTo>
                      <a:pt x="146" y="79"/>
                      <a:pt x="146" y="79"/>
                      <a:pt x="146" y="79"/>
                    </a:cubicBezTo>
                    <a:cubicBezTo>
                      <a:pt x="145" y="81"/>
                      <a:pt x="145" y="81"/>
                      <a:pt x="145" y="81"/>
                    </a:cubicBezTo>
                    <a:cubicBezTo>
                      <a:pt x="148" y="84"/>
                      <a:pt x="148" y="84"/>
                      <a:pt x="148" y="84"/>
                    </a:cubicBezTo>
                    <a:cubicBezTo>
                      <a:pt x="152" y="88"/>
                      <a:pt x="152" y="88"/>
                      <a:pt x="152" y="88"/>
                    </a:cubicBezTo>
                    <a:cubicBezTo>
                      <a:pt x="156" y="88"/>
                      <a:pt x="156" y="88"/>
                      <a:pt x="156" y="88"/>
                    </a:cubicBezTo>
                    <a:cubicBezTo>
                      <a:pt x="159" y="90"/>
                      <a:pt x="159" y="90"/>
                      <a:pt x="159" y="90"/>
                    </a:cubicBezTo>
                    <a:cubicBezTo>
                      <a:pt x="158" y="92"/>
                      <a:pt x="158" y="92"/>
                      <a:pt x="158" y="92"/>
                    </a:cubicBezTo>
                    <a:cubicBezTo>
                      <a:pt x="163" y="95"/>
                      <a:pt x="163" y="95"/>
                      <a:pt x="163" y="95"/>
                    </a:cubicBezTo>
                    <a:cubicBezTo>
                      <a:pt x="164" y="97"/>
                      <a:pt x="164" y="97"/>
                      <a:pt x="164" y="97"/>
                    </a:cubicBezTo>
                    <a:cubicBezTo>
                      <a:pt x="163" y="101"/>
                      <a:pt x="163" y="101"/>
                      <a:pt x="163" y="101"/>
                    </a:cubicBezTo>
                    <a:cubicBezTo>
                      <a:pt x="163" y="104"/>
                      <a:pt x="163" y="104"/>
                      <a:pt x="163" y="104"/>
                    </a:cubicBezTo>
                    <a:cubicBezTo>
                      <a:pt x="161" y="107"/>
                      <a:pt x="161" y="107"/>
                      <a:pt x="161" y="107"/>
                    </a:cubicBezTo>
                    <a:cubicBezTo>
                      <a:pt x="163" y="110"/>
                      <a:pt x="163" y="110"/>
                      <a:pt x="163" y="110"/>
                    </a:cubicBezTo>
                    <a:cubicBezTo>
                      <a:pt x="163" y="117"/>
                      <a:pt x="163" y="117"/>
                      <a:pt x="163" y="117"/>
                    </a:cubicBezTo>
                    <a:cubicBezTo>
                      <a:pt x="160" y="120"/>
                      <a:pt x="160" y="120"/>
                      <a:pt x="160" y="120"/>
                    </a:cubicBezTo>
                    <a:cubicBezTo>
                      <a:pt x="155" y="122"/>
                      <a:pt x="155" y="122"/>
                      <a:pt x="155" y="122"/>
                    </a:cubicBez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47" y="120"/>
                      <a:pt x="147" y="120"/>
                      <a:pt x="147" y="120"/>
                    </a:cubicBezTo>
                    <a:cubicBezTo>
                      <a:pt x="143" y="119"/>
                      <a:pt x="143" y="119"/>
                      <a:pt x="143" y="119"/>
                    </a:cubicBezTo>
                    <a:cubicBezTo>
                      <a:pt x="138" y="119"/>
                      <a:pt x="138" y="119"/>
                      <a:pt x="138" y="119"/>
                    </a:cubicBezTo>
                    <a:cubicBezTo>
                      <a:pt x="133" y="121"/>
                      <a:pt x="133" y="121"/>
                      <a:pt x="133" y="121"/>
                    </a:cubicBezTo>
                    <a:cubicBezTo>
                      <a:pt x="131" y="119"/>
                      <a:pt x="131" y="119"/>
                      <a:pt x="131" y="119"/>
                    </a:cubicBezTo>
                    <a:cubicBezTo>
                      <a:pt x="126" y="119"/>
                      <a:pt x="126" y="119"/>
                      <a:pt x="126" y="119"/>
                    </a:cubicBezTo>
                    <a:cubicBezTo>
                      <a:pt x="117" y="122"/>
                      <a:pt x="117" y="122"/>
                      <a:pt x="117" y="122"/>
                    </a:cubicBezTo>
                    <a:cubicBezTo>
                      <a:pt x="113" y="122"/>
                      <a:pt x="113" y="122"/>
                      <a:pt x="113" y="122"/>
                    </a:cubicBezTo>
                    <a:cubicBezTo>
                      <a:pt x="109" y="127"/>
                      <a:pt x="109" y="127"/>
                      <a:pt x="109" y="127"/>
                    </a:cubicBezTo>
                    <a:cubicBezTo>
                      <a:pt x="108" y="133"/>
                      <a:pt x="108" y="133"/>
                      <a:pt x="108" y="133"/>
                    </a:cubicBezTo>
                    <a:cubicBezTo>
                      <a:pt x="105" y="137"/>
                      <a:pt x="105" y="137"/>
                      <a:pt x="105" y="137"/>
                    </a:cubicBezTo>
                    <a:cubicBezTo>
                      <a:pt x="104" y="144"/>
                      <a:pt x="104" y="144"/>
                      <a:pt x="104" y="144"/>
                    </a:cubicBezTo>
                    <a:cubicBezTo>
                      <a:pt x="106" y="151"/>
                      <a:pt x="106" y="151"/>
                      <a:pt x="106" y="151"/>
                    </a:cubicBezTo>
                    <a:cubicBezTo>
                      <a:pt x="109" y="153"/>
                      <a:pt x="109" y="153"/>
                      <a:pt x="109" y="153"/>
                    </a:cubicBezTo>
                    <a:cubicBezTo>
                      <a:pt x="111" y="157"/>
                      <a:pt x="111" y="157"/>
                      <a:pt x="111" y="157"/>
                    </a:cubicBezTo>
                    <a:cubicBezTo>
                      <a:pt x="111" y="163"/>
                      <a:pt x="111" y="163"/>
                      <a:pt x="111" y="163"/>
                    </a:cubicBezTo>
                    <a:cubicBezTo>
                      <a:pt x="110" y="166"/>
                      <a:pt x="110" y="166"/>
                      <a:pt x="110" y="166"/>
                    </a:cubicBezTo>
                    <a:cubicBezTo>
                      <a:pt x="108" y="166"/>
                      <a:pt x="108" y="166"/>
                      <a:pt x="108" y="166"/>
                    </a:cubicBezTo>
                    <a:cubicBezTo>
                      <a:pt x="108" y="169"/>
                      <a:pt x="108" y="169"/>
                      <a:pt x="108" y="169"/>
                    </a:cubicBezTo>
                    <a:cubicBezTo>
                      <a:pt x="107" y="169"/>
                      <a:pt x="107" y="169"/>
                      <a:pt x="107" y="169"/>
                    </a:cubicBezTo>
                    <a:cubicBezTo>
                      <a:pt x="107" y="168"/>
                      <a:pt x="107" y="168"/>
                      <a:pt x="107" y="168"/>
                    </a:cubicBezTo>
                    <a:cubicBezTo>
                      <a:pt x="103" y="165"/>
                      <a:pt x="103" y="165"/>
                      <a:pt x="103" y="165"/>
                    </a:cubicBezTo>
                    <a:cubicBezTo>
                      <a:pt x="101" y="165"/>
                      <a:pt x="101" y="165"/>
                      <a:pt x="101" y="165"/>
                    </a:cubicBezTo>
                    <a:cubicBezTo>
                      <a:pt x="101" y="163"/>
                      <a:pt x="101" y="163"/>
                      <a:pt x="101" y="163"/>
                    </a:cubicBezTo>
                    <a:cubicBezTo>
                      <a:pt x="99" y="162"/>
                      <a:pt x="99" y="162"/>
                      <a:pt x="99" y="162"/>
                    </a:cubicBezTo>
                    <a:cubicBezTo>
                      <a:pt x="94" y="157"/>
                      <a:pt x="94" y="157"/>
                      <a:pt x="94" y="157"/>
                    </a:cubicBezTo>
                    <a:cubicBezTo>
                      <a:pt x="91" y="156"/>
                      <a:pt x="91" y="156"/>
                      <a:pt x="91" y="156"/>
                    </a:cubicBezTo>
                    <a:cubicBezTo>
                      <a:pt x="89" y="158"/>
                      <a:pt x="89" y="158"/>
                      <a:pt x="89" y="158"/>
                    </a:cubicBezTo>
                    <a:cubicBezTo>
                      <a:pt x="89" y="159"/>
                      <a:pt x="89" y="159"/>
                      <a:pt x="89" y="159"/>
                    </a:cubicBezTo>
                    <a:cubicBezTo>
                      <a:pt x="89" y="159"/>
                      <a:pt x="89" y="159"/>
                      <a:pt x="89" y="159"/>
                    </a:cubicBezTo>
                    <a:cubicBezTo>
                      <a:pt x="87" y="158"/>
                      <a:pt x="87" y="158"/>
                      <a:pt x="87" y="158"/>
                    </a:cubicBezTo>
                    <a:cubicBezTo>
                      <a:pt x="83" y="157"/>
                      <a:pt x="83" y="157"/>
                      <a:pt x="83" y="157"/>
                    </a:cubicBezTo>
                    <a:cubicBezTo>
                      <a:pt x="79" y="158"/>
                      <a:pt x="79" y="158"/>
                      <a:pt x="79" y="158"/>
                    </a:cubicBezTo>
                    <a:cubicBezTo>
                      <a:pt x="77" y="157"/>
                      <a:pt x="77" y="157"/>
                      <a:pt x="77" y="157"/>
                    </a:cubicBezTo>
                    <a:cubicBezTo>
                      <a:pt x="74" y="158"/>
                      <a:pt x="74" y="158"/>
                      <a:pt x="74" y="158"/>
                    </a:cubicBezTo>
                    <a:cubicBezTo>
                      <a:pt x="75" y="155"/>
                      <a:pt x="75" y="155"/>
                      <a:pt x="75" y="155"/>
                    </a:cubicBezTo>
                    <a:cubicBezTo>
                      <a:pt x="76" y="153"/>
                      <a:pt x="76" y="153"/>
                      <a:pt x="76" y="153"/>
                    </a:cubicBezTo>
                    <a:cubicBezTo>
                      <a:pt x="74" y="151"/>
                      <a:pt x="74" y="151"/>
                      <a:pt x="74" y="151"/>
                    </a:cubicBezTo>
                    <a:cubicBezTo>
                      <a:pt x="75" y="146"/>
                      <a:pt x="75" y="146"/>
                      <a:pt x="75" y="146"/>
                    </a:cubicBezTo>
                    <a:cubicBezTo>
                      <a:pt x="76" y="145"/>
                      <a:pt x="76" y="145"/>
                      <a:pt x="76" y="145"/>
                    </a:cubicBezTo>
                    <a:cubicBezTo>
                      <a:pt x="75" y="142"/>
                      <a:pt x="75" y="142"/>
                      <a:pt x="75" y="142"/>
                    </a:cubicBezTo>
                    <a:cubicBezTo>
                      <a:pt x="71" y="141"/>
                      <a:pt x="71" y="141"/>
                      <a:pt x="71" y="141"/>
                    </a:cubicBezTo>
                    <a:cubicBezTo>
                      <a:pt x="71" y="141"/>
                      <a:pt x="71" y="141"/>
                      <a:pt x="71" y="141"/>
                    </a:cubicBezTo>
                    <a:cubicBezTo>
                      <a:pt x="70" y="141"/>
                      <a:pt x="70" y="141"/>
                      <a:pt x="70" y="141"/>
                    </a:cubicBezTo>
                    <a:cubicBezTo>
                      <a:pt x="68" y="140"/>
                      <a:pt x="68" y="140"/>
                      <a:pt x="68" y="140"/>
                    </a:cubicBezTo>
                    <a:cubicBezTo>
                      <a:pt x="65" y="142"/>
                      <a:pt x="65" y="142"/>
                      <a:pt x="65" y="142"/>
                    </a:cubicBezTo>
                    <a:cubicBezTo>
                      <a:pt x="63" y="142"/>
                      <a:pt x="63" y="142"/>
                      <a:pt x="63" y="142"/>
                    </a:cubicBezTo>
                    <a:cubicBezTo>
                      <a:pt x="61" y="141"/>
                      <a:pt x="61" y="141"/>
                      <a:pt x="61" y="141"/>
                    </a:cubicBezTo>
                    <a:cubicBezTo>
                      <a:pt x="60" y="142"/>
                      <a:pt x="60" y="142"/>
                      <a:pt x="60" y="142"/>
                    </a:cubicBezTo>
                    <a:cubicBezTo>
                      <a:pt x="58" y="142"/>
                      <a:pt x="58" y="142"/>
                      <a:pt x="58" y="142"/>
                    </a:cubicBezTo>
                    <a:cubicBezTo>
                      <a:pt x="57" y="142"/>
                      <a:pt x="57" y="142"/>
                      <a:pt x="57" y="142"/>
                    </a:cubicBezTo>
                    <a:cubicBezTo>
                      <a:pt x="57" y="143"/>
                      <a:pt x="57" y="143"/>
                      <a:pt x="57" y="143"/>
                    </a:cubicBezTo>
                    <a:cubicBezTo>
                      <a:pt x="56" y="145"/>
                      <a:pt x="56" y="145"/>
                      <a:pt x="56" y="145"/>
                    </a:cubicBezTo>
                    <a:cubicBezTo>
                      <a:pt x="59" y="147"/>
                      <a:pt x="59" y="147"/>
                      <a:pt x="59" y="147"/>
                    </a:cubicBezTo>
                    <a:cubicBezTo>
                      <a:pt x="60" y="150"/>
                      <a:pt x="60" y="150"/>
                      <a:pt x="60" y="150"/>
                    </a:cubicBezTo>
                    <a:cubicBezTo>
                      <a:pt x="58" y="153"/>
                      <a:pt x="58" y="153"/>
                      <a:pt x="58" y="153"/>
                    </a:cubicBezTo>
                    <a:cubicBezTo>
                      <a:pt x="58" y="157"/>
                      <a:pt x="58" y="157"/>
                      <a:pt x="58" y="157"/>
                    </a:cubicBezTo>
                    <a:cubicBezTo>
                      <a:pt x="57" y="159"/>
                      <a:pt x="57" y="159"/>
                      <a:pt x="57" y="159"/>
                    </a:cubicBezTo>
                    <a:cubicBezTo>
                      <a:pt x="59" y="161"/>
                      <a:pt x="59" y="161"/>
                      <a:pt x="59" y="161"/>
                    </a:cubicBezTo>
                    <a:cubicBezTo>
                      <a:pt x="58" y="166"/>
                      <a:pt x="58" y="166"/>
                      <a:pt x="58" y="166"/>
                    </a:cubicBezTo>
                    <a:cubicBezTo>
                      <a:pt x="55" y="169"/>
                      <a:pt x="55" y="169"/>
                      <a:pt x="55" y="169"/>
                    </a:cubicBezTo>
                    <a:cubicBezTo>
                      <a:pt x="55" y="173"/>
                      <a:pt x="55" y="173"/>
                      <a:pt x="55" y="173"/>
                    </a:cubicBezTo>
                    <a:cubicBezTo>
                      <a:pt x="52" y="177"/>
                      <a:pt x="52" y="177"/>
                      <a:pt x="52" y="177"/>
                    </a:cubicBezTo>
                    <a:cubicBezTo>
                      <a:pt x="51" y="191"/>
                      <a:pt x="51" y="191"/>
                      <a:pt x="51" y="191"/>
                    </a:cubicBezTo>
                    <a:cubicBezTo>
                      <a:pt x="46" y="197"/>
                      <a:pt x="46" y="197"/>
                      <a:pt x="46" y="197"/>
                    </a:cubicBezTo>
                    <a:cubicBezTo>
                      <a:pt x="46" y="201"/>
                      <a:pt x="46" y="201"/>
                      <a:pt x="46" y="201"/>
                    </a:cubicBezTo>
                    <a:cubicBezTo>
                      <a:pt x="45" y="204"/>
                      <a:pt x="45" y="204"/>
                      <a:pt x="45" y="204"/>
                    </a:cubicBezTo>
                    <a:cubicBezTo>
                      <a:pt x="47" y="205"/>
                      <a:pt x="47" y="205"/>
                      <a:pt x="47" y="205"/>
                    </a:cubicBezTo>
                    <a:cubicBezTo>
                      <a:pt x="47" y="206"/>
                      <a:pt x="47" y="206"/>
                      <a:pt x="47" y="206"/>
                    </a:cubicBezTo>
                    <a:cubicBezTo>
                      <a:pt x="45" y="208"/>
                      <a:pt x="45" y="208"/>
                      <a:pt x="45" y="208"/>
                    </a:cubicBezTo>
                    <a:cubicBezTo>
                      <a:pt x="46" y="209"/>
                      <a:pt x="46" y="209"/>
                      <a:pt x="46" y="209"/>
                    </a:cubicBezTo>
                    <a:cubicBezTo>
                      <a:pt x="47" y="213"/>
                      <a:pt x="47" y="213"/>
                      <a:pt x="47" y="213"/>
                    </a:cubicBezTo>
                    <a:cubicBezTo>
                      <a:pt x="47" y="216"/>
                      <a:pt x="47" y="216"/>
                      <a:pt x="47" y="216"/>
                    </a:cubicBezTo>
                    <a:cubicBezTo>
                      <a:pt x="50" y="221"/>
                      <a:pt x="50" y="221"/>
                      <a:pt x="50" y="221"/>
                    </a:cubicBezTo>
                    <a:cubicBezTo>
                      <a:pt x="48" y="225"/>
                      <a:pt x="48" y="225"/>
                      <a:pt x="48" y="225"/>
                    </a:cubicBezTo>
                    <a:cubicBezTo>
                      <a:pt x="50" y="226"/>
                      <a:pt x="50" y="226"/>
                      <a:pt x="50" y="226"/>
                    </a:cubicBezTo>
                    <a:cubicBezTo>
                      <a:pt x="52" y="225"/>
                      <a:pt x="52" y="225"/>
                      <a:pt x="52" y="225"/>
                    </a:cubicBezTo>
                    <a:cubicBezTo>
                      <a:pt x="52" y="224"/>
                      <a:pt x="52" y="224"/>
                      <a:pt x="52" y="224"/>
                    </a:cubicBezTo>
                    <a:cubicBezTo>
                      <a:pt x="54" y="222"/>
                      <a:pt x="54" y="222"/>
                      <a:pt x="54" y="222"/>
                    </a:cubicBezTo>
                    <a:cubicBezTo>
                      <a:pt x="55" y="222"/>
                      <a:pt x="55" y="222"/>
                      <a:pt x="55" y="222"/>
                    </a:cubicBezTo>
                    <a:cubicBezTo>
                      <a:pt x="58" y="223"/>
                      <a:pt x="58" y="223"/>
                      <a:pt x="58" y="223"/>
                    </a:cubicBezTo>
                    <a:cubicBezTo>
                      <a:pt x="60" y="225"/>
                      <a:pt x="60" y="225"/>
                      <a:pt x="60" y="225"/>
                    </a:cubicBezTo>
                    <a:cubicBezTo>
                      <a:pt x="60" y="228"/>
                      <a:pt x="60" y="228"/>
                      <a:pt x="60" y="228"/>
                    </a:cubicBezTo>
                    <a:cubicBezTo>
                      <a:pt x="62" y="231"/>
                      <a:pt x="62" y="231"/>
                      <a:pt x="62" y="231"/>
                    </a:cubicBezTo>
                    <a:cubicBezTo>
                      <a:pt x="61" y="235"/>
                      <a:pt x="61" y="235"/>
                      <a:pt x="61" y="235"/>
                    </a:cubicBezTo>
                    <a:cubicBezTo>
                      <a:pt x="63" y="235"/>
                      <a:pt x="63" y="235"/>
                      <a:pt x="63" y="235"/>
                    </a:cubicBezTo>
                    <a:cubicBezTo>
                      <a:pt x="65" y="239"/>
                      <a:pt x="65" y="239"/>
                      <a:pt x="65" y="239"/>
                    </a:cubicBezTo>
                    <a:cubicBezTo>
                      <a:pt x="67" y="239"/>
                      <a:pt x="67" y="239"/>
                      <a:pt x="67" y="239"/>
                    </a:cubicBezTo>
                    <a:cubicBezTo>
                      <a:pt x="67" y="237"/>
                      <a:pt x="67" y="237"/>
                      <a:pt x="67" y="237"/>
                    </a:cubicBezTo>
                    <a:cubicBezTo>
                      <a:pt x="68" y="236"/>
                      <a:pt x="68" y="236"/>
                      <a:pt x="68" y="236"/>
                    </a:cubicBezTo>
                    <a:cubicBezTo>
                      <a:pt x="69" y="239"/>
                      <a:pt x="69" y="239"/>
                      <a:pt x="69" y="239"/>
                    </a:cubicBezTo>
                    <a:cubicBezTo>
                      <a:pt x="71" y="242"/>
                      <a:pt x="71" y="242"/>
                      <a:pt x="71" y="242"/>
                    </a:cubicBezTo>
                    <a:cubicBezTo>
                      <a:pt x="71" y="245"/>
                      <a:pt x="71" y="245"/>
                      <a:pt x="71" y="245"/>
                    </a:cubicBezTo>
                    <a:cubicBezTo>
                      <a:pt x="73" y="246"/>
                      <a:pt x="73" y="246"/>
                      <a:pt x="73" y="246"/>
                    </a:cubicBezTo>
                    <a:cubicBezTo>
                      <a:pt x="74" y="253"/>
                      <a:pt x="74" y="253"/>
                      <a:pt x="74" y="253"/>
                    </a:cubicBezTo>
                    <a:cubicBezTo>
                      <a:pt x="74" y="254"/>
                      <a:pt x="74" y="254"/>
                      <a:pt x="74" y="254"/>
                    </a:cubicBezTo>
                    <a:cubicBezTo>
                      <a:pt x="73" y="256"/>
                      <a:pt x="73" y="256"/>
                      <a:pt x="73" y="256"/>
                    </a:cubicBezTo>
                    <a:cubicBezTo>
                      <a:pt x="72" y="255"/>
                      <a:pt x="72" y="255"/>
                      <a:pt x="72" y="255"/>
                    </a:cubicBezTo>
                    <a:cubicBezTo>
                      <a:pt x="69" y="257"/>
                      <a:pt x="69" y="257"/>
                      <a:pt x="69" y="257"/>
                    </a:cubicBezTo>
                    <a:cubicBezTo>
                      <a:pt x="68" y="259"/>
                      <a:pt x="68" y="259"/>
                      <a:pt x="68" y="259"/>
                    </a:cubicBezTo>
                    <a:cubicBezTo>
                      <a:pt x="74" y="261"/>
                      <a:pt x="74" y="261"/>
                      <a:pt x="74" y="261"/>
                    </a:cubicBezTo>
                    <a:cubicBezTo>
                      <a:pt x="75" y="258"/>
                      <a:pt x="75" y="258"/>
                      <a:pt x="75" y="258"/>
                    </a:cubicBezTo>
                    <a:cubicBezTo>
                      <a:pt x="76" y="259"/>
                      <a:pt x="76" y="259"/>
                      <a:pt x="76" y="259"/>
                    </a:cubicBezTo>
                    <a:cubicBezTo>
                      <a:pt x="76" y="263"/>
                      <a:pt x="76" y="263"/>
                      <a:pt x="76" y="263"/>
                    </a:cubicBezTo>
                    <a:cubicBezTo>
                      <a:pt x="79" y="265"/>
                      <a:pt x="79" y="265"/>
                      <a:pt x="79" y="265"/>
                    </a:cubicBezTo>
                    <a:cubicBezTo>
                      <a:pt x="84" y="270"/>
                      <a:pt x="84" y="270"/>
                      <a:pt x="84" y="270"/>
                    </a:cubicBezTo>
                    <a:cubicBezTo>
                      <a:pt x="86" y="272"/>
                      <a:pt x="86" y="272"/>
                      <a:pt x="86" y="272"/>
                    </a:cubicBezTo>
                    <a:cubicBezTo>
                      <a:pt x="88" y="270"/>
                      <a:pt x="88" y="270"/>
                      <a:pt x="88" y="270"/>
                    </a:cubicBezTo>
                    <a:cubicBezTo>
                      <a:pt x="92" y="271"/>
                      <a:pt x="92" y="271"/>
                      <a:pt x="92" y="271"/>
                    </a:cubicBezTo>
                    <a:cubicBezTo>
                      <a:pt x="95" y="272"/>
                      <a:pt x="95" y="272"/>
                      <a:pt x="95" y="272"/>
                    </a:cubicBezTo>
                    <a:cubicBezTo>
                      <a:pt x="98" y="278"/>
                      <a:pt x="98" y="278"/>
                      <a:pt x="98" y="278"/>
                    </a:cubicBezTo>
                    <a:cubicBezTo>
                      <a:pt x="100" y="280"/>
                      <a:pt x="100" y="280"/>
                      <a:pt x="100" y="280"/>
                    </a:cubicBezTo>
                    <a:cubicBezTo>
                      <a:pt x="104" y="282"/>
                      <a:pt x="104" y="282"/>
                      <a:pt x="104" y="282"/>
                    </a:cubicBezTo>
                    <a:cubicBezTo>
                      <a:pt x="104" y="284"/>
                      <a:pt x="104" y="284"/>
                      <a:pt x="104" y="284"/>
                    </a:cubicBezTo>
                    <a:cubicBezTo>
                      <a:pt x="103" y="285"/>
                      <a:pt x="103" y="285"/>
                      <a:pt x="103" y="285"/>
                    </a:cubicBezTo>
                    <a:cubicBezTo>
                      <a:pt x="103" y="288"/>
                      <a:pt x="103" y="288"/>
                      <a:pt x="103" y="288"/>
                    </a:cubicBezTo>
                    <a:cubicBezTo>
                      <a:pt x="100" y="290"/>
                      <a:pt x="100" y="290"/>
                      <a:pt x="100" y="290"/>
                    </a:cubicBezTo>
                    <a:cubicBezTo>
                      <a:pt x="98" y="288"/>
                      <a:pt x="98" y="288"/>
                      <a:pt x="98" y="288"/>
                    </a:cubicBezTo>
                    <a:cubicBezTo>
                      <a:pt x="94" y="289"/>
                      <a:pt x="94" y="289"/>
                      <a:pt x="94" y="289"/>
                    </a:cubicBezTo>
                    <a:cubicBezTo>
                      <a:pt x="90" y="292"/>
                      <a:pt x="90" y="292"/>
                      <a:pt x="90" y="292"/>
                    </a:cubicBezTo>
                    <a:cubicBezTo>
                      <a:pt x="85" y="291"/>
                      <a:pt x="85" y="291"/>
                      <a:pt x="85" y="291"/>
                    </a:cubicBezTo>
                    <a:cubicBezTo>
                      <a:pt x="85" y="288"/>
                      <a:pt x="85" y="288"/>
                      <a:pt x="85" y="288"/>
                    </a:cubicBezTo>
                    <a:cubicBezTo>
                      <a:pt x="87" y="286"/>
                      <a:pt x="87" y="286"/>
                      <a:pt x="87" y="286"/>
                    </a:cubicBezTo>
                    <a:cubicBezTo>
                      <a:pt x="88" y="280"/>
                      <a:pt x="88" y="280"/>
                      <a:pt x="88" y="280"/>
                    </a:cubicBezTo>
                    <a:cubicBezTo>
                      <a:pt x="85" y="278"/>
                      <a:pt x="85" y="278"/>
                      <a:pt x="85" y="278"/>
                    </a:cubicBezTo>
                    <a:cubicBezTo>
                      <a:pt x="81" y="278"/>
                      <a:pt x="81" y="278"/>
                      <a:pt x="81" y="278"/>
                    </a:cubicBezTo>
                    <a:cubicBezTo>
                      <a:pt x="80" y="276"/>
                      <a:pt x="80" y="276"/>
                      <a:pt x="80" y="276"/>
                    </a:cubicBezTo>
                    <a:cubicBezTo>
                      <a:pt x="75" y="274"/>
                      <a:pt x="75" y="274"/>
                      <a:pt x="75" y="274"/>
                    </a:cubicBezTo>
                    <a:cubicBezTo>
                      <a:pt x="72" y="271"/>
                      <a:pt x="72" y="271"/>
                      <a:pt x="72" y="271"/>
                    </a:cubicBezTo>
                    <a:cubicBezTo>
                      <a:pt x="69" y="274"/>
                      <a:pt x="69" y="274"/>
                      <a:pt x="69" y="274"/>
                    </a:cubicBezTo>
                    <a:cubicBezTo>
                      <a:pt x="68" y="278"/>
                      <a:pt x="68" y="278"/>
                      <a:pt x="68" y="278"/>
                    </a:cubicBezTo>
                    <a:cubicBezTo>
                      <a:pt x="66" y="276"/>
                      <a:pt x="66" y="276"/>
                      <a:pt x="66" y="276"/>
                    </a:cubicBezTo>
                    <a:cubicBezTo>
                      <a:pt x="58" y="270"/>
                      <a:pt x="58" y="270"/>
                      <a:pt x="58" y="270"/>
                    </a:cubicBezTo>
                    <a:cubicBezTo>
                      <a:pt x="58" y="269"/>
                      <a:pt x="58" y="269"/>
                      <a:pt x="58" y="269"/>
                    </a:cubicBezTo>
                    <a:cubicBezTo>
                      <a:pt x="59" y="267"/>
                      <a:pt x="59" y="267"/>
                      <a:pt x="59" y="267"/>
                    </a:cubicBezTo>
                    <a:cubicBezTo>
                      <a:pt x="59" y="265"/>
                      <a:pt x="59" y="265"/>
                      <a:pt x="59" y="265"/>
                    </a:cubicBezTo>
                    <a:cubicBezTo>
                      <a:pt x="57" y="265"/>
                      <a:pt x="57" y="265"/>
                      <a:pt x="57" y="265"/>
                    </a:cubicBezTo>
                    <a:cubicBezTo>
                      <a:pt x="56" y="262"/>
                      <a:pt x="56" y="262"/>
                      <a:pt x="56" y="262"/>
                    </a:cubicBezTo>
                    <a:cubicBezTo>
                      <a:pt x="52" y="261"/>
                      <a:pt x="52" y="261"/>
                      <a:pt x="52" y="261"/>
                    </a:cubicBezTo>
                    <a:cubicBezTo>
                      <a:pt x="52" y="258"/>
                      <a:pt x="52" y="258"/>
                      <a:pt x="52" y="258"/>
                    </a:cubicBezTo>
                    <a:cubicBezTo>
                      <a:pt x="48" y="253"/>
                      <a:pt x="48" y="253"/>
                      <a:pt x="48" y="253"/>
                    </a:cubicBezTo>
                    <a:cubicBezTo>
                      <a:pt x="45" y="253"/>
                      <a:pt x="45" y="253"/>
                      <a:pt x="45" y="253"/>
                    </a:cubicBezTo>
                    <a:cubicBezTo>
                      <a:pt x="43" y="246"/>
                      <a:pt x="43" y="246"/>
                      <a:pt x="43" y="246"/>
                    </a:cubicBezTo>
                    <a:cubicBezTo>
                      <a:pt x="39" y="246"/>
                      <a:pt x="39" y="246"/>
                      <a:pt x="39" y="246"/>
                    </a:cubicBezTo>
                    <a:cubicBezTo>
                      <a:pt x="39" y="243"/>
                      <a:pt x="39" y="243"/>
                      <a:pt x="39" y="243"/>
                    </a:cubicBezTo>
                    <a:cubicBezTo>
                      <a:pt x="37" y="241"/>
                      <a:pt x="37" y="241"/>
                      <a:pt x="37" y="241"/>
                    </a:cubicBezTo>
                    <a:cubicBezTo>
                      <a:pt x="37" y="239"/>
                      <a:pt x="37" y="239"/>
                      <a:pt x="37" y="239"/>
                    </a:cubicBezTo>
                    <a:cubicBezTo>
                      <a:pt x="34" y="241"/>
                      <a:pt x="34" y="241"/>
                      <a:pt x="34" y="241"/>
                    </a:cubicBezTo>
                    <a:cubicBezTo>
                      <a:pt x="34" y="245"/>
                      <a:pt x="34" y="245"/>
                      <a:pt x="34" y="245"/>
                    </a:cubicBezTo>
                    <a:cubicBezTo>
                      <a:pt x="31" y="244"/>
                      <a:pt x="31" y="244"/>
                      <a:pt x="31" y="244"/>
                    </a:cubicBezTo>
                    <a:cubicBezTo>
                      <a:pt x="30" y="242"/>
                      <a:pt x="30" y="242"/>
                      <a:pt x="30" y="242"/>
                    </a:cubicBezTo>
                    <a:cubicBezTo>
                      <a:pt x="29" y="235"/>
                      <a:pt x="29" y="235"/>
                      <a:pt x="29" y="235"/>
                    </a:cubicBezTo>
                    <a:cubicBezTo>
                      <a:pt x="30" y="234"/>
                      <a:pt x="30" y="234"/>
                      <a:pt x="30" y="234"/>
                    </a:cubicBezTo>
                    <a:cubicBezTo>
                      <a:pt x="29" y="228"/>
                      <a:pt x="29" y="228"/>
                      <a:pt x="29" y="228"/>
                    </a:cubicBezTo>
                    <a:cubicBezTo>
                      <a:pt x="31" y="227"/>
                      <a:pt x="31" y="227"/>
                      <a:pt x="31" y="227"/>
                    </a:cubicBezTo>
                    <a:cubicBezTo>
                      <a:pt x="31" y="220"/>
                      <a:pt x="31" y="220"/>
                      <a:pt x="31" y="220"/>
                    </a:cubicBezTo>
                    <a:cubicBezTo>
                      <a:pt x="33" y="221"/>
                      <a:pt x="33" y="221"/>
                      <a:pt x="33" y="221"/>
                    </a:cubicBezTo>
                    <a:cubicBezTo>
                      <a:pt x="35" y="218"/>
                      <a:pt x="35" y="218"/>
                      <a:pt x="35" y="218"/>
                    </a:cubicBezTo>
                    <a:cubicBezTo>
                      <a:pt x="33" y="217"/>
                      <a:pt x="33" y="217"/>
                      <a:pt x="33" y="217"/>
                    </a:cubicBezTo>
                    <a:cubicBezTo>
                      <a:pt x="35" y="214"/>
                      <a:pt x="35" y="214"/>
                      <a:pt x="35" y="214"/>
                    </a:cubicBezTo>
                    <a:cubicBezTo>
                      <a:pt x="35" y="212"/>
                      <a:pt x="35" y="212"/>
                      <a:pt x="35" y="212"/>
                    </a:cubicBezTo>
                    <a:cubicBezTo>
                      <a:pt x="37" y="209"/>
                      <a:pt x="37" y="209"/>
                      <a:pt x="37" y="209"/>
                    </a:cubicBezTo>
                    <a:cubicBezTo>
                      <a:pt x="35" y="208"/>
                      <a:pt x="35" y="208"/>
                      <a:pt x="35" y="208"/>
                    </a:cubicBezTo>
                    <a:cubicBezTo>
                      <a:pt x="36" y="202"/>
                      <a:pt x="36" y="202"/>
                      <a:pt x="36" y="202"/>
                    </a:cubicBezTo>
                    <a:cubicBezTo>
                      <a:pt x="37" y="199"/>
                      <a:pt x="37" y="199"/>
                      <a:pt x="37" y="199"/>
                    </a:cubicBezTo>
                    <a:cubicBezTo>
                      <a:pt x="38" y="196"/>
                      <a:pt x="38" y="196"/>
                      <a:pt x="38" y="196"/>
                    </a:cubicBezTo>
                    <a:cubicBezTo>
                      <a:pt x="39" y="192"/>
                      <a:pt x="39" y="192"/>
                      <a:pt x="39" y="192"/>
                    </a:cubicBezTo>
                    <a:cubicBezTo>
                      <a:pt x="43" y="189"/>
                      <a:pt x="43" y="189"/>
                      <a:pt x="43" y="189"/>
                    </a:cubicBezTo>
                    <a:cubicBezTo>
                      <a:pt x="48" y="177"/>
                      <a:pt x="48" y="177"/>
                      <a:pt x="48" y="177"/>
                    </a:cubicBezTo>
                    <a:cubicBezTo>
                      <a:pt x="50" y="176"/>
                      <a:pt x="50" y="176"/>
                      <a:pt x="50" y="176"/>
                    </a:cubicBezTo>
                    <a:cubicBezTo>
                      <a:pt x="50" y="170"/>
                      <a:pt x="50" y="170"/>
                      <a:pt x="50" y="170"/>
                    </a:cubicBezTo>
                    <a:cubicBezTo>
                      <a:pt x="48" y="165"/>
                      <a:pt x="48" y="165"/>
                      <a:pt x="48" y="165"/>
                    </a:cubicBezTo>
                    <a:cubicBezTo>
                      <a:pt x="48" y="160"/>
                      <a:pt x="48" y="160"/>
                      <a:pt x="48" y="160"/>
                    </a:cubicBezTo>
                    <a:cubicBezTo>
                      <a:pt x="46" y="157"/>
                      <a:pt x="46" y="157"/>
                      <a:pt x="46" y="157"/>
                    </a:cubicBezTo>
                    <a:cubicBezTo>
                      <a:pt x="45" y="151"/>
                      <a:pt x="45" y="151"/>
                      <a:pt x="45" y="151"/>
                    </a:cubicBezTo>
                    <a:cubicBezTo>
                      <a:pt x="43" y="149"/>
                      <a:pt x="43" y="149"/>
                      <a:pt x="43" y="149"/>
                    </a:cubicBezTo>
                    <a:cubicBezTo>
                      <a:pt x="44" y="145"/>
                      <a:pt x="44" y="145"/>
                      <a:pt x="44" y="145"/>
                    </a:cubicBezTo>
                    <a:cubicBezTo>
                      <a:pt x="43" y="141"/>
                      <a:pt x="43" y="141"/>
                      <a:pt x="43" y="141"/>
                    </a:cubicBezTo>
                    <a:cubicBezTo>
                      <a:pt x="44" y="138"/>
                      <a:pt x="44" y="138"/>
                      <a:pt x="44" y="138"/>
                    </a:cubicBezTo>
                    <a:cubicBezTo>
                      <a:pt x="42" y="130"/>
                      <a:pt x="42" y="130"/>
                      <a:pt x="42" y="130"/>
                    </a:cubicBezTo>
                    <a:cubicBezTo>
                      <a:pt x="36" y="126"/>
                      <a:pt x="36" y="126"/>
                      <a:pt x="36" y="126"/>
                    </a:cubicBezTo>
                    <a:cubicBezTo>
                      <a:pt x="31" y="121"/>
                      <a:pt x="31" y="121"/>
                      <a:pt x="31" y="121"/>
                    </a:cubicBezTo>
                    <a:cubicBezTo>
                      <a:pt x="26" y="115"/>
                      <a:pt x="26" y="115"/>
                      <a:pt x="26" y="115"/>
                    </a:cubicBezTo>
                    <a:cubicBezTo>
                      <a:pt x="26" y="112"/>
                      <a:pt x="26" y="112"/>
                      <a:pt x="26" y="112"/>
                    </a:cubicBezTo>
                    <a:cubicBezTo>
                      <a:pt x="23" y="105"/>
                      <a:pt x="23" y="105"/>
                      <a:pt x="23" y="105"/>
                    </a:cubicBezTo>
                    <a:cubicBezTo>
                      <a:pt x="27" y="103"/>
                      <a:pt x="27" y="103"/>
                      <a:pt x="27" y="103"/>
                    </a:cubicBezTo>
                    <a:cubicBezTo>
                      <a:pt x="27" y="100"/>
                      <a:pt x="27" y="100"/>
                      <a:pt x="27" y="100"/>
                    </a:cubicBezTo>
                    <a:cubicBezTo>
                      <a:pt x="25" y="91"/>
                      <a:pt x="25" y="91"/>
                      <a:pt x="25" y="91"/>
                    </a:cubicBezTo>
                    <a:cubicBezTo>
                      <a:pt x="27" y="88"/>
                      <a:pt x="27" y="88"/>
                      <a:pt x="27" y="88"/>
                    </a:cubicBezTo>
                    <a:cubicBezTo>
                      <a:pt x="30" y="86"/>
                      <a:pt x="30" y="86"/>
                      <a:pt x="30" y="86"/>
                    </a:cubicBezTo>
                    <a:cubicBezTo>
                      <a:pt x="30" y="83"/>
                      <a:pt x="30" y="83"/>
                      <a:pt x="30" y="83"/>
                    </a:cubicBezTo>
                    <a:cubicBezTo>
                      <a:pt x="26" y="81"/>
                      <a:pt x="26" y="81"/>
                      <a:pt x="26" y="81"/>
                    </a:cubicBezTo>
                    <a:cubicBezTo>
                      <a:pt x="25" y="77"/>
                      <a:pt x="25" y="77"/>
                      <a:pt x="25" y="77"/>
                    </a:cubicBezTo>
                    <a:cubicBezTo>
                      <a:pt x="23" y="72"/>
                      <a:pt x="23" y="72"/>
                      <a:pt x="23" y="72"/>
                    </a:cubicBezTo>
                    <a:cubicBezTo>
                      <a:pt x="20" y="71"/>
                      <a:pt x="20" y="71"/>
                      <a:pt x="20" y="71"/>
                    </a:cubicBezTo>
                    <a:cubicBezTo>
                      <a:pt x="15" y="61"/>
                      <a:pt x="15" y="61"/>
                      <a:pt x="15" y="61"/>
                    </a:cubicBezTo>
                    <a:cubicBezTo>
                      <a:pt x="10" y="58"/>
                      <a:pt x="10" y="58"/>
                      <a:pt x="10" y="58"/>
                    </a:cubicBezTo>
                    <a:cubicBezTo>
                      <a:pt x="9" y="55"/>
                      <a:pt x="9" y="55"/>
                      <a:pt x="9" y="55"/>
                    </a:cubicBezTo>
                    <a:cubicBezTo>
                      <a:pt x="6" y="52"/>
                      <a:pt x="6" y="52"/>
                      <a:pt x="6" y="52"/>
                    </a:cubicBezTo>
                    <a:cubicBezTo>
                      <a:pt x="3" y="47"/>
                      <a:pt x="3" y="47"/>
                      <a:pt x="3" y="47"/>
                    </a:cubicBezTo>
                    <a:cubicBezTo>
                      <a:pt x="0" y="46"/>
                      <a:pt x="0" y="46"/>
                      <a:pt x="0" y="46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5" y="41"/>
                      <a:pt x="5" y="41"/>
                      <a:pt x="5" y="41"/>
                    </a:cubicBezTo>
                    <a:cubicBezTo>
                      <a:pt x="8" y="39"/>
                      <a:pt x="8" y="39"/>
                      <a:pt x="8" y="39"/>
                    </a:cubicBezTo>
                    <a:cubicBezTo>
                      <a:pt x="7" y="36"/>
                      <a:pt x="7" y="36"/>
                      <a:pt x="7" y="36"/>
                    </a:cubicBezTo>
                    <a:cubicBezTo>
                      <a:pt x="7" y="30"/>
                      <a:pt x="7" y="30"/>
                      <a:pt x="7" y="30"/>
                    </a:cubicBezTo>
                    <a:cubicBezTo>
                      <a:pt x="10" y="28"/>
                      <a:pt x="10" y="28"/>
                      <a:pt x="10" y="28"/>
                    </a:cubicBezTo>
                    <a:cubicBezTo>
                      <a:pt x="9" y="21"/>
                      <a:pt x="9" y="21"/>
                      <a:pt x="9" y="21"/>
                    </a:cubicBezTo>
                    <a:cubicBezTo>
                      <a:pt x="12" y="17"/>
                      <a:pt x="12" y="17"/>
                      <a:pt x="12" y="17"/>
                    </a:cubicBezTo>
                    <a:cubicBezTo>
                      <a:pt x="19" y="20"/>
                      <a:pt x="19" y="20"/>
                      <a:pt x="19" y="20"/>
                    </a:cubicBezTo>
                    <a:cubicBezTo>
                      <a:pt x="24" y="17"/>
                      <a:pt x="24" y="17"/>
                      <a:pt x="24" y="17"/>
                    </a:cubicBezTo>
                    <a:cubicBezTo>
                      <a:pt x="28" y="17"/>
                      <a:pt x="28" y="17"/>
                      <a:pt x="28" y="17"/>
                    </a:cubicBezTo>
                    <a:cubicBezTo>
                      <a:pt x="29" y="15"/>
                      <a:pt x="29" y="15"/>
                      <a:pt x="29" y="15"/>
                    </a:cubicBezTo>
                    <a:cubicBezTo>
                      <a:pt x="29" y="10"/>
                      <a:pt x="29" y="10"/>
                      <a:pt x="29" y="10"/>
                    </a:cubicBezTo>
                    <a:cubicBezTo>
                      <a:pt x="32" y="8"/>
                      <a:pt x="32" y="8"/>
                      <a:pt x="32" y="8"/>
                    </a:cubicBezTo>
                    <a:cubicBezTo>
                      <a:pt x="37" y="9"/>
                      <a:pt x="37" y="9"/>
                      <a:pt x="37" y="9"/>
                    </a:cubicBezTo>
                    <a:cubicBezTo>
                      <a:pt x="38" y="7"/>
                      <a:pt x="38" y="7"/>
                      <a:pt x="38" y="7"/>
                    </a:cubicBezTo>
                    <a:cubicBezTo>
                      <a:pt x="36" y="4"/>
                      <a:pt x="36" y="4"/>
                      <a:pt x="36" y="4"/>
                    </a:cubicBezTo>
                    <a:cubicBezTo>
                      <a:pt x="36" y="2"/>
                      <a:pt x="36" y="2"/>
                      <a:pt x="36" y="2"/>
                    </a:cubicBezTo>
                    <a:cubicBezTo>
                      <a:pt x="40" y="0"/>
                      <a:pt x="40" y="0"/>
                      <a:pt x="40" y="0"/>
                    </a:cubicBezTo>
                    <a:cubicBezTo>
                      <a:pt x="46" y="0"/>
                      <a:pt x="46" y="0"/>
                      <a:pt x="46" y="0"/>
                    </a:cubicBezTo>
                    <a:cubicBezTo>
                      <a:pt x="46" y="0"/>
                      <a:pt x="46" y="0"/>
                      <a:pt x="46" y="0"/>
                    </a:cubicBezTo>
                    <a:close/>
                    <a:moveTo>
                      <a:pt x="57" y="273"/>
                    </a:moveTo>
                    <a:cubicBezTo>
                      <a:pt x="58" y="276"/>
                      <a:pt x="58" y="276"/>
                      <a:pt x="58" y="276"/>
                    </a:cubicBezTo>
                    <a:cubicBezTo>
                      <a:pt x="59" y="276"/>
                      <a:pt x="59" y="276"/>
                      <a:pt x="59" y="276"/>
                    </a:cubicBezTo>
                    <a:cubicBezTo>
                      <a:pt x="59" y="273"/>
                      <a:pt x="59" y="273"/>
                      <a:pt x="59" y="273"/>
                    </a:cubicBezTo>
                    <a:cubicBezTo>
                      <a:pt x="58" y="273"/>
                      <a:pt x="58" y="273"/>
                      <a:pt x="58" y="273"/>
                    </a:cubicBezTo>
                    <a:cubicBezTo>
                      <a:pt x="57" y="273"/>
                      <a:pt x="57" y="273"/>
                      <a:pt x="57" y="273"/>
                    </a:cubicBezTo>
                    <a:close/>
                    <a:moveTo>
                      <a:pt x="45" y="255"/>
                    </a:moveTo>
                    <a:cubicBezTo>
                      <a:pt x="45" y="259"/>
                      <a:pt x="45" y="259"/>
                      <a:pt x="45" y="259"/>
                    </a:cubicBezTo>
                    <a:cubicBezTo>
                      <a:pt x="46" y="257"/>
                      <a:pt x="46" y="257"/>
                      <a:pt x="46" y="257"/>
                    </a:cubicBezTo>
                    <a:cubicBezTo>
                      <a:pt x="46" y="255"/>
                      <a:pt x="46" y="255"/>
                      <a:pt x="46" y="255"/>
                    </a:cubicBezTo>
                    <a:cubicBezTo>
                      <a:pt x="45" y="255"/>
                      <a:pt x="45" y="255"/>
                      <a:pt x="45" y="255"/>
                    </a:cubicBezTo>
                    <a:close/>
                    <a:moveTo>
                      <a:pt x="31" y="246"/>
                    </a:moveTo>
                    <a:cubicBezTo>
                      <a:pt x="30" y="248"/>
                      <a:pt x="30" y="248"/>
                      <a:pt x="30" y="248"/>
                    </a:cubicBezTo>
                    <a:cubicBezTo>
                      <a:pt x="31" y="250"/>
                      <a:pt x="31" y="250"/>
                      <a:pt x="31" y="250"/>
                    </a:cubicBezTo>
                    <a:cubicBezTo>
                      <a:pt x="31" y="253"/>
                      <a:pt x="31" y="253"/>
                      <a:pt x="31" y="253"/>
                    </a:cubicBezTo>
                    <a:cubicBezTo>
                      <a:pt x="33" y="250"/>
                      <a:pt x="33" y="250"/>
                      <a:pt x="33" y="250"/>
                    </a:cubicBezTo>
                    <a:cubicBezTo>
                      <a:pt x="33" y="246"/>
                      <a:pt x="33" y="246"/>
                      <a:pt x="33" y="246"/>
                    </a:cubicBezTo>
                    <a:cubicBezTo>
                      <a:pt x="31" y="246"/>
                      <a:pt x="31" y="246"/>
                      <a:pt x="31" y="246"/>
                    </a:cubicBezTo>
                    <a:close/>
                    <a:moveTo>
                      <a:pt x="101" y="166"/>
                    </a:moveTo>
                    <a:cubicBezTo>
                      <a:pt x="101" y="169"/>
                      <a:pt x="101" y="169"/>
                      <a:pt x="101" y="169"/>
                    </a:cubicBezTo>
                    <a:cubicBezTo>
                      <a:pt x="104" y="171"/>
                      <a:pt x="104" y="171"/>
                      <a:pt x="104" y="171"/>
                    </a:cubicBezTo>
                    <a:cubicBezTo>
                      <a:pt x="106" y="171"/>
                      <a:pt x="106" y="171"/>
                      <a:pt x="106" y="171"/>
                    </a:cubicBezTo>
                    <a:cubicBezTo>
                      <a:pt x="101" y="166"/>
                      <a:pt x="101" y="166"/>
                      <a:pt x="101" y="166"/>
                    </a:cubicBezTo>
                    <a:close/>
                    <a:moveTo>
                      <a:pt x="63" y="212"/>
                    </a:moveTo>
                    <a:cubicBezTo>
                      <a:pt x="59" y="213"/>
                      <a:pt x="59" y="213"/>
                      <a:pt x="59" y="213"/>
                    </a:cubicBezTo>
                    <a:cubicBezTo>
                      <a:pt x="62" y="214"/>
                      <a:pt x="62" y="214"/>
                      <a:pt x="62" y="214"/>
                    </a:cubicBezTo>
                    <a:cubicBezTo>
                      <a:pt x="63" y="212"/>
                      <a:pt x="63" y="212"/>
                      <a:pt x="63" y="212"/>
                    </a:cubicBezTo>
                    <a:close/>
                    <a:moveTo>
                      <a:pt x="64" y="216"/>
                    </a:moveTo>
                    <a:cubicBezTo>
                      <a:pt x="61" y="217"/>
                      <a:pt x="61" y="217"/>
                      <a:pt x="61" y="217"/>
                    </a:cubicBezTo>
                    <a:cubicBezTo>
                      <a:pt x="61" y="220"/>
                      <a:pt x="61" y="220"/>
                      <a:pt x="61" y="220"/>
                    </a:cubicBezTo>
                    <a:cubicBezTo>
                      <a:pt x="64" y="222"/>
                      <a:pt x="64" y="222"/>
                      <a:pt x="64" y="222"/>
                    </a:cubicBezTo>
                    <a:cubicBezTo>
                      <a:pt x="65" y="218"/>
                      <a:pt x="65" y="218"/>
                      <a:pt x="65" y="218"/>
                    </a:cubicBezTo>
                    <a:lnTo>
                      <a:pt x="64" y="216"/>
                    </a:lnTo>
                    <a:close/>
                  </a:path>
                </a:pathLst>
              </a:custGeom>
              <a:solidFill>
                <a:schemeClr val="accent6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405" name="Freeform 609"/>
              <p:cNvSpPr>
                <a:spLocks noEditPoints="1"/>
              </p:cNvSpPr>
              <p:nvPr userDrawn="1"/>
            </p:nvSpPr>
            <p:spPr bwMode="auto">
              <a:xfrm>
                <a:off x="5150" y="2394"/>
                <a:ext cx="164" cy="355"/>
              </a:xfrm>
              <a:custGeom>
                <a:avLst/>
                <a:gdLst>
                  <a:gd name="T0" fmla="*/ 90 w 164"/>
                  <a:gd name="T1" fmla="*/ 5 h 355"/>
                  <a:gd name="T2" fmla="*/ 105 w 164"/>
                  <a:gd name="T3" fmla="*/ 28 h 355"/>
                  <a:gd name="T4" fmla="*/ 100 w 164"/>
                  <a:gd name="T5" fmla="*/ 52 h 355"/>
                  <a:gd name="T6" fmla="*/ 92 w 164"/>
                  <a:gd name="T7" fmla="*/ 62 h 355"/>
                  <a:gd name="T8" fmla="*/ 95 w 164"/>
                  <a:gd name="T9" fmla="*/ 77 h 355"/>
                  <a:gd name="T10" fmla="*/ 112 w 164"/>
                  <a:gd name="T11" fmla="*/ 86 h 355"/>
                  <a:gd name="T12" fmla="*/ 120 w 164"/>
                  <a:gd name="T13" fmla="*/ 97 h 355"/>
                  <a:gd name="T14" fmla="*/ 134 w 164"/>
                  <a:gd name="T15" fmla="*/ 102 h 355"/>
                  <a:gd name="T16" fmla="*/ 127 w 164"/>
                  <a:gd name="T17" fmla="*/ 122 h 355"/>
                  <a:gd name="T18" fmla="*/ 140 w 164"/>
                  <a:gd name="T19" fmla="*/ 128 h 355"/>
                  <a:gd name="T20" fmla="*/ 164 w 164"/>
                  <a:gd name="T21" fmla="*/ 129 h 355"/>
                  <a:gd name="T22" fmla="*/ 152 w 164"/>
                  <a:gd name="T23" fmla="*/ 146 h 355"/>
                  <a:gd name="T24" fmla="*/ 135 w 164"/>
                  <a:gd name="T25" fmla="*/ 157 h 355"/>
                  <a:gd name="T26" fmla="*/ 127 w 164"/>
                  <a:gd name="T27" fmla="*/ 170 h 355"/>
                  <a:gd name="T28" fmla="*/ 107 w 164"/>
                  <a:gd name="T29" fmla="*/ 182 h 355"/>
                  <a:gd name="T30" fmla="*/ 104 w 164"/>
                  <a:gd name="T31" fmla="*/ 198 h 355"/>
                  <a:gd name="T32" fmla="*/ 123 w 164"/>
                  <a:gd name="T33" fmla="*/ 222 h 355"/>
                  <a:gd name="T34" fmla="*/ 125 w 164"/>
                  <a:gd name="T35" fmla="*/ 240 h 355"/>
                  <a:gd name="T36" fmla="*/ 130 w 164"/>
                  <a:gd name="T37" fmla="*/ 269 h 355"/>
                  <a:gd name="T38" fmla="*/ 142 w 164"/>
                  <a:gd name="T39" fmla="*/ 296 h 355"/>
                  <a:gd name="T40" fmla="*/ 149 w 164"/>
                  <a:gd name="T41" fmla="*/ 322 h 355"/>
                  <a:gd name="T42" fmla="*/ 135 w 164"/>
                  <a:gd name="T43" fmla="*/ 346 h 355"/>
                  <a:gd name="T44" fmla="*/ 129 w 164"/>
                  <a:gd name="T45" fmla="*/ 342 h 355"/>
                  <a:gd name="T46" fmla="*/ 133 w 164"/>
                  <a:gd name="T47" fmla="*/ 332 h 355"/>
                  <a:gd name="T48" fmla="*/ 134 w 164"/>
                  <a:gd name="T49" fmla="*/ 316 h 355"/>
                  <a:gd name="T50" fmla="*/ 129 w 164"/>
                  <a:gd name="T51" fmla="*/ 291 h 355"/>
                  <a:gd name="T52" fmla="*/ 122 w 164"/>
                  <a:gd name="T53" fmla="*/ 284 h 355"/>
                  <a:gd name="T54" fmla="*/ 114 w 164"/>
                  <a:gd name="T55" fmla="*/ 262 h 355"/>
                  <a:gd name="T56" fmla="*/ 109 w 164"/>
                  <a:gd name="T57" fmla="*/ 238 h 355"/>
                  <a:gd name="T58" fmla="*/ 105 w 164"/>
                  <a:gd name="T59" fmla="*/ 231 h 355"/>
                  <a:gd name="T60" fmla="*/ 93 w 164"/>
                  <a:gd name="T61" fmla="*/ 216 h 355"/>
                  <a:gd name="T62" fmla="*/ 93 w 164"/>
                  <a:gd name="T63" fmla="*/ 219 h 355"/>
                  <a:gd name="T64" fmla="*/ 82 w 164"/>
                  <a:gd name="T65" fmla="*/ 227 h 355"/>
                  <a:gd name="T66" fmla="*/ 78 w 164"/>
                  <a:gd name="T67" fmla="*/ 235 h 355"/>
                  <a:gd name="T68" fmla="*/ 62 w 164"/>
                  <a:gd name="T69" fmla="*/ 241 h 355"/>
                  <a:gd name="T70" fmla="*/ 51 w 164"/>
                  <a:gd name="T71" fmla="*/ 245 h 355"/>
                  <a:gd name="T72" fmla="*/ 48 w 164"/>
                  <a:gd name="T73" fmla="*/ 238 h 355"/>
                  <a:gd name="T74" fmla="*/ 52 w 164"/>
                  <a:gd name="T75" fmla="*/ 216 h 355"/>
                  <a:gd name="T76" fmla="*/ 44 w 164"/>
                  <a:gd name="T77" fmla="*/ 196 h 355"/>
                  <a:gd name="T78" fmla="*/ 33 w 164"/>
                  <a:gd name="T79" fmla="*/ 178 h 355"/>
                  <a:gd name="T80" fmla="*/ 21 w 164"/>
                  <a:gd name="T81" fmla="*/ 176 h 355"/>
                  <a:gd name="T82" fmla="*/ 28 w 164"/>
                  <a:gd name="T83" fmla="*/ 177 h 355"/>
                  <a:gd name="T84" fmla="*/ 29 w 164"/>
                  <a:gd name="T85" fmla="*/ 167 h 355"/>
                  <a:gd name="T86" fmla="*/ 14 w 164"/>
                  <a:gd name="T87" fmla="*/ 163 h 355"/>
                  <a:gd name="T88" fmla="*/ 12 w 164"/>
                  <a:gd name="T89" fmla="*/ 161 h 355"/>
                  <a:gd name="T90" fmla="*/ 0 w 164"/>
                  <a:gd name="T91" fmla="*/ 141 h 355"/>
                  <a:gd name="T92" fmla="*/ 10 w 164"/>
                  <a:gd name="T93" fmla="*/ 125 h 355"/>
                  <a:gd name="T94" fmla="*/ 18 w 164"/>
                  <a:gd name="T95" fmla="*/ 106 h 355"/>
                  <a:gd name="T96" fmla="*/ 27 w 164"/>
                  <a:gd name="T97" fmla="*/ 87 h 355"/>
                  <a:gd name="T98" fmla="*/ 37 w 164"/>
                  <a:gd name="T99" fmla="*/ 51 h 355"/>
                  <a:gd name="T100" fmla="*/ 53 w 164"/>
                  <a:gd name="T101" fmla="*/ 21 h 355"/>
                  <a:gd name="T102" fmla="*/ 71 w 164"/>
                  <a:gd name="T103" fmla="*/ 13 h 355"/>
                  <a:gd name="T104" fmla="*/ 74 w 164"/>
                  <a:gd name="T105" fmla="*/ 1 h 355"/>
                  <a:gd name="T106" fmla="*/ 24 w 164"/>
                  <a:gd name="T107" fmla="*/ 189 h 3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64" h="355">
                    <a:moveTo>
                      <a:pt x="74" y="1"/>
                    </a:moveTo>
                    <a:lnTo>
                      <a:pt x="77" y="0"/>
                    </a:lnTo>
                    <a:lnTo>
                      <a:pt x="81" y="2"/>
                    </a:lnTo>
                    <a:lnTo>
                      <a:pt x="84" y="0"/>
                    </a:lnTo>
                    <a:lnTo>
                      <a:pt x="88" y="0"/>
                    </a:lnTo>
                    <a:lnTo>
                      <a:pt x="90" y="5"/>
                    </a:lnTo>
                    <a:lnTo>
                      <a:pt x="94" y="8"/>
                    </a:lnTo>
                    <a:lnTo>
                      <a:pt x="95" y="14"/>
                    </a:lnTo>
                    <a:lnTo>
                      <a:pt x="98" y="14"/>
                    </a:lnTo>
                    <a:lnTo>
                      <a:pt x="102" y="17"/>
                    </a:lnTo>
                    <a:lnTo>
                      <a:pt x="102" y="22"/>
                    </a:lnTo>
                    <a:lnTo>
                      <a:pt x="105" y="28"/>
                    </a:lnTo>
                    <a:lnTo>
                      <a:pt x="105" y="34"/>
                    </a:lnTo>
                    <a:lnTo>
                      <a:pt x="104" y="42"/>
                    </a:lnTo>
                    <a:lnTo>
                      <a:pt x="104" y="44"/>
                    </a:lnTo>
                    <a:lnTo>
                      <a:pt x="104" y="47"/>
                    </a:lnTo>
                    <a:lnTo>
                      <a:pt x="100" y="48"/>
                    </a:lnTo>
                    <a:lnTo>
                      <a:pt x="100" y="52"/>
                    </a:lnTo>
                    <a:lnTo>
                      <a:pt x="98" y="52"/>
                    </a:lnTo>
                    <a:lnTo>
                      <a:pt x="97" y="55"/>
                    </a:lnTo>
                    <a:lnTo>
                      <a:pt x="98" y="58"/>
                    </a:lnTo>
                    <a:lnTo>
                      <a:pt x="97" y="61"/>
                    </a:lnTo>
                    <a:lnTo>
                      <a:pt x="94" y="60"/>
                    </a:lnTo>
                    <a:lnTo>
                      <a:pt x="92" y="62"/>
                    </a:lnTo>
                    <a:lnTo>
                      <a:pt x="90" y="65"/>
                    </a:lnTo>
                    <a:lnTo>
                      <a:pt x="92" y="67"/>
                    </a:lnTo>
                    <a:lnTo>
                      <a:pt x="90" y="70"/>
                    </a:lnTo>
                    <a:lnTo>
                      <a:pt x="90" y="73"/>
                    </a:lnTo>
                    <a:lnTo>
                      <a:pt x="93" y="74"/>
                    </a:lnTo>
                    <a:lnTo>
                      <a:pt x="95" y="77"/>
                    </a:lnTo>
                    <a:lnTo>
                      <a:pt x="97" y="79"/>
                    </a:lnTo>
                    <a:lnTo>
                      <a:pt x="97" y="83"/>
                    </a:lnTo>
                    <a:lnTo>
                      <a:pt x="99" y="87"/>
                    </a:lnTo>
                    <a:lnTo>
                      <a:pt x="103" y="84"/>
                    </a:lnTo>
                    <a:lnTo>
                      <a:pt x="111" y="83"/>
                    </a:lnTo>
                    <a:lnTo>
                      <a:pt x="112" y="86"/>
                    </a:lnTo>
                    <a:lnTo>
                      <a:pt x="111" y="87"/>
                    </a:lnTo>
                    <a:lnTo>
                      <a:pt x="113" y="89"/>
                    </a:lnTo>
                    <a:lnTo>
                      <a:pt x="118" y="88"/>
                    </a:lnTo>
                    <a:lnTo>
                      <a:pt x="119" y="91"/>
                    </a:lnTo>
                    <a:lnTo>
                      <a:pt x="118" y="94"/>
                    </a:lnTo>
                    <a:lnTo>
                      <a:pt x="120" y="97"/>
                    </a:lnTo>
                    <a:lnTo>
                      <a:pt x="125" y="98"/>
                    </a:lnTo>
                    <a:lnTo>
                      <a:pt x="124" y="100"/>
                    </a:lnTo>
                    <a:lnTo>
                      <a:pt x="125" y="102"/>
                    </a:lnTo>
                    <a:lnTo>
                      <a:pt x="126" y="101"/>
                    </a:lnTo>
                    <a:lnTo>
                      <a:pt x="130" y="100"/>
                    </a:lnTo>
                    <a:lnTo>
                      <a:pt x="134" y="102"/>
                    </a:lnTo>
                    <a:lnTo>
                      <a:pt x="134" y="105"/>
                    </a:lnTo>
                    <a:lnTo>
                      <a:pt x="133" y="107"/>
                    </a:lnTo>
                    <a:lnTo>
                      <a:pt x="133" y="110"/>
                    </a:lnTo>
                    <a:lnTo>
                      <a:pt x="128" y="116"/>
                    </a:lnTo>
                    <a:lnTo>
                      <a:pt x="126" y="120"/>
                    </a:lnTo>
                    <a:lnTo>
                      <a:pt x="127" y="122"/>
                    </a:lnTo>
                    <a:lnTo>
                      <a:pt x="128" y="121"/>
                    </a:lnTo>
                    <a:lnTo>
                      <a:pt x="135" y="121"/>
                    </a:lnTo>
                    <a:lnTo>
                      <a:pt x="135" y="123"/>
                    </a:lnTo>
                    <a:lnTo>
                      <a:pt x="138" y="120"/>
                    </a:lnTo>
                    <a:lnTo>
                      <a:pt x="141" y="123"/>
                    </a:lnTo>
                    <a:lnTo>
                      <a:pt x="140" y="128"/>
                    </a:lnTo>
                    <a:lnTo>
                      <a:pt x="141" y="131"/>
                    </a:lnTo>
                    <a:lnTo>
                      <a:pt x="146" y="133"/>
                    </a:lnTo>
                    <a:lnTo>
                      <a:pt x="148" y="130"/>
                    </a:lnTo>
                    <a:lnTo>
                      <a:pt x="152" y="130"/>
                    </a:lnTo>
                    <a:lnTo>
                      <a:pt x="160" y="128"/>
                    </a:lnTo>
                    <a:lnTo>
                      <a:pt x="164" y="129"/>
                    </a:lnTo>
                    <a:lnTo>
                      <a:pt x="164" y="132"/>
                    </a:lnTo>
                    <a:lnTo>
                      <a:pt x="158" y="136"/>
                    </a:lnTo>
                    <a:lnTo>
                      <a:pt x="153" y="137"/>
                    </a:lnTo>
                    <a:lnTo>
                      <a:pt x="153" y="141"/>
                    </a:lnTo>
                    <a:lnTo>
                      <a:pt x="150" y="144"/>
                    </a:lnTo>
                    <a:lnTo>
                      <a:pt x="152" y="146"/>
                    </a:lnTo>
                    <a:lnTo>
                      <a:pt x="149" y="149"/>
                    </a:lnTo>
                    <a:lnTo>
                      <a:pt x="147" y="149"/>
                    </a:lnTo>
                    <a:lnTo>
                      <a:pt x="145" y="153"/>
                    </a:lnTo>
                    <a:lnTo>
                      <a:pt x="139" y="153"/>
                    </a:lnTo>
                    <a:lnTo>
                      <a:pt x="135" y="155"/>
                    </a:lnTo>
                    <a:lnTo>
                      <a:pt x="135" y="157"/>
                    </a:lnTo>
                    <a:lnTo>
                      <a:pt x="137" y="160"/>
                    </a:lnTo>
                    <a:lnTo>
                      <a:pt x="136" y="162"/>
                    </a:lnTo>
                    <a:lnTo>
                      <a:pt x="131" y="161"/>
                    </a:lnTo>
                    <a:lnTo>
                      <a:pt x="128" y="163"/>
                    </a:lnTo>
                    <a:lnTo>
                      <a:pt x="128" y="168"/>
                    </a:lnTo>
                    <a:lnTo>
                      <a:pt x="127" y="170"/>
                    </a:lnTo>
                    <a:lnTo>
                      <a:pt x="124" y="170"/>
                    </a:lnTo>
                    <a:lnTo>
                      <a:pt x="119" y="172"/>
                    </a:lnTo>
                    <a:lnTo>
                      <a:pt x="112" y="170"/>
                    </a:lnTo>
                    <a:lnTo>
                      <a:pt x="109" y="173"/>
                    </a:lnTo>
                    <a:lnTo>
                      <a:pt x="110" y="180"/>
                    </a:lnTo>
                    <a:lnTo>
                      <a:pt x="107" y="182"/>
                    </a:lnTo>
                    <a:lnTo>
                      <a:pt x="107" y="188"/>
                    </a:lnTo>
                    <a:lnTo>
                      <a:pt x="108" y="191"/>
                    </a:lnTo>
                    <a:lnTo>
                      <a:pt x="106" y="193"/>
                    </a:lnTo>
                    <a:lnTo>
                      <a:pt x="101" y="194"/>
                    </a:lnTo>
                    <a:lnTo>
                      <a:pt x="101" y="197"/>
                    </a:lnTo>
                    <a:lnTo>
                      <a:pt x="104" y="198"/>
                    </a:lnTo>
                    <a:lnTo>
                      <a:pt x="106" y="203"/>
                    </a:lnTo>
                    <a:lnTo>
                      <a:pt x="109" y="206"/>
                    </a:lnTo>
                    <a:lnTo>
                      <a:pt x="110" y="209"/>
                    </a:lnTo>
                    <a:lnTo>
                      <a:pt x="115" y="212"/>
                    </a:lnTo>
                    <a:lnTo>
                      <a:pt x="120" y="221"/>
                    </a:lnTo>
                    <a:lnTo>
                      <a:pt x="123" y="222"/>
                    </a:lnTo>
                    <a:lnTo>
                      <a:pt x="125" y="227"/>
                    </a:lnTo>
                    <a:lnTo>
                      <a:pt x="126" y="231"/>
                    </a:lnTo>
                    <a:lnTo>
                      <a:pt x="129" y="233"/>
                    </a:lnTo>
                    <a:lnTo>
                      <a:pt x="129" y="236"/>
                    </a:lnTo>
                    <a:lnTo>
                      <a:pt x="127" y="237"/>
                    </a:lnTo>
                    <a:lnTo>
                      <a:pt x="125" y="240"/>
                    </a:lnTo>
                    <a:lnTo>
                      <a:pt x="127" y="249"/>
                    </a:lnTo>
                    <a:lnTo>
                      <a:pt x="127" y="252"/>
                    </a:lnTo>
                    <a:lnTo>
                      <a:pt x="123" y="254"/>
                    </a:lnTo>
                    <a:lnTo>
                      <a:pt x="126" y="260"/>
                    </a:lnTo>
                    <a:lnTo>
                      <a:pt x="126" y="263"/>
                    </a:lnTo>
                    <a:lnTo>
                      <a:pt x="130" y="269"/>
                    </a:lnTo>
                    <a:lnTo>
                      <a:pt x="135" y="274"/>
                    </a:lnTo>
                    <a:lnTo>
                      <a:pt x="141" y="278"/>
                    </a:lnTo>
                    <a:lnTo>
                      <a:pt x="143" y="285"/>
                    </a:lnTo>
                    <a:lnTo>
                      <a:pt x="142" y="288"/>
                    </a:lnTo>
                    <a:lnTo>
                      <a:pt x="143" y="292"/>
                    </a:lnTo>
                    <a:lnTo>
                      <a:pt x="142" y="296"/>
                    </a:lnTo>
                    <a:lnTo>
                      <a:pt x="144" y="298"/>
                    </a:lnTo>
                    <a:lnTo>
                      <a:pt x="145" y="303"/>
                    </a:lnTo>
                    <a:lnTo>
                      <a:pt x="147" y="306"/>
                    </a:lnTo>
                    <a:lnTo>
                      <a:pt x="147" y="311"/>
                    </a:lnTo>
                    <a:lnTo>
                      <a:pt x="149" y="316"/>
                    </a:lnTo>
                    <a:lnTo>
                      <a:pt x="149" y="322"/>
                    </a:lnTo>
                    <a:lnTo>
                      <a:pt x="147" y="323"/>
                    </a:lnTo>
                    <a:lnTo>
                      <a:pt x="142" y="334"/>
                    </a:lnTo>
                    <a:lnTo>
                      <a:pt x="138" y="337"/>
                    </a:lnTo>
                    <a:lnTo>
                      <a:pt x="137" y="341"/>
                    </a:lnTo>
                    <a:lnTo>
                      <a:pt x="136" y="344"/>
                    </a:lnTo>
                    <a:lnTo>
                      <a:pt x="135" y="346"/>
                    </a:lnTo>
                    <a:lnTo>
                      <a:pt x="135" y="346"/>
                    </a:lnTo>
                    <a:lnTo>
                      <a:pt x="133" y="349"/>
                    </a:lnTo>
                    <a:lnTo>
                      <a:pt x="132" y="355"/>
                    </a:lnTo>
                    <a:lnTo>
                      <a:pt x="131" y="349"/>
                    </a:lnTo>
                    <a:lnTo>
                      <a:pt x="130" y="345"/>
                    </a:lnTo>
                    <a:lnTo>
                      <a:pt x="129" y="342"/>
                    </a:lnTo>
                    <a:lnTo>
                      <a:pt x="129" y="341"/>
                    </a:lnTo>
                    <a:lnTo>
                      <a:pt x="130" y="341"/>
                    </a:lnTo>
                    <a:lnTo>
                      <a:pt x="132" y="340"/>
                    </a:lnTo>
                    <a:lnTo>
                      <a:pt x="134" y="336"/>
                    </a:lnTo>
                    <a:lnTo>
                      <a:pt x="134" y="333"/>
                    </a:lnTo>
                    <a:lnTo>
                      <a:pt x="133" y="332"/>
                    </a:lnTo>
                    <a:lnTo>
                      <a:pt x="134" y="327"/>
                    </a:lnTo>
                    <a:lnTo>
                      <a:pt x="135" y="327"/>
                    </a:lnTo>
                    <a:lnTo>
                      <a:pt x="136" y="325"/>
                    </a:lnTo>
                    <a:lnTo>
                      <a:pt x="134" y="321"/>
                    </a:lnTo>
                    <a:lnTo>
                      <a:pt x="137" y="319"/>
                    </a:lnTo>
                    <a:lnTo>
                      <a:pt x="134" y="316"/>
                    </a:lnTo>
                    <a:lnTo>
                      <a:pt x="132" y="313"/>
                    </a:lnTo>
                    <a:lnTo>
                      <a:pt x="132" y="308"/>
                    </a:lnTo>
                    <a:lnTo>
                      <a:pt x="133" y="306"/>
                    </a:lnTo>
                    <a:lnTo>
                      <a:pt x="132" y="303"/>
                    </a:lnTo>
                    <a:lnTo>
                      <a:pt x="130" y="302"/>
                    </a:lnTo>
                    <a:lnTo>
                      <a:pt x="129" y="291"/>
                    </a:lnTo>
                    <a:lnTo>
                      <a:pt x="127" y="289"/>
                    </a:lnTo>
                    <a:lnTo>
                      <a:pt x="126" y="285"/>
                    </a:lnTo>
                    <a:lnTo>
                      <a:pt x="124" y="281"/>
                    </a:lnTo>
                    <a:lnTo>
                      <a:pt x="123" y="286"/>
                    </a:lnTo>
                    <a:lnTo>
                      <a:pt x="122" y="287"/>
                    </a:lnTo>
                    <a:lnTo>
                      <a:pt x="122" y="284"/>
                    </a:lnTo>
                    <a:lnTo>
                      <a:pt x="120" y="281"/>
                    </a:lnTo>
                    <a:lnTo>
                      <a:pt x="120" y="274"/>
                    </a:lnTo>
                    <a:lnTo>
                      <a:pt x="118" y="270"/>
                    </a:lnTo>
                    <a:lnTo>
                      <a:pt x="117" y="267"/>
                    </a:lnTo>
                    <a:lnTo>
                      <a:pt x="119" y="265"/>
                    </a:lnTo>
                    <a:lnTo>
                      <a:pt x="114" y="262"/>
                    </a:lnTo>
                    <a:lnTo>
                      <a:pt x="114" y="257"/>
                    </a:lnTo>
                    <a:lnTo>
                      <a:pt x="113" y="257"/>
                    </a:lnTo>
                    <a:lnTo>
                      <a:pt x="111" y="243"/>
                    </a:lnTo>
                    <a:lnTo>
                      <a:pt x="109" y="242"/>
                    </a:lnTo>
                    <a:lnTo>
                      <a:pt x="108" y="238"/>
                    </a:lnTo>
                    <a:lnTo>
                      <a:pt x="109" y="238"/>
                    </a:lnTo>
                    <a:lnTo>
                      <a:pt x="109" y="236"/>
                    </a:lnTo>
                    <a:lnTo>
                      <a:pt x="107" y="232"/>
                    </a:lnTo>
                    <a:lnTo>
                      <a:pt x="108" y="230"/>
                    </a:lnTo>
                    <a:lnTo>
                      <a:pt x="108" y="228"/>
                    </a:lnTo>
                    <a:lnTo>
                      <a:pt x="107" y="230"/>
                    </a:lnTo>
                    <a:lnTo>
                      <a:pt x="105" y="231"/>
                    </a:lnTo>
                    <a:lnTo>
                      <a:pt x="102" y="231"/>
                    </a:lnTo>
                    <a:lnTo>
                      <a:pt x="101" y="227"/>
                    </a:lnTo>
                    <a:lnTo>
                      <a:pt x="99" y="225"/>
                    </a:lnTo>
                    <a:lnTo>
                      <a:pt x="96" y="218"/>
                    </a:lnTo>
                    <a:lnTo>
                      <a:pt x="95" y="216"/>
                    </a:lnTo>
                    <a:lnTo>
                      <a:pt x="93" y="216"/>
                    </a:lnTo>
                    <a:lnTo>
                      <a:pt x="93" y="215"/>
                    </a:lnTo>
                    <a:lnTo>
                      <a:pt x="89" y="213"/>
                    </a:lnTo>
                    <a:lnTo>
                      <a:pt x="92" y="215"/>
                    </a:lnTo>
                    <a:lnTo>
                      <a:pt x="91" y="215"/>
                    </a:lnTo>
                    <a:lnTo>
                      <a:pt x="91" y="217"/>
                    </a:lnTo>
                    <a:lnTo>
                      <a:pt x="93" y="219"/>
                    </a:lnTo>
                    <a:lnTo>
                      <a:pt x="92" y="223"/>
                    </a:lnTo>
                    <a:lnTo>
                      <a:pt x="91" y="225"/>
                    </a:lnTo>
                    <a:lnTo>
                      <a:pt x="91" y="227"/>
                    </a:lnTo>
                    <a:lnTo>
                      <a:pt x="86" y="231"/>
                    </a:lnTo>
                    <a:lnTo>
                      <a:pt x="84" y="230"/>
                    </a:lnTo>
                    <a:lnTo>
                      <a:pt x="82" y="227"/>
                    </a:lnTo>
                    <a:lnTo>
                      <a:pt x="81" y="227"/>
                    </a:lnTo>
                    <a:lnTo>
                      <a:pt x="82" y="230"/>
                    </a:lnTo>
                    <a:lnTo>
                      <a:pt x="82" y="232"/>
                    </a:lnTo>
                    <a:lnTo>
                      <a:pt x="84" y="233"/>
                    </a:lnTo>
                    <a:lnTo>
                      <a:pt x="81" y="235"/>
                    </a:lnTo>
                    <a:lnTo>
                      <a:pt x="78" y="235"/>
                    </a:lnTo>
                    <a:lnTo>
                      <a:pt x="76" y="234"/>
                    </a:lnTo>
                    <a:lnTo>
                      <a:pt x="75" y="237"/>
                    </a:lnTo>
                    <a:lnTo>
                      <a:pt x="67" y="241"/>
                    </a:lnTo>
                    <a:lnTo>
                      <a:pt x="64" y="240"/>
                    </a:lnTo>
                    <a:lnTo>
                      <a:pt x="63" y="241"/>
                    </a:lnTo>
                    <a:lnTo>
                      <a:pt x="62" y="241"/>
                    </a:lnTo>
                    <a:lnTo>
                      <a:pt x="62" y="240"/>
                    </a:lnTo>
                    <a:lnTo>
                      <a:pt x="61" y="242"/>
                    </a:lnTo>
                    <a:lnTo>
                      <a:pt x="59" y="243"/>
                    </a:lnTo>
                    <a:lnTo>
                      <a:pt x="57" y="240"/>
                    </a:lnTo>
                    <a:lnTo>
                      <a:pt x="52" y="243"/>
                    </a:lnTo>
                    <a:lnTo>
                      <a:pt x="51" y="245"/>
                    </a:lnTo>
                    <a:lnTo>
                      <a:pt x="49" y="245"/>
                    </a:lnTo>
                    <a:lnTo>
                      <a:pt x="49" y="240"/>
                    </a:lnTo>
                    <a:lnTo>
                      <a:pt x="54" y="237"/>
                    </a:lnTo>
                    <a:lnTo>
                      <a:pt x="55" y="231"/>
                    </a:lnTo>
                    <a:lnTo>
                      <a:pt x="52" y="236"/>
                    </a:lnTo>
                    <a:lnTo>
                      <a:pt x="48" y="238"/>
                    </a:lnTo>
                    <a:lnTo>
                      <a:pt x="45" y="243"/>
                    </a:lnTo>
                    <a:lnTo>
                      <a:pt x="45" y="241"/>
                    </a:lnTo>
                    <a:lnTo>
                      <a:pt x="45" y="240"/>
                    </a:lnTo>
                    <a:lnTo>
                      <a:pt x="44" y="237"/>
                    </a:lnTo>
                    <a:lnTo>
                      <a:pt x="47" y="218"/>
                    </a:lnTo>
                    <a:lnTo>
                      <a:pt x="52" y="216"/>
                    </a:lnTo>
                    <a:lnTo>
                      <a:pt x="50" y="215"/>
                    </a:lnTo>
                    <a:lnTo>
                      <a:pt x="47" y="207"/>
                    </a:lnTo>
                    <a:lnTo>
                      <a:pt x="46" y="200"/>
                    </a:lnTo>
                    <a:lnTo>
                      <a:pt x="44" y="199"/>
                    </a:lnTo>
                    <a:lnTo>
                      <a:pt x="43" y="197"/>
                    </a:lnTo>
                    <a:lnTo>
                      <a:pt x="44" y="196"/>
                    </a:lnTo>
                    <a:lnTo>
                      <a:pt x="42" y="194"/>
                    </a:lnTo>
                    <a:lnTo>
                      <a:pt x="41" y="190"/>
                    </a:lnTo>
                    <a:lnTo>
                      <a:pt x="39" y="187"/>
                    </a:lnTo>
                    <a:lnTo>
                      <a:pt x="37" y="184"/>
                    </a:lnTo>
                    <a:lnTo>
                      <a:pt x="37" y="181"/>
                    </a:lnTo>
                    <a:lnTo>
                      <a:pt x="33" y="178"/>
                    </a:lnTo>
                    <a:lnTo>
                      <a:pt x="34" y="181"/>
                    </a:lnTo>
                    <a:lnTo>
                      <a:pt x="35" y="188"/>
                    </a:lnTo>
                    <a:lnTo>
                      <a:pt x="28" y="186"/>
                    </a:lnTo>
                    <a:lnTo>
                      <a:pt x="25" y="182"/>
                    </a:lnTo>
                    <a:lnTo>
                      <a:pt x="25" y="180"/>
                    </a:lnTo>
                    <a:lnTo>
                      <a:pt x="21" y="176"/>
                    </a:lnTo>
                    <a:lnTo>
                      <a:pt x="20" y="175"/>
                    </a:lnTo>
                    <a:lnTo>
                      <a:pt x="24" y="175"/>
                    </a:lnTo>
                    <a:lnTo>
                      <a:pt x="25" y="178"/>
                    </a:lnTo>
                    <a:lnTo>
                      <a:pt x="28" y="179"/>
                    </a:lnTo>
                    <a:lnTo>
                      <a:pt x="29" y="178"/>
                    </a:lnTo>
                    <a:lnTo>
                      <a:pt x="28" y="177"/>
                    </a:lnTo>
                    <a:lnTo>
                      <a:pt x="25" y="175"/>
                    </a:lnTo>
                    <a:lnTo>
                      <a:pt x="28" y="173"/>
                    </a:lnTo>
                    <a:lnTo>
                      <a:pt x="30" y="175"/>
                    </a:lnTo>
                    <a:lnTo>
                      <a:pt x="33" y="174"/>
                    </a:lnTo>
                    <a:lnTo>
                      <a:pt x="33" y="172"/>
                    </a:lnTo>
                    <a:lnTo>
                      <a:pt x="29" y="167"/>
                    </a:lnTo>
                    <a:lnTo>
                      <a:pt x="23" y="166"/>
                    </a:lnTo>
                    <a:lnTo>
                      <a:pt x="21" y="163"/>
                    </a:lnTo>
                    <a:lnTo>
                      <a:pt x="19" y="163"/>
                    </a:lnTo>
                    <a:lnTo>
                      <a:pt x="18" y="160"/>
                    </a:lnTo>
                    <a:lnTo>
                      <a:pt x="18" y="163"/>
                    </a:lnTo>
                    <a:lnTo>
                      <a:pt x="14" y="163"/>
                    </a:lnTo>
                    <a:lnTo>
                      <a:pt x="14" y="162"/>
                    </a:lnTo>
                    <a:lnTo>
                      <a:pt x="17" y="158"/>
                    </a:lnTo>
                    <a:lnTo>
                      <a:pt x="13" y="159"/>
                    </a:lnTo>
                    <a:lnTo>
                      <a:pt x="10" y="156"/>
                    </a:lnTo>
                    <a:lnTo>
                      <a:pt x="10" y="158"/>
                    </a:lnTo>
                    <a:lnTo>
                      <a:pt x="12" y="161"/>
                    </a:lnTo>
                    <a:lnTo>
                      <a:pt x="3" y="154"/>
                    </a:lnTo>
                    <a:lnTo>
                      <a:pt x="2" y="150"/>
                    </a:lnTo>
                    <a:lnTo>
                      <a:pt x="0" y="146"/>
                    </a:lnTo>
                    <a:lnTo>
                      <a:pt x="0" y="146"/>
                    </a:lnTo>
                    <a:lnTo>
                      <a:pt x="0" y="145"/>
                    </a:lnTo>
                    <a:lnTo>
                      <a:pt x="0" y="141"/>
                    </a:lnTo>
                    <a:lnTo>
                      <a:pt x="4" y="137"/>
                    </a:lnTo>
                    <a:lnTo>
                      <a:pt x="6" y="138"/>
                    </a:lnTo>
                    <a:lnTo>
                      <a:pt x="8" y="133"/>
                    </a:lnTo>
                    <a:lnTo>
                      <a:pt x="8" y="128"/>
                    </a:lnTo>
                    <a:lnTo>
                      <a:pt x="8" y="125"/>
                    </a:lnTo>
                    <a:lnTo>
                      <a:pt x="10" y="125"/>
                    </a:lnTo>
                    <a:lnTo>
                      <a:pt x="12" y="124"/>
                    </a:lnTo>
                    <a:lnTo>
                      <a:pt x="15" y="118"/>
                    </a:lnTo>
                    <a:lnTo>
                      <a:pt x="14" y="114"/>
                    </a:lnTo>
                    <a:lnTo>
                      <a:pt x="14" y="110"/>
                    </a:lnTo>
                    <a:lnTo>
                      <a:pt x="14" y="106"/>
                    </a:lnTo>
                    <a:lnTo>
                      <a:pt x="18" y="106"/>
                    </a:lnTo>
                    <a:lnTo>
                      <a:pt x="18" y="100"/>
                    </a:lnTo>
                    <a:lnTo>
                      <a:pt x="18" y="95"/>
                    </a:lnTo>
                    <a:lnTo>
                      <a:pt x="16" y="86"/>
                    </a:lnTo>
                    <a:lnTo>
                      <a:pt x="20" y="86"/>
                    </a:lnTo>
                    <a:lnTo>
                      <a:pt x="22" y="87"/>
                    </a:lnTo>
                    <a:lnTo>
                      <a:pt x="27" y="87"/>
                    </a:lnTo>
                    <a:lnTo>
                      <a:pt x="30" y="81"/>
                    </a:lnTo>
                    <a:lnTo>
                      <a:pt x="32" y="73"/>
                    </a:lnTo>
                    <a:lnTo>
                      <a:pt x="36" y="64"/>
                    </a:lnTo>
                    <a:lnTo>
                      <a:pt x="32" y="62"/>
                    </a:lnTo>
                    <a:lnTo>
                      <a:pt x="31" y="60"/>
                    </a:lnTo>
                    <a:lnTo>
                      <a:pt x="37" y="51"/>
                    </a:lnTo>
                    <a:lnTo>
                      <a:pt x="39" y="44"/>
                    </a:lnTo>
                    <a:lnTo>
                      <a:pt x="38" y="42"/>
                    </a:lnTo>
                    <a:lnTo>
                      <a:pt x="39" y="38"/>
                    </a:lnTo>
                    <a:lnTo>
                      <a:pt x="44" y="28"/>
                    </a:lnTo>
                    <a:lnTo>
                      <a:pt x="48" y="27"/>
                    </a:lnTo>
                    <a:lnTo>
                      <a:pt x="53" y="21"/>
                    </a:lnTo>
                    <a:lnTo>
                      <a:pt x="55" y="18"/>
                    </a:lnTo>
                    <a:lnTo>
                      <a:pt x="61" y="16"/>
                    </a:lnTo>
                    <a:lnTo>
                      <a:pt x="65" y="12"/>
                    </a:lnTo>
                    <a:lnTo>
                      <a:pt x="69" y="15"/>
                    </a:lnTo>
                    <a:lnTo>
                      <a:pt x="72" y="17"/>
                    </a:lnTo>
                    <a:lnTo>
                      <a:pt x="71" y="13"/>
                    </a:lnTo>
                    <a:lnTo>
                      <a:pt x="71" y="8"/>
                    </a:lnTo>
                    <a:lnTo>
                      <a:pt x="75" y="5"/>
                    </a:lnTo>
                    <a:lnTo>
                      <a:pt x="75" y="2"/>
                    </a:lnTo>
                    <a:lnTo>
                      <a:pt x="74" y="1"/>
                    </a:lnTo>
                    <a:lnTo>
                      <a:pt x="74" y="1"/>
                    </a:lnTo>
                    <a:lnTo>
                      <a:pt x="74" y="1"/>
                    </a:lnTo>
                    <a:close/>
                    <a:moveTo>
                      <a:pt x="24" y="189"/>
                    </a:moveTo>
                    <a:lnTo>
                      <a:pt x="25" y="192"/>
                    </a:lnTo>
                    <a:lnTo>
                      <a:pt x="29" y="194"/>
                    </a:lnTo>
                    <a:lnTo>
                      <a:pt x="30" y="191"/>
                    </a:lnTo>
                    <a:lnTo>
                      <a:pt x="27" y="188"/>
                    </a:lnTo>
                    <a:lnTo>
                      <a:pt x="24" y="189"/>
                    </a:lnTo>
                    <a:lnTo>
                      <a:pt x="24" y="189"/>
                    </a:lnTo>
                    <a:close/>
                  </a:path>
                </a:pathLst>
              </a:custGeom>
              <a:solidFill>
                <a:schemeClr val="accent6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406" name="Freeform 610"/>
              <p:cNvSpPr>
                <a:spLocks/>
              </p:cNvSpPr>
              <p:nvPr userDrawn="1"/>
            </p:nvSpPr>
            <p:spPr bwMode="auto">
              <a:xfrm>
                <a:off x="4911" y="2355"/>
                <a:ext cx="152" cy="78"/>
              </a:xfrm>
              <a:custGeom>
                <a:avLst/>
                <a:gdLst>
                  <a:gd name="T0" fmla="*/ 7 w 152"/>
                  <a:gd name="T1" fmla="*/ 0 h 78"/>
                  <a:gd name="T2" fmla="*/ 14 w 152"/>
                  <a:gd name="T3" fmla="*/ 5 h 78"/>
                  <a:gd name="T4" fmla="*/ 20 w 152"/>
                  <a:gd name="T5" fmla="*/ 5 h 78"/>
                  <a:gd name="T6" fmla="*/ 26 w 152"/>
                  <a:gd name="T7" fmla="*/ 2 h 78"/>
                  <a:gd name="T8" fmla="*/ 35 w 152"/>
                  <a:gd name="T9" fmla="*/ 6 h 78"/>
                  <a:gd name="T10" fmla="*/ 42 w 152"/>
                  <a:gd name="T11" fmla="*/ 8 h 78"/>
                  <a:gd name="T12" fmla="*/ 51 w 152"/>
                  <a:gd name="T13" fmla="*/ 14 h 78"/>
                  <a:gd name="T14" fmla="*/ 57 w 152"/>
                  <a:gd name="T15" fmla="*/ 18 h 78"/>
                  <a:gd name="T16" fmla="*/ 62 w 152"/>
                  <a:gd name="T17" fmla="*/ 26 h 78"/>
                  <a:gd name="T18" fmla="*/ 65 w 152"/>
                  <a:gd name="T19" fmla="*/ 19 h 78"/>
                  <a:gd name="T20" fmla="*/ 67 w 152"/>
                  <a:gd name="T21" fmla="*/ 19 h 78"/>
                  <a:gd name="T22" fmla="*/ 75 w 152"/>
                  <a:gd name="T23" fmla="*/ 21 h 78"/>
                  <a:gd name="T24" fmla="*/ 81 w 152"/>
                  <a:gd name="T25" fmla="*/ 30 h 78"/>
                  <a:gd name="T26" fmla="*/ 90 w 152"/>
                  <a:gd name="T27" fmla="*/ 29 h 78"/>
                  <a:gd name="T28" fmla="*/ 92 w 152"/>
                  <a:gd name="T29" fmla="*/ 40 h 78"/>
                  <a:gd name="T30" fmla="*/ 100 w 152"/>
                  <a:gd name="T31" fmla="*/ 42 h 78"/>
                  <a:gd name="T32" fmla="*/ 107 w 152"/>
                  <a:gd name="T33" fmla="*/ 39 h 78"/>
                  <a:gd name="T34" fmla="*/ 116 w 152"/>
                  <a:gd name="T35" fmla="*/ 37 h 78"/>
                  <a:gd name="T36" fmla="*/ 122 w 152"/>
                  <a:gd name="T37" fmla="*/ 43 h 78"/>
                  <a:gd name="T38" fmla="*/ 131 w 152"/>
                  <a:gd name="T39" fmla="*/ 50 h 78"/>
                  <a:gd name="T40" fmla="*/ 139 w 152"/>
                  <a:gd name="T41" fmla="*/ 49 h 78"/>
                  <a:gd name="T42" fmla="*/ 146 w 152"/>
                  <a:gd name="T43" fmla="*/ 48 h 78"/>
                  <a:gd name="T44" fmla="*/ 151 w 152"/>
                  <a:gd name="T45" fmla="*/ 52 h 78"/>
                  <a:gd name="T46" fmla="*/ 152 w 152"/>
                  <a:gd name="T47" fmla="*/ 67 h 78"/>
                  <a:gd name="T48" fmla="*/ 139 w 152"/>
                  <a:gd name="T49" fmla="*/ 78 h 78"/>
                  <a:gd name="T50" fmla="*/ 129 w 152"/>
                  <a:gd name="T51" fmla="*/ 77 h 78"/>
                  <a:gd name="T52" fmla="*/ 107 w 152"/>
                  <a:gd name="T53" fmla="*/ 71 h 78"/>
                  <a:gd name="T54" fmla="*/ 93 w 152"/>
                  <a:gd name="T55" fmla="*/ 70 h 78"/>
                  <a:gd name="T56" fmla="*/ 87 w 152"/>
                  <a:gd name="T57" fmla="*/ 61 h 78"/>
                  <a:gd name="T58" fmla="*/ 69 w 152"/>
                  <a:gd name="T59" fmla="*/ 62 h 78"/>
                  <a:gd name="T60" fmla="*/ 57 w 152"/>
                  <a:gd name="T61" fmla="*/ 60 h 78"/>
                  <a:gd name="T62" fmla="*/ 45 w 152"/>
                  <a:gd name="T63" fmla="*/ 56 h 78"/>
                  <a:gd name="T64" fmla="*/ 35 w 152"/>
                  <a:gd name="T65" fmla="*/ 52 h 78"/>
                  <a:gd name="T66" fmla="*/ 21 w 152"/>
                  <a:gd name="T67" fmla="*/ 40 h 78"/>
                  <a:gd name="T68" fmla="*/ 11 w 152"/>
                  <a:gd name="T69" fmla="*/ 37 h 78"/>
                  <a:gd name="T70" fmla="*/ 4 w 152"/>
                  <a:gd name="T71" fmla="*/ 34 h 78"/>
                  <a:gd name="T72" fmla="*/ 0 w 152"/>
                  <a:gd name="T73" fmla="*/ 29 h 78"/>
                  <a:gd name="T74" fmla="*/ 3 w 152"/>
                  <a:gd name="T75" fmla="*/ 16 h 78"/>
                  <a:gd name="T76" fmla="*/ 6 w 152"/>
                  <a:gd name="T77" fmla="*/ 1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52" h="78">
                    <a:moveTo>
                      <a:pt x="6" y="1"/>
                    </a:moveTo>
                    <a:lnTo>
                      <a:pt x="7" y="0"/>
                    </a:lnTo>
                    <a:lnTo>
                      <a:pt x="12" y="3"/>
                    </a:lnTo>
                    <a:lnTo>
                      <a:pt x="14" y="5"/>
                    </a:lnTo>
                    <a:lnTo>
                      <a:pt x="18" y="4"/>
                    </a:lnTo>
                    <a:lnTo>
                      <a:pt x="20" y="5"/>
                    </a:lnTo>
                    <a:lnTo>
                      <a:pt x="21" y="2"/>
                    </a:lnTo>
                    <a:lnTo>
                      <a:pt x="26" y="2"/>
                    </a:lnTo>
                    <a:lnTo>
                      <a:pt x="33" y="4"/>
                    </a:lnTo>
                    <a:lnTo>
                      <a:pt x="35" y="6"/>
                    </a:lnTo>
                    <a:lnTo>
                      <a:pt x="39" y="6"/>
                    </a:lnTo>
                    <a:lnTo>
                      <a:pt x="42" y="8"/>
                    </a:lnTo>
                    <a:lnTo>
                      <a:pt x="47" y="14"/>
                    </a:lnTo>
                    <a:lnTo>
                      <a:pt x="51" y="14"/>
                    </a:lnTo>
                    <a:lnTo>
                      <a:pt x="56" y="16"/>
                    </a:lnTo>
                    <a:lnTo>
                      <a:pt x="57" y="18"/>
                    </a:lnTo>
                    <a:lnTo>
                      <a:pt x="61" y="22"/>
                    </a:lnTo>
                    <a:lnTo>
                      <a:pt x="62" y="26"/>
                    </a:lnTo>
                    <a:lnTo>
                      <a:pt x="64" y="25"/>
                    </a:lnTo>
                    <a:lnTo>
                      <a:pt x="65" y="19"/>
                    </a:lnTo>
                    <a:lnTo>
                      <a:pt x="66" y="17"/>
                    </a:lnTo>
                    <a:lnTo>
                      <a:pt x="67" y="19"/>
                    </a:lnTo>
                    <a:lnTo>
                      <a:pt x="71" y="19"/>
                    </a:lnTo>
                    <a:lnTo>
                      <a:pt x="75" y="21"/>
                    </a:lnTo>
                    <a:lnTo>
                      <a:pt x="76" y="26"/>
                    </a:lnTo>
                    <a:lnTo>
                      <a:pt x="81" y="30"/>
                    </a:lnTo>
                    <a:lnTo>
                      <a:pt x="86" y="29"/>
                    </a:lnTo>
                    <a:lnTo>
                      <a:pt x="90" y="29"/>
                    </a:lnTo>
                    <a:lnTo>
                      <a:pt x="89" y="37"/>
                    </a:lnTo>
                    <a:lnTo>
                      <a:pt x="92" y="40"/>
                    </a:lnTo>
                    <a:lnTo>
                      <a:pt x="95" y="40"/>
                    </a:lnTo>
                    <a:lnTo>
                      <a:pt x="100" y="42"/>
                    </a:lnTo>
                    <a:lnTo>
                      <a:pt x="103" y="40"/>
                    </a:lnTo>
                    <a:lnTo>
                      <a:pt x="107" y="39"/>
                    </a:lnTo>
                    <a:lnTo>
                      <a:pt x="109" y="36"/>
                    </a:lnTo>
                    <a:lnTo>
                      <a:pt x="116" y="37"/>
                    </a:lnTo>
                    <a:lnTo>
                      <a:pt x="121" y="38"/>
                    </a:lnTo>
                    <a:lnTo>
                      <a:pt x="122" y="43"/>
                    </a:lnTo>
                    <a:lnTo>
                      <a:pt x="128" y="45"/>
                    </a:lnTo>
                    <a:lnTo>
                      <a:pt x="131" y="50"/>
                    </a:lnTo>
                    <a:lnTo>
                      <a:pt x="134" y="51"/>
                    </a:lnTo>
                    <a:lnTo>
                      <a:pt x="139" y="49"/>
                    </a:lnTo>
                    <a:lnTo>
                      <a:pt x="141" y="49"/>
                    </a:lnTo>
                    <a:lnTo>
                      <a:pt x="146" y="48"/>
                    </a:lnTo>
                    <a:lnTo>
                      <a:pt x="150" y="48"/>
                    </a:lnTo>
                    <a:lnTo>
                      <a:pt x="151" y="52"/>
                    </a:lnTo>
                    <a:lnTo>
                      <a:pt x="149" y="60"/>
                    </a:lnTo>
                    <a:lnTo>
                      <a:pt x="152" y="67"/>
                    </a:lnTo>
                    <a:lnTo>
                      <a:pt x="151" y="76"/>
                    </a:lnTo>
                    <a:lnTo>
                      <a:pt x="139" y="78"/>
                    </a:lnTo>
                    <a:lnTo>
                      <a:pt x="132" y="74"/>
                    </a:lnTo>
                    <a:lnTo>
                      <a:pt x="129" y="77"/>
                    </a:lnTo>
                    <a:lnTo>
                      <a:pt x="112" y="71"/>
                    </a:lnTo>
                    <a:lnTo>
                      <a:pt x="107" y="71"/>
                    </a:lnTo>
                    <a:lnTo>
                      <a:pt x="103" y="73"/>
                    </a:lnTo>
                    <a:lnTo>
                      <a:pt x="93" y="70"/>
                    </a:lnTo>
                    <a:lnTo>
                      <a:pt x="88" y="66"/>
                    </a:lnTo>
                    <a:lnTo>
                      <a:pt x="87" y="61"/>
                    </a:lnTo>
                    <a:lnTo>
                      <a:pt x="79" y="60"/>
                    </a:lnTo>
                    <a:lnTo>
                      <a:pt x="69" y="62"/>
                    </a:lnTo>
                    <a:lnTo>
                      <a:pt x="65" y="60"/>
                    </a:lnTo>
                    <a:lnTo>
                      <a:pt x="57" y="60"/>
                    </a:lnTo>
                    <a:lnTo>
                      <a:pt x="50" y="56"/>
                    </a:lnTo>
                    <a:lnTo>
                      <a:pt x="45" y="56"/>
                    </a:lnTo>
                    <a:lnTo>
                      <a:pt x="42" y="54"/>
                    </a:lnTo>
                    <a:lnTo>
                      <a:pt x="35" y="52"/>
                    </a:lnTo>
                    <a:lnTo>
                      <a:pt x="29" y="45"/>
                    </a:lnTo>
                    <a:lnTo>
                      <a:pt x="21" y="40"/>
                    </a:lnTo>
                    <a:lnTo>
                      <a:pt x="14" y="38"/>
                    </a:lnTo>
                    <a:lnTo>
                      <a:pt x="11" y="37"/>
                    </a:lnTo>
                    <a:lnTo>
                      <a:pt x="8" y="36"/>
                    </a:lnTo>
                    <a:lnTo>
                      <a:pt x="4" y="34"/>
                    </a:lnTo>
                    <a:lnTo>
                      <a:pt x="0" y="33"/>
                    </a:lnTo>
                    <a:lnTo>
                      <a:pt x="0" y="29"/>
                    </a:lnTo>
                    <a:lnTo>
                      <a:pt x="3" y="22"/>
                    </a:lnTo>
                    <a:lnTo>
                      <a:pt x="3" y="16"/>
                    </a:lnTo>
                    <a:lnTo>
                      <a:pt x="6" y="7"/>
                    </a:lnTo>
                    <a:lnTo>
                      <a:pt x="6" y="1"/>
                    </a:lnTo>
                    <a:lnTo>
                      <a:pt x="6" y="1"/>
                    </a:lnTo>
                    <a:close/>
                  </a:path>
                </a:pathLst>
              </a:custGeom>
              <a:solidFill>
                <a:schemeClr val="accent6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407" name="Freeform 611"/>
              <p:cNvSpPr>
                <a:spLocks/>
              </p:cNvSpPr>
              <p:nvPr userDrawn="1"/>
            </p:nvSpPr>
            <p:spPr bwMode="auto">
              <a:xfrm>
                <a:off x="5653" y="2439"/>
                <a:ext cx="33" cy="76"/>
              </a:xfrm>
              <a:custGeom>
                <a:avLst/>
                <a:gdLst>
                  <a:gd name="T0" fmla="*/ 0 w 33"/>
                  <a:gd name="T1" fmla="*/ 36 h 76"/>
                  <a:gd name="T2" fmla="*/ 1 w 33"/>
                  <a:gd name="T3" fmla="*/ 38 h 76"/>
                  <a:gd name="T4" fmla="*/ 2 w 33"/>
                  <a:gd name="T5" fmla="*/ 44 h 76"/>
                  <a:gd name="T6" fmla="*/ 2 w 33"/>
                  <a:gd name="T7" fmla="*/ 52 h 76"/>
                  <a:gd name="T8" fmla="*/ 4 w 33"/>
                  <a:gd name="T9" fmla="*/ 53 h 76"/>
                  <a:gd name="T10" fmla="*/ 5 w 33"/>
                  <a:gd name="T11" fmla="*/ 55 h 76"/>
                  <a:gd name="T12" fmla="*/ 4 w 33"/>
                  <a:gd name="T13" fmla="*/ 55 h 76"/>
                  <a:gd name="T14" fmla="*/ 4 w 33"/>
                  <a:gd name="T15" fmla="*/ 58 h 76"/>
                  <a:gd name="T16" fmla="*/ 6 w 33"/>
                  <a:gd name="T17" fmla="*/ 61 h 76"/>
                  <a:gd name="T18" fmla="*/ 8 w 33"/>
                  <a:gd name="T19" fmla="*/ 61 h 76"/>
                  <a:gd name="T20" fmla="*/ 8 w 33"/>
                  <a:gd name="T21" fmla="*/ 63 h 76"/>
                  <a:gd name="T22" fmla="*/ 13 w 33"/>
                  <a:gd name="T23" fmla="*/ 64 h 76"/>
                  <a:gd name="T24" fmla="*/ 16 w 33"/>
                  <a:gd name="T25" fmla="*/ 68 h 76"/>
                  <a:gd name="T26" fmla="*/ 15 w 33"/>
                  <a:gd name="T27" fmla="*/ 73 h 76"/>
                  <a:gd name="T28" fmla="*/ 16 w 33"/>
                  <a:gd name="T29" fmla="*/ 76 h 76"/>
                  <a:gd name="T30" fmla="*/ 16 w 33"/>
                  <a:gd name="T31" fmla="*/ 76 h 76"/>
                  <a:gd name="T32" fmla="*/ 18 w 33"/>
                  <a:gd name="T33" fmla="*/ 75 h 76"/>
                  <a:gd name="T34" fmla="*/ 21 w 33"/>
                  <a:gd name="T35" fmla="*/ 76 h 76"/>
                  <a:gd name="T36" fmla="*/ 20 w 33"/>
                  <a:gd name="T37" fmla="*/ 72 h 76"/>
                  <a:gd name="T38" fmla="*/ 21 w 33"/>
                  <a:gd name="T39" fmla="*/ 68 h 76"/>
                  <a:gd name="T40" fmla="*/ 19 w 33"/>
                  <a:gd name="T41" fmla="*/ 62 h 76"/>
                  <a:gd name="T42" fmla="*/ 22 w 33"/>
                  <a:gd name="T43" fmla="*/ 59 h 76"/>
                  <a:gd name="T44" fmla="*/ 27 w 33"/>
                  <a:gd name="T45" fmla="*/ 52 h 76"/>
                  <a:gd name="T46" fmla="*/ 27 w 33"/>
                  <a:gd name="T47" fmla="*/ 47 h 76"/>
                  <a:gd name="T48" fmla="*/ 29 w 33"/>
                  <a:gd name="T49" fmla="*/ 46 h 76"/>
                  <a:gd name="T50" fmla="*/ 27 w 33"/>
                  <a:gd name="T51" fmla="*/ 45 h 76"/>
                  <a:gd name="T52" fmla="*/ 28 w 33"/>
                  <a:gd name="T53" fmla="*/ 39 h 76"/>
                  <a:gd name="T54" fmla="*/ 29 w 33"/>
                  <a:gd name="T55" fmla="*/ 34 h 76"/>
                  <a:gd name="T56" fmla="*/ 28 w 33"/>
                  <a:gd name="T57" fmla="*/ 29 h 76"/>
                  <a:gd name="T58" fmla="*/ 30 w 33"/>
                  <a:gd name="T59" fmla="*/ 25 h 76"/>
                  <a:gd name="T60" fmla="*/ 31 w 33"/>
                  <a:gd name="T61" fmla="*/ 17 h 76"/>
                  <a:gd name="T62" fmla="*/ 32 w 33"/>
                  <a:gd name="T63" fmla="*/ 12 h 76"/>
                  <a:gd name="T64" fmla="*/ 33 w 33"/>
                  <a:gd name="T65" fmla="*/ 11 h 76"/>
                  <a:gd name="T66" fmla="*/ 33 w 33"/>
                  <a:gd name="T67" fmla="*/ 8 h 76"/>
                  <a:gd name="T68" fmla="*/ 29 w 33"/>
                  <a:gd name="T69" fmla="*/ 6 h 76"/>
                  <a:gd name="T70" fmla="*/ 28 w 33"/>
                  <a:gd name="T71" fmla="*/ 6 h 76"/>
                  <a:gd name="T72" fmla="*/ 26 w 33"/>
                  <a:gd name="T73" fmla="*/ 2 h 76"/>
                  <a:gd name="T74" fmla="*/ 22 w 33"/>
                  <a:gd name="T75" fmla="*/ 0 h 76"/>
                  <a:gd name="T76" fmla="*/ 19 w 33"/>
                  <a:gd name="T77" fmla="*/ 1 h 76"/>
                  <a:gd name="T78" fmla="*/ 20 w 33"/>
                  <a:gd name="T79" fmla="*/ 4 h 76"/>
                  <a:gd name="T80" fmla="*/ 16 w 33"/>
                  <a:gd name="T81" fmla="*/ 5 h 76"/>
                  <a:gd name="T82" fmla="*/ 12 w 33"/>
                  <a:gd name="T83" fmla="*/ 10 h 76"/>
                  <a:gd name="T84" fmla="*/ 9 w 33"/>
                  <a:gd name="T85" fmla="*/ 16 h 76"/>
                  <a:gd name="T86" fmla="*/ 10 w 33"/>
                  <a:gd name="T87" fmla="*/ 18 h 76"/>
                  <a:gd name="T88" fmla="*/ 9 w 33"/>
                  <a:gd name="T89" fmla="*/ 19 h 76"/>
                  <a:gd name="T90" fmla="*/ 8 w 33"/>
                  <a:gd name="T91" fmla="*/ 21 h 76"/>
                  <a:gd name="T92" fmla="*/ 4 w 33"/>
                  <a:gd name="T93" fmla="*/ 28 h 76"/>
                  <a:gd name="T94" fmla="*/ 2 w 33"/>
                  <a:gd name="T95" fmla="*/ 35 h 76"/>
                  <a:gd name="T96" fmla="*/ 0 w 33"/>
                  <a:gd name="T97" fmla="*/ 36 h 76"/>
                  <a:gd name="T98" fmla="*/ 0 w 33"/>
                  <a:gd name="T99" fmla="*/ 36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33" h="76">
                    <a:moveTo>
                      <a:pt x="0" y="36"/>
                    </a:moveTo>
                    <a:lnTo>
                      <a:pt x="1" y="38"/>
                    </a:lnTo>
                    <a:lnTo>
                      <a:pt x="2" y="44"/>
                    </a:lnTo>
                    <a:lnTo>
                      <a:pt x="2" y="52"/>
                    </a:lnTo>
                    <a:lnTo>
                      <a:pt x="4" y="53"/>
                    </a:lnTo>
                    <a:lnTo>
                      <a:pt x="5" y="55"/>
                    </a:lnTo>
                    <a:lnTo>
                      <a:pt x="4" y="55"/>
                    </a:lnTo>
                    <a:lnTo>
                      <a:pt x="4" y="58"/>
                    </a:lnTo>
                    <a:lnTo>
                      <a:pt x="6" y="61"/>
                    </a:lnTo>
                    <a:lnTo>
                      <a:pt x="8" y="61"/>
                    </a:lnTo>
                    <a:lnTo>
                      <a:pt x="8" y="63"/>
                    </a:lnTo>
                    <a:lnTo>
                      <a:pt x="13" y="64"/>
                    </a:lnTo>
                    <a:lnTo>
                      <a:pt x="16" y="68"/>
                    </a:lnTo>
                    <a:lnTo>
                      <a:pt x="15" y="73"/>
                    </a:lnTo>
                    <a:lnTo>
                      <a:pt x="16" y="76"/>
                    </a:lnTo>
                    <a:lnTo>
                      <a:pt x="16" y="76"/>
                    </a:lnTo>
                    <a:lnTo>
                      <a:pt x="18" y="75"/>
                    </a:lnTo>
                    <a:lnTo>
                      <a:pt x="21" y="76"/>
                    </a:lnTo>
                    <a:lnTo>
                      <a:pt x="20" y="72"/>
                    </a:lnTo>
                    <a:lnTo>
                      <a:pt x="21" y="68"/>
                    </a:lnTo>
                    <a:lnTo>
                      <a:pt x="19" y="62"/>
                    </a:lnTo>
                    <a:lnTo>
                      <a:pt x="22" y="59"/>
                    </a:lnTo>
                    <a:lnTo>
                      <a:pt x="27" y="52"/>
                    </a:lnTo>
                    <a:lnTo>
                      <a:pt x="27" y="47"/>
                    </a:lnTo>
                    <a:lnTo>
                      <a:pt x="29" y="46"/>
                    </a:lnTo>
                    <a:lnTo>
                      <a:pt x="27" y="45"/>
                    </a:lnTo>
                    <a:lnTo>
                      <a:pt x="28" y="39"/>
                    </a:lnTo>
                    <a:lnTo>
                      <a:pt x="29" y="34"/>
                    </a:lnTo>
                    <a:lnTo>
                      <a:pt x="28" y="29"/>
                    </a:lnTo>
                    <a:lnTo>
                      <a:pt x="30" y="25"/>
                    </a:lnTo>
                    <a:lnTo>
                      <a:pt x="31" y="17"/>
                    </a:lnTo>
                    <a:lnTo>
                      <a:pt x="32" y="12"/>
                    </a:lnTo>
                    <a:lnTo>
                      <a:pt x="33" y="11"/>
                    </a:lnTo>
                    <a:lnTo>
                      <a:pt x="33" y="8"/>
                    </a:lnTo>
                    <a:lnTo>
                      <a:pt x="29" y="6"/>
                    </a:lnTo>
                    <a:lnTo>
                      <a:pt x="28" y="6"/>
                    </a:lnTo>
                    <a:lnTo>
                      <a:pt x="26" y="2"/>
                    </a:lnTo>
                    <a:lnTo>
                      <a:pt x="22" y="0"/>
                    </a:lnTo>
                    <a:lnTo>
                      <a:pt x="19" y="1"/>
                    </a:lnTo>
                    <a:lnTo>
                      <a:pt x="20" y="4"/>
                    </a:lnTo>
                    <a:lnTo>
                      <a:pt x="16" y="5"/>
                    </a:lnTo>
                    <a:lnTo>
                      <a:pt x="12" y="10"/>
                    </a:lnTo>
                    <a:lnTo>
                      <a:pt x="9" y="16"/>
                    </a:lnTo>
                    <a:lnTo>
                      <a:pt x="10" y="18"/>
                    </a:lnTo>
                    <a:lnTo>
                      <a:pt x="9" y="19"/>
                    </a:lnTo>
                    <a:lnTo>
                      <a:pt x="8" y="21"/>
                    </a:lnTo>
                    <a:lnTo>
                      <a:pt x="4" y="28"/>
                    </a:lnTo>
                    <a:lnTo>
                      <a:pt x="2" y="35"/>
                    </a:lnTo>
                    <a:lnTo>
                      <a:pt x="0" y="36"/>
                    </a:lnTo>
                    <a:lnTo>
                      <a:pt x="0" y="36"/>
                    </a:lnTo>
                    <a:close/>
                  </a:path>
                </a:pathLst>
              </a:custGeom>
              <a:solidFill>
                <a:schemeClr val="accent6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408" name="Freeform 612"/>
              <p:cNvSpPr>
                <a:spLocks/>
              </p:cNvSpPr>
              <p:nvPr userDrawn="1"/>
            </p:nvSpPr>
            <p:spPr bwMode="auto">
              <a:xfrm>
                <a:off x="5350" y="2658"/>
                <a:ext cx="97" cy="81"/>
              </a:xfrm>
              <a:custGeom>
                <a:avLst/>
                <a:gdLst>
                  <a:gd name="T0" fmla="*/ 46 w 97"/>
                  <a:gd name="T1" fmla="*/ 77 h 81"/>
                  <a:gd name="T2" fmla="*/ 53 w 97"/>
                  <a:gd name="T3" fmla="*/ 71 h 81"/>
                  <a:gd name="T4" fmla="*/ 57 w 97"/>
                  <a:gd name="T5" fmla="*/ 72 h 81"/>
                  <a:gd name="T6" fmla="*/ 70 w 97"/>
                  <a:gd name="T7" fmla="*/ 72 h 81"/>
                  <a:gd name="T8" fmla="*/ 77 w 97"/>
                  <a:gd name="T9" fmla="*/ 74 h 81"/>
                  <a:gd name="T10" fmla="*/ 76 w 97"/>
                  <a:gd name="T11" fmla="*/ 68 h 81"/>
                  <a:gd name="T12" fmla="*/ 68 w 97"/>
                  <a:gd name="T13" fmla="*/ 63 h 81"/>
                  <a:gd name="T14" fmla="*/ 71 w 97"/>
                  <a:gd name="T15" fmla="*/ 55 h 81"/>
                  <a:gd name="T16" fmla="*/ 79 w 97"/>
                  <a:gd name="T17" fmla="*/ 52 h 81"/>
                  <a:gd name="T18" fmla="*/ 90 w 97"/>
                  <a:gd name="T19" fmla="*/ 47 h 81"/>
                  <a:gd name="T20" fmla="*/ 94 w 97"/>
                  <a:gd name="T21" fmla="*/ 43 h 81"/>
                  <a:gd name="T22" fmla="*/ 96 w 97"/>
                  <a:gd name="T23" fmla="*/ 34 h 81"/>
                  <a:gd name="T24" fmla="*/ 96 w 97"/>
                  <a:gd name="T25" fmla="*/ 26 h 81"/>
                  <a:gd name="T26" fmla="*/ 94 w 97"/>
                  <a:gd name="T27" fmla="*/ 14 h 81"/>
                  <a:gd name="T28" fmla="*/ 88 w 97"/>
                  <a:gd name="T29" fmla="*/ 6 h 81"/>
                  <a:gd name="T30" fmla="*/ 81 w 97"/>
                  <a:gd name="T31" fmla="*/ 4 h 81"/>
                  <a:gd name="T32" fmla="*/ 78 w 97"/>
                  <a:gd name="T33" fmla="*/ 0 h 81"/>
                  <a:gd name="T34" fmla="*/ 68 w 97"/>
                  <a:gd name="T35" fmla="*/ 4 h 81"/>
                  <a:gd name="T36" fmla="*/ 71 w 97"/>
                  <a:gd name="T37" fmla="*/ 12 h 81"/>
                  <a:gd name="T38" fmla="*/ 72 w 97"/>
                  <a:gd name="T39" fmla="*/ 17 h 81"/>
                  <a:gd name="T40" fmla="*/ 63 w 97"/>
                  <a:gd name="T41" fmla="*/ 10 h 81"/>
                  <a:gd name="T42" fmla="*/ 56 w 97"/>
                  <a:gd name="T43" fmla="*/ 8 h 81"/>
                  <a:gd name="T44" fmla="*/ 49 w 97"/>
                  <a:gd name="T45" fmla="*/ 6 h 81"/>
                  <a:gd name="T46" fmla="*/ 41 w 97"/>
                  <a:gd name="T47" fmla="*/ 4 h 81"/>
                  <a:gd name="T48" fmla="*/ 33 w 97"/>
                  <a:gd name="T49" fmla="*/ 3 h 81"/>
                  <a:gd name="T50" fmla="*/ 26 w 97"/>
                  <a:gd name="T51" fmla="*/ 3 h 81"/>
                  <a:gd name="T52" fmla="*/ 13 w 97"/>
                  <a:gd name="T53" fmla="*/ 6 h 81"/>
                  <a:gd name="T54" fmla="*/ 5 w 97"/>
                  <a:gd name="T55" fmla="*/ 11 h 81"/>
                  <a:gd name="T56" fmla="*/ 1 w 97"/>
                  <a:gd name="T57" fmla="*/ 20 h 81"/>
                  <a:gd name="T58" fmla="*/ 2 w 97"/>
                  <a:gd name="T59" fmla="*/ 34 h 81"/>
                  <a:gd name="T60" fmla="*/ 7 w 97"/>
                  <a:gd name="T61" fmla="*/ 39 h 81"/>
                  <a:gd name="T62" fmla="*/ 6 w 97"/>
                  <a:gd name="T63" fmla="*/ 48 h 81"/>
                  <a:gd name="T64" fmla="*/ 9 w 97"/>
                  <a:gd name="T65" fmla="*/ 51 h 81"/>
                  <a:gd name="T66" fmla="*/ 11 w 97"/>
                  <a:gd name="T67" fmla="*/ 57 h 81"/>
                  <a:gd name="T68" fmla="*/ 13 w 97"/>
                  <a:gd name="T69" fmla="*/ 63 h 81"/>
                  <a:gd name="T70" fmla="*/ 16 w 97"/>
                  <a:gd name="T71" fmla="*/ 65 h 81"/>
                  <a:gd name="T72" fmla="*/ 17 w 97"/>
                  <a:gd name="T73" fmla="*/ 70 h 81"/>
                  <a:gd name="T74" fmla="*/ 21 w 97"/>
                  <a:gd name="T75" fmla="*/ 74 h 81"/>
                  <a:gd name="T76" fmla="*/ 23 w 97"/>
                  <a:gd name="T77" fmla="*/ 70 h 81"/>
                  <a:gd name="T78" fmla="*/ 27 w 97"/>
                  <a:gd name="T79" fmla="*/ 67 h 81"/>
                  <a:gd name="T80" fmla="*/ 28 w 97"/>
                  <a:gd name="T81" fmla="*/ 72 h 81"/>
                  <a:gd name="T82" fmla="*/ 26 w 97"/>
                  <a:gd name="T83" fmla="*/ 77 h 81"/>
                  <a:gd name="T84" fmla="*/ 27 w 97"/>
                  <a:gd name="T85" fmla="*/ 80 h 81"/>
                  <a:gd name="T86" fmla="*/ 33 w 97"/>
                  <a:gd name="T87" fmla="*/ 78 h 81"/>
                  <a:gd name="T88" fmla="*/ 35 w 97"/>
                  <a:gd name="T89" fmla="*/ 78 h 81"/>
                  <a:gd name="T90" fmla="*/ 39 w 97"/>
                  <a:gd name="T91" fmla="*/ 79 h 81"/>
                  <a:gd name="T92" fmla="*/ 43 w 97"/>
                  <a:gd name="T93" fmla="*/ 81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97" h="81">
                    <a:moveTo>
                      <a:pt x="43" y="81"/>
                    </a:moveTo>
                    <a:lnTo>
                      <a:pt x="46" y="77"/>
                    </a:lnTo>
                    <a:lnTo>
                      <a:pt x="50" y="76"/>
                    </a:lnTo>
                    <a:lnTo>
                      <a:pt x="53" y="71"/>
                    </a:lnTo>
                    <a:lnTo>
                      <a:pt x="56" y="71"/>
                    </a:lnTo>
                    <a:lnTo>
                      <a:pt x="57" y="72"/>
                    </a:lnTo>
                    <a:lnTo>
                      <a:pt x="66" y="70"/>
                    </a:lnTo>
                    <a:lnTo>
                      <a:pt x="70" y="72"/>
                    </a:lnTo>
                    <a:lnTo>
                      <a:pt x="71" y="75"/>
                    </a:lnTo>
                    <a:lnTo>
                      <a:pt x="77" y="74"/>
                    </a:lnTo>
                    <a:lnTo>
                      <a:pt x="75" y="70"/>
                    </a:lnTo>
                    <a:lnTo>
                      <a:pt x="76" y="68"/>
                    </a:lnTo>
                    <a:lnTo>
                      <a:pt x="73" y="64"/>
                    </a:lnTo>
                    <a:lnTo>
                      <a:pt x="68" y="63"/>
                    </a:lnTo>
                    <a:lnTo>
                      <a:pt x="68" y="58"/>
                    </a:lnTo>
                    <a:lnTo>
                      <a:pt x="71" y="55"/>
                    </a:lnTo>
                    <a:lnTo>
                      <a:pt x="78" y="55"/>
                    </a:lnTo>
                    <a:lnTo>
                      <a:pt x="79" y="52"/>
                    </a:lnTo>
                    <a:lnTo>
                      <a:pt x="85" y="48"/>
                    </a:lnTo>
                    <a:lnTo>
                      <a:pt x="90" y="47"/>
                    </a:lnTo>
                    <a:lnTo>
                      <a:pt x="91" y="44"/>
                    </a:lnTo>
                    <a:lnTo>
                      <a:pt x="94" y="43"/>
                    </a:lnTo>
                    <a:lnTo>
                      <a:pt x="97" y="38"/>
                    </a:lnTo>
                    <a:lnTo>
                      <a:pt x="96" y="34"/>
                    </a:lnTo>
                    <a:lnTo>
                      <a:pt x="97" y="29"/>
                    </a:lnTo>
                    <a:lnTo>
                      <a:pt x="96" y="26"/>
                    </a:lnTo>
                    <a:lnTo>
                      <a:pt x="97" y="20"/>
                    </a:lnTo>
                    <a:lnTo>
                      <a:pt x="94" y="14"/>
                    </a:lnTo>
                    <a:lnTo>
                      <a:pt x="90" y="12"/>
                    </a:lnTo>
                    <a:lnTo>
                      <a:pt x="88" y="6"/>
                    </a:lnTo>
                    <a:lnTo>
                      <a:pt x="85" y="6"/>
                    </a:lnTo>
                    <a:lnTo>
                      <a:pt x="81" y="4"/>
                    </a:lnTo>
                    <a:lnTo>
                      <a:pt x="78" y="3"/>
                    </a:lnTo>
                    <a:lnTo>
                      <a:pt x="78" y="0"/>
                    </a:lnTo>
                    <a:lnTo>
                      <a:pt x="71" y="1"/>
                    </a:lnTo>
                    <a:lnTo>
                      <a:pt x="68" y="4"/>
                    </a:lnTo>
                    <a:lnTo>
                      <a:pt x="72" y="8"/>
                    </a:lnTo>
                    <a:lnTo>
                      <a:pt x="71" y="12"/>
                    </a:lnTo>
                    <a:lnTo>
                      <a:pt x="72" y="15"/>
                    </a:lnTo>
                    <a:lnTo>
                      <a:pt x="72" y="17"/>
                    </a:lnTo>
                    <a:lnTo>
                      <a:pt x="66" y="16"/>
                    </a:lnTo>
                    <a:lnTo>
                      <a:pt x="63" y="10"/>
                    </a:lnTo>
                    <a:lnTo>
                      <a:pt x="57" y="10"/>
                    </a:lnTo>
                    <a:lnTo>
                      <a:pt x="56" y="8"/>
                    </a:lnTo>
                    <a:lnTo>
                      <a:pt x="52" y="5"/>
                    </a:lnTo>
                    <a:lnTo>
                      <a:pt x="49" y="6"/>
                    </a:lnTo>
                    <a:lnTo>
                      <a:pt x="46" y="3"/>
                    </a:lnTo>
                    <a:lnTo>
                      <a:pt x="41" y="4"/>
                    </a:lnTo>
                    <a:lnTo>
                      <a:pt x="37" y="3"/>
                    </a:lnTo>
                    <a:lnTo>
                      <a:pt x="33" y="3"/>
                    </a:lnTo>
                    <a:lnTo>
                      <a:pt x="28" y="5"/>
                    </a:lnTo>
                    <a:lnTo>
                      <a:pt x="26" y="3"/>
                    </a:lnTo>
                    <a:lnTo>
                      <a:pt x="21" y="3"/>
                    </a:lnTo>
                    <a:lnTo>
                      <a:pt x="13" y="6"/>
                    </a:lnTo>
                    <a:lnTo>
                      <a:pt x="9" y="6"/>
                    </a:lnTo>
                    <a:lnTo>
                      <a:pt x="5" y="11"/>
                    </a:lnTo>
                    <a:lnTo>
                      <a:pt x="4" y="16"/>
                    </a:lnTo>
                    <a:lnTo>
                      <a:pt x="1" y="20"/>
                    </a:lnTo>
                    <a:lnTo>
                      <a:pt x="0" y="27"/>
                    </a:lnTo>
                    <a:lnTo>
                      <a:pt x="2" y="34"/>
                    </a:lnTo>
                    <a:lnTo>
                      <a:pt x="5" y="36"/>
                    </a:lnTo>
                    <a:lnTo>
                      <a:pt x="7" y="39"/>
                    </a:lnTo>
                    <a:lnTo>
                      <a:pt x="7" y="45"/>
                    </a:lnTo>
                    <a:lnTo>
                      <a:pt x="6" y="48"/>
                    </a:lnTo>
                    <a:lnTo>
                      <a:pt x="6" y="48"/>
                    </a:lnTo>
                    <a:lnTo>
                      <a:pt x="9" y="51"/>
                    </a:lnTo>
                    <a:lnTo>
                      <a:pt x="9" y="55"/>
                    </a:lnTo>
                    <a:lnTo>
                      <a:pt x="11" y="57"/>
                    </a:lnTo>
                    <a:lnTo>
                      <a:pt x="12" y="60"/>
                    </a:lnTo>
                    <a:lnTo>
                      <a:pt x="13" y="63"/>
                    </a:lnTo>
                    <a:lnTo>
                      <a:pt x="15" y="63"/>
                    </a:lnTo>
                    <a:lnTo>
                      <a:pt x="16" y="65"/>
                    </a:lnTo>
                    <a:lnTo>
                      <a:pt x="16" y="68"/>
                    </a:lnTo>
                    <a:lnTo>
                      <a:pt x="17" y="70"/>
                    </a:lnTo>
                    <a:lnTo>
                      <a:pt x="18" y="73"/>
                    </a:lnTo>
                    <a:lnTo>
                      <a:pt x="21" y="74"/>
                    </a:lnTo>
                    <a:lnTo>
                      <a:pt x="23" y="73"/>
                    </a:lnTo>
                    <a:lnTo>
                      <a:pt x="23" y="70"/>
                    </a:lnTo>
                    <a:lnTo>
                      <a:pt x="26" y="68"/>
                    </a:lnTo>
                    <a:lnTo>
                      <a:pt x="27" y="67"/>
                    </a:lnTo>
                    <a:lnTo>
                      <a:pt x="27" y="69"/>
                    </a:lnTo>
                    <a:lnTo>
                      <a:pt x="28" y="72"/>
                    </a:lnTo>
                    <a:lnTo>
                      <a:pt x="28" y="75"/>
                    </a:lnTo>
                    <a:lnTo>
                      <a:pt x="26" y="77"/>
                    </a:lnTo>
                    <a:lnTo>
                      <a:pt x="27" y="79"/>
                    </a:lnTo>
                    <a:lnTo>
                      <a:pt x="27" y="80"/>
                    </a:lnTo>
                    <a:lnTo>
                      <a:pt x="30" y="80"/>
                    </a:lnTo>
                    <a:lnTo>
                      <a:pt x="33" y="78"/>
                    </a:lnTo>
                    <a:lnTo>
                      <a:pt x="33" y="77"/>
                    </a:lnTo>
                    <a:lnTo>
                      <a:pt x="35" y="78"/>
                    </a:lnTo>
                    <a:lnTo>
                      <a:pt x="38" y="79"/>
                    </a:lnTo>
                    <a:lnTo>
                      <a:pt x="39" y="79"/>
                    </a:lnTo>
                    <a:lnTo>
                      <a:pt x="43" y="81"/>
                    </a:lnTo>
                    <a:lnTo>
                      <a:pt x="43" y="81"/>
                    </a:lnTo>
                    <a:close/>
                  </a:path>
                </a:pathLst>
              </a:custGeom>
              <a:solidFill>
                <a:schemeClr val="accent6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409" name="Freeform 613"/>
              <p:cNvSpPr>
                <a:spLocks/>
              </p:cNvSpPr>
              <p:nvPr userDrawn="1"/>
            </p:nvSpPr>
            <p:spPr bwMode="auto">
              <a:xfrm>
                <a:off x="5295" y="2508"/>
                <a:ext cx="150" cy="167"/>
              </a:xfrm>
              <a:custGeom>
                <a:avLst/>
                <a:gdLst>
                  <a:gd name="T0" fmla="*/ 108 w 150"/>
                  <a:gd name="T1" fmla="*/ 125 h 167"/>
                  <a:gd name="T2" fmla="*/ 97 w 150"/>
                  <a:gd name="T3" fmla="*/ 120 h 167"/>
                  <a:gd name="T4" fmla="*/ 95 w 150"/>
                  <a:gd name="T5" fmla="*/ 109 h 167"/>
                  <a:gd name="T6" fmla="*/ 95 w 150"/>
                  <a:gd name="T7" fmla="*/ 100 h 167"/>
                  <a:gd name="T8" fmla="*/ 81 w 150"/>
                  <a:gd name="T9" fmla="*/ 87 h 167"/>
                  <a:gd name="T10" fmla="*/ 64 w 150"/>
                  <a:gd name="T11" fmla="*/ 81 h 167"/>
                  <a:gd name="T12" fmla="*/ 49 w 150"/>
                  <a:gd name="T13" fmla="*/ 86 h 167"/>
                  <a:gd name="T14" fmla="*/ 34 w 150"/>
                  <a:gd name="T15" fmla="*/ 86 h 167"/>
                  <a:gd name="T16" fmla="*/ 24 w 150"/>
                  <a:gd name="T17" fmla="*/ 93 h 167"/>
                  <a:gd name="T18" fmla="*/ 22 w 150"/>
                  <a:gd name="T19" fmla="*/ 74 h 167"/>
                  <a:gd name="T20" fmla="*/ 22 w 150"/>
                  <a:gd name="T21" fmla="*/ 64 h 167"/>
                  <a:gd name="T22" fmla="*/ 17 w 150"/>
                  <a:gd name="T23" fmla="*/ 58 h 167"/>
                  <a:gd name="T24" fmla="*/ 8 w 150"/>
                  <a:gd name="T25" fmla="*/ 55 h 167"/>
                  <a:gd name="T26" fmla="*/ 6 w 150"/>
                  <a:gd name="T27" fmla="*/ 42 h 167"/>
                  <a:gd name="T28" fmla="*/ 2 w 150"/>
                  <a:gd name="T29" fmla="*/ 35 h 167"/>
                  <a:gd name="T30" fmla="*/ 5 w 150"/>
                  <a:gd name="T31" fmla="*/ 30 h 167"/>
                  <a:gd name="T32" fmla="*/ 13 w 150"/>
                  <a:gd name="T33" fmla="*/ 22 h 167"/>
                  <a:gd name="T34" fmla="*/ 19 w 150"/>
                  <a:gd name="T35" fmla="*/ 21 h 167"/>
                  <a:gd name="T36" fmla="*/ 28 w 150"/>
                  <a:gd name="T37" fmla="*/ 23 h 167"/>
                  <a:gd name="T38" fmla="*/ 26 w 150"/>
                  <a:gd name="T39" fmla="*/ 11 h 167"/>
                  <a:gd name="T40" fmla="*/ 28 w 150"/>
                  <a:gd name="T41" fmla="*/ 0 h 167"/>
                  <a:gd name="T42" fmla="*/ 43 w 150"/>
                  <a:gd name="T43" fmla="*/ 5 h 167"/>
                  <a:gd name="T44" fmla="*/ 50 w 150"/>
                  <a:gd name="T45" fmla="*/ 16 h 167"/>
                  <a:gd name="T46" fmla="*/ 59 w 150"/>
                  <a:gd name="T47" fmla="*/ 31 h 167"/>
                  <a:gd name="T48" fmla="*/ 75 w 150"/>
                  <a:gd name="T49" fmla="*/ 30 h 167"/>
                  <a:gd name="T50" fmla="*/ 88 w 150"/>
                  <a:gd name="T51" fmla="*/ 34 h 167"/>
                  <a:gd name="T52" fmla="*/ 93 w 150"/>
                  <a:gd name="T53" fmla="*/ 42 h 167"/>
                  <a:gd name="T54" fmla="*/ 89 w 150"/>
                  <a:gd name="T55" fmla="*/ 53 h 167"/>
                  <a:gd name="T56" fmla="*/ 78 w 150"/>
                  <a:gd name="T57" fmla="*/ 57 h 167"/>
                  <a:gd name="T58" fmla="*/ 79 w 150"/>
                  <a:gd name="T59" fmla="*/ 64 h 167"/>
                  <a:gd name="T60" fmla="*/ 80 w 150"/>
                  <a:gd name="T61" fmla="*/ 69 h 167"/>
                  <a:gd name="T62" fmla="*/ 94 w 150"/>
                  <a:gd name="T63" fmla="*/ 77 h 167"/>
                  <a:gd name="T64" fmla="*/ 108 w 150"/>
                  <a:gd name="T65" fmla="*/ 85 h 167"/>
                  <a:gd name="T66" fmla="*/ 117 w 150"/>
                  <a:gd name="T67" fmla="*/ 100 h 167"/>
                  <a:gd name="T68" fmla="*/ 126 w 150"/>
                  <a:gd name="T69" fmla="*/ 105 h 167"/>
                  <a:gd name="T70" fmla="*/ 131 w 150"/>
                  <a:gd name="T71" fmla="*/ 114 h 167"/>
                  <a:gd name="T72" fmla="*/ 134 w 150"/>
                  <a:gd name="T73" fmla="*/ 117 h 167"/>
                  <a:gd name="T74" fmla="*/ 142 w 150"/>
                  <a:gd name="T75" fmla="*/ 123 h 167"/>
                  <a:gd name="T76" fmla="*/ 149 w 150"/>
                  <a:gd name="T77" fmla="*/ 123 h 167"/>
                  <a:gd name="T78" fmla="*/ 147 w 150"/>
                  <a:gd name="T79" fmla="*/ 133 h 167"/>
                  <a:gd name="T80" fmla="*/ 144 w 150"/>
                  <a:gd name="T81" fmla="*/ 142 h 167"/>
                  <a:gd name="T82" fmla="*/ 147 w 150"/>
                  <a:gd name="T83" fmla="*/ 154 h 167"/>
                  <a:gd name="T84" fmla="*/ 136 w 150"/>
                  <a:gd name="T85" fmla="*/ 154 h 167"/>
                  <a:gd name="T86" fmla="*/ 126 w 150"/>
                  <a:gd name="T87" fmla="*/ 151 h 167"/>
                  <a:gd name="T88" fmla="*/ 126 w 150"/>
                  <a:gd name="T89" fmla="*/ 162 h 167"/>
                  <a:gd name="T90" fmla="*/ 121 w 150"/>
                  <a:gd name="T91" fmla="*/ 166 h 167"/>
                  <a:gd name="T92" fmla="*/ 111 w 150"/>
                  <a:gd name="T93" fmla="*/ 158 h 167"/>
                  <a:gd name="T94" fmla="*/ 112 w 150"/>
                  <a:gd name="T95" fmla="*/ 151 h 167"/>
                  <a:gd name="T96" fmla="*/ 112 w 150"/>
                  <a:gd name="T97" fmla="*/ 139 h 1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50" h="167">
                    <a:moveTo>
                      <a:pt x="112" y="130"/>
                    </a:moveTo>
                    <a:lnTo>
                      <a:pt x="107" y="127"/>
                    </a:lnTo>
                    <a:lnTo>
                      <a:pt x="108" y="125"/>
                    </a:lnTo>
                    <a:lnTo>
                      <a:pt x="105" y="123"/>
                    </a:lnTo>
                    <a:lnTo>
                      <a:pt x="101" y="123"/>
                    </a:lnTo>
                    <a:lnTo>
                      <a:pt x="97" y="120"/>
                    </a:lnTo>
                    <a:lnTo>
                      <a:pt x="94" y="117"/>
                    </a:lnTo>
                    <a:lnTo>
                      <a:pt x="95" y="115"/>
                    </a:lnTo>
                    <a:lnTo>
                      <a:pt x="95" y="109"/>
                    </a:lnTo>
                    <a:lnTo>
                      <a:pt x="93" y="105"/>
                    </a:lnTo>
                    <a:lnTo>
                      <a:pt x="95" y="103"/>
                    </a:lnTo>
                    <a:lnTo>
                      <a:pt x="95" y="100"/>
                    </a:lnTo>
                    <a:lnTo>
                      <a:pt x="93" y="96"/>
                    </a:lnTo>
                    <a:lnTo>
                      <a:pt x="90" y="93"/>
                    </a:lnTo>
                    <a:lnTo>
                      <a:pt x="81" y="87"/>
                    </a:lnTo>
                    <a:lnTo>
                      <a:pt x="78" y="82"/>
                    </a:lnTo>
                    <a:lnTo>
                      <a:pt x="70" y="80"/>
                    </a:lnTo>
                    <a:lnTo>
                      <a:pt x="64" y="81"/>
                    </a:lnTo>
                    <a:lnTo>
                      <a:pt x="60" y="89"/>
                    </a:lnTo>
                    <a:lnTo>
                      <a:pt x="52" y="90"/>
                    </a:lnTo>
                    <a:lnTo>
                      <a:pt x="49" y="86"/>
                    </a:lnTo>
                    <a:lnTo>
                      <a:pt x="46" y="86"/>
                    </a:lnTo>
                    <a:lnTo>
                      <a:pt x="40" y="83"/>
                    </a:lnTo>
                    <a:lnTo>
                      <a:pt x="34" y="86"/>
                    </a:lnTo>
                    <a:lnTo>
                      <a:pt x="33" y="90"/>
                    </a:lnTo>
                    <a:lnTo>
                      <a:pt x="28" y="91"/>
                    </a:lnTo>
                    <a:lnTo>
                      <a:pt x="24" y="93"/>
                    </a:lnTo>
                    <a:lnTo>
                      <a:pt x="24" y="84"/>
                    </a:lnTo>
                    <a:lnTo>
                      <a:pt x="24" y="78"/>
                    </a:lnTo>
                    <a:lnTo>
                      <a:pt x="22" y="74"/>
                    </a:lnTo>
                    <a:lnTo>
                      <a:pt x="24" y="71"/>
                    </a:lnTo>
                    <a:lnTo>
                      <a:pt x="24" y="68"/>
                    </a:lnTo>
                    <a:lnTo>
                      <a:pt x="22" y="64"/>
                    </a:lnTo>
                    <a:lnTo>
                      <a:pt x="24" y="60"/>
                    </a:lnTo>
                    <a:lnTo>
                      <a:pt x="24" y="58"/>
                    </a:lnTo>
                    <a:lnTo>
                      <a:pt x="17" y="58"/>
                    </a:lnTo>
                    <a:lnTo>
                      <a:pt x="14" y="59"/>
                    </a:lnTo>
                    <a:lnTo>
                      <a:pt x="11" y="58"/>
                    </a:lnTo>
                    <a:lnTo>
                      <a:pt x="8" y="55"/>
                    </a:lnTo>
                    <a:lnTo>
                      <a:pt x="11" y="53"/>
                    </a:lnTo>
                    <a:lnTo>
                      <a:pt x="10" y="46"/>
                    </a:lnTo>
                    <a:lnTo>
                      <a:pt x="6" y="42"/>
                    </a:lnTo>
                    <a:lnTo>
                      <a:pt x="2" y="43"/>
                    </a:lnTo>
                    <a:lnTo>
                      <a:pt x="0" y="39"/>
                    </a:lnTo>
                    <a:lnTo>
                      <a:pt x="2" y="35"/>
                    </a:lnTo>
                    <a:lnTo>
                      <a:pt x="4" y="35"/>
                    </a:lnTo>
                    <a:lnTo>
                      <a:pt x="7" y="32"/>
                    </a:lnTo>
                    <a:lnTo>
                      <a:pt x="5" y="30"/>
                    </a:lnTo>
                    <a:lnTo>
                      <a:pt x="8" y="27"/>
                    </a:lnTo>
                    <a:lnTo>
                      <a:pt x="8" y="23"/>
                    </a:lnTo>
                    <a:lnTo>
                      <a:pt x="13" y="22"/>
                    </a:lnTo>
                    <a:lnTo>
                      <a:pt x="17" y="19"/>
                    </a:lnTo>
                    <a:lnTo>
                      <a:pt x="17" y="19"/>
                    </a:lnTo>
                    <a:lnTo>
                      <a:pt x="19" y="21"/>
                    </a:lnTo>
                    <a:lnTo>
                      <a:pt x="21" y="24"/>
                    </a:lnTo>
                    <a:lnTo>
                      <a:pt x="25" y="22"/>
                    </a:lnTo>
                    <a:lnTo>
                      <a:pt x="28" y="23"/>
                    </a:lnTo>
                    <a:lnTo>
                      <a:pt x="27" y="18"/>
                    </a:lnTo>
                    <a:lnTo>
                      <a:pt x="27" y="15"/>
                    </a:lnTo>
                    <a:lnTo>
                      <a:pt x="26" y="11"/>
                    </a:lnTo>
                    <a:lnTo>
                      <a:pt x="25" y="5"/>
                    </a:lnTo>
                    <a:lnTo>
                      <a:pt x="28" y="3"/>
                    </a:lnTo>
                    <a:lnTo>
                      <a:pt x="28" y="0"/>
                    </a:lnTo>
                    <a:lnTo>
                      <a:pt x="35" y="0"/>
                    </a:lnTo>
                    <a:lnTo>
                      <a:pt x="37" y="3"/>
                    </a:lnTo>
                    <a:lnTo>
                      <a:pt x="43" y="5"/>
                    </a:lnTo>
                    <a:lnTo>
                      <a:pt x="46" y="10"/>
                    </a:lnTo>
                    <a:lnTo>
                      <a:pt x="49" y="13"/>
                    </a:lnTo>
                    <a:lnTo>
                      <a:pt x="50" y="16"/>
                    </a:lnTo>
                    <a:lnTo>
                      <a:pt x="48" y="19"/>
                    </a:lnTo>
                    <a:lnTo>
                      <a:pt x="55" y="25"/>
                    </a:lnTo>
                    <a:lnTo>
                      <a:pt x="59" y="31"/>
                    </a:lnTo>
                    <a:lnTo>
                      <a:pt x="67" y="31"/>
                    </a:lnTo>
                    <a:lnTo>
                      <a:pt x="70" y="33"/>
                    </a:lnTo>
                    <a:lnTo>
                      <a:pt x="75" y="30"/>
                    </a:lnTo>
                    <a:lnTo>
                      <a:pt x="80" y="30"/>
                    </a:lnTo>
                    <a:lnTo>
                      <a:pt x="83" y="34"/>
                    </a:lnTo>
                    <a:lnTo>
                      <a:pt x="88" y="34"/>
                    </a:lnTo>
                    <a:lnTo>
                      <a:pt x="89" y="37"/>
                    </a:lnTo>
                    <a:lnTo>
                      <a:pt x="88" y="41"/>
                    </a:lnTo>
                    <a:lnTo>
                      <a:pt x="93" y="42"/>
                    </a:lnTo>
                    <a:lnTo>
                      <a:pt x="93" y="44"/>
                    </a:lnTo>
                    <a:lnTo>
                      <a:pt x="90" y="45"/>
                    </a:lnTo>
                    <a:lnTo>
                      <a:pt x="89" y="53"/>
                    </a:lnTo>
                    <a:lnTo>
                      <a:pt x="87" y="55"/>
                    </a:lnTo>
                    <a:lnTo>
                      <a:pt x="83" y="55"/>
                    </a:lnTo>
                    <a:lnTo>
                      <a:pt x="78" y="57"/>
                    </a:lnTo>
                    <a:lnTo>
                      <a:pt x="75" y="57"/>
                    </a:lnTo>
                    <a:lnTo>
                      <a:pt x="75" y="59"/>
                    </a:lnTo>
                    <a:lnTo>
                      <a:pt x="79" y="64"/>
                    </a:lnTo>
                    <a:lnTo>
                      <a:pt x="77" y="67"/>
                    </a:lnTo>
                    <a:lnTo>
                      <a:pt x="77" y="69"/>
                    </a:lnTo>
                    <a:lnTo>
                      <a:pt x="80" y="69"/>
                    </a:lnTo>
                    <a:lnTo>
                      <a:pt x="83" y="74"/>
                    </a:lnTo>
                    <a:lnTo>
                      <a:pt x="89" y="74"/>
                    </a:lnTo>
                    <a:lnTo>
                      <a:pt x="94" y="77"/>
                    </a:lnTo>
                    <a:lnTo>
                      <a:pt x="98" y="78"/>
                    </a:lnTo>
                    <a:lnTo>
                      <a:pt x="103" y="83"/>
                    </a:lnTo>
                    <a:lnTo>
                      <a:pt x="108" y="85"/>
                    </a:lnTo>
                    <a:lnTo>
                      <a:pt x="112" y="91"/>
                    </a:lnTo>
                    <a:lnTo>
                      <a:pt x="112" y="93"/>
                    </a:lnTo>
                    <a:lnTo>
                      <a:pt x="117" y="100"/>
                    </a:lnTo>
                    <a:lnTo>
                      <a:pt x="118" y="103"/>
                    </a:lnTo>
                    <a:lnTo>
                      <a:pt x="121" y="105"/>
                    </a:lnTo>
                    <a:lnTo>
                      <a:pt x="126" y="105"/>
                    </a:lnTo>
                    <a:lnTo>
                      <a:pt x="128" y="108"/>
                    </a:lnTo>
                    <a:lnTo>
                      <a:pt x="128" y="111"/>
                    </a:lnTo>
                    <a:lnTo>
                      <a:pt x="131" y="114"/>
                    </a:lnTo>
                    <a:lnTo>
                      <a:pt x="132" y="113"/>
                    </a:lnTo>
                    <a:lnTo>
                      <a:pt x="134" y="114"/>
                    </a:lnTo>
                    <a:lnTo>
                      <a:pt x="134" y="117"/>
                    </a:lnTo>
                    <a:lnTo>
                      <a:pt x="135" y="119"/>
                    </a:lnTo>
                    <a:lnTo>
                      <a:pt x="139" y="119"/>
                    </a:lnTo>
                    <a:lnTo>
                      <a:pt x="142" y="123"/>
                    </a:lnTo>
                    <a:lnTo>
                      <a:pt x="144" y="123"/>
                    </a:lnTo>
                    <a:lnTo>
                      <a:pt x="147" y="122"/>
                    </a:lnTo>
                    <a:lnTo>
                      <a:pt x="149" y="123"/>
                    </a:lnTo>
                    <a:lnTo>
                      <a:pt x="146" y="126"/>
                    </a:lnTo>
                    <a:lnTo>
                      <a:pt x="145" y="131"/>
                    </a:lnTo>
                    <a:lnTo>
                      <a:pt x="147" y="133"/>
                    </a:lnTo>
                    <a:lnTo>
                      <a:pt x="150" y="134"/>
                    </a:lnTo>
                    <a:lnTo>
                      <a:pt x="150" y="138"/>
                    </a:lnTo>
                    <a:lnTo>
                      <a:pt x="144" y="142"/>
                    </a:lnTo>
                    <a:lnTo>
                      <a:pt x="145" y="146"/>
                    </a:lnTo>
                    <a:lnTo>
                      <a:pt x="147" y="148"/>
                    </a:lnTo>
                    <a:lnTo>
                      <a:pt x="147" y="154"/>
                    </a:lnTo>
                    <a:lnTo>
                      <a:pt x="143" y="156"/>
                    </a:lnTo>
                    <a:lnTo>
                      <a:pt x="140" y="156"/>
                    </a:lnTo>
                    <a:lnTo>
                      <a:pt x="136" y="154"/>
                    </a:lnTo>
                    <a:lnTo>
                      <a:pt x="133" y="153"/>
                    </a:lnTo>
                    <a:lnTo>
                      <a:pt x="133" y="150"/>
                    </a:lnTo>
                    <a:lnTo>
                      <a:pt x="126" y="151"/>
                    </a:lnTo>
                    <a:lnTo>
                      <a:pt x="123" y="154"/>
                    </a:lnTo>
                    <a:lnTo>
                      <a:pt x="127" y="158"/>
                    </a:lnTo>
                    <a:lnTo>
                      <a:pt x="126" y="162"/>
                    </a:lnTo>
                    <a:lnTo>
                      <a:pt x="127" y="165"/>
                    </a:lnTo>
                    <a:lnTo>
                      <a:pt x="127" y="167"/>
                    </a:lnTo>
                    <a:lnTo>
                      <a:pt x="121" y="166"/>
                    </a:lnTo>
                    <a:lnTo>
                      <a:pt x="118" y="160"/>
                    </a:lnTo>
                    <a:lnTo>
                      <a:pt x="112" y="160"/>
                    </a:lnTo>
                    <a:lnTo>
                      <a:pt x="111" y="158"/>
                    </a:lnTo>
                    <a:lnTo>
                      <a:pt x="107" y="155"/>
                    </a:lnTo>
                    <a:lnTo>
                      <a:pt x="109" y="154"/>
                    </a:lnTo>
                    <a:lnTo>
                      <a:pt x="112" y="151"/>
                    </a:lnTo>
                    <a:lnTo>
                      <a:pt x="112" y="145"/>
                    </a:lnTo>
                    <a:lnTo>
                      <a:pt x="110" y="142"/>
                    </a:lnTo>
                    <a:lnTo>
                      <a:pt x="112" y="139"/>
                    </a:lnTo>
                    <a:lnTo>
                      <a:pt x="112" y="136"/>
                    </a:lnTo>
                    <a:lnTo>
                      <a:pt x="112" y="130"/>
                    </a:ln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410" name="Freeform 614"/>
              <p:cNvSpPr>
                <a:spLocks/>
              </p:cNvSpPr>
              <p:nvPr userDrawn="1"/>
            </p:nvSpPr>
            <p:spPr bwMode="auto">
              <a:xfrm>
                <a:off x="5295" y="2508"/>
                <a:ext cx="150" cy="167"/>
              </a:xfrm>
              <a:custGeom>
                <a:avLst/>
                <a:gdLst>
                  <a:gd name="T0" fmla="*/ 108 w 150"/>
                  <a:gd name="T1" fmla="*/ 125 h 167"/>
                  <a:gd name="T2" fmla="*/ 97 w 150"/>
                  <a:gd name="T3" fmla="*/ 120 h 167"/>
                  <a:gd name="T4" fmla="*/ 95 w 150"/>
                  <a:gd name="T5" fmla="*/ 109 h 167"/>
                  <a:gd name="T6" fmla="*/ 95 w 150"/>
                  <a:gd name="T7" fmla="*/ 100 h 167"/>
                  <a:gd name="T8" fmla="*/ 81 w 150"/>
                  <a:gd name="T9" fmla="*/ 87 h 167"/>
                  <a:gd name="T10" fmla="*/ 64 w 150"/>
                  <a:gd name="T11" fmla="*/ 81 h 167"/>
                  <a:gd name="T12" fmla="*/ 49 w 150"/>
                  <a:gd name="T13" fmla="*/ 86 h 167"/>
                  <a:gd name="T14" fmla="*/ 34 w 150"/>
                  <a:gd name="T15" fmla="*/ 86 h 167"/>
                  <a:gd name="T16" fmla="*/ 24 w 150"/>
                  <a:gd name="T17" fmla="*/ 93 h 167"/>
                  <a:gd name="T18" fmla="*/ 22 w 150"/>
                  <a:gd name="T19" fmla="*/ 74 h 167"/>
                  <a:gd name="T20" fmla="*/ 22 w 150"/>
                  <a:gd name="T21" fmla="*/ 64 h 167"/>
                  <a:gd name="T22" fmla="*/ 17 w 150"/>
                  <a:gd name="T23" fmla="*/ 58 h 167"/>
                  <a:gd name="T24" fmla="*/ 8 w 150"/>
                  <a:gd name="T25" fmla="*/ 55 h 167"/>
                  <a:gd name="T26" fmla="*/ 6 w 150"/>
                  <a:gd name="T27" fmla="*/ 42 h 167"/>
                  <a:gd name="T28" fmla="*/ 2 w 150"/>
                  <a:gd name="T29" fmla="*/ 35 h 167"/>
                  <a:gd name="T30" fmla="*/ 5 w 150"/>
                  <a:gd name="T31" fmla="*/ 30 h 167"/>
                  <a:gd name="T32" fmla="*/ 13 w 150"/>
                  <a:gd name="T33" fmla="*/ 22 h 167"/>
                  <a:gd name="T34" fmla="*/ 19 w 150"/>
                  <a:gd name="T35" fmla="*/ 21 h 167"/>
                  <a:gd name="T36" fmla="*/ 28 w 150"/>
                  <a:gd name="T37" fmla="*/ 23 h 167"/>
                  <a:gd name="T38" fmla="*/ 26 w 150"/>
                  <a:gd name="T39" fmla="*/ 11 h 167"/>
                  <a:gd name="T40" fmla="*/ 28 w 150"/>
                  <a:gd name="T41" fmla="*/ 0 h 167"/>
                  <a:gd name="T42" fmla="*/ 43 w 150"/>
                  <a:gd name="T43" fmla="*/ 5 h 167"/>
                  <a:gd name="T44" fmla="*/ 50 w 150"/>
                  <a:gd name="T45" fmla="*/ 16 h 167"/>
                  <a:gd name="T46" fmla="*/ 59 w 150"/>
                  <a:gd name="T47" fmla="*/ 31 h 167"/>
                  <a:gd name="T48" fmla="*/ 75 w 150"/>
                  <a:gd name="T49" fmla="*/ 30 h 167"/>
                  <a:gd name="T50" fmla="*/ 88 w 150"/>
                  <a:gd name="T51" fmla="*/ 34 h 167"/>
                  <a:gd name="T52" fmla="*/ 93 w 150"/>
                  <a:gd name="T53" fmla="*/ 42 h 167"/>
                  <a:gd name="T54" fmla="*/ 89 w 150"/>
                  <a:gd name="T55" fmla="*/ 53 h 167"/>
                  <a:gd name="T56" fmla="*/ 78 w 150"/>
                  <a:gd name="T57" fmla="*/ 57 h 167"/>
                  <a:gd name="T58" fmla="*/ 79 w 150"/>
                  <a:gd name="T59" fmla="*/ 64 h 167"/>
                  <a:gd name="T60" fmla="*/ 80 w 150"/>
                  <a:gd name="T61" fmla="*/ 69 h 167"/>
                  <a:gd name="T62" fmla="*/ 94 w 150"/>
                  <a:gd name="T63" fmla="*/ 77 h 167"/>
                  <a:gd name="T64" fmla="*/ 108 w 150"/>
                  <a:gd name="T65" fmla="*/ 85 h 167"/>
                  <a:gd name="T66" fmla="*/ 117 w 150"/>
                  <a:gd name="T67" fmla="*/ 100 h 167"/>
                  <a:gd name="T68" fmla="*/ 126 w 150"/>
                  <a:gd name="T69" fmla="*/ 105 h 167"/>
                  <a:gd name="T70" fmla="*/ 131 w 150"/>
                  <a:gd name="T71" fmla="*/ 114 h 167"/>
                  <a:gd name="T72" fmla="*/ 134 w 150"/>
                  <a:gd name="T73" fmla="*/ 117 h 167"/>
                  <a:gd name="T74" fmla="*/ 142 w 150"/>
                  <a:gd name="T75" fmla="*/ 123 h 167"/>
                  <a:gd name="T76" fmla="*/ 149 w 150"/>
                  <a:gd name="T77" fmla="*/ 123 h 167"/>
                  <a:gd name="T78" fmla="*/ 147 w 150"/>
                  <a:gd name="T79" fmla="*/ 133 h 167"/>
                  <a:gd name="T80" fmla="*/ 144 w 150"/>
                  <a:gd name="T81" fmla="*/ 142 h 167"/>
                  <a:gd name="T82" fmla="*/ 147 w 150"/>
                  <a:gd name="T83" fmla="*/ 154 h 167"/>
                  <a:gd name="T84" fmla="*/ 136 w 150"/>
                  <a:gd name="T85" fmla="*/ 154 h 167"/>
                  <a:gd name="T86" fmla="*/ 126 w 150"/>
                  <a:gd name="T87" fmla="*/ 151 h 167"/>
                  <a:gd name="T88" fmla="*/ 126 w 150"/>
                  <a:gd name="T89" fmla="*/ 162 h 167"/>
                  <a:gd name="T90" fmla="*/ 121 w 150"/>
                  <a:gd name="T91" fmla="*/ 166 h 167"/>
                  <a:gd name="T92" fmla="*/ 111 w 150"/>
                  <a:gd name="T93" fmla="*/ 158 h 167"/>
                  <a:gd name="T94" fmla="*/ 112 w 150"/>
                  <a:gd name="T95" fmla="*/ 151 h 167"/>
                  <a:gd name="T96" fmla="*/ 112 w 150"/>
                  <a:gd name="T97" fmla="*/ 139 h 1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50" h="167">
                    <a:moveTo>
                      <a:pt x="112" y="130"/>
                    </a:moveTo>
                    <a:lnTo>
                      <a:pt x="107" y="127"/>
                    </a:lnTo>
                    <a:lnTo>
                      <a:pt x="108" y="125"/>
                    </a:lnTo>
                    <a:lnTo>
                      <a:pt x="105" y="123"/>
                    </a:lnTo>
                    <a:lnTo>
                      <a:pt x="101" y="123"/>
                    </a:lnTo>
                    <a:lnTo>
                      <a:pt x="97" y="120"/>
                    </a:lnTo>
                    <a:lnTo>
                      <a:pt x="94" y="117"/>
                    </a:lnTo>
                    <a:lnTo>
                      <a:pt x="95" y="115"/>
                    </a:lnTo>
                    <a:lnTo>
                      <a:pt x="95" y="109"/>
                    </a:lnTo>
                    <a:lnTo>
                      <a:pt x="93" y="105"/>
                    </a:lnTo>
                    <a:lnTo>
                      <a:pt x="95" y="103"/>
                    </a:lnTo>
                    <a:lnTo>
                      <a:pt x="95" y="100"/>
                    </a:lnTo>
                    <a:lnTo>
                      <a:pt x="93" y="96"/>
                    </a:lnTo>
                    <a:lnTo>
                      <a:pt x="90" y="93"/>
                    </a:lnTo>
                    <a:lnTo>
                      <a:pt x="81" y="87"/>
                    </a:lnTo>
                    <a:lnTo>
                      <a:pt x="78" y="82"/>
                    </a:lnTo>
                    <a:lnTo>
                      <a:pt x="70" y="80"/>
                    </a:lnTo>
                    <a:lnTo>
                      <a:pt x="64" y="81"/>
                    </a:lnTo>
                    <a:lnTo>
                      <a:pt x="60" y="89"/>
                    </a:lnTo>
                    <a:lnTo>
                      <a:pt x="52" y="90"/>
                    </a:lnTo>
                    <a:lnTo>
                      <a:pt x="49" y="86"/>
                    </a:lnTo>
                    <a:lnTo>
                      <a:pt x="46" y="86"/>
                    </a:lnTo>
                    <a:lnTo>
                      <a:pt x="40" y="83"/>
                    </a:lnTo>
                    <a:lnTo>
                      <a:pt x="34" y="86"/>
                    </a:lnTo>
                    <a:lnTo>
                      <a:pt x="33" y="90"/>
                    </a:lnTo>
                    <a:lnTo>
                      <a:pt x="28" y="91"/>
                    </a:lnTo>
                    <a:lnTo>
                      <a:pt x="24" y="93"/>
                    </a:lnTo>
                    <a:lnTo>
                      <a:pt x="24" y="84"/>
                    </a:lnTo>
                    <a:lnTo>
                      <a:pt x="24" y="78"/>
                    </a:lnTo>
                    <a:lnTo>
                      <a:pt x="22" y="74"/>
                    </a:lnTo>
                    <a:lnTo>
                      <a:pt x="24" y="71"/>
                    </a:lnTo>
                    <a:lnTo>
                      <a:pt x="24" y="68"/>
                    </a:lnTo>
                    <a:lnTo>
                      <a:pt x="22" y="64"/>
                    </a:lnTo>
                    <a:lnTo>
                      <a:pt x="24" y="60"/>
                    </a:lnTo>
                    <a:lnTo>
                      <a:pt x="24" y="58"/>
                    </a:lnTo>
                    <a:lnTo>
                      <a:pt x="17" y="58"/>
                    </a:lnTo>
                    <a:lnTo>
                      <a:pt x="14" y="59"/>
                    </a:lnTo>
                    <a:lnTo>
                      <a:pt x="11" y="58"/>
                    </a:lnTo>
                    <a:lnTo>
                      <a:pt x="8" y="55"/>
                    </a:lnTo>
                    <a:lnTo>
                      <a:pt x="11" y="53"/>
                    </a:lnTo>
                    <a:lnTo>
                      <a:pt x="10" y="46"/>
                    </a:lnTo>
                    <a:lnTo>
                      <a:pt x="6" y="42"/>
                    </a:lnTo>
                    <a:lnTo>
                      <a:pt x="2" y="43"/>
                    </a:lnTo>
                    <a:lnTo>
                      <a:pt x="0" y="39"/>
                    </a:lnTo>
                    <a:lnTo>
                      <a:pt x="2" y="35"/>
                    </a:lnTo>
                    <a:lnTo>
                      <a:pt x="4" y="35"/>
                    </a:lnTo>
                    <a:lnTo>
                      <a:pt x="7" y="32"/>
                    </a:lnTo>
                    <a:lnTo>
                      <a:pt x="5" y="30"/>
                    </a:lnTo>
                    <a:lnTo>
                      <a:pt x="8" y="27"/>
                    </a:lnTo>
                    <a:lnTo>
                      <a:pt x="8" y="23"/>
                    </a:lnTo>
                    <a:lnTo>
                      <a:pt x="13" y="22"/>
                    </a:lnTo>
                    <a:lnTo>
                      <a:pt x="17" y="19"/>
                    </a:lnTo>
                    <a:lnTo>
                      <a:pt x="17" y="19"/>
                    </a:lnTo>
                    <a:lnTo>
                      <a:pt x="19" y="21"/>
                    </a:lnTo>
                    <a:lnTo>
                      <a:pt x="21" y="24"/>
                    </a:lnTo>
                    <a:lnTo>
                      <a:pt x="25" y="22"/>
                    </a:lnTo>
                    <a:lnTo>
                      <a:pt x="28" y="23"/>
                    </a:lnTo>
                    <a:lnTo>
                      <a:pt x="27" y="18"/>
                    </a:lnTo>
                    <a:lnTo>
                      <a:pt x="27" y="15"/>
                    </a:lnTo>
                    <a:lnTo>
                      <a:pt x="26" y="11"/>
                    </a:lnTo>
                    <a:lnTo>
                      <a:pt x="25" y="5"/>
                    </a:lnTo>
                    <a:lnTo>
                      <a:pt x="28" y="3"/>
                    </a:lnTo>
                    <a:lnTo>
                      <a:pt x="28" y="0"/>
                    </a:lnTo>
                    <a:lnTo>
                      <a:pt x="35" y="0"/>
                    </a:lnTo>
                    <a:lnTo>
                      <a:pt x="37" y="3"/>
                    </a:lnTo>
                    <a:lnTo>
                      <a:pt x="43" y="5"/>
                    </a:lnTo>
                    <a:lnTo>
                      <a:pt x="46" y="10"/>
                    </a:lnTo>
                    <a:lnTo>
                      <a:pt x="49" y="13"/>
                    </a:lnTo>
                    <a:lnTo>
                      <a:pt x="50" y="16"/>
                    </a:lnTo>
                    <a:lnTo>
                      <a:pt x="48" y="19"/>
                    </a:lnTo>
                    <a:lnTo>
                      <a:pt x="55" y="25"/>
                    </a:lnTo>
                    <a:lnTo>
                      <a:pt x="59" y="31"/>
                    </a:lnTo>
                    <a:lnTo>
                      <a:pt x="67" y="31"/>
                    </a:lnTo>
                    <a:lnTo>
                      <a:pt x="70" y="33"/>
                    </a:lnTo>
                    <a:lnTo>
                      <a:pt x="75" y="30"/>
                    </a:lnTo>
                    <a:lnTo>
                      <a:pt x="80" y="30"/>
                    </a:lnTo>
                    <a:lnTo>
                      <a:pt x="83" y="34"/>
                    </a:lnTo>
                    <a:lnTo>
                      <a:pt x="88" y="34"/>
                    </a:lnTo>
                    <a:lnTo>
                      <a:pt x="89" y="37"/>
                    </a:lnTo>
                    <a:lnTo>
                      <a:pt x="88" y="41"/>
                    </a:lnTo>
                    <a:lnTo>
                      <a:pt x="93" y="42"/>
                    </a:lnTo>
                    <a:lnTo>
                      <a:pt x="93" y="44"/>
                    </a:lnTo>
                    <a:lnTo>
                      <a:pt x="90" y="45"/>
                    </a:lnTo>
                    <a:lnTo>
                      <a:pt x="89" y="53"/>
                    </a:lnTo>
                    <a:lnTo>
                      <a:pt x="87" y="55"/>
                    </a:lnTo>
                    <a:lnTo>
                      <a:pt x="83" y="55"/>
                    </a:lnTo>
                    <a:lnTo>
                      <a:pt x="78" y="57"/>
                    </a:lnTo>
                    <a:lnTo>
                      <a:pt x="75" y="57"/>
                    </a:lnTo>
                    <a:lnTo>
                      <a:pt x="75" y="59"/>
                    </a:lnTo>
                    <a:lnTo>
                      <a:pt x="79" y="64"/>
                    </a:lnTo>
                    <a:lnTo>
                      <a:pt x="77" y="67"/>
                    </a:lnTo>
                    <a:lnTo>
                      <a:pt x="77" y="69"/>
                    </a:lnTo>
                    <a:lnTo>
                      <a:pt x="80" y="69"/>
                    </a:lnTo>
                    <a:lnTo>
                      <a:pt x="83" y="74"/>
                    </a:lnTo>
                    <a:lnTo>
                      <a:pt x="89" y="74"/>
                    </a:lnTo>
                    <a:lnTo>
                      <a:pt x="94" y="77"/>
                    </a:lnTo>
                    <a:lnTo>
                      <a:pt x="98" y="78"/>
                    </a:lnTo>
                    <a:lnTo>
                      <a:pt x="103" y="83"/>
                    </a:lnTo>
                    <a:lnTo>
                      <a:pt x="108" y="85"/>
                    </a:lnTo>
                    <a:lnTo>
                      <a:pt x="112" y="91"/>
                    </a:lnTo>
                    <a:lnTo>
                      <a:pt x="112" y="93"/>
                    </a:lnTo>
                    <a:lnTo>
                      <a:pt x="117" y="100"/>
                    </a:lnTo>
                    <a:lnTo>
                      <a:pt x="118" y="103"/>
                    </a:lnTo>
                    <a:lnTo>
                      <a:pt x="121" y="105"/>
                    </a:lnTo>
                    <a:lnTo>
                      <a:pt x="126" y="105"/>
                    </a:lnTo>
                    <a:lnTo>
                      <a:pt x="128" y="108"/>
                    </a:lnTo>
                    <a:lnTo>
                      <a:pt x="128" y="111"/>
                    </a:lnTo>
                    <a:lnTo>
                      <a:pt x="131" y="114"/>
                    </a:lnTo>
                    <a:lnTo>
                      <a:pt x="132" y="113"/>
                    </a:lnTo>
                    <a:lnTo>
                      <a:pt x="134" y="114"/>
                    </a:lnTo>
                    <a:lnTo>
                      <a:pt x="134" y="117"/>
                    </a:lnTo>
                    <a:lnTo>
                      <a:pt x="135" y="119"/>
                    </a:lnTo>
                    <a:lnTo>
                      <a:pt x="139" y="119"/>
                    </a:lnTo>
                    <a:lnTo>
                      <a:pt x="142" y="123"/>
                    </a:lnTo>
                    <a:lnTo>
                      <a:pt x="144" y="123"/>
                    </a:lnTo>
                    <a:lnTo>
                      <a:pt x="147" y="122"/>
                    </a:lnTo>
                    <a:lnTo>
                      <a:pt x="149" y="123"/>
                    </a:lnTo>
                    <a:lnTo>
                      <a:pt x="146" y="126"/>
                    </a:lnTo>
                    <a:lnTo>
                      <a:pt x="145" y="131"/>
                    </a:lnTo>
                    <a:lnTo>
                      <a:pt x="147" y="133"/>
                    </a:lnTo>
                    <a:lnTo>
                      <a:pt x="150" y="134"/>
                    </a:lnTo>
                    <a:lnTo>
                      <a:pt x="150" y="138"/>
                    </a:lnTo>
                    <a:lnTo>
                      <a:pt x="144" y="142"/>
                    </a:lnTo>
                    <a:lnTo>
                      <a:pt x="145" y="146"/>
                    </a:lnTo>
                    <a:lnTo>
                      <a:pt x="147" y="148"/>
                    </a:lnTo>
                    <a:lnTo>
                      <a:pt x="147" y="154"/>
                    </a:lnTo>
                    <a:lnTo>
                      <a:pt x="143" y="156"/>
                    </a:lnTo>
                    <a:lnTo>
                      <a:pt x="140" y="156"/>
                    </a:lnTo>
                    <a:lnTo>
                      <a:pt x="136" y="154"/>
                    </a:lnTo>
                    <a:lnTo>
                      <a:pt x="133" y="153"/>
                    </a:lnTo>
                    <a:lnTo>
                      <a:pt x="133" y="150"/>
                    </a:lnTo>
                    <a:lnTo>
                      <a:pt x="126" y="151"/>
                    </a:lnTo>
                    <a:lnTo>
                      <a:pt x="123" y="154"/>
                    </a:lnTo>
                    <a:lnTo>
                      <a:pt x="127" y="158"/>
                    </a:lnTo>
                    <a:lnTo>
                      <a:pt x="126" y="162"/>
                    </a:lnTo>
                    <a:lnTo>
                      <a:pt x="127" y="165"/>
                    </a:lnTo>
                    <a:lnTo>
                      <a:pt x="127" y="167"/>
                    </a:lnTo>
                    <a:lnTo>
                      <a:pt x="121" y="166"/>
                    </a:lnTo>
                    <a:lnTo>
                      <a:pt x="118" y="160"/>
                    </a:lnTo>
                    <a:lnTo>
                      <a:pt x="112" y="160"/>
                    </a:lnTo>
                    <a:lnTo>
                      <a:pt x="111" y="158"/>
                    </a:lnTo>
                    <a:lnTo>
                      <a:pt x="107" y="155"/>
                    </a:lnTo>
                    <a:lnTo>
                      <a:pt x="109" y="154"/>
                    </a:lnTo>
                    <a:lnTo>
                      <a:pt x="112" y="151"/>
                    </a:lnTo>
                    <a:lnTo>
                      <a:pt x="112" y="145"/>
                    </a:lnTo>
                    <a:lnTo>
                      <a:pt x="110" y="142"/>
                    </a:lnTo>
                    <a:lnTo>
                      <a:pt x="112" y="139"/>
                    </a:lnTo>
                    <a:lnTo>
                      <a:pt x="112" y="136"/>
                    </a:lnTo>
                  </a:path>
                </a:pathLst>
              </a:custGeom>
              <a:noFill/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411" name="Freeform 615"/>
              <p:cNvSpPr>
                <a:spLocks/>
              </p:cNvSpPr>
              <p:nvPr userDrawn="1"/>
            </p:nvSpPr>
            <p:spPr bwMode="auto">
              <a:xfrm>
                <a:off x="3573" y="1895"/>
                <a:ext cx="3" cy="1"/>
              </a:xfrm>
              <a:custGeom>
                <a:avLst/>
                <a:gdLst>
                  <a:gd name="T0" fmla="*/ 0 w 3"/>
                  <a:gd name="T1" fmla="*/ 0 h 1"/>
                  <a:gd name="T2" fmla="*/ 3 w 3"/>
                  <a:gd name="T3" fmla="*/ 1 h 1"/>
                  <a:gd name="T4" fmla="*/ 0 w 3"/>
                  <a:gd name="T5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" h="1">
                    <a:moveTo>
                      <a:pt x="0" y="0"/>
                    </a:moveTo>
                    <a:lnTo>
                      <a:pt x="3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412" name="Line 616"/>
              <p:cNvSpPr>
                <a:spLocks noChangeShapeType="1"/>
              </p:cNvSpPr>
              <p:nvPr userDrawn="1"/>
            </p:nvSpPr>
            <p:spPr bwMode="auto">
              <a:xfrm>
                <a:off x="3573" y="1895"/>
                <a:ext cx="3" cy="1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413" name="Freeform 617"/>
              <p:cNvSpPr>
                <a:spLocks noEditPoints="1"/>
              </p:cNvSpPr>
              <p:nvPr userDrawn="1"/>
            </p:nvSpPr>
            <p:spPr bwMode="auto">
              <a:xfrm>
                <a:off x="3515" y="1874"/>
                <a:ext cx="65" cy="58"/>
              </a:xfrm>
              <a:custGeom>
                <a:avLst/>
                <a:gdLst>
                  <a:gd name="T0" fmla="*/ 15 w 65"/>
                  <a:gd name="T1" fmla="*/ 42 h 58"/>
                  <a:gd name="T2" fmla="*/ 12 w 65"/>
                  <a:gd name="T3" fmla="*/ 44 h 58"/>
                  <a:gd name="T4" fmla="*/ 16 w 65"/>
                  <a:gd name="T5" fmla="*/ 46 h 58"/>
                  <a:gd name="T6" fmla="*/ 13 w 65"/>
                  <a:gd name="T7" fmla="*/ 48 h 58"/>
                  <a:gd name="T8" fmla="*/ 6 w 65"/>
                  <a:gd name="T9" fmla="*/ 44 h 58"/>
                  <a:gd name="T10" fmla="*/ 4 w 65"/>
                  <a:gd name="T11" fmla="*/ 47 h 58"/>
                  <a:gd name="T12" fmla="*/ 10 w 65"/>
                  <a:gd name="T13" fmla="*/ 49 h 58"/>
                  <a:gd name="T14" fmla="*/ 14 w 65"/>
                  <a:gd name="T15" fmla="*/ 51 h 58"/>
                  <a:gd name="T16" fmla="*/ 9 w 65"/>
                  <a:gd name="T17" fmla="*/ 50 h 58"/>
                  <a:gd name="T18" fmla="*/ 0 w 65"/>
                  <a:gd name="T19" fmla="*/ 49 h 58"/>
                  <a:gd name="T20" fmla="*/ 2 w 65"/>
                  <a:gd name="T21" fmla="*/ 50 h 58"/>
                  <a:gd name="T22" fmla="*/ 7 w 65"/>
                  <a:gd name="T23" fmla="*/ 52 h 58"/>
                  <a:gd name="T24" fmla="*/ 11 w 65"/>
                  <a:gd name="T25" fmla="*/ 52 h 58"/>
                  <a:gd name="T26" fmla="*/ 15 w 65"/>
                  <a:gd name="T27" fmla="*/ 50 h 58"/>
                  <a:gd name="T28" fmla="*/ 18 w 65"/>
                  <a:gd name="T29" fmla="*/ 48 h 58"/>
                  <a:gd name="T30" fmla="*/ 27 w 65"/>
                  <a:gd name="T31" fmla="*/ 50 h 58"/>
                  <a:gd name="T32" fmla="*/ 32 w 65"/>
                  <a:gd name="T33" fmla="*/ 52 h 58"/>
                  <a:gd name="T34" fmla="*/ 38 w 65"/>
                  <a:gd name="T35" fmla="*/ 55 h 58"/>
                  <a:gd name="T36" fmla="*/ 41 w 65"/>
                  <a:gd name="T37" fmla="*/ 58 h 58"/>
                  <a:gd name="T38" fmla="*/ 41 w 65"/>
                  <a:gd name="T39" fmla="*/ 58 h 58"/>
                  <a:gd name="T40" fmla="*/ 44 w 65"/>
                  <a:gd name="T41" fmla="*/ 48 h 58"/>
                  <a:gd name="T42" fmla="*/ 45 w 65"/>
                  <a:gd name="T43" fmla="*/ 41 h 58"/>
                  <a:gd name="T44" fmla="*/ 53 w 65"/>
                  <a:gd name="T45" fmla="*/ 36 h 58"/>
                  <a:gd name="T46" fmla="*/ 60 w 65"/>
                  <a:gd name="T47" fmla="*/ 36 h 58"/>
                  <a:gd name="T48" fmla="*/ 60 w 65"/>
                  <a:gd name="T49" fmla="*/ 30 h 58"/>
                  <a:gd name="T50" fmla="*/ 61 w 65"/>
                  <a:gd name="T51" fmla="*/ 24 h 58"/>
                  <a:gd name="T52" fmla="*/ 56 w 65"/>
                  <a:gd name="T53" fmla="*/ 22 h 58"/>
                  <a:gd name="T54" fmla="*/ 57 w 65"/>
                  <a:gd name="T55" fmla="*/ 17 h 58"/>
                  <a:gd name="T56" fmla="*/ 62 w 65"/>
                  <a:gd name="T57" fmla="*/ 17 h 58"/>
                  <a:gd name="T58" fmla="*/ 64 w 65"/>
                  <a:gd name="T59" fmla="*/ 10 h 58"/>
                  <a:gd name="T60" fmla="*/ 65 w 65"/>
                  <a:gd name="T61" fmla="*/ 7 h 58"/>
                  <a:gd name="T62" fmla="*/ 62 w 65"/>
                  <a:gd name="T63" fmla="*/ 5 h 58"/>
                  <a:gd name="T64" fmla="*/ 54 w 65"/>
                  <a:gd name="T65" fmla="*/ 0 h 58"/>
                  <a:gd name="T66" fmla="*/ 45 w 65"/>
                  <a:gd name="T67" fmla="*/ 3 h 58"/>
                  <a:gd name="T68" fmla="*/ 40 w 65"/>
                  <a:gd name="T69" fmla="*/ 3 h 58"/>
                  <a:gd name="T70" fmla="*/ 32 w 65"/>
                  <a:gd name="T71" fmla="*/ 8 h 58"/>
                  <a:gd name="T72" fmla="*/ 24 w 65"/>
                  <a:gd name="T73" fmla="*/ 11 h 58"/>
                  <a:gd name="T74" fmla="*/ 20 w 65"/>
                  <a:gd name="T75" fmla="*/ 17 h 58"/>
                  <a:gd name="T76" fmla="*/ 17 w 65"/>
                  <a:gd name="T77" fmla="*/ 23 h 58"/>
                  <a:gd name="T78" fmla="*/ 15 w 65"/>
                  <a:gd name="T79" fmla="*/ 30 h 58"/>
                  <a:gd name="T80" fmla="*/ 11 w 65"/>
                  <a:gd name="T81" fmla="*/ 35 h 58"/>
                  <a:gd name="T82" fmla="*/ 16 w 65"/>
                  <a:gd name="T83" fmla="*/ 41 h 58"/>
                  <a:gd name="T84" fmla="*/ 6 w 65"/>
                  <a:gd name="T85" fmla="*/ 43 h 58"/>
                  <a:gd name="T86" fmla="*/ 11 w 65"/>
                  <a:gd name="T87" fmla="*/ 43 h 58"/>
                  <a:gd name="T88" fmla="*/ 9 w 65"/>
                  <a:gd name="T89" fmla="*/ 43 h 58"/>
                  <a:gd name="T90" fmla="*/ 6 w 65"/>
                  <a:gd name="T91" fmla="*/ 43 h 58"/>
                  <a:gd name="T92" fmla="*/ 8 w 65"/>
                  <a:gd name="T93" fmla="*/ 40 h 58"/>
                  <a:gd name="T94" fmla="*/ 14 w 65"/>
                  <a:gd name="T95" fmla="*/ 41 h 58"/>
                  <a:gd name="T96" fmla="*/ 12 w 65"/>
                  <a:gd name="T97" fmla="*/ 42 h 58"/>
                  <a:gd name="T98" fmla="*/ 9 w 65"/>
                  <a:gd name="T99" fmla="*/ 41 h 58"/>
                  <a:gd name="T100" fmla="*/ 8 w 65"/>
                  <a:gd name="T101" fmla="*/ 4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65" h="58">
                    <a:moveTo>
                      <a:pt x="19" y="42"/>
                    </a:moveTo>
                    <a:lnTo>
                      <a:pt x="15" y="42"/>
                    </a:lnTo>
                    <a:lnTo>
                      <a:pt x="13" y="43"/>
                    </a:lnTo>
                    <a:lnTo>
                      <a:pt x="12" y="44"/>
                    </a:lnTo>
                    <a:lnTo>
                      <a:pt x="14" y="46"/>
                    </a:lnTo>
                    <a:lnTo>
                      <a:pt x="16" y="46"/>
                    </a:lnTo>
                    <a:lnTo>
                      <a:pt x="16" y="48"/>
                    </a:lnTo>
                    <a:lnTo>
                      <a:pt x="13" y="48"/>
                    </a:lnTo>
                    <a:lnTo>
                      <a:pt x="9" y="45"/>
                    </a:lnTo>
                    <a:lnTo>
                      <a:pt x="6" y="44"/>
                    </a:lnTo>
                    <a:lnTo>
                      <a:pt x="3" y="45"/>
                    </a:lnTo>
                    <a:lnTo>
                      <a:pt x="4" y="47"/>
                    </a:lnTo>
                    <a:lnTo>
                      <a:pt x="7" y="47"/>
                    </a:lnTo>
                    <a:lnTo>
                      <a:pt x="10" y="49"/>
                    </a:lnTo>
                    <a:lnTo>
                      <a:pt x="11" y="49"/>
                    </a:lnTo>
                    <a:lnTo>
                      <a:pt x="14" y="51"/>
                    </a:lnTo>
                    <a:lnTo>
                      <a:pt x="11" y="50"/>
                    </a:lnTo>
                    <a:lnTo>
                      <a:pt x="9" y="50"/>
                    </a:lnTo>
                    <a:lnTo>
                      <a:pt x="4" y="49"/>
                    </a:lnTo>
                    <a:lnTo>
                      <a:pt x="0" y="49"/>
                    </a:lnTo>
                    <a:lnTo>
                      <a:pt x="0" y="49"/>
                    </a:lnTo>
                    <a:lnTo>
                      <a:pt x="2" y="50"/>
                    </a:lnTo>
                    <a:lnTo>
                      <a:pt x="4" y="52"/>
                    </a:lnTo>
                    <a:lnTo>
                      <a:pt x="7" y="52"/>
                    </a:lnTo>
                    <a:lnTo>
                      <a:pt x="9" y="54"/>
                    </a:lnTo>
                    <a:lnTo>
                      <a:pt x="11" y="52"/>
                    </a:lnTo>
                    <a:lnTo>
                      <a:pt x="15" y="52"/>
                    </a:lnTo>
                    <a:lnTo>
                      <a:pt x="15" y="50"/>
                    </a:lnTo>
                    <a:lnTo>
                      <a:pt x="17" y="50"/>
                    </a:lnTo>
                    <a:lnTo>
                      <a:pt x="18" y="48"/>
                    </a:lnTo>
                    <a:lnTo>
                      <a:pt x="25" y="48"/>
                    </a:lnTo>
                    <a:lnTo>
                      <a:pt x="27" y="50"/>
                    </a:lnTo>
                    <a:lnTo>
                      <a:pt x="30" y="50"/>
                    </a:lnTo>
                    <a:lnTo>
                      <a:pt x="32" y="52"/>
                    </a:lnTo>
                    <a:lnTo>
                      <a:pt x="37" y="52"/>
                    </a:lnTo>
                    <a:lnTo>
                      <a:pt x="38" y="55"/>
                    </a:lnTo>
                    <a:lnTo>
                      <a:pt x="38" y="58"/>
                    </a:lnTo>
                    <a:lnTo>
                      <a:pt x="41" y="58"/>
                    </a:lnTo>
                    <a:lnTo>
                      <a:pt x="41" y="58"/>
                    </a:lnTo>
                    <a:lnTo>
                      <a:pt x="41" y="58"/>
                    </a:lnTo>
                    <a:lnTo>
                      <a:pt x="43" y="54"/>
                    </a:lnTo>
                    <a:lnTo>
                      <a:pt x="44" y="48"/>
                    </a:lnTo>
                    <a:lnTo>
                      <a:pt x="43" y="43"/>
                    </a:lnTo>
                    <a:lnTo>
                      <a:pt x="45" y="41"/>
                    </a:lnTo>
                    <a:lnTo>
                      <a:pt x="48" y="37"/>
                    </a:lnTo>
                    <a:lnTo>
                      <a:pt x="53" y="36"/>
                    </a:lnTo>
                    <a:lnTo>
                      <a:pt x="58" y="37"/>
                    </a:lnTo>
                    <a:lnTo>
                      <a:pt x="60" y="36"/>
                    </a:lnTo>
                    <a:lnTo>
                      <a:pt x="58" y="32"/>
                    </a:lnTo>
                    <a:lnTo>
                      <a:pt x="60" y="30"/>
                    </a:lnTo>
                    <a:lnTo>
                      <a:pt x="60" y="26"/>
                    </a:lnTo>
                    <a:lnTo>
                      <a:pt x="61" y="24"/>
                    </a:lnTo>
                    <a:lnTo>
                      <a:pt x="60" y="22"/>
                    </a:lnTo>
                    <a:lnTo>
                      <a:pt x="56" y="22"/>
                    </a:lnTo>
                    <a:lnTo>
                      <a:pt x="55" y="21"/>
                    </a:lnTo>
                    <a:lnTo>
                      <a:pt x="57" y="17"/>
                    </a:lnTo>
                    <a:lnTo>
                      <a:pt x="60" y="19"/>
                    </a:lnTo>
                    <a:lnTo>
                      <a:pt x="62" y="17"/>
                    </a:lnTo>
                    <a:lnTo>
                      <a:pt x="62" y="14"/>
                    </a:lnTo>
                    <a:lnTo>
                      <a:pt x="64" y="10"/>
                    </a:lnTo>
                    <a:lnTo>
                      <a:pt x="64" y="8"/>
                    </a:lnTo>
                    <a:lnTo>
                      <a:pt x="65" y="7"/>
                    </a:lnTo>
                    <a:lnTo>
                      <a:pt x="65" y="6"/>
                    </a:lnTo>
                    <a:lnTo>
                      <a:pt x="62" y="5"/>
                    </a:lnTo>
                    <a:lnTo>
                      <a:pt x="60" y="2"/>
                    </a:lnTo>
                    <a:lnTo>
                      <a:pt x="54" y="0"/>
                    </a:lnTo>
                    <a:lnTo>
                      <a:pt x="49" y="1"/>
                    </a:lnTo>
                    <a:lnTo>
                      <a:pt x="45" y="3"/>
                    </a:lnTo>
                    <a:lnTo>
                      <a:pt x="42" y="2"/>
                    </a:lnTo>
                    <a:lnTo>
                      <a:pt x="40" y="3"/>
                    </a:lnTo>
                    <a:lnTo>
                      <a:pt x="37" y="4"/>
                    </a:lnTo>
                    <a:lnTo>
                      <a:pt x="32" y="8"/>
                    </a:lnTo>
                    <a:lnTo>
                      <a:pt x="25" y="12"/>
                    </a:lnTo>
                    <a:lnTo>
                      <a:pt x="24" y="11"/>
                    </a:lnTo>
                    <a:lnTo>
                      <a:pt x="20" y="12"/>
                    </a:lnTo>
                    <a:lnTo>
                      <a:pt x="20" y="17"/>
                    </a:lnTo>
                    <a:lnTo>
                      <a:pt x="17" y="20"/>
                    </a:lnTo>
                    <a:lnTo>
                      <a:pt x="17" y="23"/>
                    </a:lnTo>
                    <a:lnTo>
                      <a:pt x="17" y="27"/>
                    </a:lnTo>
                    <a:lnTo>
                      <a:pt x="15" y="30"/>
                    </a:lnTo>
                    <a:lnTo>
                      <a:pt x="14" y="32"/>
                    </a:lnTo>
                    <a:lnTo>
                      <a:pt x="11" y="35"/>
                    </a:lnTo>
                    <a:lnTo>
                      <a:pt x="11" y="37"/>
                    </a:lnTo>
                    <a:lnTo>
                      <a:pt x="16" y="41"/>
                    </a:lnTo>
                    <a:lnTo>
                      <a:pt x="19" y="42"/>
                    </a:lnTo>
                    <a:close/>
                    <a:moveTo>
                      <a:pt x="6" y="43"/>
                    </a:moveTo>
                    <a:lnTo>
                      <a:pt x="10" y="42"/>
                    </a:lnTo>
                    <a:lnTo>
                      <a:pt x="11" y="43"/>
                    </a:lnTo>
                    <a:lnTo>
                      <a:pt x="9" y="44"/>
                    </a:lnTo>
                    <a:lnTo>
                      <a:pt x="9" y="43"/>
                    </a:lnTo>
                    <a:lnTo>
                      <a:pt x="6" y="43"/>
                    </a:lnTo>
                    <a:lnTo>
                      <a:pt x="6" y="43"/>
                    </a:lnTo>
                    <a:lnTo>
                      <a:pt x="6" y="43"/>
                    </a:lnTo>
                    <a:close/>
                    <a:moveTo>
                      <a:pt x="8" y="40"/>
                    </a:moveTo>
                    <a:lnTo>
                      <a:pt x="11" y="40"/>
                    </a:lnTo>
                    <a:lnTo>
                      <a:pt x="14" y="41"/>
                    </a:lnTo>
                    <a:lnTo>
                      <a:pt x="13" y="42"/>
                    </a:lnTo>
                    <a:lnTo>
                      <a:pt x="12" y="42"/>
                    </a:lnTo>
                    <a:lnTo>
                      <a:pt x="11" y="41"/>
                    </a:lnTo>
                    <a:lnTo>
                      <a:pt x="9" y="41"/>
                    </a:lnTo>
                    <a:lnTo>
                      <a:pt x="8" y="40"/>
                    </a:lnTo>
                    <a:lnTo>
                      <a:pt x="8" y="40"/>
                    </a:ln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414" name="Freeform 618"/>
              <p:cNvSpPr>
                <a:spLocks noEditPoints="1"/>
              </p:cNvSpPr>
              <p:nvPr userDrawn="1"/>
            </p:nvSpPr>
            <p:spPr bwMode="auto">
              <a:xfrm>
                <a:off x="3515" y="1874"/>
                <a:ext cx="65" cy="58"/>
              </a:xfrm>
              <a:custGeom>
                <a:avLst/>
                <a:gdLst>
                  <a:gd name="T0" fmla="*/ 15 w 65"/>
                  <a:gd name="T1" fmla="*/ 42 h 58"/>
                  <a:gd name="T2" fmla="*/ 12 w 65"/>
                  <a:gd name="T3" fmla="*/ 44 h 58"/>
                  <a:gd name="T4" fmla="*/ 16 w 65"/>
                  <a:gd name="T5" fmla="*/ 46 h 58"/>
                  <a:gd name="T6" fmla="*/ 13 w 65"/>
                  <a:gd name="T7" fmla="*/ 48 h 58"/>
                  <a:gd name="T8" fmla="*/ 6 w 65"/>
                  <a:gd name="T9" fmla="*/ 44 h 58"/>
                  <a:gd name="T10" fmla="*/ 4 w 65"/>
                  <a:gd name="T11" fmla="*/ 47 h 58"/>
                  <a:gd name="T12" fmla="*/ 10 w 65"/>
                  <a:gd name="T13" fmla="*/ 49 h 58"/>
                  <a:gd name="T14" fmla="*/ 14 w 65"/>
                  <a:gd name="T15" fmla="*/ 51 h 58"/>
                  <a:gd name="T16" fmla="*/ 9 w 65"/>
                  <a:gd name="T17" fmla="*/ 50 h 58"/>
                  <a:gd name="T18" fmla="*/ 0 w 65"/>
                  <a:gd name="T19" fmla="*/ 49 h 58"/>
                  <a:gd name="T20" fmla="*/ 2 w 65"/>
                  <a:gd name="T21" fmla="*/ 50 h 58"/>
                  <a:gd name="T22" fmla="*/ 7 w 65"/>
                  <a:gd name="T23" fmla="*/ 52 h 58"/>
                  <a:gd name="T24" fmla="*/ 11 w 65"/>
                  <a:gd name="T25" fmla="*/ 52 h 58"/>
                  <a:gd name="T26" fmla="*/ 15 w 65"/>
                  <a:gd name="T27" fmla="*/ 50 h 58"/>
                  <a:gd name="T28" fmla="*/ 18 w 65"/>
                  <a:gd name="T29" fmla="*/ 48 h 58"/>
                  <a:gd name="T30" fmla="*/ 27 w 65"/>
                  <a:gd name="T31" fmla="*/ 50 h 58"/>
                  <a:gd name="T32" fmla="*/ 32 w 65"/>
                  <a:gd name="T33" fmla="*/ 52 h 58"/>
                  <a:gd name="T34" fmla="*/ 38 w 65"/>
                  <a:gd name="T35" fmla="*/ 55 h 58"/>
                  <a:gd name="T36" fmla="*/ 41 w 65"/>
                  <a:gd name="T37" fmla="*/ 58 h 58"/>
                  <a:gd name="T38" fmla="*/ 41 w 65"/>
                  <a:gd name="T39" fmla="*/ 58 h 58"/>
                  <a:gd name="T40" fmla="*/ 44 w 65"/>
                  <a:gd name="T41" fmla="*/ 48 h 58"/>
                  <a:gd name="T42" fmla="*/ 45 w 65"/>
                  <a:gd name="T43" fmla="*/ 41 h 58"/>
                  <a:gd name="T44" fmla="*/ 53 w 65"/>
                  <a:gd name="T45" fmla="*/ 36 h 58"/>
                  <a:gd name="T46" fmla="*/ 60 w 65"/>
                  <a:gd name="T47" fmla="*/ 36 h 58"/>
                  <a:gd name="T48" fmla="*/ 60 w 65"/>
                  <a:gd name="T49" fmla="*/ 30 h 58"/>
                  <a:gd name="T50" fmla="*/ 61 w 65"/>
                  <a:gd name="T51" fmla="*/ 24 h 58"/>
                  <a:gd name="T52" fmla="*/ 56 w 65"/>
                  <a:gd name="T53" fmla="*/ 22 h 58"/>
                  <a:gd name="T54" fmla="*/ 57 w 65"/>
                  <a:gd name="T55" fmla="*/ 17 h 58"/>
                  <a:gd name="T56" fmla="*/ 62 w 65"/>
                  <a:gd name="T57" fmla="*/ 17 h 58"/>
                  <a:gd name="T58" fmla="*/ 64 w 65"/>
                  <a:gd name="T59" fmla="*/ 10 h 58"/>
                  <a:gd name="T60" fmla="*/ 65 w 65"/>
                  <a:gd name="T61" fmla="*/ 7 h 58"/>
                  <a:gd name="T62" fmla="*/ 62 w 65"/>
                  <a:gd name="T63" fmla="*/ 5 h 58"/>
                  <a:gd name="T64" fmla="*/ 54 w 65"/>
                  <a:gd name="T65" fmla="*/ 0 h 58"/>
                  <a:gd name="T66" fmla="*/ 45 w 65"/>
                  <a:gd name="T67" fmla="*/ 3 h 58"/>
                  <a:gd name="T68" fmla="*/ 40 w 65"/>
                  <a:gd name="T69" fmla="*/ 3 h 58"/>
                  <a:gd name="T70" fmla="*/ 32 w 65"/>
                  <a:gd name="T71" fmla="*/ 8 h 58"/>
                  <a:gd name="T72" fmla="*/ 24 w 65"/>
                  <a:gd name="T73" fmla="*/ 11 h 58"/>
                  <a:gd name="T74" fmla="*/ 20 w 65"/>
                  <a:gd name="T75" fmla="*/ 17 h 58"/>
                  <a:gd name="T76" fmla="*/ 17 w 65"/>
                  <a:gd name="T77" fmla="*/ 23 h 58"/>
                  <a:gd name="T78" fmla="*/ 15 w 65"/>
                  <a:gd name="T79" fmla="*/ 30 h 58"/>
                  <a:gd name="T80" fmla="*/ 11 w 65"/>
                  <a:gd name="T81" fmla="*/ 35 h 58"/>
                  <a:gd name="T82" fmla="*/ 16 w 65"/>
                  <a:gd name="T83" fmla="*/ 41 h 58"/>
                  <a:gd name="T84" fmla="*/ 10 w 65"/>
                  <a:gd name="T85" fmla="*/ 42 h 58"/>
                  <a:gd name="T86" fmla="*/ 9 w 65"/>
                  <a:gd name="T87" fmla="*/ 44 h 58"/>
                  <a:gd name="T88" fmla="*/ 6 w 65"/>
                  <a:gd name="T89" fmla="*/ 43 h 58"/>
                  <a:gd name="T90" fmla="*/ 6 w 65"/>
                  <a:gd name="T91" fmla="*/ 43 h 58"/>
                  <a:gd name="T92" fmla="*/ 11 w 65"/>
                  <a:gd name="T93" fmla="*/ 40 h 58"/>
                  <a:gd name="T94" fmla="*/ 13 w 65"/>
                  <a:gd name="T95" fmla="*/ 42 h 58"/>
                  <a:gd name="T96" fmla="*/ 11 w 65"/>
                  <a:gd name="T97" fmla="*/ 41 h 58"/>
                  <a:gd name="T98" fmla="*/ 8 w 65"/>
                  <a:gd name="T99" fmla="*/ 4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65" h="58">
                    <a:moveTo>
                      <a:pt x="19" y="42"/>
                    </a:moveTo>
                    <a:lnTo>
                      <a:pt x="15" y="42"/>
                    </a:lnTo>
                    <a:lnTo>
                      <a:pt x="13" y="43"/>
                    </a:lnTo>
                    <a:lnTo>
                      <a:pt x="12" y="44"/>
                    </a:lnTo>
                    <a:lnTo>
                      <a:pt x="14" y="46"/>
                    </a:lnTo>
                    <a:lnTo>
                      <a:pt x="16" y="46"/>
                    </a:lnTo>
                    <a:lnTo>
                      <a:pt x="16" y="48"/>
                    </a:lnTo>
                    <a:lnTo>
                      <a:pt x="13" y="48"/>
                    </a:lnTo>
                    <a:lnTo>
                      <a:pt x="9" y="45"/>
                    </a:lnTo>
                    <a:lnTo>
                      <a:pt x="6" y="44"/>
                    </a:lnTo>
                    <a:lnTo>
                      <a:pt x="3" y="45"/>
                    </a:lnTo>
                    <a:lnTo>
                      <a:pt x="4" y="47"/>
                    </a:lnTo>
                    <a:lnTo>
                      <a:pt x="7" y="47"/>
                    </a:lnTo>
                    <a:lnTo>
                      <a:pt x="10" y="49"/>
                    </a:lnTo>
                    <a:lnTo>
                      <a:pt x="11" y="49"/>
                    </a:lnTo>
                    <a:lnTo>
                      <a:pt x="14" y="51"/>
                    </a:lnTo>
                    <a:lnTo>
                      <a:pt x="11" y="50"/>
                    </a:lnTo>
                    <a:lnTo>
                      <a:pt x="9" y="50"/>
                    </a:lnTo>
                    <a:lnTo>
                      <a:pt x="4" y="49"/>
                    </a:lnTo>
                    <a:lnTo>
                      <a:pt x="0" y="49"/>
                    </a:lnTo>
                    <a:lnTo>
                      <a:pt x="0" y="49"/>
                    </a:lnTo>
                    <a:lnTo>
                      <a:pt x="2" y="50"/>
                    </a:lnTo>
                    <a:lnTo>
                      <a:pt x="4" y="52"/>
                    </a:lnTo>
                    <a:lnTo>
                      <a:pt x="7" y="52"/>
                    </a:lnTo>
                    <a:lnTo>
                      <a:pt x="9" y="54"/>
                    </a:lnTo>
                    <a:lnTo>
                      <a:pt x="11" y="52"/>
                    </a:lnTo>
                    <a:lnTo>
                      <a:pt x="15" y="52"/>
                    </a:lnTo>
                    <a:lnTo>
                      <a:pt x="15" y="50"/>
                    </a:lnTo>
                    <a:lnTo>
                      <a:pt x="17" y="50"/>
                    </a:lnTo>
                    <a:lnTo>
                      <a:pt x="18" y="48"/>
                    </a:lnTo>
                    <a:lnTo>
                      <a:pt x="25" y="48"/>
                    </a:lnTo>
                    <a:lnTo>
                      <a:pt x="27" y="50"/>
                    </a:lnTo>
                    <a:lnTo>
                      <a:pt x="30" y="50"/>
                    </a:lnTo>
                    <a:lnTo>
                      <a:pt x="32" y="52"/>
                    </a:lnTo>
                    <a:lnTo>
                      <a:pt x="37" y="52"/>
                    </a:lnTo>
                    <a:lnTo>
                      <a:pt x="38" y="55"/>
                    </a:lnTo>
                    <a:lnTo>
                      <a:pt x="38" y="58"/>
                    </a:lnTo>
                    <a:lnTo>
                      <a:pt x="41" y="58"/>
                    </a:lnTo>
                    <a:lnTo>
                      <a:pt x="41" y="58"/>
                    </a:lnTo>
                    <a:lnTo>
                      <a:pt x="41" y="58"/>
                    </a:lnTo>
                    <a:lnTo>
                      <a:pt x="43" y="54"/>
                    </a:lnTo>
                    <a:lnTo>
                      <a:pt x="44" y="48"/>
                    </a:lnTo>
                    <a:lnTo>
                      <a:pt x="43" y="43"/>
                    </a:lnTo>
                    <a:lnTo>
                      <a:pt x="45" y="41"/>
                    </a:lnTo>
                    <a:lnTo>
                      <a:pt x="48" y="37"/>
                    </a:lnTo>
                    <a:lnTo>
                      <a:pt x="53" y="36"/>
                    </a:lnTo>
                    <a:lnTo>
                      <a:pt x="58" y="37"/>
                    </a:lnTo>
                    <a:lnTo>
                      <a:pt x="60" y="36"/>
                    </a:lnTo>
                    <a:lnTo>
                      <a:pt x="58" y="32"/>
                    </a:lnTo>
                    <a:lnTo>
                      <a:pt x="60" y="30"/>
                    </a:lnTo>
                    <a:lnTo>
                      <a:pt x="60" y="26"/>
                    </a:lnTo>
                    <a:lnTo>
                      <a:pt x="61" y="24"/>
                    </a:lnTo>
                    <a:lnTo>
                      <a:pt x="60" y="22"/>
                    </a:lnTo>
                    <a:lnTo>
                      <a:pt x="56" y="22"/>
                    </a:lnTo>
                    <a:lnTo>
                      <a:pt x="55" y="21"/>
                    </a:lnTo>
                    <a:lnTo>
                      <a:pt x="57" y="17"/>
                    </a:lnTo>
                    <a:lnTo>
                      <a:pt x="60" y="19"/>
                    </a:lnTo>
                    <a:lnTo>
                      <a:pt x="62" y="17"/>
                    </a:lnTo>
                    <a:lnTo>
                      <a:pt x="62" y="14"/>
                    </a:lnTo>
                    <a:lnTo>
                      <a:pt x="64" y="10"/>
                    </a:lnTo>
                    <a:lnTo>
                      <a:pt x="64" y="8"/>
                    </a:lnTo>
                    <a:lnTo>
                      <a:pt x="65" y="7"/>
                    </a:lnTo>
                    <a:lnTo>
                      <a:pt x="65" y="6"/>
                    </a:lnTo>
                    <a:lnTo>
                      <a:pt x="62" y="5"/>
                    </a:lnTo>
                    <a:lnTo>
                      <a:pt x="60" y="2"/>
                    </a:lnTo>
                    <a:lnTo>
                      <a:pt x="54" y="0"/>
                    </a:lnTo>
                    <a:lnTo>
                      <a:pt x="49" y="1"/>
                    </a:lnTo>
                    <a:lnTo>
                      <a:pt x="45" y="3"/>
                    </a:lnTo>
                    <a:lnTo>
                      <a:pt x="42" y="2"/>
                    </a:lnTo>
                    <a:lnTo>
                      <a:pt x="40" y="3"/>
                    </a:lnTo>
                    <a:lnTo>
                      <a:pt x="37" y="4"/>
                    </a:lnTo>
                    <a:lnTo>
                      <a:pt x="32" y="8"/>
                    </a:lnTo>
                    <a:lnTo>
                      <a:pt x="25" y="12"/>
                    </a:lnTo>
                    <a:lnTo>
                      <a:pt x="24" y="11"/>
                    </a:lnTo>
                    <a:lnTo>
                      <a:pt x="20" y="12"/>
                    </a:lnTo>
                    <a:lnTo>
                      <a:pt x="20" y="17"/>
                    </a:lnTo>
                    <a:lnTo>
                      <a:pt x="17" y="20"/>
                    </a:lnTo>
                    <a:lnTo>
                      <a:pt x="17" y="23"/>
                    </a:lnTo>
                    <a:lnTo>
                      <a:pt x="17" y="27"/>
                    </a:lnTo>
                    <a:lnTo>
                      <a:pt x="15" y="30"/>
                    </a:lnTo>
                    <a:lnTo>
                      <a:pt x="14" y="32"/>
                    </a:lnTo>
                    <a:lnTo>
                      <a:pt x="11" y="35"/>
                    </a:lnTo>
                    <a:lnTo>
                      <a:pt x="11" y="37"/>
                    </a:lnTo>
                    <a:lnTo>
                      <a:pt x="16" y="41"/>
                    </a:lnTo>
                    <a:moveTo>
                      <a:pt x="6" y="43"/>
                    </a:moveTo>
                    <a:lnTo>
                      <a:pt x="10" y="42"/>
                    </a:lnTo>
                    <a:lnTo>
                      <a:pt x="11" y="43"/>
                    </a:lnTo>
                    <a:lnTo>
                      <a:pt x="9" y="44"/>
                    </a:lnTo>
                    <a:lnTo>
                      <a:pt x="9" y="43"/>
                    </a:lnTo>
                    <a:lnTo>
                      <a:pt x="6" y="43"/>
                    </a:lnTo>
                    <a:lnTo>
                      <a:pt x="6" y="43"/>
                    </a:lnTo>
                    <a:lnTo>
                      <a:pt x="6" y="43"/>
                    </a:lnTo>
                    <a:moveTo>
                      <a:pt x="8" y="40"/>
                    </a:moveTo>
                    <a:lnTo>
                      <a:pt x="11" y="40"/>
                    </a:lnTo>
                    <a:lnTo>
                      <a:pt x="14" y="41"/>
                    </a:lnTo>
                    <a:lnTo>
                      <a:pt x="13" y="42"/>
                    </a:lnTo>
                    <a:lnTo>
                      <a:pt x="12" y="42"/>
                    </a:lnTo>
                    <a:lnTo>
                      <a:pt x="11" y="41"/>
                    </a:lnTo>
                    <a:lnTo>
                      <a:pt x="9" y="41"/>
                    </a:lnTo>
                    <a:lnTo>
                      <a:pt x="8" y="40"/>
                    </a:lnTo>
                    <a:lnTo>
                      <a:pt x="8" y="40"/>
                    </a:lnTo>
                  </a:path>
                </a:pathLst>
              </a:custGeom>
              <a:noFill/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415" name="Freeform 619"/>
              <p:cNvSpPr>
                <a:spLocks/>
              </p:cNvSpPr>
              <p:nvPr userDrawn="1"/>
            </p:nvSpPr>
            <p:spPr bwMode="auto">
              <a:xfrm>
                <a:off x="4485" y="3012"/>
                <a:ext cx="6" cy="5"/>
              </a:xfrm>
              <a:custGeom>
                <a:avLst/>
                <a:gdLst>
                  <a:gd name="T0" fmla="*/ 2 w 6"/>
                  <a:gd name="T1" fmla="*/ 5 h 5"/>
                  <a:gd name="T2" fmla="*/ 6 w 6"/>
                  <a:gd name="T3" fmla="*/ 4 h 5"/>
                  <a:gd name="T4" fmla="*/ 5 w 6"/>
                  <a:gd name="T5" fmla="*/ 2 h 5"/>
                  <a:gd name="T6" fmla="*/ 2 w 6"/>
                  <a:gd name="T7" fmla="*/ 0 h 5"/>
                  <a:gd name="T8" fmla="*/ 0 w 6"/>
                  <a:gd name="T9" fmla="*/ 3 h 5"/>
                  <a:gd name="T10" fmla="*/ 2 w 6"/>
                  <a:gd name="T11" fmla="*/ 5 h 5"/>
                  <a:gd name="T12" fmla="*/ 2 w 6"/>
                  <a:gd name="T13" fmla="*/ 5 h 5"/>
                  <a:gd name="T14" fmla="*/ 2 w 6"/>
                  <a:gd name="T15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" h="5">
                    <a:moveTo>
                      <a:pt x="2" y="5"/>
                    </a:moveTo>
                    <a:lnTo>
                      <a:pt x="6" y="4"/>
                    </a:lnTo>
                    <a:lnTo>
                      <a:pt x="5" y="2"/>
                    </a:lnTo>
                    <a:lnTo>
                      <a:pt x="2" y="0"/>
                    </a:lnTo>
                    <a:lnTo>
                      <a:pt x="0" y="3"/>
                    </a:lnTo>
                    <a:lnTo>
                      <a:pt x="2" y="5"/>
                    </a:lnTo>
                    <a:lnTo>
                      <a:pt x="2" y="5"/>
                    </a:lnTo>
                    <a:lnTo>
                      <a:pt x="2" y="5"/>
                    </a:ln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416" name="Freeform 620"/>
              <p:cNvSpPr>
                <a:spLocks/>
              </p:cNvSpPr>
              <p:nvPr userDrawn="1"/>
            </p:nvSpPr>
            <p:spPr bwMode="auto">
              <a:xfrm>
                <a:off x="2002" y="2981"/>
                <a:ext cx="6" cy="9"/>
              </a:xfrm>
              <a:custGeom>
                <a:avLst/>
                <a:gdLst>
                  <a:gd name="T0" fmla="*/ 1 w 6"/>
                  <a:gd name="T1" fmla="*/ 7 h 9"/>
                  <a:gd name="T2" fmla="*/ 0 w 6"/>
                  <a:gd name="T3" fmla="*/ 6 h 9"/>
                  <a:gd name="T4" fmla="*/ 3 w 6"/>
                  <a:gd name="T5" fmla="*/ 3 h 9"/>
                  <a:gd name="T6" fmla="*/ 6 w 6"/>
                  <a:gd name="T7" fmla="*/ 0 h 9"/>
                  <a:gd name="T8" fmla="*/ 6 w 6"/>
                  <a:gd name="T9" fmla="*/ 1 h 9"/>
                  <a:gd name="T10" fmla="*/ 5 w 6"/>
                  <a:gd name="T11" fmla="*/ 3 h 9"/>
                  <a:gd name="T12" fmla="*/ 6 w 6"/>
                  <a:gd name="T13" fmla="*/ 5 h 9"/>
                  <a:gd name="T14" fmla="*/ 4 w 6"/>
                  <a:gd name="T15" fmla="*/ 8 h 9"/>
                  <a:gd name="T16" fmla="*/ 2 w 6"/>
                  <a:gd name="T17" fmla="*/ 9 h 9"/>
                  <a:gd name="T18" fmla="*/ 1 w 6"/>
                  <a:gd name="T19" fmla="*/ 7 h 9"/>
                  <a:gd name="T20" fmla="*/ 1 w 6"/>
                  <a:gd name="T21" fmla="*/ 7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" h="9">
                    <a:moveTo>
                      <a:pt x="1" y="7"/>
                    </a:moveTo>
                    <a:lnTo>
                      <a:pt x="0" y="6"/>
                    </a:lnTo>
                    <a:lnTo>
                      <a:pt x="3" y="3"/>
                    </a:lnTo>
                    <a:lnTo>
                      <a:pt x="6" y="0"/>
                    </a:lnTo>
                    <a:lnTo>
                      <a:pt x="6" y="1"/>
                    </a:lnTo>
                    <a:lnTo>
                      <a:pt x="5" y="3"/>
                    </a:lnTo>
                    <a:lnTo>
                      <a:pt x="6" y="5"/>
                    </a:lnTo>
                    <a:lnTo>
                      <a:pt x="4" y="8"/>
                    </a:lnTo>
                    <a:lnTo>
                      <a:pt x="2" y="9"/>
                    </a:lnTo>
                    <a:lnTo>
                      <a:pt x="1" y="7"/>
                    </a:lnTo>
                    <a:lnTo>
                      <a:pt x="1" y="7"/>
                    </a:lnTo>
                    <a:close/>
                  </a:path>
                </a:pathLst>
              </a:custGeom>
              <a:solidFill>
                <a:srgbClr val="89C765"/>
              </a:solidFill>
              <a:ln w="15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417" name="Freeform 621"/>
              <p:cNvSpPr>
                <a:spLocks noEditPoints="1"/>
              </p:cNvSpPr>
              <p:nvPr userDrawn="1"/>
            </p:nvSpPr>
            <p:spPr bwMode="auto">
              <a:xfrm>
                <a:off x="4104" y="2362"/>
                <a:ext cx="36" cy="7"/>
              </a:xfrm>
              <a:custGeom>
                <a:avLst/>
                <a:gdLst>
                  <a:gd name="T0" fmla="*/ 0 w 38"/>
                  <a:gd name="T1" fmla="*/ 5 h 7"/>
                  <a:gd name="T2" fmla="*/ 1 w 38"/>
                  <a:gd name="T3" fmla="*/ 6 h 7"/>
                  <a:gd name="T4" fmla="*/ 2 w 38"/>
                  <a:gd name="T5" fmla="*/ 6 h 7"/>
                  <a:gd name="T6" fmla="*/ 2 w 38"/>
                  <a:gd name="T7" fmla="*/ 0 h 7"/>
                  <a:gd name="T8" fmla="*/ 3 w 38"/>
                  <a:gd name="T9" fmla="*/ 5 h 7"/>
                  <a:gd name="T10" fmla="*/ 2 w 38"/>
                  <a:gd name="T11" fmla="*/ 7 h 7"/>
                  <a:gd name="T12" fmla="*/ 0 w 38"/>
                  <a:gd name="T13" fmla="*/ 6 h 7"/>
                  <a:gd name="T14" fmla="*/ 5 w 38"/>
                  <a:gd name="T15" fmla="*/ 4 h 7"/>
                  <a:gd name="T16" fmla="*/ 8 w 38"/>
                  <a:gd name="T17" fmla="*/ 0 h 7"/>
                  <a:gd name="T18" fmla="*/ 11 w 38"/>
                  <a:gd name="T19" fmla="*/ 2 h 7"/>
                  <a:gd name="T20" fmla="*/ 11 w 38"/>
                  <a:gd name="T21" fmla="*/ 5 h 7"/>
                  <a:gd name="T22" fmla="*/ 8 w 38"/>
                  <a:gd name="T23" fmla="*/ 7 h 7"/>
                  <a:gd name="T24" fmla="*/ 5 w 38"/>
                  <a:gd name="T25" fmla="*/ 5 h 7"/>
                  <a:gd name="T26" fmla="*/ 5 w 38"/>
                  <a:gd name="T27" fmla="*/ 4 h 7"/>
                  <a:gd name="T28" fmla="*/ 8 w 38"/>
                  <a:gd name="T29" fmla="*/ 6 h 7"/>
                  <a:gd name="T30" fmla="*/ 10 w 38"/>
                  <a:gd name="T31" fmla="*/ 3 h 7"/>
                  <a:gd name="T32" fmla="*/ 9 w 38"/>
                  <a:gd name="T33" fmla="*/ 1 h 7"/>
                  <a:gd name="T34" fmla="*/ 6 w 38"/>
                  <a:gd name="T35" fmla="*/ 1 h 7"/>
                  <a:gd name="T36" fmla="*/ 12 w 38"/>
                  <a:gd name="T37" fmla="*/ 7 h 7"/>
                  <a:gd name="T38" fmla="*/ 15 w 38"/>
                  <a:gd name="T39" fmla="*/ 0 h 7"/>
                  <a:gd name="T40" fmla="*/ 17 w 38"/>
                  <a:gd name="T41" fmla="*/ 1 h 7"/>
                  <a:gd name="T42" fmla="*/ 17 w 38"/>
                  <a:gd name="T43" fmla="*/ 3 h 7"/>
                  <a:gd name="T44" fmla="*/ 16 w 38"/>
                  <a:gd name="T45" fmla="*/ 4 h 7"/>
                  <a:gd name="T46" fmla="*/ 18 w 38"/>
                  <a:gd name="T47" fmla="*/ 7 h 7"/>
                  <a:gd name="T48" fmla="*/ 16 w 38"/>
                  <a:gd name="T49" fmla="*/ 5 h 7"/>
                  <a:gd name="T50" fmla="*/ 15 w 38"/>
                  <a:gd name="T51" fmla="*/ 4 h 7"/>
                  <a:gd name="T52" fmla="*/ 14 w 38"/>
                  <a:gd name="T53" fmla="*/ 4 h 7"/>
                  <a:gd name="T54" fmla="*/ 13 w 38"/>
                  <a:gd name="T55" fmla="*/ 7 h 7"/>
                  <a:gd name="T56" fmla="*/ 13 w 38"/>
                  <a:gd name="T57" fmla="*/ 3 h 7"/>
                  <a:gd name="T58" fmla="*/ 16 w 38"/>
                  <a:gd name="T59" fmla="*/ 3 h 7"/>
                  <a:gd name="T60" fmla="*/ 17 w 38"/>
                  <a:gd name="T61" fmla="*/ 2 h 7"/>
                  <a:gd name="T62" fmla="*/ 15 w 38"/>
                  <a:gd name="T63" fmla="*/ 1 h 7"/>
                  <a:gd name="T64" fmla="*/ 13 w 38"/>
                  <a:gd name="T65" fmla="*/ 3 h 7"/>
                  <a:gd name="T66" fmla="*/ 19 w 38"/>
                  <a:gd name="T67" fmla="*/ 0 h 7"/>
                  <a:gd name="T68" fmla="*/ 23 w 38"/>
                  <a:gd name="T69" fmla="*/ 0 h 7"/>
                  <a:gd name="T70" fmla="*/ 25 w 38"/>
                  <a:gd name="T71" fmla="*/ 2 h 7"/>
                  <a:gd name="T72" fmla="*/ 25 w 38"/>
                  <a:gd name="T73" fmla="*/ 5 h 7"/>
                  <a:gd name="T74" fmla="*/ 24 w 38"/>
                  <a:gd name="T75" fmla="*/ 6 h 7"/>
                  <a:gd name="T76" fmla="*/ 22 w 38"/>
                  <a:gd name="T77" fmla="*/ 7 h 7"/>
                  <a:gd name="T78" fmla="*/ 20 w 38"/>
                  <a:gd name="T79" fmla="*/ 6 h 7"/>
                  <a:gd name="T80" fmla="*/ 23 w 38"/>
                  <a:gd name="T81" fmla="*/ 6 h 7"/>
                  <a:gd name="T82" fmla="*/ 24 w 38"/>
                  <a:gd name="T83" fmla="*/ 5 h 7"/>
                  <a:gd name="T84" fmla="*/ 24 w 38"/>
                  <a:gd name="T85" fmla="*/ 2 h 7"/>
                  <a:gd name="T86" fmla="*/ 21 w 38"/>
                  <a:gd name="T87" fmla="*/ 1 h 7"/>
                  <a:gd name="T88" fmla="*/ 20 w 38"/>
                  <a:gd name="T89" fmla="*/ 6 h 7"/>
                  <a:gd name="T90" fmla="*/ 28 w 38"/>
                  <a:gd name="T91" fmla="*/ 0 h 7"/>
                  <a:gd name="T92" fmla="*/ 32 w 38"/>
                  <a:gd name="T93" fmla="*/ 7 h 7"/>
                  <a:gd name="T94" fmla="*/ 30 w 38"/>
                  <a:gd name="T95" fmla="*/ 5 h 7"/>
                  <a:gd name="T96" fmla="*/ 26 w 38"/>
                  <a:gd name="T97" fmla="*/ 7 h 7"/>
                  <a:gd name="T98" fmla="*/ 27 w 38"/>
                  <a:gd name="T99" fmla="*/ 4 h 7"/>
                  <a:gd name="T100" fmla="*/ 29 w 38"/>
                  <a:gd name="T101" fmla="*/ 2 h 7"/>
                  <a:gd name="T102" fmla="*/ 28 w 38"/>
                  <a:gd name="T103" fmla="*/ 2 h 7"/>
                  <a:gd name="T104" fmla="*/ 32 w 38"/>
                  <a:gd name="T105" fmla="*/ 7 h 7"/>
                  <a:gd name="T106" fmla="*/ 33 w 38"/>
                  <a:gd name="T107" fmla="*/ 0 h 7"/>
                  <a:gd name="T108" fmla="*/ 37 w 38"/>
                  <a:gd name="T109" fmla="*/ 0 h 7"/>
                  <a:gd name="T110" fmla="*/ 38 w 38"/>
                  <a:gd name="T111" fmla="*/ 7 h 7"/>
                  <a:gd name="T112" fmla="*/ 33 w 38"/>
                  <a:gd name="T113" fmla="*/ 2 h 7"/>
                  <a:gd name="T114" fmla="*/ 32 w 38"/>
                  <a:gd name="T115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38" h="7">
                    <a:moveTo>
                      <a:pt x="0" y="5"/>
                    </a:moveTo>
                    <a:cubicBezTo>
                      <a:pt x="0" y="5"/>
                      <a:pt x="0" y="5"/>
                      <a:pt x="0" y="5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2" y="6"/>
                      <a:pt x="2" y="6"/>
                      <a:pt x="2" y="6"/>
                    </a:cubicBezTo>
                    <a:cubicBezTo>
                      <a:pt x="2" y="6"/>
                      <a:pt x="2" y="6"/>
                      <a:pt x="2" y="6"/>
                    </a:cubicBezTo>
                    <a:cubicBezTo>
                      <a:pt x="2" y="5"/>
                      <a:pt x="2" y="5"/>
                      <a:pt x="2" y="5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3" y="6"/>
                      <a:pt x="3" y="6"/>
                      <a:pt x="2" y="7"/>
                    </a:cubicBezTo>
                    <a:cubicBezTo>
                      <a:pt x="2" y="7"/>
                      <a:pt x="2" y="7"/>
                      <a:pt x="1" y="7"/>
                    </a:cubicBezTo>
                    <a:cubicBezTo>
                      <a:pt x="1" y="7"/>
                      <a:pt x="0" y="7"/>
                      <a:pt x="0" y="6"/>
                    </a:cubicBezTo>
                    <a:cubicBezTo>
                      <a:pt x="0" y="6"/>
                      <a:pt x="0" y="6"/>
                      <a:pt x="0" y="5"/>
                    </a:cubicBezTo>
                    <a:close/>
                    <a:moveTo>
                      <a:pt x="5" y="4"/>
                    </a:moveTo>
                    <a:cubicBezTo>
                      <a:pt x="5" y="2"/>
                      <a:pt x="5" y="2"/>
                      <a:pt x="5" y="1"/>
                    </a:cubicBezTo>
                    <a:cubicBezTo>
                      <a:pt x="6" y="0"/>
                      <a:pt x="7" y="0"/>
                      <a:pt x="8" y="0"/>
                    </a:cubicBezTo>
                    <a:cubicBezTo>
                      <a:pt x="8" y="0"/>
                      <a:pt x="9" y="0"/>
                      <a:pt x="10" y="0"/>
                    </a:cubicBezTo>
                    <a:cubicBezTo>
                      <a:pt x="10" y="1"/>
                      <a:pt x="10" y="1"/>
                      <a:pt x="11" y="2"/>
                    </a:cubicBezTo>
                    <a:cubicBezTo>
                      <a:pt x="11" y="3"/>
                      <a:pt x="11" y="3"/>
                      <a:pt x="11" y="3"/>
                    </a:cubicBezTo>
                    <a:cubicBezTo>
                      <a:pt x="11" y="4"/>
                      <a:pt x="11" y="5"/>
                      <a:pt x="11" y="5"/>
                    </a:cubicBezTo>
                    <a:cubicBezTo>
                      <a:pt x="10" y="6"/>
                      <a:pt x="10" y="6"/>
                      <a:pt x="9" y="6"/>
                    </a:cubicBezTo>
                    <a:cubicBezTo>
                      <a:pt x="9" y="7"/>
                      <a:pt x="8" y="7"/>
                      <a:pt x="8" y="7"/>
                    </a:cubicBezTo>
                    <a:cubicBezTo>
                      <a:pt x="7" y="7"/>
                      <a:pt x="7" y="7"/>
                      <a:pt x="6" y="6"/>
                    </a:cubicBezTo>
                    <a:cubicBezTo>
                      <a:pt x="6" y="6"/>
                      <a:pt x="5" y="6"/>
                      <a:pt x="5" y="5"/>
                    </a:cubicBezTo>
                    <a:cubicBezTo>
                      <a:pt x="5" y="4"/>
                      <a:pt x="5" y="4"/>
                      <a:pt x="5" y="4"/>
                    </a:cubicBezTo>
                    <a:close/>
                    <a:moveTo>
                      <a:pt x="5" y="4"/>
                    </a:moveTo>
                    <a:cubicBezTo>
                      <a:pt x="6" y="5"/>
                      <a:pt x="6" y="5"/>
                      <a:pt x="6" y="5"/>
                    </a:cubicBezTo>
                    <a:cubicBezTo>
                      <a:pt x="7" y="6"/>
                      <a:pt x="7" y="6"/>
                      <a:pt x="8" y="6"/>
                    </a:cubicBezTo>
                    <a:cubicBezTo>
                      <a:pt x="8" y="6"/>
                      <a:pt x="9" y="6"/>
                      <a:pt x="9" y="5"/>
                    </a:cubicBezTo>
                    <a:cubicBezTo>
                      <a:pt x="10" y="5"/>
                      <a:pt x="10" y="4"/>
                      <a:pt x="10" y="3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9" y="1"/>
                      <a:pt x="9" y="1"/>
                      <a:pt x="9" y="1"/>
                    </a:cubicBezTo>
                    <a:cubicBezTo>
                      <a:pt x="8" y="1"/>
                      <a:pt x="8" y="1"/>
                      <a:pt x="8" y="1"/>
                    </a:cubicBezTo>
                    <a:cubicBezTo>
                      <a:pt x="7" y="1"/>
                      <a:pt x="7" y="1"/>
                      <a:pt x="6" y="1"/>
                    </a:cubicBezTo>
                    <a:cubicBezTo>
                      <a:pt x="6" y="2"/>
                      <a:pt x="5" y="3"/>
                      <a:pt x="5" y="4"/>
                    </a:cubicBezTo>
                    <a:close/>
                    <a:moveTo>
                      <a:pt x="12" y="7"/>
                    </a:moveTo>
                    <a:cubicBezTo>
                      <a:pt x="12" y="0"/>
                      <a:pt x="12" y="0"/>
                      <a:pt x="12" y="0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16" y="0"/>
                      <a:pt x="16" y="0"/>
                      <a:pt x="17" y="0"/>
                    </a:cubicBezTo>
                    <a:cubicBezTo>
                      <a:pt x="17" y="1"/>
                      <a:pt x="17" y="1"/>
                      <a:pt x="17" y="1"/>
                    </a:cubicBezTo>
                    <a:cubicBezTo>
                      <a:pt x="18" y="1"/>
                      <a:pt x="18" y="2"/>
                      <a:pt x="18" y="2"/>
                    </a:cubicBezTo>
                    <a:cubicBezTo>
                      <a:pt x="18" y="2"/>
                      <a:pt x="18" y="3"/>
                      <a:pt x="17" y="3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7" y="4"/>
                      <a:pt x="17" y="5"/>
                      <a:pt x="17" y="5"/>
                    </a:cubicBezTo>
                    <a:cubicBezTo>
                      <a:pt x="18" y="7"/>
                      <a:pt x="18" y="7"/>
                      <a:pt x="18" y="7"/>
                    </a:cubicBezTo>
                    <a:cubicBezTo>
                      <a:pt x="17" y="7"/>
                      <a:pt x="17" y="7"/>
                      <a:pt x="17" y="7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6" y="5"/>
                      <a:pt x="16" y="5"/>
                      <a:pt x="16" y="4"/>
                    </a:cubicBezTo>
                    <a:cubicBezTo>
                      <a:pt x="15" y="4"/>
                      <a:pt x="15" y="4"/>
                      <a:pt x="15" y="4"/>
                    </a:cubicBezTo>
                    <a:cubicBezTo>
                      <a:pt x="15" y="4"/>
                      <a:pt x="15" y="4"/>
                      <a:pt x="15" y="4"/>
                    </a:cubicBezTo>
                    <a:cubicBezTo>
                      <a:pt x="14" y="4"/>
                      <a:pt x="14" y="4"/>
                      <a:pt x="14" y="4"/>
                    </a:cubicBezTo>
                    <a:cubicBezTo>
                      <a:pt x="13" y="4"/>
                      <a:pt x="13" y="4"/>
                      <a:pt x="13" y="4"/>
                    </a:cubicBezTo>
                    <a:cubicBezTo>
                      <a:pt x="13" y="7"/>
                      <a:pt x="13" y="7"/>
                      <a:pt x="13" y="7"/>
                    </a:cubicBezTo>
                    <a:cubicBezTo>
                      <a:pt x="12" y="7"/>
                      <a:pt x="12" y="7"/>
                      <a:pt x="12" y="7"/>
                    </a:cubicBezTo>
                    <a:close/>
                    <a:moveTo>
                      <a:pt x="13" y="3"/>
                    </a:moveTo>
                    <a:cubicBezTo>
                      <a:pt x="15" y="3"/>
                      <a:pt x="15" y="3"/>
                      <a:pt x="15" y="3"/>
                    </a:cubicBezTo>
                    <a:cubicBezTo>
                      <a:pt x="16" y="3"/>
                      <a:pt x="16" y="3"/>
                      <a:pt x="16" y="3"/>
                    </a:cubicBezTo>
                    <a:cubicBezTo>
                      <a:pt x="16" y="3"/>
                      <a:pt x="16" y="3"/>
                      <a:pt x="17" y="3"/>
                    </a:cubicBezTo>
                    <a:cubicBezTo>
                      <a:pt x="17" y="2"/>
                      <a:pt x="17" y="2"/>
                      <a:pt x="17" y="2"/>
                    </a:cubicBezTo>
                    <a:cubicBezTo>
                      <a:pt x="17" y="2"/>
                      <a:pt x="17" y="1"/>
                      <a:pt x="16" y="1"/>
                    </a:cubicBezTo>
                    <a:cubicBezTo>
                      <a:pt x="16" y="1"/>
                      <a:pt x="16" y="1"/>
                      <a:pt x="15" y="1"/>
                    </a:cubicBezTo>
                    <a:cubicBezTo>
                      <a:pt x="13" y="1"/>
                      <a:pt x="13" y="1"/>
                      <a:pt x="13" y="1"/>
                    </a:cubicBezTo>
                    <a:cubicBezTo>
                      <a:pt x="13" y="3"/>
                      <a:pt x="13" y="3"/>
                      <a:pt x="13" y="3"/>
                    </a:cubicBezTo>
                    <a:close/>
                    <a:moveTo>
                      <a:pt x="19" y="7"/>
                    </a:moveTo>
                    <a:cubicBezTo>
                      <a:pt x="19" y="0"/>
                      <a:pt x="19" y="0"/>
                      <a:pt x="19" y="0"/>
                    </a:cubicBezTo>
                    <a:cubicBezTo>
                      <a:pt x="21" y="0"/>
                      <a:pt x="21" y="0"/>
                      <a:pt x="21" y="0"/>
                    </a:cubicBezTo>
                    <a:cubicBezTo>
                      <a:pt x="22" y="0"/>
                      <a:pt x="22" y="0"/>
                      <a:pt x="23" y="0"/>
                    </a:cubicBezTo>
                    <a:cubicBezTo>
                      <a:pt x="23" y="0"/>
                      <a:pt x="23" y="0"/>
                      <a:pt x="24" y="1"/>
                    </a:cubicBezTo>
                    <a:cubicBezTo>
                      <a:pt x="24" y="1"/>
                      <a:pt x="24" y="1"/>
                      <a:pt x="25" y="2"/>
                    </a:cubicBezTo>
                    <a:cubicBezTo>
                      <a:pt x="25" y="3"/>
                      <a:pt x="25" y="3"/>
                      <a:pt x="25" y="3"/>
                    </a:cubicBezTo>
                    <a:cubicBezTo>
                      <a:pt x="25" y="4"/>
                      <a:pt x="25" y="4"/>
                      <a:pt x="25" y="5"/>
                    </a:cubicBezTo>
                    <a:cubicBezTo>
                      <a:pt x="24" y="5"/>
                      <a:pt x="24" y="5"/>
                      <a:pt x="24" y="6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23" y="6"/>
                      <a:pt x="23" y="7"/>
                      <a:pt x="23" y="7"/>
                    </a:cubicBezTo>
                    <a:cubicBezTo>
                      <a:pt x="22" y="7"/>
                      <a:pt x="22" y="7"/>
                      <a:pt x="22" y="7"/>
                    </a:cubicBezTo>
                    <a:cubicBezTo>
                      <a:pt x="19" y="7"/>
                      <a:pt x="19" y="7"/>
                      <a:pt x="19" y="7"/>
                    </a:cubicBezTo>
                    <a:close/>
                    <a:moveTo>
                      <a:pt x="20" y="6"/>
                    </a:moveTo>
                    <a:cubicBezTo>
                      <a:pt x="21" y="6"/>
                      <a:pt x="21" y="6"/>
                      <a:pt x="21" y="6"/>
                    </a:cubicBezTo>
                    <a:cubicBezTo>
                      <a:pt x="22" y="6"/>
                      <a:pt x="22" y="6"/>
                      <a:pt x="23" y="6"/>
                    </a:cubicBezTo>
                    <a:cubicBezTo>
                      <a:pt x="23" y="6"/>
                      <a:pt x="23" y="6"/>
                      <a:pt x="23" y="5"/>
                    </a:cubicBezTo>
                    <a:cubicBezTo>
                      <a:pt x="24" y="5"/>
                      <a:pt x="24" y="5"/>
                      <a:pt x="24" y="5"/>
                    </a:cubicBezTo>
                    <a:cubicBezTo>
                      <a:pt x="24" y="4"/>
                      <a:pt x="24" y="4"/>
                      <a:pt x="24" y="3"/>
                    </a:cubicBezTo>
                    <a:cubicBezTo>
                      <a:pt x="24" y="2"/>
                      <a:pt x="24" y="2"/>
                      <a:pt x="24" y="2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2" y="1"/>
                      <a:pt x="22" y="1"/>
                      <a:pt x="21" y="1"/>
                    </a:cubicBezTo>
                    <a:cubicBezTo>
                      <a:pt x="20" y="1"/>
                      <a:pt x="20" y="1"/>
                      <a:pt x="20" y="1"/>
                    </a:cubicBezTo>
                    <a:cubicBezTo>
                      <a:pt x="20" y="6"/>
                      <a:pt x="20" y="6"/>
                      <a:pt x="20" y="6"/>
                    </a:cubicBezTo>
                    <a:close/>
                    <a:moveTo>
                      <a:pt x="25" y="7"/>
                    </a:moveTo>
                    <a:cubicBezTo>
                      <a:pt x="28" y="0"/>
                      <a:pt x="28" y="0"/>
                      <a:pt x="28" y="0"/>
                    </a:cubicBezTo>
                    <a:cubicBezTo>
                      <a:pt x="29" y="0"/>
                      <a:pt x="29" y="0"/>
                      <a:pt x="29" y="0"/>
                    </a:cubicBezTo>
                    <a:cubicBezTo>
                      <a:pt x="32" y="7"/>
                      <a:pt x="32" y="7"/>
                      <a:pt x="32" y="7"/>
                    </a:cubicBezTo>
                    <a:cubicBezTo>
                      <a:pt x="31" y="7"/>
                      <a:pt x="31" y="7"/>
                      <a:pt x="31" y="7"/>
                    </a:cubicBezTo>
                    <a:cubicBezTo>
                      <a:pt x="30" y="5"/>
                      <a:pt x="30" y="5"/>
                      <a:pt x="30" y="5"/>
                    </a:cubicBezTo>
                    <a:cubicBezTo>
                      <a:pt x="27" y="5"/>
                      <a:pt x="27" y="5"/>
                      <a:pt x="27" y="5"/>
                    </a:cubicBezTo>
                    <a:cubicBezTo>
                      <a:pt x="26" y="7"/>
                      <a:pt x="26" y="7"/>
                      <a:pt x="26" y="7"/>
                    </a:cubicBezTo>
                    <a:cubicBezTo>
                      <a:pt x="25" y="7"/>
                      <a:pt x="25" y="7"/>
                      <a:pt x="25" y="7"/>
                    </a:cubicBezTo>
                    <a:close/>
                    <a:moveTo>
                      <a:pt x="27" y="4"/>
                    </a:moveTo>
                    <a:cubicBezTo>
                      <a:pt x="30" y="4"/>
                      <a:pt x="30" y="4"/>
                      <a:pt x="30" y="4"/>
                    </a:cubicBezTo>
                    <a:cubicBezTo>
                      <a:pt x="29" y="2"/>
                      <a:pt x="29" y="2"/>
                      <a:pt x="29" y="2"/>
                    </a:cubicBezTo>
                    <a:cubicBezTo>
                      <a:pt x="28" y="1"/>
                      <a:pt x="28" y="1"/>
                      <a:pt x="28" y="1"/>
                    </a:cubicBezTo>
                    <a:cubicBezTo>
                      <a:pt x="28" y="2"/>
                      <a:pt x="28" y="2"/>
                      <a:pt x="28" y="2"/>
                    </a:cubicBezTo>
                    <a:cubicBezTo>
                      <a:pt x="27" y="4"/>
                      <a:pt x="27" y="4"/>
                      <a:pt x="27" y="4"/>
                    </a:cubicBezTo>
                    <a:close/>
                    <a:moveTo>
                      <a:pt x="32" y="7"/>
                    </a:moveTo>
                    <a:cubicBezTo>
                      <a:pt x="32" y="0"/>
                      <a:pt x="32" y="0"/>
                      <a:pt x="32" y="0"/>
                    </a:cubicBezTo>
                    <a:cubicBezTo>
                      <a:pt x="33" y="0"/>
                      <a:pt x="33" y="0"/>
                      <a:pt x="33" y="0"/>
                    </a:cubicBezTo>
                    <a:cubicBezTo>
                      <a:pt x="37" y="5"/>
                      <a:pt x="37" y="5"/>
                      <a:pt x="37" y="5"/>
                    </a:cubicBezTo>
                    <a:cubicBezTo>
                      <a:pt x="37" y="0"/>
                      <a:pt x="37" y="0"/>
                      <a:pt x="37" y="0"/>
                    </a:cubicBezTo>
                    <a:cubicBezTo>
                      <a:pt x="38" y="0"/>
                      <a:pt x="38" y="0"/>
                      <a:pt x="38" y="0"/>
                    </a:cubicBezTo>
                    <a:cubicBezTo>
                      <a:pt x="38" y="7"/>
                      <a:pt x="38" y="7"/>
                      <a:pt x="38" y="7"/>
                    </a:cubicBezTo>
                    <a:cubicBezTo>
                      <a:pt x="37" y="7"/>
                      <a:pt x="37" y="7"/>
                      <a:pt x="37" y="7"/>
                    </a:cubicBezTo>
                    <a:cubicBezTo>
                      <a:pt x="33" y="2"/>
                      <a:pt x="33" y="2"/>
                      <a:pt x="33" y="2"/>
                    </a:cubicBezTo>
                    <a:cubicBezTo>
                      <a:pt x="33" y="7"/>
                      <a:pt x="33" y="7"/>
                      <a:pt x="33" y="7"/>
                    </a:cubicBezTo>
                    <a:lnTo>
                      <a:pt x="32" y="7"/>
                    </a:lnTo>
                    <a:close/>
                  </a:path>
                </a:pathLst>
              </a:custGeom>
              <a:solidFill>
                <a:srgbClr val="DCD5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1418" name="Rectangle 622"/>
              <p:cNvSpPr>
                <a:spLocks noChangeArrowheads="1"/>
              </p:cNvSpPr>
              <p:nvPr userDrawn="1"/>
            </p:nvSpPr>
            <p:spPr bwMode="auto">
              <a:xfrm>
                <a:off x="4135" y="2762"/>
                <a:ext cx="44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E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419" name="Rectangle 623"/>
              <p:cNvSpPr>
                <a:spLocks noChangeArrowheads="1"/>
              </p:cNvSpPr>
              <p:nvPr userDrawn="1"/>
            </p:nvSpPr>
            <p:spPr bwMode="auto">
              <a:xfrm>
                <a:off x="4155" y="2762"/>
                <a:ext cx="37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t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420" name="Rectangle 624"/>
              <p:cNvSpPr>
                <a:spLocks noChangeArrowheads="1"/>
              </p:cNvSpPr>
              <p:nvPr userDrawn="1"/>
            </p:nvSpPr>
            <p:spPr bwMode="auto">
              <a:xfrm>
                <a:off x="4169" y="2762"/>
                <a:ext cx="29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i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421" name="Rectangle 625"/>
              <p:cNvSpPr>
                <a:spLocks noChangeArrowheads="1"/>
              </p:cNvSpPr>
              <p:nvPr userDrawn="1"/>
            </p:nvSpPr>
            <p:spPr bwMode="auto">
              <a:xfrm>
                <a:off x="4177" y="2762"/>
                <a:ext cx="44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o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422" name="Rectangle 626"/>
              <p:cNvSpPr>
                <a:spLocks noChangeArrowheads="1"/>
              </p:cNvSpPr>
              <p:nvPr userDrawn="1"/>
            </p:nvSpPr>
            <p:spPr bwMode="auto">
              <a:xfrm>
                <a:off x="4196" y="2762"/>
                <a:ext cx="43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p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423" name="Rectangle 627"/>
              <p:cNvSpPr>
                <a:spLocks noChangeArrowheads="1"/>
              </p:cNvSpPr>
              <p:nvPr userDrawn="1"/>
            </p:nvSpPr>
            <p:spPr bwMode="auto">
              <a:xfrm>
                <a:off x="4215" y="2762"/>
                <a:ext cx="29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i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424" name="Rectangle 628"/>
              <p:cNvSpPr>
                <a:spLocks noChangeArrowheads="1"/>
              </p:cNvSpPr>
              <p:nvPr userDrawn="1"/>
            </p:nvSpPr>
            <p:spPr bwMode="auto">
              <a:xfrm>
                <a:off x="4222" y="2762"/>
                <a:ext cx="43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e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425" name="Rectangle 629"/>
              <p:cNvSpPr>
                <a:spLocks noChangeArrowheads="1"/>
              </p:cNvSpPr>
              <p:nvPr userDrawn="1"/>
            </p:nvSpPr>
            <p:spPr bwMode="auto">
              <a:xfrm>
                <a:off x="4242" y="2762"/>
                <a:ext cx="44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n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426" name="Rectangle 630"/>
              <p:cNvSpPr>
                <a:spLocks noChangeArrowheads="1"/>
              </p:cNvSpPr>
              <p:nvPr userDrawn="1"/>
            </p:nvSpPr>
            <p:spPr bwMode="auto">
              <a:xfrm>
                <a:off x="4106" y="2893"/>
                <a:ext cx="45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K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427" name="Rectangle 631"/>
              <p:cNvSpPr>
                <a:spLocks noChangeArrowheads="1"/>
              </p:cNvSpPr>
              <p:nvPr userDrawn="1"/>
            </p:nvSpPr>
            <p:spPr bwMode="auto">
              <a:xfrm>
                <a:off x="4125" y="2893"/>
                <a:ext cx="43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e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428" name="Rectangle 632"/>
              <p:cNvSpPr>
                <a:spLocks noChangeArrowheads="1"/>
              </p:cNvSpPr>
              <p:nvPr userDrawn="1"/>
            </p:nvSpPr>
            <p:spPr bwMode="auto">
              <a:xfrm>
                <a:off x="4144" y="2893"/>
                <a:ext cx="44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n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429" name="Rectangle 633"/>
              <p:cNvSpPr>
                <a:spLocks noChangeArrowheads="1"/>
              </p:cNvSpPr>
              <p:nvPr userDrawn="1"/>
            </p:nvSpPr>
            <p:spPr bwMode="auto">
              <a:xfrm>
                <a:off x="4163" y="2893"/>
                <a:ext cx="42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y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430" name="Rectangle 634"/>
              <p:cNvSpPr>
                <a:spLocks noChangeArrowheads="1"/>
              </p:cNvSpPr>
              <p:nvPr userDrawn="1"/>
            </p:nvSpPr>
            <p:spPr bwMode="auto">
              <a:xfrm>
                <a:off x="4181" y="2893"/>
                <a:ext cx="42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a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431" name="Rectangle 635"/>
              <p:cNvSpPr>
                <a:spLocks noChangeArrowheads="1"/>
              </p:cNvSpPr>
              <p:nvPr userDrawn="1"/>
            </p:nvSpPr>
            <p:spPr bwMode="auto">
              <a:xfrm>
                <a:off x="4026" y="3004"/>
                <a:ext cx="45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T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432" name="Rectangle 636"/>
              <p:cNvSpPr>
                <a:spLocks noChangeArrowheads="1"/>
              </p:cNvSpPr>
              <p:nvPr userDrawn="1"/>
            </p:nvSpPr>
            <p:spPr bwMode="auto">
              <a:xfrm>
                <a:off x="4045" y="3004"/>
                <a:ext cx="42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a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433" name="Rectangle 637"/>
              <p:cNvSpPr>
                <a:spLocks noChangeArrowheads="1"/>
              </p:cNvSpPr>
              <p:nvPr userDrawn="1"/>
            </p:nvSpPr>
            <p:spPr bwMode="auto">
              <a:xfrm>
                <a:off x="4063" y="3004"/>
                <a:ext cx="44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n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434" name="Rectangle 638"/>
              <p:cNvSpPr>
                <a:spLocks noChangeArrowheads="1"/>
              </p:cNvSpPr>
              <p:nvPr userDrawn="1"/>
            </p:nvSpPr>
            <p:spPr bwMode="auto">
              <a:xfrm>
                <a:off x="4083" y="3004"/>
                <a:ext cx="40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z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435" name="Rectangle 639"/>
              <p:cNvSpPr>
                <a:spLocks noChangeArrowheads="1"/>
              </p:cNvSpPr>
              <p:nvPr userDrawn="1"/>
            </p:nvSpPr>
            <p:spPr bwMode="auto">
              <a:xfrm>
                <a:off x="4100" y="3004"/>
                <a:ext cx="42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a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436" name="Rectangle 640"/>
              <p:cNvSpPr>
                <a:spLocks noChangeArrowheads="1"/>
              </p:cNvSpPr>
              <p:nvPr userDrawn="1"/>
            </p:nvSpPr>
            <p:spPr bwMode="auto">
              <a:xfrm>
                <a:off x="4118" y="3004"/>
                <a:ext cx="44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n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437" name="Rectangle 641"/>
              <p:cNvSpPr>
                <a:spLocks noChangeArrowheads="1"/>
              </p:cNvSpPr>
              <p:nvPr userDrawn="1"/>
            </p:nvSpPr>
            <p:spPr bwMode="auto">
              <a:xfrm>
                <a:off x="4138" y="3004"/>
                <a:ext cx="29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i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438" name="Rectangle 642"/>
              <p:cNvSpPr>
                <a:spLocks noChangeArrowheads="1"/>
              </p:cNvSpPr>
              <p:nvPr userDrawn="1"/>
            </p:nvSpPr>
            <p:spPr bwMode="auto">
              <a:xfrm>
                <a:off x="4146" y="3004"/>
                <a:ext cx="42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a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439" name="Rectangle 643"/>
              <p:cNvSpPr>
                <a:spLocks noChangeArrowheads="1"/>
              </p:cNvSpPr>
              <p:nvPr userDrawn="1"/>
            </p:nvSpPr>
            <p:spPr bwMode="auto">
              <a:xfrm>
                <a:off x="4129" y="3145"/>
                <a:ext cx="52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M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440" name="Rectangle 644"/>
              <p:cNvSpPr>
                <a:spLocks noChangeArrowheads="1"/>
              </p:cNvSpPr>
              <p:nvPr userDrawn="1"/>
            </p:nvSpPr>
            <p:spPr bwMode="auto">
              <a:xfrm>
                <a:off x="4156" y="3145"/>
                <a:ext cx="44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o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441" name="Rectangle 645"/>
              <p:cNvSpPr>
                <a:spLocks noChangeArrowheads="1"/>
              </p:cNvSpPr>
              <p:nvPr userDrawn="1"/>
            </p:nvSpPr>
            <p:spPr bwMode="auto">
              <a:xfrm>
                <a:off x="4175" y="3145"/>
                <a:ext cx="40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z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442" name="Rectangle 646"/>
              <p:cNvSpPr>
                <a:spLocks noChangeArrowheads="1"/>
              </p:cNvSpPr>
              <p:nvPr userDrawn="1"/>
            </p:nvSpPr>
            <p:spPr bwMode="auto">
              <a:xfrm>
                <a:off x="4191" y="3145"/>
                <a:ext cx="42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a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443" name="Rectangle 647"/>
              <p:cNvSpPr>
                <a:spLocks noChangeArrowheads="1"/>
              </p:cNvSpPr>
              <p:nvPr userDrawn="1"/>
            </p:nvSpPr>
            <p:spPr bwMode="auto">
              <a:xfrm>
                <a:off x="4209" y="3145"/>
                <a:ext cx="54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m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444" name="Rectangle 648"/>
              <p:cNvSpPr>
                <a:spLocks noChangeArrowheads="1"/>
              </p:cNvSpPr>
              <p:nvPr userDrawn="1"/>
            </p:nvSpPr>
            <p:spPr bwMode="auto">
              <a:xfrm>
                <a:off x="4238" y="3145"/>
                <a:ext cx="43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b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445" name="Rectangle 649"/>
              <p:cNvSpPr>
                <a:spLocks noChangeArrowheads="1"/>
              </p:cNvSpPr>
              <p:nvPr userDrawn="1"/>
            </p:nvSpPr>
            <p:spPr bwMode="auto">
              <a:xfrm>
                <a:off x="4257" y="3145"/>
                <a:ext cx="29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i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446" name="Rectangle 650"/>
              <p:cNvSpPr>
                <a:spLocks noChangeArrowheads="1"/>
              </p:cNvSpPr>
              <p:nvPr userDrawn="1"/>
            </p:nvSpPr>
            <p:spPr bwMode="auto">
              <a:xfrm>
                <a:off x="4265" y="3145"/>
                <a:ext cx="43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q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447" name="Rectangle 651"/>
              <p:cNvSpPr>
                <a:spLocks noChangeArrowheads="1"/>
              </p:cNvSpPr>
              <p:nvPr userDrawn="1"/>
            </p:nvSpPr>
            <p:spPr bwMode="auto">
              <a:xfrm>
                <a:off x="4284" y="3145"/>
                <a:ext cx="44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u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448" name="Rectangle 652"/>
              <p:cNvSpPr>
                <a:spLocks noChangeArrowheads="1"/>
              </p:cNvSpPr>
              <p:nvPr userDrawn="1"/>
            </p:nvSpPr>
            <p:spPr bwMode="auto">
              <a:xfrm>
                <a:off x="4304" y="3145"/>
                <a:ext cx="43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e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449" name="Rectangle 653"/>
              <p:cNvSpPr>
                <a:spLocks noChangeArrowheads="1"/>
              </p:cNvSpPr>
              <p:nvPr userDrawn="1"/>
            </p:nvSpPr>
            <p:spPr bwMode="auto">
              <a:xfrm>
                <a:off x="3878" y="3163"/>
                <a:ext cx="45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Z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450" name="Rectangle 654"/>
              <p:cNvSpPr>
                <a:spLocks noChangeArrowheads="1"/>
              </p:cNvSpPr>
              <p:nvPr userDrawn="1"/>
            </p:nvSpPr>
            <p:spPr bwMode="auto">
              <a:xfrm>
                <a:off x="3899" y="3163"/>
                <a:ext cx="42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a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451" name="Rectangle 655"/>
              <p:cNvSpPr>
                <a:spLocks noChangeArrowheads="1"/>
              </p:cNvSpPr>
              <p:nvPr userDrawn="1"/>
            </p:nvSpPr>
            <p:spPr bwMode="auto">
              <a:xfrm>
                <a:off x="3918" y="3163"/>
                <a:ext cx="54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m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452" name="Rectangle 656"/>
              <p:cNvSpPr>
                <a:spLocks noChangeArrowheads="1"/>
              </p:cNvSpPr>
              <p:nvPr userDrawn="1"/>
            </p:nvSpPr>
            <p:spPr bwMode="auto">
              <a:xfrm>
                <a:off x="3946" y="3163"/>
                <a:ext cx="43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b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453" name="Rectangle 657"/>
              <p:cNvSpPr>
                <a:spLocks noChangeArrowheads="1"/>
              </p:cNvSpPr>
              <p:nvPr userDrawn="1"/>
            </p:nvSpPr>
            <p:spPr bwMode="auto">
              <a:xfrm>
                <a:off x="3965" y="3163"/>
                <a:ext cx="29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i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454" name="Rectangle 658"/>
              <p:cNvSpPr>
                <a:spLocks noChangeArrowheads="1"/>
              </p:cNvSpPr>
              <p:nvPr userDrawn="1"/>
            </p:nvSpPr>
            <p:spPr bwMode="auto">
              <a:xfrm>
                <a:off x="3973" y="3163"/>
                <a:ext cx="42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a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455" name="Rectangle 659"/>
              <p:cNvSpPr>
                <a:spLocks noChangeArrowheads="1"/>
              </p:cNvSpPr>
              <p:nvPr userDrawn="1"/>
            </p:nvSpPr>
            <p:spPr bwMode="auto">
              <a:xfrm>
                <a:off x="5803" y="3420"/>
                <a:ext cx="46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A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456" name="Rectangle 660"/>
              <p:cNvSpPr>
                <a:spLocks noChangeArrowheads="1"/>
              </p:cNvSpPr>
              <p:nvPr userDrawn="1"/>
            </p:nvSpPr>
            <p:spPr bwMode="auto">
              <a:xfrm>
                <a:off x="5826" y="3420"/>
                <a:ext cx="44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u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457" name="Rectangle 661"/>
              <p:cNvSpPr>
                <a:spLocks noChangeArrowheads="1"/>
              </p:cNvSpPr>
              <p:nvPr userDrawn="1"/>
            </p:nvSpPr>
            <p:spPr bwMode="auto">
              <a:xfrm>
                <a:off x="5846" y="3420"/>
                <a:ext cx="56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st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458" name="Rectangle 662"/>
              <p:cNvSpPr>
                <a:spLocks noChangeArrowheads="1"/>
              </p:cNvSpPr>
              <p:nvPr userDrawn="1"/>
            </p:nvSpPr>
            <p:spPr bwMode="auto">
              <a:xfrm>
                <a:off x="5875" y="3420"/>
                <a:ext cx="35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r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459" name="Rectangle 663"/>
              <p:cNvSpPr>
                <a:spLocks noChangeArrowheads="1"/>
              </p:cNvSpPr>
              <p:nvPr userDrawn="1"/>
            </p:nvSpPr>
            <p:spPr bwMode="auto">
              <a:xfrm>
                <a:off x="5888" y="3420"/>
                <a:ext cx="42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a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460" name="Rectangle 664"/>
              <p:cNvSpPr>
                <a:spLocks noChangeArrowheads="1"/>
              </p:cNvSpPr>
              <p:nvPr userDrawn="1"/>
            </p:nvSpPr>
            <p:spPr bwMode="auto">
              <a:xfrm>
                <a:off x="5906" y="3420"/>
                <a:ext cx="29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l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461" name="Rectangle 665"/>
              <p:cNvSpPr>
                <a:spLocks noChangeArrowheads="1"/>
              </p:cNvSpPr>
              <p:nvPr userDrawn="1"/>
            </p:nvSpPr>
            <p:spPr bwMode="auto">
              <a:xfrm>
                <a:off x="5914" y="3420"/>
                <a:ext cx="29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i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462" name="Rectangle 666"/>
              <p:cNvSpPr>
                <a:spLocks noChangeArrowheads="1"/>
              </p:cNvSpPr>
              <p:nvPr userDrawn="1"/>
            </p:nvSpPr>
            <p:spPr bwMode="auto">
              <a:xfrm>
                <a:off x="5922" y="3420"/>
                <a:ext cx="18" cy="4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a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463" name="Rectangle 667"/>
              <p:cNvSpPr>
                <a:spLocks noChangeArrowheads="1"/>
              </p:cNvSpPr>
              <p:nvPr userDrawn="1"/>
            </p:nvSpPr>
            <p:spPr bwMode="auto">
              <a:xfrm>
                <a:off x="5363" y="2842"/>
                <a:ext cx="52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M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464" name="Rectangle 668"/>
              <p:cNvSpPr>
                <a:spLocks noChangeArrowheads="1"/>
              </p:cNvSpPr>
              <p:nvPr userDrawn="1"/>
            </p:nvSpPr>
            <p:spPr bwMode="auto">
              <a:xfrm>
                <a:off x="5389" y="2842"/>
                <a:ext cx="42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a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465" name="Rectangle 669"/>
              <p:cNvSpPr>
                <a:spLocks noChangeArrowheads="1"/>
              </p:cNvSpPr>
              <p:nvPr userDrawn="1"/>
            </p:nvSpPr>
            <p:spPr bwMode="auto">
              <a:xfrm>
                <a:off x="5407" y="2842"/>
                <a:ext cx="29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l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466" name="Rectangle 670"/>
              <p:cNvSpPr>
                <a:spLocks noChangeArrowheads="1"/>
              </p:cNvSpPr>
              <p:nvPr userDrawn="1"/>
            </p:nvSpPr>
            <p:spPr bwMode="auto">
              <a:xfrm>
                <a:off x="5415" y="2842"/>
                <a:ext cx="42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a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467" name="Rectangle 671"/>
              <p:cNvSpPr>
                <a:spLocks noChangeArrowheads="1"/>
              </p:cNvSpPr>
              <p:nvPr userDrawn="1"/>
            </p:nvSpPr>
            <p:spPr bwMode="auto">
              <a:xfrm>
                <a:off x="5433" y="2842"/>
                <a:ext cx="42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y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468" name="Rectangle 672"/>
              <p:cNvSpPr>
                <a:spLocks noChangeArrowheads="1"/>
              </p:cNvSpPr>
              <p:nvPr userDrawn="1"/>
            </p:nvSpPr>
            <p:spPr bwMode="auto">
              <a:xfrm>
                <a:off x="5450" y="2842"/>
                <a:ext cx="40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s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469" name="Rectangle 673"/>
              <p:cNvSpPr>
                <a:spLocks noChangeArrowheads="1"/>
              </p:cNvSpPr>
              <p:nvPr userDrawn="1"/>
            </p:nvSpPr>
            <p:spPr bwMode="auto">
              <a:xfrm>
                <a:off x="5467" y="2842"/>
                <a:ext cx="29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i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470" name="Rectangle 674"/>
              <p:cNvSpPr>
                <a:spLocks noChangeArrowheads="1"/>
              </p:cNvSpPr>
              <p:nvPr userDrawn="1"/>
            </p:nvSpPr>
            <p:spPr bwMode="auto">
              <a:xfrm>
                <a:off x="5475" y="2842"/>
                <a:ext cx="42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a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471" name="Rectangle 675"/>
              <p:cNvSpPr>
                <a:spLocks noChangeArrowheads="1"/>
              </p:cNvSpPr>
              <p:nvPr userDrawn="1"/>
            </p:nvSpPr>
            <p:spPr bwMode="auto">
              <a:xfrm>
                <a:off x="5317" y="2696"/>
                <a:ext cx="43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C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472" name="Rectangle 676"/>
              <p:cNvSpPr>
                <a:spLocks noChangeArrowheads="1"/>
              </p:cNvSpPr>
              <p:nvPr userDrawn="1"/>
            </p:nvSpPr>
            <p:spPr bwMode="auto">
              <a:xfrm>
                <a:off x="5336" y="2696"/>
                <a:ext cx="42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a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473" name="Rectangle 677"/>
              <p:cNvSpPr>
                <a:spLocks noChangeArrowheads="1"/>
              </p:cNvSpPr>
              <p:nvPr userDrawn="1"/>
            </p:nvSpPr>
            <p:spPr bwMode="auto">
              <a:xfrm>
                <a:off x="5354" y="2696"/>
                <a:ext cx="54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m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474" name="Rectangle 678"/>
              <p:cNvSpPr>
                <a:spLocks noChangeArrowheads="1"/>
              </p:cNvSpPr>
              <p:nvPr userDrawn="1"/>
            </p:nvSpPr>
            <p:spPr bwMode="auto">
              <a:xfrm>
                <a:off x="5383" y="2696"/>
                <a:ext cx="43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b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475" name="Rectangle 679"/>
              <p:cNvSpPr>
                <a:spLocks noChangeArrowheads="1"/>
              </p:cNvSpPr>
              <p:nvPr userDrawn="1"/>
            </p:nvSpPr>
            <p:spPr bwMode="auto">
              <a:xfrm>
                <a:off x="5403" y="2696"/>
                <a:ext cx="44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o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476" name="Rectangle 680"/>
              <p:cNvSpPr>
                <a:spLocks noChangeArrowheads="1"/>
              </p:cNvSpPr>
              <p:nvPr userDrawn="1"/>
            </p:nvSpPr>
            <p:spPr bwMode="auto">
              <a:xfrm>
                <a:off x="5422" y="2696"/>
                <a:ext cx="43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d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477" name="Rectangle 681"/>
              <p:cNvSpPr>
                <a:spLocks noChangeArrowheads="1"/>
              </p:cNvSpPr>
              <p:nvPr userDrawn="1"/>
            </p:nvSpPr>
            <p:spPr bwMode="auto">
              <a:xfrm>
                <a:off x="5441" y="2696"/>
                <a:ext cx="29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i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478" name="Rectangle 682"/>
              <p:cNvSpPr>
                <a:spLocks noChangeArrowheads="1"/>
              </p:cNvSpPr>
              <p:nvPr userDrawn="1"/>
            </p:nvSpPr>
            <p:spPr bwMode="auto">
              <a:xfrm>
                <a:off x="5449" y="2696"/>
                <a:ext cx="42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a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479" name="Rectangle 683"/>
              <p:cNvSpPr>
                <a:spLocks noChangeArrowheads="1"/>
              </p:cNvSpPr>
              <p:nvPr userDrawn="1"/>
            </p:nvSpPr>
            <p:spPr bwMode="auto">
              <a:xfrm>
                <a:off x="5419" y="2645"/>
                <a:ext cx="46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V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480" name="Rectangle 684"/>
              <p:cNvSpPr>
                <a:spLocks noChangeArrowheads="1"/>
              </p:cNvSpPr>
              <p:nvPr userDrawn="1"/>
            </p:nvSpPr>
            <p:spPr bwMode="auto">
              <a:xfrm>
                <a:off x="5441" y="2645"/>
                <a:ext cx="29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i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481" name="Rectangle 685"/>
              <p:cNvSpPr>
                <a:spLocks noChangeArrowheads="1"/>
              </p:cNvSpPr>
              <p:nvPr userDrawn="1"/>
            </p:nvSpPr>
            <p:spPr bwMode="auto">
              <a:xfrm>
                <a:off x="5449" y="2645"/>
                <a:ext cx="43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e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482" name="Rectangle 686"/>
              <p:cNvSpPr>
                <a:spLocks noChangeArrowheads="1"/>
              </p:cNvSpPr>
              <p:nvPr userDrawn="1"/>
            </p:nvSpPr>
            <p:spPr bwMode="auto">
              <a:xfrm>
                <a:off x="5468" y="2645"/>
                <a:ext cx="37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t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483" name="Rectangle 687"/>
              <p:cNvSpPr>
                <a:spLocks noChangeArrowheads="1"/>
              </p:cNvSpPr>
              <p:nvPr userDrawn="1"/>
            </p:nvSpPr>
            <p:spPr bwMode="auto">
              <a:xfrm>
                <a:off x="5481" y="2645"/>
                <a:ext cx="44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n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484" name="Rectangle 688"/>
              <p:cNvSpPr>
                <a:spLocks noChangeArrowheads="1"/>
              </p:cNvSpPr>
              <p:nvPr userDrawn="1"/>
            </p:nvSpPr>
            <p:spPr bwMode="auto">
              <a:xfrm>
                <a:off x="5501" y="2645"/>
                <a:ext cx="42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a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485" name="Rectangle 689"/>
              <p:cNvSpPr>
                <a:spLocks noChangeArrowheads="1"/>
              </p:cNvSpPr>
              <p:nvPr userDrawn="1"/>
            </p:nvSpPr>
            <p:spPr bwMode="auto">
              <a:xfrm>
                <a:off x="5519" y="2645"/>
                <a:ext cx="54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m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486" name="Rectangle 690"/>
              <p:cNvSpPr>
                <a:spLocks noChangeArrowheads="1"/>
              </p:cNvSpPr>
              <p:nvPr userDrawn="1"/>
            </p:nvSpPr>
            <p:spPr bwMode="auto">
              <a:xfrm>
                <a:off x="5218" y="2598"/>
                <a:ext cx="68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Th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487" name="Rectangle 691"/>
              <p:cNvSpPr>
                <a:spLocks noChangeArrowheads="1"/>
              </p:cNvSpPr>
              <p:nvPr userDrawn="1"/>
            </p:nvSpPr>
            <p:spPr bwMode="auto">
              <a:xfrm>
                <a:off x="5258" y="2598"/>
                <a:ext cx="42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a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488" name="Rectangle 692"/>
              <p:cNvSpPr>
                <a:spLocks noChangeArrowheads="1"/>
              </p:cNvSpPr>
              <p:nvPr userDrawn="1"/>
            </p:nvSpPr>
            <p:spPr bwMode="auto">
              <a:xfrm>
                <a:off x="5277" y="2598"/>
                <a:ext cx="29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i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489" name="Rectangle 693"/>
              <p:cNvSpPr>
                <a:spLocks noChangeArrowheads="1"/>
              </p:cNvSpPr>
              <p:nvPr userDrawn="1"/>
            </p:nvSpPr>
            <p:spPr bwMode="auto">
              <a:xfrm>
                <a:off x="5285" y="2598"/>
                <a:ext cx="29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l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490" name="Rectangle 694"/>
              <p:cNvSpPr>
                <a:spLocks noChangeArrowheads="1"/>
              </p:cNvSpPr>
              <p:nvPr userDrawn="1"/>
            </p:nvSpPr>
            <p:spPr bwMode="auto">
              <a:xfrm>
                <a:off x="5293" y="2598"/>
                <a:ext cx="42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a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491" name="Rectangle 695"/>
              <p:cNvSpPr>
                <a:spLocks noChangeArrowheads="1"/>
              </p:cNvSpPr>
              <p:nvPr userDrawn="1"/>
            </p:nvSpPr>
            <p:spPr bwMode="auto">
              <a:xfrm>
                <a:off x="5311" y="2598"/>
                <a:ext cx="44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n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492" name="Rectangle 696"/>
              <p:cNvSpPr>
                <a:spLocks noChangeArrowheads="1"/>
              </p:cNvSpPr>
              <p:nvPr userDrawn="1"/>
            </p:nvSpPr>
            <p:spPr bwMode="auto">
              <a:xfrm>
                <a:off x="5331" y="2598"/>
                <a:ext cx="43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d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493" name="Rectangle 697"/>
              <p:cNvSpPr>
                <a:spLocks noChangeArrowheads="1"/>
              </p:cNvSpPr>
              <p:nvPr userDrawn="1"/>
            </p:nvSpPr>
            <p:spPr bwMode="auto">
              <a:xfrm>
                <a:off x="5312" y="2537"/>
                <a:ext cx="63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La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494" name="Rectangle 698"/>
              <p:cNvSpPr>
                <a:spLocks noChangeArrowheads="1"/>
              </p:cNvSpPr>
              <p:nvPr userDrawn="1"/>
            </p:nvSpPr>
            <p:spPr bwMode="auto">
              <a:xfrm>
                <a:off x="5349" y="2537"/>
                <a:ext cx="44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o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495" name="Rectangle 699"/>
              <p:cNvSpPr>
                <a:spLocks noChangeArrowheads="1"/>
              </p:cNvSpPr>
              <p:nvPr userDrawn="1"/>
            </p:nvSpPr>
            <p:spPr bwMode="auto">
              <a:xfrm>
                <a:off x="5368" y="2537"/>
                <a:ext cx="40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s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496" name="Rectangle 700"/>
              <p:cNvSpPr>
                <a:spLocks noChangeArrowheads="1"/>
              </p:cNvSpPr>
              <p:nvPr userDrawn="1"/>
            </p:nvSpPr>
            <p:spPr bwMode="auto">
              <a:xfrm>
                <a:off x="5128" y="2476"/>
                <a:ext cx="52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M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497" name="Rectangle 701"/>
              <p:cNvSpPr>
                <a:spLocks noChangeArrowheads="1"/>
              </p:cNvSpPr>
              <p:nvPr userDrawn="1"/>
            </p:nvSpPr>
            <p:spPr bwMode="auto">
              <a:xfrm>
                <a:off x="5154" y="2476"/>
                <a:ext cx="42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y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498" name="Rectangle 702"/>
              <p:cNvSpPr>
                <a:spLocks noChangeArrowheads="1"/>
              </p:cNvSpPr>
              <p:nvPr userDrawn="1"/>
            </p:nvSpPr>
            <p:spPr bwMode="auto">
              <a:xfrm>
                <a:off x="5171" y="2476"/>
                <a:ext cx="42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a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499" name="Rectangle 703"/>
              <p:cNvSpPr>
                <a:spLocks noChangeArrowheads="1"/>
              </p:cNvSpPr>
              <p:nvPr userDrawn="1"/>
            </p:nvSpPr>
            <p:spPr bwMode="auto">
              <a:xfrm>
                <a:off x="5190" y="2476"/>
                <a:ext cx="44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n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500" name="Rectangle 704"/>
              <p:cNvSpPr>
                <a:spLocks noChangeArrowheads="1"/>
              </p:cNvSpPr>
              <p:nvPr userDrawn="1"/>
            </p:nvSpPr>
            <p:spPr bwMode="auto">
              <a:xfrm>
                <a:off x="5210" y="2476"/>
                <a:ext cx="54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m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501" name="Rectangle 705"/>
              <p:cNvSpPr>
                <a:spLocks noChangeArrowheads="1"/>
              </p:cNvSpPr>
              <p:nvPr userDrawn="1"/>
            </p:nvSpPr>
            <p:spPr bwMode="auto">
              <a:xfrm>
                <a:off x="5239" y="2476"/>
                <a:ext cx="42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a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502" name="Rectangle 706"/>
              <p:cNvSpPr>
                <a:spLocks noChangeArrowheads="1"/>
              </p:cNvSpPr>
              <p:nvPr userDrawn="1"/>
            </p:nvSpPr>
            <p:spPr bwMode="auto">
              <a:xfrm>
                <a:off x="5257" y="2476"/>
                <a:ext cx="44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n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503" name="Rectangle 707"/>
              <p:cNvSpPr>
                <a:spLocks noChangeArrowheads="1"/>
              </p:cNvSpPr>
              <p:nvPr userDrawn="1"/>
            </p:nvSpPr>
            <p:spPr bwMode="auto">
              <a:xfrm>
                <a:off x="4909" y="2370"/>
                <a:ext cx="48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N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504" name="Rectangle 708"/>
              <p:cNvSpPr>
                <a:spLocks noChangeArrowheads="1"/>
              </p:cNvSpPr>
              <p:nvPr userDrawn="1"/>
            </p:nvSpPr>
            <p:spPr bwMode="auto">
              <a:xfrm>
                <a:off x="4932" y="2370"/>
                <a:ext cx="43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e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505" name="Rectangle 709"/>
              <p:cNvSpPr>
                <a:spLocks noChangeArrowheads="1"/>
              </p:cNvSpPr>
              <p:nvPr userDrawn="1"/>
            </p:nvSpPr>
            <p:spPr bwMode="auto">
              <a:xfrm>
                <a:off x="4952" y="2370"/>
                <a:ext cx="43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p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506" name="Rectangle 710"/>
              <p:cNvSpPr>
                <a:spLocks noChangeArrowheads="1"/>
              </p:cNvSpPr>
              <p:nvPr userDrawn="1"/>
            </p:nvSpPr>
            <p:spPr bwMode="auto">
              <a:xfrm>
                <a:off x="4971" y="2370"/>
                <a:ext cx="42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a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507" name="Rectangle 711"/>
              <p:cNvSpPr>
                <a:spLocks noChangeArrowheads="1"/>
              </p:cNvSpPr>
              <p:nvPr userDrawn="1"/>
            </p:nvSpPr>
            <p:spPr bwMode="auto">
              <a:xfrm>
                <a:off x="4990" y="2370"/>
                <a:ext cx="29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l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508" name="Rectangle 712"/>
              <p:cNvSpPr>
                <a:spLocks noChangeArrowheads="1"/>
              </p:cNvSpPr>
              <p:nvPr userDrawn="1"/>
            </p:nvSpPr>
            <p:spPr bwMode="auto">
              <a:xfrm>
                <a:off x="3898" y="1931"/>
                <a:ext cx="47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U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509" name="Rectangle 713"/>
              <p:cNvSpPr>
                <a:spLocks noChangeArrowheads="1"/>
              </p:cNvSpPr>
              <p:nvPr userDrawn="1"/>
            </p:nvSpPr>
            <p:spPr bwMode="auto">
              <a:xfrm>
                <a:off x="3921" y="1931"/>
                <a:ext cx="40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k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510" name="Rectangle 714"/>
              <p:cNvSpPr>
                <a:spLocks noChangeArrowheads="1"/>
              </p:cNvSpPr>
              <p:nvPr userDrawn="1"/>
            </p:nvSpPr>
            <p:spPr bwMode="auto">
              <a:xfrm>
                <a:off x="3939" y="1931"/>
                <a:ext cx="35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r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511" name="Rectangle 715"/>
              <p:cNvSpPr>
                <a:spLocks noChangeArrowheads="1"/>
              </p:cNvSpPr>
              <p:nvPr userDrawn="1"/>
            </p:nvSpPr>
            <p:spPr bwMode="auto">
              <a:xfrm>
                <a:off x="3950" y="1931"/>
                <a:ext cx="42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a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512" name="Rectangle 716"/>
              <p:cNvSpPr>
                <a:spLocks noChangeArrowheads="1"/>
              </p:cNvSpPr>
              <p:nvPr userDrawn="1"/>
            </p:nvSpPr>
            <p:spPr bwMode="auto">
              <a:xfrm>
                <a:off x="3968" y="1931"/>
                <a:ext cx="29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i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513" name="Rectangle 717"/>
              <p:cNvSpPr>
                <a:spLocks noChangeArrowheads="1"/>
              </p:cNvSpPr>
              <p:nvPr userDrawn="1"/>
            </p:nvSpPr>
            <p:spPr bwMode="auto">
              <a:xfrm>
                <a:off x="3977" y="1931"/>
                <a:ext cx="44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n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514" name="Rectangle 718"/>
              <p:cNvSpPr>
                <a:spLocks noChangeArrowheads="1"/>
              </p:cNvSpPr>
              <p:nvPr userDrawn="1"/>
            </p:nvSpPr>
            <p:spPr bwMode="auto">
              <a:xfrm>
                <a:off x="3997" y="1931"/>
                <a:ext cx="43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e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515" name="Rectangle 719"/>
              <p:cNvSpPr>
                <a:spLocks noChangeArrowheads="1"/>
              </p:cNvSpPr>
              <p:nvPr userDrawn="1"/>
            </p:nvSpPr>
            <p:spPr bwMode="auto">
              <a:xfrm>
                <a:off x="3747" y="1880"/>
                <a:ext cx="45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P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516" name="Rectangle 720"/>
              <p:cNvSpPr>
                <a:spLocks noChangeArrowheads="1"/>
              </p:cNvSpPr>
              <p:nvPr userDrawn="1"/>
            </p:nvSpPr>
            <p:spPr bwMode="auto">
              <a:xfrm>
                <a:off x="3767" y="1880"/>
                <a:ext cx="44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o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517" name="Rectangle 721"/>
              <p:cNvSpPr>
                <a:spLocks noChangeArrowheads="1"/>
              </p:cNvSpPr>
              <p:nvPr userDrawn="1"/>
            </p:nvSpPr>
            <p:spPr bwMode="auto">
              <a:xfrm>
                <a:off x="3786" y="1880"/>
                <a:ext cx="29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l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518" name="Rectangle 722"/>
              <p:cNvSpPr>
                <a:spLocks noChangeArrowheads="1"/>
              </p:cNvSpPr>
              <p:nvPr userDrawn="1"/>
            </p:nvSpPr>
            <p:spPr bwMode="auto">
              <a:xfrm>
                <a:off x="3793" y="1880"/>
                <a:ext cx="58" cy="4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and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519" name="Rectangle 723"/>
              <p:cNvSpPr>
                <a:spLocks noChangeArrowheads="1"/>
              </p:cNvSpPr>
              <p:nvPr userDrawn="1"/>
            </p:nvSpPr>
            <p:spPr bwMode="auto">
              <a:xfrm>
                <a:off x="3577" y="1896"/>
                <a:ext cx="139" cy="4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Germany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520" name="Rectangle 724"/>
              <p:cNvSpPr>
                <a:spLocks noChangeArrowheads="1"/>
              </p:cNvSpPr>
              <p:nvPr userDrawn="1"/>
            </p:nvSpPr>
            <p:spPr bwMode="auto">
              <a:xfrm>
                <a:off x="3448" y="1863"/>
                <a:ext cx="190" cy="4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 err="1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Netherlands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521" name="Rectangle 725"/>
              <p:cNvSpPr>
                <a:spLocks noChangeArrowheads="1"/>
              </p:cNvSpPr>
              <p:nvPr userDrawn="1"/>
            </p:nvSpPr>
            <p:spPr bwMode="auto">
              <a:xfrm>
                <a:off x="3525" y="1786"/>
                <a:ext cx="46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D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522" name="Rectangle 726"/>
              <p:cNvSpPr>
                <a:spLocks noChangeArrowheads="1"/>
              </p:cNvSpPr>
              <p:nvPr userDrawn="1"/>
            </p:nvSpPr>
            <p:spPr bwMode="auto">
              <a:xfrm>
                <a:off x="3548" y="1786"/>
                <a:ext cx="19" cy="4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e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523" name="Rectangle 727"/>
              <p:cNvSpPr>
                <a:spLocks noChangeArrowheads="1"/>
              </p:cNvSpPr>
              <p:nvPr userDrawn="1"/>
            </p:nvSpPr>
            <p:spPr bwMode="auto">
              <a:xfrm>
                <a:off x="3567" y="1786"/>
                <a:ext cx="44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n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524" name="Rectangle 728"/>
              <p:cNvSpPr>
                <a:spLocks noChangeArrowheads="1"/>
              </p:cNvSpPr>
              <p:nvPr userDrawn="1"/>
            </p:nvSpPr>
            <p:spPr bwMode="auto">
              <a:xfrm>
                <a:off x="3587" y="1786"/>
                <a:ext cx="54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m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525" name="Rectangle 729"/>
              <p:cNvSpPr>
                <a:spLocks noChangeArrowheads="1"/>
              </p:cNvSpPr>
              <p:nvPr userDrawn="1"/>
            </p:nvSpPr>
            <p:spPr bwMode="auto">
              <a:xfrm>
                <a:off x="3616" y="1786"/>
                <a:ext cx="42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a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526" name="Rectangle 730"/>
              <p:cNvSpPr>
                <a:spLocks noChangeArrowheads="1"/>
              </p:cNvSpPr>
              <p:nvPr userDrawn="1"/>
            </p:nvSpPr>
            <p:spPr bwMode="auto">
              <a:xfrm>
                <a:off x="3634" y="1786"/>
                <a:ext cx="54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rk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527" name="Rectangle 731"/>
              <p:cNvSpPr>
                <a:spLocks noChangeArrowheads="1"/>
              </p:cNvSpPr>
              <p:nvPr userDrawn="1"/>
            </p:nvSpPr>
            <p:spPr bwMode="auto">
              <a:xfrm>
                <a:off x="3640" y="1546"/>
                <a:ext cx="125" cy="4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 err="1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Sweden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528" name="Rectangle 732"/>
              <p:cNvSpPr>
                <a:spLocks noChangeArrowheads="1"/>
              </p:cNvSpPr>
              <p:nvPr userDrawn="1"/>
            </p:nvSpPr>
            <p:spPr bwMode="auto">
              <a:xfrm>
                <a:off x="3776" y="1606"/>
                <a:ext cx="43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F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529" name="Rectangle 733"/>
              <p:cNvSpPr>
                <a:spLocks noChangeArrowheads="1"/>
              </p:cNvSpPr>
              <p:nvPr userDrawn="1"/>
            </p:nvSpPr>
            <p:spPr bwMode="auto">
              <a:xfrm>
                <a:off x="3795" y="1606"/>
                <a:ext cx="29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i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530" name="Rectangle 734"/>
              <p:cNvSpPr>
                <a:spLocks noChangeArrowheads="1"/>
              </p:cNvSpPr>
              <p:nvPr userDrawn="1"/>
            </p:nvSpPr>
            <p:spPr bwMode="auto">
              <a:xfrm>
                <a:off x="3803" y="1606"/>
                <a:ext cx="44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n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531" name="Rectangle 735"/>
              <p:cNvSpPr>
                <a:spLocks noChangeArrowheads="1"/>
              </p:cNvSpPr>
              <p:nvPr userDrawn="1"/>
            </p:nvSpPr>
            <p:spPr bwMode="auto">
              <a:xfrm>
                <a:off x="3823" y="1606"/>
                <a:ext cx="29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l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532" name="Rectangle 736"/>
              <p:cNvSpPr>
                <a:spLocks noChangeArrowheads="1"/>
              </p:cNvSpPr>
              <p:nvPr userDrawn="1"/>
            </p:nvSpPr>
            <p:spPr bwMode="auto">
              <a:xfrm>
                <a:off x="3831" y="1606"/>
                <a:ext cx="42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a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533" name="Rectangle 737"/>
              <p:cNvSpPr>
                <a:spLocks noChangeArrowheads="1"/>
              </p:cNvSpPr>
              <p:nvPr userDrawn="1"/>
            </p:nvSpPr>
            <p:spPr bwMode="auto">
              <a:xfrm>
                <a:off x="3849" y="1606"/>
                <a:ext cx="44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n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534" name="Rectangle 738"/>
              <p:cNvSpPr>
                <a:spLocks noChangeArrowheads="1"/>
              </p:cNvSpPr>
              <p:nvPr userDrawn="1"/>
            </p:nvSpPr>
            <p:spPr bwMode="auto">
              <a:xfrm>
                <a:off x="3869" y="1606"/>
                <a:ext cx="43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d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535" name="Rectangle 739"/>
              <p:cNvSpPr>
                <a:spLocks noChangeArrowheads="1"/>
              </p:cNvSpPr>
              <p:nvPr userDrawn="1"/>
            </p:nvSpPr>
            <p:spPr bwMode="auto">
              <a:xfrm>
                <a:off x="1561" y="2451"/>
                <a:ext cx="52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M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536" name="Rectangle 740"/>
              <p:cNvSpPr>
                <a:spLocks noChangeArrowheads="1"/>
              </p:cNvSpPr>
              <p:nvPr userDrawn="1"/>
            </p:nvSpPr>
            <p:spPr bwMode="auto">
              <a:xfrm>
                <a:off x="1589" y="2451"/>
                <a:ext cx="43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e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537" name="Rectangle 741"/>
              <p:cNvSpPr>
                <a:spLocks noChangeArrowheads="1"/>
              </p:cNvSpPr>
              <p:nvPr userDrawn="1"/>
            </p:nvSpPr>
            <p:spPr bwMode="auto">
              <a:xfrm>
                <a:off x="1608" y="2451"/>
                <a:ext cx="42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x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538" name="Rectangle 742"/>
              <p:cNvSpPr>
                <a:spLocks noChangeArrowheads="1"/>
              </p:cNvSpPr>
              <p:nvPr userDrawn="1"/>
            </p:nvSpPr>
            <p:spPr bwMode="auto">
              <a:xfrm>
                <a:off x="1625" y="2451"/>
                <a:ext cx="29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i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539" name="Rectangle 743"/>
              <p:cNvSpPr>
                <a:spLocks noChangeArrowheads="1"/>
              </p:cNvSpPr>
              <p:nvPr userDrawn="1"/>
            </p:nvSpPr>
            <p:spPr bwMode="auto">
              <a:xfrm>
                <a:off x="1633" y="2451"/>
                <a:ext cx="40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c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540" name="Rectangle 744"/>
              <p:cNvSpPr>
                <a:spLocks noChangeArrowheads="1"/>
              </p:cNvSpPr>
              <p:nvPr userDrawn="1"/>
            </p:nvSpPr>
            <p:spPr bwMode="auto">
              <a:xfrm>
                <a:off x="1648" y="2451"/>
                <a:ext cx="44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o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541" name="Rectangle 745"/>
              <p:cNvSpPr>
                <a:spLocks noChangeArrowheads="1"/>
              </p:cNvSpPr>
              <p:nvPr userDrawn="1"/>
            </p:nvSpPr>
            <p:spPr bwMode="auto">
              <a:xfrm>
                <a:off x="5596" y="2444"/>
                <a:ext cx="45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T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542" name="Rectangle 746"/>
              <p:cNvSpPr>
                <a:spLocks noChangeArrowheads="1"/>
              </p:cNvSpPr>
              <p:nvPr userDrawn="1"/>
            </p:nvSpPr>
            <p:spPr bwMode="auto">
              <a:xfrm>
                <a:off x="5615" y="2444"/>
                <a:ext cx="42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a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543" name="Rectangle 747"/>
              <p:cNvSpPr>
                <a:spLocks noChangeArrowheads="1"/>
              </p:cNvSpPr>
              <p:nvPr userDrawn="1"/>
            </p:nvSpPr>
            <p:spPr bwMode="auto">
              <a:xfrm>
                <a:off x="5633" y="2444"/>
                <a:ext cx="29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i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544" name="Rectangle 748"/>
              <p:cNvSpPr>
                <a:spLocks noChangeArrowheads="1"/>
              </p:cNvSpPr>
              <p:nvPr userDrawn="1"/>
            </p:nvSpPr>
            <p:spPr bwMode="auto">
              <a:xfrm>
                <a:off x="5640" y="2444"/>
                <a:ext cx="52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w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545" name="Rectangle 749"/>
              <p:cNvSpPr>
                <a:spLocks noChangeArrowheads="1"/>
              </p:cNvSpPr>
              <p:nvPr userDrawn="1"/>
            </p:nvSpPr>
            <p:spPr bwMode="auto">
              <a:xfrm>
                <a:off x="5668" y="2444"/>
                <a:ext cx="42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a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546" name="Rectangle 750"/>
              <p:cNvSpPr>
                <a:spLocks noChangeArrowheads="1"/>
              </p:cNvSpPr>
              <p:nvPr userDrawn="1"/>
            </p:nvSpPr>
            <p:spPr bwMode="auto">
              <a:xfrm>
                <a:off x="5687" y="2444"/>
                <a:ext cx="44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n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547" name="Rectangle 751"/>
              <p:cNvSpPr>
                <a:spLocks noChangeArrowheads="1"/>
              </p:cNvSpPr>
              <p:nvPr userDrawn="1"/>
            </p:nvSpPr>
            <p:spPr bwMode="auto">
              <a:xfrm>
                <a:off x="3767" y="2056"/>
                <a:ext cx="44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S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548" name="Rectangle 752"/>
              <p:cNvSpPr>
                <a:spLocks noChangeArrowheads="1"/>
              </p:cNvSpPr>
              <p:nvPr userDrawn="1"/>
            </p:nvSpPr>
            <p:spPr bwMode="auto">
              <a:xfrm>
                <a:off x="3787" y="2056"/>
                <a:ext cx="43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e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549" name="Rectangle 753"/>
              <p:cNvSpPr>
                <a:spLocks noChangeArrowheads="1"/>
              </p:cNvSpPr>
              <p:nvPr userDrawn="1"/>
            </p:nvSpPr>
            <p:spPr bwMode="auto">
              <a:xfrm>
                <a:off x="3806" y="2056"/>
                <a:ext cx="35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r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550" name="Rectangle 754"/>
              <p:cNvSpPr>
                <a:spLocks noChangeArrowheads="1"/>
              </p:cNvSpPr>
              <p:nvPr userDrawn="1"/>
            </p:nvSpPr>
            <p:spPr bwMode="auto">
              <a:xfrm>
                <a:off x="3818" y="2056"/>
                <a:ext cx="43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b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551" name="Rectangle 755"/>
              <p:cNvSpPr>
                <a:spLocks noChangeArrowheads="1"/>
              </p:cNvSpPr>
              <p:nvPr userDrawn="1"/>
            </p:nvSpPr>
            <p:spPr bwMode="auto">
              <a:xfrm>
                <a:off x="3837" y="2056"/>
                <a:ext cx="50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ia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552" name="Rectangle 756"/>
              <p:cNvSpPr>
                <a:spLocks noChangeArrowheads="1"/>
              </p:cNvSpPr>
              <p:nvPr userDrawn="1"/>
            </p:nvSpPr>
            <p:spPr bwMode="auto">
              <a:xfrm>
                <a:off x="3273" y="1757"/>
                <a:ext cx="247" cy="4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United Kingdom</a:t>
                </a:r>
                <a:endParaRPr kumimoji="0" lang="da-DK" altLang="da-DK" sz="18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553" name="Rectangle 757"/>
              <p:cNvSpPr>
                <a:spLocks noChangeArrowheads="1"/>
              </p:cNvSpPr>
              <p:nvPr userDrawn="1"/>
            </p:nvSpPr>
            <p:spPr bwMode="auto">
              <a:xfrm>
                <a:off x="2381" y="2762"/>
                <a:ext cx="46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G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554" name="Rectangle 758"/>
              <p:cNvSpPr>
                <a:spLocks noChangeArrowheads="1"/>
              </p:cNvSpPr>
              <p:nvPr userDrawn="1"/>
            </p:nvSpPr>
            <p:spPr bwMode="auto">
              <a:xfrm>
                <a:off x="2402" y="2762"/>
                <a:ext cx="44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u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555" name="Rectangle 759"/>
              <p:cNvSpPr>
                <a:spLocks noChangeArrowheads="1"/>
              </p:cNvSpPr>
              <p:nvPr userDrawn="1"/>
            </p:nvSpPr>
            <p:spPr bwMode="auto">
              <a:xfrm>
                <a:off x="2421" y="2762"/>
                <a:ext cx="42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y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556" name="Rectangle 760"/>
              <p:cNvSpPr>
                <a:spLocks noChangeArrowheads="1"/>
              </p:cNvSpPr>
              <p:nvPr userDrawn="1"/>
            </p:nvSpPr>
            <p:spPr bwMode="auto">
              <a:xfrm>
                <a:off x="2438" y="2762"/>
                <a:ext cx="42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a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557" name="Rectangle 761"/>
              <p:cNvSpPr>
                <a:spLocks noChangeArrowheads="1"/>
              </p:cNvSpPr>
              <p:nvPr userDrawn="1"/>
            </p:nvSpPr>
            <p:spPr bwMode="auto">
              <a:xfrm>
                <a:off x="2456" y="2762"/>
                <a:ext cx="44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n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558" name="Rectangle 762"/>
              <p:cNvSpPr>
                <a:spLocks noChangeArrowheads="1"/>
              </p:cNvSpPr>
              <p:nvPr userDrawn="1"/>
            </p:nvSpPr>
            <p:spPr bwMode="auto">
              <a:xfrm>
                <a:off x="2476" y="2762"/>
                <a:ext cx="42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a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559" name="Rectangle 764"/>
              <p:cNvSpPr>
                <a:spLocks noChangeArrowheads="1"/>
              </p:cNvSpPr>
              <p:nvPr userDrawn="1"/>
            </p:nvSpPr>
            <p:spPr bwMode="auto">
              <a:xfrm>
                <a:off x="2433" y="3058"/>
                <a:ext cx="0" cy="18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560" name="Rectangle 765"/>
              <p:cNvSpPr>
                <a:spLocks noChangeArrowheads="1"/>
              </p:cNvSpPr>
              <p:nvPr userDrawn="1"/>
            </p:nvSpPr>
            <p:spPr bwMode="auto">
              <a:xfrm>
                <a:off x="2455" y="3058"/>
                <a:ext cx="0" cy="18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562" name="Rectangle 767"/>
              <p:cNvSpPr>
                <a:spLocks noChangeArrowheads="1"/>
              </p:cNvSpPr>
              <p:nvPr userDrawn="1"/>
            </p:nvSpPr>
            <p:spPr bwMode="auto">
              <a:xfrm>
                <a:off x="2485" y="3058"/>
                <a:ext cx="0" cy="18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563" name="Rectangle 768"/>
              <p:cNvSpPr>
                <a:spLocks noChangeArrowheads="1"/>
              </p:cNvSpPr>
              <p:nvPr userDrawn="1"/>
            </p:nvSpPr>
            <p:spPr bwMode="auto">
              <a:xfrm>
                <a:off x="2254" y="3208"/>
                <a:ext cx="46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B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564" name="Rectangle 769"/>
              <p:cNvSpPr>
                <a:spLocks noChangeArrowheads="1"/>
              </p:cNvSpPr>
              <p:nvPr userDrawn="1"/>
            </p:nvSpPr>
            <p:spPr bwMode="auto">
              <a:xfrm>
                <a:off x="2276" y="3208"/>
                <a:ext cx="44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o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565" name="Rectangle 770"/>
              <p:cNvSpPr>
                <a:spLocks noChangeArrowheads="1"/>
              </p:cNvSpPr>
              <p:nvPr userDrawn="1"/>
            </p:nvSpPr>
            <p:spPr bwMode="auto">
              <a:xfrm>
                <a:off x="2295" y="3208"/>
                <a:ext cx="29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l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566" name="Rectangle 771"/>
              <p:cNvSpPr>
                <a:spLocks noChangeArrowheads="1"/>
              </p:cNvSpPr>
              <p:nvPr userDrawn="1"/>
            </p:nvSpPr>
            <p:spPr bwMode="auto">
              <a:xfrm>
                <a:off x="2303" y="3208"/>
                <a:ext cx="29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i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567" name="Rectangle 772"/>
              <p:cNvSpPr>
                <a:spLocks noChangeArrowheads="1"/>
              </p:cNvSpPr>
              <p:nvPr userDrawn="1"/>
            </p:nvSpPr>
            <p:spPr bwMode="auto">
              <a:xfrm>
                <a:off x="2310" y="3208"/>
                <a:ext cx="41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v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568" name="Rectangle 773"/>
              <p:cNvSpPr>
                <a:spLocks noChangeArrowheads="1"/>
              </p:cNvSpPr>
              <p:nvPr userDrawn="1"/>
            </p:nvSpPr>
            <p:spPr bwMode="auto">
              <a:xfrm>
                <a:off x="2327" y="3208"/>
                <a:ext cx="29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i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569" name="Rectangle 774"/>
              <p:cNvSpPr>
                <a:spLocks noChangeArrowheads="1"/>
              </p:cNvSpPr>
              <p:nvPr userDrawn="1"/>
            </p:nvSpPr>
            <p:spPr bwMode="auto">
              <a:xfrm>
                <a:off x="2335" y="3208"/>
                <a:ext cx="42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a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570" name="Rectangle 775"/>
              <p:cNvSpPr>
                <a:spLocks noChangeArrowheads="1"/>
              </p:cNvSpPr>
              <p:nvPr userDrawn="1"/>
            </p:nvSpPr>
            <p:spPr bwMode="auto">
              <a:xfrm>
                <a:off x="2361" y="3302"/>
                <a:ext cx="45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P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571" name="Rectangle 776"/>
              <p:cNvSpPr>
                <a:spLocks noChangeArrowheads="1"/>
              </p:cNvSpPr>
              <p:nvPr userDrawn="1"/>
            </p:nvSpPr>
            <p:spPr bwMode="auto">
              <a:xfrm>
                <a:off x="2380" y="3302"/>
                <a:ext cx="42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a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572" name="Rectangle 777"/>
              <p:cNvSpPr>
                <a:spLocks noChangeArrowheads="1"/>
              </p:cNvSpPr>
              <p:nvPr userDrawn="1"/>
            </p:nvSpPr>
            <p:spPr bwMode="auto">
              <a:xfrm>
                <a:off x="2397" y="3302"/>
                <a:ext cx="35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r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573" name="Rectangle 778"/>
              <p:cNvSpPr>
                <a:spLocks noChangeArrowheads="1"/>
              </p:cNvSpPr>
              <p:nvPr userDrawn="1"/>
            </p:nvSpPr>
            <p:spPr bwMode="auto">
              <a:xfrm>
                <a:off x="2410" y="3302"/>
                <a:ext cx="42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a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574" name="Rectangle 779"/>
              <p:cNvSpPr>
                <a:spLocks noChangeArrowheads="1"/>
              </p:cNvSpPr>
              <p:nvPr userDrawn="1"/>
            </p:nvSpPr>
            <p:spPr bwMode="auto">
              <a:xfrm>
                <a:off x="2428" y="3302"/>
                <a:ext cx="43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g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575" name="Rectangle 780"/>
              <p:cNvSpPr>
                <a:spLocks noChangeArrowheads="1"/>
              </p:cNvSpPr>
              <p:nvPr userDrawn="1"/>
            </p:nvSpPr>
            <p:spPr bwMode="auto">
              <a:xfrm>
                <a:off x="2448" y="3302"/>
                <a:ext cx="44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u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576" name="Rectangle 781"/>
              <p:cNvSpPr>
                <a:spLocks noChangeArrowheads="1"/>
              </p:cNvSpPr>
              <p:nvPr userDrawn="1"/>
            </p:nvSpPr>
            <p:spPr bwMode="auto">
              <a:xfrm>
                <a:off x="2467" y="3302"/>
                <a:ext cx="42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a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577" name="Rectangle 782"/>
              <p:cNvSpPr>
                <a:spLocks noChangeArrowheads="1"/>
              </p:cNvSpPr>
              <p:nvPr userDrawn="1"/>
            </p:nvSpPr>
            <p:spPr bwMode="auto">
              <a:xfrm>
                <a:off x="2485" y="3302"/>
                <a:ext cx="42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y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578" name="Rectangle 783"/>
              <p:cNvSpPr>
                <a:spLocks noChangeArrowheads="1"/>
              </p:cNvSpPr>
              <p:nvPr userDrawn="1"/>
            </p:nvSpPr>
            <p:spPr bwMode="auto">
              <a:xfrm>
                <a:off x="1858" y="2584"/>
                <a:ext cx="46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B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579" name="Rectangle 784"/>
              <p:cNvSpPr>
                <a:spLocks noChangeArrowheads="1"/>
              </p:cNvSpPr>
              <p:nvPr userDrawn="1"/>
            </p:nvSpPr>
            <p:spPr bwMode="auto">
              <a:xfrm>
                <a:off x="1880" y="2584"/>
                <a:ext cx="43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e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580" name="Rectangle 785"/>
              <p:cNvSpPr>
                <a:spLocks noChangeArrowheads="1"/>
              </p:cNvSpPr>
              <p:nvPr userDrawn="1"/>
            </p:nvSpPr>
            <p:spPr bwMode="auto">
              <a:xfrm>
                <a:off x="1899" y="2584"/>
                <a:ext cx="29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l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581" name="Rectangle 786"/>
              <p:cNvSpPr>
                <a:spLocks noChangeArrowheads="1"/>
              </p:cNvSpPr>
              <p:nvPr userDrawn="1"/>
            </p:nvSpPr>
            <p:spPr bwMode="auto">
              <a:xfrm>
                <a:off x="1907" y="2584"/>
                <a:ext cx="29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i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582" name="Rectangle 787"/>
              <p:cNvSpPr>
                <a:spLocks noChangeArrowheads="1"/>
              </p:cNvSpPr>
              <p:nvPr userDrawn="1"/>
            </p:nvSpPr>
            <p:spPr bwMode="auto">
              <a:xfrm>
                <a:off x="1915" y="2584"/>
                <a:ext cx="40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z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583" name="Rectangle 788"/>
              <p:cNvSpPr>
                <a:spLocks noChangeArrowheads="1"/>
              </p:cNvSpPr>
              <p:nvPr userDrawn="1"/>
            </p:nvSpPr>
            <p:spPr bwMode="auto">
              <a:xfrm>
                <a:off x="1932" y="2584"/>
                <a:ext cx="43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e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584" name="Rectangle 789"/>
              <p:cNvSpPr>
                <a:spLocks noChangeArrowheads="1"/>
              </p:cNvSpPr>
              <p:nvPr userDrawn="1"/>
            </p:nvSpPr>
            <p:spPr bwMode="auto">
              <a:xfrm>
                <a:off x="3472" y="2398"/>
                <a:ext cx="122" cy="4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Algeriet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585" name="Rectangle 790"/>
              <p:cNvSpPr>
                <a:spLocks noChangeArrowheads="1"/>
              </p:cNvSpPr>
              <p:nvPr userDrawn="1"/>
            </p:nvSpPr>
            <p:spPr bwMode="auto">
              <a:xfrm>
                <a:off x="3939" y="2414"/>
                <a:ext cx="44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E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586" name="Rectangle 791"/>
              <p:cNvSpPr>
                <a:spLocks noChangeArrowheads="1"/>
              </p:cNvSpPr>
              <p:nvPr userDrawn="1"/>
            </p:nvSpPr>
            <p:spPr bwMode="auto">
              <a:xfrm>
                <a:off x="3958" y="2414"/>
                <a:ext cx="43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g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587" name="Rectangle 792"/>
              <p:cNvSpPr>
                <a:spLocks noChangeArrowheads="1"/>
              </p:cNvSpPr>
              <p:nvPr userDrawn="1"/>
            </p:nvSpPr>
            <p:spPr bwMode="auto">
              <a:xfrm>
                <a:off x="3977" y="2414"/>
                <a:ext cx="42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y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588" name="Rectangle 793"/>
              <p:cNvSpPr>
                <a:spLocks noChangeArrowheads="1"/>
              </p:cNvSpPr>
              <p:nvPr userDrawn="1"/>
            </p:nvSpPr>
            <p:spPr bwMode="auto">
              <a:xfrm>
                <a:off x="3995" y="2414"/>
                <a:ext cx="43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p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589" name="Rectangle 794"/>
              <p:cNvSpPr>
                <a:spLocks noChangeArrowheads="1"/>
              </p:cNvSpPr>
              <p:nvPr userDrawn="1"/>
            </p:nvSpPr>
            <p:spPr bwMode="auto">
              <a:xfrm>
                <a:off x="4012" y="2414"/>
                <a:ext cx="37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t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591" name="Rectangle 796"/>
              <p:cNvSpPr>
                <a:spLocks noChangeArrowheads="1"/>
              </p:cNvSpPr>
              <p:nvPr userDrawn="1"/>
            </p:nvSpPr>
            <p:spPr bwMode="auto">
              <a:xfrm>
                <a:off x="3407" y="2566"/>
                <a:ext cx="52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M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592" name="Rectangle 797"/>
              <p:cNvSpPr>
                <a:spLocks noChangeArrowheads="1"/>
              </p:cNvSpPr>
              <p:nvPr userDrawn="1"/>
            </p:nvSpPr>
            <p:spPr bwMode="auto">
              <a:xfrm>
                <a:off x="3434" y="2566"/>
                <a:ext cx="42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a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593" name="Rectangle 798"/>
              <p:cNvSpPr>
                <a:spLocks noChangeArrowheads="1"/>
              </p:cNvSpPr>
              <p:nvPr userDrawn="1"/>
            </p:nvSpPr>
            <p:spPr bwMode="auto">
              <a:xfrm>
                <a:off x="3452" y="2566"/>
                <a:ext cx="29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l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594" name="Rectangle 799"/>
              <p:cNvSpPr>
                <a:spLocks noChangeArrowheads="1"/>
              </p:cNvSpPr>
              <p:nvPr userDrawn="1"/>
            </p:nvSpPr>
            <p:spPr bwMode="auto">
              <a:xfrm>
                <a:off x="3460" y="2566"/>
                <a:ext cx="29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i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595" name="Rectangle 800"/>
              <p:cNvSpPr>
                <a:spLocks noChangeArrowheads="1"/>
              </p:cNvSpPr>
              <p:nvPr userDrawn="1"/>
            </p:nvSpPr>
            <p:spPr bwMode="auto">
              <a:xfrm>
                <a:off x="3209" y="2796"/>
                <a:ext cx="42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L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596" name="Rectangle 801"/>
              <p:cNvSpPr>
                <a:spLocks noChangeArrowheads="1"/>
              </p:cNvSpPr>
              <p:nvPr userDrawn="1"/>
            </p:nvSpPr>
            <p:spPr bwMode="auto">
              <a:xfrm>
                <a:off x="3228" y="2796"/>
                <a:ext cx="29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i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597" name="Rectangle 802"/>
              <p:cNvSpPr>
                <a:spLocks noChangeArrowheads="1"/>
              </p:cNvSpPr>
              <p:nvPr userDrawn="1"/>
            </p:nvSpPr>
            <p:spPr bwMode="auto">
              <a:xfrm>
                <a:off x="3236" y="2796"/>
                <a:ext cx="65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be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598" name="Rectangle 803"/>
              <p:cNvSpPr>
                <a:spLocks noChangeArrowheads="1"/>
              </p:cNvSpPr>
              <p:nvPr userDrawn="1"/>
            </p:nvSpPr>
            <p:spPr bwMode="auto">
              <a:xfrm>
                <a:off x="3274" y="2796"/>
                <a:ext cx="35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r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599" name="Rectangle 804"/>
              <p:cNvSpPr>
                <a:spLocks noChangeArrowheads="1"/>
              </p:cNvSpPr>
              <p:nvPr userDrawn="1"/>
            </p:nvSpPr>
            <p:spPr bwMode="auto">
              <a:xfrm>
                <a:off x="3287" y="2796"/>
                <a:ext cx="29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i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600" name="Rectangle 805"/>
              <p:cNvSpPr>
                <a:spLocks noChangeArrowheads="1"/>
              </p:cNvSpPr>
              <p:nvPr userDrawn="1"/>
            </p:nvSpPr>
            <p:spPr bwMode="auto">
              <a:xfrm>
                <a:off x="3295" y="2796"/>
                <a:ext cx="42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a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601" name="Rectangle 806"/>
              <p:cNvSpPr>
                <a:spLocks noChangeArrowheads="1"/>
              </p:cNvSpPr>
              <p:nvPr userDrawn="1"/>
            </p:nvSpPr>
            <p:spPr bwMode="auto">
              <a:xfrm>
                <a:off x="3203" y="2696"/>
                <a:ext cx="46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G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602" name="Rectangle 807"/>
              <p:cNvSpPr>
                <a:spLocks noChangeArrowheads="1"/>
              </p:cNvSpPr>
              <p:nvPr userDrawn="1"/>
            </p:nvSpPr>
            <p:spPr bwMode="auto">
              <a:xfrm>
                <a:off x="3225" y="2696"/>
                <a:ext cx="44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a-DK" altLang="da-DK" sz="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oho Gothic Pro Light" panose="020B0303030504020204" pitchFamily="34" charset="0"/>
                  </a:rPr>
                  <a:t>u</a:t>
                </a:r>
                <a:endParaRPr kumimoji="0" lang="da-DK" altLang="da-DK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</p:grpSp>
        <p:sp>
          <p:nvSpPr>
            <p:cNvPr id="1062" name="Rectangle 809"/>
            <p:cNvSpPr>
              <a:spLocks noChangeArrowheads="1"/>
            </p:cNvSpPr>
            <p:nvPr userDrawn="1"/>
          </p:nvSpPr>
          <p:spPr bwMode="auto">
            <a:xfrm>
              <a:off x="3245" y="2696"/>
              <a:ext cx="29" cy="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altLang="da-DK" sz="4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oho Gothic Pro Light" panose="020B0303030504020204" pitchFamily="34" charset="0"/>
                </a:rPr>
                <a:t>i</a:t>
              </a:r>
              <a:endParaRPr kumimoji="0" lang="da-DK" altLang="da-DK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063" name="Rectangle 810"/>
            <p:cNvSpPr>
              <a:spLocks noChangeArrowheads="1"/>
            </p:cNvSpPr>
            <p:nvPr userDrawn="1"/>
          </p:nvSpPr>
          <p:spPr bwMode="auto">
            <a:xfrm>
              <a:off x="3252" y="2696"/>
              <a:ext cx="44" cy="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altLang="da-DK" sz="4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oho Gothic Pro Light" panose="020B0303030504020204" pitchFamily="34" charset="0"/>
                </a:rPr>
                <a:t>n</a:t>
              </a:r>
              <a:endParaRPr kumimoji="0" lang="da-DK" altLang="da-DK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064" name="Rectangle 811"/>
            <p:cNvSpPr>
              <a:spLocks noChangeArrowheads="1"/>
            </p:cNvSpPr>
            <p:nvPr userDrawn="1"/>
          </p:nvSpPr>
          <p:spPr bwMode="auto">
            <a:xfrm>
              <a:off x="3273" y="2696"/>
              <a:ext cx="43" cy="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altLang="da-DK" sz="4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oho Gothic Pro Light" panose="020B0303030504020204" pitchFamily="34" charset="0"/>
                </a:rPr>
                <a:t>e</a:t>
              </a:r>
              <a:endParaRPr kumimoji="0" lang="da-DK" altLang="da-DK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065" name="Rectangle 812"/>
            <p:cNvSpPr>
              <a:spLocks noChangeArrowheads="1"/>
            </p:cNvSpPr>
            <p:nvPr userDrawn="1"/>
          </p:nvSpPr>
          <p:spPr bwMode="auto">
            <a:xfrm>
              <a:off x="3292" y="2696"/>
              <a:ext cx="42" cy="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altLang="da-DK" sz="4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oho Gothic Pro Light" panose="020B0303030504020204" pitchFamily="34" charset="0"/>
                </a:rPr>
                <a:t>a</a:t>
              </a:r>
              <a:endParaRPr kumimoji="0" lang="da-DK" altLang="da-DK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067" name="Rectangle 813"/>
            <p:cNvSpPr>
              <a:spLocks noChangeArrowheads="1"/>
            </p:cNvSpPr>
            <p:nvPr userDrawn="1"/>
          </p:nvSpPr>
          <p:spPr bwMode="auto">
            <a:xfrm>
              <a:off x="3649" y="2811"/>
              <a:ext cx="43" cy="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altLang="da-DK" sz="4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oho Gothic Pro Light" panose="020B0303030504020204" pitchFamily="34" charset="0"/>
                </a:rPr>
                <a:t>C</a:t>
              </a:r>
              <a:endParaRPr kumimoji="0" lang="da-DK" altLang="da-DK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068" name="Rectangle 814"/>
            <p:cNvSpPr>
              <a:spLocks noChangeArrowheads="1"/>
            </p:cNvSpPr>
            <p:nvPr userDrawn="1"/>
          </p:nvSpPr>
          <p:spPr bwMode="auto">
            <a:xfrm>
              <a:off x="3668" y="2811"/>
              <a:ext cx="42" cy="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altLang="da-DK" sz="4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oho Gothic Pro Light" panose="020B0303030504020204" pitchFamily="34" charset="0"/>
                </a:rPr>
                <a:t>a</a:t>
              </a:r>
              <a:endParaRPr kumimoji="0" lang="da-DK" altLang="da-DK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069" name="Rectangle 815"/>
            <p:cNvSpPr>
              <a:spLocks noChangeArrowheads="1"/>
            </p:cNvSpPr>
            <p:nvPr userDrawn="1"/>
          </p:nvSpPr>
          <p:spPr bwMode="auto">
            <a:xfrm>
              <a:off x="3686" y="2811"/>
              <a:ext cx="54" cy="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altLang="da-DK" sz="4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oho Gothic Pro Light" panose="020B0303030504020204" pitchFamily="34" charset="0"/>
                </a:rPr>
                <a:t>m</a:t>
              </a:r>
              <a:endParaRPr kumimoji="0" lang="da-DK" altLang="da-DK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095" name="Rectangle 816"/>
            <p:cNvSpPr>
              <a:spLocks noChangeArrowheads="1"/>
            </p:cNvSpPr>
            <p:nvPr userDrawn="1"/>
          </p:nvSpPr>
          <p:spPr bwMode="auto">
            <a:xfrm>
              <a:off x="3715" y="2811"/>
              <a:ext cx="43" cy="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altLang="da-DK" sz="4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oho Gothic Pro Light" panose="020B0303030504020204" pitchFamily="34" charset="0"/>
                </a:rPr>
                <a:t>e</a:t>
              </a:r>
              <a:endParaRPr kumimoji="0" lang="da-DK" altLang="da-DK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096" name="Rectangle 817"/>
            <p:cNvSpPr>
              <a:spLocks noChangeArrowheads="1"/>
            </p:cNvSpPr>
            <p:nvPr userDrawn="1"/>
          </p:nvSpPr>
          <p:spPr bwMode="auto">
            <a:xfrm>
              <a:off x="3734" y="2811"/>
              <a:ext cx="35" cy="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altLang="da-DK" sz="4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oho Gothic Pro Light" panose="020B0303030504020204" pitchFamily="34" charset="0"/>
                </a:rPr>
                <a:t>r</a:t>
              </a:r>
              <a:endParaRPr kumimoji="0" lang="da-DK" altLang="da-DK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097" name="Rectangle 818"/>
            <p:cNvSpPr>
              <a:spLocks noChangeArrowheads="1"/>
            </p:cNvSpPr>
            <p:nvPr userDrawn="1"/>
          </p:nvSpPr>
          <p:spPr bwMode="auto">
            <a:xfrm>
              <a:off x="3746" y="2811"/>
              <a:ext cx="44" cy="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altLang="da-DK" sz="4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oho Gothic Pro Light" panose="020B0303030504020204" pitchFamily="34" charset="0"/>
                </a:rPr>
                <a:t>o</a:t>
              </a:r>
              <a:endParaRPr kumimoji="0" lang="da-DK" altLang="da-DK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118" name="Rectangle 819"/>
            <p:cNvSpPr>
              <a:spLocks noChangeArrowheads="1"/>
            </p:cNvSpPr>
            <p:nvPr userDrawn="1"/>
          </p:nvSpPr>
          <p:spPr bwMode="auto">
            <a:xfrm>
              <a:off x="3765" y="2811"/>
              <a:ext cx="44" cy="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altLang="da-DK" sz="4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oho Gothic Pro Light" panose="020B0303030504020204" pitchFamily="34" charset="0"/>
                </a:rPr>
                <a:t>u</a:t>
              </a:r>
              <a:endParaRPr kumimoji="0" lang="da-DK" altLang="da-DK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289" name="Rectangle 820"/>
            <p:cNvSpPr>
              <a:spLocks noChangeArrowheads="1"/>
            </p:cNvSpPr>
            <p:nvPr userDrawn="1"/>
          </p:nvSpPr>
          <p:spPr bwMode="auto">
            <a:xfrm>
              <a:off x="3785" y="2811"/>
              <a:ext cx="44" cy="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altLang="da-DK" sz="4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oho Gothic Pro Light" panose="020B0303030504020204" pitchFamily="34" charset="0"/>
                </a:rPr>
                <a:t>n</a:t>
              </a:r>
              <a:endParaRPr kumimoji="0" lang="da-DK" altLang="da-DK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298" name="Rectangle 829"/>
            <p:cNvSpPr>
              <a:spLocks noChangeArrowheads="1"/>
            </p:cNvSpPr>
            <p:nvPr userDrawn="1"/>
          </p:nvSpPr>
          <p:spPr bwMode="auto">
            <a:xfrm>
              <a:off x="3953" y="3242"/>
              <a:ext cx="45" cy="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altLang="da-DK" sz="4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oho Gothic Pro Light" panose="020B0303030504020204" pitchFamily="34" charset="0"/>
                </a:rPr>
                <a:t>Z</a:t>
              </a:r>
              <a:endParaRPr kumimoji="0" lang="da-DK" altLang="da-DK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299" name="Rectangle 830"/>
            <p:cNvSpPr>
              <a:spLocks noChangeArrowheads="1"/>
            </p:cNvSpPr>
            <p:nvPr userDrawn="1"/>
          </p:nvSpPr>
          <p:spPr bwMode="auto">
            <a:xfrm>
              <a:off x="3974" y="3242"/>
              <a:ext cx="29" cy="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altLang="da-DK" sz="4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oho Gothic Pro Light" panose="020B0303030504020204" pitchFamily="34" charset="0"/>
                </a:rPr>
                <a:t>i</a:t>
              </a:r>
              <a:endParaRPr kumimoji="0" lang="da-DK" altLang="da-DK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300" name="Rectangle 831"/>
            <p:cNvSpPr>
              <a:spLocks noChangeArrowheads="1"/>
            </p:cNvSpPr>
            <p:nvPr userDrawn="1"/>
          </p:nvSpPr>
          <p:spPr bwMode="auto">
            <a:xfrm>
              <a:off x="3983" y="3242"/>
              <a:ext cx="54" cy="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altLang="da-DK" sz="4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oho Gothic Pro Light" panose="020B0303030504020204" pitchFamily="34" charset="0"/>
                </a:rPr>
                <a:t>m</a:t>
              </a:r>
              <a:endParaRPr kumimoji="0" lang="da-DK" altLang="da-DK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301" name="Rectangle 832"/>
            <p:cNvSpPr>
              <a:spLocks noChangeArrowheads="1"/>
            </p:cNvSpPr>
            <p:nvPr userDrawn="1"/>
          </p:nvSpPr>
          <p:spPr bwMode="auto">
            <a:xfrm>
              <a:off x="4011" y="3242"/>
              <a:ext cx="43" cy="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altLang="da-DK" sz="4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oho Gothic Pro Light" panose="020B0303030504020204" pitchFamily="34" charset="0"/>
                </a:rPr>
                <a:t>b</a:t>
              </a:r>
              <a:endParaRPr kumimoji="0" lang="da-DK" altLang="da-DK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302" name="Rectangle 833"/>
            <p:cNvSpPr>
              <a:spLocks noChangeArrowheads="1"/>
            </p:cNvSpPr>
            <p:nvPr userDrawn="1"/>
          </p:nvSpPr>
          <p:spPr bwMode="auto">
            <a:xfrm>
              <a:off x="4030" y="3242"/>
              <a:ext cx="42" cy="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altLang="da-DK" sz="4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oho Gothic Pro Light" panose="020B0303030504020204" pitchFamily="34" charset="0"/>
                </a:rPr>
                <a:t>a</a:t>
              </a:r>
              <a:endParaRPr kumimoji="0" lang="da-DK" altLang="da-DK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303" name="Rectangle 834"/>
            <p:cNvSpPr>
              <a:spLocks noChangeArrowheads="1"/>
            </p:cNvSpPr>
            <p:nvPr userDrawn="1"/>
          </p:nvSpPr>
          <p:spPr bwMode="auto">
            <a:xfrm>
              <a:off x="4049" y="3242"/>
              <a:ext cx="43" cy="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altLang="da-DK" sz="4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oho Gothic Pro Light" panose="020B0303030504020204" pitchFamily="34" charset="0"/>
                </a:rPr>
                <a:t>b</a:t>
              </a:r>
              <a:endParaRPr kumimoji="0" lang="da-DK" altLang="da-DK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304" name="Rectangle 835"/>
            <p:cNvSpPr>
              <a:spLocks noChangeArrowheads="1"/>
            </p:cNvSpPr>
            <p:nvPr userDrawn="1"/>
          </p:nvSpPr>
          <p:spPr bwMode="auto">
            <a:xfrm>
              <a:off x="4068" y="3242"/>
              <a:ext cx="52" cy="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altLang="da-DK" sz="4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oho Gothic Pro Light" panose="020B0303030504020204" pitchFamily="34" charset="0"/>
                </a:rPr>
                <a:t>w</a:t>
              </a:r>
              <a:endParaRPr kumimoji="0" lang="da-DK" altLang="da-DK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305" name="Rectangle 836"/>
            <p:cNvSpPr>
              <a:spLocks noChangeArrowheads="1"/>
            </p:cNvSpPr>
            <p:nvPr userDrawn="1"/>
          </p:nvSpPr>
          <p:spPr bwMode="auto">
            <a:xfrm>
              <a:off x="4093" y="3242"/>
              <a:ext cx="43" cy="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altLang="da-DK" sz="4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oho Gothic Pro Light" panose="020B0303030504020204" pitchFamily="34" charset="0"/>
                </a:rPr>
                <a:t>e</a:t>
              </a:r>
              <a:endParaRPr kumimoji="0" lang="da-DK" altLang="da-DK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306" name="Rectangle 837"/>
            <p:cNvSpPr>
              <a:spLocks noChangeArrowheads="1"/>
            </p:cNvSpPr>
            <p:nvPr userDrawn="1"/>
          </p:nvSpPr>
          <p:spPr bwMode="auto">
            <a:xfrm>
              <a:off x="3710" y="3256"/>
              <a:ext cx="48" cy="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altLang="da-DK" sz="4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oho Gothic Pro Light" panose="020B0303030504020204" pitchFamily="34" charset="0"/>
                </a:rPr>
                <a:t>N</a:t>
              </a:r>
              <a:endParaRPr kumimoji="0" lang="da-DK" altLang="da-DK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307" name="Rectangle 838"/>
            <p:cNvSpPr>
              <a:spLocks noChangeArrowheads="1"/>
            </p:cNvSpPr>
            <p:nvPr userDrawn="1"/>
          </p:nvSpPr>
          <p:spPr bwMode="auto">
            <a:xfrm>
              <a:off x="3734" y="3256"/>
              <a:ext cx="42" cy="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altLang="da-DK" sz="4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oho Gothic Pro Light" panose="020B0303030504020204" pitchFamily="34" charset="0"/>
                </a:rPr>
                <a:t>a</a:t>
              </a:r>
              <a:endParaRPr kumimoji="0" lang="da-DK" altLang="da-DK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308" name="Rectangle 839"/>
            <p:cNvSpPr>
              <a:spLocks noChangeArrowheads="1"/>
            </p:cNvSpPr>
            <p:nvPr userDrawn="1"/>
          </p:nvSpPr>
          <p:spPr bwMode="auto">
            <a:xfrm>
              <a:off x="3752" y="3256"/>
              <a:ext cx="54" cy="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altLang="da-DK" sz="4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oho Gothic Pro Light" panose="020B0303030504020204" pitchFamily="34" charset="0"/>
                </a:rPr>
                <a:t>m</a:t>
              </a:r>
              <a:endParaRPr kumimoji="0" lang="da-DK" altLang="da-DK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309" name="Rectangle 840"/>
            <p:cNvSpPr>
              <a:spLocks noChangeArrowheads="1"/>
            </p:cNvSpPr>
            <p:nvPr userDrawn="1"/>
          </p:nvSpPr>
          <p:spPr bwMode="auto">
            <a:xfrm>
              <a:off x="3781" y="3256"/>
              <a:ext cx="29" cy="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altLang="da-DK" sz="4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oho Gothic Pro Light" panose="020B0303030504020204" pitchFamily="34" charset="0"/>
                </a:rPr>
                <a:t>i</a:t>
              </a:r>
              <a:endParaRPr kumimoji="0" lang="da-DK" altLang="da-DK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310" name="Rectangle 841"/>
            <p:cNvSpPr>
              <a:spLocks noChangeArrowheads="1"/>
            </p:cNvSpPr>
            <p:nvPr userDrawn="1"/>
          </p:nvSpPr>
          <p:spPr bwMode="auto">
            <a:xfrm>
              <a:off x="3790" y="3256"/>
              <a:ext cx="43" cy="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altLang="da-DK" sz="4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oho Gothic Pro Light" panose="020B0303030504020204" pitchFamily="34" charset="0"/>
                </a:rPr>
                <a:t>b</a:t>
              </a:r>
              <a:endParaRPr kumimoji="0" lang="da-DK" altLang="da-DK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311" name="Rectangle 842"/>
            <p:cNvSpPr>
              <a:spLocks noChangeArrowheads="1"/>
            </p:cNvSpPr>
            <p:nvPr userDrawn="1"/>
          </p:nvSpPr>
          <p:spPr bwMode="auto">
            <a:xfrm>
              <a:off x="3809" y="3256"/>
              <a:ext cx="29" cy="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altLang="da-DK" sz="4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oho Gothic Pro Light" panose="020B0303030504020204" pitchFamily="34" charset="0"/>
                </a:rPr>
                <a:t>i</a:t>
              </a:r>
              <a:endParaRPr kumimoji="0" lang="da-DK" altLang="da-DK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312" name="Rectangle 843"/>
            <p:cNvSpPr>
              <a:spLocks noChangeArrowheads="1"/>
            </p:cNvSpPr>
            <p:nvPr userDrawn="1"/>
          </p:nvSpPr>
          <p:spPr bwMode="auto">
            <a:xfrm>
              <a:off x="3816" y="3256"/>
              <a:ext cx="42" cy="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altLang="da-DK" sz="4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oho Gothic Pro Light" panose="020B0303030504020204" pitchFamily="34" charset="0"/>
                </a:rPr>
                <a:t>a</a:t>
              </a:r>
              <a:endParaRPr kumimoji="0" lang="da-DK" altLang="da-DK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313" name="Rectangle 844"/>
            <p:cNvSpPr>
              <a:spLocks noChangeArrowheads="1"/>
            </p:cNvSpPr>
            <p:nvPr userDrawn="1"/>
          </p:nvSpPr>
          <p:spPr bwMode="auto">
            <a:xfrm>
              <a:off x="3833" y="3326"/>
              <a:ext cx="46" cy="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altLang="da-DK" sz="4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oho Gothic Pro Light" panose="020B0303030504020204" pitchFamily="34" charset="0"/>
                </a:rPr>
                <a:t>B</a:t>
              </a:r>
              <a:endParaRPr kumimoji="0" lang="da-DK" altLang="da-DK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314" name="Rectangle 845"/>
            <p:cNvSpPr>
              <a:spLocks noChangeArrowheads="1"/>
            </p:cNvSpPr>
            <p:nvPr userDrawn="1"/>
          </p:nvSpPr>
          <p:spPr bwMode="auto">
            <a:xfrm>
              <a:off x="3853" y="3326"/>
              <a:ext cx="44" cy="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altLang="da-DK" sz="4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oho Gothic Pro Light" panose="020B0303030504020204" pitchFamily="34" charset="0"/>
                </a:rPr>
                <a:t>o</a:t>
              </a:r>
              <a:endParaRPr kumimoji="0" lang="da-DK" altLang="da-DK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315" name="Rectangle 846"/>
            <p:cNvSpPr>
              <a:spLocks noChangeArrowheads="1"/>
            </p:cNvSpPr>
            <p:nvPr userDrawn="1"/>
          </p:nvSpPr>
          <p:spPr bwMode="auto">
            <a:xfrm>
              <a:off x="3872" y="3326"/>
              <a:ext cx="37" cy="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altLang="da-DK" sz="4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oho Gothic Pro Light" panose="020B0303030504020204" pitchFamily="34" charset="0"/>
                </a:rPr>
                <a:t>t</a:t>
              </a:r>
              <a:endParaRPr kumimoji="0" lang="da-DK" altLang="da-DK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316" name="Rectangle 847"/>
            <p:cNvSpPr>
              <a:spLocks noChangeArrowheads="1"/>
            </p:cNvSpPr>
            <p:nvPr userDrawn="1"/>
          </p:nvSpPr>
          <p:spPr bwMode="auto">
            <a:xfrm>
              <a:off x="3885" y="3326"/>
              <a:ext cx="40" cy="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altLang="da-DK" sz="4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oho Gothic Pro Light" panose="020B0303030504020204" pitchFamily="34" charset="0"/>
                </a:rPr>
                <a:t>s</a:t>
              </a:r>
              <a:endParaRPr kumimoji="0" lang="da-DK" altLang="da-DK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317" name="Rectangle 848"/>
            <p:cNvSpPr>
              <a:spLocks noChangeArrowheads="1"/>
            </p:cNvSpPr>
            <p:nvPr userDrawn="1"/>
          </p:nvSpPr>
          <p:spPr bwMode="auto">
            <a:xfrm>
              <a:off x="3901" y="3326"/>
              <a:ext cx="52" cy="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altLang="da-DK" sz="4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oho Gothic Pro Light" panose="020B0303030504020204" pitchFamily="34" charset="0"/>
                </a:rPr>
                <a:t>w</a:t>
              </a:r>
              <a:endParaRPr kumimoji="0" lang="da-DK" altLang="da-DK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318" name="Rectangle 849"/>
            <p:cNvSpPr>
              <a:spLocks noChangeArrowheads="1"/>
            </p:cNvSpPr>
            <p:nvPr userDrawn="1"/>
          </p:nvSpPr>
          <p:spPr bwMode="auto">
            <a:xfrm>
              <a:off x="3929" y="3326"/>
              <a:ext cx="42" cy="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altLang="da-DK" sz="4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oho Gothic Pro Light" panose="020B0303030504020204" pitchFamily="34" charset="0"/>
                </a:rPr>
                <a:t>a</a:t>
              </a:r>
              <a:endParaRPr kumimoji="0" lang="da-DK" altLang="da-DK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319" name="Rectangle 850"/>
            <p:cNvSpPr>
              <a:spLocks noChangeArrowheads="1"/>
            </p:cNvSpPr>
            <p:nvPr userDrawn="1"/>
          </p:nvSpPr>
          <p:spPr bwMode="auto">
            <a:xfrm>
              <a:off x="3947" y="3326"/>
              <a:ext cx="44" cy="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altLang="da-DK" sz="4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oho Gothic Pro Light" panose="020B0303030504020204" pitchFamily="34" charset="0"/>
                </a:rPr>
                <a:t>n</a:t>
              </a:r>
              <a:endParaRPr kumimoji="0" lang="da-DK" altLang="da-DK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320" name="Rectangle 851"/>
            <p:cNvSpPr>
              <a:spLocks noChangeArrowheads="1"/>
            </p:cNvSpPr>
            <p:nvPr userDrawn="1"/>
          </p:nvSpPr>
          <p:spPr bwMode="auto">
            <a:xfrm>
              <a:off x="3967" y="3326"/>
              <a:ext cx="42" cy="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altLang="da-DK" sz="4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oho Gothic Pro Light" panose="020B0303030504020204" pitchFamily="34" charset="0"/>
                </a:rPr>
                <a:t>a</a:t>
              </a:r>
              <a:endParaRPr kumimoji="0" lang="da-DK" altLang="da-DK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321" name="Rectangle 852"/>
            <p:cNvSpPr>
              <a:spLocks noChangeArrowheads="1"/>
            </p:cNvSpPr>
            <p:nvPr userDrawn="1"/>
          </p:nvSpPr>
          <p:spPr bwMode="auto">
            <a:xfrm>
              <a:off x="3972" y="2871"/>
              <a:ext cx="47" cy="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altLang="da-DK" sz="4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oho Gothic Pro Light" panose="020B0303030504020204" pitchFamily="34" charset="0"/>
                </a:rPr>
                <a:t>U</a:t>
              </a:r>
              <a:endParaRPr kumimoji="0" lang="da-DK" altLang="da-DK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322" name="Rectangle 853"/>
            <p:cNvSpPr>
              <a:spLocks noChangeArrowheads="1"/>
            </p:cNvSpPr>
            <p:nvPr userDrawn="1"/>
          </p:nvSpPr>
          <p:spPr bwMode="auto">
            <a:xfrm>
              <a:off x="3995" y="2871"/>
              <a:ext cx="43" cy="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altLang="da-DK" sz="4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oho Gothic Pro Light" panose="020B0303030504020204" pitchFamily="34" charset="0"/>
                </a:rPr>
                <a:t>g</a:t>
              </a:r>
              <a:endParaRPr kumimoji="0" lang="da-DK" altLang="da-DK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323" name="Rectangle 854"/>
            <p:cNvSpPr>
              <a:spLocks noChangeArrowheads="1"/>
            </p:cNvSpPr>
            <p:nvPr userDrawn="1"/>
          </p:nvSpPr>
          <p:spPr bwMode="auto">
            <a:xfrm>
              <a:off x="4015" y="2871"/>
              <a:ext cx="42" cy="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altLang="da-DK" sz="4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oho Gothic Pro Light" panose="020B0303030504020204" pitchFamily="34" charset="0"/>
                </a:rPr>
                <a:t>a</a:t>
              </a:r>
              <a:endParaRPr kumimoji="0" lang="da-DK" altLang="da-DK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324" name="Rectangle 855"/>
            <p:cNvSpPr>
              <a:spLocks noChangeArrowheads="1"/>
            </p:cNvSpPr>
            <p:nvPr userDrawn="1"/>
          </p:nvSpPr>
          <p:spPr bwMode="auto">
            <a:xfrm>
              <a:off x="4033" y="2871"/>
              <a:ext cx="44" cy="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altLang="da-DK" sz="4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oho Gothic Pro Light" panose="020B0303030504020204" pitchFamily="34" charset="0"/>
                </a:rPr>
                <a:t>n</a:t>
              </a:r>
              <a:endParaRPr kumimoji="0" lang="da-DK" altLang="da-DK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325" name="Rectangle 856"/>
            <p:cNvSpPr>
              <a:spLocks noChangeArrowheads="1"/>
            </p:cNvSpPr>
            <p:nvPr userDrawn="1"/>
          </p:nvSpPr>
          <p:spPr bwMode="auto">
            <a:xfrm>
              <a:off x="4053" y="2871"/>
              <a:ext cx="43" cy="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altLang="da-DK" sz="4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oho Gothic Pro Light" panose="020B0303030504020204" pitchFamily="34" charset="0"/>
                </a:rPr>
                <a:t>d</a:t>
              </a:r>
              <a:endParaRPr kumimoji="0" lang="da-DK" altLang="da-DK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326" name="Rectangle 857"/>
            <p:cNvSpPr>
              <a:spLocks noChangeArrowheads="1"/>
            </p:cNvSpPr>
            <p:nvPr userDrawn="1"/>
          </p:nvSpPr>
          <p:spPr bwMode="auto">
            <a:xfrm>
              <a:off x="4072" y="2871"/>
              <a:ext cx="42" cy="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altLang="da-DK" sz="4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oho Gothic Pro Light" panose="020B0303030504020204" pitchFamily="34" charset="0"/>
                </a:rPr>
                <a:t>a</a:t>
              </a:r>
              <a:endParaRPr kumimoji="0" lang="da-DK" altLang="da-DK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327" name="Rectangle 858"/>
            <p:cNvSpPr>
              <a:spLocks noChangeArrowheads="1"/>
            </p:cNvSpPr>
            <p:nvPr userDrawn="1"/>
          </p:nvSpPr>
          <p:spPr bwMode="auto">
            <a:xfrm>
              <a:off x="3573" y="2986"/>
              <a:ext cx="46" cy="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altLang="da-DK" sz="4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oho Gothic Pro Light" panose="020B0303030504020204" pitchFamily="34" charset="0"/>
                </a:rPr>
                <a:t>G</a:t>
              </a:r>
              <a:endParaRPr kumimoji="0" lang="da-DK" altLang="da-DK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328" name="Rectangle 859"/>
            <p:cNvSpPr>
              <a:spLocks noChangeArrowheads="1"/>
            </p:cNvSpPr>
            <p:nvPr userDrawn="1"/>
          </p:nvSpPr>
          <p:spPr bwMode="auto">
            <a:xfrm>
              <a:off x="3595" y="2986"/>
              <a:ext cx="44" cy="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altLang="da-DK" sz="4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oho Gothic Pro Light" panose="020B0303030504020204" pitchFamily="34" charset="0"/>
                </a:rPr>
                <a:t>o</a:t>
              </a:r>
              <a:endParaRPr kumimoji="0" lang="da-DK" altLang="da-DK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329" name="Rectangle 860"/>
            <p:cNvSpPr>
              <a:spLocks noChangeArrowheads="1"/>
            </p:cNvSpPr>
            <p:nvPr userDrawn="1"/>
          </p:nvSpPr>
          <p:spPr bwMode="auto">
            <a:xfrm>
              <a:off x="3614" y="2986"/>
              <a:ext cx="44" cy="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altLang="da-DK" sz="4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oho Gothic Pro Light" panose="020B0303030504020204" pitchFamily="34" charset="0"/>
                </a:rPr>
                <a:t>n</a:t>
              </a:r>
              <a:endParaRPr kumimoji="0" lang="da-DK" altLang="da-DK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330" name="Rectangle 861"/>
            <p:cNvSpPr>
              <a:spLocks noChangeArrowheads="1"/>
            </p:cNvSpPr>
            <p:nvPr userDrawn="1"/>
          </p:nvSpPr>
          <p:spPr bwMode="auto">
            <a:xfrm>
              <a:off x="3634" y="2986"/>
              <a:ext cx="43" cy="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altLang="da-DK" sz="4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oho Gothic Pro Light" panose="020B0303030504020204" pitchFamily="34" charset="0"/>
                </a:rPr>
                <a:t>g</a:t>
              </a:r>
              <a:endParaRPr kumimoji="0" lang="da-DK" altLang="da-DK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331" name="Rectangle 862"/>
            <p:cNvSpPr>
              <a:spLocks noChangeArrowheads="1"/>
            </p:cNvSpPr>
            <p:nvPr userDrawn="1"/>
          </p:nvSpPr>
          <p:spPr bwMode="auto">
            <a:xfrm>
              <a:off x="3653" y="2986"/>
              <a:ext cx="44" cy="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altLang="da-DK" sz="4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oho Gothic Pro Light" panose="020B0303030504020204" pitchFamily="34" charset="0"/>
                </a:rPr>
                <a:t>o</a:t>
              </a:r>
              <a:endParaRPr kumimoji="0" lang="da-DK" altLang="da-DK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332" name="Rectangle 863"/>
            <p:cNvSpPr>
              <a:spLocks noChangeArrowheads="1"/>
            </p:cNvSpPr>
            <p:nvPr userDrawn="1"/>
          </p:nvSpPr>
          <p:spPr bwMode="auto">
            <a:xfrm>
              <a:off x="4234" y="2453"/>
              <a:ext cx="44" cy="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altLang="da-DK" sz="4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oho Gothic Pro Light" panose="020B0303030504020204" pitchFamily="34" charset="0"/>
                </a:rPr>
                <a:t>S</a:t>
              </a:r>
              <a:endParaRPr kumimoji="0" lang="da-DK" altLang="da-DK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333" name="Rectangle 864"/>
            <p:cNvSpPr>
              <a:spLocks noChangeArrowheads="1"/>
            </p:cNvSpPr>
            <p:nvPr userDrawn="1"/>
          </p:nvSpPr>
          <p:spPr bwMode="auto">
            <a:xfrm>
              <a:off x="4253" y="2453"/>
              <a:ext cx="42" cy="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altLang="da-DK" sz="4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oho Gothic Pro Light" panose="020B0303030504020204" pitchFamily="34" charset="0"/>
                </a:rPr>
                <a:t>a</a:t>
              </a:r>
              <a:endParaRPr kumimoji="0" lang="da-DK" altLang="da-DK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334" name="Rectangle 865"/>
            <p:cNvSpPr>
              <a:spLocks noChangeArrowheads="1"/>
            </p:cNvSpPr>
            <p:nvPr userDrawn="1"/>
          </p:nvSpPr>
          <p:spPr bwMode="auto">
            <a:xfrm>
              <a:off x="4272" y="2453"/>
              <a:ext cx="44" cy="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altLang="da-DK" sz="4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oho Gothic Pro Light" panose="020B0303030504020204" pitchFamily="34" charset="0"/>
                </a:rPr>
                <a:t>u</a:t>
              </a:r>
              <a:endParaRPr kumimoji="0" lang="da-DK" altLang="da-DK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335" name="Rectangle 866"/>
            <p:cNvSpPr>
              <a:spLocks noChangeArrowheads="1"/>
            </p:cNvSpPr>
            <p:nvPr userDrawn="1"/>
          </p:nvSpPr>
          <p:spPr bwMode="auto">
            <a:xfrm>
              <a:off x="4291" y="2453"/>
              <a:ext cx="43" cy="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altLang="da-DK" sz="4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oho Gothic Pro Light" panose="020B0303030504020204" pitchFamily="34" charset="0"/>
                </a:rPr>
                <a:t>d</a:t>
              </a:r>
              <a:endParaRPr kumimoji="0" lang="da-DK" altLang="da-DK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336" name="Rectangle 867"/>
            <p:cNvSpPr>
              <a:spLocks noChangeArrowheads="1"/>
            </p:cNvSpPr>
            <p:nvPr userDrawn="1"/>
          </p:nvSpPr>
          <p:spPr bwMode="auto">
            <a:xfrm>
              <a:off x="4311" y="2453"/>
              <a:ext cx="29" cy="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altLang="da-DK" sz="4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oho Gothic Pro Light" panose="020B0303030504020204" pitchFamily="34" charset="0"/>
                </a:rPr>
                <a:t>i</a:t>
              </a:r>
              <a:endParaRPr kumimoji="0" lang="da-DK" altLang="da-DK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337" name="Rectangle 868"/>
            <p:cNvSpPr>
              <a:spLocks noChangeArrowheads="1"/>
            </p:cNvSpPr>
            <p:nvPr userDrawn="1"/>
          </p:nvSpPr>
          <p:spPr bwMode="auto">
            <a:xfrm>
              <a:off x="4234" y="2487"/>
              <a:ext cx="46" cy="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altLang="da-DK" sz="4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oho Gothic Pro Light" panose="020B0303030504020204" pitchFamily="34" charset="0"/>
                </a:rPr>
                <a:t>A</a:t>
              </a:r>
              <a:endParaRPr kumimoji="0" lang="da-DK" altLang="da-DK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338" name="Rectangle 869"/>
            <p:cNvSpPr>
              <a:spLocks noChangeArrowheads="1"/>
            </p:cNvSpPr>
            <p:nvPr userDrawn="1"/>
          </p:nvSpPr>
          <p:spPr bwMode="auto">
            <a:xfrm>
              <a:off x="4256" y="2487"/>
              <a:ext cx="35" cy="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altLang="da-DK" sz="4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oho Gothic Pro Light" panose="020B0303030504020204" pitchFamily="34" charset="0"/>
                </a:rPr>
                <a:t>r</a:t>
              </a:r>
              <a:endParaRPr kumimoji="0" lang="da-DK" altLang="da-DK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339" name="Rectangle 870"/>
            <p:cNvSpPr>
              <a:spLocks noChangeArrowheads="1"/>
            </p:cNvSpPr>
            <p:nvPr userDrawn="1"/>
          </p:nvSpPr>
          <p:spPr bwMode="auto">
            <a:xfrm>
              <a:off x="4268" y="2487"/>
              <a:ext cx="64" cy="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altLang="da-DK" sz="4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oho Gothic Pro Light" panose="020B0303030504020204" pitchFamily="34" charset="0"/>
                </a:rPr>
                <a:t>ab</a:t>
              </a:r>
              <a:endParaRPr kumimoji="0" lang="da-DK" altLang="da-DK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340" name="Rectangle 871"/>
            <p:cNvSpPr>
              <a:spLocks noChangeArrowheads="1"/>
            </p:cNvSpPr>
            <p:nvPr userDrawn="1"/>
          </p:nvSpPr>
          <p:spPr bwMode="auto">
            <a:xfrm>
              <a:off x="4306" y="2487"/>
              <a:ext cx="29" cy="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altLang="da-DK" sz="4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oho Gothic Pro Light" panose="020B0303030504020204" pitchFamily="34" charset="0"/>
                </a:rPr>
                <a:t>i</a:t>
              </a:r>
              <a:endParaRPr kumimoji="0" lang="da-DK" altLang="da-DK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341" name="Rectangle 872"/>
            <p:cNvSpPr>
              <a:spLocks noChangeArrowheads="1"/>
            </p:cNvSpPr>
            <p:nvPr userDrawn="1"/>
          </p:nvSpPr>
          <p:spPr bwMode="auto">
            <a:xfrm>
              <a:off x="4313" y="2487"/>
              <a:ext cx="66" cy="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altLang="da-DK" sz="4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oho Gothic Pro Light" panose="020B0303030504020204" pitchFamily="34" charset="0"/>
                </a:rPr>
                <a:t>en</a:t>
              </a:r>
              <a:endParaRPr kumimoji="0" lang="da-DK" altLang="da-DK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342" name="Rectangle 873"/>
            <p:cNvSpPr>
              <a:spLocks noChangeArrowheads="1"/>
            </p:cNvSpPr>
            <p:nvPr userDrawn="1"/>
          </p:nvSpPr>
          <p:spPr bwMode="auto">
            <a:xfrm>
              <a:off x="4490" y="2509"/>
              <a:ext cx="47" cy="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altLang="da-DK" sz="4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oho Gothic Pro Light" panose="020B0303030504020204" pitchFamily="34" charset="0"/>
                </a:rPr>
                <a:t>O</a:t>
              </a:r>
              <a:endParaRPr kumimoji="0" lang="da-DK" altLang="da-DK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343" name="Rectangle 874"/>
            <p:cNvSpPr>
              <a:spLocks noChangeArrowheads="1"/>
            </p:cNvSpPr>
            <p:nvPr userDrawn="1"/>
          </p:nvSpPr>
          <p:spPr bwMode="auto">
            <a:xfrm>
              <a:off x="4514" y="2509"/>
              <a:ext cx="54" cy="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altLang="da-DK" sz="4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oho Gothic Pro Light" panose="020B0303030504020204" pitchFamily="34" charset="0"/>
                </a:rPr>
                <a:t>m</a:t>
              </a:r>
              <a:endParaRPr kumimoji="0" lang="da-DK" altLang="da-DK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344" name="Rectangle 875"/>
            <p:cNvSpPr>
              <a:spLocks noChangeArrowheads="1"/>
            </p:cNvSpPr>
            <p:nvPr userDrawn="1"/>
          </p:nvSpPr>
          <p:spPr bwMode="auto">
            <a:xfrm>
              <a:off x="4543" y="2509"/>
              <a:ext cx="42" cy="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altLang="da-DK" sz="4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oho Gothic Pro Light" panose="020B0303030504020204" pitchFamily="34" charset="0"/>
                </a:rPr>
                <a:t>a</a:t>
              </a:r>
              <a:endParaRPr kumimoji="0" lang="da-DK" altLang="da-DK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345" name="Rectangle 876"/>
            <p:cNvSpPr>
              <a:spLocks noChangeArrowheads="1"/>
            </p:cNvSpPr>
            <p:nvPr userDrawn="1"/>
          </p:nvSpPr>
          <p:spPr bwMode="auto">
            <a:xfrm>
              <a:off x="4561" y="2509"/>
              <a:ext cx="44" cy="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altLang="da-DK" sz="4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oho Gothic Pro Light" panose="020B0303030504020204" pitchFamily="34" charset="0"/>
                </a:rPr>
                <a:t>n</a:t>
              </a:r>
              <a:endParaRPr kumimoji="0" lang="da-DK" altLang="da-DK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346" name="Rectangle 877"/>
            <p:cNvSpPr>
              <a:spLocks noChangeArrowheads="1"/>
            </p:cNvSpPr>
            <p:nvPr userDrawn="1"/>
          </p:nvSpPr>
          <p:spPr bwMode="auto">
            <a:xfrm>
              <a:off x="3704" y="1989"/>
              <a:ext cx="134" cy="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altLang="da-DK" sz="400" b="0" i="0" u="none" strike="noStrike" cap="none" normalizeH="0" baseline="0" err="1">
                  <a:ln>
                    <a:noFill/>
                  </a:ln>
                  <a:solidFill>
                    <a:srgbClr val="000000"/>
                  </a:solidFill>
                  <a:effectLst/>
                  <a:latin typeface="Soho Gothic Pro Light" panose="020B0303030504020204" pitchFamily="34" charset="0"/>
                </a:rPr>
                <a:t>Hungary</a:t>
              </a:r>
              <a:endParaRPr kumimoji="0" lang="da-DK" altLang="da-DK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347" name="Rectangle 878"/>
            <p:cNvSpPr>
              <a:spLocks noChangeArrowheads="1"/>
            </p:cNvSpPr>
            <p:nvPr userDrawn="1"/>
          </p:nvSpPr>
          <p:spPr bwMode="auto">
            <a:xfrm>
              <a:off x="4315" y="2819"/>
              <a:ext cx="169" cy="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altLang="da-DK" sz="4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oho Gothic Pro Light" panose="020B0303030504020204" pitchFamily="34" charset="0"/>
                </a:rPr>
                <a:t>Somallia</a:t>
              </a:r>
              <a:endParaRPr kumimoji="0" lang="da-DK" altLang="da-DK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348" name="Rectangle 879"/>
            <p:cNvSpPr>
              <a:spLocks noChangeArrowheads="1"/>
            </p:cNvSpPr>
            <p:nvPr userDrawn="1"/>
          </p:nvSpPr>
          <p:spPr bwMode="auto">
            <a:xfrm>
              <a:off x="3790" y="3481"/>
              <a:ext cx="191" cy="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altLang="da-DK" sz="4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oho Gothic Pro Light" panose="020B0303030504020204" pitchFamily="34" charset="0"/>
                </a:rPr>
                <a:t>South </a:t>
              </a:r>
              <a:r>
                <a:rPr kumimoji="0" lang="da-DK" altLang="da-DK" sz="400" b="0" i="0" u="none" strike="noStrike" cap="none" normalizeH="0" baseline="0" err="1">
                  <a:ln>
                    <a:noFill/>
                  </a:ln>
                  <a:solidFill>
                    <a:srgbClr val="000000"/>
                  </a:solidFill>
                  <a:effectLst/>
                  <a:latin typeface="Soho Gothic Pro Light" panose="020B0303030504020204" pitchFamily="34" charset="0"/>
                </a:rPr>
                <a:t>Africa</a:t>
              </a:r>
              <a:endParaRPr kumimoji="0" lang="da-DK" altLang="da-DK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349" name="Rectangle 880"/>
            <p:cNvSpPr>
              <a:spLocks noChangeArrowheads="1"/>
            </p:cNvSpPr>
            <p:nvPr userDrawn="1"/>
          </p:nvSpPr>
          <p:spPr bwMode="auto">
            <a:xfrm>
              <a:off x="3501" y="1641"/>
              <a:ext cx="48" cy="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altLang="da-DK" sz="4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oho Gothic Pro Light" panose="020B0303030504020204" pitchFamily="34" charset="0"/>
                </a:rPr>
                <a:t>N</a:t>
              </a:r>
              <a:endParaRPr kumimoji="0" lang="da-DK" altLang="da-DK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350" name="Rectangle 881"/>
            <p:cNvSpPr>
              <a:spLocks noChangeArrowheads="1"/>
            </p:cNvSpPr>
            <p:nvPr userDrawn="1"/>
          </p:nvSpPr>
          <p:spPr bwMode="auto">
            <a:xfrm>
              <a:off x="3525" y="1641"/>
              <a:ext cx="44" cy="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altLang="da-DK" sz="4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oho Gothic Pro Light" panose="020B0303030504020204" pitchFamily="34" charset="0"/>
                </a:rPr>
                <a:t>o</a:t>
              </a:r>
              <a:endParaRPr kumimoji="0" lang="da-DK" altLang="da-DK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351" name="Rectangle 882"/>
            <p:cNvSpPr>
              <a:spLocks noChangeArrowheads="1"/>
            </p:cNvSpPr>
            <p:nvPr userDrawn="1"/>
          </p:nvSpPr>
          <p:spPr bwMode="auto">
            <a:xfrm>
              <a:off x="3546" y="1641"/>
              <a:ext cx="35" cy="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altLang="da-DK" sz="4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oho Gothic Pro Light" panose="020B0303030504020204" pitchFamily="34" charset="0"/>
                </a:rPr>
                <a:t>r</a:t>
              </a:r>
              <a:endParaRPr kumimoji="0" lang="da-DK" altLang="da-DK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352" name="Rectangle 883"/>
            <p:cNvSpPr>
              <a:spLocks noChangeArrowheads="1"/>
            </p:cNvSpPr>
            <p:nvPr userDrawn="1"/>
          </p:nvSpPr>
          <p:spPr bwMode="auto">
            <a:xfrm>
              <a:off x="3556" y="1641"/>
              <a:ext cx="64" cy="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altLang="da-DK" sz="400" b="0" i="0" u="none" strike="noStrike" cap="none" normalizeH="0" baseline="0" err="1">
                  <a:ln>
                    <a:noFill/>
                  </a:ln>
                  <a:solidFill>
                    <a:srgbClr val="000000"/>
                  </a:solidFill>
                  <a:effectLst/>
                  <a:latin typeface="Soho Gothic Pro Light" panose="020B0303030504020204" pitchFamily="34" charset="0"/>
                </a:rPr>
                <a:t>way</a:t>
              </a:r>
              <a:endParaRPr kumimoji="0" lang="da-DK" altLang="da-DK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353" name="Rectangle 884"/>
            <p:cNvSpPr>
              <a:spLocks noChangeArrowheads="1"/>
            </p:cNvSpPr>
            <p:nvPr userDrawn="1"/>
          </p:nvSpPr>
          <p:spPr bwMode="auto">
            <a:xfrm>
              <a:off x="4022" y="2156"/>
              <a:ext cx="108" cy="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altLang="da-DK" sz="400" b="0" i="0" u="none" strike="noStrike" cap="none" normalizeH="0" baseline="0" err="1">
                  <a:ln>
                    <a:noFill/>
                  </a:ln>
                  <a:solidFill>
                    <a:srgbClr val="000000"/>
                  </a:solidFill>
                  <a:effectLst/>
                  <a:latin typeface="Soho Gothic Pro Light" panose="020B0303030504020204" pitchFamily="34" charset="0"/>
                </a:rPr>
                <a:t>Turkey</a:t>
              </a:r>
              <a:endParaRPr kumimoji="0" lang="da-DK" altLang="da-DK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354" name="Rectangle 885"/>
            <p:cNvSpPr>
              <a:spLocks noChangeArrowheads="1"/>
            </p:cNvSpPr>
            <p:nvPr userDrawn="1"/>
          </p:nvSpPr>
          <p:spPr bwMode="auto">
            <a:xfrm>
              <a:off x="5605" y="2586"/>
              <a:ext cx="157" cy="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altLang="da-DK" sz="400" b="0" i="0" u="none" strike="noStrike" cap="none" normalizeH="0" baseline="0" err="1">
                  <a:ln>
                    <a:noFill/>
                  </a:ln>
                  <a:solidFill>
                    <a:srgbClr val="000000"/>
                  </a:solidFill>
                  <a:effectLst/>
                  <a:latin typeface="Soho Gothic Pro Light" panose="020B0303030504020204" pitchFamily="34" charset="0"/>
                </a:rPr>
                <a:t>Phillipines</a:t>
              </a:r>
              <a:endParaRPr kumimoji="0" lang="da-DK" altLang="da-DK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355" name="Rectangle 886"/>
            <p:cNvSpPr>
              <a:spLocks noChangeArrowheads="1"/>
            </p:cNvSpPr>
            <p:nvPr userDrawn="1"/>
          </p:nvSpPr>
          <p:spPr bwMode="auto">
            <a:xfrm>
              <a:off x="3738" y="3109"/>
              <a:ext cx="145" cy="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altLang="da-DK" sz="4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oho Gothic Pro Light" panose="020B0303030504020204" pitchFamily="34" charset="0"/>
                </a:rPr>
                <a:t>Angola</a:t>
              </a:r>
              <a:endParaRPr kumimoji="0" lang="da-DK" altLang="da-DK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356" name="Rectangle 887"/>
            <p:cNvSpPr>
              <a:spLocks noChangeArrowheads="1"/>
            </p:cNvSpPr>
            <p:nvPr userDrawn="1"/>
          </p:nvSpPr>
          <p:spPr bwMode="auto">
            <a:xfrm>
              <a:off x="2396" y="2662"/>
              <a:ext cx="188" cy="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altLang="da-DK" sz="4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oho Gothic Pro Light" panose="020B0303030504020204" pitchFamily="34" charset="0"/>
                </a:rPr>
                <a:t>Barbados</a:t>
              </a:r>
              <a:endParaRPr kumimoji="0" lang="da-DK" altLang="da-DK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357" name="Rectangle 888"/>
            <p:cNvSpPr>
              <a:spLocks noChangeArrowheads="1"/>
            </p:cNvSpPr>
            <p:nvPr userDrawn="1"/>
          </p:nvSpPr>
          <p:spPr bwMode="auto">
            <a:xfrm>
              <a:off x="3468" y="1911"/>
              <a:ext cx="153" cy="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altLang="da-DK" sz="4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oho Gothic Pro Light" panose="020B0303030504020204" pitchFamily="34" charset="0"/>
                </a:rPr>
                <a:t>Belgien</a:t>
              </a:r>
              <a:endParaRPr kumimoji="0" lang="da-DK" altLang="da-DK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358" name="Rectangle 889"/>
            <p:cNvSpPr>
              <a:spLocks noChangeArrowheads="1"/>
            </p:cNvSpPr>
            <p:nvPr userDrawn="1"/>
          </p:nvSpPr>
          <p:spPr bwMode="auto">
            <a:xfrm>
              <a:off x="3472" y="2711"/>
              <a:ext cx="123" cy="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altLang="da-DK" sz="4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oho Gothic Pro Light" panose="020B0303030504020204" pitchFamily="34" charset="0"/>
                </a:rPr>
                <a:t>Benin</a:t>
              </a:r>
              <a:endParaRPr kumimoji="0" lang="da-DK" altLang="da-DK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359" name="Rectangle 890"/>
            <p:cNvSpPr>
              <a:spLocks noChangeArrowheads="1"/>
            </p:cNvSpPr>
            <p:nvPr userDrawn="1"/>
          </p:nvSpPr>
          <p:spPr bwMode="auto">
            <a:xfrm>
              <a:off x="5035" y="2349"/>
              <a:ext cx="152" cy="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altLang="da-DK" sz="4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oho Gothic Pro Light" panose="020B0303030504020204" pitchFamily="34" charset="0"/>
                </a:rPr>
                <a:t>Bhutan</a:t>
              </a:r>
              <a:endParaRPr kumimoji="0" lang="da-DK" altLang="da-DK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360" name="Rectangle 891"/>
            <p:cNvSpPr>
              <a:spLocks noChangeArrowheads="1"/>
            </p:cNvSpPr>
            <p:nvPr userDrawn="1"/>
          </p:nvSpPr>
          <p:spPr bwMode="auto">
            <a:xfrm>
              <a:off x="3878" y="2964"/>
              <a:ext cx="159" cy="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altLang="da-DK" sz="4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oho Gothic Pro Light" panose="020B0303030504020204" pitchFamily="34" charset="0"/>
                </a:rPr>
                <a:t>Burundi</a:t>
              </a:r>
              <a:endParaRPr kumimoji="0" lang="da-DK" altLang="da-DK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361" name="Rectangle 892"/>
            <p:cNvSpPr>
              <a:spLocks noChangeArrowheads="1"/>
            </p:cNvSpPr>
            <p:nvPr userDrawn="1"/>
          </p:nvSpPr>
          <p:spPr bwMode="auto">
            <a:xfrm>
              <a:off x="1589" y="1524"/>
              <a:ext cx="151" cy="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altLang="da-DK" sz="4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oho Gothic Pro Light" panose="020B0303030504020204" pitchFamily="34" charset="0"/>
                </a:rPr>
                <a:t>Canada</a:t>
              </a:r>
              <a:endParaRPr kumimoji="0" lang="da-DK" altLang="da-DK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362" name="Rectangle 893"/>
            <p:cNvSpPr>
              <a:spLocks noChangeArrowheads="1"/>
            </p:cNvSpPr>
            <p:nvPr userDrawn="1"/>
          </p:nvSpPr>
          <p:spPr bwMode="auto">
            <a:xfrm>
              <a:off x="5244" y="2227"/>
              <a:ext cx="87" cy="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altLang="da-DK" sz="4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oho Gothic Pro Light" panose="020B0303030504020204" pitchFamily="34" charset="0"/>
                </a:rPr>
                <a:t>China</a:t>
              </a:r>
              <a:endParaRPr kumimoji="0" lang="da-DK" altLang="da-DK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363" name="Rectangle 894"/>
            <p:cNvSpPr>
              <a:spLocks noChangeArrowheads="1"/>
            </p:cNvSpPr>
            <p:nvPr userDrawn="1"/>
          </p:nvSpPr>
          <p:spPr bwMode="auto">
            <a:xfrm>
              <a:off x="3969" y="2264"/>
              <a:ext cx="145" cy="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altLang="da-DK" sz="4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oho Gothic Pro Light" panose="020B0303030504020204" pitchFamily="34" charset="0"/>
                </a:rPr>
                <a:t>Cypern</a:t>
              </a:r>
              <a:endParaRPr kumimoji="0" lang="da-DK" altLang="da-DK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364" name="Rectangle 895"/>
            <p:cNvSpPr>
              <a:spLocks noChangeArrowheads="1"/>
            </p:cNvSpPr>
            <p:nvPr userDrawn="1"/>
          </p:nvSpPr>
          <p:spPr bwMode="auto">
            <a:xfrm>
              <a:off x="1966" y="2922"/>
              <a:ext cx="166" cy="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altLang="da-DK" sz="4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oho Gothic Pro Light" panose="020B0303030504020204" pitchFamily="34" charset="0"/>
                </a:rPr>
                <a:t>Ecuador</a:t>
              </a:r>
              <a:endParaRPr kumimoji="0" lang="da-DK" altLang="da-DK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365" name="Rectangle 896"/>
            <p:cNvSpPr>
              <a:spLocks noChangeArrowheads="1"/>
            </p:cNvSpPr>
            <p:nvPr userDrawn="1"/>
          </p:nvSpPr>
          <p:spPr bwMode="auto">
            <a:xfrm>
              <a:off x="3279" y="1587"/>
              <a:ext cx="254" cy="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altLang="da-DK" sz="4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oho Gothic Pro Light" panose="020B0303030504020204" pitchFamily="34" charset="0"/>
                </a:rPr>
                <a:t>Faroe Islands</a:t>
              </a:r>
              <a:endParaRPr kumimoji="0" lang="da-DK" altLang="da-DK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366" name="Rectangle 897"/>
            <p:cNvSpPr>
              <a:spLocks noChangeArrowheads="1"/>
            </p:cNvSpPr>
            <p:nvPr userDrawn="1"/>
          </p:nvSpPr>
          <p:spPr bwMode="auto">
            <a:xfrm>
              <a:off x="3466" y="2034"/>
              <a:ext cx="106" cy="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altLang="da-DK" sz="4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oho Gothic Pro Light" panose="020B0303030504020204" pitchFamily="34" charset="0"/>
                </a:rPr>
                <a:t>France</a:t>
              </a:r>
              <a:endParaRPr kumimoji="0" lang="da-DK" altLang="da-DK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367" name="Rectangle 898"/>
            <p:cNvSpPr>
              <a:spLocks noChangeArrowheads="1"/>
            </p:cNvSpPr>
            <p:nvPr userDrawn="1"/>
          </p:nvSpPr>
          <p:spPr bwMode="auto">
            <a:xfrm>
              <a:off x="3389" y="2788"/>
              <a:ext cx="133" cy="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altLang="da-DK" sz="4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oho Gothic Pro Light" panose="020B0303030504020204" pitchFamily="34" charset="0"/>
                </a:rPr>
                <a:t>Ghana</a:t>
              </a:r>
              <a:endParaRPr kumimoji="0" lang="da-DK" altLang="da-DK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368" name="Rectangle 899"/>
            <p:cNvSpPr>
              <a:spLocks noChangeArrowheads="1"/>
            </p:cNvSpPr>
            <p:nvPr userDrawn="1"/>
          </p:nvSpPr>
          <p:spPr bwMode="auto">
            <a:xfrm>
              <a:off x="2089" y="2588"/>
              <a:ext cx="104" cy="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altLang="da-DK" sz="400" b="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Soho Gothic Pro Light" panose="020B0303030504020204" pitchFamily="34" charset="0"/>
                </a:rPr>
                <a:t>Haiti</a:t>
              </a:r>
              <a:endParaRPr kumimoji="0" lang="da-DK" altLang="da-DK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369" name="Rectangle 900"/>
            <p:cNvSpPr>
              <a:spLocks noChangeArrowheads="1"/>
            </p:cNvSpPr>
            <p:nvPr userDrawn="1"/>
          </p:nvSpPr>
          <p:spPr bwMode="auto">
            <a:xfrm>
              <a:off x="5621" y="2961"/>
              <a:ext cx="150" cy="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altLang="da-DK" sz="400" b="0" i="0" u="none" strike="noStrike" cap="none" normalizeH="0" baseline="0" err="1">
                  <a:ln>
                    <a:noFill/>
                  </a:ln>
                  <a:solidFill>
                    <a:srgbClr val="000000"/>
                  </a:solidFill>
                  <a:effectLst/>
                  <a:latin typeface="Soho Gothic Pro Light" panose="020B0303030504020204" pitchFamily="34" charset="0"/>
                </a:rPr>
                <a:t>Indonesia</a:t>
              </a:r>
              <a:endParaRPr kumimoji="0" lang="da-DK" altLang="da-DK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370" name="Rectangle 901"/>
            <p:cNvSpPr>
              <a:spLocks noChangeArrowheads="1"/>
            </p:cNvSpPr>
            <p:nvPr userDrawn="1"/>
          </p:nvSpPr>
          <p:spPr bwMode="auto">
            <a:xfrm>
              <a:off x="4186" y="2280"/>
              <a:ext cx="59" cy="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altLang="da-DK" sz="400" b="0" i="0" u="none" strike="noStrike" cap="none" normalizeH="0" baseline="0" err="1">
                  <a:ln>
                    <a:noFill/>
                  </a:ln>
                  <a:solidFill>
                    <a:srgbClr val="000000"/>
                  </a:solidFill>
                  <a:effectLst/>
                  <a:latin typeface="Soho Gothic Pro Light" panose="020B0303030504020204" pitchFamily="34" charset="0"/>
                </a:rPr>
                <a:t>Iraq</a:t>
              </a:r>
              <a:endParaRPr kumimoji="0" lang="da-DK" altLang="da-DK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371" name="Rectangle 902"/>
            <p:cNvSpPr>
              <a:spLocks noChangeArrowheads="1"/>
            </p:cNvSpPr>
            <p:nvPr userDrawn="1"/>
          </p:nvSpPr>
          <p:spPr bwMode="auto">
            <a:xfrm>
              <a:off x="3140" y="1461"/>
              <a:ext cx="125" cy="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altLang="da-DK" sz="4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oho Gothic Pro Light" panose="020B0303030504020204" pitchFamily="34" charset="0"/>
                </a:rPr>
                <a:t>Island</a:t>
              </a:r>
              <a:endParaRPr kumimoji="0" lang="da-DK" altLang="da-DK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372" name="Rectangle 903"/>
            <p:cNvSpPr>
              <a:spLocks noChangeArrowheads="1"/>
            </p:cNvSpPr>
            <p:nvPr userDrawn="1"/>
          </p:nvSpPr>
          <p:spPr bwMode="auto">
            <a:xfrm>
              <a:off x="3299" y="2834"/>
              <a:ext cx="168" cy="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altLang="da-DK" sz="4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oho Gothic Pro Light" panose="020B0303030504020204" pitchFamily="34" charset="0"/>
                </a:rPr>
                <a:t>Ivory </a:t>
              </a:r>
              <a:r>
                <a:rPr kumimoji="0" lang="da-DK" altLang="da-DK" sz="400" b="0" i="0" u="none" strike="noStrike" cap="none" normalizeH="0" baseline="0" err="1">
                  <a:ln>
                    <a:noFill/>
                  </a:ln>
                  <a:solidFill>
                    <a:srgbClr val="000000"/>
                  </a:solidFill>
                  <a:effectLst/>
                  <a:latin typeface="Soho Gothic Pro Light" panose="020B0303030504020204" pitchFamily="34" charset="0"/>
                </a:rPr>
                <a:t>Coast</a:t>
              </a:r>
              <a:endParaRPr kumimoji="0" lang="da-DK" altLang="da-DK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373" name="Rectangle 904"/>
            <p:cNvSpPr>
              <a:spLocks noChangeArrowheads="1"/>
            </p:cNvSpPr>
            <p:nvPr userDrawn="1"/>
          </p:nvSpPr>
          <p:spPr bwMode="auto">
            <a:xfrm>
              <a:off x="3826" y="2084"/>
              <a:ext cx="153" cy="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altLang="da-DK" sz="4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oho Gothic Pro Light" panose="020B0303030504020204" pitchFamily="34" charset="0"/>
                </a:rPr>
                <a:t>Kosovo</a:t>
              </a:r>
              <a:endParaRPr kumimoji="0" lang="da-DK" altLang="da-DK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374" name="Rectangle 905"/>
            <p:cNvSpPr>
              <a:spLocks noChangeArrowheads="1"/>
            </p:cNvSpPr>
            <p:nvPr userDrawn="1"/>
          </p:nvSpPr>
          <p:spPr bwMode="auto">
            <a:xfrm>
              <a:off x="3828" y="2121"/>
              <a:ext cx="166" cy="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altLang="da-DK" sz="400" b="0" i="0" u="none" strike="noStrike" cap="none" normalizeH="0" baseline="0" err="1">
                  <a:ln>
                    <a:noFill/>
                  </a:ln>
                  <a:solidFill>
                    <a:srgbClr val="000000"/>
                  </a:solidFill>
                  <a:effectLst/>
                  <a:latin typeface="Soho Gothic Pro Light" panose="020B0303030504020204" pitchFamily="34" charset="0"/>
                </a:rPr>
                <a:t>Macedonia</a:t>
              </a:r>
              <a:endParaRPr kumimoji="0" lang="da-DK" altLang="da-DK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375" name="Rectangle 906"/>
            <p:cNvSpPr>
              <a:spLocks noChangeArrowheads="1"/>
            </p:cNvSpPr>
            <p:nvPr userDrawn="1"/>
          </p:nvSpPr>
          <p:spPr bwMode="auto">
            <a:xfrm>
              <a:off x="3722" y="2237"/>
              <a:ext cx="120" cy="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altLang="da-DK" sz="4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oho Gothic Pro Light" panose="020B0303030504020204" pitchFamily="34" charset="0"/>
                </a:rPr>
                <a:t>Malta</a:t>
              </a:r>
              <a:endParaRPr kumimoji="0" lang="da-DK" altLang="da-DK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376" name="Rectangle 907"/>
            <p:cNvSpPr>
              <a:spLocks noChangeArrowheads="1"/>
            </p:cNvSpPr>
            <p:nvPr userDrawn="1"/>
          </p:nvSpPr>
          <p:spPr bwMode="auto">
            <a:xfrm>
              <a:off x="3878" y="1977"/>
              <a:ext cx="171" cy="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altLang="da-DK" sz="4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oho Gothic Pro Light" panose="020B0303030504020204" pitchFamily="34" charset="0"/>
                </a:rPr>
                <a:t>Moldova</a:t>
              </a:r>
              <a:endParaRPr kumimoji="0" lang="da-DK" altLang="da-DK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377" name="Rectangle 908"/>
            <p:cNvSpPr>
              <a:spLocks noChangeArrowheads="1"/>
            </p:cNvSpPr>
            <p:nvPr userDrawn="1"/>
          </p:nvSpPr>
          <p:spPr bwMode="auto">
            <a:xfrm>
              <a:off x="5228" y="1952"/>
              <a:ext cx="139" cy="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altLang="da-DK" sz="400" b="0" i="0" u="none" strike="noStrike" cap="none" normalizeH="0" baseline="0" err="1">
                  <a:ln>
                    <a:noFill/>
                  </a:ln>
                  <a:solidFill>
                    <a:srgbClr val="000000"/>
                  </a:solidFill>
                  <a:effectLst/>
                  <a:latin typeface="Soho Gothic Pro Light" panose="020B0303030504020204" pitchFamily="34" charset="0"/>
                </a:rPr>
                <a:t>Mongolia</a:t>
              </a:r>
              <a:endParaRPr kumimoji="0" lang="da-DK" altLang="da-DK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378" name="Rectangle 909"/>
            <p:cNvSpPr>
              <a:spLocks noChangeArrowheads="1"/>
            </p:cNvSpPr>
            <p:nvPr userDrawn="1"/>
          </p:nvSpPr>
          <p:spPr bwMode="auto">
            <a:xfrm>
              <a:off x="3243" y="2311"/>
              <a:ext cx="174" cy="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altLang="da-DK" sz="4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oho Gothic Pro Light" panose="020B0303030504020204" pitchFamily="34" charset="0"/>
                </a:rPr>
                <a:t>Morocco</a:t>
              </a:r>
              <a:endParaRPr kumimoji="0" lang="da-DK" altLang="da-DK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379" name="Rectangle 910"/>
            <p:cNvSpPr>
              <a:spLocks noChangeArrowheads="1"/>
            </p:cNvSpPr>
            <p:nvPr userDrawn="1"/>
          </p:nvSpPr>
          <p:spPr bwMode="auto">
            <a:xfrm>
              <a:off x="3561" y="2743"/>
              <a:ext cx="48" cy="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altLang="da-DK" sz="4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oho Gothic Pro Light" panose="020B0303030504020204" pitchFamily="34" charset="0"/>
                </a:rPr>
                <a:t>N</a:t>
              </a:r>
              <a:endParaRPr kumimoji="0" lang="da-DK" altLang="da-DK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380" name="Rectangle 911"/>
            <p:cNvSpPr>
              <a:spLocks noChangeArrowheads="1"/>
            </p:cNvSpPr>
            <p:nvPr userDrawn="1"/>
          </p:nvSpPr>
          <p:spPr bwMode="auto">
            <a:xfrm>
              <a:off x="3585" y="2743"/>
              <a:ext cx="29" cy="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altLang="da-DK" sz="4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oho Gothic Pro Light" panose="020B0303030504020204" pitchFamily="34" charset="0"/>
                </a:rPr>
                <a:t>i</a:t>
              </a:r>
              <a:endParaRPr kumimoji="0" lang="da-DK" altLang="da-DK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381" name="Rectangle 912"/>
            <p:cNvSpPr>
              <a:spLocks noChangeArrowheads="1"/>
            </p:cNvSpPr>
            <p:nvPr userDrawn="1"/>
          </p:nvSpPr>
          <p:spPr bwMode="auto">
            <a:xfrm>
              <a:off x="3593" y="2743"/>
              <a:ext cx="43" cy="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altLang="da-DK" sz="4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oho Gothic Pro Light" panose="020B0303030504020204" pitchFamily="34" charset="0"/>
                </a:rPr>
                <a:t>g</a:t>
              </a:r>
              <a:endParaRPr kumimoji="0" lang="da-DK" altLang="da-DK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382" name="Rectangle 913"/>
            <p:cNvSpPr>
              <a:spLocks noChangeArrowheads="1"/>
            </p:cNvSpPr>
            <p:nvPr userDrawn="1"/>
          </p:nvSpPr>
          <p:spPr bwMode="auto">
            <a:xfrm>
              <a:off x="3613" y="2743"/>
              <a:ext cx="87" cy="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altLang="da-DK" sz="4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oho Gothic Pro Light" panose="020B0303030504020204" pitchFamily="34" charset="0"/>
                </a:rPr>
                <a:t>eria</a:t>
              </a:r>
              <a:endParaRPr kumimoji="0" lang="da-DK" altLang="da-DK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383" name="Rectangle 914"/>
            <p:cNvSpPr>
              <a:spLocks noChangeArrowheads="1"/>
            </p:cNvSpPr>
            <p:nvPr userDrawn="1"/>
          </p:nvSpPr>
          <p:spPr bwMode="auto">
            <a:xfrm>
              <a:off x="4829" y="1538"/>
              <a:ext cx="101" cy="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altLang="da-DK" sz="400" b="0" i="0" u="none" strike="noStrike" cap="none" normalizeH="0" baseline="0" err="1">
                  <a:ln>
                    <a:noFill/>
                  </a:ln>
                  <a:solidFill>
                    <a:srgbClr val="000000"/>
                  </a:solidFill>
                  <a:effectLst/>
                  <a:latin typeface="Soho Gothic Pro Light" panose="020B0303030504020204" pitchFamily="34" charset="0"/>
                </a:rPr>
                <a:t>Russia</a:t>
              </a:r>
              <a:endParaRPr kumimoji="0" lang="da-DK" altLang="da-DK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384" name="Rectangle 915"/>
            <p:cNvSpPr>
              <a:spLocks noChangeArrowheads="1"/>
            </p:cNvSpPr>
            <p:nvPr userDrawn="1"/>
          </p:nvSpPr>
          <p:spPr bwMode="auto">
            <a:xfrm>
              <a:off x="3872" y="2926"/>
              <a:ext cx="165" cy="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altLang="da-DK" sz="4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oho Gothic Pro Light" panose="020B0303030504020204" pitchFamily="34" charset="0"/>
                </a:rPr>
                <a:t>Rwanda</a:t>
              </a:r>
              <a:endParaRPr kumimoji="0" lang="da-DK" altLang="da-DK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385" name="Rectangle 916"/>
            <p:cNvSpPr>
              <a:spLocks noChangeArrowheads="1"/>
            </p:cNvSpPr>
            <p:nvPr userDrawn="1"/>
          </p:nvSpPr>
          <p:spPr bwMode="auto">
            <a:xfrm>
              <a:off x="3231" y="2893"/>
              <a:ext cx="401" cy="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altLang="da-DK" sz="4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oho Gothic Pro Light" panose="020B0303030504020204" pitchFamily="34" charset="0"/>
                </a:rPr>
                <a:t>Sao Tome og Principe</a:t>
              </a:r>
              <a:endParaRPr kumimoji="0" lang="da-DK" altLang="da-DK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386" name="Rectangle 917"/>
            <p:cNvSpPr>
              <a:spLocks noChangeArrowheads="1"/>
            </p:cNvSpPr>
            <p:nvPr userDrawn="1"/>
          </p:nvSpPr>
          <p:spPr bwMode="auto">
            <a:xfrm>
              <a:off x="3906" y="2726"/>
              <a:ext cx="196" cy="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altLang="da-DK" sz="4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oho Gothic Pro Light" panose="020B0303030504020204" pitchFamily="34" charset="0"/>
                </a:rPr>
                <a:t>South Sudan</a:t>
              </a:r>
              <a:endParaRPr kumimoji="0" lang="da-DK" altLang="da-DK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387" name="Rectangle 918"/>
            <p:cNvSpPr>
              <a:spLocks noChangeArrowheads="1"/>
            </p:cNvSpPr>
            <p:nvPr userDrawn="1"/>
          </p:nvSpPr>
          <p:spPr bwMode="auto">
            <a:xfrm>
              <a:off x="3360" y="2145"/>
              <a:ext cx="86" cy="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altLang="da-DK" sz="4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oho Gothic Pro Light" panose="020B0303030504020204" pitchFamily="34" charset="0"/>
                </a:rPr>
                <a:t>Spain</a:t>
              </a:r>
              <a:endParaRPr kumimoji="0" lang="da-DK" altLang="da-DK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388" name="Rectangle 919"/>
            <p:cNvSpPr>
              <a:spLocks noChangeArrowheads="1"/>
            </p:cNvSpPr>
            <p:nvPr userDrawn="1"/>
          </p:nvSpPr>
          <p:spPr bwMode="auto">
            <a:xfrm>
              <a:off x="4973" y="2742"/>
              <a:ext cx="179" cy="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altLang="da-DK" sz="4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oho Gothic Pro Light" panose="020B0303030504020204" pitchFamily="34" charset="0"/>
                </a:rPr>
                <a:t>Sri Lanka</a:t>
              </a:r>
              <a:endParaRPr kumimoji="0" lang="da-DK" altLang="da-DK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389" name="Rectangle 920"/>
            <p:cNvSpPr>
              <a:spLocks noChangeArrowheads="1"/>
            </p:cNvSpPr>
            <p:nvPr userDrawn="1"/>
          </p:nvSpPr>
          <p:spPr bwMode="auto">
            <a:xfrm>
              <a:off x="3509" y="1997"/>
              <a:ext cx="182" cy="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altLang="da-DK" sz="400" b="0" i="0" u="none" strike="noStrike" cap="none" normalizeH="0" baseline="0" err="1">
                  <a:ln>
                    <a:noFill/>
                  </a:ln>
                  <a:solidFill>
                    <a:srgbClr val="000000"/>
                  </a:solidFill>
                  <a:effectLst/>
                  <a:latin typeface="Soho Gothic Pro Light" panose="020B0303030504020204" pitchFamily="34" charset="0"/>
                </a:rPr>
                <a:t>Switzerland</a:t>
              </a:r>
              <a:endParaRPr kumimoji="0" lang="da-DK" altLang="da-DK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390" name="Rectangle 921"/>
            <p:cNvSpPr>
              <a:spLocks noChangeArrowheads="1"/>
            </p:cNvSpPr>
            <p:nvPr userDrawn="1"/>
          </p:nvSpPr>
          <p:spPr bwMode="auto">
            <a:xfrm>
              <a:off x="3441" y="2751"/>
              <a:ext cx="112" cy="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altLang="da-DK" sz="4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oho Gothic Pro Light" panose="020B0303030504020204" pitchFamily="34" charset="0"/>
                </a:rPr>
                <a:t>Togo</a:t>
              </a:r>
              <a:endParaRPr kumimoji="0" lang="da-DK" altLang="da-DK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391" name="Rectangle 922"/>
            <p:cNvSpPr>
              <a:spLocks noChangeArrowheads="1"/>
            </p:cNvSpPr>
            <p:nvPr userDrawn="1"/>
          </p:nvSpPr>
          <p:spPr bwMode="auto">
            <a:xfrm>
              <a:off x="4411" y="2353"/>
              <a:ext cx="104" cy="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altLang="da-DK" sz="4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oho Gothic Pro Light" panose="020B0303030504020204" pitchFamily="34" charset="0"/>
                </a:rPr>
                <a:t>United</a:t>
              </a:r>
              <a:endParaRPr kumimoji="0" lang="da-DK" altLang="da-DK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392" name="Rectangle 923"/>
            <p:cNvSpPr>
              <a:spLocks noChangeArrowheads="1"/>
            </p:cNvSpPr>
            <p:nvPr userDrawn="1"/>
          </p:nvSpPr>
          <p:spPr bwMode="auto">
            <a:xfrm>
              <a:off x="4411" y="2395"/>
              <a:ext cx="104" cy="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altLang="da-DK" sz="4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oho Gothic Pro Light" panose="020B0303030504020204" pitchFamily="34" charset="0"/>
                </a:rPr>
                <a:t>Arab</a:t>
              </a:r>
              <a:endParaRPr kumimoji="0" lang="da-DK" altLang="da-DK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393" name="Rectangle 924"/>
            <p:cNvSpPr>
              <a:spLocks noChangeArrowheads="1"/>
            </p:cNvSpPr>
            <p:nvPr userDrawn="1"/>
          </p:nvSpPr>
          <p:spPr bwMode="auto">
            <a:xfrm>
              <a:off x="4411" y="2436"/>
              <a:ext cx="177" cy="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altLang="da-DK" sz="4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oho Gothic Pro Light" panose="020B0303030504020204" pitchFamily="34" charset="0"/>
                </a:rPr>
                <a:t>Emirates</a:t>
              </a:r>
              <a:endParaRPr kumimoji="0" lang="da-DK" altLang="da-DK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394" name="Rectangle 925"/>
            <p:cNvSpPr>
              <a:spLocks noChangeArrowheads="1"/>
            </p:cNvSpPr>
            <p:nvPr userDrawn="1"/>
          </p:nvSpPr>
          <p:spPr bwMode="auto">
            <a:xfrm>
              <a:off x="1589" y="2090"/>
              <a:ext cx="97" cy="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altLang="da-DK" sz="4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oho Gothic Pro Light" panose="020B0303030504020204" pitchFamily="34" charset="0"/>
                </a:rPr>
                <a:t>USA</a:t>
              </a:r>
              <a:endParaRPr kumimoji="0" lang="da-DK" altLang="da-DK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395" name="Rectangle 926"/>
            <p:cNvSpPr>
              <a:spLocks noChangeArrowheads="1"/>
            </p:cNvSpPr>
            <p:nvPr userDrawn="1"/>
          </p:nvSpPr>
          <p:spPr bwMode="auto">
            <a:xfrm>
              <a:off x="3047" y="2658"/>
              <a:ext cx="152" cy="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altLang="da-DK" sz="4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oho Gothic Pro Light" panose="020B0303030504020204" pitchFamily="34" charset="0"/>
                </a:rPr>
                <a:t>Gambia</a:t>
              </a:r>
              <a:endParaRPr kumimoji="0" lang="da-DK" altLang="da-DK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396" name="Freeform 927"/>
            <p:cNvSpPr>
              <a:spLocks/>
            </p:cNvSpPr>
            <p:nvPr userDrawn="1"/>
          </p:nvSpPr>
          <p:spPr bwMode="auto">
            <a:xfrm>
              <a:off x="5160" y="2065"/>
              <a:ext cx="27" cy="2"/>
            </a:xfrm>
            <a:custGeom>
              <a:avLst/>
              <a:gdLst>
                <a:gd name="T0" fmla="*/ 27 w 27"/>
                <a:gd name="T1" fmla="*/ 2 h 2"/>
                <a:gd name="T2" fmla="*/ 11 w 27"/>
                <a:gd name="T3" fmla="*/ 0 h 2"/>
                <a:gd name="T4" fmla="*/ 0 w 27"/>
                <a:gd name="T5" fmla="*/ 1 h 2"/>
                <a:gd name="T6" fmla="*/ 27 w 27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7" h="2">
                  <a:moveTo>
                    <a:pt x="27" y="2"/>
                  </a:moveTo>
                  <a:lnTo>
                    <a:pt x="11" y="0"/>
                  </a:lnTo>
                  <a:lnTo>
                    <a:pt x="0" y="1"/>
                  </a:lnTo>
                  <a:lnTo>
                    <a:pt x="27" y="2"/>
                  </a:lnTo>
                  <a:close/>
                </a:path>
              </a:pathLst>
            </a:custGeom>
            <a:solidFill>
              <a:srgbClr val="89C7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397" name="Freeform 928"/>
            <p:cNvSpPr>
              <a:spLocks/>
            </p:cNvSpPr>
            <p:nvPr userDrawn="1"/>
          </p:nvSpPr>
          <p:spPr bwMode="auto">
            <a:xfrm>
              <a:off x="5160" y="2065"/>
              <a:ext cx="27" cy="2"/>
            </a:xfrm>
            <a:custGeom>
              <a:avLst/>
              <a:gdLst>
                <a:gd name="T0" fmla="*/ 27 w 27"/>
                <a:gd name="T1" fmla="*/ 2 h 2"/>
                <a:gd name="T2" fmla="*/ 11 w 27"/>
                <a:gd name="T3" fmla="*/ 0 h 2"/>
                <a:gd name="T4" fmla="*/ 0 w 27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7" h="2">
                  <a:moveTo>
                    <a:pt x="27" y="2"/>
                  </a:moveTo>
                  <a:lnTo>
                    <a:pt x="11" y="0"/>
                  </a:lnTo>
                  <a:lnTo>
                    <a:pt x="0" y="1"/>
                  </a:lnTo>
                </a:path>
              </a:pathLst>
            </a:custGeom>
            <a:noFill/>
            <a:ln w="1588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398" name="Line 929"/>
            <p:cNvSpPr>
              <a:spLocks noChangeShapeType="1"/>
            </p:cNvSpPr>
            <p:nvPr userDrawn="1"/>
          </p:nvSpPr>
          <p:spPr bwMode="auto">
            <a:xfrm>
              <a:off x="4005" y="3008"/>
              <a:ext cx="0" cy="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399" name="Line 930"/>
            <p:cNvSpPr>
              <a:spLocks noChangeShapeType="1"/>
            </p:cNvSpPr>
            <p:nvPr userDrawn="1"/>
          </p:nvSpPr>
          <p:spPr bwMode="auto">
            <a:xfrm>
              <a:off x="4005" y="3008"/>
              <a:ext cx="0" cy="0"/>
            </a:xfrm>
            <a:prstGeom prst="line">
              <a:avLst/>
            </a:prstGeom>
            <a:noFill/>
            <a:ln w="1588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400" name="Rectangle 931"/>
            <p:cNvSpPr>
              <a:spLocks noChangeArrowheads="1"/>
            </p:cNvSpPr>
            <p:nvPr userDrawn="1"/>
          </p:nvSpPr>
          <p:spPr bwMode="auto">
            <a:xfrm>
              <a:off x="3497" y="2645"/>
              <a:ext cx="248" cy="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altLang="da-DK" sz="4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oho Gothic Pro Light" panose="020B0303030504020204" pitchFamily="34" charset="0"/>
                </a:rPr>
                <a:t>Burkina Faso</a:t>
              </a:r>
              <a:endParaRPr kumimoji="0" lang="da-DK" altLang="da-DK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401" name="Rectangle 932"/>
            <p:cNvSpPr>
              <a:spLocks noChangeArrowheads="1"/>
            </p:cNvSpPr>
            <p:nvPr userDrawn="1"/>
          </p:nvSpPr>
          <p:spPr bwMode="auto">
            <a:xfrm>
              <a:off x="2856" y="1100"/>
              <a:ext cx="159" cy="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altLang="da-DK" sz="4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oho Gothic Pro Light" panose="020B0303030504020204" pitchFamily="34" charset="0"/>
                </a:rPr>
                <a:t>Greenland</a:t>
              </a:r>
              <a:endParaRPr kumimoji="0" lang="da-DK" altLang="da-DK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402" name="Rectangle 933"/>
            <p:cNvSpPr>
              <a:spLocks noChangeArrowheads="1"/>
            </p:cNvSpPr>
            <p:nvPr userDrawn="1"/>
          </p:nvSpPr>
          <p:spPr bwMode="auto">
            <a:xfrm>
              <a:off x="4050" y="2306"/>
              <a:ext cx="115" cy="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altLang="da-DK" sz="4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oho Gothic Pro Light" panose="020B0303030504020204" pitchFamily="34" charset="0"/>
                </a:rPr>
                <a:t>Israel</a:t>
              </a:r>
              <a:endParaRPr kumimoji="0" lang="da-DK" altLang="da-DK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sp>
        <p:nvSpPr>
          <p:cNvPr id="938" name="Rectangle 932"/>
          <p:cNvSpPr>
            <a:spLocks noChangeArrowheads="1"/>
          </p:cNvSpPr>
          <p:nvPr userDrawn="1"/>
        </p:nvSpPr>
        <p:spPr bwMode="auto">
          <a:xfrm>
            <a:off x="4170256" y="5098746"/>
            <a:ext cx="126638" cy="615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a-DK" altLang="da-DK" sz="400" b="0" i="0" u="none" strike="noStrike" cap="none" normalizeH="0" baseline="0" err="1">
                <a:ln>
                  <a:noFill/>
                </a:ln>
                <a:solidFill>
                  <a:srgbClr val="000000"/>
                </a:solidFill>
                <a:effectLst/>
                <a:latin typeface="Soho Gothic Pro Light" panose="020B0303030504020204" pitchFamily="34" charset="0"/>
              </a:rPr>
              <a:t>Brazil</a:t>
            </a:r>
            <a:endParaRPr kumimoji="0" lang="da-DK" altLang="da-DK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39" name="Rectangle 932"/>
          <p:cNvSpPr>
            <a:spLocks noChangeArrowheads="1"/>
          </p:cNvSpPr>
          <p:nvPr userDrawn="1"/>
        </p:nvSpPr>
        <p:spPr bwMode="auto">
          <a:xfrm>
            <a:off x="6986701" y="5395955"/>
            <a:ext cx="274114" cy="615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a-DK" altLang="da-DK" sz="400" b="0" i="0" u="none" strike="noStrike" cap="none" normalizeH="0" baseline="0" err="1">
                <a:ln>
                  <a:noFill/>
                </a:ln>
                <a:solidFill>
                  <a:srgbClr val="000000"/>
                </a:solidFill>
                <a:effectLst/>
                <a:latin typeface="Soho Gothic Pro Light" panose="020B0303030504020204" pitchFamily="34" charset="0"/>
              </a:rPr>
              <a:t>Madagascar</a:t>
            </a:r>
            <a:endParaRPr kumimoji="0" lang="da-DK" altLang="da-DK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929" name="Graphic 928">
            <a:extLst>
              <a:ext uri="{FF2B5EF4-FFF2-40B4-BE49-F238E27FC236}">
                <a16:creationId xmlns:a16="http://schemas.microsoft.com/office/drawing/2014/main" id="{27A02B9F-5800-4021-BB92-7688892834E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52600" y="6339508"/>
            <a:ext cx="1080000" cy="3410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39585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Reference horis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"/>
            <a:ext cx="12193200" cy="4261448"/>
          </a:xfrm>
          <a:prstGeom prst="rect">
            <a:avLst/>
          </a:prstGeom>
          <a:solidFill>
            <a:schemeClr val="accent1"/>
          </a:solidFill>
        </p:spPr>
        <p:txBody>
          <a:bodyPr lIns="0" tIns="900000" anchor="ctr" anchorCtr="0"/>
          <a:lstStyle>
            <a:lvl1pPr marL="0" indent="0" algn="ctr">
              <a:buNone/>
              <a:defRPr sz="1600" baseline="0"/>
            </a:lvl1pPr>
          </a:lstStyle>
          <a:p>
            <a:r>
              <a:rPr lang="en-GB"/>
              <a:t>Click and insert image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511AF70C-4FFB-4814-BA67-BEF4AB12EAC9}"/>
              </a:ext>
            </a:extLst>
          </p:cNvPr>
          <p:cNvSpPr txBox="1">
            <a:spLocks/>
          </p:cNvSpPr>
          <p:nvPr/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da-DK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>
              <a:solidFill>
                <a:schemeClr val="tx1"/>
              </a:solidFill>
            </a:endParaRP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6A25B022-A987-46E0-A735-17F8473A3558}"/>
              </a:ext>
            </a:extLst>
          </p:cNvPr>
          <p:cNvSpPr txBox="1">
            <a:spLocks/>
          </p:cNvSpPr>
          <p:nvPr/>
        </p:nvSpPr>
        <p:spPr>
          <a:xfrm>
            <a:off x="10762637" y="6339507"/>
            <a:ext cx="1069963" cy="341053"/>
          </a:xfrm>
          <a:prstGeom prst="rect">
            <a:avLst/>
          </a:prstGeo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/>
          </a:p>
        </p:txBody>
      </p:sp>
      <p:sp>
        <p:nvSpPr>
          <p:cNvPr id="5" name="Pladsholder til diasnummer 4" hidden="1"/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0" y="6858000"/>
            <a:ext cx="0" cy="0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D5FEA3CA-05C1-473E-929F-93A72C953AA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58800" y="4485737"/>
            <a:ext cx="5540550" cy="1673763"/>
          </a:xfrm>
        </p:spPr>
        <p:txBody>
          <a:bodyPr lIns="72000" tIns="36000" rIns="72000" bIns="36000"/>
          <a:lstStyle/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D221EF28-4459-40E0-85E3-97CFD712297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92800" y="4485737"/>
            <a:ext cx="5540400" cy="1673763"/>
          </a:xfrm>
        </p:spPr>
        <p:txBody>
          <a:bodyPr lIns="72000" tIns="36000" rIns="72000" bIns="36000"/>
          <a:lstStyle/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49930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2825">
          <p15:clr>
            <a:srgbClr val="A4A3A4"/>
          </p15:clr>
        </p15:guide>
        <p15:guide id="5" pos="3716">
          <p15:clr>
            <a:srgbClr val="A4A3A4"/>
          </p15:clr>
        </p15:guide>
        <p15:guide id="6" pos="3963">
          <p15:clr>
            <a:srgbClr val="A4A3A4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4/19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828210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0BF64466-F367-40DF-8BAC-6FB3B331E88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600">
                <a:noFill/>
              </a:defRPr>
            </a:lvl1pPr>
          </a:lstStyle>
          <a:p>
            <a:endParaRPr lang="da-DK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719421ED-E398-409B-84BF-1D7C32EC7EA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52600" y="6339508"/>
            <a:ext cx="1080000" cy="341053"/>
          </a:xfrm>
          <a:prstGeom prst="rect">
            <a:avLst/>
          </a:prstGeom>
        </p:spPr>
      </p:pic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E74AD59E-A423-4B11-A9D8-860D9ED84A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400" y="360000"/>
            <a:ext cx="11473200" cy="619713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/>
          <a:p>
            <a:r>
              <a:rPr lang="en-US"/>
              <a:t>Click to edit headline</a:t>
            </a:r>
            <a:endParaRPr lang="da-DK"/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58C76A65-4949-4712-B40B-9E02FAB683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28290" y="6375818"/>
            <a:ext cx="511868" cy="365125"/>
          </a:xfrm>
        </p:spPr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950549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52">
          <p15:clr>
            <a:srgbClr val="A4A3A4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827089" y="1208078"/>
            <a:ext cx="10741024" cy="307777"/>
          </a:xfrm>
        </p:spPr>
        <p:txBody>
          <a:bodyPr>
            <a:sp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2pPr>
            <a:lvl3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5pPr>
            <a:lvl6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6pPr>
            <a:lvl7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7pPr>
            <a:lvl8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8pPr>
            <a:lvl9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>
              <a:noFill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da-DK" smtClean="0"/>
              <a:pPr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6651838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Quote (attention)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87419" y="614363"/>
            <a:ext cx="5308581" cy="3007255"/>
          </a:xfrm>
        </p:spPr>
        <p:txBody>
          <a:bodyPr/>
          <a:lstStyle>
            <a:lvl1pPr>
              <a:defRPr>
                <a:solidFill>
                  <a:srgbClr val="FFFFFF"/>
                </a:solidFill>
                <a:latin typeface="Palatino Linotype" panose="02040502050505030304" pitchFamily="18" charset="0"/>
              </a:defRPr>
            </a:lvl1pPr>
          </a:lstStyle>
          <a:p>
            <a:r>
              <a:rPr lang="en-US"/>
              <a:t>“Enter quotation”</a:t>
            </a:r>
          </a:p>
        </p:txBody>
      </p:sp>
      <p:sp>
        <p:nvSpPr>
          <p:cNvPr id="25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814917" y="3621618"/>
            <a:ext cx="5281083" cy="5754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/>
              <a:t>Enter sourc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da-DK">
              <a:noFill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3"/>
          </p:nvPr>
        </p:nvSpPr>
        <p:spPr>
          <a:ln>
            <a:solidFill>
              <a:srgbClr val="FFFFFF"/>
            </a:solidFill>
          </a:ln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24C8C45C-947F-4981-8B3F-4F32E973C901}" type="slidenum">
              <a:rPr lang="da-DK" smtClean="0"/>
              <a:pPr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25346804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D15AE17-660B-456D-80E6-FF62C98ED0F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7493620" y="0"/>
            <a:ext cx="4698380" cy="6858000"/>
          </a:xfrm>
          <a:prstGeom prst="rect">
            <a:avLst/>
          </a:prstGeom>
          <a:solidFill>
            <a:schemeClr val="accent1"/>
          </a:solidFill>
        </p:spPr>
        <p:txBody>
          <a:bodyPr tIns="900000" anchor="ctr" anchorCtr="0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and insert image</a:t>
            </a:r>
          </a:p>
        </p:txBody>
      </p:sp>
      <p:sp>
        <p:nvSpPr>
          <p:cNvPr id="5" name="Pladsholder til diasnummer 4" hidden="1"/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defRPr sz="100"/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4" name="Text Placeholder 3">
            <a:extLst>
              <a:ext uri="{FF2B5EF4-FFF2-40B4-BE49-F238E27FC236}">
                <a16:creationId xmlns:a16="http://schemas.microsoft.com/office/drawing/2014/main" id="{11C61C4F-80D2-44D9-AC16-5BDCC4AC253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58800" y="1271239"/>
            <a:ext cx="6599561" cy="4888261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lang="da-DK" sz="1600" smtClean="0">
                <a:solidFill>
                  <a:schemeClr val="bg1"/>
                </a:solidFill>
                <a:effectLst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6" name="Logo on top">
            <a:extLst>
              <a:ext uri="{FF2B5EF4-FFF2-40B4-BE49-F238E27FC236}">
                <a16:creationId xmlns:a16="http://schemas.microsoft.com/office/drawing/2014/main" id="{DFBC9626-F092-47C9-AA7F-877A4D548D6A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10753200" y="6339600"/>
            <a:ext cx="1080000" cy="340069"/>
          </a:xfrm>
          <a:custGeom>
            <a:avLst/>
            <a:gdLst>
              <a:gd name="connsiteX0" fmla="*/ 968375 w 3876676"/>
              <a:gd name="connsiteY0" fmla="*/ 557213 h 1212806"/>
              <a:gd name="connsiteX1" fmla="*/ 1176338 w 3876676"/>
              <a:gd name="connsiteY1" fmla="*/ 557213 h 1212806"/>
              <a:gd name="connsiteX2" fmla="*/ 1176338 w 3876676"/>
              <a:gd name="connsiteY2" fmla="*/ 1193801 h 1212806"/>
              <a:gd name="connsiteX3" fmla="*/ 968375 w 3876676"/>
              <a:gd name="connsiteY3" fmla="*/ 1193801 h 1212806"/>
              <a:gd name="connsiteX4" fmla="*/ 0 w 3876676"/>
              <a:gd name="connsiteY4" fmla="*/ 557213 h 1212806"/>
              <a:gd name="connsiteX5" fmla="*/ 239712 w 3876676"/>
              <a:gd name="connsiteY5" fmla="*/ 557213 h 1212806"/>
              <a:gd name="connsiteX6" fmla="*/ 561975 w 3876676"/>
              <a:gd name="connsiteY6" fmla="*/ 893763 h 1212806"/>
              <a:gd name="connsiteX7" fmla="*/ 581025 w 3876676"/>
              <a:gd name="connsiteY7" fmla="*/ 560388 h 1212806"/>
              <a:gd name="connsiteX8" fmla="*/ 782638 w 3876676"/>
              <a:gd name="connsiteY8" fmla="*/ 560388 h 1212806"/>
              <a:gd name="connsiteX9" fmla="*/ 782638 w 3876676"/>
              <a:gd name="connsiteY9" fmla="*/ 1193801 h 1212806"/>
              <a:gd name="connsiteX10" fmla="*/ 590550 w 3876676"/>
              <a:gd name="connsiteY10" fmla="*/ 1193801 h 1212806"/>
              <a:gd name="connsiteX11" fmla="*/ 214312 w 3876676"/>
              <a:gd name="connsiteY11" fmla="*/ 811213 h 1212806"/>
              <a:gd name="connsiteX12" fmla="*/ 192087 w 3876676"/>
              <a:gd name="connsiteY12" fmla="*/ 1193801 h 1212806"/>
              <a:gd name="connsiteX13" fmla="*/ 0 w 3876676"/>
              <a:gd name="connsiteY13" fmla="*/ 1193801 h 1212806"/>
              <a:gd name="connsiteX14" fmla="*/ 1748787 w 3876676"/>
              <a:gd name="connsiteY14" fmla="*/ 547727 h 1212806"/>
              <a:gd name="connsiteX15" fmla="*/ 2081150 w 3876676"/>
              <a:gd name="connsiteY15" fmla="*/ 743800 h 1212806"/>
              <a:gd name="connsiteX16" fmla="*/ 1918165 w 3876676"/>
              <a:gd name="connsiteY16" fmla="*/ 962372 h 1212806"/>
              <a:gd name="connsiteX17" fmla="*/ 2081150 w 3876676"/>
              <a:gd name="connsiteY17" fmla="*/ 1193801 h 1212806"/>
              <a:gd name="connsiteX18" fmla="*/ 1860640 w 3876676"/>
              <a:gd name="connsiteY18" fmla="*/ 1193801 h 1212806"/>
              <a:gd name="connsiteX19" fmla="*/ 1656109 w 3876676"/>
              <a:gd name="connsiteY19" fmla="*/ 972015 h 1212806"/>
              <a:gd name="connsiteX20" fmla="*/ 1656109 w 3876676"/>
              <a:gd name="connsiteY20" fmla="*/ 872371 h 1212806"/>
              <a:gd name="connsiteX21" fmla="*/ 1854249 w 3876676"/>
              <a:gd name="connsiteY21" fmla="*/ 756657 h 1212806"/>
              <a:gd name="connsiteX22" fmla="*/ 1710438 w 3876676"/>
              <a:gd name="connsiteY22" fmla="*/ 676299 h 1212806"/>
              <a:gd name="connsiteX23" fmla="*/ 1582606 w 3876676"/>
              <a:gd name="connsiteY23" fmla="*/ 682728 h 1212806"/>
              <a:gd name="connsiteX24" fmla="*/ 1550648 w 3876676"/>
              <a:gd name="connsiteY24" fmla="*/ 1193801 h 1212806"/>
              <a:gd name="connsiteX25" fmla="*/ 1358900 w 3876676"/>
              <a:gd name="connsiteY25" fmla="*/ 1193801 h 1212806"/>
              <a:gd name="connsiteX26" fmla="*/ 1358900 w 3876676"/>
              <a:gd name="connsiteY26" fmla="*/ 557370 h 1212806"/>
              <a:gd name="connsiteX27" fmla="*/ 1748787 w 3876676"/>
              <a:gd name="connsiteY27" fmla="*/ 547727 h 1212806"/>
              <a:gd name="connsiteX28" fmla="*/ 3505842 w 3876676"/>
              <a:gd name="connsiteY28" fmla="*/ 533444 h 1212806"/>
              <a:gd name="connsiteX29" fmla="*/ 3831920 w 3876676"/>
              <a:gd name="connsiteY29" fmla="*/ 549540 h 1212806"/>
              <a:gd name="connsiteX30" fmla="*/ 3831920 w 3876676"/>
              <a:gd name="connsiteY30" fmla="*/ 697618 h 1212806"/>
              <a:gd name="connsiteX31" fmla="*/ 3579369 w 3876676"/>
              <a:gd name="connsiteY31" fmla="*/ 675085 h 1212806"/>
              <a:gd name="connsiteX32" fmla="*/ 3419527 w 3876676"/>
              <a:gd name="connsiteY32" fmla="*/ 729809 h 1212806"/>
              <a:gd name="connsiteX33" fmla="*/ 3521826 w 3876676"/>
              <a:gd name="connsiteY33" fmla="*/ 778096 h 1212806"/>
              <a:gd name="connsiteX34" fmla="*/ 3876676 w 3876676"/>
              <a:gd name="connsiteY34" fmla="*/ 996994 h 1212806"/>
              <a:gd name="connsiteX35" fmla="*/ 3505842 w 3876676"/>
              <a:gd name="connsiteY35" fmla="*/ 1212674 h 1212806"/>
              <a:gd name="connsiteX36" fmla="*/ 3208535 w 3876676"/>
              <a:gd name="connsiteY36" fmla="*/ 1193359 h 1212806"/>
              <a:gd name="connsiteX37" fmla="*/ 3208535 w 3876676"/>
              <a:gd name="connsiteY37" fmla="*/ 1032404 h 1212806"/>
              <a:gd name="connsiteX38" fmla="*/ 3451495 w 3876676"/>
              <a:gd name="connsiteY38" fmla="*/ 1064595 h 1212806"/>
              <a:gd name="connsiteX39" fmla="*/ 3649700 w 3876676"/>
              <a:gd name="connsiteY39" fmla="*/ 1006652 h 1212806"/>
              <a:gd name="connsiteX40" fmla="*/ 3560188 w 3876676"/>
              <a:gd name="connsiteY40" fmla="*/ 964803 h 1212806"/>
              <a:gd name="connsiteX41" fmla="*/ 3179763 w 3876676"/>
              <a:gd name="connsiteY41" fmla="*/ 749124 h 1212806"/>
              <a:gd name="connsiteX42" fmla="*/ 3505842 w 3876676"/>
              <a:gd name="connsiteY42" fmla="*/ 533444 h 1212806"/>
              <a:gd name="connsiteX43" fmla="*/ 2179638 w 3876676"/>
              <a:gd name="connsiteY43" fmla="*/ 476250 h 1212806"/>
              <a:gd name="connsiteX44" fmla="*/ 2182834 w 3876676"/>
              <a:gd name="connsiteY44" fmla="*/ 476250 h 1212806"/>
              <a:gd name="connsiteX45" fmla="*/ 2368233 w 3876676"/>
              <a:gd name="connsiteY45" fmla="*/ 810892 h 1212806"/>
              <a:gd name="connsiteX46" fmla="*/ 2499290 w 3876676"/>
              <a:gd name="connsiteY46" fmla="*/ 556693 h 1212806"/>
              <a:gd name="connsiteX47" fmla="*/ 2812550 w 3876676"/>
              <a:gd name="connsiteY47" fmla="*/ 556693 h 1212806"/>
              <a:gd name="connsiteX48" fmla="*/ 2962787 w 3876676"/>
              <a:gd name="connsiteY48" fmla="*/ 855940 h 1212806"/>
              <a:gd name="connsiteX49" fmla="*/ 3122613 w 3876676"/>
              <a:gd name="connsiteY49" fmla="*/ 1193800 h 1212806"/>
              <a:gd name="connsiteX50" fmla="*/ 2918035 w 3876676"/>
              <a:gd name="connsiteY50" fmla="*/ 1193800 h 1212806"/>
              <a:gd name="connsiteX51" fmla="*/ 2652724 w 3876676"/>
              <a:gd name="connsiteY51" fmla="*/ 720796 h 1212806"/>
              <a:gd name="connsiteX52" fmla="*/ 2550435 w 3876676"/>
              <a:gd name="connsiteY52" fmla="*/ 907424 h 1212806"/>
              <a:gd name="connsiteX53" fmla="*/ 2662313 w 3876676"/>
              <a:gd name="connsiteY53" fmla="*/ 926730 h 1212806"/>
              <a:gd name="connsiteX54" fmla="*/ 2662313 w 3876676"/>
              <a:gd name="connsiteY54" fmla="*/ 1103704 h 1212806"/>
              <a:gd name="connsiteX55" fmla="*/ 2460932 w 3876676"/>
              <a:gd name="connsiteY55" fmla="*/ 1068309 h 1212806"/>
              <a:gd name="connsiteX56" fmla="*/ 2393805 w 3876676"/>
              <a:gd name="connsiteY56" fmla="*/ 1193800 h 1212806"/>
              <a:gd name="connsiteX57" fmla="*/ 2189227 w 3876676"/>
              <a:gd name="connsiteY57" fmla="*/ 1193800 h 1212806"/>
              <a:gd name="connsiteX58" fmla="*/ 2294713 w 3876676"/>
              <a:gd name="connsiteY58" fmla="*/ 965343 h 1212806"/>
              <a:gd name="connsiteX59" fmla="*/ 2179638 w 3876676"/>
              <a:gd name="connsiteY59" fmla="*/ 749756 h 1212806"/>
              <a:gd name="connsiteX60" fmla="*/ 2179638 w 3876676"/>
              <a:gd name="connsiteY60" fmla="*/ 476250 h 1212806"/>
              <a:gd name="connsiteX61" fmla="*/ 2665413 w 3876676"/>
              <a:gd name="connsiteY61" fmla="*/ 0 h 1212806"/>
              <a:gd name="connsiteX62" fmla="*/ 2665413 w 3876676"/>
              <a:gd name="connsiteY62" fmla="*/ 199390 h 1212806"/>
              <a:gd name="connsiteX63" fmla="*/ 2313126 w 3876676"/>
              <a:gd name="connsiteY63" fmla="*/ 498475 h 1212806"/>
              <a:gd name="connsiteX64" fmla="*/ 2300315 w 3876676"/>
              <a:gd name="connsiteY64" fmla="*/ 395564 h 1212806"/>
              <a:gd name="connsiteX65" fmla="*/ 2665413 w 3876676"/>
              <a:gd name="connsiteY65" fmla="*/ 0 h 12128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</a:cxnLst>
            <a:rect l="l" t="t" r="r" b="b"/>
            <a:pathLst>
              <a:path w="3876676" h="1212806">
                <a:moveTo>
                  <a:pt x="968375" y="557213"/>
                </a:moveTo>
                <a:lnTo>
                  <a:pt x="1176338" y="557213"/>
                </a:lnTo>
                <a:lnTo>
                  <a:pt x="1176338" y="1193801"/>
                </a:lnTo>
                <a:lnTo>
                  <a:pt x="968375" y="1193801"/>
                </a:lnTo>
                <a:close/>
                <a:moveTo>
                  <a:pt x="0" y="557213"/>
                </a:moveTo>
                <a:lnTo>
                  <a:pt x="239712" y="557213"/>
                </a:lnTo>
                <a:lnTo>
                  <a:pt x="561975" y="893763"/>
                </a:lnTo>
                <a:lnTo>
                  <a:pt x="581025" y="560388"/>
                </a:lnTo>
                <a:lnTo>
                  <a:pt x="782638" y="560388"/>
                </a:lnTo>
                <a:lnTo>
                  <a:pt x="782638" y="1193801"/>
                </a:lnTo>
                <a:lnTo>
                  <a:pt x="590550" y="1193801"/>
                </a:lnTo>
                <a:lnTo>
                  <a:pt x="214312" y="811213"/>
                </a:lnTo>
                <a:lnTo>
                  <a:pt x="192087" y="1193801"/>
                </a:lnTo>
                <a:lnTo>
                  <a:pt x="0" y="1193801"/>
                </a:lnTo>
                <a:close/>
                <a:moveTo>
                  <a:pt x="1748787" y="547727"/>
                </a:moveTo>
                <a:cubicBezTo>
                  <a:pt x="1892598" y="547727"/>
                  <a:pt x="2068367" y="583085"/>
                  <a:pt x="2081150" y="743800"/>
                </a:cubicBezTo>
                <a:cubicBezTo>
                  <a:pt x="2090738" y="917372"/>
                  <a:pt x="1918165" y="962372"/>
                  <a:pt x="1918165" y="962372"/>
                </a:cubicBezTo>
                <a:cubicBezTo>
                  <a:pt x="1918165" y="962372"/>
                  <a:pt x="1918165" y="962372"/>
                  <a:pt x="2081150" y="1193801"/>
                </a:cubicBezTo>
                <a:cubicBezTo>
                  <a:pt x="2081150" y="1193801"/>
                  <a:pt x="2081150" y="1193801"/>
                  <a:pt x="1860640" y="1193801"/>
                </a:cubicBezTo>
                <a:cubicBezTo>
                  <a:pt x="1860640" y="1193801"/>
                  <a:pt x="1860640" y="1193801"/>
                  <a:pt x="1656109" y="972015"/>
                </a:cubicBezTo>
                <a:cubicBezTo>
                  <a:pt x="1656109" y="972015"/>
                  <a:pt x="1656109" y="972015"/>
                  <a:pt x="1656109" y="872371"/>
                </a:cubicBezTo>
                <a:cubicBezTo>
                  <a:pt x="1838270" y="872371"/>
                  <a:pt x="1857444" y="811300"/>
                  <a:pt x="1854249" y="756657"/>
                </a:cubicBezTo>
                <a:cubicBezTo>
                  <a:pt x="1851053" y="705228"/>
                  <a:pt x="1790333" y="676299"/>
                  <a:pt x="1710438" y="676299"/>
                </a:cubicBezTo>
                <a:cubicBezTo>
                  <a:pt x="1659305" y="676299"/>
                  <a:pt x="1582606" y="682728"/>
                  <a:pt x="1582606" y="682728"/>
                </a:cubicBezTo>
                <a:cubicBezTo>
                  <a:pt x="1582606" y="682728"/>
                  <a:pt x="1582606" y="682728"/>
                  <a:pt x="1550648" y="1193801"/>
                </a:cubicBezTo>
                <a:cubicBezTo>
                  <a:pt x="1550648" y="1193801"/>
                  <a:pt x="1550648" y="1193801"/>
                  <a:pt x="1358900" y="1193801"/>
                </a:cubicBezTo>
                <a:cubicBezTo>
                  <a:pt x="1358900" y="1193801"/>
                  <a:pt x="1358900" y="1193801"/>
                  <a:pt x="1358900" y="557370"/>
                </a:cubicBezTo>
                <a:cubicBezTo>
                  <a:pt x="1358900" y="557370"/>
                  <a:pt x="1633738" y="544513"/>
                  <a:pt x="1748787" y="547727"/>
                </a:cubicBezTo>
                <a:close/>
                <a:moveTo>
                  <a:pt x="3505842" y="533444"/>
                </a:moveTo>
                <a:cubicBezTo>
                  <a:pt x="3668881" y="530225"/>
                  <a:pt x="3831920" y="549540"/>
                  <a:pt x="3831920" y="549540"/>
                </a:cubicBezTo>
                <a:cubicBezTo>
                  <a:pt x="3831920" y="549540"/>
                  <a:pt x="3831920" y="549540"/>
                  <a:pt x="3831920" y="697618"/>
                </a:cubicBezTo>
                <a:cubicBezTo>
                  <a:pt x="3831920" y="697618"/>
                  <a:pt x="3688062" y="675085"/>
                  <a:pt x="3579369" y="675085"/>
                </a:cubicBezTo>
                <a:cubicBezTo>
                  <a:pt x="3470676" y="675085"/>
                  <a:pt x="3416330" y="687961"/>
                  <a:pt x="3419527" y="729809"/>
                </a:cubicBezTo>
                <a:cubicBezTo>
                  <a:pt x="3419527" y="758781"/>
                  <a:pt x="3454692" y="774877"/>
                  <a:pt x="3521826" y="778096"/>
                </a:cubicBezTo>
                <a:cubicBezTo>
                  <a:pt x="3617731" y="784534"/>
                  <a:pt x="3876676" y="762000"/>
                  <a:pt x="3876676" y="996994"/>
                </a:cubicBezTo>
                <a:cubicBezTo>
                  <a:pt x="3876676" y="1225550"/>
                  <a:pt x="3566582" y="1212674"/>
                  <a:pt x="3505842" y="1212674"/>
                </a:cubicBezTo>
                <a:cubicBezTo>
                  <a:pt x="3377968" y="1212674"/>
                  <a:pt x="3208535" y="1193359"/>
                  <a:pt x="3208535" y="1193359"/>
                </a:cubicBezTo>
                <a:cubicBezTo>
                  <a:pt x="3208535" y="1193359"/>
                  <a:pt x="3208535" y="1193359"/>
                  <a:pt x="3208535" y="1032404"/>
                </a:cubicBezTo>
                <a:cubicBezTo>
                  <a:pt x="3208535" y="1032404"/>
                  <a:pt x="3326818" y="1064595"/>
                  <a:pt x="3451495" y="1064595"/>
                </a:cubicBezTo>
                <a:cubicBezTo>
                  <a:pt x="3576172" y="1064595"/>
                  <a:pt x="3656094" y="1054938"/>
                  <a:pt x="3649700" y="1006652"/>
                </a:cubicBezTo>
                <a:cubicBezTo>
                  <a:pt x="3646503" y="974461"/>
                  <a:pt x="3604944" y="964803"/>
                  <a:pt x="3560188" y="964803"/>
                </a:cubicBezTo>
                <a:cubicBezTo>
                  <a:pt x="3448299" y="964803"/>
                  <a:pt x="3182960" y="958365"/>
                  <a:pt x="3179763" y="749124"/>
                </a:cubicBezTo>
                <a:cubicBezTo>
                  <a:pt x="3179763" y="533444"/>
                  <a:pt x="3448299" y="536663"/>
                  <a:pt x="3505842" y="533444"/>
                </a:cubicBezTo>
                <a:close/>
                <a:moveTo>
                  <a:pt x="2179638" y="476250"/>
                </a:moveTo>
                <a:cubicBezTo>
                  <a:pt x="2179638" y="476250"/>
                  <a:pt x="2179638" y="476250"/>
                  <a:pt x="2182834" y="476250"/>
                </a:cubicBezTo>
                <a:cubicBezTo>
                  <a:pt x="2192424" y="547040"/>
                  <a:pt x="2230782" y="695055"/>
                  <a:pt x="2368233" y="810892"/>
                </a:cubicBezTo>
                <a:cubicBezTo>
                  <a:pt x="2467325" y="604959"/>
                  <a:pt x="2499290" y="556693"/>
                  <a:pt x="2499290" y="556693"/>
                </a:cubicBezTo>
                <a:cubicBezTo>
                  <a:pt x="2499290" y="556693"/>
                  <a:pt x="2499290" y="556693"/>
                  <a:pt x="2812550" y="556693"/>
                </a:cubicBezTo>
                <a:cubicBezTo>
                  <a:pt x="2812550" y="556693"/>
                  <a:pt x="2841319" y="604959"/>
                  <a:pt x="2962787" y="855940"/>
                </a:cubicBezTo>
                <a:cubicBezTo>
                  <a:pt x="3097041" y="1132664"/>
                  <a:pt x="3122613" y="1193800"/>
                  <a:pt x="3122613" y="1193800"/>
                </a:cubicBezTo>
                <a:cubicBezTo>
                  <a:pt x="3122613" y="1193800"/>
                  <a:pt x="3122613" y="1193800"/>
                  <a:pt x="2918035" y="1193800"/>
                </a:cubicBezTo>
                <a:cubicBezTo>
                  <a:pt x="2918035" y="1193800"/>
                  <a:pt x="2918035" y="1193800"/>
                  <a:pt x="2652724" y="720796"/>
                </a:cubicBezTo>
                <a:cubicBezTo>
                  <a:pt x="2652724" y="720796"/>
                  <a:pt x="2652724" y="720796"/>
                  <a:pt x="2550435" y="907424"/>
                </a:cubicBezTo>
                <a:cubicBezTo>
                  <a:pt x="2617562" y="929948"/>
                  <a:pt x="2662313" y="926730"/>
                  <a:pt x="2662313" y="926730"/>
                </a:cubicBezTo>
                <a:cubicBezTo>
                  <a:pt x="2662313" y="926730"/>
                  <a:pt x="2662313" y="926730"/>
                  <a:pt x="2662313" y="1103704"/>
                </a:cubicBezTo>
                <a:cubicBezTo>
                  <a:pt x="2662313" y="1103704"/>
                  <a:pt x="2563221" y="1106922"/>
                  <a:pt x="2460932" y="1068309"/>
                </a:cubicBezTo>
                <a:cubicBezTo>
                  <a:pt x="2460932" y="1068309"/>
                  <a:pt x="2460932" y="1068309"/>
                  <a:pt x="2393805" y="1193800"/>
                </a:cubicBezTo>
                <a:cubicBezTo>
                  <a:pt x="2393805" y="1193800"/>
                  <a:pt x="2393805" y="1193800"/>
                  <a:pt x="2189227" y="1193800"/>
                </a:cubicBezTo>
                <a:cubicBezTo>
                  <a:pt x="2189227" y="1193800"/>
                  <a:pt x="2205210" y="1155188"/>
                  <a:pt x="2294713" y="965343"/>
                </a:cubicBezTo>
                <a:cubicBezTo>
                  <a:pt x="2202013" y="865593"/>
                  <a:pt x="2179638" y="749756"/>
                  <a:pt x="2179638" y="749756"/>
                </a:cubicBezTo>
                <a:cubicBezTo>
                  <a:pt x="2179638" y="749756"/>
                  <a:pt x="2179638" y="749756"/>
                  <a:pt x="2179638" y="476250"/>
                </a:cubicBezTo>
                <a:close/>
                <a:moveTo>
                  <a:pt x="2665413" y="0"/>
                </a:moveTo>
                <a:cubicBezTo>
                  <a:pt x="2665413" y="0"/>
                  <a:pt x="2665413" y="0"/>
                  <a:pt x="2665413" y="199390"/>
                </a:cubicBezTo>
                <a:cubicBezTo>
                  <a:pt x="2476459" y="205822"/>
                  <a:pt x="2341949" y="356972"/>
                  <a:pt x="2313126" y="498475"/>
                </a:cubicBezTo>
                <a:cubicBezTo>
                  <a:pt x="2303518" y="466315"/>
                  <a:pt x="2300315" y="430940"/>
                  <a:pt x="2300315" y="395564"/>
                </a:cubicBezTo>
                <a:cubicBezTo>
                  <a:pt x="2297113" y="260493"/>
                  <a:pt x="2399596" y="32160"/>
                  <a:pt x="2665413" y="0"/>
                </a:cubicBezTo>
                <a:close/>
              </a:path>
            </a:pathLst>
          </a:custGeom>
          <a:solidFill>
            <a:srgbClr val="FFFFFF"/>
          </a:solidFill>
        </p:spPr>
        <p:txBody>
          <a:bodyPr lIns="0" tIns="0" rIns="0" bIns="0">
            <a:norm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25" name="Title Placeholder 1">
            <a:extLst>
              <a:ext uri="{FF2B5EF4-FFF2-40B4-BE49-F238E27FC236}">
                <a16:creationId xmlns:a16="http://schemas.microsoft.com/office/drawing/2014/main" id="{F2A8B5DC-E0B6-4F5B-9EF6-BD08944C65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400" y="360000"/>
            <a:ext cx="6598961" cy="619713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headline</a:t>
            </a:r>
            <a:endParaRPr lang="da-DK" dirty="0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4AA3C355-B5B0-4F74-AEFA-EFA87C8185AD}"/>
              </a:ext>
            </a:extLst>
          </p:cNvPr>
          <p:cNvSpPr txBox="1">
            <a:spLocks/>
          </p:cNvSpPr>
          <p:nvPr/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z="800" smtClean="0">
                <a:solidFill>
                  <a:schemeClr val="bg1"/>
                </a:solidFill>
              </a:rPr>
              <a:pPr/>
              <a:t>‹#›</a:t>
            </a:fld>
            <a:endParaRPr lang="en-GB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66510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4383">
          <p15:clr>
            <a:srgbClr val="A4A3A4"/>
          </p15:clr>
        </p15:guide>
        <p15:guide id="4" pos="4721">
          <p15:clr>
            <a:srgbClr val="A4A3A4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wo content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3D4BE65-C530-4290-986A-FB215B0F933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59400" y="1314448"/>
            <a:ext cx="5540398" cy="619713"/>
          </a:xfrm>
          <a:prstGeom prst="rect">
            <a:avLst/>
          </a:prstGeom>
        </p:spPr>
        <p:txBody>
          <a:bodyPr lIns="72000" tIns="36000" rIns="72000" bIns="36000" anchor="ctr">
            <a:noAutofit/>
          </a:bodyPr>
          <a:lstStyle>
            <a:lvl1pPr marL="0" indent="0">
              <a:buNone/>
              <a:defRPr sz="2200" b="1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title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5F22894F-B793-4F80-9F3B-C921E0A14A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60000" y="1954800"/>
            <a:ext cx="5540400" cy="4204800"/>
          </a:xfrm>
          <a:ln w="19050">
            <a:solidFill>
              <a:schemeClr val="accent6"/>
            </a:solidFill>
          </a:ln>
        </p:spPr>
        <p:txBody>
          <a:bodyPr lIns="72000" tIns="36000" rIns="72000" bIns="36000"/>
          <a:lstStyle>
            <a:lvl1pPr>
              <a:defRPr baseline="0"/>
            </a:lvl1pPr>
          </a:lstStyle>
          <a:p>
            <a:pPr lvl="0"/>
            <a:r>
              <a:rPr lang="en-US" noProof="0" dirty="0"/>
              <a:t>Click to edit text or add media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2FCF2E0-BB49-4491-94D2-B90F9291BCCD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92202" y="1314448"/>
            <a:ext cx="5540398" cy="619713"/>
          </a:xfrm>
          <a:prstGeom prst="rect">
            <a:avLst/>
          </a:prstGeom>
        </p:spPr>
        <p:txBody>
          <a:bodyPr lIns="72000" tIns="36000" rIns="72000" bIns="36000" anchor="ctr">
            <a:noAutofit/>
          </a:bodyPr>
          <a:lstStyle>
            <a:lvl1pPr marL="0" indent="0">
              <a:buNone/>
              <a:defRPr sz="2200" b="1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title</a:t>
            </a:r>
          </a:p>
        </p:txBody>
      </p:sp>
      <p:sp>
        <p:nvSpPr>
          <p:cNvPr id="10" name="Content Placeholder 4">
            <a:extLst>
              <a:ext uri="{FF2B5EF4-FFF2-40B4-BE49-F238E27FC236}">
                <a16:creationId xmlns:a16="http://schemas.microsoft.com/office/drawing/2014/main" id="{4F958320-7923-485F-A705-308A16EADBFD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292800" y="1954800"/>
            <a:ext cx="5540400" cy="4204800"/>
          </a:xfrm>
          <a:ln w="19050">
            <a:solidFill>
              <a:schemeClr val="accent6"/>
            </a:solidFill>
          </a:ln>
        </p:spPr>
        <p:txBody>
          <a:bodyPr lIns="72000" tIns="36000" rIns="72000" bIns="36000"/>
          <a:lstStyle>
            <a:lvl1pPr>
              <a:defRPr/>
            </a:lvl1pPr>
          </a:lstStyle>
          <a:p>
            <a:pPr lvl="0"/>
            <a:r>
              <a:rPr lang="en-US" noProof="0" dirty="0"/>
              <a:t>Click to edit text or add media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29EEDE1A-9C78-4568-A47E-47F47AA9649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52600" y="6339508"/>
            <a:ext cx="1080000" cy="341053"/>
          </a:xfrm>
          <a:prstGeom prst="rect">
            <a:avLst/>
          </a:prstGeom>
        </p:spPr>
      </p:pic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431EF4F5-27FF-4BC7-9411-638B999E1D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360001"/>
            <a:ext cx="11473200" cy="619713"/>
          </a:xfrm>
          <a:prstGeom prst="rect">
            <a:avLst/>
          </a:prstGeom>
        </p:spPr>
        <p:txBody>
          <a:bodyPr vert="horz" lIns="72000" tIns="36000" rIns="72000" bIns="36000" rtlCol="0" anchor="t">
            <a:normAutofit/>
          </a:bodyPr>
          <a:lstStyle/>
          <a:p>
            <a:r>
              <a:rPr lang="en-US" dirty="0"/>
              <a:t>Click to edit headline</a:t>
            </a:r>
            <a:endParaRPr lang="da-DK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E4075232-5F4D-4FC9-86C6-5CB7CB93532A}"/>
              </a:ext>
            </a:extLst>
          </p:cNvPr>
          <p:cNvSpPr txBox="1">
            <a:spLocks/>
          </p:cNvSpPr>
          <p:nvPr/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da-DK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z="800" smtClean="0"/>
              <a:pPr/>
              <a:t>‹#›</a:t>
            </a:fld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53178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3963">
          <p15:clr>
            <a:srgbClr val="A4A3A4"/>
          </p15:clr>
        </p15:guide>
        <p15:guide id="5" pos="3716">
          <p15:clr>
            <a:srgbClr val="A4A3A4"/>
          </p15:clr>
        </p15:guide>
        <p15:guide id="6" orient="horz" pos="827">
          <p15:clr>
            <a:srgbClr val="A4A3A4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07246ADE-AF0D-4665-B94E-C64EAAA42D2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52600" y="6339508"/>
            <a:ext cx="1080000" cy="341053"/>
          </a:xfrm>
          <a:prstGeom prst="rect">
            <a:avLst/>
          </a:prstGeom>
        </p:spPr>
      </p:pic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55435B5D-331F-4378-A98D-701BF37150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400" y="360000"/>
            <a:ext cx="11473200" cy="619713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/>
          <a:p>
            <a:r>
              <a:rPr lang="en-US" dirty="0"/>
              <a:t>Click to edit headline</a:t>
            </a:r>
            <a:endParaRPr lang="da-DK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8150" y="1001374"/>
            <a:ext cx="11394450" cy="369332"/>
          </a:xfrm>
          <a:prstGeom prst="rect">
            <a:avLst/>
          </a:prstGeom>
        </p:spPr>
        <p:txBody>
          <a:bodyPr wrap="square" lIns="72000" tIns="36000" rIns="72000" bIns="36000">
            <a:no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2pPr>
            <a:lvl3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5pPr>
            <a:lvl6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6pPr>
            <a:lvl7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7pPr>
            <a:lvl8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8pPr>
            <a:lvl9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9pPr>
          </a:lstStyle>
          <a:p>
            <a:r>
              <a:rPr lang="en-US" dirty="0"/>
              <a:t>Click to edit subtitle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E6ED0A72-E592-4B3B-8C41-58375CA12D2D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39200" y="1511300"/>
            <a:ext cx="3517200" cy="4648200"/>
          </a:xfrm>
        </p:spPr>
        <p:txBody>
          <a:bodyPr lIns="72000" tIns="36000" rIns="72000" bIns="36000"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                                                                                                                           Enter &amp; TAB for next text level                                                                                                              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34EA0CED-41AA-4000-8AD4-B7611CD8FC4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373988" y="1511300"/>
            <a:ext cx="3520650" cy="4648200"/>
          </a:xfrm>
        </p:spPr>
        <p:txBody>
          <a:bodyPr lIns="72000" tIns="36000" rIns="72000" bIns="36000"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                                                                                                                           Enter &amp; TAB for next text level                                                                                                              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19" name="Content Placeholder 4">
            <a:extLst>
              <a:ext uri="{FF2B5EF4-FFF2-40B4-BE49-F238E27FC236}">
                <a16:creationId xmlns:a16="http://schemas.microsoft.com/office/drawing/2014/main" id="{783FC893-B43E-495D-A58D-B99DBF431AA0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8315324" y="1511300"/>
            <a:ext cx="3517275" cy="4648200"/>
          </a:xfrm>
        </p:spPr>
        <p:txBody>
          <a:bodyPr lIns="72000" tIns="36000" rIns="72000" bIns="36000"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                                                                                                                           Enter &amp; TAB for next text level                                                                                                              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129600" y="6375818"/>
            <a:ext cx="511868" cy="365125"/>
          </a:xfrm>
          <a:prstGeom prst="rect">
            <a:avLst/>
          </a:prstGeom>
        </p:spPr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904257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2492">
          <p15:clr>
            <a:srgbClr val="A4A3A4"/>
          </p15:clr>
        </p15:guide>
        <p15:guide id="7" pos="2757">
          <p15:clr>
            <a:srgbClr val="A4A3A4"/>
          </p15:clr>
        </p15:guide>
        <p15:guide id="8" pos="4973">
          <p15:clr>
            <a:srgbClr val="A4A3A4"/>
          </p15:clr>
        </p15:guide>
        <p15:guide id="9" pos="5238">
          <p15:clr>
            <a:srgbClr val="A4A3A4"/>
          </p15:clr>
        </p15:guide>
        <p15:guide id="10" orient="horz" pos="952">
          <p15:clr>
            <a:srgbClr val="A4A3A4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07246ADE-AF0D-4665-B94E-C64EAAA42D2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52600" y="6339508"/>
            <a:ext cx="1080000" cy="341053"/>
          </a:xfrm>
          <a:prstGeom prst="rect">
            <a:avLst/>
          </a:prstGeom>
        </p:spPr>
      </p:pic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55435B5D-331F-4378-A98D-701BF37150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400" y="360000"/>
            <a:ext cx="11473200" cy="619713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edit headline</a:t>
            </a:r>
            <a:endParaRPr lang="da-DK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8150" y="1001374"/>
            <a:ext cx="11394450" cy="369332"/>
          </a:xfrm>
          <a:prstGeom prst="rect">
            <a:avLst/>
          </a:prstGeom>
        </p:spPr>
        <p:txBody>
          <a:bodyPr wrap="square" lIns="72000" tIns="36000" rIns="72000" bIns="36000">
            <a:no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2pPr>
            <a:lvl3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5pPr>
            <a:lvl6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6pPr>
            <a:lvl7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7pPr>
            <a:lvl8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8pPr>
            <a:lvl9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9pPr>
          </a:lstStyle>
          <a:p>
            <a:r>
              <a:rPr lang="en-US" dirty="0"/>
              <a:t>Click to edit subtitl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129600" y="6375818"/>
            <a:ext cx="511868" cy="365125"/>
          </a:xfrm>
          <a:prstGeom prst="rect">
            <a:avLst/>
          </a:prstGeom>
        </p:spPr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4E0D6FF-F00D-45C7-A8B9-6122B7A73E6F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39199" y="1511300"/>
            <a:ext cx="5459951" cy="4648200"/>
          </a:xfrm>
        </p:spPr>
        <p:txBody>
          <a:bodyPr lIns="72000" tIns="36000" rIns="72000" bIns="36000"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                                                                                                                           Enter &amp; TAB for next text level                                                                                                              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EFFA882D-3B1A-4B0F-8C4B-4A307EF3A698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370638" y="1511300"/>
            <a:ext cx="5461000" cy="4648200"/>
          </a:xfrm>
        </p:spPr>
        <p:txBody>
          <a:bodyPr lIns="72000" tIns="36000" rIns="72000" bIns="36000"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                                                                                                                           Enter &amp; TAB for next text level                                                                                                              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974045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952">
          <p15:clr>
            <a:srgbClr val="A4A3A4"/>
          </p15:clr>
        </p15:guide>
        <p15:guide id="5" pos="4013">
          <p15:clr>
            <a:srgbClr val="A4A3A4"/>
          </p15:clr>
        </p15:guide>
        <p15:guide id="6" pos="3716">
          <p15:clr>
            <a:srgbClr val="A4A3A4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text or 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5B374C-F223-47F3-BBF5-AB0E43943D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360001"/>
            <a:ext cx="11473200" cy="619713"/>
          </a:xfrm>
          <a:prstGeom prst="rect">
            <a:avLst/>
          </a:prstGeom>
        </p:spPr>
        <p:txBody>
          <a:bodyPr lIns="72000" tIns="36000" rIns="72000" bIns="36000"/>
          <a:lstStyle/>
          <a:p>
            <a:r>
              <a:rPr lang="en-US" dirty="0"/>
              <a:t>Click to edit headline</a:t>
            </a:r>
            <a:endParaRPr lang="da-DK" dirty="0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EEC09FC0-046C-4680-8863-00E867AAE76C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438150" y="1001374"/>
            <a:ext cx="11394450" cy="369332"/>
          </a:xfrm>
          <a:prstGeom prst="rect">
            <a:avLst/>
          </a:prstGeom>
        </p:spPr>
        <p:txBody>
          <a:bodyPr wrap="square" lIns="72000" tIns="36000" rIns="72000" bIns="36000">
            <a:no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2pPr>
            <a:lvl3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5pPr>
            <a:lvl6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6pPr>
            <a:lvl7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7pPr>
            <a:lvl8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8pPr>
            <a:lvl9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9pPr>
          </a:lstStyle>
          <a:p>
            <a:r>
              <a:rPr lang="en-US" dirty="0"/>
              <a:t>Click to edit subtitle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E14FBFAE-6F7B-4E9C-BCC3-47A94886710C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60000" y="1512000"/>
            <a:ext cx="11473200" cy="4647600"/>
          </a:xfrm>
          <a:ln w="19050">
            <a:noFill/>
          </a:ln>
        </p:spPr>
        <p:txBody>
          <a:bodyPr lIns="72000" tIns="36000" rIns="72000" bIns="36000"/>
          <a:lstStyle>
            <a:lvl1pPr>
              <a:defRPr baseline="0"/>
            </a:lvl1pPr>
          </a:lstStyle>
          <a:p>
            <a:pPr lvl="0"/>
            <a:r>
              <a:rPr lang="en-US" noProof="0" dirty="0"/>
              <a:t>Click to edit text or add media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CC387FF6-39B2-4DBD-BCE1-59066521BC9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52600" y="6339508"/>
            <a:ext cx="1080000" cy="341053"/>
          </a:xfrm>
          <a:prstGeom prst="rect">
            <a:avLst/>
          </a:prstGeom>
        </p:spPr>
      </p:pic>
      <p:sp>
        <p:nvSpPr>
          <p:cNvPr id="10" name="Slide Number Placeholder 8">
            <a:extLst>
              <a:ext uri="{FF2B5EF4-FFF2-40B4-BE49-F238E27FC236}">
                <a16:creationId xmlns:a16="http://schemas.microsoft.com/office/drawing/2014/main" id="{7B51CE33-A654-4FEC-9FDE-2F5A1C8CD5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29600" y="6375818"/>
            <a:ext cx="511868" cy="365125"/>
          </a:xfrm>
          <a:prstGeom prst="rect">
            <a:avLst/>
          </a:prstGeom>
        </p:spPr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6B6A2B6-A4A4-4A4A-8CD5-698879BC50F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600">
                <a:noFill/>
              </a:defRPr>
            </a:lvl1pPr>
          </a:lstStyle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7983817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52">
          <p15:clr>
            <a:srgbClr val="A4A3A4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0BF64466-F367-40DF-8BAC-6FB3B331E88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600">
                <a:noFill/>
              </a:defRPr>
            </a:lvl1pPr>
          </a:lstStyle>
          <a:p>
            <a:endParaRPr lang="da-DK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719421ED-E398-409B-84BF-1D7C32EC7EA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52600" y="6339508"/>
            <a:ext cx="1080000" cy="341053"/>
          </a:xfrm>
          <a:prstGeom prst="rect">
            <a:avLst/>
          </a:prstGeom>
        </p:spPr>
      </p:pic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E74AD59E-A423-4B11-A9D8-860D9ED84A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400" y="360000"/>
            <a:ext cx="11473200" cy="619713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/>
          <a:p>
            <a:r>
              <a:rPr lang="en-US" dirty="0"/>
              <a:t>Click to edit headline</a:t>
            </a:r>
            <a:endParaRPr lang="da-DK" dirty="0"/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58C76A65-4949-4712-B40B-9E02FAB683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28290" y="6375818"/>
            <a:ext cx="511868" cy="365125"/>
          </a:xfrm>
        </p:spPr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751195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52">
          <p15:clr>
            <a:srgbClr val="A4A3A4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Reference one image DARK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D15AE17-660B-456D-80E6-FF62C98ED0F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0"/>
            <a:ext cx="5800725" cy="6858000"/>
          </a:xfrm>
          <a:prstGeom prst="rect">
            <a:avLst/>
          </a:prstGeom>
          <a:solidFill>
            <a:schemeClr val="accent1"/>
          </a:solidFill>
        </p:spPr>
        <p:txBody>
          <a:bodyPr tIns="900000" anchor="ctr" anchorCtr="0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and insert image</a:t>
            </a:r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defRPr sz="100"/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E7CF9518-F533-485C-96A6-A4571873B0B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53200" y="6339600"/>
            <a:ext cx="1080000" cy="341053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A19D799-5907-4EC7-82C1-D93D0769DDD1}"/>
              </a:ext>
            </a:extLst>
          </p:cNvPr>
          <p:cNvCxnSpPr/>
          <p:nvPr/>
        </p:nvCxnSpPr>
        <p:spPr>
          <a:xfrm flipH="1">
            <a:off x="9672000" y="552450"/>
            <a:ext cx="2520000" cy="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8F86A0B8-2662-4C46-9EA5-A9339075675B}"/>
              </a:ext>
            </a:extLst>
          </p:cNvPr>
          <p:cNvCxnSpPr/>
          <p:nvPr/>
        </p:nvCxnSpPr>
        <p:spPr>
          <a:xfrm flipH="1">
            <a:off x="5800725" y="6258323"/>
            <a:ext cx="2520000" cy="0"/>
          </a:xfrm>
          <a:prstGeom prst="line">
            <a:avLst/>
          </a:prstGeom>
          <a:ln w="920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AF7BDB89-0478-4360-AB35-CE8EB6DB9B7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5999" y="2570696"/>
            <a:ext cx="5367221" cy="481949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indent="0">
              <a:spcBef>
                <a:spcPts val="900"/>
              </a:spcBef>
              <a:buFont typeface="Arial" panose="020B0604020202020204" pitchFamily="34" charset="0"/>
              <a:buChar char="​"/>
              <a:defRPr lang="da-DK" sz="1800" smtClean="0">
                <a:solidFill>
                  <a:schemeClr val="bg1"/>
                </a:solidFill>
                <a:effectLst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28F54DBF-A067-4A56-8AC3-7876AEEF55B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96000" y="1829426"/>
            <a:ext cx="5367221" cy="675848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indent="0">
              <a:spcBef>
                <a:spcPts val="900"/>
              </a:spcBef>
              <a:buFont typeface="Arial" panose="020B0604020202020204" pitchFamily="34" charset="0"/>
              <a:buChar char="​"/>
              <a:defRPr sz="320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headline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4F35B9AA-ACD8-4D84-AB72-7C3D1781B7C6}"/>
              </a:ext>
            </a:extLst>
          </p:cNvPr>
          <p:cNvSpPr txBox="1">
            <a:spLocks/>
          </p:cNvSpPr>
          <p:nvPr/>
        </p:nvSpPr>
        <p:spPr>
          <a:xfrm>
            <a:off x="5879409" y="6375600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mtClean="0">
                <a:solidFill>
                  <a:schemeClr val="bg1"/>
                </a:solidFill>
              </a:rPr>
              <a:pPr/>
              <a:t>‹#›</a:t>
            </a:fld>
            <a:endParaRPr lang="en-GB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65941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3839">
          <p15:clr>
            <a:srgbClr val="A4A3A4"/>
          </p15:clr>
        </p15:guide>
        <p15:guide id="4" pos="3653">
          <p15:clr>
            <a:srgbClr val="A4A3A4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4/19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936005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Reference and facts DARK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E7CF9518-F533-485C-96A6-A4571873B0B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53200" y="6339600"/>
            <a:ext cx="1080000" cy="341053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A19D799-5907-4EC7-82C1-D93D0769DDD1}"/>
              </a:ext>
            </a:extLst>
          </p:cNvPr>
          <p:cNvCxnSpPr/>
          <p:nvPr/>
        </p:nvCxnSpPr>
        <p:spPr>
          <a:xfrm flipH="1">
            <a:off x="9672000" y="552450"/>
            <a:ext cx="2520000" cy="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09ED8FF1-9D26-42A9-8073-D4A294C8CEAE}"/>
              </a:ext>
            </a:extLst>
          </p:cNvPr>
          <p:cNvCxnSpPr/>
          <p:nvPr/>
        </p:nvCxnSpPr>
        <p:spPr>
          <a:xfrm flipH="1">
            <a:off x="5800725" y="6258323"/>
            <a:ext cx="2520000" cy="0"/>
          </a:xfrm>
          <a:prstGeom prst="line">
            <a:avLst/>
          </a:prstGeom>
          <a:ln w="920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D15AE17-660B-456D-80E6-FF62C98ED0F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0"/>
            <a:ext cx="5800725" cy="6858000"/>
          </a:xfrm>
          <a:prstGeom prst="rect">
            <a:avLst/>
          </a:prstGeom>
          <a:solidFill>
            <a:schemeClr val="accent1"/>
          </a:solidFill>
        </p:spPr>
        <p:txBody>
          <a:bodyPr tIns="900000" anchor="ctr" anchorCtr="0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and insert image</a:t>
            </a:r>
          </a:p>
        </p:txBody>
      </p:sp>
      <p:sp>
        <p:nvSpPr>
          <p:cNvPr id="45" name="Text Placeholder 3">
            <a:extLst>
              <a:ext uri="{FF2B5EF4-FFF2-40B4-BE49-F238E27FC236}">
                <a16:creationId xmlns:a16="http://schemas.microsoft.com/office/drawing/2014/main" id="{31BAF997-FD75-4017-B769-FDDDCB9192F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94800" y="754690"/>
            <a:ext cx="5738659" cy="290319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indent="0">
              <a:spcBef>
                <a:spcPts val="900"/>
              </a:spcBef>
              <a:buFont typeface="Arial" panose="020B0604020202020204" pitchFamily="34" charset="0"/>
              <a:buChar char="​"/>
              <a:defRPr sz="180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itle</a:t>
            </a:r>
          </a:p>
        </p:txBody>
      </p:sp>
      <p:sp>
        <p:nvSpPr>
          <p:cNvPr id="44" name="Text Placeholder 4">
            <a:extLst>
              <a:ext uri="{FF2B5EF4-FFF2-40B4-BE49-F238E27FC236}">
                <a16:creationId xmlns:a16="http://schemas.microsoft.com/office/drawing/2014/main" id="{11C61C4F-80D2-44D9-AC16-5BDCC4AC253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4800" y="1160111"/>
            <a:ext cx="5738659" cy="739028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a-DK" sz="1600" smtClean="0">
                <a:solidFill>
                  <a:schemeClr val="bg1"/>
                </a:solidFill>
                <a:effectLst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09C1B046-D6B5-4371-A674-A47AB750D9B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94800" y="2025964"/>
            <a:ext cx="5738659" cy="290319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indent="0">
              <a:spcBef>
                <a:spcPts val="900"/>
              </a:spcBef>
              <a:buFont typeface="Arial" panose="020B0604020202020204" pitchFamily="34" charset="0"/>
              <a:buChar char="​"/>
              <a:defRPr sz="180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itle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D9B19447-67A9-477A-9926-6404F0B27B1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094800" y="2431385"/>
            <a:ext cx="5738659" cy="739028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a-DK" sz="1600" smtClean="0">
                <a:solidFill>
                  <a:schemeClr val="bg1"/>
                </a:solidFill>
                <a:effectLst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1BDF280D-5740-4598-9F88-5A973A1F19D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094800" y="3280580"/>
            <a:ext cx="5738659" cy="290319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indent="0">
              <a:spcBef>
                <a:spcPts val="900"/>
              </a:spcBef>
              <a:buFont typeface="Arial" panose="020B0604020202020204" pitchFamily="34" charset="0"/>
              <a:buChar char="​"/>
              <a:defRPr sz="180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itle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C1CF04E5-1C6D-46BE-8D2D-3374C592F1A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094800" y="3686001"/>
            <a:ext cx="5738659" cy="739028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a-DK" sz="1600" smtClean="0">
                <a:solidFill>
                  <a:schemeClr val="bg1"/>
                </a:solidFill>
                <a:effectLst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0EF5E4F9-47C1-4917-A884-EB33552E061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094800" y="4579654"/>
            <a:ext cx="5738659" cy="290319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indent="0">
              <a:spcBef>
                <a:spcPts val="900"/>
              </a:spcBef>
              <a:buFont typeface="Arial" panose="020B0604020202020204" pitchFamily="34" charset="0"/>
              <a:buChar char="​"/>
              <a:defRPr sz="180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itle</a:t>
            </a:r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CC9EE376-9E88-4E73-8A59-CB3065906C5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94800" y="4985075"/>
            <a:ext cx="5738659" cy="739028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a-DK" sz="1600" smtClean="0">
                <a:solidFill>
                  <a:schemeClr val="bg1"/>
                </a:solidFill>
                <a:effectLst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B1BFABB9-4CC8-41F9-AAD1-42B132A2A45B}"/>
              </a:ext>
            </a:extLst>
          </p:cNvPr>
          <p:cNvSpPr txBox="1">
            <a:spLocks/>
          </p:cNvSpPr>
          <p:nvPr/>
        </p:nvSpPr>
        <p:spPr>
          <a:xfrm>
            <a:off x="5879409" y="6375600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z="800" smtClean="0">
                <a:solidFill>
                  <a:schemeClr val="bg1"/>
                </a:solidFill>
              </a:rPr>
              <a:pPr/>
              <a:t>‹#›</a:t>
            </a:fld>
            <a:endParaRPr lang="en-GB" sz="800" dirty="0">
              <a:solidFill>
                <a:schemeClr val="bg1"/>
              </a:solidFill>
            </a:endParaRPr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defRPr sz="100"/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658409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3839">
          <p15:clr>
            <a:srgbClr val="A4A3A4"/>
          </p15:clr>
        </p15:guide>
        <p15:guide id="4" pos="3653">
          <p15:clr>
            <a:srgbClr val="A4A3A4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Reference one imag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D23D70F-C0EE-4776-AA20-24BC8D2345C7}"/>
              </a:ext>
            </a:extLst>
          </p:cNvPr>
          <p:cNvCxnSpPr/>
          <p:nvPr/>
        </p:nvCxnSpPr>
        <p:spPr>
          <a:xfrm flipH="1">
            <a:off x="9672000" y="552450"/>
            <a:ext cx="2520000" cy="0"/>
          </a:xfrm>
          <a:prstGeom prst="line">
            <a:avLst/>
          </a:prstGeom>
          <a:ln w="158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AFDB978-3191-443B-88E5-D71E677F57EF}"/>
              </a:ext>
            </a:extLst>
          </p:cNvPr>
          <p:cNvCxnSpPr/>
          <p:nvPr/>
        </p:nvCxnSpPr>
        <p:spPr>
          <a:xfrm flipH="1">
            <a:off x="5800725" y="6258323"/>
            <a:ext cx="2520000" cy="0"/>
          </a:xfrm>
          <a:prstGeom prst="line">
            <a:avLst/>
          </a:prstGeom>
          <a:ln w="920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D15AE17-660B-456D-80E6-FF62C98ED0F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0"/>
            <a:ext cx="5800725" cy="6858000"/>
          </a:xfrm>
          <a:prstGeom prst="rect">
            <a:avLst/>
          </a:prstGeom>
          <a:solidFill>
            <a:schemeClr val="accent1"/>
          </a:solidFill>
        </p:spPr>
        <p:txBody>
          <a:bodyPr tIns="900000" anchor="ctr" anchorCtr="0"/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Click and insert image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96CCEC0C-F71A-45E4-9C98-E2F789A96F7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94800" y="1829426"/>
            <a:ext cx="5367221" cy="675848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indent="0">
              <a:spcBef>
                <a:spcPts val="900"/>
              </a:spcBef>
              <a:buFont typeface="Arial" panose="020B0604020202020204" pitchFamily="34" charset="0"/>
              <a:buChar char="​"/>
              <a:defRPr sz="3200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headline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2617F579-E538-4349-9075-EA9ED3F0748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4800" y="2570696"/>
            <a:ext cx="5367221" cy="481949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indent="0">
              <a:spcBef>
                <a:spcPts val="900"/>
              </a:spcBef>
              <a:buFont typeface="Arial" panose="020B0604020202020204" pitchFamily="34" charset="0"/>
              <a:buChar char="​"/>
              <a:defRPr lang="da-DK" sz="1800" smtClean="0">
                <a:solidFill>
                  <a:schemeClr val="accent5"/>
                </a:solidFill>
                <a:effectLst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D96EC195-29C5-4E6F-855E-1DA168F45016}"/>
              </a:ext>
            </a:extLst>
          </p:cNvPr>
          <p:cNvSpPr txBox="1">
            <a:spLocks/>
          </p:cNvSpPr>
          <p:nvPr/>
        </p:nvSpPr>
        <p:spPr>
          <a:xfrm>
            <a:off x="10762637" y="6339507"/>
            <a:ext cx="1069963" cy="341053"/>
          </a:xfrm>
          <a:prstGeom prst="rect">
            <a:avLst/>
          </a:prstGeo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1D9FAB6A-CFE4-4439-A6A6-2F7CCD566AE7}"/>
              </a:ext>
            </a:extLst>
          </p:cNvPr>
          <p:cNvSpPr txBox="1">
            <a:spLocks/>
          </p:cNvSpPr>
          <p:nvPr/>
        </p:nvSpPr>
        <p:spPr>
          <a:xfrm>
            <a:off x="5879409" y="6375600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z="800" smtClean="0">
                <a:solidFill>
                  <a:schemeClr val="accent4"/>
                </a:solidFill>
              </a:rPr>
              <a:pPr/>
              <a:t>‹#›</a:t>
            </a:fld>
            <a:endParaRPr lang="en-GB" sz="800" dirty="0">
              <a:solidFill>
                <a:schemeClr val="accent4"/>
              </a:solidFill>
            </a:endParaRPr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defRPr sz="100"/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D958AB8B-11A4-4A31-AECA-8C791B1A75C3}"/>
              </a:ext>
            </a:extLst>
          </p:cNvPr>
          <p:cNvSpPr txBox="1">
            <a:spLocks/>
          </p:cNvSpPr>
          <p:nvPr userDrawn="1"/>
        </p:nvSpPr>
        <p:spPr>
          <a:xfrm>
            <a:off x="10762637" y="6339507"/>
            <a:ext cx="1069963" cy="341053"/>
          </a:xfrm>
          <a:prstGeom prst="rect">
            <a:avLst/>
          </a:prstGeo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783495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3653">
          <p15:clr>
            <a:srgbClr val="A4A3A4"/>
          </p15:clr>
        </p15:guide>
        <p15:guide id="4" pos="3839">
          <p15:clr>
            <a:srgbClr val="A4A3A4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Reference and facts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D15AE17-660B-456D-80E6-FF62C98ED0F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0"/>
            <a:ext cx="5800725" cy="6858000"/>
          </a:xfrm>
          <a:prstGeom prst="rect">
            <a:avLst/>
          </a:prstGeom>
          <a:solidFill>
            <a:schemeClr val="accent1"/>
          </a:solidFill>
        </p:spPr>
        <p:txBody>
          <a:bodyPr tIns="900000" anchor="ctr" anchorCtr="0"/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Click and insert imag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D23D70F-C0EE-4776-AA20-24BC8D2345C7}"/>
              </a:ext>
            </a:extLst>
          </p:cNvPr>
          <p:cNvCxnSpPr/>
          <p:nvPr/>
        </p:nvCxnSpPr>
        <p:spPr>
          <a:xfrm flipH="1">
            <a:off x="9672000" y="552450"/>
            <a:ext cx="2520000" cy="0"/>
          </a:xfrm>
          <a:prstGeom prst="line">
            <a:avLst/>
          </a:prstGeom>
          <a:ln w="158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611C568C-1366-4320-8865-29A4BCBD3CF8}"/>
              </a:ext>
            </a:extLst>
          </p:cNvPr>
          <p:cNvCxnSpPr/>
          <p:nvPr/>
        </p:nvCxnSpPr>
        <p:spPr>
          <a:xfrm flipH="1">
            <a:off x="5800725" y="6258323"/>
            <a:ext cx="2520000" cy="0"/>
          </a:xfrm>
          <a:prstGeom prst="line">
            <a:avLst/>
          </a:prstGeom>
          <a:ln w="920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21DD3273-B680-4780-B64F-DB4D639685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94800" y="754690"/>
            <a:ext cx="5738659" cy="290319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indent="0">
              <a:spcBef>
                <a:spcPts val="900"/>
              </a:spcBef>
              <a:buFont typeface="Arial" panose="020B0604020202020204" pitchFamily="34" charset="0"/>
              <a:buChar char="​"/>
              <a:defRPr sz="1800">
                <a:solidFill>
                  <a:schemeClr val="tx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itle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907F7715-539C-419D-B06E-CE581682410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4800" y="1160111"/>
            <a:ext cx="5738659" cy="739028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a-DK" sz="1600" smtClean="0">
                <a:solidFill>
                  <a:schemeClr val="tx1"/>
                </a:solidFill>
                <a:effectLst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28" name="Text Placeholder 5">
            <a:extLst>
              <a:ext uri="{FF2B5EF4-FFF2-40B4-BE49-F238E27FC236}">
                <a16:creationId xmlns:a16="http://schemas.microsoft.com/office/drawing/2014/main" id="{50A8B5B0-B1D0-40CC-AA40-F684963A8D3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94800" y="2025964"/>
            <a:ext cx="5738659" cy="290319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indent="0">
              <a:spcBef>
                <a:spcPts val="900"/>
              </a:spcBef>
              <a:buFont typeface="Arial" panose="020B0604020202020204" pitchFamily="34" charset="0"/>
              <a:buChar char="​"/>
              <a:defRPr sz="1800">
                <a:solidFill>
                  <a:schemeClr val="tx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itle</a:t>
            </a:r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B97C30A8-CAF2-41AD-9341-C55E22BECA5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094800" y="2431385"/>
            <a:ext cx="5738659" cy="739028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a-DK" sz="1600" smtClean="0">
                <a:solidFill>
                  <a:schemeClr val="tx1"/>
                </a:solidFill>
                <a:effectLst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30" name="Text Placeholder 7">
            <a:extLst>
              <a:ext uri="{FF2B5EF4-FFF2-40B4-BE49-F238E27FC236}">
                <a16:creationId xmlns:a16="http://schemas.microsoft.com/office/drawing/2014/main" id="{4296EB66-8D90-405F-B3F4-4A9EC002881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094800" y="3280580"/>
            <a:ext cx="5738659" cy="290319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indent="0">
              <a:spcBef>
                <a:spcPts val="900"/>
              </a:spcBef>
              <a:buFont typeface="Arial" panose="020B0604020202020204" pitchFamily="34" charset="0"/>
              <a:buChar char="​"/>
              <a:defRPr sz="1800">
                <a:solidFill>
                  <a:schemeClr val="tx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itle</a:t>
            </a:r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0A322DCF-FFFA-4ABB-A7BE-07DCE364A2B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094800" y="3686001"/>
            <a:ext cx="5738659" cy="739028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a-DK" sz="1600" smtClean="0">
                <a:solidFill>
                  <a:schemeClr val="tx1"/>
                </a:solidFill>
                <a:effectLst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8DDCC1B0-685A-4C94-9B2A-5DA51DC4BD6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094800" y="4579654"/>
            <a:ext cx="5738659" cy="290319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indent="0">
              <a:spcBef>
                <a:spcPts val="900"/>
              </a:spcBef>
              <a:buFont typeface="Arial" panose="020B0604020202020204" pitchFamily="34" charset="0"/>
              <a:buChar char="​"/>
              <a:defRPr sz="1800">
                <a:solidFill>
                  <a:schemeClr val="tx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itle</a:t>
            </a:r>
          </a:p>
        </p:txBody>
      </p:sp>
      <p:sp>
        <p:nvSpPr>
          <p:cNvPr id="31" name="Text Placeholder 10">
            <a:extLst>
              <a:ext uri="{FF2B5EF4-FFF2-40B4-BE49-F238E27FC236}">
                <a16:creationId xmlns:a16="http://schemas.microsoft.com/office/drawing/2014/main" id="{C3EF5DDD-BE51-4032-9C12-A72766DCD61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94800" y="4985075"/>
            <a:ext cx="5738659" cy="739028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a-DK" sz="1600" smtClean="0">
                <a:solidFill>
                  <a:schemeClr val="tx1"/>
                </a:solidFill>
                <a:effectLst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1942F715-4FB3-44DC-99FF-3B3F17A28A2A}"/>
              </a:ext>
            </a:extLst>
          </p:cNvPr>
          <p:cNvSpPr txBox="1">
            <a:spLocks/>
          </p:cNvSpPr>
          <p:nvPr/>
        </p:nvSpPr>
        <p:spPr>
          <a:xfrm>
            <a:off x="10762637" y="6339507"/>
            <a:ext cx="1069963" cy="341053"/>
          </a:xfrm>
          <a:prstGeom prst="rect">
            <a:avLst/>
          </a:prstGeo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9E668DE7-32E7-4B9B-9526-AE30433F4862}"/>
              </a:ext>
            </a:extLst>
          </p:cNvPr>
          <p:cNvSpPr txBox="1">
            <a:spLocks/>
          </p:cNvSpPr>
          <p:nvPr/>
        </p:nvSpPr>
        <p:spPr>
          <a:xfrm>
            <a:off x="5879409" y="6375600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mtClean="0">
                <a:solidFill>
                  <a:schemeClr val="accent4"/>
                </a:solidFill>
              </a:rPr>
              <a:pPr/>
              <a:t>‹#›</a:t>
            </a:fld>
            <a:endParaRPr lang="en-GB" dirty="0">
              <a:solidFill>
                <a:schemeClr val="accent4"/>
              </a:solidFill>
            </a:endParaRPr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defRPr sz="100"/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7D301D1E-0A18-49FD-A4D8-5F1EC1FA78F0}"/>
              </a:ext>
            </a:extLst>
          </p:cNvPr>
          <p:cNvSpPr txBox="1">
            <a:spLocks/>
          </p:cNvSpPr>
          <p:nvPr userDrawn="1"/>
        </p:nvSpPr>
        <p:spPr>
          <a:xfrm>
            <a:off x="10762637" y="6339507"/>
            <a:ext cx="1069963" cy="341053"/>
          </a:xfrm>
          <a:prstGeom prst="rect">
            <a:avLst/>
          </a:prstGeo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033802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3839">
          <p15:clr>
            <a:srgbClr val="A4A3A4"/>
          </p15:clr>
        </p15:guide>
        <p15:guide id="4" pos="3653">
          <p15:clr>
            <a:srgbClr val="A4A3A4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References log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aphic 4">
            <a:extLst>
              <a:ext uri="{FF2B5EF4-FFF2-40B4-BE49-F238E27FC236}">
                <a16:creationId xmlns:a16="http://schemas.microsoft.com/office/drawing/2014/main" id="{A2D4C4CC-2C2B-4E4A-BABE-191099A7DF52}"/>
              </a:ext>
            </a:extLst>
          </p:cNvPr>
          <p:cNvGrpSpPr/>
          <p:nvPr/>
        </p:nvGrpSpPr>
        <p:grpSpPr>
          <a:xfrm>
            <a:off x="10752600" y="6339508"/>
            <a:ext cx="1075757" cy="333967"/>
            <a:chOff x="10752600" y="6339508"/>
            <a:chExt cx="1075757" cy="333967"/>
          </a:xfrm>
          <a:solidFill>
            <a:srgbClr val="B70D18"/>
          </a:solidFill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71D26526-0348-41C0-8F96-4FFE4213BD27}"/>
                </a:ext>
              </a:extLst>
            </p:cNvPr>
            <p:cNvSpPr/>
            <p:nvPr/>
          </p:nvSpPr>
          <p:spPr>
            <a:xfrm>
              <a:off x="10752600" y="6494402"/>
              <a:ext cx="217421" cy="174789"/>
            </a:xfrm>
            <a:custGeom>
              <a:avLst/>
              <a:gdLst>
                <a:gd name="connsiteX0" fmla="*/ 0 w 217421"/>
                <a:gd name="connsiteY0" fmla="*/ 0 h 174789"/>
                <a:gd name="connsiteX1" fmla="*/ 0 w 217421"/>
                <a:gd name="connsiteY1" fmla="*/ 174790 h 174789"/>
                <a:gd name="connsiteX2" fmla="*/ 52579 w 217421"/>
                <a:gd name="connsiteY2" fmla="*/ 174790 h 174789"/>
                <a:gd name="connsiteX3" fmla="*/ 59684 w 217421"/>
                <a:gd name="connsiteY3" fmla="*/ 69632 h 174789"/>
                <a:gd name="connsiteX4" fmla="*/ 164842 w 217421"/>
                <a:gd name="connsiteY4" fmla="*/ 174790 h 174789"/>
                <a:gd name="connsiteX5" fmla="*/ 217421 w 217421"/>
                <a:gd name="connsiteY5" fmla="*/ 174790 h 174789"/>
                <a:gd name="connsiteX6" fmla="*/ 217421 w 217421"/>
                <a:gd name="connsiteY6" fmla="*/ 0 h 174789"/>
                <a:gd name="connsiteX7" fmla="*/ 162000 w 217421"/>
                <a:gd name="connsiteY7" fmla="*/ 0 h 174789"/>
                <a:gd name="connsiteX8" fmla="*/ 156316 w 217421"/>
                <a:gd name="connsiteY8" fmla="*/ 92369 h 174789"/>
                <a:gd name="connsiteX9" fmla="*/ 66789 w 217421"/>
                <a:gd name="connsiteY9" fmla="*/ 0 h 1747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7421" h="174789">
                  <a:moveTo>
                    <a:pt x="0" y="0"/>
                  </a:moveTo>
                  <a:lnTo>
                    <a:pt x="0" y="174790"/>
                  </a:lnTo>
                  <a:lnTo>
                    <a:pt x="52579" y="174790"/>
                  </a:lnTo>
                  <a:lnTo>
                    <a:pt x="59684" y="69632"/>
                  </a:lnTo>
                  <a:lnTo>
                    <a:pt x="164842" y="174790"/>
                  </a:lnTo>
                  <a:lnTo>
                    <a:pt x="217421" y="174790"/>
                  </a:lnTo>
                  <a:lnTo>
                    <a:pt x="217421" y="0"/>
                  </a:lnTo>
                  <a:lnTo>
                    <a:pt x="162000" y="0"/>
                  </a:lnTo>
                  <a:lnTo>
                    <a:pt x="156316" y="92369"/>
                  </a:lnTo>
                  <a:lnTo>
                    <a:pt x="66789" y="0"/>
                  </a:lnTo>
                  <a:close/>
                </a:path>
              </a:pathLst>
            </a:custGeom>
            <a:solidFill>
              <a:srgbClr val="B70D18"/>
            </a:solidFill>
            <a:ln w="1416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1806EF12-398C-4FA4-9EBB-F4BA09658974}"/>
                </a:ext>
              </a:extLst>
            </p:cNvPr>
            <p:cNvSpPr/>
            <p:nvPr/>
          </p:nvSpPr>
          <p:spPr>
            <a:xfrm>
              <a:off x="11021178" y="6494402"/>
              <a:ext cx="58263" cy="176210"/>
            </a:xfrm>
            <a:custGeom>
              <a:avLst/>
              <a:gdLst>
                <a:gd name="connsiteX0" fmla="*/ 0 w 58263"/>
                <a:gd name="connsiteY0" fmla="*/ 0 h 176210"/>
                <a:gd name="connsiteX1" fmla="*/ 58263 w 58263"/>
                <a:gd name="connsiteY1" fmla="*/ 0 h 176210"/>
                <a:gd name="connsiteX2" fmla="*/ 58263 w 58263"/>
                <a:gd name="connsiteY2" fmla="*/ 176211 h 176210"/>
                <a:gd name="connsiteX3" fmla="*/ 0 w 58263"/>
                <a:gd name="connsiteY3" fmla="*/ 176211 h 1762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263" h="176210">
                  <a:moveTo>
                    <a:pt x="0" y="0"/>
                  </a:moveTo>
                  <a:lnTo>
                    <a:pt x="58263" y="0"/>
                  </a:lnTo>
                  <a:lnTo>
                    <a:pt x="58263" y="176211"/>
                  </a:lnTo>
                  <a:lnTo>
                    <a:pt x="0" y="176211"/>
                  </a:lnTo>
                  <a:close/>
                </a:path>
              </a:pathLst>
            </a:custGeom>
            <a:solidFill>
              <a:srgbClr val="B70D18"/>
            </a:solidFill>
            <a:ln w="1416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grpSp>
          <p:nvGrpSpPr>
            <p:cNvPr id="9" name="Graphic 4">
              <a:extLst>
                <a:ext uri="{FF2B5EF4-FFF2-40B4-BE49-F238E27FC236}">
                  <a16:creationId xmlns:a16="http://schemas.microsoft.com/office/drawing/2014/main" id="{A2D4C4CC-2C2B-4E4A-BABE-191099A7DF52}"/>
                </a:ext>
              </a:extLst>
            </p:cNvPr>
            <p:cNvGrpSpPr/>
            <p:nvPr/>
          </p:nvGrpSpPr>
          <p:grpSpPr>
            <a:xfrm>
              <a:off x="11130600" y="6339508"/>
              <a:ext cx="697757" cy="333967"/>
              <a:chOff x="11130600" y="6339508"/>
              <a:chExt cx="697757" cy="333967"/>
            </a:xfrm>
            <a:solidFill>
              <a:srgbClr val="B70D18"/>
            </a:solidFill>
          </p:grpSpPr>
          <p:sp>
            <p:nvSpPr>
              <p:cNvPr id="10" name="Freeform: Shape 9">
                <a:extLst>
                  <a:ext uri="{FF2B5EF4-FFF2-40B4-BE49-F238E27FC236}">
                    <a16:creationId xmlns:a16="http://schemas.microsoft.com/office/drawing/2014/main" id="{78693BFF-818B-4A5E-928F-B07A728B5490}"/>
                  </a:ext>
                </a:extLst>
              </p:cNvPr>
              <p:cNvSpPr/>
              <p:nvPr/>
            </p:nvSpPr>
            <p:spPr>
              <a:xfrm>
                <a:off x="11130600" y="6490139"/>
                <a:ext cx="200489" cy="180473"/>
              </a:xfrm>
              <a:custGeom>
                <a:avLst/>
                <a:gdLst>
                  <a:gd name="connsiteX0" fmla="*/ 200368 w 200489"/>
                  <a:gd name="connsiteY0" fmla="*/ 55421 h 180473"/>
                  <a:gd name="connsiteX1" fmla="*/ 108000 w 200489"/>
                  <a:gd name="connsiteY1" fmla="*/ 0 h 180473"/>
                  <a:gd name="connsiteX2" fmla="*/ 0 w 200489"/>
                  <a:gd name="connsiteY2" fmla="*/ 2842 h 180473"/>
                  <a:gd name="connsiteX3" fmla="*/ 0 w 200489"/>
                  <a:gd name="connsiteY3" fmla="*/ 179053 h 180473"/>
                  <a:gd name="connsiteX4" fmla="*/ 52579 w 200489"/>
                  <a:gd name="connsiteY4" fmla="*/ 179053 h 180473"/>
                  <a:gd name="connsiteX5" fmla="*/ 61105 w 200489"/>
                  <a:gd name="connsiteY5" fmla="*/ 38368 h 180473"/>
                  <a:gd name="connsiteX6" fmla="*/ 96632 w 200489"/>
                  <a:gd name="connsiteY6" fmla="*/ 36947 h 180473"/>
                  <a:gd name="connsiteX7" fmla="*/ 136421 w 200489"/>
                  <a:gd name="connsiteY7" fmla="*/ 59684 h 180473"/>
                  <a:gd name="connsiteX8" fmla="*/ 81000 w 200489"/>
                  <a:gd name="connsiteY8" fmla="*/ 90947 h 180473"/>
                  <a:gd name="connsiteX9" fmla="*/ 81000 w 200489"/>
                  <a:gd name="connsiteY9" fmla="*/ 119369 h 180473"/>
                  <a:gd name="connsiteX10" fmla="*/ 137842 w 200489"/>
                  <a:gd name="connsiteY10" fmla="*/ 180474 h 180473"/>
                  <a:gd name="connsiteX11" fmla="*/ 198947 w 200489"/>
                  <a:gd name="connsiteY11" fmla="*/ 180474 h 180473"/>
                  <a:gd name="connsiteX12" fmla="*/ 153474 w 200489"/>
                  <a:gd name="connsiteY12" fmla="*/ 116526 h 180473"/>
                  <a:gd name="connsiteX13" fmla="*/ 200368 w 200489"/>
                  <a:gd name="connsiteY13" fmla="*/ 55421 h 1804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00489" h="180473">
                    <a:moveTo>
                      <a:pt x="200368" y="55421"/>
                    </a:moveTo>
                    <a:cubicBezTo>
                      <a:pt x="197526" y="9947"/>
                      <a:pt x="147789" y="1421"/>
                      <a:pt x="108000" y="0"/>
                    </a:cubicBezTo>
                    <a:cubicBezTo>
                      <a:pt x="75316" y="0"/>
                      <a:pt x="0" y="2842"/>
                      <a:pt x="0" y="2842"/>
                    </a:cubicBezTo>
                    <a:lnTo>
                      <a:pt x="0" y="179053"/>
                    </a:lnTo>
                    <a:lnTo>
                      <a:pt x="52579" y="179053"/>
                    </a:lnTo>
                    <a:lnTo>
                      <a:pt x="61105" y="38368"/>
                    </a:lnTo>
                    <a:cubicBezTo>
                      <a:pt x="61105" y="38368"/>
                      <a:pt x="82421" y="36947"/>
                      <a:pt x="96632" y="36947"/>
                    </a:cubicBezTo>
                    <a:cubicBezTo>
                      <a:pt x="119368" y="36947"/>
                      <a:pt x="135000" y="45474"/>
                      <a:pt x="136421" y="59684"/>
                    </a:cubicBezTo>
                    <a:cubicBezTo>
                      <a:pt x="137842" y="73895"/>
                      <a:pt x="132158" y="90947"/>
                      <a:pt x="81000" y="90947"/>
                    </a:cubicBezTo>
                    <a:lnTo>
                      <a:pt x="81000" y="119369"/>
                    </a:lnTo>
                    <a:lnTo>
                      <a:pt x="137842" y="180474"/>
                    </a:lnTo>
                    <a:lnTo>
                      <a:pt x="198947" y="180474"/>
                    </a:lnTo>
                    <a:lnTo>
                      <a:pt x="153474" y="116526"/>
                    </a:lnTo>
                    <a:cubicBezTo>
                      <a:pt x="154895" y="115105"/>
                      <a:pt x="203211" y="102316"/>
                      <a:pt x="200368" y="55421"/>
                    </a:cubicBezTo>
                  </a:path>
                </a:pathLst>
              </a:custGeom>
              <a:solidFill>
                <a:srgbClr val="B70D18"/>
              </a:solidFill>
              <a:ln w="1416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11" name="Freeform: Shape 10">
                <a:extLst>
                  <a:ext uri="{FF2B5EF4-FFF2-40B4-BE49-F238E27FC236}">
                    <a16:creationId xmlns:a16="http://schemas.microsoft.com/office/drawing/2014/main" id="{1B46F5E6-A5F0-4105-B4BA-6AEC5163ACC5}"/>
                  </a:ext>
                </a:extLst>
              </p:cNvPr>
              <p:cNvSpPr/>
              <p:nvPr/>
            </p:nvSpPr>
            <p:spPr>
              <a:xfrm>
                <a:off x="11357968" y="6471666"/>
                <a:ext cx="261473" cy="197526"/>
              </a:xfrm>
              <a:custGeom>
                <a:avLst/>
                <a:gdLst>
                  <a:gd name="connsiteX0" fmla="*/ 176211 w 261473"/>
                  <a:gd name="connsiteY0" fmla="*/ 22737 h 197526"/>
                  <a:gd name="connsiteX1" fmla="*/ 89526 w 261473"/>
                  <a:gd name="connsiteY1" fmla="*/ 22737 h 197526"/>
                  <a:gd name="connsiteX2" fmla="*/ 52579 w 261473"/>
                  <a:gd name="connsiteY2" fmla="*/ 92369 h 197526"/>
                  <a:gd name="connsiteX3" fmla="*/ 1421 w 261473"/>
                  <a:gd name="connsiteY3" fmla="*/ 0 h 197526"/>
                  <a:gd name="connsiteX4" fmla="*/ 0 w 261473"/>
                  <a:gd name="connsiteY4" fmla="*/ 0 h 197526"/>
                  <a:gd name="connsiteX5" fmla="*/ 0 w 261473"/>
                  <a:gd name="connsiteY5" fmla="*/ 75316 h 197526"/>
                  <a:gd name="connsiteX6" fmla="*/ 32684 w 261473"/>
                  <a:gd name="connsiteY6" fmla="*/ 135000 h 197526"/>
                  <a:gd name="connsiteX7" fmla="*/ 2842 w 261473"/>
                  <a:gd name="connsiteY7" fmla="*/ 197527 h 197526"/>
                  <a:gd name="connsiteX8" fmla="*/ 59684 w 261473"/>
                  <a:gd name="connsiteY8" fmla="*/ 197527 h 197526"/>
                  <a:gd name="connsiteX9" fmla="*/ 78158 w 261473"/>
                  <a:gd name="connsiteY9" fmla="*/ 163421 h 197526"/>
                  <a:gd name="connsiteX10" fmla="*/ 78158 w 261473"/>
                  <a:gd name="connsiteY10" fmla="*/ 163421 h 197526"/>
                  <a:gd name="connsiteX11" fmla="*/ 133579 w 261473"/>
                  <a:gd name="connsiteY11" fmla="*/ 173369 h 197526"/>
                  <a:gd name="connsiteX12" fmla="*/ 133579 w 261473"/>
                  <a:gd name="connsiteY12" fmla="*/ 123632 h 197526"/>
                  <a:gd name="connsiteX13" fmla="*/ 102316 w 261473"/>
                  <a:gd name="connsiteY13" fmla="*/ 117948 h 197526"/>
                  <a:gd name="connsiteX14" fmla="*/ 130737 w 261473"/>
                  <a:gd name="connsiteY14" fmla="*/ 66790 h 197526"/>
                  <a:gd name="connsiteX15" fmla="*/ 204632 w 261473"/>
                  <a:gd name="connsiteY15" fmla="*/ 197527 h 197526"/>
                  <a:gd name="connsiteX16" fmla="*/ 261474 w 261473"/>
                  <a:gd name="connsiteY16" fmla="*/ 197527 h 197526"/>
                  <a:gd name="connsiteX17" fmla="*/ 217421 w 261473"/>
                  <a:gd name="connsiteY17" fmla="*/ 105158 h 197526"/>
                  <a:gd name="connsiteX18" fmla="*/ 176211 w 261473"/>
                  <a:gd name="connsiteY18" fmla="*/ 22737 h 1975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61473" h="197526">
                    <a:moveTo>
                      <a:pt x="176211" y="22737"/>
                    </a:moveTo>
                    <a:lnTo>
                      <a:pt x="89526" y="22737"/>
                    </a:lnTo>
                    <a:cubicBezTo>
                      <a:pt x="89526" y="22737"/>
                      <a:pt x="81000" y="35526"/>
                      <a:pt x="52579" y="92369"/>
                    </a:cubicBezTo>
                    <a:cubicBezTo>
                      <a:pt x="14211" y="61105"/>
                      <a:pt x="4263" y="19895"/>
                      <a:pt x="1421" y="0"/>
                    </a:cubicBezTo>
                    <a:lnTo>
                      <a:pt x="0" y="0"/>
                    </a:lnTo>
                    <a:lnTo>
                      <a:pt x="0" y="75316"/>
                    </a:lnTo>
                    <a:cubicBezTo>
                      <a:pt x="0" y="75316"/>
                      <a:pt x="5684" y="108000"/>
                      <a:pt x="32684" y="135000"/>
                    </a:cubicBezTo>
                    <a:cubicBezTo>
                      <a:pt x="7105" y="187579"/>
                      <a:pt x="2842" y="197527"/>
                      <a:pt x="2842" y="197527"/>
                    </a:cubicBezTo>
                    <a:lnTo>
                      <a:pt x="59684" y="197527"/>
                    </a:lnTo>
                    <a:lnTo>
                      <a:pt x="78158" y="163421"/>
                    </a:lnTo>
                    <a:cubicBezTo>
                      <a:pt x="78158" y="163421"/>
                      <a:pt x="78158" y="163421"/>
                      <a:pt x="78158" y="163421"/>
                    </a:cubicBezTo>
                    <a:cubicBezTo>
                      <a:pt x="106579" y="173369"/>
                      <a:pt x="133579" y="173369"/>
                      <a:pt x="133579" y="173369"/>
                    </a:cubicBezTo>
                    <a:lnTo>
                      <a:pt x="133579" y="123632"/>
                    </a:lnTo>
                    <a:cubicBezTo>
                      <a:pt x="133579" y="123632"/>
                      <a:pt x="120789" y="123632"/>
                      <a:pt x="102316" y="117948"/>
                    </a:cubicBezTo>
                    <a:lnTo>
                      <a:pt x="130737" y="66790"/>
                    </a:lnTo>
                    <a:lnTo>
                      <a:pt x="204632" y="197527"/>
                    </a:lnTo>
                    <a:lnTo>
                      <a:pt x="261474" y="197527"/>
                    </a:lnTo>
                    <a:cubicBezTo>
                      <a:pt x="261474" y="197527"/>
                      <a:pt x="254368" y="180474"/>
                      <a:pt x="217421" y="105158"/>
                    </a:cubicBezTo>
                    <a:cubicBezTo>
                      <a:pt x="184737" y="35526"/>
                      <a:pt x="176211" y="22737"/>
                      <a:pt x="176211" y="22737"/>
                    </a:cubicBezTo>
                  </a:path>
                </a:pathLst>
              </a:custGeom>
              <a:solidFill>
                <a:srgbClr val="B70D18"/>
              </a:solidFill>
              <a:ln w="1416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12" name="Freeform: Shape 11">
                <a:extLst>
                  <a:ext uri="{FF2B5EF4-FFF2-40B4-BE49-F238E27FC236}">
                    <a16:creationId xmlns:a16="http://schemas.microsoft.com/office/drawing/2014/main" id="{CD2B355B-A69B-4385-9164-C01A9C7BD298}"/>
                  </a:ext>
                </a:extLst>
              </p:cNvPr>
              <p:cNvSpPr/>
              <p:nvPr/>
            </p:nvSpPr>
            <p:spPr>
              <a:xfrm>
                <a:off x="11636494" y="6485648"/>
                <a:ext cx="191863" cy="187826"/>
              </a:xfrm>
              <a:custGeom>
                <a:avLst/>
                <a:gdLst>
                  <a:gd name="connsiteX0" fmla="*/ 95211 w 191863"/>
                  <a:gd name="connsiteY0" fmla="*/ 69860 h 187826"/>
                  <a:gd name="connsiteX1" fmla="*/ 66789 w 191863"/>
                  <a:gd name="connsiteY1" fmla="*/ 55649 h 187826"/>
                  <a:gd name="connsiteX2" fmla="*/ 110842 w 191863"/>
                  <a:gd name="connsiteY2" fmla="*/ 40018 h 187826"/>
                  <a:gd name="connsiteX3" fmla="*/ 180474 w 191863"/>
                  <a:gd name="connsiteY3" fmla="*/ 45702 h 187826"/>
                  <a:gd name="connsiteX4" fmla="*/ 180474 w 191863"/>
                  <a:gd name="connsiteY4" fmla="*/ 4491 h 187826"/>
                  <a:gd name="connsiteX5" fmla="*/ 90947 w 191863"/>
                  <a:gd name="connsiteY5" fmla="*/ 228 h 187826"/>
                  <a:gd name="connsiteX6" fmla="*/ 0 w 191863"/>
                  <a:gd name="connsiteY6" fmla="*/ 59912 h 187826"/>
                  <a:gd name="connsiteX7" fmla="*/ 105158 w 191863"/>
                  <a:gd name="connsiteY7" fmla="*/ 119597 h 187826"/>
                  <a:gd name="connsiteX8" fmla="*/ 129316 w 191863"/>
                  <a:gd name="connsiteY8" fmla="*/ 130965 h 187826"/>
                  <a:gd name="connsiteX9" fmla="*/ 73895 w 191863"/>
                  <a:gd name="connsiteY9" fmla="*/ 146597 h 187826"/>
                  <a:gd name="connsiteX10" fmla="*/ 7105 w 191863"/>
                  <a:gd name="connsiteY10" fmla="*/ 138070 h 187826"/>
                  <a:gd name="connsiteX11" fmla="*/ 7105 w 191863"/>
                  <a:gd name="connsiteY11" fmla="*/ 182123 h 187826"/>
                  <a:gd name="connsiteX12" fmla="*/ 89526 w 191863"/>
                  <a:gd name="connsiteY12" fmla="*/ 187807 h 187826"/>
                  <a:gd name="connsiteX13" fmla="*/ 191842 w 191863"/>
                  <a:gd name="connsiteY13" fmla="*/ 128123 h 187826"/>
                  <a:gd name="connsiteX14" fmla="*/ 95211 w 191863"/>
                  <a:gd name="connsiteY14" fmla="*/ 69860 h 1878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91863" h="187826">
                    <a:moveTo>
                      <a:pt x="95211" y="69860"/>
                    </a:moveTo>
                    <a:cubicBezTo>
                      <a:pt x="76737" y="68439"/>
                      <a:pt x="66789" y="64176"/>
                      <a:pt x="66789" y="55649"/>
                    </a:cubicBezTo>
                    <a:cubicBezTo>
                      <a:pt x="66789" y="44281"/>
                      <a:pt x="81000" y="40018"/>
                      <a:pt x="110842" y="40018"/>
                    </a:cubicBezTo>
                    <a:cubicBezTo>
                      <a:pt x="140684" y="40018"/>
                      <a:pt x="180474" y="45702"/>
                      <a:pt x="180474" y="45702"/>
                    </a:cubicBezTo>
                    <a:lnTo>
                      <a:pt x="180474" y="4491"/>
                    </a:lnTo>
                    <a:cubicBezTo>
                      <a:pt x="180474" y="4491"/>
                      <a:pt x="135000" y="-1193"/>
                      <a:pt x="90947" y="228"/>
                    </a:cubicBezTo>
                    <a:cubicBezTo>
                      <a:pt x="75316" y="228"/>
                      <a:pt x="0" y="228"/>
                      <a:pt x="0" y="59912"/>
                    </a:cubicBezTo>
                    <a:cubicBezTo>
                      <a:pt x="0" y="116755"/>
                      <a:pt x="73895" y="118176"/>
                      <a:pt x="105158" y="119597"/>
                    </a:cubicBezTo>
                    <a:cubicBezTo>
                      <a:pt x="116526" y="119597"/>
                      <a:pt x="129316" y="122439"/>
                      <a:pt x="129316" y="130965"/>
                    </a:cubicBezTo>
                    <a:cubicBezTo>
                      <a:pt x="130737" y="143755"/>
                      <a:pt x="108000" y="146597"/>
                      <a:pt x="73895" y="146597"/>
                    </a:cubicBezTo>
                    <a:cubicBezTo>
                      <a:pt x="39789" y="146597"/>
                      <a:pt x="7105" y="138070"/>
                      <a:pt x="7105" y="138070"/>
                    </a:cubicBezTo>
                    <a:lnTo>
                      <a:pt x="7105" y="182123"/>
                    </a:lnTo>
                    <a:cubicBezTo>
                      <a:pt x="7105" y="182123"/>
                      <a:pt x="54000" y="187807"/>
                      <a:pt x="89526" y="187807"/>
                    </a:cubicBezTo>
                    <a:cubicBezTo>
                      <a:pt x="105158" y="187807"/>
                      <a:pt x="193263" y="190649"/>
                      <a:pt x="191842" y="128123"/>
                    </a:cubicBezTo>
                    <a:cubicBezTo>
                      <a:pt x="193263" y="64176"/>
                      <a:pt x="122211" y="71281"/>
                      <a:pt x="95211" y="69860"/>
                    </a:cubicBezTo>
                  </a:path>
                </a:pathLst>
              </a:custGeom>
              <a:solidFill>
                <a:srgbClr val="B70D18"/>
              </a:solidFill>
              <a:ln w="1416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13" name="Freeform: Shape 12">
                <a:extLst>
                  <a:ext uri="{FF2B5EF4-FFF2-40B4-BE49-F238E27FC236}">
                    <a16:creationId xmlns:a16="http://schemas.microsoft.com/office/drawing/2014/main" id="{0221DD12-4B4F-4911-85F2-7657655003F6}"/>
                  </a:ext>
                </a:extLst>
              </p:cNvPr>
              <p:cNvSpPr/>
              <p:nvPr/>
            </p:nvSpPr>
            <p:spPr>
              <a:xfrm>
                <a:off x="11392023" y="6339508"/>
                <a:ext cx="100945" cy="137842"/>
              </a:xfrm>
              <a:custGeom>
                <a:avLst/>
                <a:gdLst>
                  <a:gd name="connsiteX0" fmla="*/ 4314 w 100945"/>
                  <a:gd name="connsiteY0" fmla="*/ 137842 h 137842"/>
                  <a:gd name="connsiteX1" fmla="*/ 100945 w 100945"/>
                  <a:gd name="connsiteY1" fmla="*/ 55421 h 137842"/>
                  <a:gd name="connsiteX2" fmla="*/ 100945 w 100945"/>
                  <a:gd name="connsiteY2" fmla="*/ 0 h 137842"/>
                  <a:gd name="connsiteX3" fmla="*/ 51 w 100945"/>
                  <a:gd name="connsiteY3" fmla="*/ 109421 h 137842"/>
                  <a:gd name="connsiteX4" fmla="*/ 4314 w 100945"/>
                  <a:gd name="connsiteY4" fmla="*/ 137842 h 137842"/>
                  <a:gd name="connsiteX5" fmla="*/ 4314 w 100945"/>
                  <a:gd name="connsiteY5" fmla="*/ 137842 h 137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00945" h="137842">
                    <a:moveTo>
                      <a:pt x="4314" y="137842"/>
                    </a:moveTo>
                    <a:cubicBezTo>
                      <a:pt x="11419" y="99474"/>
                      <a:pt x="49787" y="56842"/>
                      <a:pt x="100945" y="55421"/>
                    </a:cubicBezTo>
                    <a:lnTo>
                      <a:pt x="100945" y="0"/>
                    </a:lnTo>
                    <a:cubicBezTo>
                      <a:pt x="27051" y="8526"/>
                      <a:pt x="-1370" y="72474"/>
                      <a:pt x="51" y="109421"/>
                    </a:cubicBezTo>
                    <a:cubicBezTo>
                      <a:pt x="51" y="119369"/>
                      <a:pt x="1472" y="129316"/>
                      <a:pt x="4314" y="137842"/>
                    </a:cubicBezTo>
                    <a:lnTo>
                      <a:pt x="4314" y="137842"/>
                    </a:lnTo>
                    <a:close/>
                  </a:path>
                </a:pathLst>
              </a:custGeom>
              <a:solidFill>
                <a:srgbClr val="B70D18"/>
              </a:solidFill>
              <a:ln w="1416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</p:grpSp>
      </p:grpSp>
      <p:sp>
        <p:nvSpPr>
          <p:cNvPr id="28" name="Title Placeholder 1">
            <a:extLst>
              <a:ext uri="{FF2B5EF4-FFF2-40B4-BE49-F238E27FC236}">
                <a16:creationId xmlns:a16="http://schemas.microsoft.com/office/drawing/2014/main" id="{26901368-4EA8-43C6-85D2-8F5806EB67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400" y="371180"/>
            <a:ext cx="11473200" cy="619713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/>
          <a:p>
            <a:r>
              <a:rPr lang="en-US" dirty="0"/>
              <a:t>Click to edit headline</a:t>
            </a:r>
            <a:endParaRPr lang="da-DK" dirty="0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8EAF4C72-F900-4059-9C84-2813E8024B7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97554" y="1764000"/>
            <a:ext cx="2399607" cy="1239284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17" name="Picture Placeholder 14">
            <a:extLst>
              <a:ext uri="{FF2B5EF4-FFF2-40B4-BE49-F238E27FC236}">
                <a16:creationId xmlns:a16="http://schemas.microsoft.com/office/drawing/2014/main" id="{42F63370-8532-4D34-9446-E54D6CC8C191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462508" y="1764000"/>
            <a:ext cx="2399607" cy="1239284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18" name="Picture Placeholder 14">
            <a:extLst>
              <a:ext uri="{FF2B5EF4-FFF2-40B4-BE49-F238E27FC236}">
                <a16:creationId xmlns:a16="http://schemas.microsoft.com/office/drawing/2014/main" id="{171A715E-F61B-4612-B801-1A94422B829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992416" y="1764000"/>
            <a:ext cx="2399607" cy="1239284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19" name="Picture Placeholder 14">
            <a:extLst>
              <a:ext uri="{FF2B5EF4-FFF2-40B4-BE49-F238E27FC236}">
                <a16:creationId xmlns:a16="http://schemas.microsoft.com/office/drawing/2014/main" id="{EB3AB690-E499-4D45-A7C5-BDF760163EA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227462" y="1764000"/>
            <a:ext cx="2399607" cy="1239284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0" name="Picture Placeholder 14">
            <a:extLst>
              <a:ext uri="{FF2B5EF4-FFF2-40B4-BE49-F238E27FC236}">
                <a16:creationId xmlns:a16="http://schemas.microsoft.com/office/drawing/2014/main" id="{0DC306A9-D475-4FEB-A51C-B49BDF16759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97553" y="3204000"/>
            <a:ext cx="2399607" cy="1239284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1" name="Picture Placeholder 14">
            <a:extLst>
              <a:ext uri="{FF2B5EF4-FFF2-40B4-BE49-F238E27FC236}">
                <a16:creationId xmlns:a16="http://schemas.microsoft.com/office/drawing/2014/main" id="{B6329C3A-A9AF-419A-B247-3089AE0F22C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462508" y="3204000"/>
            <a:ext cx="2399607" cy="1239284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2" name="Picture Placeholder 14">
            <a:extLst>
              <a:ext uri="{FF2B5EF4-FFF2-40B4-BE49-F238E27FC236}">
                <a16:creationId xmlns:a16="http://schemas.microsoft.com/office/drawing/2014/main" id="{F11B47FB-3100-49F0-8967-F6148B9AA7B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8992415" y="3204000"/>
            <a:ext cx="2399607" cy="1239284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3" name="Picture Placeholder 14">
            <a:extLst>
              <a:ext uri="{FF2B5EF4-FFF2-40B4-BE49-F238E27FC236}">
                <a16:creationId xmlns:a16="http://schemas.microsoft.com/office/drawing/2014/main" id="{E4CD6A19-31A7-4B97-967B-C1BACF39AE0D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27461" y="3204000"/>
            <a:ext cx="2399607" cy="1239284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4" name="Picture Placeholder 14">
            <a:extLst>
              <a:ext uri="{FF2B5EF4-FFF2-40B4-BE49-F238E27FC236}">
                <a16:creationId xmlns:a16="http://schemas.microsoft.com/office/drawing/2014/main" id="{FBF60AD9-F665-408B-A07D-3DA9848947EC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97553" y="4644000"/>
            <a:ext cx="2399607" cy="1239284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5" name="Picture Placeholder 14">
            <a:extLst>
              <a:ext uri="{FF2B5EF4-FFF2-40B4-BE49-F238E27FC236}">
                <a16:creationId xmlns:a16="http://schemas.microsoft.com/office/drawing/2014/main" id="{DEA30BE2-219A-43AF-BF54-8195F9E3A878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462507" y="4644000"/>
            <a:ext cx="2399607" cy="1239284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6" name="Picture Placeholder 14">
            <a:extLst>
              <a:ext uri="{FF2B5EF4-FFF2-40B4-BE49-F238E27FC236}">
                <a16:creationId xmlns:a16="http://schemas.microsoft.com/office/drawing/2014/main" id="{85B17022-B96A-4BA4-B52D-1737627682A5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8992413" y="4644000"/>
            <a:ext cx="2399607" cy="1239284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7" name="Picture Placeholder 14">
            <a:extLst>
              <a:ext uri="{FF2B5EF4-FFF2-40B4-BE49-F238E27FC236}">
                <a16:creationId xmlns:a16="http://schemas.microsoft.com/office/drawing/2014/main" id="{3D74F5FE-7F34-46A1-8FEF-A8ADA2AC5B78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227459" y="4644000"/>
            <a:ext cx="2399607" cy="1239284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9" name="Slide Number Placeholder 5">
            <a:extLst>
              <a:ext uri="{FF2B5EF4-FFF2-40B4-BE49-F238E27FC236}">
                <a16:creationId xmlns:a16="http://schemas.microsoft.com/office/drawing/2014/main" id="{560C2AD8-F799-44A4-8DDA-EDF7465EE8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876764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2" orient="horz" pos="1111">
          <p15:clr>
            <a:srgbClr val="A4A3A4"/>
          </p15:clr>
        </p15:guide>
        <p15:guide id="13" orient="horz" pos="2018">
          <p15:clr>
            <a:srgbClr val="A4A3A4"/>
          </p15:clr>
        </p15:guide>
        <p15:guide id="14" orient="horz" pos="2925">
          <p15:clr>
            <a:srgbClr val="A4A3A4"/>
          </p15:clr>
        </p15:guide>
        <p15:guide id="15" pos="439">
          <p15:clr>
            <a:srgbClr val="A4A3A4"/>
          </p15:clr>
        </p15:guide>
        <p15:guide id="16" pos="1952">
          <p15:clr>
            <a:srgbClr val="A4A3A4"/>
          </p15:clr>
        </p15:guide>
        <p15:guide id="17" pos="2181">
          <p15:clr>
            <a:srgbClr val="A4A3A4"/>
          </p15:clr>
        </p15:guide>
        <p15:guide id="18" pos="3694">
          <p15:clr>
            <a:srgbClr val="A4A3A4"/>
          </p15:clr>
        </p15:guide>
        <p15:guide id="19" pos="3923">
          <p15:clr>
            <a:srgbClr val="A4A3A4"/>
          </p15:clr>
        </p15:guide>
        <p15:guide id="20" pos="5435">
          <p15:clr>
            <a:srgbClr val="A4A3A4"/>
          </p15:clr>
        </p15:guide>
        <p15:guide id="21" pos="5664">
          <p15:clr>
            <a:srgbClr val="A4A3A4"/>
          </p15:clr>
        </p15:guide>
        <p15:guide id="22" pos="7179">
          <p15:clr>
            <a:srgbClr val="A4A3A4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Reference horis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"/>
            <a:ext cx="12193200" cy="4261448"/>
          </a:xfrm>
          <a:prstGeom prst="rect">
            <a:avLst/>
          </a:prstGeom>
          <a:solidFill>
            <a:schemeClr val="accent1"/>
          </a:solidFill>
        </p:spPr>
        <p:txBody>
          <a:bodyPr lIns="0" tIns="900000" anchor="ctr" anchorCtr="0"/>
          <a:lstStyle>
            <a:lvl1pPr marL="0" indent="0" algn="ctr">
              <a:buNone/>
              <a:defRPr sz="1600" baseline="0"/>
            </a:lvl1pPr>
          </a:lstStyle>
          <a:p>
            <a:r>
              <a:rPr lang="en-GB" dirty="0"/>
              <a:t>Click and insert image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511AF70C-4FFB-4814-BA67-BEF4AB12EAC9}"/>
              </a:ext>
            </a:extLst>
          </p:cNvPr>
          <p:cNvSpPr txBox="1">
            <a:spLocks/>
          </p:cNvSpPr>
          <p:nvPr/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da-DK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6A25B022-A987-46E0-A735-17F8473A3558}"/>
              </a:ext>
            </a:extLst>
          </p:cNvPr>
          <p:cNvSpPr txBox="1">
            <a:spLocks/>
          </p:cNvSpPr>
          <p:nvPr/>
        </p:nvSpPr>
        <p:spPr>
          <a:xfrm>
            <a:off x="10762637" y="6339507"/>
            <a:ext cx="1069963" cy="341053"/>
          </a:xfrm>
          <a:prstGeom prst="rect">
            <a:avLst/>
          </a:prstGeo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  <p:sp>
        <p:nvSpPr>
          <p:cNvPr id="5" name="Pladsholder til diasnummer 4" hidden="1"/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0" y="6858000"/>
            <a:ext cx="0" cy="0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D5FEA3CA-05C1-473E-929F-93A72C953AA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58800" y="4485737"/>
            <a:ext cx="5540550" cy="1673763"/>
          </a:xfrm>
        </p:spPr>
        <p:txBody>
          <a:bodyPr lIns="72000" tIns="36000" rIns="72000" bIns="36000"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D221EF28-4459-40E0-85E3-97CFD712297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92800" y="4485737"/>
            <a:ext cx="5540400" cy="1673763"/>
          </a:xfrm>
        </p:spPr>
        <p:txBody>
          <a:bodyPr lIns="72000" tIns="36000" rIns="72000" bIns="36000"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989701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2825">
          <p15:clr>
            <a:srgbClr val="A4A3A4"/>
          </p15:clr>
        </p15:guide>
        <p15:guide id="5" pos="3716">
          <p15:clr>
            <a:srgbClr val="A4A3A4"/>
          </p15:clr>
        </p15:guide>
        <p15:guide id="6" pos="3963">
          <p15:clr>
            <a:srgbClr val="A4A3A4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ull image &amp; title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FD8C2F4C-FD8E-4BC1-8470-ED613BBC34C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1"/>
            <a:ext cx="12193200" cy="6857999"/>
          </a:xfrm>
          <a:prstGeom prst="rect">
            <a:avLst/>
          </a:prstGeom>
          <a:solidFill>
            <a:schemeClr val="accent1"/>
          </a:solidFill>
        </p:spPr>
        <p:txBody>
          <a:bodyPr lIns="0" tIns="900000" anchor="ctr" anchorCtr="0"/>
          <a:lstStyle>
            <a:lvl1pPr marL="0" indent="0" algn="ctr">
              <a:buNone/>
              <a:defRPr sz="1600" baseline="0"/>
            </a:lvl1pPr>
          </a:lstStyle>
          <a:p>
            <a:r>
              <a:rPr lang="en-GB" dirty="0"/>
              <a:t>Click and insert 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C263996-270B-49F6-AC9C-5FC3D40EF87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0000" y="1765041"/>
            <a:ext cx="10333037" cy="914151"/>
          </a:xfrm>
          <a:prstGeom prst="rect">
            <a:avLst/>
          </a:prstGeom>
        </p:spPr>
        <p:txBody>
          <a:bodyPr lIns="72000" tIns="36000" rIns="72000" bIns="36000" anchor="t"/>
          <a:lstStyle>
            <a:lvl1pPr algn="l">
              <a:defRPr sz="6000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</a:lstStyle>
          <a:p>
            <a:pPr lvl="0"/>
            <a:r>
              <a:rPr lang="en-US" dirty="0"/>
              <a:t>Click to edit headlin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79446C3-1B3E-43F7-897B-450B7777A27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0000" y="2871743"/>
            <a:ext cx="5572062" cy="1655762"/>
          </a:xfrm>
          <a:prstGeom prst="rect">
            <a:avLst/>
          </a:prstGeom>
        </p:spPr>
        <p:txBody>
          <a:bodyPr lIns="72000" tIns="36000" rIns="72000" bIns="36000"/>
          <a:lstStyle>
            <a:lvl1pPr marL="0" indent="0" algn="l">
              <a:buNone/>
              <a:defRPr sz="240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18" name="Logo on top">
            <a:extLst>
              <a:ext uri="{FF2B5EF4-FFF2-40B4-BE49-F238E27FC236}">
                <a16:creationId xmlns:a16="http://schemas.microsoft.com/office/drawing/2014/main" id="{655DB364-E850-4C04-AB58-1D6949A77611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10728000" y="6339600"/>
            <a:ext cx="1080000" cy="340069"/>
          </a:xfrm>
          <a:custGeom>
            <a:avLst/>
            <a:gdLst>
              <a:gd name="connsiteX0" fmla="*/ 968375 w 3876676"/>
              <a:gd name="connsiteY0" fmla="*/ 557213 h 1212806"/>
              <a:gd name="connsiteX1" fmla="*/ 1176338 w 3876676"/>
              <a:gd name="connsiteY1" fmla="*/ 557213 h 1212806"/>
              <a:gd name="connsiteX2" fmla="*/ 1176338 w 3876676"/>
              <a:gd name="connsiteY2" fmla="*/ 1193801 h 1212806"/>
              <a:gd name="connsiteX3" fmla="*/ 968375 w 3876676"/>
              <a:gd name="connsiteY3" fmla="*/ 1193801 h 1212806"/>
              <a:gd name="connsiteX4" fmla="*/ 0 w 3876676"/>
              <a:gd name="connsiteY4" fmla="*/ 557213 h 1212806"/>
              <a:gd name="connsiteX5" fmla="*/ 239712 w 3876676"/>
              <a:gd name="connsiteY5" fmla="*/ 557213 h 1212806"/>
              <a:gd name="connsiteX6" fmla="*/ 561975 w 3876676"/>
              <a:gd name="connsiteY6" fmla="*/ 893763 h 1212806"/>
              <a:gd name="connsiteX7" fmla="*/ 581025 w 3876676"/>
              <a:gd name="connsiteY7" fmla="*/ 560388 h 1212806"/>
              <a:gd name="connsiteX8" fmla="*/ 782638 w 3876676"/>
              <a:gd name="connsiteY8" fmla="*/ 560388 h 1212806"/>
              <a:gd name="connsiteX9" fmla="*/ 782638 w 3876676"/>
              <a:gd name="connsiteY9" fmla="*/ 1193801 h 1212806"/>
              <a:gd name="connsiteX10" fmla="*/ 590550 w 3876676"/>
              <a:gd name="connsiteY10" fmla="*/ 1193801 h 1212806"/>
              <a:gd name="connsiteX11" fmla="*/ 214312 w 3876676"/>
              <a:gd name="connsiteY11" fmla="*/ 811213 h 1212806"/>
              <a:gd name="connsiteX12" fmla="*/ 192087 w 3876676"/>
              <a:gd name="connsiteY12" fmla="*/ 1193801 h 1212806"/>
              <a:gd name="connsiteX13" fmla="*/ 0 w 3876676"/>
              <a:gd name="connsiteY13" fmla="*/ 1193801 h 1212806"/>
              <a:gd name="connsiteX14" fmla="*/ 1748787 w 3876676"/>
              <a:gd name="connsiteY14" fmla="*/ 547727 h 1212806"/>
              <a:gd name="connsiteX15" fmla="*/ 2081150 w 3876676"/>
              <a:gd name="connsiteY15" fmla="*/ 743800 h 1212806"/>
              <a:gd name="connsiteX16" fmla="*/ 1918165 w 3876676"/>
              <a:gd name="connsiteY16" fmla="*/ 962372 h 1212806"/>
              <a:gd name="connsiteX17" fmla="*/ 2081150 w 3876676"/>
              <a:gd name="connsiteY17" fmla="*/ 1193801 h 1212806"/>
              <a:gd name="connsiteX18" fmla="*/ 1860640 w 3876676"/>
              <a:gd name="connsiteY18" fmla="*/ 1193801 h 1212806"/>
              <a:gd name="connsiteX19" fmla="*/ 1656109 w 3876676"/>
              <a:gd name="connsiteY19" fmla="*/ 972015 h 1212806"/>
              <a:gd name="connsiteX20" fmla="*/ 1656109 w 3876676"/>
              <a:gd name="connsiteY20" fmla="*/ 872371 h 1212806"/>
              <a:gd name="connsiteX21" fmla="*/ 1854249 w 3876676"/>
              <a:gd name="connsiteY21" fmla="*/ 756657 h 1212806"/>
              <a:gd name="connsiteX22" fmla="*/ 1710438 w 3876676"/>
              <a:gd name="connsiteY22" fmla="*/ 676299 h 1212806"/>
              <a:gd name="connsiteX23" fmla="*/ 1582606 w 3876676"/>
              <a:gd name="connsiteY23" fmla="*/ 682728 h 1212806"/>
              <a:gd name="connsiteX24" fmla="*/ 1550648 w 3876676"/>
              <a:gd name="connsiteY24" fmla="*/ 1193801 h 1212806"/>
              <a:gd name="connsiteX25" fmla="*/ 1358900 w 3876676"/>
              <a:gd name="connsiteY25" fmla="*/ 1193801 h 1212806"/>
              <a:gd name="connsiteX26" fmla="*/ 1358900 w 3876676"/>
              <a:gd name="connsiteY26" fmla="*/ 557370 h 1212806"/>
              <a:gd name="connsiteX27" fmla="*/ 1748787 w 3876676"/>
              <a:gd name="connsiteY27" fmla="*/ 547727 h 1212806"/>
              <a:gd name="connsiteX28" fmla="*/ 3505842 w 3876676"/>
              <a:gd name="connsiteY28" fmla="*/ 533444 h 1212806"/>
              <a:gd name="connsiteX29" fmla="*/ 3831920 w 3876676"/>
              <a:gd name="connsiteY29" fmla="*/ 549540 h 1212806"/>
              <a:gd name="connsiteX30" fmla="*/ 3831920 w 3876676"/>
              <a:gd name="connsiteY30" fmla="*/ 697618 h 1212806"/>
              <a:gd name="connsiteX31" fmla="*/ 3579369 w 3876676"/>
              <a:gd name="connsiteY31" fmla="*/ 675085 h 1212806"/>
              <a:gd name="connsiteX32" fmla="*/ 3419527 w 3876676"/>
              <a:gd name="connsiteY32" fmla="*/ 729809 h 1212806"/>
              <a:gd name="connsiteX33" fmla="*/ 3521826 w 3876676"/>
              <a:gd name="connsiteY33" fmla="*/ 778096 h 1212806"/>
              <a:gd name="connsiteX34" fmla="*/ 3876676 w 3876676"/>
              <a:gd name="connsiteY34" fmla="*/ 996994 h 1212806"/>
              <a:gd name="connsiteX35" fmla="*/ 3505842 w 3876676"/>
              <a:gd name="connsiteY35" fmla="*/ 1212674 h 1212806"/>
              <a:gd name="connsiteX36" fmla="*/ 3208535 w 3876676"/>
              <a:gd name="connsiteY36" fmla="*/ 1193359 h 1212806"/>
              <a:gd name="connsiteX37" fmla="*/ 3208535 w 3876676"/>
              <a:gd name="connsiteY37" fmla="*/ 1032404 h 1212806"/>
              <a:gd name="connsiteX38" fmla="*/ 3451495 w 3876676"/>
              <a:gd name="connsiteY38" fmla="*/ 1064595 h 1212806"/>
              <a:gd name="connsiteX39" fmla="*/ 3649700 w 3876676"/>
              <a:gd name="connsiteY39" fmla="*/ 1006652 h 1212806"/>
              <a:gd name="connsiteX40" fmla="*/ 3560188 w 3876676"/>
              <a:gd name="connsiteY40" fmla="*/ 964803 h 1212806"/>
              <a:gd name="connsiteX41" fmla="*/ 3179763 w 3876676"/>
              <a:gd name="connsiteY41" fmla="*/ 749124 h 1212806"/>
              <a:gd name="connsiteX42" fmla="*/ 3505842 w 3876676"/>
              <a:gd name="connsiteY42" fmla="*/ 533444 h 1212806"/>
              <a:gd name="connsiteX43" fmla="*/ 2179638 w 3876676"/>
              <a:gd name="connsiteY43" fmla="*/ 476250 h 1212806"/>
              <a:gd name="connsiteX44" fmla="*/ 2182834 w 3876676"/>
              <a:gd name="connsiteY44" fmla="*/ 476250 h 1212806"/>
              <a:gd name="connsiteX45" fmla="*/ 2368233 w 3876676"/>
              <a:gd name="connsiteY45" fmla="*/ 810892 h 1212806"/>
              <a:gd name="connsiteX46" fmla="*/ 2499290 w 3876676"/>
              <a:gd name="connsiteY46" fmla="*/ 556693 h 1212806"/>
              <a:gd name="connsiteX47" fmla="*/ 2812550 w 3876676"/>
              <a:gd name="connsiteY47" fmla="*/ 556693 h 1212806"/>
              <a:gd name="connsiteX48" fmla="*/ 2962787 w 3876676"/>
              <a:gd name="connsiteY48" fmla="*/ 855940 h 1212806"/>
              <a:gd name="connsiteX49" fmla="*/ 3122613 w 3876676"/>
              <a:gd name="connsiteY49" fmla="*/ 1193800 h 1212806"/>
              <a:gd name="connsiteX50" fmla="*/ 2918035 w 3876676"/>
              <a:gd name="connsiteY50" fmla="*/ 1193800 h 1212806"/>
              <a:gd name="connsiteX51" fmla="*/ 2652724 w 3876676"/>
              <a:gd name="connsiteY51" fmla="*/ 720796 h 1212806"/>
              <a:gd name="connsiteX52" fmla="*/ 2550435 w 3876676"/>
              <a:gd name="connsiteY52" fmla="*/ 907424 h 1212806"/>
              <a:gd name="connsiteX53" fmla="*/ 2662313 w 3876676"/>
              <a:gd name="connsiteY53" fmla="*/ 926730 h 1212806"/>
              <a:gd name="connsiteX54" fmla="*/ 2662313 w 3876676"/>
              <a:gd name="connsiteY54" fmla="*/ 1103704 h 1212806"/>
              <a:gd name="connsiteX55" fmla="*/ 2460932 w 3876676"/>
              <a:gd name="connsiteY55" fmla="*/ 1068309 h 1212806"/>
              <a:gd name="connsiteX56" fmla="*/ 2393805 w 3876676"/>
              <a:gd name="connsiteY56" fmla="*/ 1193800 h 1212806"/>
              <a:gd name="connsiteX57" fmla="*/ 2189227 w 3876676"/>
              <a:gd name="connsiteY57" fmla="*/ 1193800 h 1212806"/>
              <a:gd name="connsiteX58" fmla="*/ 2294713 w 3876676"/>
              <a:gd name="connsiteY58" fmla="*/ 965343 h 1212806"/>
              <a:gd name="connsiteX59" fmla="*/ 2179638 w 3876676"/>
              <a:gd name="connsiteY59" fmla="*/ 749756 h 1212806"/>
              <a:gd name="connsiteX60" fmla="*/ 2179638 w 3876676"/>
              <a:gd name="connsiteY60" fmla="*/ 476250 h 1212806"/>
              <a:gd name="connsiteX61" fmla="*/ 2665413 w 3876676"/>
              <a:gd name="connsiteY61" fmla="*/ 0 h 1212806"/>
              <a:gd name="connsiteX62" fmla="*/ 2665413 w 3876676"/>
              <a:gd name="connsiteY62" fmla="*/ 199390 h 1212806"/>
              <a:gd name="connsiteX63" fmla="*/ 2313126 w 3876676"/>
              <a:gd name="connsiteY63" fmla="*/ 498475 h 1212806"/>
              <a:gd name="connsiteX64" fmla="*/ 2300315 w 3876676"/>
              <a:gd name="connsiteY64" fmla="*/ 395564 h 1212806"/>
              <a:gd name="connsiteX65" fmla="*/ 2665413 w 3876676"/>
              <a:gd name="connsiteY65" fmla="*/ 0 h 12128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</a:cxnLst>
            <a:rect l="l" t="t" r="r" b="b"/>
            <a:pathLst>
              <a:path w="3876676" h="1212806">
                <a:moveTo>
                  <a:pt x="968375" y="557213"/>
                </a:moveTo>
                <a:lnTo>
                  <a:pt x="1176338" y="557213"/>
                </a:lnTo>
                <a:lnTo>
                  <a:pt x="1176338" y="1193801"/>
                </a:lnTo>
                <a:lnTo>
                  <a:pt x="968375" y="1193801"/>
                </a:lnTo>
                <a:close/>
                <a:moveTo>
                  <a:pt x="0" y="557213"/>
                </a:moveTo>
                <a:lnTo>
                  <a:pt x="239712" y="557213"/>
                </a:lnTo>
                <a:lnTo>
                  <a:pt x="561975" y="893763"/>
                </a:lnTo>
                <a:lnTo>
                  <a:pt x="581025" y="560388"/>
                </a:lnTo>
                <a:lnTo>
                  <a:pt x="782638" y="560388"/>
                </a:lnTo>
                <a:lnTo>
                  <a:pt x="782638" y="1193801"/>
                </a:lnTo>
                <a:lnTo>
                  <a:pt x="590550" y="1193801"/>
                </a:lnTo>
                <a:lnTo>
                  <a:pt x="214312" y="811213"/>
                </a:lnTo>
                <a:lnTo>
                  <a:pt x="192087" y="1193801"/>
                </a:lnTo>
                <a:lnTo>
                  <a:pt x="0" y="1193801"/>
                </a:lnTo>
                <a:close/>
                <a:moveTo>
                  <a:pt x="1748787" y="547727"/>
                </a:moveTo>
                <a:cubicBezTo>
                  <a:pt x="1892598" y="547727"/>
                  <a:pt x="2068367" y="583085"/>
                  <a:pt x="2081150" y="743800"/>
                </a:cubicBezTo>
                <a:cubicBezTo>
                  <a:pt x="2090738" y="917372"/>
                  <a:pt x="1918165" y="962372"/>
                  <a:pt x="1918165" y="962372"/>
                </a:cubicBezTo>
                <a:cubicBezTo>
                  <a:pt x="1918165" y="962372"/>
                  <a:pt x="1918165" y="962372"/>
                  <a:pt x="2081150" y="1193801"/>
                </a:cubicBezTo>
                <a:cubicBezTo>
                  <a:pt x="2081150" y="1193801"/>
                  <a:pt x="2081150" y="1193801"/>
                  <a:pt x="1860640" y="1193801"/>
                </a:cubicBezTo>
                <a:cubicBezTo>
                  <a:pt x="1860640" y="1193801"/>
                  <a:pt x="1860640" y="1193801"/>
                  <a:pt x="1656109" y="972015"/>
                </a:cubicBezTo>
                <a:cubicBezTo>
                  <a:pt x="1656109" y="972015"/>
                  <a:pt x="1656109" y="972015"/>
                  <a:pt x="1656109" y="872371"/>
                </a:cubicBezTo>
                <a:cubicBezTo>
                  <a:pt x="1838270" y="872371"/>
                  <a:pt x="1857444" y="811300"/>
                  <a:pt x="1854249" y="756657"/>
                </a:cubicBezTo>
                <a:cubicBezTo>
                  <a:pt x="1851053" y="705228"/>
                  <a:pt x="1790333" y="676299"/>
                  <a:pt x="1710438" y="676299"/>
                </a:cubicBezTo>
                <a:cubicBezTo>
                  <a:pt x="1659305" y="676299"/>
                  <a:pt x="1582606" y="682728"/>
                  <a:pt x="1582606" y="682728"/>
                </a:cubicBezTo>
                <a:cubicBezTo>
                  <a:pt x="1582606" y="682728"/>
                  <a:pt x="1582606" y="682728"/>
                  <a:pt x="1550648" y="1193801"/>
                </a:cubicBezTo>
                <a:cubicBezTo>
                  <a:pt x="1550648" y="1193801"/>
                  <a:pt x="1550648" y="1193801"/>
                  <a:pt x="1358900" y="1193801"/>
                </a:cubicBezTo>
                <a:cubicBezTo>
                  <a:pt x="1358900" y="1193801"/>
                  <a:pt x="1358900" y="1193801"/>
                  <a:pt x="1358900" y="557370"/>
                </a:cubicBezTo>
                <a:cubicBezTo>
                  <a:pt x="1358900" y="557370"/>
                  <a:pt x="1633738" y="544513"/>
                  <a:pt x="1748787" y="547727"/>
                </a:cubicBezTo>
                <a:close/>
                <a:moveTo>
                  <a:pt x="3505842" y="533444"/>
                </a:moveTo>
                <a:cubicBezTo>
                  <a:pt x="3668881" y="530225"/>
                  <a:pt x="3831920" y="549540"/>
                  <a:pt x="3831920" y="549540"/>
                </a:cubicBezTo>
                <a:cubicBezTo>
                  <a:pt x="3831920" y="549540"/>
                  <a:pt x="3831920" y="549540"/>
                  <a:pt x="3831920" y="697618"/>
                </a:cubicBezTo>
                <a:cubicBezTo>
                  <a:pt x="3831920" y="697618"/>
                  <a:pt x="3688062" y="675085"/>
                  <a:pt x="3579369" y="675085"/>
                </a:cubicBezTo>
                <a:cubicBezTo>
                  <a:pt x="3470676" y="675085"/>
                  <a:pt x="3416330" y="687961"/>
                  <a:pt x="3419527" y="729809"/>
                </a:cubicBezTo>
                <a:cubicBezTo>
                  <a:pt x="3419527" y="758781"/>
                  <a:pt x="3454692" y="774877"/>
                  <a:pt x="3521826" y="778096"/>
                </a:cubicBezTo>
                <a:cubicBezTo>
                  <a:pt x="3617731" y="784534"/>
                  <a:pt x="3876676" y="762000"/>
                  <a:pt x="3876676" y="996994"/>
                </a:cubicBezTo>
                <a:cubicBezTo>
                  <a:pt x="3876676" y="1225550"/>
                  <a:pt x="3566582" y="1212674"/>
                  <a:pt x="3505842" y="1212674"/>
                </a:cubicBezTo>
                <a:cubicBezTo>
                  <a:pt x="3377968" y="1212674"/>
                  <a:pt x="3208535" y="1193359"/>
                  <a:pt x="3208535" y="1193359"/>
                </a:cubicBezTo>
                <a:cubicBezTo>
                  <a:pt x="3208535" y="1193359"/>
                  <a:pt x="3208535" y="1193359"/>
                  <a:pt x="3208535" y="1032404"/>
                </a:cubicBezTo>
                <a:cubicBezTo>
                  <a:pt x="3208535" y="1032404"/>
                  <a:pt x="3326818" y="1064595"/>
                  <a:pt x="3451495" y="1064595"/>
                </a:cubicBezTo>
                <a:cubicBezTo>
                  <a:pt x="3576172" y="1064595"/>
                  <a:pt x="3656094" y="1054938"/>
                  <a:pt x="3649700" y="1006652"/>
                </a:cubicBezTo>
                <a:cubicBezTo>
                  <a:pt x="3646503" y="974461"/>
                  <a:pt x="3604944" y="964803"/>
                  <a:pt x="3560188" y="964803"/>
                </a:cubicBezTo>
                <a:cubicBezTo>
                  <a:pt x="3448299" y="964803"/>
                  <a:pt x="3182960" y="958365"/>
                  <a:pt x="3179763" y="749124"/>
                </a:cubicBezTo>
                <a:cubicBezTo>
                  <a:pt x="3179763" y="533444"/>
                  <a:pt x="3448299" y="536663"/>
                  <a:pt x="3505842" y="533444"/>
                </a:cubicBezTo>
                <a:close/>
                <a:moveTo>
                  <a:pt x="2179638" y="476250"/>
                </a:moveTo>
                <a:cubicBezTo>
                  <a:pt x="2179638" y="476250"/>
                  <a:pt x="2179638" y="476250"/>
                  <a:pt x="2182834" y="476250"/>
                </a:cubicBezTo>
                <a:cubicBezTo>
                  <a:pt x="2192424" y="547040"/>
                  <a:pt x="2230782" y="695055"/>
                  <a:pt x="2368233" y="810892"/>
                </a:cubicBezTo>
                <a:cubicBezTo>
                  <a:pt x="2467325" y="604959"/>
                  <a:pt x="2499290" y="556693"/>
                  <a:pt x="2499290" y="556693"/>
                </a:cubicBezTo>
                <a:cubicBezTo>
                  <a:pt x="2499290" y="556693"/>
                  <a:pt x="2499290" y="556693"/>
                  <a:pt x="2812550" y="556693"/>
                </a:cubicBezTo>
                <a:cubicBezTo>
                  <a:pt x="2812550" y="556693"/>
                  <a:pt x="2841319" y="604959"/>
                  <a:pt x="2962787" y="855940"/>
                </a:cubicBezTo>
                <a:cubicBezTo>
                  <a:pt x="3097041" y="1132664"/>
                  <a:pt x="3122613" y="1193800"/>
                  <a:pt x="3122613" y="1193800"/>
                </a:cubicBezTo>
                <a:cubicBezTo>
                  <a:pt x="3122613" y="1193800"/>
                  <a:pt x="3122613" y="1193800"/>
                  <a:pt x="2918035" y="1193800"/>
                </a:cubicBezTo>
                <a:cubicBezTo>
                  <a:pt x="2918035" y="1193800"/>
                  <a:pt x="2918035" y="1193800"/>
                  <a:pt x="2652724" y="720796"/>
                </a:cubicBezTo>
                <a:cubicBezTo>
                  <a:pt x="2652724" y="720796"/>
                  <a:pt x="2652724" y="720796"/>
                  <a:pt x="2550435" y="907424"/>
                </a:cubicBezTo>
                <a:cubicBezTo>
                  <a:pt x="2617562" y="929948"/>
                  <a:pt x="2662313" y="926730"/>
                  <a:pt x="2662313" y="926730"/>
                </a:cubicBezTo>
                <a:cubicBezTo>
                  <a:pt x="2662313" y="926730"/>
                  <a:pt x="2662313" y="926730"/>
                  <a:pt x="2662313" y="1103704"/>
                </a:cubicBezTo>
                <a:cubicBezTo>
                  <a:pt x="2662313" y="1103704"/>
                  <a:pt x="2563221" y="1106922"/>
                  <a:pt x="2460932" y="1068309"/>
                </a:cubicBezTo>
                <a:cubicBezTo>
                  <a:pt x="2460932" y="1068309"/>
                  <a:pt x="2460932" y="1068309"/>
                  <a:pt x="2393805" y="1193800"/>
                </a:cubicBezTo>
                <a:cubicBezTo>
                  <a:pt x="2393805" y="1193800"/>
                  <a:pt x="2393805" y="1193800"/>
                  <a:pt x="2189227" y="1193800"/>
                </a:cubicBezTo>
                <a:cubicBezTo>
                  <a:pt x="2189227" y="1193800"/>
                  <a:pt x="2205210" y="1155188"/>
                  <a:pt x="2294713" y="965343"/>
                </a:cubicBezTo>
                <a:cubicBezTo>
                  <a:pt x="2202013" y="865593"/>
                  <a:pt x="2179638" y="749756"/>
                  <a:pt x="2179638" y="749756"/>
                </a:cubicBezTo>
                <a:cubicBezTo>
                  <a:pt x="2179638" y="749756"/>
                  <a:pt x="2179638" y="749756"/>
                  <a:pt x="2179638" y="476250"/>
                </a:cubicBezTo>
                <a:close/>
                <a:moveTo>
                  <a:pt x="2665413" y="0"/>
                </a:moveTo>
                <a:cubicBezTo>
                  <a:pt x="2665413" y="0"/>
                  <a:pt x="2665413" y="0"/>
                  <a:pt x="2665413" y="199390"/>
                </a:cubicBezTo>
                <a:cubicBezTo>
                  <a:pt x="2476459" y="205822"/>
                  <a:pt x="2341949" y="356972"/>
                  <a:pt x="2313126" y="498475"/>
                </a:cubicBezTo>
                <a:cubicBezTo>
                  <a:pt x="2303518" y="466315"/>
                  <a:pt x="2300315" y="430940"/>
                  <a:pt x="2300315" y="395564"/>
                </a:cubicBezTo>
                <a:cubicBezTo>
                  <a:pt x="2297113" y="260493"/>
                  <a:pt x="2399596" y="32160"/>
                  <a:pt x="2665413" y="0"/>
                </a:cubicBezTo>
                <a:close/>
              </a:path>
            </a:pathLst>
          </a:custGeom>
          <a:solidFill>
            <a:srgbClr val="595959"/>
          </a:solidFill>
        </p:spPr>
        <p:txBody>
          <a:bodyPr lIns="0" tIns="0" rIns="0" bIns="0">
            <a:norm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19" name="White line">
            <a:extLst>
              <a:ext uri="{FF2B5EF4-FFF2-40B4-BE49-F238E27FC236}">
                <a16:creationId xmlns:a16="http://schemas.microsoft.com/office/drawing/2014/main" id="{D4B4C4D5-C379-4BE9-A1DE-B763BE10C49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 rot="5400000">
            <a:off x="1653150" y="1470467"/>
            <a:ext cx="90000" cy="2520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indent="0">
              <a:buNone/>
              <a:defRPr sz="1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20" name="White line">
            <a:extLst>
              <a:ext uri="{FF2B5EF4-FFF2-40B4-BE49-F238E27FC236}">
                <a16:creationId xmlns:a16="http://schemas.microsoft.com/office/drawing/2014/main" id="{B3EFD42D-2BB3-4D67-8B48-795DDC62CD1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 rot="5400000">
            <a:off x="10922999" y="-728609"/>
            <a:ext cx="18000" cy="2520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indent="0">
              <a:buNone/>
              <a:defRPr sz="1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99D09BE9-A839-4C19-A8EE-AF2BFDC5901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1466044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ull image &amp; titl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FD8C2F4C-FD8E-4BC1-8470-ED613BBC34C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3200" cy="6857999"/>
          </a:xfrm>
          <a:prstGeom prst="rect">
            <a:avLst/>
          </a:prstGeom>
          <a:solidFill>
            <a:schemeClr val="accent6"/>
          </a:solidFill>
        </p:spPr>
        <p:txBody>
          <a:bodyPr lIns="0" tIns="900000" anchor="ctr" anchorCtr="0"/>
          <a:lstStyle>
            <a:lvl1pPr marL="0" indent="0" algn="ctr">
              <a:buNone/>
              <a:defRPr sz="1600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and insert 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C263996-270B-49F6-AC9C-5FC3D40EF87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0000" y="1765041"/>
            <a:ext cx="10333037" cy="914151"/>
          </a:xfrm>
          <a:prstGeom prst="rect">
            <a:avLst/>
          </a:prstGeom>
        </p:spPr>
        <p:txBody>
          <a:bodyPr lIns="72000" tIns="36000" rIns="72000" bIns="36000" anchor="t"/>
          <a:lstStyle>
            <a:lvl1pPr algn="l">
              <a:defRPr sz="600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</a:lstStyle>
          <a:p>
            <a:pPr lvl="0"/>
            <a:r>
              <a:rPr lang="en-US" dirty="0"/>
              <a:t>Click to edit headlin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79446C3-1B3E-43F7-897B-450B7777A27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0000" y="2871743"/>
            <a:ext cx="5572062" cy="1655762"/>
          </a:xfrm>
          <a:prstGeom prst="rect">
            <a:avLst/>
          </a:prstGeom>
        </p:spPr>
        <p:txBody>
          <a:bodyPr lIns="72000" tIns="36000" rIns="72000" bIns="36000"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12" name="Logo on top">
            <a:extLst>
              <a:ext uri="{FF2B5EF4-FFF2-40B4-BE49-F238E27FC236}">
                <a16:creationId xmlns:a16="http://schemas.microsoft.com/office/drawing/2014/main" id="{65075359-2A7A-450A-9B61-C30CE49C3225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10753200" y="6339600"/>
            <a:ext cx="1080000" cy="340069"/>
          </a:xfrm>
          <a:custGeom>
            <a:avLst/>
            <a:gdLst>
              <a:gd name="connsiteX0" fmla="*/ 968375 w 3876676"/>
              <a:gd name="connsiteY0" fmla="*/ 557213 h 1212806"/>
              <a:gd name="connsiteX1" fmla="*/ 1176338 w 3876676"/>
              <a:gd name="connsiteY1" fmla="*/ 557213 h 1212806"/>
              <a:gd name="connsiteX2" fmla="*/ 1176338 w 3876676"/>
              <a:gd name="connsiteY2" fmla="*/ 1193801 h 1212806"/>
              <a:gd name="connsiteX3" fmla="*/ 968375 w 3876676"/>
              <a:gd name="connsiteY3" fmla="*/ 1193801 h 1212806"/>
              <a:gd name="connsiteX4" fmla="*/ 0 w 3876676"/>
              <a:gd name="connsiteY4" fmla="*/ 557213 h 1212806"/>
              <a:gd name="connsiteX5" fmla="*/ 239712 w 3876676"/>
              <a:gd name="connsiteY5" fmla="*/ 557213 h 1212806"/>
              <a:gd name="connsiteX6" fmla="*/ 561975 w 3876676"/>
              <a:gd name="connsiteY6" fmla="*/ 893763 h 1212806"/>
              <a:gd name="connsiteX7" fmla="*/ 581025 w 3876676"/>
              <a:gd name="connsiteY7" fmla="*/ 560388 h 1212806"/>
              <a:gd name="connsiteX8" fmla="*/ 782638 w 3876676"/>
              <a:gd name="connsiteY8" fmla="*/ 560388 h 1212806"/>
              <a:gd name="connsiteX9" fmla="*/ 782638 w 3876676"/>
              <a:gd name="connsiteY9" fmla="*/ 1193801 h 1212806"/>
              <a:gd name="connsiteX10" fmla="*/ 590550 w 3876676"/>
              <a:gd name="connsiteY10" fmla="*/ 1193801 h 1212806"/>
              <a:gd name="connsiteX11" fmla="*/ 214312 w 3876676"/>
              <a:gd name="connsiteY11" fmla="*/ 811213 h 1212806"/>
              <a:gd name="connsiteX12" fmla="*/ 192087 w 3876676"/>
              <a:gd name="connsiteY12" fmla="*/ 1193801 h 1212806"/>
              <a:gd name="connsiteX13" fmla="*/ 0 w 3876676"/>
              <a:gd name="connsiteY13" fmla="*/ 1193801 h 1212806"/>
              <a:gd name="connsiteX14" fmla="*/ 1748787 w 3876676"/>
              <a:gd name="connsiteY14" fmla="*/ 547727 h 1212806"/>
              <a:gd name="connsiteX15" fmla="*/ 2081150 w 3876676"/>
              <a:gd name="connsiteY15" fmla="*/ 743800 h 1212806"/>
              <a:gd name="connsiteX16" fmla="*/ 1918165 w 3876676"/>
              <a:gd name="connsiteY16" fmla="*/ 962372 h 1212806"/>
              <a:gd name="connsiteX17" fmla="*/ 2081150 w 3876676"/>
              <a:gd name="connsiteY17" fmla="*/ 1193801 h 1212806"/>
              <a:gd name="connsiteX18" fmla="*/ 1860640 w 3876676"/>
              <a:gd name="connsiteY18" fmla="*/ 1193801 h 1212806"/>
              <a:gd name="connsiteX19" fmla="*/ 1656109 w 3876676"/>
              <a:gd name="connsiteY19" fmla="*/ 972015 h 1212806"/>
              <a:gd name="connsiteX20" fmla="*/ 1656109 w 3876676"/>
              <a:gd name="connsiteY20" fmla="*/ 872371 h 1212806"/>
              <a:gd name="connsiteX21" fmla="*/ 1854249 w 3876676"/>
              <a:gd name="connsiteY21" fmla="*/ 756657 h 1212806"/>
              <a:gd name="connsiteX22" fmla="*/ 1710438 w 3876676"/>
              <a:gd name="connsiteY22" fmla="*/ 676299 h 1212806"/>
              <a:gd name="connsiteX23" fmla="*/ 1582606 w 3876676"/>
              <a:gd name="connsiteY23" fmla="*/ 682728 h 1212806"/>
              <a:gd name="connsiteX24" fmla="*/ 1550648 w 3876676"/>
              <a:gd name="connsiteY24" fmla="*/ 1193801 h 1212806"/>
              <a:gd name="connsiteX25" fmla="*/ 1358900 w 3876676"/>
              <a:gd name="connsiteY25" fmla="*/ 1193801 h 1212806"/>
              <a:gd name="connsiteX26" fmla="*/ 1358900 w 3876676"/>
              <a:gd name="connsiteY26" fmla="*/ 557370 h 1212806"/>
              <a:gd name="connsiteX27" fmla="*/ 1748787 w 3876676"/>
              <a:gd name="connsiteY27" fmla="*/ 547727 h 1212806"/>
              <a:gd name="connsiteX28" fmla="*/ 3505842 w 3876676"/>
              <a:gd name="connsiteY28" fmla="*/ 533444 h 1212806"/>
              <a:gd name="connsiteX29" fmla="*/ 3831920 w 3876676"/>
              <a:gd name="connsiteY29" fmla="*/ 549540 h 1212806"/>
              <a:gd name="connsiteX30" fmla="*/ 3831920 w 3876676"/>
              <a:gd name="connsiteY30" fmla="*/ 697618 h 1212806"/>
              <a:gd name="connsiteX31" fmla="*/ 3579369 w 3876676"/>
              <a:gd name="connsiteY31" fmla="*/ 675085 h 1212806"/>
              <a:gd name="connsiteX32" fmla="*/ 3419527 w 3876676"/>
              <a:gd name="connsiteY32" fmla="*/ 729809 h 1212806"/>
              <a:gd name="connsiteX33" fmla="*/ 3521826 w 3876676"/>
              <a:gd name="connsiteY33" fmla="*/ 778096 h 1212806"/>
              <a:gd name="connsiteX34" fmla="*/ 3876676 w 3876676"/>
              <a:gd name="connsiteY34" fmla="*/ 996994 h 1212806"/>
              <a:gd name="connsiteX35" fmla="*/ 3505842 w 3876676"/>
              <a:gd name="connsiteY35" fmla="*/ 1212674 h 1212806"/>
              <a:gd name="connsiteX36" fmla="*/ 3208535 w 3876676"/>
              <a:gd name="connsiteY36" fmla="*/ 1193359 h 1212806"/>
              <a:gd name="connsiteX37" fmla="*/ 3208535 w 3876676"/>
              <a:gd name="connsiteY37" fmla="*/ 1032404 h 1212806"/>
              <a:gd name="connsiteX38" fmla="*/ 3451495 w 3876676"/>
              <a:gd name="connsiteY38" fmla="*/ 1064595 h 1212806"/>
              <a:gd name="connsiteX39" fmla="*/ 3649700 w 3876676"/>
              <a:gd name="connsiteY39" fmla="*/ 1006652 h 1212806"/>
              <a:gd name="connsiteX40" fmla="*/ 3560188 w 3876676"/>
              <a:gd name="connsiteY40" fmla="*/ 964803 h 1212806"/>
              <a:gd name="connsiteX41" fmla="*/ 3179763 w 3876676"/>
              <a:gd name="connsiteY41" fmla="*/ 749124 h 1212806"/>
              <a:gd name="connsiteX42" fmla="*/ 3505842 w 3876676"/>
              <a:gd name="connsiteY42" fmla="*/ 533444 h 1212806"/>
              <a:gd name="connsiteX43" fmla="*/ 2179638 w 3876676"/>
              <a:gd name="connsiteY43" fmla="*/ 476250 h 1212806"/>
              <a:gd name="connsiteX44" fmla="*/ 2182834 w 3876676"/>
              <a:gd name="connsiteY44" fmla="*/ 476250 h 1212806"/>
              <a:gd name="connsiteX45" fmla="*/ 2368233 w 3876676"/>
              <a:gd name="connsiteY45" fmla="*/ 810892 h 1212806"/>
              <a:gd name="connsiteX46" fmla="*/ 2499290 w 3876676"/>
              <a:gd name="connsiteY46" fmla="*/ 556693 h 1212806"/>
              <a:gd name="connsiteX47" fmla="*/ 2812550 w 3876676"/>
              <a:gd name="connsiteY47" fmla="*/ 556693 h 1212806"/>
              <a:gd name="connsiteX48" fmla="*/ 2962787 w 3876676"/>
              <a:gd name="connsiteY48" fmla="*/ 855940 h 1212806"/>
              <a:gd name="connsiteX49" fmla="*/ 3122613 w 3876676"/>
              <a:gd name="connsiteY49" fmla="*/ 1193800 h 1212806"/>
              <a:gd name="connsiteX50" fmla="*/ 2918035 w 3876676"/>
              <a:gd name="connsiteY50" fmla="*/ 1193800 h 1212806"/>
              <a:gd name="connsiteX51" fmla="*/ 2652724 w 3876676"/>
              <a:gd name="connsiteY51" fmla="*/ 720796 h 1212806"/>
              <a:gd name="connsiteX52" fmla="*/ 2550435 w 3876676"/>
              <a:gd name="connsiteY52" fmla="*/ 907424 h 1212806"/>
              <a:gd name="connsiteX53" fmla="*/ 2662313 w 3876676"/>
              <a:gd name="connsiteY53" fmla="*/ 926730 h 1212806"/>
              <a:gd name="connsiteX54" fmla="*/ 2662313 w 3876676"/>
              <a:gd name="connsiteY54" fmla="*/ 1103704 h 1212806"/>
              <a:gd name="connsiteX55" fmla="*/ 2460932 w 3876676"/>
              <a:gd name="connsiteY55" fmla="*/ 1068309 h 1212806"/>
              <a:gd name="connsiteX56" fmla="*/ 2393805 w 3876676"/>
              <a:gd name="connsiteY56" fmla="*/ 1193800 h 1212806"/>
              <a:gd name="connsiteX57" fmla="*/ 2189227 w 3876676"/>
              <a:gd name="connsiteY57" fmla="*/ 1193800 h 1212806"/>
              <a:gd name="connsiteX58" fmla="*/ 2294713 w 3876676"/>
              <a:gd name="connsiteY58" fmla="*/ 965343 h 1212806"/>
              <a:gd name="connsiteX59" fmla="*/ 2179638 w 3876676"/>
              <a:gd name="connsiteY59" fmla="*/ 749756 h 1212806"/>
              <a:gd name="connsiteX60" fmla="*/ 2179638 w 3876676"/>
              <a:gd name="connsiteY60" fmla="*/ 476250 h 1212806"/>
              <a:gd name="connsiteX61" fmla="*/ 2665413 w 3876676"/>
              <a:gd name="connsiteY61" fmla="*/ 0 h 1212806"/>
              <a:gd name="connsiteX62" fmla="*/ 2665413 w 3876676"/>
              <a:gd name="connsiteY62" fmla="*/ 199390 h 1212806"/>
              <a:gd name="connsiteX63" fmla="*/ 2313126 w 3876676"/>
              <a:gd name="connsiteY63" fmla="*/ 498475 h 1212806"/>
              <a:gd name="connsiteX64" fmla="*/ 2300315 w 3876676"/>
              <a:gd name="connsiteY64" fmla="*/ 395564 h 1212806"/>
              <a:gd name="connsiteX65" fmla="*/ 2665413 w 3876676"/>
              <a:gd name="connsiteY65" fmla="*/ 0 h 12128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</a:cxnLst>
            <a:rect l="l" t="t" r="r" b="b"/>
            <a:pathLst>
              <a:path w="3876676" h="1212806">
                <a:moveTo>
                  <a:pt x="968375" y="557213"/>
                </a:moveTo>
                <a:lnTo>
                  <a:pt x="1176338" y="557213"/>
                </a:lnTo>
                <a:lnTo>
                  <a:pt x="1176338" y="1193801"/>
                </a:lnTo>
                <a:lnTo>
                  <a:pt x="968375" y="1193801"/>
                </a:lnTo>
                <a:close/>
                <a:moveTo>
                  <a:pt x="0" y="557213"/>
                </a:moveTo>
                <a:lnTo>
                  <a:pt x="239712" y="557213"/>
                </a:lnTo>
                <a:lnTo>
                  <a:pt x="561975" y="893763"/>
                </a:lnTo>
                <a:lnTo>
                  <a:pt x="581025" y="560388"/>
                </a:lnTo>
                <a:lnTo>
                  <a:pt x="782638" y="560388"/>
                </a:lnTo>
                <a:lnTo>
                  <a:pt x="782638" y="1193801"/>
                </a:lnTo>
                <a:lnTo>
                  <a:pt x="590550" y="1193801"/>
                </a:lnTo>
                <a:lnTo>
                  <a:pt x="214312" y="811213"/>
                </a:lnTo>
                <a:lnTo>
                  <a:pt x="192087" y="1193801"/>
                </a:lnTo>
                <a:lnTo>
                  <a:pt x="0" y="1193801"/>
                </a:lnTo>
                <a:close/>
                <a:moveTo>
                  <a:pt x="1748787" y="547727"/>
                </a:moveTo>
                <a:cubicBezTo>
                  <a:pt x="1892598" y="547727"/>
                  <a:pt x="2068367" y="583085"/>
                  <a:pt x="2081150" y="743800"/>
                </a:cubicBezTo>
                <a:cubicBezTo>
                  <a:pt x="2090738" y="917372"/>
                  <a:pt x="1918165" y="962372"/>
                  <a:pt x="1918165" y="962372"/>
                </a:cubicBezTo>
                <a:cubicBezTo>
                  <a:pt x="1918165" y="962372"/>
                  <a:pt x="1918165" y="962372"/>
                  <a:pt x="2081150" y="1193801"/>
                </a:cubicBezTo>
                <a:cubicBezTo>
                  <a:pt x="2081150" y="1193801"/>
                  <a:pt x="2081150" y="1193801"/>
                  <a:pt x="1860640" y="1193801"/>
                </a:cubicBezTo>
                <a:cubicBezTo>
                  <a:pt x="1860640" y="1193801"/>
                  <a:pt x="1860640" y="1193801"/>
                  <a:pt x="1656109" y="972015"/>
                </a:cubicBezTo>
                <a:cubicBezTo>
                  <a:pt x="1656109" y="972015"/>
                  <a:pt x="1656109" y="972015"/>
                  <a:pt x="1656109" y="872371"/>
                </a:cubicBezTo>
                <a:cubicBezTo>
                  <a:pt x="1838270" y="872371"/>
                  <a:pt x="1857444" y="811300"/>
                  <a:pt x="1854249" y="756657"/>
                </a:cubicBezTo>
                <a:cubicBezTo>
                  <a:pt x="1851053" y="705228"/>
                  <a:pt x="1790333" y="676299"/>
                  <a:pt x="1710438" y="676299"/>
                </a:cubicBezTo>
                <a:cubicBezTo>
                  <a:pt x="1659305" y="676299"/>
                  <a:pt x="1582606" y="682728"/>
                  <a:pt x="1582606" y="682728"/>
                </a:cubicBezTo>
                <a:cubicBezTo>
                  <a:pt x="1582606" y="682728"/>
                  <a:pt x="1582606" y="682728"/>
                  <a:pt x="1550648" y="1193801"/>
                </a:cubicBezTo>
                <a:cubicBezTo>
                  <a:pt x="1550648" y="1193801"/>
                  <a:pt x="1550648" y="1193801"/>
                  <a:pt x="1358900" y="1193801"/>
                </a:cubicBezTo>
                <a:cubicBezTo>
                  <a:pt x="1358900" y="1193801"/>
                  <a:pt x="1358900" y="1193801"/>
                  <a:pt x="1358900" y="557370"/>
                </a:cubicBezTo>
                <a:cubicBezTo>
                  <a:pt x="1358900" y="557370"/>
                  <a:pt x="1633738" y="544513"/>
                  <a:pt x="1748787" y="547727"/>
                </a:cubicBezTo>
                <a:close/>
                <a:moveTo>
                  <a:pt x="3505842" y="533444"/>
                </a:moveTo>
                <a:cubicBezTo>
                  <a:pt x="3668881" y="530225"/>
                  <a:pt x="3831920" y="549540"/>
                  <a:pt x="3831920" y="549540"/>
                </a:cubicBezTo>
                <a:cubicBezTo>
                  <a:pt x="3831920" y="549540"/>
                  <a:pt x="3831920" y="549540"/>
                  <a:pt x="3831920" y="697618"/>
                </a:cubicBezTo>
                <a:cubicBezTo>
                  <a:pt x="3831920" y="697618"/>
                  <a:pt x="3688062" y="675085"/>
                  <a:pt x="3579369" y="675085"/>
                </a:cubicBezTo>
                <a:cubicBezTo>
                  <a:pt x="3470676" y="675085"/>
                  <a:pt x="3416330" y="687961"/>
                  <a:pt x="3419527" y="729809"/>
                </a:cubicBezTo>
                <a:cubicBezTo>
                  <a:pt x="3419527" y="758781"/>
                  <a:pt x="3454692" y="774877"/>
                  <a:pt x="3521826" y="778096"/>
                </a:cubicBezTo>
                <a:cubicBezTo>
                  <a:pt x="3617731" y="784534"/>
                  <a:pt x="3876676" y="762000"/>
                  <a:pt x="3876676" y="996994"/>
                </a:cubicBezTo>
                <a:cubicBezTo>
                  <a:pt x="3876676" y="1225550"/>
                  <a:pt x="3566582" y="1212674"/>
                  <a:pt x="3505842" y="1212674"/>
                </a:cubicBezTo>
                <a:cubicBezTo>
                  <a:pt x="3377968" y="1212674"/>
                  <a:pt x="3208535" y="1193359"/>
                  <a:pt x="3208535" y="1193359"/>
                </a:cubicBezTo>
                <a:cubicBezTo>
                  <a:pt x="3208535" y="1193359"/>
                  <a:pt x="3208535" y="1193359"/>
                  <a:pt x="3208535" y="1032404"/>
                </a:cubicBezTo>
                <a:cubicBezTo>
                  <a:pt x="3208535" y="1032404"/>
                  <a:pt x="3326818" y="1064595"/>
                  <a:pt x="3451495" y="1064595"/>
                </a:cubicBezTo>
                <a:cubicBezTo>
                  <a:pt x="3576172" y="1064595"/>
                  <a:pt x="3656094" y="1054938"/>
                  <a:pt x="3649700" y="1006652"/>
                </a:cubicBezTo>
                <a:cubicBezTo>
                  <a:pt x="3646503" y="974461"/>
                  <a:pt x="3604944" y="964803"/>
                  <a:pt x="3560188" y="964803"/>
                </a:cubicBezTo>
                <a:cubicBezTo>
                  <a:pt x="3448299" y="964803"/>
                  <a:pt x="3182960" y="958365"/>
                  <a:pt x="3179763" y="749124"/>
                </a:cubicBezTo>
                <a:cubicBezTo>
                  <a:pt x="3179763" y="533444"/>
                  <a:pt x="3448299" y="536663"/>
                  <a:pt x="3505842" y="533444"/>
                </a:cubicBezTo>
                <a:close/>
                <a:moveTo>
                  <a:pt x="2179638" y="476250"/>
                </a:moveTo>
                <a:cubicBezTo>
                  <a:pt x="2179638" y="476250"/>
                  <a:pt x="2179638" y="476250"/>
                  <a:pt x="2182834" y="476250"/>
                </a:cubicBezTo>
                <a:cubicBezTo>
                  <a:pt x="2192424" y="547040"/>
                  <a:pt x="2230782" y="695055"/>
                  <a:pt x="2368233" y="810892"/>
                </a:cubicBezTo>
                <a:cubicBezTo>
                  <a:pt x="2467325" y="604959"/>
                  <a:pt x="2499290" y="556693"/>
                  <a:pt x="2499290" y="556693"/>
                </a:cubicBezTo>
                <a:cubicBezTo>
                  <a:pt x="2499290" y="556693"/>
                  <a:pt x="2499290" y="556693"/>
                  <a:pt x="2812550" y="556693"/>
                </a:cubicBezTo>
                <a:cubicBezTo>
                  <a:pt x="2812550" y="556693"/>
                  <a:pt x="2841319" y="604959"/>
                  <a:pt x="2962787" y="855940"/>
                </a:cubicBezTo>
                <a:cubicBezTo>
                  <a:pt x="3097041" y="1132664"/>
                  <a:pt x="3122613" y="1193800"/>
                  <a:pt x="3122613" y="1193800"/>
                </a:cubicBezTo>
                <a:cubicBezTo>
                  <a:pt x="3122613" y="1193800"/>
                  <a:pt x="3122613" y="1193800"/>
                  <a:pt x="2918035" y="1193800"/>
                </a:cubicBezTo>
                <a:cubicBezTo>
                  <a:pt x="2918035" y="1193800"/>
                  <a:pt x="2918035" y="1193800"/>
                  <a:pt x="2652724" y="720796"/>
                </a:cubicBezTo>
                <a:cubicBezTo>
                  <a:pt x="2652724" y="720796"/>
                  <a:pt x="2652724" y="720796"/>
                  <a:pt x="2550435" y="907424"/>
                </a:cubicBezTo>
                <a:cubicBezTo>
                  <a:pt x="2617562" y="929948"/>
                  <a:pt x="2662313" y="926730"/>
                  <a:pt x="2662313" y="926730"/>
                </a:cubicBezTo>
                <a:cubicBezTo>
                  <a:pt x="2662313" y="926730"/>
                  <a:pt x="2662313" y="926730"/>
                  <a:pt x="2662313" y="1103704"/>
                </a:cubicBezTo>
                <a:cubicBezTo>
                  <a:pt x="2662313" y="1103704"/>
                  <a:pt x="2563221" y="1106922"/>
                  <a:pt x="2460932" y="1068309"/>
                </a:cubicBezTo>
                <a:cubicBezTo>
                  <a:pt x="2460932" y="1068309"/>
                  <a:pt x="2460932" y="1068309"/>
                  <a:pt x="2393805" y="1193800"/>
                </a:cubicBezTo>
                <a:cubicBezTo>
                  <a:pt x="2393805" y="1193800"/>
                  <a:pt x="2393805" y="1193800"/>
                  <a:pt x="2189227" y="1193800"/>
                </a:cubicBezTo>
                <a:cubicBezTo>
                  <a:pt x="2189227" y="1193800"/>
                  <a:pt x="2205210" y="1155188"/>
                  <a:pt x="2294713" y="965343"/>
                </a:cubicBezTo>
                <a:cubicBezTo>
                  <a:pt x="2202013" y="865593"/>
                  <a:pt x="2179638" y="749756"/>
                  <a:pt x="2179638" y="749756"/>
                </a:cubicBezTo>
                <a:cubicBezTo>
                  <a:pt x="2179638" y="749756"/>
                  <a:pt x="2179638" y="749756"/>
                  <a:pt x="2179638" y="476250"/>
                </a:cubicBezTo>
                <a:close/>
                <a:moveTo>
                  <a:pt x="2665413" y="0"/>
                </a:moveTo>
                <a:cubicBezTo>
                  <a:pt x="2665413" y="0"/>
                  <a:pt x="2665413" y="0"/>
                  <a:pt x="2665413" y="199390"/>
                </a:cubicBezTo>
                <a:cubicBezTo>
                  <a:pt x="2476459" y="205822"/>
                  <a:pt x="2341949" y="356972"/>
                  <a:pt x="2313126" y="498475"/>
                </a:cubicBezTo>
                <a:cubicBezTo>
                  <a:pt x="2303518" y="466315"/>
                  <a:pt x="2300315" y="430940"/>
                  <a:pt x="2300315" y="395564"/>
                </a:cubicBezTo>
                <a:cubicBezTo>
                  <a:pt x="2297113" y="260493"/>
                  <a:pt x="2399596" y="32160"/>
                  <a:pt x="2665413" y="0"/>
                </a:cubicBezTo>
                <a:close/>
              </a:path>
            </a:pathLst>
          </a:custGeom>
          <a:solidFill>
            <a:srgbClr val="FFFFFF"/>
          </a:solidFill>
        </p:spPr>
        <p:txBody>
          <a:bodyPr lIns="0" tIns="0" rIns="0" bIns="0">
            <a:norm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14" name="White line">
            <a:extLst>
              <a:ext uri="{FF2B5EF4-FFF2-40B4-BE49-F238E27FC236}">
                <a16:creationId xmlns:a16="http://schemas.microsoft.com/office/drawing/2014/main" id="{107ED4AD-E914-48D0-8885-D4F41984010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 rot="5400000">
            <a:off x="1653150" y="1470467"/>
            <a:ext cx="90000" cy="252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15" name="White line">
            <a:extLst>
              <a:ext uri="{FF2B5EF4-FFF2-40B4-BE49-F238E27FC236}">
                <a16:creationId xmlns:a16="http://schemas.microsoft.com/office/drawing/2014/main" id="{C1A7A007-4677-42A8-9824-D5CAB828B47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 rot="5400000">
            <a:off x="10922999" y="-728609"/>
            <a:ext cx="18000" cy="252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C2353EBE-706E-4F26-8C7D-B11CBD9D831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800">
                <a:solidFill>
                  <a:schemeClr val="bg1"/>
                </a:solidFill>
                <a:latin typeface="+mn-lt"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6428197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ull imag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accent1"/>
          </a:solidFill>
        </p:spPr>
        <p:txBody>
          <a:bodyPr lIns="0" tIns="900000"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aseline="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and insert image</a:t>
            </a:r>
            <a:endParaRPr lang="en-US" dirty="0"/>
          </a:p>
        </p:txBody>
      </p:sp>
      <p:sp>
        <p:nvSpPr>
          <p:cNvPr id="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US" dirty="0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/>
              <a:t>Dokument id her</a:t>
            </a:r>
            <a:endParaRPr lang="en-GB" dirty="0"/>
          </a:p>
        </p:txBody>
      </p:sp>
      <p:sp>
        <p:nvSpPr>
          <p:cNvPr id="20" name="Logo on top">
            <a:extLst>
              <a:ext uri="{FF2B5EF4-FFF2-40B4-BE49-F238E27FC236}">
                <a16:creationId xmlns:a16="http://schemas.microsoft.com/office/drawing/2014/main" id="{E62EE4E3-C4C4-4FC3-A816-7A23933DD733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10753200" y="6339600"/>
            <a:ext cx="1080000" cy="340069"/>
          </a:xfrm>
          <a:custGeom>
            <a:avLst/>
            <a:gdLst>
              <a:gd name="connsiteX0" fmla="*/ 968375 w 3876676"/>
              <a:gd name="connsiteY0" fmla="*/ 557213 h 1212806"/>
              <a:gd name="connsiteX1" fmla="*/ 1176338 w 3876676"/>
              <a:gd name="connsiteY1" fmla="*/ 557213 h 1212806"/>
              <a:gd name="connsiteX2" fmla="*/ 1176338 w 3876676"/>
              <a:gd name="connsiteY2" fmla="*/ 1193801 h 1212806"/>
              <a:gd name="connsiteX3" fmla="*/ 968375 w 3876676"/>
              <a:gd name="connsiteY3" fmla="*/ 1193801 h 1212806"/>
              <a:gd name="connsiteX4" fmla="*/ 0 w 3876676"/>
              <a:gd name="connsiteY4" fmla="*/ 557213 h 1212806"/>
              <a:gd name="connsiteX5" fmla="*/ 239712 w 3876676"/>
              <a:gd name="connsiteY5" fmla="*/ 557213 h 1212806"/>
              <a:gd name="connsiteX6" fmla="*/ 561975 w 3876676"/>
              <a:gd name="connsiteY6" fmla="*/ 893763 h 1212806"/>
              <a:gd name="connsiteX7" fmla="*/ 581025 w 3876676"/>
              <a:gd name="connsiteY7" fmla="*/ 560388 h 1212806"/>
              <a:gd name="connsiteX8" fmla="*/ 782638 w 3876676"/>
              <a:gd name="connsiteY8" fmla="*/ 560388 h 1212806"/>
              <a:gd name="connsiteX9" fmla="*/ 782638 w 3876676"/>
              <a:gd name="connsiteY9" fmla="*/ 1193801 h 1212806"/>
              <a:gd name="connsiteX10" fmla="*/ 590550 w 3876676"/>
              <a:gd name="connsiteY10" fmla="*/ 1193801 h 1212806"/>
              <a:gd name="connsiteX11" fmla="*/ 214312 w 3876676"/>
              <a:gd name="connsiteY11" fmla="*/ 811213 h 1212806"/>
              <a:gd name="connsiteX12" fmla="*/ 192087 w 3876676"/>
              <a:gd name="connsiteY12" fmla="*/ 1193801 h 1212806"/>
              <a:gd name="connsiteX13" fmla="*/ 0 w 3876676"/>
              <a:gd name="connsiteY13" fmla="*/ 1193801 h 1212806"/>
              <a:gd name="connsiteX14" fmla="*/ 1748787 w 3876676"/>
              <a:gd name="connsiteY14" fmla="*/ 547727 h 1212806"/>
              <a:gd name="connsiteX15" fmla="*/ 2081150 w 3876676"/>
              <a:gd name="connsiteY15" fmla="*/ 743800 h 1212806"/>
              <a:gd name="connsiteX16" fmla="*/ 1918165 w 3876676"/>
              <a:gd name="connsiteY16" fmla="*/ 962372 h 1212806"/>
              <a:gd name="connsiteX17" fmla="*/ 2081150 w 3876676"/>
              <a:gd name="connsiteY17" fmla="*/ 1193801 h 1212806"/>
              <a:gd name="connsiteX18" fmla="*/ 1860640 w 3876676"/>
              <a:gd name="connsiteY18" fmla="*/ 1193801 h 1212806"/>
              <a:gd name="connsiteX19" fmla="*/ 1656109 w 3876676"/>
              <a:gd name="connsiteY19" fmla="*/ 972015 h 1212806"/>
              <a:gd name="connsiteX20" fmla="*/ 1656109 w 3876676"/>
              <a:gd name="connsiteY20" fmla="*/ 872371 h 1212806"/>
              <a:gd name="connsiteX21" fmla="*/ 1854249 w 3876676"/>
              <a:gd name="connsiteY21" fmla="*/ 756657 h 1212806"/>
              <a:gd name="connsiteX22" fmla="*/ 1710438 w 3876676"/>
              <a:gd name="connsiteY22" fmla="*/ 676299 h 1212806"/>
              <a:gd name="connsiteX23" fmla="*/ 1582606 w 3876676"/>
              <a:gd name="connsiteY23" fmla="*/ 682728 h 1212806"/>
              <a:gd name="connsiteX24" fmla="*/ 1550648 w 3876676"/>
              <a:gd name="connsiteY24" fmla="*/ 1193801 h 1212806"/>
              <a:gd name="connsiteX25" fmla="*/ 1358900 w 3876676"/>
              <a:gd name="connsiteY25" fmla="*/ 1193801 h 1212806"/>
              <a:gd name="connsiteX26" fmla="*/ 1358900 w 3876676"/>
              <a:gd name="connsiteY26" fmla="*/ 557370 h 1212806"/>
              <a:gd name="connsiteX27" fmla="*/ 1748787 w 3876676"/>
              <a:gd name="connsiteY27" fmla="*/ 547727 h 1212806"/>
              <a:gd name="connsiteX28" fmla="*/ 3505842 w 3876676"/>
              <a:gd name="connsiteY28" fmla="*/ 533444 h 1212806"/>
              <a:gd name="connsiteX29" fmla="*/ 3831920 w 3876676"/>
              <a:gd name="connsiteY29" fmla="*/ 549540 h 1212806"/>
              <a:gd name="connsiteX30" fmla="*/ 3831920 w 3876676"/>
              <a:gd name="connsiteY30" fmla="*/ 697618 h 1212806"/>
              <a:gd name="connsiteX31" fmla="*/ 3579369 w 3876676"/>
              <a:gd name="connsiteY31" fmla="*/ 675085 h 1212806"/>
              <a:gd name="connsiteX32" fmla="*/ 3419527 w 3876676"/>
              <a:gd name="connsiteY32" fmla="*/ 729809 h 1212806"/>
              <a:gd name="connsiteX33" fmla="*/ 3521826 w 3876676"/>
              <a:gd name="connsiteY33" fmla="*/ 778096 h 1212806"/>
              <a:gd name="connsiteX34" fmla="*/ 3876676 w 3876676"/>
              <a:gd name="connsiteY34" fmla="*/ 996994 h 1212806"/>
              <a:gd name="connsiteX35" fmla="*/ 3505842 w 3876676"/>
              <a:gd name="connsiteY35" fmla="*/ 1212674 h 1212806"/>
              <a:gd name="connsiteX36" fmla="*/ 3208535 w 3876676"/>
              <a:gd name="connsiteY36" fmla="*/ 1193359 h 1212806"/>
              <a:gd name="connsiteX37" fmla="*/ 3208535 w 3876676"/>
              <a:gd name="connsiteY37" fmla="*/ 1032404 h 1212806"/>
              <a:gd name="connsiteX38" fmla="*/ 3451495 w 3876676"/>
              <a:gd name="connsiteY38" fmla="*/ 1064595 h 1212806"/>
              <a:gd name="connsiteX39" fmla="*/ 3649700 w 3876676"/>
              <a:gd name="connsiteY39" fmla="*/ 1006652 h 1212806"/>
              <a:gd name="connsiteX40" fmla="*/ 3560188 w 3876676"/>
              <a:gd name="connsiteY40" fmla="*/ 964803 h 1212806"/>
              <a:gd name="connsiteX41" fmla="*/ 3179763 w 3876676"/>
              <a:gd name="connsiteY41" fmla="*/ 749124 h 1212806"/>
              <a:gd name="connsiteX42" fmla="*/ 3505842 w 3876676"/>
              <a:gd name="connsiteY42" fmla="*/ 533444 h 1212806"/>
              <a:gd name="connsiteX43" fmla="*/ 2179638 w 3876676"/>
              <a:gd name="connsiteY43" fmla="*/ 476250 h 1212806"/>
              <a:gd name="connsiteX44" fmla="*/ 2182834 w 3876676"/>
              <a:gd name="connsiteY44" fmla="*/ 476250 h 1212806"/>
              <a:gd name="connsiteX45" fmla="*/ 2368233 w 3876676"/>
              <a:gd name="connsiteY45" fmla="*/ 810892 h 1212806"/>
              <a:gd name="connsiteX46" fmla="*/ 2499290 w 3876676"/>
              <a:gd name="connsiteY46" fmla="*/ 556693 h 1212806"/>
              <a:gd name="connsiteX47" fmla="*/ 2812550 w 3876676"/>
              <a:gd name="connsiteY47" fmla="*/ 556693 h 1212806"/>
              <a:gd name="connsiteX48" fmla="*/ 2962787 w 3876676"/>
              <a:gd name="connsiteY48" fmla="*/ 855940 h 1212806"/>
              <a:gd name="connsiteX49" fmla="*/ 3122613 w 3876676"/>
              <a:gd name="connsiteY49" fmla="*/ 1193800 h 1212806"/>
              <a:gd name="connsiteX50" fmla="*/ 2918035 w 3876676"/>
              <a:gd name="connsiteY50" fmla="*/ 1193800 h 1212806"/>
              <a:gd name="connsiteX51" fmla="*/ 2652724 w 3876676"/>
              <a:gd name="connsiteY51" fmla="*/ 720796 h 1212806"/>
              <a:gd name="connsiteX52" fmla="*/ 2550435 w 3876676"/>
              <a:gd name="connsiteY52" fmla="*/ 907424 h 1212806"/>
              <a:gd name="connsiteX53" fmla="*/ 2662313 w 3876676"/>
              <a:gd name="connsiteY53" fmla="*/ 926730 h 1212806"/>
              <a:gd name="connsiteX54" fmla="*/ 2662313 w 3876676"/>
              <a:gd name="connsiteY54" fmla="*/ 1103704 h 1212806"/>
              <a:gd name="connsiteX55" fmla="*/ 2460932 w 3876676"/>
              <a:gd name="connsiteY55" fmla="*/ 1068309 h 1212806"/>
              <a:gd name="connsiteX56" fmla="*/ 2393805 w 3876676"/>
              <a:gd name="connsiteY56" fmla="*/ 1193800 h 1212806"/>
              <a:gd name="connsiteX57" fmla="*/ 2189227 w 3876676"/>
              <a:gd name="connsiteY57" fmla="*/ 1193800 h 1212806"/>
              <a:gd name="connsiteX58" fmla="*/ 2294713 w 3876676"/>
              <a:gd name="connsiteY58" fmla="*/ 965343 h 1212806"/>
              <a:gd name="connsiteX59" fmla="*/ 2179638 w 3876676"/>
              <a:gd name="connsiteY59" fmla="*/ 749756 h 1212806"/>
              <a:gd name="connsiteX60" fmla="*/ 2179638 w 3876676"/>
              <a:gd name="connsiteY60" fmla="*/ 476250 h 1212806"/>
              <a:gd name="connsiteX61" fmla="*/ 2665413 w 3876676"/>
              <a:gd name="connsiteY61" fmla="*/ 0 h 1212806"/>
              <a:gd name="connsiteX62" fmla="*/ 2665413 w 3876676"/>
              <a:gd name="connsiteY62" fmla="*/ 199390 h 1212806"/>
              <a:gd name="connsiteX63" fmla="*/ 2313126 w 3876676"/>
              <a:gd name="connsiteY63" fmla="*/ 498475 h 1212806"/>
              <a:gd name="connsiteX64" fmla="*/ 2300315 w 3876676"/>
              <a:gd name="connsiteY64" fmla="*/ 395564 h 1212806"/>
              <a:gd name="connsiteX65" fmla="*/ 2665413 w 3876676"/>
              <a:gd name="connsiteY65" fmla="*/ 0 h 12128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</a:cxnLst>
            <a:rect l="l" t="t" r="r" b="b"/>
            <a:pathLst>
              <a:path w="3876676" h="1212806">
                <a:moveTo>
                  <a:pt x="968375" y="557213"/>
                </a:moveTo>
                <a:lnTo>
                  <a:pt x="1176338" y="557213"/>
                </a:lnTo>
                <a:lnTo>
                  <a:pt x="1176338" y="1193801"/>
                </a:lnTo>
                <a:lnTo>
                  <a:pt x="968375" y="1193801"/>
                </a:lnTo>
                <a:close/>
                <a:moveTo>
                  <a:pt x="0" y="557213"/>
                </a:moveTo>
                <a:lnTo>
                  <a:pt x="239712" y="557213"/>
                </a:lnTo>
                <a:lnTo>
                  <a:pt x="561975" y="893763"/>
                </a:lnTo>
                <a:lnTo>
                  <a:pt x="581025" y="560388"/>
                </a:lnTo>
                <a:lnTo>
                  <a:pt x="782638" y="560388"/>
                </a:lnTo>
                <a:lnTo>
                  <a:pt x="782638" y="1193801"/>
                </a:lnTo>
                <a:lnTo>
                  <a:pt x="590550" y="1193801"/>
                </a:lnTo>
                <a:lnTo>
                  <a:pt x="214312" y="811213"/>
                </a:lnTo>
                <a:lnTo>
                  <a:pt x="192087" y="1193801"/>
                </a:lnTo>
                <a:lnTo>
                  <a:pt x="0" y="1193801"/>
                </a:lnTo>
                <a:close/>
                <a:moveTo>
                  <a:pt x="1748787" y="547727"/>
                </a:moveTo>
                <a:cubicBezTo>
                  <a:pt x="1892598" y="547727"/>
                  <a:pt x="2068367" y="583085"/>
                  <a:pt x="2081150" y="743800"/>
                </a:cubicBezTo>
                <a:cubicBezTo>
                  <a:pt x="2090738" y="917372"/>
                  <a:pt x="1918165" y="962372"/>
                  <a:pt x="1918165" y="962372"/>
                </a:cubicBezTo>
                <a:cubicBezTo>
                  <a:pt x="1918165" y="962372"/>
                  <a:pt x="1918165" y="962372"/>
                  <a:pt x="2081150" y="1193801"/>
                </a:cubicBezTo>
                <a:cubicBezTo>
                  <a:pt x="2081150" y="1193801"/>
                  <a:pt x="2081150" y="1193801"/>
                  <a:pt x="1860640" y="1193801"/>
                </a:cubicBezTo>
                <a:cubicBezTo>
                  <a:pt x="1860640" y="1193801"/>
                  <a:pt x="1860640" y="1193801"/>
                  <a:pt x="1656109" y="972015"/>
                </a:cubicBezTo>
                <a:cubicBezTo>
                  <a:pt x="1656109" y="972015"/>
                  <a:pt x="1656109" y="972015"/>
                  <a:pt x="1656109" y="872371"/>
                </a:cubicBezTo>
                <a:cubicBezTo>
                  <a:pt x="1838270" y="872371"/>
                  <a:pt x="1857444" y="811300"/>
                  <a:pt x="1854249" y="756657"/>
                </a:cubicBezTo>
                <a:cubicBezTo>
                  <a:pt x="1851053" y="705228"/>
                  <a:pt x="1790333" y="676299"/>
                  <a:pt x="1710438" y="676299"/>
                </a:cubicBezTo>
                <a:cubicBezTo>
                  <a:pt x="1659305" y="676299"/>
                  <a:pt x="1582606" y="682728"/>
                  <a:pt x="1582606" y="682728"/>
                </a:cubicBezTo>
                <a:cubicBezTo>
                  <a:pt x="1582606" y="682728"/>
                  <a:pt x="1582606" y="682728"/>
                  <a:pt x="1550648" y="1193801"/>
                </a:cubicBezTo>
                <a:cubicBezTo>
                  <a:pt x="1550648" y="1193801"/>
                  <a:pt x="1550648" y="1193801"/>
                  <a:pt x="1358900" y="1193801"/>
                </a:cubicBezTo>
                <a:cubicBezTo>
                  <a:pt x="1358900" y="1193801"/>
                  <a:pt x="1358900" y="1193801"/>
                  <a:pt x="1358900" y="557370"/>
                </a:cubicBezTo>
                <a:cubicBezTo>
                  <a:pt x="1358900" y="557370"/>
                  <a:pt x="1633738" y="544513"/>
                  <a:pt x="1748787" y="547727"/>
                </a:cubicBezTo>
                <a:close/>
                <a:moveTo>
                  <a:pt x="3505842" y="533444"/>
                </a:moveTo>
                <a:cubicBezTo>
                  <a:pt x="3668881" y="530225"/>
                  <a:pt x="3831920" y="549540"/>
                  <a:pt x="3831920" y="549540"/>
                </a:cubicBezTo>
                <a:cubicBezTo>
                  <a:pt x="3831920" y="549540"/>
                  <a:pt x="3831920" y="549540"/>
                  <a:pt x="3831920" y="697618"/>
                </a:cubicBezTo>
                <a:cubicBezTo>
                  <a:pt x="3831920" y="697618"/>
                  <a:pt x="3688062" y="675085"/>
                  <a:pt x="3579369" y="675085"/>
                </a:cubicBezTo>
                <a:cubicBezTo>
                  <a:pt x="3470676" y="675085"/>
                  <a:pt x="3416330" y="687961"/>
                  <a:pt x="3419527" y="729809"/>
                </a:cubicBezTo>
                <a:cubicBezTo>
                  <a:pt x="3419527" y="758781"/>
                  <a:pt x="3454692" y="774877"/>
                  <a:pt x="3521826" y="778096"/>
                </a:cubicBezTo>
                <a:cubicBezTo>
                  <a:pt x="3617731" y="784534"/>
                  <a:pt x="3876676" y="762000"/>
                  <a:pt x="3876676" y="996994"/>
                </a:cubicBezTo>
                <a:cubicBezTo>
                  <a:pt x="3876676" y="1225550"/>
                  <a:pt x="3566582" y="1212674"/>
                  <a:pt x="3505842" y="1212674"/>
                </a:cubicBezTo>
                <a:cubicBezTo>
                  <a:pt x="3377968" y="1212674"/>
                  <a:pt x="3208535" y="1193359"/>
                  <a:pt x="3208535" y="1193359"/>
                </a:cubicBezTo>
                <a:cubicBezTo>
                  <a:pt x="3208535" y="1193359"/>
                  <a:pt x="3208535" y="1193359"/>
                  <a:pt x="3208535" y="1032404"/>
                </a:cubicBezTo>
                <a:cubicBezTo>
                  <a:pt x="3208535" y="1032404"/>
                  <a:pt x="3326818" y="1064595"/>
                  <a:pt x="3451495" y="1064595"/>
                </a:cubicBezTo>
                <a:cubicBezTo>
                  <a:pt x="3576172" y="1064595"/>
                  <a:pt x="3656094" y="1054938"/>
                  <a:pt x="3649700" y="1006652"/>
                </a:cubicBezTo>
                <a:cubicBezTo>
                  <a:pt x="3646503" y="974461"/>
                  <a:pt x="3604944" y="964803"/>
                  <a:pt x="3560188" y="964803"/>
                </a:cubicBezTo>
                <a:cubicBezTo>
                  <a:pt x="3448299" y="964803"/>
                  <a:pt x="3182960" y="958365"/>
                  <a:pt x="3179763" y="749124"/>
                </a:cubicBezTo>
                <a:cubicBezTo>
                  <a:pt x="3179763" y="533444"/>
                  <a:pt x="3448299" y="536663"/>
                  <a:pt x="3505842" y="533444"/>
                </a:cubicBezTo>
                <a:close/>
                <a:moveTo>
                  <a:pt x="2179638" y="476250"/>
                </a:moveTo>
                <a:cubicBezTo>
                  <a:pt x="2179638" y="476250"/>
                  <a:pt x="2179638" y="476250"/>
                  <a:pt x="2182834" y="476250"/>
                </a:cubicBezTo>
                <a:cubicBezTo>
                  <a:pt x="2192424" y="547040"/>
                  <a:pt x="2230782" y="695055"/>
                  <a:pt x="2368233" y="810892"/>
                </a:cubicBezTo>
                <a:cubicBezTo>
                  <a:pt x="2467325" y="604959"/>
                  <a:pt x="2499290" y="556693"/>
                  <a:pt x="2499290" y="556693"/>
                </a:cubicBezTo>
                <a:cubicBezTo>
                  <a:pt x="2499290" y="556693"/>
                  <a:pt x="2499290" y="556693"/>
                  <a:pt x="2812550" y="556693"/>
                </a:cubicBezTo>
                <a:cubicBezTo>
                  <a:pt x="2812550" y="556693"/>
                  <a:pt x="2841319" y="604959"/>
                  <a:pt x="2962787" y="855940"/>
                </a:cubicBezTo>
                <a:cubicBezTo>
                  <a:pt x="3097041" y="1132664"/>
                  <a:pt x="3122613" y="1193800"/>
                  <a:pt x="3122613" y="1193800"/>
                </a:cubicBezTo>
                <a:cubicBezTo>
                  <a:pt x="3122613" y="1193800"/>
                  <a:pt x="3122613" y="1193800"/>
                  <a:pt x="2918035" y="1193800"/>
                </a:cubicBezTo>
                <a:cubicBezTo>
                  <a:pt x="2918035" y="1193800"/>
                  <a:pt x="2918035" y="1193800"/>
                  <a:pt x="2652724" y="720796"/>
                </a:cubicBezTo>
                <a:cubicBezTo>
                  <a:pt x="2652724" y="720796"/>
                  <a:pt x="2652724" y="720796"/>
                  <a:pt x="2550435" y="907424"/>
                </a:cubicBezTo>
                <a:cubicBezTo>
                  <a:pt x="2617562" y="929948"/>
                  <a:pt x="2662313" y="926730"/>
                  <a:pt x="2662313" y="926730"/>
                </a:cubicBezTo>
                <a:cubicBezTo>
                  <a:pt x="2662313" y="926730"/>
                  <a:pt x="2662313" y="926730"/>
                  <a:pt x="2662313" y="1103704"/>
                </a:cubicBezTo>
                <a:cubicBezTo>
                  <a:pt x="2662313" y="1103704"/>
                  <a:pt x="2563221" y="1106922"/>
                  <a:pt x="2460932" y="1068309"/>
                </a:cubicBezTo>
                <a:cubicBezTo>
                  <a:pt x="2460932" y="1068309"/>
                  <a:pt x="2460932" y="1068309"/>
                  <a:pt x="2393805" y="1193800"/>
                </a:cubicBezTo>
                <a:cubicBezTo>
                  <a:pt x="2393805" y="1193800"/>
                  <a:pt x="2393805" y="1193800"/>
                  <a:pt x="2189227" y="1193800"/>
                </a:cubicBezTo>
                <a:cubicBezTo>
                  <a:pt x="2189227" y="1193800"/>
                  <a:pt x="2205210" y="1155188"/>
                  <a:pt x="2294713" y="965343"/>
                </a:cubicBezTo>
                <a:cubicBezTo>
                  <a:pt x="2202013" y="865593"/>
                  <a:pt x="2179638" y="749756"/>
                  <a:pt x="2179638" y="749756"/>
                </a:cubicBezTo>
                <a:cubicBezTo>
                  <a:pt x="2179638" y="749756"/>
                  <a:pt x="2179638" y="749756"/>
                  <a:pt x="2179638" y="476250"/>
                </a:cubicBezTo>
                <a:close/>
                <a:moveTo>
                  <a:pt x="2665413" y="0"/>
                </a:moveTo>
                <a:cubicBezTo>
                  <a:pt x="2665413" y="0"/>
                  <a:pt x="2665413" y="0"/>
                  <a:pt x="2665413" y="199390"/>
                </a:cubicBezTo>
                <a:cubicBezTo>
                  <a:pt x="2476459" y="205822"/>
                  <a:pt x="2341949" y="356972"/>
                  <a:pt x="2313126" y="498475"/>
                </a:cubicBezTo>
                <a:cubicBezTo>
                  <a:pt x="2303518" y="466315"/>
                  <a:pt x="2300315" y="430940"/>
                  <a:pt x="2300315" y="395564"/>
                </a:cubicBezTo>
                <a:cubicBezTo>
                  <a:pt x="2297113" y="260493"/>
                  <a:pt x="2399596" y="32160"/>
                  <a:pt x="2665413" y="0"/>
                </a:cubicBezTo>
                <a:close/>
              </a:path>
            </a:pathLst>
          </a:custGeom>
          <a:solidFill>
            <a:srgbClr val="FFFFFF"/>
          </a:solidFill>
        </p:spPr>
        <p:txBody>
          <a:bodyPr lIns="0" tIns="0" rIns="0" bIns="0">
            <a:norm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21" name="White line">
            <a:extLst>
              <a:ext uri="{FF2B5EF4-FFF2-40B4-BE49-F238E27FC236}">
                <a16:creationId xmlns:a16="http://schemas.microsoft.com/office/drawing/2014/main" id="{B16DEDED-6C8F-4CF2-AFA4-2AA6843B215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 rot="5400000">
            <a:off x="1215000" y="4933757"/>
            <a:ext cx="90000" cy="252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22" name="White line">
            <a:extLst>
              <a:ext uri="{FF2B5EF4-FFF2-40B4-BE49-F238E27FC236}">
                <a16:creationId xmlns:a16="http://schemas.microsoft.com/office/drawing/2014/main" id="{5D1CA2FF-258B-4403-BC7E-7A21CDA0057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 rot="5400000">
            <a:off x="10922999" y="-728609"/>
            <a:ext cx="18000" cy="252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5D6E7766-B064-47AD-88DF-F66F05D38D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A74B0496-0B0B-4655-8059-FD85131AC819}"/>
              </a:ext>
            </a:extLst>
          </p:cNvPr>
          <p:cNvSpPr txBox="1">
            <a:spLocks/>
          </p:cNvSpPr>
          <p:nvPr/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z="800" smtClean="0">
                <a:solidFill>
                  <a:schemeClr val="bg1"/>
                </a:solidFill>
              </a:rPr>
              <a:pPr/>
              <a:t>‹#›</a:t>
            </a:fld>
            <a:endParaRPr lang="en-GB" sz="800" dirty="0">
              <a:solidFill>
                <a:schemeClr val="bg1"/>
              </a:solidFill>
            </a:endParaRP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556E9B3-DE35-488A-9407-D921E5A7786B}"/>
              </a:ext>
            </a:extLst>
          </p:cNvPr>
          <p:cNvSpPr txBox="1">
            <a:spLocks/>
          </p:cNvSpPr>
          <p:nvPr userDrawn="1"/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z="800" smtClean="0">
                <a:solidFill>
                  <a:schemeClr val="bg1"/>
                </a:solidFill>
              </a:rPr>
              <a:pPr/>
              <a:t>‹#›</a:t>
            </a:fld>
            <a:endParaRPr lang="en-GB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72833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ull image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accent1"/>
          </a:solidFill>
        </p:spPr>
        <p:txBody>
          <a:bodyPr lIns="0" tIns="900000"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aseline="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and insert image</a:t>
            </a:r>
            <a:endParaRPr lang="en-US" dirty="0"/>
          </a:p>
        </p:txBody>
      </p:sp>
      <p:sp>
        <p:nvSpPr>
          <p:cNvPr id="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US" dirty="0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/>
              <a:t>Dokument id her</a:t>
            </a:r>
            <a:endParaRPr lang="en-GB" dirty="0"/>
          </a:p>
        </p:txBody>
      </p:sp>
      <p:sp>
        <p:nvSpPr>
          <p:cNvPr id="18" name="White line">
            <a:extLst>
              <a:ext uri="{FF2B5EF4-FFF2-40B4-BE49-F238E27FC236}">
                <a16:creationId xmlns:a16="http://schemas.microsoft.com/office/drawing/2014/main" id="{C3E84107-2491-4BA2-852A-1F51940A860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 rot="5400000">
            <a:off x="1215000" y="4933757"/>
            <a:ext cx="90000" cy="2520000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marL="0" indent="0">
              <a:buNone/>
              <a:defRPr sz="1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19" name="White line">
            <a:extLst>
              <a:ext uri="{FF2B5EF4-FFF2-40B4-BE49-F238E27FC236}">
                <a16:creationId xmlns:a16="http://schemas.microsoft.com/office/drawing/2014/main" id="{70686F02-A6B5-448B-9940-D8F3E52B88E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 rot="5400000">
            <a:off x="10922999" y="-728609"/>
            <a:ext cx="18000" cy="2520000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marL="0" indent="0">
              <a:buNone/>
              <a:defRPr sz="1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20" name="Logo on top">
            <a:extLst>
              <a:ext uri="{FF2B5EF4-FFF2-40B4-BE49-F238E27FC236}">
                <a16:creationId xmlns:a16="http://schemas.microsoft.com/office/drawing/2014/main" id="{3FD39135-7880-41E4-B06B-A8C7F1FC8675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10728000" y="6339600"/>
            <a:ext cx="1080000" cy="340069"/>
          </a:xfrm>
          <a:custGeom>
            <a:avLst/>
            <a:gdLst>
              <a:gd name="connsiteX0" fmla="*/ 968375 w 3876676"/>
              <a:gd name="connsiteY0" fmla="*/ 557213 h 1212806"/>
              <a:gd name="connsiteX1" fmla="*/ 1176338 w 3876676"/>
              <a:gd name="connsiteY1" fmla="*/ 557213 h 1212806"/>
              <a:gd name="connsiteX2" fmla="*/ 1176338 w 3876676"/>
              <a:gd name="connsiteY2" fmla="*/ 1193801 h 1212806"/>
              <a:gd name="connsiteX3" fmla="*/ 968375 w 3876676"/>
              <a:gd name="connsiteY3" fmla="*/ 1193801 h 1212806"/>
              <a:gd name="connsiteX4" fmla="*/ 0 w 3876676"/>
              <a:gd name="connsiteY4" fmla="*/ 557213 h 1212806"/>
              <a:gd name="connsiteX5" fmla="*/ 239712 w 3876676"/>
              <a:gd name="connsiteY5" fmla="*/ 557213 h 1212806"/>
              <a:gd name="connsiteX6" fmla="*/ 561975 w 3876676"/>
              <a:gd name="connsiteY6" fmla="*/ 893763 h 1212806"/>
              <a:gd name="connsiteX7" fmla="*/ 581025 w 3876676"/>
              <a:gd name="connsiteY7" fmla="*/ 560388 h 1212806"/>
              <a:gd name="connsiteX8" fmla="*/ 782638 w 3876676"/>
              <a:gd name="connsiteY8" fmla="*/ 560388 h 1212806"/>
              <a:gd name="connsiteX9" fmla="*/ 782638 w 3876676"/>
              <a:gd name="connsiteY9" fmla="*/ 1193801 h 1212806"/>
              <a:gd name="connsiteX10" fmla="*/ 590550 w 3876676"/>
              <a:gd name="connsiteY10" fmla="*/ 1193801 h 1212806"/>
              <a:gd name="connsiteX11" fmla="*/ 214312 w 3876676"/>
              <a:gd name="connsiteY11" fmla="*/ 811213 h 1212806"/>
              <a:gd name="connsiteX12" fmla="*/ 192087 w 3876676"/>
              <a:gd name="connsiteY12" fmla="*/ 1193801 h 1212806"/>
              <a:gd name="connsiteX13" fmla="*/ 0 w 3876676"/>
              <a:gd name="connsiteY13" fmla="*/ 1193801 h 1212806"/>
              <a:gd name="connsiteX14" fmla="*/ 1748787 w 3876676"/>
              <a:gd name="connsiteY14" fmla="*/ 547727 h 1212806"/>
              <a:gd name="connsiteX15" fmla="*/ 2081150 w 3876676"/>
              <a:gd name="connsiteY15" fmla="*/ 743800 h 1212806"/>
              <a:gd name="connsiteX16" fmla="*/ 1918165 w 3876676"/>
              <a:gd name="connsiteY16" fmla="*/ 962372 h 1212806"/>
              <a:gd name="connsiteX17" fmla="*/ 2081150 w 3876676"/>
              <a:gd name="connsiteY17" fmla="*/ 1193801 h 1212806"/>
              <a:gd name="connsiteX18" fmla="*/ 1860640 w 3876676"/>
              <a:gd name="connsiteY18" fmla="*/ 1193801 h 1212806"/>
              <a:gd name="connsiteX19" fmla="*/ 1656109 w 3876676"/>
              <a:gd name="connsiteY19" fmla="*/ 972015 h 1212806"/>
              <a:gd name="connsiteX20" fmla="*/ 1656109 w 3876676"/>
              <a:gd name="connsiteY20" fmla="*/ 872371 h 1212806"/>
              <a:gd name="connsiteX21" fmla="*/ 1854249 w 3876676"/>
              <a:gd name="connsiteY21" fmla="*/ 756657 h 1212806"/>
              <a:gd name="connsiteX22" fmla="*/ 1710438 w 3876676"/>
              <a:gd name="connsiteY22" fmla="*/ 676299 h 1212806"/>
              <a:gd name="connsiteX23" fmla="*/ 1582606 w 3876676"/>
              <a:gd name="connsiteY23" fmla="*/ 682728 h 1212806"/>
              <a:gd name="connsiteX24" fmla="*/ 1550648 w 3876676"/>
              <a:gd name="connsiteY24" fmla="*/ 1193801 h 1212806"/>
              <a:gd name="connsiteX25" fmla="*/ 1358900 w 3876676"/>
              <a:gd name="connsiteY25" fmla="*/ 1193801 h 1212806"/>
              <a:gd name="connsiteX26" fmla="*/ 1358900 w 3876676"/>
              <a:gd name="connsiteY26" fmla="*/ 557370 h 1212806"/>
              <a:gd name="connsiteX27" fmla="*/ 1748787 w 3876676"/>
              <a:gd name="connsiteY27" fmla="*/ 547727 h 1212806"/>
              <a:gd name="connsiteX28" fmla="*/ 3505842 w 3876676"/>
              <a:gd name="connsiteY28" fmla="*/ 533444 h 1212806"/>
              <a:gd name="connsiteX29" fmla="*/ 3831920 w 3876676"/>
              <a:gd name="connsiteY29" fmla="*/ 549540 h 1212806"/>
              <a:gd name="connsiteX30" fmla="*/ 3831920 w 3876676"/>
              <a:gd name="connsiteY30" fmla="*/ 697618 h 1212806"/>
              <a:gd name="connsiteX31" fmla="*/ 3579369 w 3876676"/>
              <a:gd name="connsiteY31" fmla="*/ 675085 h 1212806"/>
              <a:gd name="connsiteX32" fmla="*/ 3419527 w 3876676"/>
              <a:gd name="connsiteY32" fmla="*/ 729809 h 1212806"/>
              <a:gd name="connsiteX33" fmla="*/ 3521826 w 3876676"/>
              <a:gd name="connsiteY33" fmla="*/ 778096 h 1212806"/>
              <a:gd name="connsiteX34" fmla="*/ 3876676 w 3876676"/>
              <a:gd name="connsiteY34" fmla="*/ 996994 h 1212806"/>
              <a:gd name="connsiteX35" fmla="*/ 3505842 w 3876676"/>
              <a:gd name="connsiteY35" fmla="*/ 1212674 h 1212806"/>
              <a:gd name="connsiteX36" fmla="*/ 3208535 w 3876676"/>
              <a:gd name="connsiteY36" fmla="*/ 1193359 h 1212806"/>
              <a:gd name="connsiteX37" fmla="*/ 3208535 w 3876676"/>
              <a:gd name="connsiteY37" fmla="*/ 1032404 h 1212806"/>
              <a:gd name="connsiteX38" fmla="*/ 3451495 w 3876676"/>
              <a:gd name="connsiteY38" fmla="*/ 1064595 h 1212806"/>
              <a:gd name="connsiteX39" fmla="*/ 3649700 w 3876676"/>
              <a:gd name="connsiteY39" fmla="*/ 1006652 h 1212806"/>
              <a:gd name="connsiteX40" fmla="*/ 3560188 w 3876676"/>
              <a:gd name="connsiteY40" fmla="*/ 964803 h 1212806"/>
              <a:gd name="connsiteX41" fmla="*/ 3179763 w 3876676"/>
              <a:gd name="connsiteY41" fmla="*/ 749124 h 1212806"/>
              <a:gd name="connsiteX42" fmla="*/ 3505842 w 3876676"/>
              <a:gd name="connsiteY42" fmla="*/ 533444 h 1212806"/>
              <a:gd name="connsiteX43" fmla="*/ 2179638 w 3876676"/>
              <a:gd name="connsiteY43" fmla="*/ 476250 h 1212806"/>
              <a:gd name="connsiteX44" fmla="*/ 2182834 w 3876676"/>
              <a:gd name="connsiteY44" fmla="*/ 476250 h 1212806"/>
              <a:gd name="connsiteX45" fmla="*/ 2368233 w 3876676"/>
              <a:gd name="connsiteY45" fmla="*/ 810892 h 1212806"/>
              <a:gd name="connsiteX46" fmla="*/ 2499290 w 3876676"/>
              <a:gd name="connsiteY46" fmla="*/ 556693 h 1212806"/>
              <a:gd name="connsiteX47" fmla="*/ 2812550 w 3876676"/>
              <a:gd name="connsiteY47" fmla="*/ 556693 h 1212806"/>
              <a:gd name="connsiteX48" fmla="*/ 2962787 w 3876676"/>
              <a:gd name="connsiteY48" fmla="*/ 855940 h 1212806"/>
              <a:gd name="connsiteX49" fmla="*/ 3122613 w 3876676"/>
              <a:gd name="connsiteY49" fmla="*/ 1193800 h 1212806"/>
              <a:gd name="connsiteX50" fmla="*/ 2918035 w 3876676"/>
              <a:gd name="connsiteY50" fmla="*/ 1193800 h 1212806"/>
              <a:gd name="connsiteX51" fmla="*/ 2652724 w 3876676"/>
              <a:gd name="connsiteY51" fmla="*/ 720796 h 1212806"/>
              <a:gd name="connsiteX52" fmla="*/ 2550435 w 3876676"/>
              <a:gd name="connsiteY52" fmla="*/ 907424 h 1212806"/>
              <a:gd name="connsiteX53" fmla="*/ 2662313 w 3876676"/>
              <a:gd name="connsiteY53" fmla="*/ 926730 h 1212806"/>
              <a:gd name="connsiteX54" fmla="*/ 2662313 w 3876676"/>
              <a:gd name="connsiteY54" fmla="*/ 1103704 h 1212806"/>
              <a:gd name="connsiteX55" fmla="*/ 2460932 w 3876676"/>
              <a:gd name="connsiteY55" fmla="*/ 1068309 h 1212806"/>
              <a:gd name="connsiteX56" fmla="*/ 2393805 w 3876676"/>
              <a:gd name="connsiteY56" fmla="*/ 1193800 h 1212806"/>
              <a:gd name="connsiteX57" fmla="*/ 2189227 w 3876676"/>
              <a:gd name="connsiteY57" fmla="*/ 1193800 h 1212806"/>
              <a:gd name="connsiteX58" fmla="*/ 2294713 w 3876676"/>
              <a:gd name="connsiteY58" fmla="*/ 965343 h 1212806"/>
              <a:gd name="connsiteX59" fmla="*/ 2179638 w 3876676"/>
              <a:gd name="connsiteY59" fmla="*/ 749756 h 1212806"/>
              <a:gd name="connsiteX60" fmla="*/ 2179638 w 3876676"/>
              <a:gd name="connsiteY60" fmla="*/ 476250 h 1212806"/>
              <a:gd name="connsiteX61" fmla="*/ 2665413 w 3876676"/>
              <a:gd name="connsiteY61" fmla="*/ 0 h 1212806"/>
              <a:gd name="connsiteX62" fmla="*/ 2665413 w 3876676"/>
              <a:gd name="connsiteY62" fmla="*/ 199390 h 1212806"/>
              <a:gd name="connsiteX63" fmla="*/ 2313126 w 3876676"/>
              <a:gd name="connsiteY63" fmla="*/ 498475 h 1212806"/>
              <a:gd name="connsiteX64" fmla="*/ 2300315 w 3876676"/>
              <a:gd name="connsiteY64" fmla="*/ 395564 h 1212806"/>
              <a:gd name="connsiteX65" fmla="*/ 2665413 w 3876676"/>
              <a:gd name="connsiteY65" fmla="*/ 0 h 12128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</a:cxnLst>
            <a:rect l="l" t="t" r="r" b="b"/>
            <a:pathLst>
              <a:path w="3876676" h="1212806">
                <a:moveTo>
                  <a:pt x="968375" y="557213"/>
                </a:moveTo>
                <a:lnTo>
                  <a:pt x="1176338" y="557213"/>
                </a:lnTo>
                <a:lnTo>
                  <a:pt x="1176338" y="1193801"/>
                </a:lnTo>
                <a:lnTo>
                  <a:pt x="968375" y="1193801"/>
                </a:lnTo>
                <a:close/>
                <a:moveTo>
                  <a:pt x="0" y="557213"/>
                </a:moveTo>
                <a:lnTo>
                  <a:pt x="239712" y="557213"/>
                </a:lnTo>
                <a:lnTo>
                  <a:pt x="561975" y="893763"/>
                </a:lnTo>
                <a:lnTo>
                  <a:pt x="581025" y="560388"/>
                </a:lnTo>
                <a:lnTo>
                  <a:pt x="782638" y="560388"/>
                </a:lnTo>
                <a:lnTo>
                  <a:pt x="782638" y="1193801"/>
                </a:lnTo>
                <a:lnTo>
                  <a:pt x="590550" y="1193801"/>
                </a:lnTo>
                <a:lnTo>
                  <a:pt x="214312" y="811213"/>
                </a:lnTo>
                <a:lnTo>
                  <a:pt x="192087" y="1193801"/>
                </a:lnTo>
                <a:lnTo>
                  <a:pt x="0" y="1193801"/>
                </a:lnTo>
                <a:close/>
                <a:moveTo>
                  <a:pt x="1748787" y="547727"/>
                </a:moveTo>
                <a:cubicBezTo>
                  <a:pt x="1892598" y="547727"/>
                  <a:pt x="2068367" y="583085"/>
                  <a:pt x="2081150" y="743800"/>
                </a:cubicBezTo>
                <a:cubicBezTo>
                  <a:pt x="2090738" y="917372"/>
                  <a:pt x="1918165" y="962372"/>
                  <a:pt x="1918165" y="962372"/>
                </a:cubicBezTo>
                <a:cubicBezTo>
                  <a:pt x="1918165" y="962372"/>
                  <a:pt x="1918165" y="962372"/>
                  <a:pt x="2081150" y="1193801"/>
                </a:cubicBezTo>
                <a:cubicBezTo>
                  <a:pt x="2081150" y="1193801"/>
                  <a:pt x="2081150" y="1193801"/>
                  <a:pt x="1860640" y="1193801"/>
                </a:cubicBezTo>
                <a:cubicBezTo>
                  <a:pt x="1860640" y="1193801"/>
                  <a:pt x="1860640" y="1193801"/>
                  <a:pt x="1656109" y="972015"/>
                </a:cubicBezTo>
                <a:cubicBezTo>
                  <a:pt x="1656109" y="972015"/>
                  <a:pt x="1656109" y="972015"/>
                  <a:pt x="1656109" y="872371"/>
                </a:cubicBezTo>
                <a:cubicBezTo>
                  <a:pt x="1838270" y="872371"/>
                  <a:pt x="1857444" y="811300"/>
                  <a:pt x="1854249" y="756657"/>
                </a:cubicBezTo>
                <a:cubicBezTo>
                  <a:pt x="1851053" y="705228"/>
                  <a:pt x="1790333" y="676299"/>
                  <a:pt x="1710438" y="676299"/>
                </a:cubicBezTo>
                <a:cubicBezTo>
                  <a:pt x="1659305" y="676299"/>
                  <a:pt x="1582606" y="682728"/>
                  <a:pt x="1582606" y="682728"/>
                </a:cubicBezTo>
                <a:cubicBezTo>
                  <a:pt x="1582606" y="682728"/>
                  <a:pt x="1582606" y="682728"/>
                  <a:pt x="1550648" y="1193801"/>
                </a:cubicBezTo>
                <a:cubicBezTo>
                  <a:pt x="1550648" y="1193801"/>
                  <a:pt x="1550648" y="1193801"/>
                  <a:pt x="1358900" y="1193801"/>
                </a:cubicBezTo>
                <a:cubicBezTo>
                  <a:pt x="1358900" y="1193801"/>
                  <a:pt x="1358900" y="1193801"/>
                  <a:pt x="1358900" y="557370"/>
                </a:cubicBezTo>
                <a:cubicBezTo>
                  <a:pt x="1358900" y="557370"/>
                  <a:pt x="1633738" y="544513"/>
                  <a:pt x="1748787" y="547727"/>
                </a:cubicBezTo>
                <a:close/>
                <a:moveTo>
                  <a:pt x="3505842" y="533444"/>
                </a:moveTo>
                <a:cubicBezTo>
                  <a:pt x="3668881" y="530225"/>
                  <a:pt x="3831920" y="549540"/>
                  <a:pt x="3831920" y="549540"/>
                </a:cubicBezTo>
                <a:cubicBezTo>
                  <a:pt x="3831920" y="549540"/>
                  <a:pt x="3831920" y="549540"/>
                  <a:pt x="3831920" y="697618"/>
                </a:cubicBezTo>
                <a:cubicBezTo>
                  <a:pt x="3831920" y="697618"/>
                  <a:pt x="3688062" y="675085"/>
                  <a:pt x="3579369" y="675085"/>
                </a:cubicBezTo>
                <a:cubicBezTo>
                  <a:pt x="3470676" y="675085"/>
                  <a:pt x="3416330" y="687961"/>
                  <a:pt x="3419527" y="729809"/>
                </a:cubicBezTo>
                <a:cubicBezTo>
                  <a:pt x="3419527" y="758781"/>
                  <a:pt x="3454692" y="774877"/>
                  <a:pt x="3521826" y="778096"/>
                </a:cubicBezTo>
                <a:cubicBezTo>
                  <a:pt x="3617731" y="784534"/>
                  <a:pt x="3876676" y="762000"/>
                  <a:pt x="3876676" y="996994"/>
                </a:cubicBezTo>
                <a:cubicBezTo>
                  <a:pt x="3876676" y="1225550"/>
                  <a:pt x="3566582" y="1212674"/>
                  <a:pt x="3505842" y="1212674"/>
                </a:cubicBezTo>
                <a:cubicBezTo>
                  <a:pt x="3377968" y="1212674"/>
                  <a:pt x="3208535" y="1193359"/>
                  <a:pt x="3208535" y="1193359"/>
                </a:cubicBezTo>
                <a:cubicBezTo>
                  <a:pt x="3208535" y="1193359"/>
                  <a:pt x="3208535" y="1193359"/>
                  <a:pt x="3208535" y="1032404"/>
                </a:cubicBezTo>
                <a:cubicBezTo>
                  <a:pt x="3208535" y="1032404"/>
                  <a:pt x="3326818" y="1064595"/>
                  <a:pt x="3451495" y="1064595"/>
                </a:cubicBezTo>
                <a:cubicBezTo>
                  <a:pt x="3576172" y="1064595"/>
                  <a:pt x="3656094" y="1054938"/>
                  <a:pt x="3649700" y="1006652"/>
                </a:cubicBezTo>
                <a:cubicBezTo>
                  <a:pt x="3646503" y="974461"/>
                  <a:pt x="3604944" y="964803"/>
                  <a:pt x="3560188" y="964803"/>
                </a:cubicBezTo>
                <a:cubicBezTo>
                  <a:pt x="3448299" y="964803"/>
                  <a:pt x="3182960" y="958365"/>
                  <a:pt x="3179763" y="749124"/>
                </a:cubicBezTo>
                <a:cubicBezTo>
                  <a:pt x="3179763" y="533444"/>
                  <a:pt x="3448299" y="536663"/>
                  <a:pt x="3505842" y="533444"/>
                </a:cubicBezTo>
                <a:close/>
                <a:moveTo>
                  <a:pt x="2179638" y="476250"/>
                </a:moveTo>
                <a:cubicBezTo>
                  <a:pt x="2179638" y="476250"/>
                  <a:pt x="2179638" y="476250"/>
                  <a:pt x="2182834" y="476250"/>
                </a:cubicBezTo>
                <a:cubicBezTo>
                  <a:pt x="2192424" y="547040"/>
                  <a:pt x="2230782" y="695055"/>
                  <a:pt x="2368233" y="810892"/>
                </a:cubicBezTo>
                <a:cubicBezTo>
                  <a:pt x="2467325" y="604959"/>
                  <a:pt x="2499290" y="556693"/>
                  <a:pt x="2499290" y="556693"/>
                </a:cubicBezTo>
                <a:cubicBezTo>
                  <a:pt x="2499290" y="556693"/>
                  <a:pt x="2499290" y="556693"/>
                  <a:pt x="2812550" y="556693"/>
                </a:cubicBezTo>
                <a:cubicBezTo>
                  <a:pt x="2812550" y="556693"/>
                  <a:pt x="2841319" y="604959"/>
                  <a:pt x="2962787" y="855940"/>
                </a:cubicBezTo>
                <a:cubicBezTo>
                  <a:pt x="3097041" y="1132664"/>
                  <a:pt x="3122613" y="1193800"/>
                  <a:pt x="3122613" y="1193800"/>
                </a:cubicBezTo>
                <a:cubicBezTo>
                  <a:pt x="3122613" y="1193800"/>
                  <a:pt x="3122613" y="1193800"/>
                  <a:pt x="2918035" y="1193800"/>
                </a:cubicBezTo>
                <a:cubicBezTo>
                  <a:pt x="2918035" y="1193800"/>
                  <a:pt x="2918035" y="1193800"/>
                  <a:pt x="2652724" y="720796"/>
                </a:cubicBezTo>
                <a:cubicBezTo>
                  <a:pt x="2652724" y="720796"/>
                  <a:pt x="2652724" y="720796"/>
                  <a:pt x="2550435" y="907424"/>
                </a:cubicBezTo>
                <a:cubicBezTo>
                  <a:pt x="2617562" y="929948"/>
                  <a:pt x="2662313" y="926730"/>
                  <a:pt x="2662313" y="926730"/>
                </a:cubicBezTo>
                <a:cubicBezTo>
                  <a:pt x="2662313" y="926730"/>
                  <a:pt x="2662313" y="926730"/>
                  <a:pt x="2662313" y="1103704"/>
                </a:cubicBezTo>
                <a:cubicBezTo>
                  <a:pt x="2662313" y="1103704"/>
                  <a:pt x="2563221" y="1106922"/>
                  <a:pt x="2460932" y="1068309"/>
                </a:cubicBezTo>
                <a:cubicBezTo>
                  <a:pt x="2460932" y="1068309"/>
                  <a:pt x="2460932" y="1068309"/>
                  <a:pt x="2393805" y="1193800"/>
                </a:cubicBezTo>
                <a:cubicBezTo>
                  <a:pt x="2393805" y="1193800"/>
                  <a:pt x="2393805" y="1193800"/>
                  <a:pt x="2189227" y="1193800"/>
                </a:cubicBezTo>
                <a:cubicBezTo>
                  <a:pt x="2189227" y="1193800"/>
                  <a:pt x="2205210" y="1155188"/>
                  <a:pt x="2294713" y="965343"/>
                </a:cubicBezTo>
                <a:cubicBezTo>
                  <a:pt x="2202013" y="865593"/>
                  <a:pt x="2179638" y="749756"/>
                  <a:pt x="2179638" y="749756"/>
                </a:cubicBezTo>
                <a:cubicBezTo>
                  <a:pt x="2179638" y="749756"/>
                  <a:pt x="2179638" y="749756"/>
                  <a:pt x="2179638" y="476250"/>
                </a:cubicBezTo>
                <a:close/>
                <a:moveTo>
                  <a:pt x="2665413" y="0"/>
                </a:moveTo>
                <a:cubicBezTo>
                  <a:pt x="2665413" y="0"/>
                  <a:pt x="2665413" y="0"/>
                  <a:pt x="2665413" y="199390"/>
                </a:cubicBezTo>
                <a:cubicBezTo>
                  <a:pt x="2476459" y="205822"/>
                  <a:pt x="2341949" y="356972"/>
                  <a:pt x="2313126" y="498475"/>
                </a:cubicBezTo>
                <a:cubicBezTo>
                  <a:pt x="2303518" y="466315"/>
                  <a:pt x="2300315" y="430940"/>
                  <a:pt x="2300315" y="395564"/>
                </a:cubicBezTo>
                <a:cubicBezTo>
                  <a:pt x="2297113" y="260493"/>
                  <a:pt x="2399596" y="32160"/>
                  <a:pt x="2665413" y="0"/>
                </a:cubicBezTo>
                <a:close/>
              </a:path>
            </a:pathLst>
          </a:custGeom>
          <a:solidFill>
            <a:srgbClr val="595959"/>
          </a:solidFill>
        </p:spPr>
        <p:txBody>
          <a:bodyPr lIns="0" tIns="0" rIns="0" bIns="0">
            <a:norm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55273A3B-39E6-4A70-B196-DD3516FD0C2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7346674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Image coll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aphic 4">
            <a:extLst>
              <a:ext uri="{FF2B5EF4-FFF2-40B4-BE49-F238E27FC236}">
                <a16:creationId xmlns:a16="http://schemas.microsoft.com/office/drawing/2014/main" id="{A2D4C4CC-2C2B-4E4A-BABE-191099A7DF52}"/>
              </a:ext>
            </a:extLst>
          </p:cNvPr>
          <p:cNvGrpSpPr/>
          <p:nvPr/>
        </p:nvGrpSpPr>
        <p:grpSpPr>
          <a:xfrm>
            <a:off x="10752600" y="6339508"/>
            <a:ext cx="1075757" cy="333967"/>
            <a:chOff x="10752600" y="6339508"/>
            <a:chExt cx="1075757" cy="333967"/>
          </a:xfrm>
          <a:solidFill>
            <a:srgbClr val="B70D18"/>
          </a:solidFill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71D26526-0348-41C0-8F96-4FFE4213BD27}"/>
                </a:ext>
              </a:extLst>
            </p:cNvPr>
            <p:cNvSpPr/>
            <p:nvPr/>
          </p:nvSpPr>
          <p:spPr>
            <a:xfrm>
              <a:off x="10752600" y="6494402"/>
              <a:ext cx="217421" cy="174789"/>
            </a:xfrm>
            <a:custGeom>
              <a:avLst/>
              <a:gdLst>
                <a:gd name="connsiteX0" fmla="*/ 0 w 217421"/>
                <a:gd name="connsiteY0" fmla="*/ 0 h 174789"/>
                <a:gd name="connsiteX1" fmla="*/ 0 w 217421"/>
                <a:gd name="connsiteY1" fmla="*/ 174790 h 174789"/>
                <a:gd name="connsiteX2" fmla="*/ 52579 w 217421"/>
                <a:gd name="connsiteY2" fmla="*/ 174790 h 174789"/>
                <a:gd name="connsiteX3" fmla="*/ 59684 w 217421"/>
                <a:gd name="connsiteY3" fmla="*/ 69632 h 174789"/>
                <a:gd name="connsiteX4" fmla="*/ 164842 w 217421"/>
                <a:gd name="connsiteY4" fmla="*/ 174790 h 174789"/>
                <a:gd name="connsiteX5" fmla="*/ 217421 w 217421"/>
                <a:gd name="connsiteY5" fmla="*/ 174790 h 174789"/>
                <a:gd name="connsiteX6" fmla="*/ 217421 w 217421"/>
                <a:gd name="connsiteY6" fmla="*/ 0 h 174789"/>
                <a:gd name="connsiteX7" fmla="*/ 162000 w 217421"/>
                <a:gd name="connsiteY7" fmla="*/ 0 h 174789"/>
                <a:gd name="connsiteX8" fmla="*/ 156316 w 217421"/>
                <a:gd name="connsiteY8" fmla="*/ 92369 h 174789"/>
                <a:gd name="connsiteX9" fmla="*/ 66789 w 217421"/>
                <a:gd name="connsiteY9" fmla="*/ 0 h 1747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7421" h="174789">
                  <a:moveTo>
                    <a:pt x="0" y="0"/>
                  </a:moveTo>
                  <a:lnTo>
                    <a:pt x="0" y="174790"/>
                  </a:lnTo>
                  <a:lnTo>
                    <a:pt x="52579" y="174790"/>
                  </a:lnTo>
                  <a:lnTo>
                    <a:pt x="59684" y="69632"/>
                  </a:lnTo>
                  <a:lnTo>
                    <a:pt x="164842" y="174790"/>
                  </a:lnTo>
                  <a:lnTo>
                    <a:pt x="217421" y="174790"/>
                  </a:lnTo>
                  <a:lnTo>
                    <a:pt x="217421" y="0"/>
                  </a:lnTo>
                  <a:lnTo>
                    <a:pt x="162000" y="0"/>
                  </a:lnTo>
                  <a:lnTo>
                    <a:pt x="156316" y="92369"/>
                  </a:lnTo>
                  <a:lnTo>
                    <a:pt x="66789" y="0"/>
                  </a:lnTo>
                  <a:close/>
                </a:path>
              </a:pathLst>
            </a:custGeom>
            <a:solidFill>
              <a:srgbClr val="B70D18"/>
            </a:solidFill>
            <a:ln w="1416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1806EF12-398C-4FA4-9EBB-F4BA09658974}"/>
                </a:ext>
              </a:extLst>
            </p:cNvPr>
            <p:cNvSpPr/>
            <p:nvPr/>
          </p:nvSpPr>
          <p:spPr>
            <a:xfrm>
              <a:off x="11021178" y="6494402"/>
              <a:ext cx="58263" cy="176210"/>
            </a:xfrm>
            <a:custGeom>
              <a:avLst/>
              <a:gdLst>
                <a:gd name="connsiteX0" fmla="*/ 0 w 58263"/>
                <a:gd name="connsiteY0" fmla="*/ 0 h 176210"/>
                <a:gd name="connsiteX1" fmla="*/ 58263 w 58263"/>
                <a:gd name="connsiteY1" fmla="*/ 0 h 176210"/>
                <a:gd name="connsiteX2" fmla="*/ 58263 w 58263"/>
                <a:gd name="connsiteY2" fmla="*/ 176211 h 176210"/>
                <a:gd name="connsiteX3" fmla="*/ 0 w 58263"/>
                <a:gd name="connsiteY3" fmla="*/ 176211 h 1762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263" h="176210">
                  <a:moveTo>
                    <a:pt x="0" y="0"/>
                  </a:moveTo>
                  <a:lnTo>
                    <a:pt x="58263" y="0"/>
                  </a:lnTo>
                  <a:lnTo>
                    <a:pt x="58263" y="176211"/>
                  </a:lnTo>
                  <a:lnTo>
                    <a:pt x="0" y="176211"/>
                  </a:lnTo>
                  <a:close/>
                </a:path>
              </a:pathLst>
            </a:custGeom>
            <a:solidFill>
              <a:srgbClr val="B70D18"/>
            </a:solidFill>
            <a:ln w="1416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grpSp>
          <p:nvGrpSpPr>
            <p:cNvPr id="9" name="Graphic 4">
              <a:extLst>
                <a:ext uri="{FF2B5EF4-FFF2-40B4-BE49-F238E27FC236}">
                  <a16:creationId xmlns:a16="http://schemas.microsoft.com/office/drawing/2014/main" id="{A2D4C4CC-2C2B-4E4A-BABE-191099A7DF52}"/>
                </a:ext>
              </a:extLst>
            </p:cNvPr>
            <p:cNvGrpSpPr/>
            <p:nvPr/>
          </p:nvGrpSpPr>
          <p:grpSpPr>
            <a:xfrm>
              <a:off x="11130600" y="6339508"/>
              <a:ext cx="697757" cy="333967"/>
              <a:chOff x="11130600" y="6339508"/>
              <a:chExt cx="697757" cy="333967"/>
            </a:xfrm>
            <a:solidFill>
              <a:srgbClr val="B70D18"/>
            </a:solidFill>
          </p:grpSpPr>
          <p:sp>
            <p:nvSpPr>
              <p:cNvPr id="10" name="Freeform: Shape 9">
                <a:extLst>
                  <a:ext uri="{FF2B5EF4-FFF2-40B4-BE49-F238E27FC236}">
                    <a16:creationId xmlns:a16="http://schemas.microsoft.com/office/drawing/2014/main" id="{78693BFF-818B-4A5E-928F-B07A728B5490}"/>
                  </a:ext>
                </a:extLst>
              </p:cNvPr>
              <p:cNvSpPr/>
              <p:nvPr/>
            </p:nvSpPr>
            <p:spPr>
              <a:xfrm>
                <a:off x="11130600" y="6490139"/>
                <a:ext cx="200489" cy="180473"/>
              </a:xfrm>
              <a:custGeom>
                <a:avLst/>
                <a:gdLst>
                  <a:gd name="connsiteX0" fmla="*/ 200368 w 200489"/>
                  <a:gd name="connsiteY0" fmla="*/ 55421 h 180473"/>
                  <a:gd name="connsiteX1" fmla="*/ 108000 w 200489"/>
                  <a:gd name="connsiteY1" fmla="*/ 0 h 180473"/>
                  <a:gd name="connsiteX2" fmla="*/ 0 w 200489"/>
                  <a:gd name="connsiteY2" fmla="*/ 2842 h 180473"/>
                  <a:gd name="connsiteX3" fmla="*/ 0 w 200489"/>
                  <a:gd name="connsiteY3" fmla="*/ 179053 h 180473"/>
                  <a:gd name="connsiteX4" fmla="*/ 52579 w 200489"/>
                  <a:gd name="connsiteY4" fmla="*/ 179053 h 180473"/>
                  <a:gd name="connsiteX5" fmla="*/ 61105 w 200489"/>
                  <a:gd name="connsiteY5" fmla="*/ 38368 h 180473"/>
                  <a:gd name="connsiteX6" fmla="*/ 96632 w 200489"/>
                  <a:gd name="connsiteY6" fmla="*/ 36947 h 180473"/>
                  <a:gd name="connsiteX7" fmla="*/ 136421 w 200489"/>
                  <a:gd name="connsiteY7" fmla="*/ 59684 h 180473"/>
                  <a:gd name="connsiteX8" fmla="*/ 81000 w 200489"/>
                  <a:gd name="connsiteY8" fmla="*/ 90947 h 180473"/>
                  <a:gd name="connsiteX9" fmla="*/ 81000 w 200489"/>
                  <a:gd name="connsiteY9" fmla="*/ 119369 h 180473"/>
                  <a:gd name="connsiteX10" fmla="*/ 137842 w 200489"/>
                  <a:gd name="connsiteY10" fmla="*/ 180474 h 180473"/>
                  <a:gd name="connsiteX11" fmla="*/ 198947 w 200489"/>
                  <a:gd name="connsiteY11" fmla="*/ 180474 h 180473"/>
                  <a:gd name="connsiteX12" fmla="*/ 153474 w 200489"/>
                  <a:gd name="connsiteY12" fmla="*/ 116526 h 180473"/>
                  <a:gd name="connsiteX13" fmla="*/ 200368 w 200489"/>
                  <a:gd name="connsiteY13" fmla="*/ 55421 h 1804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00489" h="180473">
                    <a:moveTo>
                      <a:pt x="200368" y="55421"/>
                    </a:moveTo>
                    <a:cubicBezTo>
                      <a:pt x="197526" y="9947"/>
                      <a:pt x="147789" y="1421"/>
                      <a:pt x="108000" y="0"/>
                    </a:cubicBezTo>
                    <a:cubicBezTo>
                      <a:pt x="75316" y="0"/>
                      <a:pt x="0" y="2842"/>
                      <a:pt x="0" y="2842"/>
                    </a:cubicBezTo>
                    <a:lnTo>
                      <a:pt x="0" y="179053"/>
                    </a:lnTo>
                    <a:lnTo>
                      <a:pt x="52579" y="179053"/>
                    </a:lnTo>
                    <a:lnTo>
                      <a:pt x="61105" y="38368"/>
                    </a:lnTo>
                    <a:cubicBezTo>
                      <a:pt x="61105" y="38368"/>
                      <a:pt x="82421" y="36947"/>
                      <a:pt x="96632" y="36947"/>
                    </a:cubicBezTo>
                    <a:cubicBezTo>
                      <a:pt x="119368" y="36947"/>
                      <a:pt x="135000" y="45474"/>
                      <a:pt x="136421" y="59684"/>
                    </a:cubicBezTo>
                    <a:cubicBezTo>
                      <a:pt x="137842" y="73895"/>
                      <a:pt x="132158" y="90947"/>
                      <a:pt x="81000" y="90947"/>
                    </a:cubicBezTo>
                    <a:lnTo>
                      <a:pt x="81000" y="119369"/>
                    </a:lnTo>
                    <a:lnTo>
                      <a:pt x="137842" y="180474"/>
                    </a:lnTo>
                    <a:lnTo>
                      <a:pt x="198947" y="180474"/>
                    </a:lnTo>
                    <a:lnTo>
                      <a:pt x="153474" y="116526"/>
                    </a:lnTo>
                    <a:cubicBezTo>
                      <a:pt x="154895" y="115105"/>
                      <a:pt x="203211" y="102316"/>
                      <a:pt x="200368" y="55421"/>
                    </a:cubicBezTo>
                  </a:path>
                </a:pathLst>
              </a:custGeom>
              <a:solidFill>
                <a:srgbClr val="B70D18"/>
              </a:solidFill>
              <a:ln w="1416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11" name="Freeform: Shape 10">
                <a:extLst>
                  <a:ext uri="{FF2B5EF4-FFF2-40B4-BE49-F238E27FC236}">
                    <a16:creationId xmlns:a16="http://schemas.microsoft.com/office/drawing/2014/main" id="{1B46F5E6-A5F0-4105-B4BA-6AEC5163ACC5}"/>
                  </a:ext>
                </a:extLst>
              </p:cNvPr>
              <p:cNvSpPr/>
              <p:nvPr/>
            </p:nvSpPr>
            <p:spPr>
              <a:xfrm>
                <a:off x="11357968" y="6471666"/>
                <a:ext cx="261473" cy="197526"/>
              </a:xfrm>
              <a:custGeom>
                <a:avLst/>
                <a:gdLst>
                  <a:gd name="connsiteX0" fmla="*/ 176211 w 261473"/>
                  <a:gd name="connsiteY0" fmla="*/ 22737 h 197526"/>
                  <a:gd name="connsiteX1" fmla="*/ 89526 w 261473"/>
                  <a:gd name="connsiteY1" fmla="*/ 22737 h 197526"/>
                  <a:gd name="connsiteX2" fmla="*/ 52579 w 261473"/>
                  <a:gd name="connsiteY2" fmla="*/ 92369 h 197526"/>
                  <a:gd name="connsiteX3" fmla="*/ 1421 w 261473"/>
                  <a:gd name="connsiteY3" fmla="*/ 0 h 197526"/>
                  <a:gd name="connsiteX4" fmla="*/ 0 w 261473"/>
                  <a:gd name="connsiteY4" fmla="*/ 0 h 197526"/>
                  <a:gd name="connsiteX5" fmla="*/ 0 w 261473"/>
                  <a:gd name="connsiteY5" fmla="*/ 75316 h 197526"/>
                  <a:gd name="connsiteX6" fmla="*/ 32684 w 261473"/>
                  <a:gd name="connsiteY6" fmla="*/ 135000 h 197526"/>
                  <a:gd name="connsiteX7" fmla="*/ 2842 w 261473"/>
                  <a:gd name="connsiteY7" fmla="*/ 197527 h 197526"/>
                  <a:gd name="connsiteX8" fmla="*/ 59684 w 261473"/>
                  <a:gd name="connsiteY8" fmla="*/ 197527 h 197526"/>
                  <a:gd name="connsiteX9" fmla="*/ 78158 w 261473"/>
                  <a:gd name="connsiteY9" fmla="*/ 163421 h 197526"/>
                  <a:gd name="connsiteX10" fmla="*/ 78158 w 261473"/>
                  <a:gd name="connsiteY10" fmla="*/ 163421 h 197526"/>
                  <a:gd name="connsiteX11" fmla="*/ 133579 w 261473"/>
                  <a:gd name="connsiteY11" fmla="*/ 173369 h 197526"/>
                  <a:gd name="connsiteX12" fmla="*/ 133579 w 261473"/>
                  <a:gd name="connsiteY12" fmla="*/ 123632 h 197526"/>
                  <a:gd name="connsiteX13" fmla="*/ 102316 w 261473"/>
                  <a:gd name="connsiteY13" fmla="*/ 117948 h 197526"/>
                  <a:gd name="connsiteX14" fmla="*/ 130737 w 261473"/>
                  <a:gd name="connsiteY14" fmla="*/ 66790 h 197526"/>
                  <a:gd name="connsiteX15" fmla="*/ 204632 w 261473"/>
                  <a:gd name="connsiteY15" fmla="*/ 197527 h 197526"/>
                  <a:gd name="connsiteX16" fmla="*/ 261474 w 261473"/>
                  <a:gd name="connsiteY16" fmla="*/ 197527 h 197526"/>
                  <a:gd name="connsiteX17" fmla="*/ 217421 w 261473"/>
                  <a:gd name="connsiteY17" fmla="*/ 105158 h 197526"/>
                  <a:gd name="connsiteX18" fmla="*/ 176211 w 261473"/>
                  <a:gd name="connsiteY18" fmla="*/ 22737 h 1975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61473" h="197526">
                    <a:moveTo>
                      <a:pt x="176211" y="22737"/>
                    </a:moveTo>
                    <a:lnTo>
                      <a:pt x="89526" y="22737"/>
                    </a:lnTo>
                    <a:cubicBezTo>
                      <a:pt x="89526" y="22737"/>
                      <a:pt x="81000" y="35526"/>
                      <a:pt x="52579" y="92369"/>
                    </a:cubicBezTo>
                    <a:cubicBezTo>
                      <a:pt x="14211" y="61105"/>
                      <a:pt x="4263" y="19895"/>
                      <a:pt x="1421" y="0"/>
                    </a:cubicBezTo>
                    <a:lnTo>
                      <a:pt x="0" y="0"/>
                    </a:lnTo>
                    <a:lnTo>
                      <a:pt x="0" y="75316"/>
                    </a:lnTo>
                    <a:cubicBezTo>
                      <a:pt x="0" y="75316"/>
                      <a:pt x="5684" y="108000"/>
                      <a:pt x="32684" y="135000"/>
                    </a:cubicBezTo>
                    <a:cubicBezTo>
                      <a:pt x="7105" y="187579"/>
                      <a:pt x="2842" y="197527"/>
                      <a:pt x="2842" y="197527"/>
                    </a:cubicBezTo>
                    <a:lnTo>
                      <a:pt x="59684" y="197527"/>
                    </a:lnTo>
                    <a:lnTo>
                      <a:pt x="78158" y="163421"/>
                    </a:lnTo>
                    <a:cubicBezTo>
                      <a:pt x="78158" y="163421"/>
                      <a:pt x="78158" y="163421"/>
                      <a:pt x="78158" y="163421"/>
                    </a:cubicBezTo>
                    <a:cubicBezTo>
                      <a:pt x="106579" y="173369"/>
                      <a:pt x="133579" y="173369"/>
                      <a:pt x="133579" y="173369"/>
                    </a:cubicBezTo>
                    <a:lnTo>
                      <a:pt x="133579" y="123632"/>
                    </a:lnTo>
                    <a:cubicBezTo>
                      <a:pt x="133579" y="123632"/>
                      <a:pt x="120789" y="123632"/>
                      <a:pt x="102316" y="117948"/>
                    </a:cubicBezTo>
                    <a:lnTo>
                      <a:pt x="130737" y="66790"/>
                    </a:lnTo>
                    <a:lnTo>
                      <a:pt x="204632" y="197527"/>
                    </a:lnTo>
                    <a:lnTo>
                      <a:pt x="261474" y="197527"/>
                    </a:lnTo>
                    <a:cubicBezTo>
                      <a:pt x="261474" y="197527"/>
                      <a:pt x="254368" y="180474"/>
                      <a:pt x="217421" y="105158"/>
                    </a:cubicBezTo>
                    <a:cubicBezTo>
                      <a:pt x="184737" y="35526"/>
                      <a:pt x="176211" y="22737"/>
                      <a:pt x="176211" y="22737"/>
                    </a:cubicBezTo>
                  </a:path>
                </a:pathLst>
              </a:custGeom>
              <a:solidFill>
                <a:srgbClr val="B70D18"/>
              </a:solidFill>
              <a:ln w="1416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12" name="Freeform: Shape 11">
                <a:extLst>
                  <a:ext uri="{FF2B5EF4-FFF2-40B4-BE49-F238E27FC236}">
                    <a16:creationId xmlns:a16="http://schemas.microsoft.com/office/drawing/2014/main" id="{CD2B355B-A69B-4385-9164-C01A9C7BD298}"/>
                  </a:ext>
                </a:extLst>
              </p:cNvPr>
              <p:cNvSpPr/>
              <p:nvPr/>
            </p:nvSpPr>
            <p:spPr>
              <a:xfrm>
                <a:off x="11636494" y="6485648"/>
                <a:ext cx="191863" cy="187826"/>
              </a:xfrm>
              <a:custGeom>
                <a:avLst/>
                <a:gdLst>
                  <a:gd name="connsiteX0" fmla="*/ 95211 w 191863"/>
                  <a:gd name="connsiteY0" fmla="*/ 69860 h 187826"/>
                  <a:gd name="connsiteX1" fmla="*/ 66789 w 191863"/>
                  <a:gd name="connsiteY1" fmla="*/ 55649 h 187826"/>
                  <a:gd name="connsiteX2" fmla="*/ 110842 w 191863"/>
                  <a:gd name="connsiteY2" fmla="*/ 40018 h 187826"/>
                  <a:gd name="connsiteX3" fmla="*/ 180474 w 191863"/>
                  <a:gd name="connsiteY3" fmla="*/ 45702 h 187826"/>
                  <a:gd name="connsiteX4" fmla="*/ 180474 w 191863"/>
                  <a:gd name="connsiteY4" fmla="*/ 4491 h 187826"/>
                  <a:gd name="connsiteX5" fmla="*/ 90947 w 191863"/>
                  <a:gd name="connsiteY5" fmla="*/ 228 h 187826"/>
                  <a:gd name="connsiteX6" fmla="*/ 0 w 191863"/>
                  <a:gd name="connsiteY6" fmla="*/ 59912 h 187826"/>
                  <a:gd name="connsiteX7" fmla="*/ 105158 w 191863"/>
                  <a:gd name="connsiteY7" fmla="*/ 119597 h 187826"/>
                  <a:gd name="connsiteX8" fmla="*/ 129316 w 191863"/>
                  <a:gd name="connsiteY8" fmla="*/ 130965 h 187826"/>
                  <a:gd name="connsiteX9" fmla="*/ 73895 w 191863"/>
                  <a:gd name="connsiteY9" fmla="*/ 146597 h 187826"/>
                  <a:gd name="connsiteX10" fmla="*/ 7105 w 191863"/>
                  <a:gd name="connsiteY10" fmla="*/ 138070 h 187826"/>
                  <a:gd name="connsiteX11" fmla="*/ 7105 w 191863"/>
                  <a:gd name="connsiteY11" fmla="*/ 182123 h 187826"/>
                  <a:gd name="connsiteX12" fmla="*/ 89526 w 191863"/>
                  <a:gd name="connsiteY12" fmla="*/ 187807 h 187826"/>
                  <a:gd name="connsiteX13" fmla="*/ 191842 w 191863"/>
                  <a:gd name="connsiteY13" fmla="*/ 128123 h 187826"/>
                  <a:gd name="connsiteX14" fmla="*/ 95211 w 191863"/>
                  <a:gd name="connsiteY14" fmla="*/ 69860 h 1878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91863" h="187826">
                    <a:moveTo>
                      <a:pt x="95211" y="69860"/>
                    </a:moveTo>
                    <a:cubicBezTo>
                      <a:pt x="76737" y="68439"/>
                      <a:pt x="66789" y="64176"/>
                      <a:pt x="66789" y="55649"/>
                    </a:cubicBezTo>
                    <a:cubicBezTo>
                      <a:pt x="66789" y="44281"/>
                      <a:pt x="81000" y="40018"/>
                      <a:pt x="110842" y="40018"/>
                    </a:cubicBezTo>
                    <a:cubicBezTo>
                      <a:pt x="140684" y="40018"/>
                      <a:pt x="180474" y="45702"/>
                      <a:pt x="180474" y="45702"/>
                    </a:cubicBezTo>
                    <a:lnTo>
                      <a:pt x="180474" y="4491"/>
                    </a:lnTo>
                    <a:cubicBezTo>
                      <a:pt x="180474" y="4491"/>
                      <a:pt x="135000" y="-1193"/>
                      <a:pt x="90947" y="228"/>
                    </a:cubicBezTo>
                    <a:cubicBezTo>
                      <a:pt x="75316" y="228"/>
                      <a:pt x="0" y="228"/>
                      <a:pt x="0" y="59912"/>
                    </a:cubicBezTo>
                    <a:cubicBezTo>
                      <a:pt x="0" y="116755"/>
                      <a:pt x="73895" y="118176"/>
                      <a:pt x="105158" y="119597"/>
                    </a:cubicBezTo>
                    <a:cubicBezTo>
                      <a:pt x="116526" y="119597"/>
                      <a:pt x="129316" y="122439"/>
                      <a:pt x="129316" y="130965"/>
                    </a:cubicBezTo>
                    <a:cubicBezTo>
                      <a:pt x="130737" y="143755"/>
                      <a:pt x="108000" y="146597"/>
                      <a:pt x="73895" y="146597"/>
                    </a:cubicBezTo>
                    <a:cubicBezTo>
                      <a:pt x="39789" y="146597"/>
                      <a:pt x="7105" y="138070"/>
                      <a:pt x="7105" y="138070"/>
                    </a:cubicBezTo>
                    <a:lnTo>
                      <a:pt x="7105" y="182123"/>
                    </a:lnTo>
                    <a:cubicBezTo>
                      <a:pt x="7105" y="182123"/>
                      <a:pt x="54000" y="187807"/>
                      <a:pt x="89526" y="187807"/>
                    </a:cubicBezTo>
                    <a:cubicBezTo>
                      <a:pt x="105158" y="187807"/>
                      <a:pt x="193263" y="190649"/>
                      <a:pt x="191842" y="128123"/>
                    </a:cubicBezTo>
                    <a:cubicBezTo>
                      <a:pt x="193263" y="64176"/>
                      <a:pt x="122211" y="71281"/>
                      <a:pt x="95211" y="69860"/>
                    </a:cubicBezTo>
                  </a:path>
                </a:pathLst>
              </a:custGeom>
              <a:solidFill>
                <a:srgbClr val="B70D18"/>
              </a:solidFill>
              <a:ln w="1416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13" name="Freeform: Shape 12">
                <a:extLst>
                  <a:ext uri="{FF2B5EF4-FFF2-40B4-BE49-F238E27FC236}">
                    <a16:creationId xmlns:a16="http://schemas.microsoft.com/office/drawing/2014/main" id="{0221DD12-4B4F-4911-85F2-7657655003F6}"/>
                  </a:ext>
                </a:extLst>
              </p:cNvPr>
              <p:cNvSpPr/>
              <p:nvPr/>
            </p:nvSpPr>
            <p:spPr>
              <a:xfrm>
                <a:off x="11392023" y="6339508"/>
                <a:ext cx="100945" cy="137842"/>
              </a:xfrm>
              <a:custGeom>
                <a:avLst/>
                <a:gdLst>
                  <a:gd name="connsiteX0" fmla="*/ 4314 w 100945"/>
                  <a:gd name="connsiteY0" fmla="*/ 137842 h 137842"/>
                  <a:gd name="connsiteX1" fmla="*/ 100945 w 100945"/>
                  <a:gd name="connsiteY1" fmla="*/ 55421 h 137842"/>
                  <a:gd name="connsiteX2" fmla="*/ 100945 w 100945"/>
                  <a:gd name="connsiteY2" fmla="*/ 0 h 137842"/>
                  <a:gd name="connsiteX3" fmla="*/ 51 w 100945"/>
                  <a:gd name="connsiteY3" fmla="*/ 109421 h 137842"/>
                  <a:gd name="connsiteX4" fmla="*/ 4314 w 100945"/>
                  <a:gd name="connsiteY4" fmla="*/ 137842 h 137842"/>
                  <a:gd name="connsiteX5" fmla="*/ 4314 w 100945"/>
                  <a:gd name="connsiteY5" fmla="*/ 137842 h 137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00945" h="137842">
                    <a:moveTo>
                      <a:pt x="4314" y="137842"/>
                    </a:moveTo>
                    <a:cubicBezTo>
                      <a:pt x="11419" y="99474"/>
                      <a:pt x="49787" y="56842"/>
                      <a:pt x="100945" y="55421"/>
                    </a:cubicBezTo>
                    <a:lnTo>
                      <a:pt x="100945" y="0"/>
                    </a:lnTo>
                    <a:cubicBezTo>
                      <a:pt x="27051" y="8526"/>
                      <a:pt x="-1370" y="72474"/>
                      <a:pt x="51" y="109421"/>
                    </a:cubicBezTo>
                    <a:cubicBezTo>
                      <a:pt x="51" y="119369"/>
                      <a:pt x="1472" y="129316"/>
                      <a:pt x="4314" y="137842"/>
                    </a:cubicBezTo>
                    <a:lnTo>
                      <a:pt x="4314" y="137842"/>
                    </a:lnTo>
                    <a:close/>
                  </a:path>
                </a:pathLst>
              </a:custGeom>
              <a:solidFill>
                <a:srgbClr val="B70D18"/>
              </a:solidFill>
              <a:ln w="1416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</p:grpSp>
      </p:grp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8EAF4C72-F900-4059-9C84-2813E8024B7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2899611" cy="192282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17" name="Picture Placeholder 14">
            <a:extLst>
              <a:ext uri="{FF2B5EF4-FFF2-40B4-BE49-F238E27FC236}">
                <a16:creationId xmlns:a16="http://schemas.microsoft.com/office/drawing/2014/main" id="{42F63370-8532-4D34-9446-E54D6CC8C191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097463" y="0"/>
            <a:ext cx="2899611" cy="192282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18" name="Picture Placeholder 14">
            <a:extLst>
              <a:ext uri="{FF2B5EF4-FFF2-40B4-BE49-F238E27FC236}">
                <a16:creationId xmlns:a16="http://schemas.microsoft.com/office/drawing/2014/main" id="{171A715E-F61B-4612-B801-1A94422B829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9292389" y="0"/>
            <a:ext cx="2899611" cy="192282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19" name="Picture Placeholder 14">
            <a:extLst>
              <a:ext uri="{FF2B5EF4-FFF2-40B4-BE49-F238E27FC236}">
                <a16:creationId xmlns:a16="http://schemas.microsoft.com/office/drawing/2014/main" id="{EB3AB690-E499-4D45-A7C5-BDF760163EA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194926" y="0"/>
            <a:ext cx="2899611" cy="192282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0" name="Picture Placeholder 14">
            <a:extLst>
              <a:ext uri="{FF2B5EF4-FFF2-40B4-BE49-F238E27FC236}">
                <a16:creationId xmlns:a16="http://schemas.microsoft.com/office/drawing/2014/main" id="{0DC306A9-D475-4FEB-A51C-B49BDF16759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2120513"/>
            <a:ext cx="2899611" cy="192282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1" name="Picture Placeholder 14">
            <a:extLst>
              <a:ext uri="{FF2B5EF4-FFF2-40B4-BE49-F238E27FC236}">
                <a16:creationId xmlns:a16="http://schemas.microsoft.com/office/drawing/2014/main" id="{B6329C3A-A9AF-419A-B247-3089AE0F22C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097463" y="2120513"/>
            <a:ext cx="2899611" cy="192282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2" name="Picture Placeholder 14">
            <a:extLst>
              <a:ext uri="{FF2B5EF4-FFF2-40B4-BE49-F238E27FC236}">
                <a16:creationId xmlns:a16="http://schemas.microsoft.com/office/drawing/2014/main" id="{F11B47FB-3100-49F0-8967-F6148B9AA7B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292389" y="2120513"/>
            <a:ext cx="2899611" cy="192282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3" name="Picture Placeholder 14">
            <a:extLst>
              <a:ext uri="{FF2B5EF4-FFF2-40B4-BE49-F238E27FC236}">
                <a16:creationId xmlns:a16="http://schemas.microsoft.com/office/drawing/2014/main" id="{E4CD6A19-31A7-4B97-967B-C1BACF39AE0D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194926" y="2120513"/>
            <a:ext cx="2899611" cy="192282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4" name="Picture Placeholder 14">
            <a:extLst>
              <a:ext uri="{FF2B5EF4-FFF2-40B4-BE49-F238E27FC236}">
                <a16:creationId xmlns:a16="http://schemas.microsoft.com/office/drawing/2014/main" id="{FBF60AD9-F665-408B-A07D-3DA9848947EC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4241025"/>
            <a:ext cx="2899611" cy="192282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5" name="Picture Placeholder 14">
            <a:extLst>
              <a:ext uri="{FF2B5EF4-FFF2-40B4-BE49-F238E27FC236}">
                <a16:creationId xmlns:a16="http://schemas.microsoft.com/office/drawing/2014/main" id="{DEA30BE2-219A-43AF-BF54-8195F9E3A878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097463" y="4241025"/>
            <a:ext cx="2899611" cy="192282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6" name="Picture Placeholder 14">
            <a:extLst>
              <a:ext uri="{FF2B5EF4-FFF2-40B4-BE49-F238E27FC236}">
                <a16:creationId xmlns:a16="http://schemas.microsoft.com/office/drawing/2014/main" id="{85B17022-B96A-4BA4-B52D-1737627682A5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9292389" y="4241025"/>
            <a:ext cx="2899611" cy="192282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7" name="Picture Placeholder 14">
            <a:extLst>
              <a:ext uri="{FF2B5EF4-FFF2-40B4-BE49-F238E27FC236}">
                <a16:creationId xmlns:a16="http://schemas.microsoft.com/office/drawing/2014/main" id="{3D74F5FE-7F34-46A1-8FEF-A8ADA2AC5B78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194926" y="4241025"/>
            <a:ext cx="2899611" cy="192282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9" name="Slide Number Placeholder 5">
            <a:extLst>
              <a:ext uri="{FF2B5EF4-FFF2-40B4-BE49-F238E27FC236}">
                <a16:creationId xmlns:a16="http://schemas.microsoft.com/office/drawing/2014/main" id="{2178E2D9-12FA-44EB-9399-062F9145CF1E}"/>
              </a:ext>
            </a:extLst>
          </p:cNvPr>
          <p:cNvSpPr txBox="1">
            <a:spLocks/>
          </p:cNvSpPr>
          <p:nvPr/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da-DK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00330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pos="1825">
          <p15:clr>
            <a:srgbClr val="A4A3A4"/>
          </p15:clr>
        </p15:guide>
        <p15:guide id="12" pos="1950">
          <p15:clr>
            <a:srgbClr val="A4A3A4"/>
          </p15:clr>
        </p15:guide>
        <p15:guide id="13" pos="3775">
          <p15:clr>
            <a:srgbClr val="A4A3A4"/>
          </p15:clr>
        </p15:guide>
        <p15:guide id="14" pos="3902">
          <p15:clr>
            <a:srgbClr val="A4A3A4"/>
          </p15:clr>
        </p15:guide>
        <p15:guide id="15" pos="5728">
          <p15:clr>
            <a:srgbClr val="A4A3A4"/>
          </p15:clr>
        </p15:guide>
        <p15:guide id="16" pos="5852">
          <p15:clr>
            <a:srgbClr val="A4A3A4"/>
          </p15:clr>
        </p15:guide>
        <p15:guide id="17" orient="horz" pos="1335">
          <p15:clr>
            <a:srgbClr val="A4A3A4"/>
          </p15:clr>
        </p15:guide>
        <p15:guide id="18" orient="horz" pos="1210">
          <p15:clr>
            <a:srgbClr val="A4A3A4"/>
          </p15:clr>
        </p15:guide>
        <p15:guide id="19" orient="horz" pos="2546">
          <p15:clr>
            <a:srgbClr val="A4A3A4"/>
          </p15:clr>
        </p15:guide>
        <p15:guide id="20" orient="horz" pos="2671">
          <p15:clr>
            <a:srgbClr val="A4A3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4/19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754515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ext and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097A650-4712-4097-931A-5EE2BCDC4014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4819650" y="0"/>
            <a:ext cx="7372350" cy="6858000"/>
          </a:xfrm>
          <a:prstGeom prst="rect">
            <a:avLst/>
          </a:prstGeom>
          <a:solidFill>
            <a:schemeClr val="accent1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 dirty="0"/>
              <a:t>Click and insert image</a:t>
            </a:r>
          </a:p>
          <a:p>
            <a:endParaRPr lang="en-GB" dirty="0"/>
          </a:p>
          <a:p>
            <a:endParaRPr lang="en-GB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BFEBFBEB-1222-4E81-B4BC-C71DBAB2DD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360000"/>
            <a:ext cx="4305600" cy="1636918"/>
          </a:xfrm>
          <a:prstGeom prst="rect">
            <a:avLst/>
          </a:prstGeom>
        </p:spPr>
        <p:txBody>
          <a:bodyPr lIns="72000" tIns="36000" rIns="72000" bIns="36000" anchor="t"/>
          <a:lstStyle>
            <a:lvl1pPr>
              <a:defRPr sz="4000"/>
            </a:lvl1pPr>
          </a:lstStyle>
          <a:p>
            <a:pPr lvl="0"/>
            <a:r>
              <a:rPr lang="en-US" dirty="0"/>
              <a:t>Click to edit headlin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20E74145-CF5A-4071-A2BE-2C6FA63A35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0000" y="2380541"/>
            <a:ext cx="4305600" cy="3779330"/>
          </a:xfrm>
        </p:spPr>
        <p:txBody>
          <a:bodyPr lIns="72000" tIns="36000" rIns="72000" bIns="36000"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06078D9B-5AAD-45B7-BF17-A69402EF4FD5}"/>
              </a:ext>
            </a:extLst>
          </p:cNvPr>
          <p:cNvCxnSpPr/>
          <p:nvPr/>
        </p:nvCxnSpPr>
        <p:spPr>
          <a:xfrm flipH="1">
            <a:off x="360000" y="2164223"/>
            <a:ext cx="2520000" cy="0"/>
          </a:xfrm>
          <a:prstGeom prst="line">
            <a:avLst/>
          </a:prstGeom>
          <a:ln w="920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Logo on top">
            <a:extLst>
              <a:ext uri="{FF2B5EF4-FFF2-40B4-BE49-F238E27FC236}">
                <a16:creationId xmlns:a16="http://schemas.microsoft.com/office/drawing/2014/main" id="{6DF414E4-381E-49EB-AE58-12043C54FDC6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10753200" y="6339600"/>
            <a:ext cx="1080000" cy="340069"/>
          </a:xfrm>
          <a:custGeom>
            <a:avLst/>
            <a:gdLst>
              <a:gd name="connsiteX0" fmla="*/ 968375 w 3876676"/>
              <a:gd name="connsiteY0" fmla="*/ 557213 h 1212806"/>
              <a:gd name="connsiteX1" fmla="*/ 1176338 w 3876676"/>
              <a:gd name="connsiteY1" fmla="*/ 557213 h 1212806"/>
              <a:gd name="connsiteX2" fmla="*/ 1176338 w 3876676"/>
              <a:gd name="connsiteY2" fmla="*/ 1193801 h 1212806"/>
              <a:gd name="connsiteX3" fmla="*/ 968375 w 3876676"/>
              <a:gd name="connsiteY3" fmla="*/ 1193801 h 1212806"/>
              <a:gd name="connsiteX4" fmla="*/ 0 w 3876676"/>
              <a:gd name="connsiteY4" fmla="*/ 557213 h 1212806"/>
              <a:gd name="connsiteX5" fmla="*/ 239712 w 3876676"/>
              <a:gd name="connsiteY5" fmla="*/ 557213 h 1212806"/>
              <a:gd name="connsiteX6" fmla="*/ 561975 w 3876676"/>
              <a:gd name="connsiteY6" fmla="*/ 893763 h 1212806"/>
              <a:gd name="connsiteX7" fmla="*/ 581025 w 3876676"/>
              <a:gd name="connsiteY7" fmla="*/ 560388 h 1212806"/>
              <a:gd name="connsiteX8" fmla="*/ 782638 w 3876676"/>
              <a:gd name="connsiteY8" fmla="*/ 560388 h 1212806"/>
              <a:gd name="connsiteX9" fmla="*/ 782638 w 3876676"/>
              <a:gd name="connsiteY9" fmla="*/ 1193801 h 1212806"/>
              <a:gd name="connsiteX10" fmla="*/ 590550 w 3876676"/>
              <a:gd name="connsiteY10" fmla="*/ 1193801 h 1212806"/>
              <a:gd name="connsiteX11" fmla="*/ 214312 w 3876676"/>
              <a:gd name="connsiteY11" fmla="*/ 811213 h 1212806"/>
              <a:gd name="connsiteX12" fmla="*/ 192087 w 3876676"/>
              <a:gd name="connsiteY12" fmla="*/ 1193801 h 1212806"/>
              <a:gd name="connsiteX13" fmla="*/ 0 w 3876676"/>
              <a:gd name="connsiteY13" fmla="*/ 1193801 h 1212806"/>
              <a:gd name="connsiteX14" fmla="*/ 1748787 w 3876676"/>
              <a:gd name="connsiteY14" fmla="*/ 547727 h 1212806"/>
              <a:gd name="connsiteX15" fmla="*/ 2081150 w 3876676"/>
              <a:gd name="connsiteY15" fmla="*/ 743800 h 1212806"/>
              <a:gd name="connsiteX16" fmla="*/ 1918165 w 3876676"/>
              <a:gd name="connsiteY16" fmla="*/ 962372 h 1212806"/>
              <a:gd name="connsiteX17" fmla="*/ 2081150 w 3876676"/>
              <a:gd name="connsiteY17" fmla="*/ 1193801 h 1212806"/>
              <a:gd name="connsiteX18" fmla="*/ 1860640 w 3876676"/>
              <a:gd name="connsiteY18" fmla="*/ 1193801 h 1212806"/>
              <a:gd name="connsiteX19" fmla="*/ 1656109 w 3876676"/>
              <a:gd name="connsiteY19" fmla="*/ 972015 h 1212806"/>
              <a:gd name="connsiteX20" fmla="*/ 1656109 w 3876676"/>
              <a:gd name="connsiteY20" fmla="*/ 872371 h 1212806"/>
              <a:gd name="connsiteX21" fmla="*/ 1854249 w 3876676"/>
              <a:gd name="connsiteY21" fmla="*/ 756657 h 1212806"/>
              <a:gd name="connsiteX22" fmla="*/ 1710438 w 3876676"/>
              <a:gd name="connsiteY22" fmla="*/ 676299 h 1212806"/>
              <a:gd name="connsiteX23" fmla="*/ 1582606 w 3876676"/>
              <a:gd name="connsiteY23" fmla="*/ 682728 h 1212806"/>
              <a:gd name="connsiteX24" fmla="*/ 1550648 w 3876676"/>
              <a:gd name="connsiteY24" fmla="*/ 1193801 h 1212806"/>
              <a:gd name="connsiteX25" fmla="*/ 1358900 w 3876676"/>
              <a:gd name="connsiteY25" fmla="*/ 1193801 h 1212806"/>
              <a:gd name="connsiteX26" fmla="*/ 1358900 w 3876676"/>
              <a:gd name="connsiteY26" fmla="*/ 557370 h 1212806"/>
              <a:gd name="connsiteX27" fmla="*/ 1748787 w 3876676"/>
              <a:gd name="connsiteY27" fmla="*/ 547727 h 1212806"/>
              <a:gd name="connsiteX28" fmla="*/ 3505842 w 3876676"/>
              <a:gd name="connsiteY28" fmla="*/ 533444 h 1212806"/>
              <a:gd name="connsiteX29" fmla="*/ 3831920 w 3876676"/>
              <a:gd name="connsiteY29" fmla="*/ 549540 h 1212806"/>
              <a:gd name="connsiteX30" fmla="*/ 3831920 w 3876676"/>
              <a:gd name="connsiteY30" fmla="*/ 697618 h 1212806"/>
              <a:gd name="connsiteX31" fmla="*/ 3579369 w 3876676"/>
              <a:gd name="connsiteY31" fmla="*/ 675085 h 1212806"/>
              <a:gd name="connsiteX32" fmla="*/ 3419527 w 3876676"/>
              <a:gd name="connsiteY32" fmla="*/ 729809 h 1212806"/>
              <a:gd name="connsiteX33" fmla="*/ 3521826 w 3876676"/>
              <a:gd name="connsiteY33" fmla="*/ 778096 h 1212806"/>
              <a:gd name="connsiteX34" fmla="*/ 3876676 w 3876676"/>
              <a:gd name="connsiteY34" fmla="*/ 996994 h 1212806"/>
              <a:gd name="connsiteX35" fmla="*/ 3505842 w 3876676"/>
              <a:gd name="connsiteY35" fmla="*/ 1212674 h 1212806"/>
              <a:gd name="connsiteX36" fmla="*/ 3208535 w 3876676"/>
              <a:gd name="connsiteY36" fmla="*/ 1193359 h 1212806"/>
              <a:gd name="connsiteX37" fmla="*/ 3208535 w 3876676"/>
              <a:gd name="connsiteY37" fmla="*/ 1032404 h 1212806"/>
              <a:gd name="connsiteX38" fmla="*/ 3451495 w 3876676"/>
              <a:gd name="connsiteY38" fmla="*/ 1064595 h 1212806"/>
              <a:gd name="connsiteX39" fmla="*/ 3649700 w 3876676"/>
              <a:gd name="connsiteY39" fmla="*/ 1006652 h 1212806"/>
              <a:gd name="connsiteX40" fmla="*/ 3560188 w 3876676"/>
              <a:gd name="connsiteY40" fmla="*/ 964803 h 1212806"/>
              <a:gd name="connsiteX41" fmla="*/ 3179763 w 3876676"/>
              <a:gd name="connsiteY41" fmla="*/ 749124 h 1212806"/>
              <a:gd name="connsiteX42" fmla="*/ 3505842 w 3876676"/>
              <a:gd name="connsiteY42" fmla="*/ 533444 h 1212806"/>
              <a:gd name="connsiteX43" fmla="*/ 2179638 w 3876676"/>
              <a:gd name="connsiteY43" fmla="*/ 476250 h 1212806"/>
              <a:gd name="connsiteX44" fmla="*/ 2182834 w 3876676"/>
              <a:gd name="connsiteY44" fmla="*/ 476250 h 1212806"/>
              <a:gd name="connsiteX45" fmla="*/ 2368233 w 3876676"/>
              <a:gd name="connsiteY45" fmla="*/ 810892 h 1212806"/>
              <a:gd name="connsiteX46" fmla="*/ 2499290 w 3876676"/>
              <a:gd name="connsiteY46" fmla="*/ 556693 h 1212806"/>
              <a:gd name="connsiteX47" fmla="*/ 2812550 w 3876676"/>
              <a:gd name="connsiteY47" fmla="*/ 556693 h 1212806"/>
              <a:gd name="connsiteX48" fmla="*/ 2962787 w 3876676"/>
              <a:gd name="connsiteY48" fmla="*/ 855940 h 1212806"/>
              <a:gd name="connsiteX49" fmla="*/ 3122613 w 3876676"/>
              <a:gd name="connsiteY49" fmla="*/ 1193800 h 1212806"/>
              <a:gd name="connsiteX50" fmla="*/ 2918035 w 3876676"/>
              <a:gd name="connsiteY50" fmla="*/ 1193800 h 1212806"/>
              <a:gd name="connsiteX51" fmla="*/ 2652724 w 3876676"/>
              <a:gd name="connsiteY51" fmla="*/ 720796 h 1212806"/>
              <a:gd name="connsiteX52" fmla="*/ 2550435 w 3876676"/>
              <a:gd name="connsiteY52" fmla="*/ 907424 h 1212806"/>
              <a:gd name="connsiteX53" fmla="*/ 2662313 w 3876676"/>
              <a:gd name="connsiteY53" fmla="*/ 926730 h 1212806"/>
              <a:gd name="connsiteX54" fmla="*/ 2662313 w 3876676"/>
              <a:gd name="connsiteY54" fmla="*/ 1103704 h 1212806"/>
              <a:gd name="connsiteX55" fmla="*/ 2460932 w 3876676"/>
              <a:gd name="connsiteY55" fmla="*/ 1068309 h 1212806"/>
              <a:gd name="connsiteX56" fmla="*/ 2393805 w 3876676"/>
              <a:gd name="connsiteY56" fmla="*/ 1193800 h 1212806"/>
              <a:gd name="connsiteX57" fmla="*/ 2189227 w 3876676"/>
              <a:gd name="connsiteY57" fmla="*/ 1193800 h 1212806"/>
              <a:gd name="connsiteX58" fmla="*/ 2294713 w 3876676"/>
              <a:gd name="connsiteY58" fmla="*/ 965343 h 1212806"/>
              <a:gd name="connsiteX59" fmla="*/ 2179638 w 3876676"/>
              <a:gd name="connsiteY59" fmla="*/ 749756 h 1212806"/>
              <a:gd name="connsiteX60" fmla="*/ 2179638 w 3876676"/>
              <a:gd name="connsiteY60" fmla="*/ 476250 h 1212806"/>
              <a:gd name="connsiteX61" fmla="*/ 2665413 w 3876676"/>
              <a:gd name="connsiteY61" fmla="*/ 0 h 1212806"/>
              <a:gd name="connsiteX62" fmla="*/ 2665413 w 3876676"/>
              <a:gd name="connsiteY62" fmla="*/ 199390 h 1212806"/>
              <a:gd name="connsiteX63" fmla="*/ 2313126 w 3876676"/>
              <a:gd name="connsiteY63" fmla="*/ 498475 h 1212806"/>
              <a:gd name="connsiteX64" fmla="*/ 2300315 w 3876676"/>
              <a:gd name="connsiteY64" fmla="*/ 395564 h 1212806"/>
              <a:gd name="connsiteX65" fmla="*/ 2665413 w 3876676"/>
              <a:gd name="connsiteY65" fmla="*/ 0 h 12128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</a:cxnLst>
            <a:rect l="l" t="t" r="r" b="b"/>
            <a:pathLst>
              <a:path w="3876676" h="1212806">
                <a:moveTo>
                  <a:pt x="968375" y="557213"/>
                </a:moveTo>
                <a:lnTo>
                  <a:pt x="1176338" y="557213"/>
                </a:lnTo>
                <a:lnTo>
                  <a:pt x="1176338" y="1193801"/>
                </a:lnTo>
                <a:lnTo>
                  <a:pt x="968375" y="1193801"/>
                </a:lnTo>
                <a:close/>
                <a:moveTo>
                  <a:pt x="0" y="557213"/>
                </a:moveTo>
                <a:lnTo>
                  <a:pt x="239712" y="557213"/>
                </a:lnTo>
                <a:lnTo>
                  <a:pt x="561975" y="893763"/>
                </a:lnTo>
                <a:lnTo>
                  <a:pt x="581025" y="560388"/>
                </a:lnTo>
                <a:lnTo>
                  <a:pt x="782638" y="560388"/>
                </a:lnTo>
                <a:lnTo>
                  <a:pt x="782638" y="1193801"/>
                </a:lnTo>
                <a:lnTo>
                  <a:pt x="590550" y="1193801"/>
                </a:lnTo>
                <a:lnTo>
                  <a:pt x="214312" y="811213"/>
                </a:lnTo>
                <a:lnTo>
                  <a:pt x="192087" y="1193801"/>
                </a:lnTo>
                <a:lnTo>
                  <a:pt x="0" y="1193801"/>
                </a:lnTo>
                <a:close/>
                <a:moveTo>
                  <a:pt x="1748787" y="547727"/>
                </a:moveTo>
                <a:cubicBezTo>
                  <a:pt x="1892598" y="547727"/>
                  <a:pt x="2068367" y="583085"/>
                  <a:pt x="2081150" y="743800"/>
                </a:cubicBezTo>
                <a:cubicBezTo>
                  <a:pt x="2090738" y="917372"/>
                  <a:pt x="1918165" y="962372"/>
                  <a:pt x="1918165" y="962372"/>
                </a:cubicBezTo>
                <a:cubicBezTo>
                  <a:pt x="1918165" y="962372"/>
                  <a:pt x="1918165" y="962372"/>
                  <a:pt x="2081150" y="1193801"/>
                </a:cubicBezTo>
                <a:cubicBezTo>
                  <a:pt x="2081150" y="1193801"/>
                  <a:pt x="2081150" y="1193801"/>
                  <a:pt x="1860640" y="1193801"/>
                </a:cubicBezTo>
                <a:cubicBezTo>
                  <a:pt x="1860640" y="1193801"/>
                  <a:pt x="1860640" y="1193801"/>
                  <a:pt x="1656109" y="972015"/>
                </a:cubicBezTo>
                <a:cubicBezTo>
                  <a:pt x="1656109" y="972015"/>
                  <a:pt x="1656109" y="972015"/>
                  <a:pt x="1656109" y="872371"/>
                </a:cubicBezTo>
                <a:cubicBezTo>
                  <a:pt x="1838270" y="872371"/>
                  <a:pt x="1857444" y="811300"/>
                  <a:pt x="1854249" y="756657"/>
                </a:cubicBezTo>
                <a:cubicBezTo>
                  <a:pt x="1851053" y="705228"/>
                  <a:pt x="1790333" y="676299"/>
                  <a:pt x="1710438" y="676299"/>
                </a:cubicBezTo>
                <a:cubicBezTo>
                  <a:pt x="1659305" y="676299"/>
                  <a:pt x="1582606" y="682728"/>
                  <a:pt x="1582606" y="682728"/>
                </a:cubicBezTo>
                <a:cubicBezTo>
                  <a:pt x="1582606" y="682728"/>
                  <a:pt x="1582606" y="682728"/>
                  <a:pt x="1550648" y="1193801"/>
                </a:cubicBezTo>
                <a:cubicBezTo>
                  <a:pt x="1550648" y="1193801"/>
                  <a:pt x="1550648" y="1193801"/>
                  <a:pt x="1358900" y="1193801"/>
                </a:cubicBezTo>
                <a:cubicBezTo>
                  <a:pt x="1358900" y="1193801"/>
                  <a:pt x="1358900" y="1193801"/>
                  <a:pt x="1358900" y="557370"/>
                </a:cubicBezTo>
                <a:cubicBezTo>
                  <a:pt x="1358900" y="557370"/>
                  <a:pt x="1633738" y="544513"/>
                  <a:pt x="1748787" y="547727"/>
                </a:cubicBezTo>
                <a:close/>
                <a:moveTo>
                  <a:pt x="3505842" y="533444"/>
                </a:moveTo>
                <a:cubicBezTo>
                  <a:pt x="3668881" y="530225"/>
                  <a:pt x="3831920" y="549540"/>
                  <a:pt x="3831920" y="549540"/>
                </a:cubicBezTo>
                <a:cubicBezTo>
                  <a:pt x="3831920" y="549540"/>
                  <a:pt x="3831920" y="549540"/>
                  <a:pt x="3831920" y="697618"/>
                </a:cubicBezTo>
                <a:cubicBezTo>
                  <a:pt x="3831920" y="697618"/>
                  <a:pt x="3688062" y="675085"/>
                  <a:pt x="3579369" y="675085"/>
                </a:cubicBezTo>
                <a:cubicBezTo>
                  <a:pt x="3470676" y="675085"/>
                  <a:pt x="3416330" y="687961"/>
                  <a:pt x="3419527" y="729809"/>
                </a:cubicBezTo>
                <a:cubicBezTo>
                  <a:pt x="3419527" y="758781"/>
                  <a:pt x="3454692" y="774877"/>
                  <a:pt x="3521826" y="778096"/>
                </a:cubicBezTo>
                <a:cubicBezTo>
                  <a:pt x="3617731" y="784534"/>
                  <a:pt x="3876676" y="762000"/>
                  <a:pt x="3876676" y="996994"/>
                </a:cubicBezTo>
                <a:cubicBezTo>
                  <a:pt x="3876676" y="1225550"/>
                  <a:pt x="3566582" y="1212674"/>
                  <a:pt x="3505842" y="1212674"/>
                </a:cubicBezTo>
                <a:cubicBezTo>
                  <a:pt x="3377968" y="1212674"/>
                  <a:pt x="3208535" y="1193359"/>
                  <a:pt x="3208535" y="1193359"/>
                </a:cubicBezTo>
                <a:cubicBezTo>
                  <a:pt x="3208535" y="1193359"/>
                  <a:pt x="3208535" y="1193359"/>
                  <a:pt x="3208535" y="1032404"/>
                </a:cubicBezTo>
                <a:cubicBezTo>
                  <a:pt x="3208535" y="1032404"/>
                  <a:pt x="3326818" y="1064595"/>
                  <a:pt x="3451495" y="1064595"/>
                </a:cubicBezTo>
                <a:cubicBezTo>
                  <a:pt x="3576172" y="1064595"/>
                  <a:pt x="3656094" y="1054938"/>
                  <a:pt x="3649700" y="1006652"/>
                </a:cubicBezTo>
                <a:cubicBezTo>
                  <a:pt x="3646503" y="974461"/>
                  <a:pt x="3604944" y="964803"/>
                  <a:pt x="3560188" y="964803"/>
                </a:cubicBezTo>
                <a:cubicBezTo>
                  <a:pt x="3448299" y="964803"/>
                  <a:pt x="3182960" y="958365"/>
                  <a:pt x="3179763" y="749124"/>
                </a:cubicBezTo>
                <a:cubicBezTo>
                  <a:pt x="3179763" y="533444"/>
                  <a:pt x="3448299" y="536663"/>
                  <a:pt x="3505842" y="533444"/>
                </a:cubicBezTo>
                <a:close/>
                <a:moveTo>
                  <a:pt x="2179638" y="476250"/>
                </a:moveTo>
                <a:cubicBezTo>
                  <a:pt x="2179638" y="476250"/>
                  <a:pt x="2179638" y="476250"/>
                  <a:pt x="2182834" y="476250"/>
                </a:cubicBezTo>
                <a:cubicBezTo>
                  <a:pt x="2192424" y="547040"/>
                  <a:pt x="2230782" y="695055"/>
                  <a:pt x="2368233" y="810892"/>
                </a:cubicBezTo>
                <a:cubicBezTo>
                  <a:pt x="2467325" y="604959"/>
                  <a:pt x="2499290" y="556693"/>
                  <a:pt x="2499290" y="556693"/>
                </a:cubicBezTo>
                <a:cubicBezTo>
                  <a:pt x="2499290" y="556693"/>
                  <a:pt x="2499290" y="556693"/>
                  <a:pt x="2812550" y="556693"/>
                </a:cubicBezTo>
                <a:cubicBezTo>
                  <a:pt x="2812550" y="556693"/>
                  <a:pt x="2841319" y="604959"/>
                  <a:pt x="2962787" y="855940"/>
                </a:cubicBezTo>
                <a:cubicBezTo>
                  <a:pt x="3097041" y="1132664"/>
                  <a:pt x="3122613" y="1193800"/>
                  <a:pt x="3122613" y="1193800"/>
                </a:cubicBezTo>
                <a:cubicBezTo>
                  <a:pt x="3122613" y="1193800"/>
                  <a:pt x="3122613" y="1193800"/>
                  <a:pt x="2918035" y="1193800"/>
                </a:cubicBezTo>
                <a:cubicBezTo>
                  <a:pt x="2918035" y="1193800"/>
                  <a:pt x="2918035" y="1193800"/>
                  <a:pt x="2652724" y="720796"/>
                </a:cubicBezTo>
                <a:cubicBezTo>
                  <a:pt x="2652724" y="720796"/>
                  <a:pt x="2652724" y="720796"/>
                  <a:pt x="2550435" y="907424"/>
                </a:cubicBezTo>
                <a:cubicBezTo>
                  <a:pt x="2617562" y="929948"/>
                  <a:pt x="2662313" y="926730"/>
                  <a:pt x="2662313" y="926730"/>
                </a:cubicBezTo>
                <a:cubicBezTo>
                  <a:pt x="2662313" y="926730"/>
                  <a:pt x="2662313" y="926730"/>
                  <a:pt x="2662313" y="1103704"/>
                </a:cubicBezTo>
                <a:cubicBezTo>
                  <a:pt x="2662313" y="1103704"/>
                  <a:pt x="2563221" y="1106922"/>
                  <a:pt x="2460932" y="1068309"/>
                </a:cubicBezTo>
                <a:cubicBezTo>
                  <a:pt x="2460932" y="1068309"/>
                  <a:pt x="2460932" y="1068309"/>
                  <a:pt x="2393805" y="1193800"/>
                </a:cubicBezTo>
                <a:cubicBezTo>
                  <a:pt x="2393805" y="1193800"/>
                  <a:pt x="2393805" y="1193800"/>
                  <a:pt x="2189227" y="1193800"/>
                </a:cubicBezTo>
                <a:cubicBezTo>
                  <a:pt x="2189227" y="1193800"/>
                  <a:pt x="2205210" y="1155188"/>
                  <a:pt x="2294713" y="965343"/>
                </a:cubicBezTo>
                <a:cubicBezTo>
                  <a:pt x="2202013" y="865593"/>
                  <a:pt x="2179638" y="749756"/>
                  <a:pt x="2179638" y="749756"/>
                </a:cubicBezTo>
                <a:cubicBezTo>
                  <a:pt x="2179638" y="749756"/>
                  <a:pt x="2179638" y="749756"/>
                  <a:pt x="2179638" y="476250"/>
                </a:cubicBezTo>
                <a:close/>
                <a:moveTo>
                  <a:pt x="2665413" y="0"/>
                </a:moveTo>
                <a:cubicBezTo>
                  <a:pt x="2665413" y="0"/>
                  <a:pt x="2665413" y="0"/>
                  <a:pt x="2665413" y="199390"/>
                </a:cubicBezTo>
                <a:cubicBezTo>
                  <a:pt x="2476459" y="205822"/>
                  <a:pt x="2341949" y="356972"/>
                  <a:pt x="2313126" y="498475"/>
                </a:cubicBezTo>
                <a:cubicBezTo>
                  <a:pt x="2303518" y="466315"/>
                  <a:pt x="2300315" y="430940"/>
                  <a:pt x="2300315" y="395564"/>
                </a:cubicBezTo>
                <a:cubicBezTo>
                  <a:pt x="2297113" y="260493"/>
                  <a:pt x="2399596" y="32160"/>
                  <a:pt x="2665413" y="0"/>
                </a:cubicBezTo>
                <a:close/>
              </a:path>
            </a:pathLst>
          </a:custGeom>
          <a:solidFill>
            <a:srgbClr val="FFFFFF"/>
          </a:solidFill>
        </p:spPr>
        <p:txBody>
          <a:bodyPr lIns="0" tIns="0" rIns="0" bIns="0">
            <a:norm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54D9553C-B70F-4221-8C05-67C34C6F5F0A}"/>
              </a:ext>
            </a:extLst>
          </p:cNvPr>
          <p:cNvSpPr txBox="1">
            <a:spLocks/>
          </p:cNvSpPr>
          <p:nvPr/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da-DK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59118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3036">
          <p15:clr>
            <a:srgbClr val="A4A3A4"/>
          </p15:clr>
        </p15:guide>
        <p15:guide id="4" pos="2938">
          <p15:clr>
            <a:srgbClr val="A4A3A4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ext and map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06078D9B-5AAD-45B7-BF17-A69402EF4FD5}"/>
              </a:ext>
            </a:extLst>
          </p:cNvPr>
          <p:cNvCxnSpPr/>
          <p:nvPr/>
        </p:nvCxnSpPr>
        <p:spPr>
          <a:xfrm flipH="1">
            <a:off x="339304" y="2164223"/>
            <a:ext cx="2520000" cy="0"/>
          </a:xfrm>
          <a:prstGeom prst="line">
            <a:avLst/>
          </a:prstGeom>
          <a:ln w="920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1">
            <a:extLst>
              <a:ext uri="{FF2B5EF4-FFF2-40B4-BE49-F238E27FC236}">
                <a16:creationId xmlns:a16="http://schemas.microsoft.com/office/drawing/2014/main" id="{BFEBFBEB-1222-4E81-B4BC-C71DBAB2DD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400" y="360000"/>
            <a:ext cx="4305900" cy="1636918"/>
          </a:xfrm>
          <a:prstGeom prst="rect">
            <a:avLst/>
          </a:prstGeom>
        </p:spPr>
        <p:txBody>
          <a:bodyPr lIns="72000" tIns="36000" rIns="72000" bIns="36000" anchor="t"/>
          <a:lstStyle>
            <a:lvl1pPr>
              <a:defRPr sz="4000"/>
            </a:lvl1pPr>
          </a:lstStyle>
          <a:p>
            <a:r>
              <a:rPr lang="en-US" dirty="0"/>
              <a:t>Click to edit headline</a:t>
            </a:r>
            <a:endParaRPr lang="da-DK" dirty="0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1C01BBC1-6088-4A5C-BB43-18C3AD54883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0000" y="2380541"/>
            <a:ext cx="4305600" cy="3779330"/>
          </a:xfrm>
        </p:spPr>
        <p:txBody>
          <a:bodyPr lIns="72000" tIns="36000" rIns="72000" bIns="36000"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F078E2B5-22BB-47BE-A4E4-FDDF70ABD65D}"/>
              </a:ext>
            </a:extLst>
          </p:cNvPr>
          <p:cNvSpPr txBox="1">
            <a:spLocks/>
          </p:cNvSpPr>
          <p:nvPr/>
        </p:nvSpPr>
        <p:spPr>
          <a:xfrm>
            <a:off x="10762637" y="6339507"/>
            <a:ext cx="1069963" cy="341053"/>
          </a:xfrm>
          <a:prstGeom prst="rect">
            <a:avLst/>
          </a:prstGeo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D4A5F82C-F561-4E43-91A4-85B9CEEF7B0D}"/>
              </a:ext>
            </a:extLst>
          </p:cNvPr>
          <p:cNvSpPr txBox="1">
            <a:spLocks/>
          </p:cNvSpPr>
          <p:nvPr/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da-DK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9641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38">
          <p15:clr>
            <a:srgbClr val="A4A3A4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vider Quot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D3BAE68-619C-4E72-824F-F72BF1532871}"/>
              </a:ext>
            </a:extLst>
          </p:cNvPr>
          <p:cNvCxnSpPr/>
          <p:nvPr/>
        </p:nvCxnSpPr>
        <p:spPr>
          <a:xfrm flipH="1">
            <a:off x="2852101" y="4008391"/>
            <a:ext cx="2520000" cy="0"/>
          </a:xfrm>
          <a:prstGeom prst="line">
            <a:avLst/>
          </a:prstGeom>
          <a:ln w="920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8C2C21B-CD4C-49CB-B367-2437B48D32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42400" y="1234439"/>
            <a:ext cx="4531294" cy="2151497"/>
          </a:xfrm>
          <a:prstGeom prst="rect">
            <a:avLst/>
          </a:prstGeom>
        </p:spPr>
        <p:txBody>
          <a:bodyPr lIns="72000" tIns="36000" rIns="72000" bIns="36000">
            <a:noAutofit/>
          </a:bodyPr>
          <a:lstStyle>
            <a:lvl1pPr marL="0" indent="0">
              <a:buNone/>
              <a:defRPr i="1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i="1">
                <a:solidFill>
                  <a:schemeClr val="tx1"/>
                </a:solidFill>
                <a:latin typeface="+mn-lt"/>
              </a:defRPr>
            </a:lvl2pPr>
            <a:lvl3pPr marL="914400" indent="0">
              <a:buNone/>
              <a:defRPr i="1">
                <a:solidFill>
                  <a:schemeClr val="tx1"/>
                </a:solidFill>
                <a:latin typeface="+mn-lt"/>
              </a:defRPr>
            </a:lvl3pPr>
            <a:lvl4pPr marL="1371600" indent="0">
              <a:buNone/>
              <a:defRPr i="1">
                <a:solidFill>
                  <a:schemeClr val="tx1"/>
                </a:solidFill>
                <a:latin typeface="+mn-lt"/>
              </a:defRPr>
            </a:lvl4pPr>
            <a:lvl5pPr marL="1828800" indent="0">
              <a:buNone/>
              <a:defRPr i="1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“ Click to add quote..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D6B9DF4D-F2BC-4ED0-9111-08038ED8088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42400" y="3557015"/>
            <a:ext cx="4531294" cy="274312"/>
          </a:xfrm>
          <a:prstGeom prst="rect">
            <a:avLst/>
          </a:prstGeom>
        </p:spPr>
        <p:txBody>
          <a:bodyPr lIns="72000" tIns="36000" rIns="72000" bIns="36000">
            <a:noAutofit/>
          </a:bodyPr>
          <a:lstStyle>
            <a:lvl1pPr marL="0" indent="0" algn="r">
              <a:buNone/>
              <a:defRPr lang="da-DK" sz="1400" b="0" i="0" smtClean="0">
                <a:solidFill>
                  <a:schemeClr val="bg1"/>
                </a:solidFill>
                <a:effectLst/>
              </a:defRPr>
            </a:lvl1pPr>
            <a:lvl2pPr marL="457200" indent="0">
              <a:buNone/>
              <a:defRPr i="1">
                <a:solidFill>
                  <a:schemeClr val="tx1"/>
                </a:solidFill>
                <a:latin typeface="+mn-lt"/>
              </a:defRPr>
            </a:lvl2pPr>
            <a:lvl3pPr marL="914400" indent="0">
              <a:buNone/>
              <a:defRPr i="1">
                <a:solidFill>
                  <a:schemeClr val="tx1"/>
                </a:solidFill>
                <a:latin typeface="+mn-lt"/>
              </a:defRPr>
            </a:lvl3pPr>
            <a:lvl4pPr marL="1371600" indent="0">
              <a:buNone/>
              <a:defRPr i="1">
                <a:solidFill>
                  <a:schemeClr val="tx1"/>
                </a:solidFill>
                <a:latin typeface="+mn-lt"/>
              </a:defRPr>
            </a:lvl4pPr>
            <a:lvl5pPr marL="1828800" indent="0">
              <a:buNone/>
              <a:defRPr i="1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- Insert name of </a:t>
            </a:r>
            <a:r>
              <a:rPr lang="en-US" dirty="0" err="1"/>
              <a:t>quotee</a:t>
            </a:r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9929B9F-11AA-41A9-8ABF-8BCDD8479B88}"/>
              </a:ext>
            </a:extLst>
          </p:cNvPr>
          <p:cNvCxnSpPr/>
          <p:nvPr/>
        </p:nvCxnSpPr>
        <p:spPr>
          <a:xfrm flipH="1">
            <a:off x="840806" y="1155954"/>
            <a:ext cx="2520000" cy="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4526A2FA-6FEB-47DD-8D22-35F2EB968127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096000" y="1"/>
            <a:ext cx="6096000" cy="6857999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dirty="0"/>
              <a:t>Click to image or icon</a:t>
            </a:r>
          </a:p>
          <a:p>
            <a:pPr lvl="0"/>
            <a:r>
              <a:rPr lang="en-US" dirty="0"/>
              <a:t>													</a:t>
            </a:r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da-DK" dirty="0"/>
          </a:p>
        </p:txBody>
      </p:sp>
      <p:sp>
        <p:nvSpPr>
          <p:cNvPr id="12" name="Slide Number Placeholder 3">
            <a:extLst>
              <a:ext uri="{FF2B5EF4-FFF2-40B4-BE49-F238E27FC236}">
                <a16:creationId xmlns:a16="http://schemas.microsoft.com/office/drawing/2014/main" id="{B2B94D57-3FE2-4256-8FB4-1491CE5D1AC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28290" y="6375818"/>
            <a:ext cx="511868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455152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3839">
          <p15:clr>
            <a:srgbClr val="A4A3A4"/>
          </p15:clr>
        </p15:guide>
        <p15:guide id="5" pos="530">
          <p15:clr>
            <a:srgbClr val="A4A3A4"/>
          </p15:clr>
        </p15:guide>
        <p15:guide id="6" pos="3385">
          <p15:clr>
            <a:srgbClr val="A4A3A4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vider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524617FF-8440-4B4B-B5DC-B52456B510C0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" y="0"/>
            <a:ext cx="12192000" cy="6858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image or </a:t>
            </a:r>
            <a:r>
              <a:rPr lang="da-DK" dirty="0" err="1"/>
              <a:t>leave</a:t>
            </a:r>
            <a:r>
              <a:rPr lang="da-DK" dirty="0"/>
              <a:t> to </a:t>
            </a:r>
            <a:r>
              <a:rPr lang="da-DK" dirty="0" err="1"/>
              <a:t>preserve</a:t>
            </a:r>
            <a:r>
              <a:rPr lang="da-DK" dirty="0"/>
              <a:t> </a:t>
            </a:r>
            <a:r>
              <a:rPr lang="da-DK" dirty="0" err="1"/>
              <a:t>colored</a:t>
            </a:r>
            <a:r>
              <a:rPr lang="da-DK" dirty="0"/>
              <a:t> </a:t>
            </a:r>
            <a:r>
              <a:rPr lang="da-DK" dirty="0" err="1"/>
              <a:t>background</a:t>
            </a:r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820790" y="5277691"/>
            <a:ext cx="3459636" cy="45719"/>
          </a:xfrm>
          <a:custGeom>
            <a:avLst/>
            <a:gdLst>
              <a:gd name="connsiteX0" fmla="*/ 0 w 3591613"/>
              <a:gd name="connsiteY0" fmla="*/ 0 h 1357710"/>
              <a:gd name="connsiteX1" fmla="*/ 3591613 w 3591613"/>
              <a:gd name="connsiteY1" fmla="*/ 0 h 1357710"/>
              <a:gd name="connsiteX2" fmla="*/ 3591613 w 3591613"/>
              <a:gd name="connsiteY2" fmla="*/ 1357710 h 1357710"/>
              <a:gd name="connsiteX3" fmla="*/ 0 w 3591613"/>
              <a:gd name="connsiteY3" fmla="*/ 1357710 h 1357710"/>
              <a:gd name="connsiteX4" fmla="*/ 0 w 3591613"/>
              <a:gd name="connsiteY4" fmla="*/ 0 h 1357710"/>
              <a:gd name="connsiteX0" fmla="*/ 0 w 3591613"/>
              <a:gd name="connsiteY0" fmla="*/ 1357710 h 1357710"/>
              <a:gd name="connsiteX1" fmla="*/ 3591613 w 3591613"/>
              <a:gd name="connsiteY1" fmla="*/ 0 h 1357710"/>
              <a:gd name="connsiteX2" fmla="*/ 3591613 w 3591613"/>
              <a:gd name="connsiteY2" fmla="*/ 1357710 h 1357710"/>
              <a:gd name="connsiteX3" fmla="*/ 0 w 3591613"/>
              <a:gd name="connsiteY3" fmla="*/ 1357710 h 1357710"/>
              <a:gd name="connsiteX0" fmla="*/ 0 w 3591613"/>
              <a:gd name="connsiteY0" fmla="*/ 0 h 0"/>
              <a:gd name="connsiteX1" fmla="*/ 3591613 w 3591613"/>
              <a:gd name="connsiteY1" fmla="*/ 0 h 0"/>
              <a:gd name="connsiteX2" fmla="*/ 0 w 3591613"/>
              <a:gd name="connsiteY2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591613">
                <a:moveTo>
                  <a:pt x="0" y="0"/>
                </a:moveTo>
                <a:lnTo>
                  <a:pt x="3591613" y="0"/>
                </a:lnTo>
                <a:lnTo>
                  <a:pt x="0" y="0"/>
                </a:lnTo>
                <a:close/>
              </a:path>
            </a:pathLst>
          </a:custGeom>
          <a:noFill/>
          <a:ln>
            <a:solidFill>
              <a:schemeClr val="bg1"/>
            </a:solidFill>
          </a:ln>
          <a:effectLst/>
        </p:spPr>
        <p:txBody>
          <a:bodyPr tIns="0" bIns="396000" anchor="b" anchorCtr="0">
            <a:normAutofit/>
          </a:bodyPr>
          <a:lstStyle>
            <a:lvl1pPr algn="r">
              <a:defRPr sz="9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01</a:t>
            </a:r>
            <a:endParaRPr lang="en-GB" dirty="0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C0CE3EBF-845A-4679-AC79-706F41CBBB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53359" y="5351097"/>
            <a:ext cx="4791075" cy="808404"/>
          </a:xfrm>
          <a:prstGeom prst="rect">
            <a:avLst/>
          </a:prstGeom>
        </p:spPr>
        <p:txBody>
          <a:bodyPr lIns="72000" tIns="36000" rIns="72000" bIns="36000">
            <a:noAutofit/>
          </a:bodyPr>
          <a:lstStyle>
            <a:lvl1pPr marL="0" indent="0" algn="r">
              <a:buNone/>
              <a:defRPr>
                <a:solidFill>
                  <a:schemeClr val="bg1"/>
                </a:solidFill>
              </a:defRPr>
            </a:lvl1pPr>
            <a:lvl2pPr marL="457200" indent="0" algn="r">
              <a:buNone/>
              <a:defRPr>
                <a:solidFill>
                  <a:schemeClr val="tx1"/>
                </a:solidFill>
              </a:defRPr>
            </a:lvl2pPr>
            <a:lvl3pPr marL="914400" indent="0" algn="r">
              <a:buNone/>
              <a:defRPr>
                <a:solidFill>
                  <a:schemeClr val="tx1"/>
                </a:solidFill>
              </a:defRPr>
            </a:lvl3pPr>
            <a:lvl4pPr marL="1371600" indent="0" algn="r">
              <a:buNone/>
              <a:defRPr>
                <a:solidFill>
                  <a:schemeClr val="tx1"/>
                </a:solidFill>
              </a:defRPr>
            </a:lvl4pPr>
            <a:lvl5pPr marL="1828800" indent="0" algn="r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edit</a:t>
            </a:r>
            <a:r>
              <a:rPr lang="da-DK" dirty="0"/>
              <a:t> </a:t>
            </a:r>
            <a:r>
              <a:rPr lang="da-DK" dirty="0" err="1"/>
              <a:t>chapter</a:t>
            </a:r>
            <a:r>
              <a:rPr lang="da-DK" dirty="0"/>
              <a:t> </a:t>
            </a:r>
            <a:r>
              <a:rPr lang="da-DK" dirty="0" err="1"/>
              <a:t>text</a:t>
            </a:r>
            <a:r>
              <a:rPr lang="da-DK" dirty="0"/>
              <a:t> </a:t>
            </a:r>
          </a:p>
        </p:txBody>
      </p:sp>
      <p:sp>
        <p:nvSpPr>
          <p:cNvPr id="3" name="Date Placeholder 2" hidden="1"/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>
          <a:xfrm>
            <a:off x="0" y="6912000"/>
            <a:ext cx="0" cy="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F510D58F-CFEA-4848-9016-8CF12C266B7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3200" y="1440000"/>
            <a:ext cx="6840000" cy="7114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88159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vider NIRAS SD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524617FF-8440-4B4B-B5DC-B52456B510C0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image or </a:t>
            </a:r>
            <a:r>
              <a:rPr lang="da-DK" dirty="0" err="1"/>
              <a:t>leave</a:t>
            </a:r>
            <a:r>
              <a:rPr lang="da-DK" dirty="0"/>
              <a:t> to </a:t>
            </a:r>
            <a:r>
              <a:rPr lang="da-DK" dirty="0" err="1"/>
              <a:t>preserve</a:t>
            </a:r>
            <a:r>
              <a:rPr lang="da-DK" dirty="0"/>
              <a:t> </a:t>
            </a:r>
            <a:r>
              <a:rPr lang="da-DK" dirty="0" err="1"/>
              <a:t>colored</a:t>
            </a:r>
            <a:r>
              <a:rPr lang="da-DK" dirty="0"/>
              <a:t> </a:t>
            </a:r>
            <a:r>
              <a:rPr lang="da-DK" dirty="0" err="1"/>
              <a:t>background</a:t>
            </a:r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820790" y="5277691"/>
            <a:ext cx="3459636" cy="45719"/>
          </a:xfrm>
          <a:custGeom>
            <a:avLst/>
            <a:gdLst>
              <a:gd name="connsiteX0" fmla="*/ 0 w 3591613"/>
              <a:gd name="connsiteY0" fmla="*/ 0 h 1357710"/>
              <a:gd name="connsiteX1" fmla="*/ 3591613 w 3591613"/>
              <a:gd name="connsiteY1" fmla="*/ 0 h 1357710"/>
              <a:gd name="connsiteX2" fmla="*/ 3591613 w 3591613"/>
              <a:gd name="connsiteY2" fmla="*/ 1357710 h 1357710"/>
              <a:gd name="connsiteX3" fmla="*/ 0 w 3591613"/>
              <a:gd name="connsiteY3" fmla="*/ 1357710 h 1357710"/>
              <a:gd name="connsiteX4" fmla="*/ 0 w 3591613"/>
              <a:gd name="connsiteY4" fmla="*/ 0 h 1357710"/>
              <a:gd name="connsiteX0" fmla="*/ 0 w 3591613"/>
              <a:gd name="connsiteY0" fmla="*/ 1357710 h 1357710"/>
              <a:gd name="connsiteX1" fmla="*/ 3591613 w 3591613"/>
              <a:gd name="connsiteY1" fmla="*/ 0 h 1357710"/>
              <a:gd name="connsiteX2" fmla="*/ 3591613 w 3591613"/>
              <a:gd name="connsiteY2" fmla="*/ 1357710 h 1357710"/>
              <a:gd name="connsiteX3" fmla="*/ 0 w 3591613"/>
              <a:gd name="connsiteY3" fmla="*/ 1357710 h 1357710"/>
              <a:gd name="connsiteX0" fmla="*/ 0 w 3591613"/>
              <a:gd name="connsiteY0" fmla="*/ 0 h 0"/>
              <a:gd name="connsiteX1" fmla="*/ 3591613 w 3591613"/>
              <a:gd name="connsiteY1" fmla="*/ 0 h 0"/>
              <a:gd name="connsiteX2" fmla="*/ 0 w 3591613"/>
              <a:gd name="connsiteY2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591613">
                <a:moveTo>
                  <a:pt x="0" y="0"/>
                </a:moveTo>
                <a:lnTo>
                  <a:pt x="3591613" y="0"/>
                </a:lnTo>
                <a:lnTo>
                  <a:pt x="0" y="0"/>
                </a:lnTo>
                <a:close/>
              </a:path>
            </a:pathLst>
          </a:custGeom>
          <a:noFill/>
          <a:ln>
            <a:solidFill>
              <a:schemeClr val="tx1"/>
            </a:solidFill>
          </a:ln>
          <a:effectLst/>
        </p:spPr>
        <p:txBody>
          <a:bodyPr tIns="0" bIns="396000" anchor="b" anchorCtr="0">
            <a:normAutofit/>
          </a:bodyPr>
          <a:lstStyle>
            <a:lvl1pPr algn="r">
              <a:defRPr sz="9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01</a:t>
            </a:r>
            <a:endParaRPr lang="en-GB" dirty="0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C0CE3EBF-845A-4679-AC79-706F41CBBB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53359" y="5351097"/>
            <a:ext cx="4791075" cy="808404"/>
          </a:xfrm>
          <a:prstGeom prst="rect">
            <a:avLst/>
          </a:prstGeom>
        </p:spPr>
        <p:txBody>
          <a:bodyPr lIns="72000" tIns="36000" rIns="72000" bIns="36000">
            <a:noAutofit/>
          </a:bodyPr>
          <a:lstStyle>
            <a:lvl1pPr marL="0" indent="0" algn="r">
              <a:buNone/>
              <a:defRPr>
                <a:solidFill>
                  <a:schemeClr val="tx1"/>
                </a:solidFill>
              </a:defRPr>
            </a:lvl1pPr>
            <a:lvl2pPr marL="457200" indent="0" algn="r">
              <a:buNone/>
              <a:defRPr>
                <a:solidFill>
                  <a:schemeClr val="tx1"/>
                </a:solidFill>
              </a:defRPr>
            </a:lvl2pPr>
            <a:lvl3pPr marL="914400" indent="0" algn="r">
              <a:buNone/>
              <a:defRPr>
                <a:solidFill>
                  <a:schemeClr val="tx1"/>
                </a:solidFill>
              </a:defRPr>
            </a:lvl3pPr>
            <a:lvl4pPr marL="1371600" indent="0" algn="r">
              <a:buNone/>
              <a:defRPr>
                <a:solidFill>
                  <a:schemeClr val="tx1"/>
                </a:solidFill>
              </a:defRPr>
            </a:lvl4pPr>
            <a:lvl5pPr marL="1828800" indent="0" algn="r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edit</a:t>
            </a:r>
            <a:r>
              <a:rPr lang="da-DK" dirty="0"/>
              <a:t> </a:t>
            </a:r>
            <a:r>
              <a:rPr lang="da-DK" dirty="0" err="1"/>
              <a:t>chapter</a:t>
            </a:r>
            <a:r>
              <a:rPr lang="da-DK" dirty="0"/>
              <a:t> </a:t>
            </a:r>
            <a:r>
              <a:rPr lang="da-DK" dirty="0" err="1"/>
              <a:t>text</a:t>
            </a:r>
            <a:r>
              <a:rPr lang="da-DK" dirty="0"/>
              <a:t> </a:t>
            </a:r>
          </a:p>
        </p:txBody>
      </p:sp>
      <p:sp>
        <p:nvSpPr>
          <p:cNvPr id="3" name="Date Placeholder 2" hidden="1"/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>
          <a:xfrm>
            <a:off x="0" y="6912000"/>
            <a:ext cx="0" cy="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70F6FCC7-0B3D-49C7-8ADF-C39654C9B29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2550" y="1440000"/>
            <a:ext cx="6840000" cy="7114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36916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Blank an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0BF64466-F367-40DF-8BAC-6FB3B331E88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719421ED-E398-409B-84BF-1D7C32EC7EA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52600" y="6339508"/>
            <a:ext cx="1080000" cy="341053"/>
          </a:xfrm>
          <a:prstGeom prst="rect">
            <a:avLst/>
          </a:prstGeom>
        </p:spPr>
      </p:pic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DD956E29-1BC4-45C0-8DA6-E93C4087A9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28290" y="6375818"/>
            <a:ext cx="511868" cy="365125"/>
          </a:xfrm>
        </p:spPr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3215964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acts and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1D69198-452E-4A16-BA0F-DA0C681DA6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25123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9" imgH="358" progId="TCLayout.ActiveDocument.1">
                  <p:embed/>
                </p:oleObj>
              </mc:Choice>
              <mc:Fallback>
                <p:oleObj name="think-cell Slide" r:id="rId3" imgW="359" imgH="35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1D69198-452E-4A16-BA0F-DA0C681DA6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phic 4">
            <a:extLst>
              <a:ext uri="{FF2B5EF4-FFF2-40B4-BE49-F238E27FC236}">
                <a16:creationId xmlns:a16="http://schemas.microsoft.com/office/drawing/2014/main" id="{719421ED-E398-409B-84BF-1D7C32EC7EA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752600" y="6339508"/>
            <a:ext cx="1080000" cy="341053"/>
          </a:xfrm>
          <a:prstGeom prst="rect">
            <a:avLst/>
          </a:prstGeom>
        </p:spPr>
      </p:pic>
      <p:sp>
        <p:nvSpPr>
          <p:cNvPr id="16" name="Title 15">
            <a:extLst>
              <a:ext uri="{FF2B5EF4-FFF2-40B4-BE49-F238E27FC236}">
                <a16:creationId xmlns:a16="http://schemas.microsoft.com/office/drawing/2014/main" id="{D4D02CCD-754C-485C-A11B-E3D7545F58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5" name="Subtitle 2">
            <a:extLst>
              <a:ext uri="{FF2B5EF4-FFF2-40B4-BE49-F238E27FC236}">
                <a16:creationId xmlns:a16="http://schemas.microsoft.com/office/drawing/2014/main" id="{C044FC66-9F4B-45CC-9ACC-4FD8A77270D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8150" y="1001374"/>
            <a:ext cx="11394450" cy="369332"/>
          </a:xfrm>
          <a:prstGeom prst="rect">
            <a:avLst/>
          </a:prstGeom>
        </p:spPr>
        <p:txBody>
          <a:bodyPr wrap="square" lIns="72000" tIns="36000" rIns="72000" bIns="36000">
            <a:no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2pPr>
            <a:lvl3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5pPr>
            <a:lvl6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6pPr>
            <a:lvl7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7pPr>
            <a:lvl8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8pPr>
            <a:lvl9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9pPr>
          </a:lstStyle>
          <a:p>
            <a:r>
              <a:rPr lang="en-US" dirty="0"/>
              <a:t>Click to edit subtit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07A1FDB-D80D-499E-9847-704F166F3683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438150" y="1764000"/>
            <a:ext cx="756000" cy="756000"/>
          </a:xfrm>
        </p:spPr>
        <p:txBody>
          <a:bodyPr wrap="none" lIns="0" tIns="612000" rIns="0">
            <a:normAutofit/>
          </a:bodyPr>
          <a:lstStyle>
            <a:lvl1pPr marL="0" indent="0">
              <a:spcBef>
                <a:spcPts val="0"/>
              </a:spcBef>
              <a:buNone/>
              <a:defRPr sz="1000"/>
            </a:lvl1pPr>
          </a:lstStyle>
          <a:p>
            <a:r>
              <a:rPr lang="en-US" dirty="0"/>
              <a:t>Insert icon. </a:t>
            </a:r>
            <a:br>
              <a:rPr lang="en-US" dirty="0"/>
            </a:br>
            <a:r>
              <a:rPr lang="en-US" dirty="0"/>
              <a:t>Use Crop/Fit.  </a:t>
            </a:r>
            <a:br>
              <a:rPr lang="en-US" dirty="0"/>
            </a:br>
            <a:r>
              <a:rPr lang="en-US" dirty="0"/>
              <a:t>Left align with </a:t>
            </a:r>
            <a:br>
              <a:rPr lang="en-US" dirty="0"/>
            </a:br>
            <a:r>
              <a:rPr lang="en-US" dirty="0"/>
              <a:t>Subtitle </a:t>
            </a:r>
            <a:br>
              <a:rPr lang="en-US" dirty="0"/>
            </a:br>
            <a:r>
              <a:rPr lang="en-US" dirty="0"/>
              <a:t>placeholder</a:t>
            </a:r>
          </a:p>
        </p:txBody>
      </p:sp>
      <p:sp>
        <p:nvSpPr>
          <p:cNvPr id="21" name="Picture Placeholder 3">
            <a:extLst>
              <a:ext uri="{FF2B5EF4-FFF2-40B4-BE49-F238E27FC236}">
                <a16:creationId xmlns:a16="http://schemas.microsoft.com/office/drawing/2014/main" id="{7FE5E57D-CA99-4A62-90B5-399E760F7065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436593" y="3294751"/>
            <a:ext cx="756000" cy="756000"/>
          </a:xfrm>
        </p:spPr>
        <p:txBody>
          <a:bodyPr wrap="none" lIns="0" tIns="612000" rIns="0">
            <a:normAutofit/>
          </a:bodyPr>
          <a:lstStyle>
            <a:lvl1pPr marL="0" indent="0">
              <a:spcBef>
                <a:spcPts val="0"/>
              </a:spcBef>
              <a:buNone/>
              <a:defRPr sz="1000"/>
            </a:lvl1pPr>
          </a:lstStyle>
          <a:p>
            <a:r>
              <a:rPr lang="en-US" dirty="0"/>
              <a:t>Insert icon. </a:t>
            </a:r>
            <a:br>
              <a:rPr lang="en-US" dirty="0"/>
            </a:br>
            <a:r>
              <a:rPr lang="en-US" dirty="0"/>
              <a:t>Use Crop/Fit.  </a:t>
            </a:r>
            <a:br>
              <a:rPr lang="en-US" dirty="0"/>
            </a:br>
            <a:r>
              <a:rPr lang="en-US" dirty="0"/>
              <a:t>Left align with </a:t>
            </a:r>
            <a:br>
              <a:rPr lang="en-US" dirty="0"/>
            </a:br>
            <a:r>
              <a:rPr lang="en-US" dirty="0"/>
              <a:t>Subtitle </a:t>
            </a:r>
            <a:br>
              <a:rPr lang="en-US" dirty="0"/>
            </a:br>
            <a:r>
              <a:rPr lang="en-US" dirty="0"/>
              <a:t>placeholder</a:t>
            </a:r>
          </a:p>
        </p:txBody>
      </p:sp>
      <p:sp>
        <p:nvSpPr>
          <p:cNvPr id="22" name="Picture Placeholder 4">
            <a:extLst>
              <a:ext uri="{FF2B5EF4-FFF2-40B4-BE49-F238E27FC236}">
                <a16:creationId xmlns:a16="http://schemas.microsoft.com/office/drawing/2014/main" id="{213528FE-2D0F-4594-81EC-A33B658B87D6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438150" y="4825790"/>
            <a:ext cx="756000" cy="756000"/>
          </a:xfrm>
        </p:spPr>
        <p:txBody>
          <a:bodyPr wrap="none" lIns="0" tIns="612000" rIns="0">
            <a:normAutofit/>
          </a:bodyPr>
          <a:lstStyle>
            <a:lvl1pPr marL="0" indent="0">
              <a:spcBef>
                <a:spcPts val="0"/>
              </a:spcBef>
              <a:buNone/>
              <a:defRPr sz="1000"/>
            </a:lvl1pPr>
          </a:lstStyle>
          <a:p>
            <a:r>
              <a:rPr lang="en-US" dirty="0"/>
              <a:t>Insert icon. </a:t>
            </a:r>
            <a:br>
              <a:rPr lang="en-US" dirty="0"/>
            </a:br>
            <a:r>
              <a:rPr lang="en-US" dirty="0"/>
              <a:t>Use Crop/Fit.  </a:t>
            </a:r>
            <a:br>
              <a:rPr lang="en-US" dirty="0"/>
            </a:br>
            <a:r>
              <a:rPr lang="en-US" dirty="0"/>
              <a:t>Left align with </a:t>
            </a:r>
            <a:br>
              <a:rPr lang="en-US" dirty="0"/>
            </a:br>
            <a:r>
              <a:rPr lang="en-US" dirty="0"/>
              <a:t>Subtitle </a:t>
            </a:r>
            <a:br>
              <a:rPr lang="en-US" dirty="0"/>
            </a:br>
            <a:r>
              <a:rPr lang="en-US" dirty="0"/>
              <a:t>placeholder</a:t>
            </a:r>
          </a:p>
        </p:txBody>
      </p:sp>
      <p:sp>
        <p:nvSpPr>
          <p:cNvPr id="38" name="Picture Placeholder 5">
            <a:extLst>
              <a:ext uri="{FF2B5EF4-FFF2-40B4-BE49-F238E27FC236}">
                <a16:creationId xmlns:a16="http://schemas.microsoft.com/office/drawing/2014/main" id="{84964C0D-ED6D-450B-A222-39167CC9C563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6370638" y="1764000"/>
            <a:ext cx="756000" cy="756000"/>
          </a:xfrm>
        </p:spPr>
        <p:txBody>
          <a:bodyPr wrap="none" lIns="0" tIns="612000" rIns="0">
            <a:normAutofit/>
          </a:bodyPr>
          <a:lstStyle>
            <a:lvl1pPr marL="0" indent="0">
              <a:spcBef>
                <a:spcPts val="0"/>
              </a:spcBef>
              <a:buNone/>
              <a:defRPr sz="1000"/>
            </a:lvl1pPr>
          </a:lstStyle>
          <a:p>
            <a:r>
              <a:rPr lang="en-US" dirty="0"/>
              <a:t>Insert icon. </a:t>
            </a:r>
            <a:br>
              <a:rPr lang="en-US" dirty="0"/>
            </a:br>
            <a:r>
              <a:rPr lang="en-US" dirty="0"/>
              <a:t>Use Crop/Fit.  </a:t>
            </a:r>
            <a:br>
              <a:rPr lang="en-US" dirty="0"/>
            </a:br>
            <a:r>
              <a:rPr lang="en-US" dirty="0"/>
              <a:t>Left align with </a:t>
            </a:r>
            <a:br>
              <a:rPr lang="en-US" dirty="0"/>
            </a:br>
            <a:r>
              <a:rPr lang="en-US" dirty="0"/>
              <a:t>Subtitle </a:t>
            </a:r>
            <a:br>
              <a:rPr lang="en-US" dirty="0"/>
            </a:br>
            <a:r>
              <a:rPr lang="en-US" dirty="0"/>
              <a:t>placeholder</a:t>
            </a:r>
          </a:p>
        </p:txBody>
      </p:sp>
      <p:sp>
        <p:nvSpPr>
          <p:cNvPr id="39" name="Picture Placeholder 6">
            <a:extLst>
              <a:ext uri="{FF2B5EF4-FFF2-40B4-BE49-F238E27FC236}">
                <a16:creationId xmlns:a16="http://schemas.microsoft.com/office/drawing/2014/main" id="{2F21E808-CB4B-46D3-8384-F2985B649CF1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6369081" y="3294751"/>
            <a:ext cx="756000" cy="756000"/>
          </a:xfrm>
        </p:spPr>
        <p:txBody>
          <a:bodyPr wrap="none" lIns="0" tIns="612000" rIns="0">
            <a:normAutofit/>
          </a:bodyPr>
          <a:lstStyle>
            <a:lvl1pPr marL="0" indent="0">
              <a:spcBef>
                <a:spcPts val="0"/>
              </a:spcBef>
              <a:buNone/>
              <a:defRPr sz="1000"/>
            </a:lvl1pPr>
          </a:lstStyle>
          <a:p>
            <a:r>
              <a:rPr lang="en-US" dirty="0"/>
              <a:t>Insert icon. </a:t>
            </a:r>
            <a:br>
              <a:rPr lang="en-US" dirty="0"/>
            </a:br>
            <a:r>
              <a:rPr lang="en-US" dirty="0"/>
              <a:t>Use Crop/Fit.  </a:t>
            </a:r>
            <a:br>
              <a:rPr lang="en-US" dirty="0"/>
            </a:br>
            <a:r>
              <a:rPr lang="en-US" dirty="0"/>
              <a:t>Left align with </a:t>
            </a:r>
            <a:br>
              <a:rPr lang="en-US" dirty="0"/>
            </a:br>
            <a:r>
              <a:rPr lang="en-US" dirty="0"/>
              <a:t>Subtitle </a:t>
            </a:r>
            <a:br>
              <a:rPr lang="en-US" dirty="0"/>
            </a:br>
            <a:r>
              <a:rPr lang="en-US" dirty="0"/>
              <a:t>placeholder</a:t>
            </a:r>
          </a:p>
        </p:txBody>
      </p:sp>
      <p:sp>
        <p:nvSpPr>
          <p:cNvPr id="40" name="Picture Placeholder 7">
            <a:extLst>
              <a:ext uri="{FF2B5EF4-FFF2-40B4-BE49-F238E27FC236}">
                <a16:creationId xmlns:a16="http://schemas.microsoft.com/office/drawing/2014/main" id="{5988548A-34E5-4B1E-846F-E6EFFEA2CC57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6369081" y="4825790"/>
            <a:ext cx="756000" cy="756000"/>
          </a:xfrm>
        </p:spPr>
        <p:txBody>
          <a:bodyPr wrap="none" lIns="0" tIns="612000" rIns="0">
            <a:normAutofit/>
          </a:bodyPr>
          <a:lstStyle>
            <a:lvl1pPr marL="0" indent="0">
              <a:spcBef>
                <a:spcPts val="0"/>
              </a:spcBef>
              <a:buNone/>
              <a:defRPr sz="1000"/>
            </a:lvl1pPr>
          </a:lstStyle>
          <a:p>
            <a:r>
              <a:rPr lang="en-US" dirty="0"/>
              <a:t>Insert icon. </a:t>
            </a:r>
            <a:br>
              <a:rPr lang="en-US" dirty="0"/>
            </a:br>
            <a:r>
              <a:rPr lang="en-US" dirty="0"/>
              <a:t>Use Crop/Fit.  </a:t>
            </a:r>
            <a:br>
              <a:rPr lang="en-US" dirty="0"/>
            </a:br>
            <a:r>
              <a:rPr lang="en-US" dirty="0"/>
              <a:t>Left align with </a:t>
            </a:r>
            <a:br>
              <a:rPr lang="en-US" dirty="0"/>
            </a:br>
            <a:r>
              <a:rPr lang="en-US" dirty="0"/>
              <a:t>Subtitle </a:t>
            </a:r>
            <a:br>
              <a:rPr lang="en-US" dirty="0"/>
            </a:br>
            <a:r>
              <a:rPr lang="en-US" dirty="0"/>
              <a:t>placeholder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59F410AC-9BD6-4F9A-A2CE-355F84B97CE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395162" y="1763712"/>
            <a:ext cx="4500000" cy="1332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6A713E59-1747-4F11-84B1-535B75DEEF2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395162" y="3294751"/>
            <a:ext cx="4500000" cy="1332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339BDACB-DE68-479E-B621-BDEDCA88900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395162" y="4825790"/>
            <a:ext cx="4499999" cy="1332000"/>
          </a:xfrm>
        </p:spPr>
        <p:txBody>
          <a:bodyPr/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08CA7D1D-7EF5-4891-888B-935F28867BA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332600" y="1763712"/>
            <a:ext cx="4500000" cy="1332000"/>
          </a:xfrm>
        </p:spPr>
        <p:txBody>
          <a:bodyPr/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4A69F13-32AF-4F39-AC25-C1AE9BB10C3F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32600" y="3294751"/>
            <a:ext cx="4500000" cy="1332000"/>
          </a:xfrm>
        </p:spPr>
        <p:txBody>
          <a:bodyPr/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3251C952-8A33-49CF-9AAD-6FCF6D1BB0A6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332600" y="4825790"/>
            <a:ext cx="4500000" cy="1332000"/>
          </a:xfrm>
        </p:spPr>
        <p:txBody>
          <a:bodyPr/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6CDD2BA-B706-4B3B-8D63-4B1BAEAF2D3E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08523670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4" orient="horz" pos="1111">
          <p15:clr>
            <a:srgbClr val="A4A3A4"/>
          </p15:clr>
        </p15:guide>
        <p15:guide id="5" pos="3716">
          <p15:clr>
            <a:srgbClr val="A4A3A4"/>
          </p15:clr>
        </p15:guide>
        <p15:guide id="6" pos="4013">
          <p15:clr>
            <a:srgbClr val="A4A3A4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lank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0A9B90C-7BC0-4FB7-9360-47D5BE4787E5}"/>
              </a:ext>
            </a:extLst>
          </p:cNvPr>
          <p:cNvSpPr/>
          <p:nvPr/>
        </p:nvSpPr>
        <p:spPr>
          <a:xfrm>
            <a:off x="0" y="3429000"/>
            <a:ext cx="6096000" cy="3429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9008606-37EB-42EF-8D91-B8BA41737358}"/>
              </a:ext>
            </a:extLst>
          </p:cNvPr>
          <p:cNvSpPr/>
          <p:nvPr/>
        </p:nvSpPr>
        <p:spPr>
          <a:xfrm>
            <a:off x="6096000" y="0"/>
            <a:ext cx="6096000" cy="3429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DB8EEF2-F6F0-4392-9B4F-679635295F85}"/>
              </a:ext>
            </a:extLst>
          </p:cNvPr>
          <p:cNvSpPr/>
          <p:nvPr/>
        </p:nvSpPr>
        <p:spPr>
          <a:xfrm>
            <a:off x="0" y="0"/>
            <a:ext cx="6096000" cy="3429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9C0EAD1-45A5-4F30-B47D-F5B98B70DCFC}"/>
              </a:ext>
            </a:extLst>
          </p:cNvPr>
          <p:cNvSpPr/>
          <p:nvPr/>
        </p:nvSpPr>
        <p:spPr>
          <a:xfrm>
            <a:off x="6096000" y="3429000"/>
            <a:ext cx="6096000" cy="3429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CA03142-9AF7-426C-B896-42F26271435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8000" y="425450"/>
            <a:ext cx="5040000" cy="859846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80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</a:lstStyle>
          <a:p>
            <a:pPr lvl="0"/>
            <a:r>
              <a:rPr lang="en-US" dirty="0"/>
              <a:t>Click to edit text</a:t>
            </a:r>
          </a:p>
          <a:p>
            <a:pPr lvl="0"/>
            <a:endParaRPr lang="en-US" dirty="0"/>
          </a:p>
          <a:p>
            <a:pPr lvl="0"/>
            <a:r>
              <a:rPr lang="en-US" dirty="0"/>
              <a:t>Add icon for illustration</a:t>
            </a:r>
            <a:endParaRPr lang="da-DK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ABCFF17A-8745-4131-80D1-814733A6C1F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24000" y="425450"/>
            <a:ext cx="5040000" cy="25781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accent4"/>
                </a:solidFill>
              </a:defRPr>
            </a:lvl2pPr>
            <a:lvl3pPr>
              <a:defRPr>
                <a:solidFill>
                  <a:schemeClr val="accent4"/>
                </a:solidFill>
              </a:defRPr>
            </a:lvl3pPr>
            <a:lvl4pPr>
              <a:defRPr>
                <a:solidFill>
                  <a:schemeClr val="accent4"/>
                </a:solidFill>
              </a:defRPr>
            </a:lvl4pPr>
            <a:lvl5pPr>
              <a:defRPr>
                <a:solidFill>
                  <a:schemeClr val="accent4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endParaRPr lang="en-US" dirty="0"/>
          </a:p>
          <a:p>
            <a:pPr lvl="2"/>
            <a:endParaRPr lang="en-US" dirty="0"/>
          </a:p>
          <a:p>
            <a:pPr lvl="3"/>
            <a:endParaRPr lang="en-US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C24E20B2-841C-4FB9-A8A0-913B9ED0B21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28000" y="3854450"/>
            <a:ext cx="5040000" cy="2578100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tx1"/>
                </a:solidFill>
                <a:latin typeface="+mn-lt"/>
              </a:defRPr>
            </a:lvl1pPr>
            <a:lvl2pPr>
              <a:defRPr b="1">
                <a:solidFill>
                  <a:schemeClr val="accent5"/>
                </a:solidFill>
                <a:latin typeface="+mn-lt"/>
              </a:defRPr>
            </a:lvl2pPr>
            <a:lvl3pPr>
              <a:defRPr b="1">
                <a:solidFill>
                  <a:schemeClr val="accent5"/>
                </a:solidFill>
                <a:latin typeface="+mn-lt"/>
              </a:defRPr>
            </a:lvl3pPr>
            <a:lvl4pPr>
              <a:defRPr b="1">
                <a:solidFill>
                  <a:schemeClr val="accent5"/>
                </a:solidFill>
                <a:latin typeface="+mn-lt"/>
              </a:defRPr>
            </a:lvl4pPr>
            <a:lvl5pPr>
              <a:defRPr b="1">
                <a:solidFill>
                  <a:schemeClr val="accent5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endParaRPr lang="en-US" dirty="0"/>
          </a:p>
        </p:txBody>
      </p:sp>
      <p:sp>
        <p:nvSpPr>
          <p:cNvPr id="17" name="Text Placeholder 19">
            <a:extLst>
              <a:ext uri="{FF2B5EF4-FFF2-40B4-BE49-F238E27FC236}">
                <a16:creationId xmlns:a16="http://schemas.microsoft.com/office/drawing/2014/main" id="{3E6EA14F-0168-4FFE-9AE8-ED3133679DA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24000" y="3873358"/>
            <a:ext cx="5040000" cy="8598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</a:lstStyle>
          <a:p>
            <a:pPr lvl="0"/>
            <a:r>
              <a:rPr lang="en-US" dirty="0"/>
              <a:t>Click to edit text</a:t>
            </a:r>
          </a:p>
          <a:p>
            <a:pPr lvl="0"/>
            <a:endParaRPr lang="en-US" dirty="0"/>
          </a:p>
          <a:p>
            <a:pPr lvl="0"/>
            <a:r>
              <a:rPr lang="en-US" dirty="0"/>
              <a:t>Add icon for illustration</a:t>
            </a:r>
            <a:endParaRPr lang="da-DK" dirty="0"/>
          </a:p>
        </p:txBody>
      </p:sp>
      <p:sp>
        <p:nvSpPr>
          <p:cNvPr id="3" name="Date Placeholder 2" hidden="1"/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>
          <a:xfrm>
            <a:off x="0" y="6858000"/>
            <a:ext cx="0" cy="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2763289C-9708-4506-9CC7-3B98B96B8FE2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528000" y="1534023"/>
            <a:ext cx="1080000" cy="1080000"/>
          </a:xfrm>
        </p:spPr>
        <p:txBody>
          <a:bodyPr wrap="none" lIns="0" tIns="1260000" rIns="0">
            <a:normAutofit/>
          </a:bodyPr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icon. Use Crop/Fit. Left align with text above</a:t>
            </a:r>
          </a:p>
        </p:txBody>
      </p:sp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7E939C39-BEBD-4340-BA07-06BD7F4DE82E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6624000" y="5039602"/>
            <a:ext cx="1080000" cy="1080000"/>
          </a:xfrm>
        </p:spPr>
        <p:txBody>
          <a:bodyPr wrap="none" lIns="0" tIns="1260000" rIns="0">
            <a:normAutofit/>
          </a:bodyPr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icon. Use Crop/Fit. Left align with text above </a:t>
            </a: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748045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me journ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>
            <a:extLst>
              <a:ext uri="{FF2B5EF4-FFF2-40B4-BE49-F238E27FC236}">
                <a16:creationId xmlns:a16="http://schemas.microsoft.com/office/drawing/2014/main" id="{23A00839-FB20-42CA-A14D-C7B380E18C9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8150" y="1001374"/>
            <a:ext cx="11394450" cy="369332"/>
          </a:xfrm>
          <a:prstGeom prst="rect">
            <a:avLst/>
          </a:prstGeom>
        </p:spPr>
        <p:txBody>
          <a:bodyPr wrap="square" lIns="72000" tIns="36000" rIns="72000" bIns="36000">
            <a:no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2pPr>
            <a:lvl3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5pPr>
            <a:lvl6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6pPr>
            <a:lvl7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7pPr>
            <a:lvl8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8pPr>
            <a:lvl9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9pPr>
          </a:lstStyle>
          <a:p>
            <a:r>
              <a:rPr lang="en-US" dirty="0"/>
              <a:t>Click to edit subtitle</a:t>
            </a:r>
          </a:p>
        </p:txBody>
      </p:sp>
      <p:sp>
        <p:nvSpPr>
          <p:cNvPr id="10" name="Freeform: Shape 7431">
            <a:extLst>
              <a:ext uri="{FF2B5EF4-FFF2-40B4-BE49-F238E27FC236}">
                <a16:creationId xmlns:a16="http://schemas.microsoft.com/office/drawing/2014/main" id="{1954DBDB-8065-4224-B809-19548EB3D126}"/>
              </a:ext>
            </a:extLst>
          </p:cNvPr>
          <p:cNvSpPr/>
          <p:nvPr/>
        </p:nvSpPr>
        <p:spPr>
          <a:xfrm>
            <a:off x="3589422" y="2289826"/>
            <a:ext cx="5017763" cy="953908"/>
          </a:xfrm>
          <a:custGeom>
            <a:avLst/>
            <a:gdLst>
              <a:gd name="connsiteX0" fmla="*/ 10816 w 13304"/>
              <a:gd name="connsiteY0" fmla="*/ 0 h 10000"/>
              <a:gd name="connsiteX1" fmla="*/ 3304 w 13304"/>
              <a:gd name="connsiteY1" fmla="*/ 0 h 10000"/>
              <a:gd name="connsiteX2" fmla="*/ 4173 w 13304"/>
              <a:gd name="connsiteY2" fmla="*/ 3444 h 10000"/>
              <a:gd name="connsiteX3" fmla="*/ 0 w 13304"/>
              <a:gd name="connsiteY3" fmla="*/ 6889 h 10000"/>
              <a:gd name="connsiteX4" fmla="*/ 8378 w 13304"/>
              <a:gd name="connsiteY4" fmla="*/ 6889 h 10000"/>
              <a:gd name="connsiteX5" fmla="*/ 10781 w 13304"/>
              <a:gd name="connsiteY5" fmla="*/ 6889 h 10000"/>
              <a:gd name="connsiteX6" fmla="*/ 11559 w 13304"/>
              <a:gd name="connsiteY6" fmla="*/ 10000 h 10000"/>
              <a:gd name="connsiteX7" fmla="*/ 13304 w 13304"/>
              <a:gd name="connsiteY7" fmla="*/ 10000 h 10000"/>
              <a:gd name="connsiteX8" fmla="*/ 10816 w 13304"/>
              <a:gd name="connsiteY8" fmla="*/ 0 h 10000"/>
              <a:gd name="connsiteX0" fmla="*/ 10816 w 13304"/>
              <a:gd name="connsiteY0" fmla="*/ 50 h 10050"/>
              <a:gd name="connsiteX1" fmla="*/ 113 w 13304"/>
              <a:gd name="connsiteY1" fmla="*/ 0 h 10050"/>
              <a:gd name="connsiteX2" fmla="*/ 4173 w 13304"/>
              <a:gd name="connsiteY2" fmla="*/ 3494 h 10050"/>
              <a:gd name="connsiteX3" fmla="*/ 0 w 13304"/>
              <a:gd name="connsiteY3" fmla="*/ 6939 h 10050"/>
              <a:gd name="connsiteX4" fmla="*/ 8378 w 13304"/>
              <a:gd name="connsiteY4" fmla="*/ 6939 h 10050"/>
              <a:gd name="connsiteX5" fmla="*/ 10781 w 13304"/>
              <a:gd name="connsiteY5" fmla="*/ 6939 h 10050"/>
              <a:gd name="connsiteX6" fmla="*/ 11559 w 13304"/>
              <a:gd name="connsiteY6" fmla="*/ 10050 h 10050"/>
              <a:gd name="connsiteX7" fmla="*/ 13304 w 13304"/>
              <a:gd name="connsiteY7" fmla="*/ 10050 h 10050"/>
              <a:gd name="connsiteX8" fmla="*/ 10816 w 13304"/>
              <a:gd name="connsiteY8" fmla="*/ 50 h 10050"/>
              <a:gd name="connsiteX0" fmla="*/ 10816 w 13304"/>
              <a:gd name="connsiteY0" fmla="*/ 50 h 10050"/>
              <a:gd name="connsiteX1" fmla="*/ 113 w 13304"/>
              <a:gd name="connsiteY1" fmla="*/ 0 h 10050"/>
              <a:gd name="connsiteX2" fmla="*/ 919 w 13304"/>
              <a:gd name="connsiteY2" fmla="*/ 3444 h 10050"/>
              <a:gd name="connsiteX3" fmla="*/ 0 w 13304"/>
              <a:gd name="connsiteY3" fmla="*/ 6939 h 10050"/>
              <a:gd name="connsiteX4" fmla="*/ 8378 w 13304"/>
              <a:gd name="connsiteY4" fmla="*/ 6939 h 10050"/>
              <a:gd name="connsiteX5" fmla="*/ 10781 w 13304"/>
              <a:gd name="connsiteY5" fmla="*/ 6939 h 10050"/>
              <a:gd name="connsiteX6" fmla="*/ 11559 w 13304"/>
              <a:gd name="connsiteY6" fmla="*/ 10050 h 10050"/>
              <a:gd name="connsiteX7" fmla="*/ 13304 w 13304"/>
              <a:gd name="connsiteY7" fmla="*/ 10050 h 10050"/>
              <a:gd name="connsiteX8" fmla="*/ 10816 w 13304"/>
              <a:gd name="connsiteY8" fmla="*/ 50 h 10050"/>
              <a:gd name="connsiteX0" fmla="*/ 10816 w 13304"/>
              <a:gd name="connsiteY0" fmla="*/ 0 h 10000"/>
              <a:gd name="connsiteX1" fmla="*/ 63 w 13304"/>
              <a:gd name="connsiteY1" fmla="*/ 0 h 10000"/>
              <a:gd name="connsiteX2" fmla="*/ 919 w 13304"/>
              <a:gd name="connsiteY2" fmla="*/ 3394 h 10000"/>
              <a:gd name="connsiteX3" fmla="*/ 0 w 13304"/>
              <a:gd name="connsiteY3" fmla="*/ 6889 h 10000"/>
              <a:gd name="connsiteX4" fmla="*/ 8378 w 13304"/>
              <a:gd name="connsiteY4" fmla="*/ 6889 h 10000"/>
              <a:gd name="connsiteX5" fmla="*/ 10781 w 13304"/>
              <a:gd name="connsiteY5" fmla="*/ 6889 h 10000"/>
              <a:gd name="connsiteX6" fmla="*/ 11559 w 13304"/>
              <a:gd name="connsiteY6" fmla="*/ 10000 h 10000"/>
              <a:gd name="connsiteX7" fmla="*/ 13304 w 13304"/>
              <a:gd name="connsiteY7" fmla="*/ 10000 h 10000"/>
              <a:gd name="connsiteX8" fmla="*/ 10816 w 13304"/>
              <a:gd name="connsiteY8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304" h="10000">
                <a:moveTo>
                  <a:pt x="10816" y="0"/>
                </a:moveTo>
                <a:lnTo>
                  <a:pt x="63" y="0"/>
                </a:lnTo>
                <a:lnTo>
                  <a:pt x="919" y="3394"/>
                </a:lnTo>
                <a:lnTo>
                  <a:pt x="0" y="6889"/>
                </a:lnTo>
                <a:lnTo>
                  <a:pt x="8378" y="6889"/>
                </a:lnTo>
                <a:lnTo>
                  <a:pt x="10781" y="6889"/>
                </a:lnTo>
                <a:cubicBezTo>
                  <a:pt x="11216" y="6917"/>
                  <a:pt x="11559" y="8306"/>
                  <a:pt x="11559" y="10000"/>
                </a:cubicBezTo>
                <a:lnTo>
                  <a:pt x="13304" y="10000"/>
                </a:lnTo>
                <a:cubicBezTo>
                  <a:pt x="13304" y="4528"/>
                  <a:pt x="12190" y="56"/>
                  <a:pt x="10816" y="0"/>
                </a:cubicBezTo>
                <a:close/>
              </a:path>
            </a:pathLst>
          </a:custGeom>
          <a:solidFill>
            <a:schemeClr val="bg2">
              <a:alpha val="55686"/>
            </a:schemeClr>
          </a:solidFill>
          <a:ln cap="flat">
            <a:noFill/>
            <a:prstDash val="solid"/>
          </a:ln>
        </p:spPr>
        <p:txBody>
          <a:bodyPr wrap="none" lIns="90000" tIns="45000" rIns="90000" bIns="45000" anchor="ctr" anchorCtr="1" compatLnSpc="0"/>
          <a:lstStyle/>
          <a:p>
            <a:pPr defTabSz="1828434" eaLnBrk="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11" name="Freeform: Shape 7432">
            <a:extLst>
              <a:ext uri="{FF2B5EF4-FFF2-40B4-BE49-F238E27FC236}">
                <a16:creationId xmlns:a16="http://schemas.microsoft.com/office/drawing/2014/main" id="{163A1AE6-7163-4E61-B438-D7538E3D291D}"/>
              </a:ext>
            </a:extLst>
          </p:cNvPr>
          <p:cNvSpPr/>
          <p:nvPr/>
        </p:nvSpPr>
        <p:spPr>
          <a:xfrm>
            <a:off x="1828932" y="2290839"/>
            <a:ext cx="1752312" cy="656053"/>
          </a:xfrm>
          <a:custGeom>
            <a:avLst/>
            <a:gdLst/>
            <a:ahLst/>
            <a:cxnLst>
              <a:cxn ang="3cd4">
                <a:pos x="hc" y="t"/>
              </a:cxn>
              <a:cxn ang="cd2">
                <a:pos x="l" y="vc"/>
              </a:cxn>
              <a:cxn ang="cd4">
                <a:pos x="hc" y="b"/>
              </a:cxn>
              <a:cxn ang="0">
                <a:pos x="r" y="vc"/>
              </a:cxn>
            </a:cxnLst>
            <a:rect l="l" t="t" r="r" b="b"/>
            <a:pathLst>
              <a:path w="660" h="248">
                <a:moveTo>
                  <a:pt x="660" y="124"/>
                </a:moveTo>
                <a:lnTo>
                  <a:pt x="536" y="0"/>
                </a:lnTo>
                <a:lnTo>
                  <a:pt x="0" y="0"/>
                </a:lnTo>
                <a:lnTo>
                  <a:pt x="124" y="124"/>
                </a:lnTo>
                <a:lnTo>
                  <a:pt x="0" y="248"/>
                </a:lnTo>
                <a:lnTo>
                  <a:pt x="536" y="248"/>
                </a:lnTo>
                <a:close/>
              </a:path>
            </a:pathLst>
          </a:custGeom>
          <a:solidFill>
            <a:schemeClr val="accent2"/>
          </a:solidFill>
          <a:ln cap="flat">
            <a:noFill/>
            <a:prstDash val="solid"/>
          </a:ln>
        </p:spPr>
        <p:txBody>
          <a:bodyPr wrap="none" lIns="90000" tIns="45000" rIns="90000" bIns="45000" anchor="ctr" anchorCtr="1" compatLnSpc="0"/>
          <a:lstStyle/>
          <a:p>
            <a:pPr defTabSz="1828434" eaLnBrk="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12" name="Freeform: Shape 7433">
            <a:extLst>
              <a:ext uri="{FF2B5EF4-FFF2-40B4-BE49-F238E27FC236}">
                <a16:creationId xmlns:a16="http://schemas.microsoft.com/office/drawing/2014/main" id="{49585EA3-0E22-422D-8464-2588246E6110}"/>
              </a:ext>
            </a:extLst>
          </p:cNvPr>
          <p:cNvSpPr/>
          <p:nvPr/>
        </p:nvSpPr>
        <p:spPr>
          <a:xfrm>
            <a:off x="3340328" y="2289826"/>
            <a:ext cx="478888" cy="656053"/>
          </a:xfrm>
          <a:custGeom>
            <a:avLst/>
            <a:gdLst/>
            <a:ahLst/>
            <a:cxnLst>
              <a:cxn ang="3cd4">
                <a:pos x="hc" y="t"/>
              </a:cxn>
              <a:cxn ang="cd2">
                <a:pos x="l" y="vc"/>
              </a:cxn>
              <a:cxn ang="cd4">
                <a:pos x="hc" y="b"/>
              </a:cxn>
              <a:cxn ang="0">
                <a:pos x="r" y="vc"/>
              </a:cxn>
            </a:cxnLst>
            <a:rect l="l" t="t" r="r" b="b"/>
            <a:pathLst>
              <a:path w="181" h="248">
                <a:moveTo>
                  <a:pt x="181" y="124"/>
                </a:moveTo>
                <a:lnTo>
                  <a:pt x="57" y="0"/>
                </a:lnTo>
                <a:lnTo>
                  <a:pt x="0" y="0"/>
                </a:lnTo>
                <a:lnTo>
                  <a:pt x="125" y="124"/>
                </a:lnTo>
                <a:lnTo>
                  <a:pt x="0" y="248"/>
                </a:lnTo>
                <a:lnTo>
                  <a:pt x="57" y="248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 cap="flat">
            <a:noFill/>
            <a:prstDash val="solid"/>
          </a:ln>
        </p:spPr>
        <p:txBody>
          <a:bodyPr wrap="none" lIns="90000" tIns="45000" rIns="90000" bIns="45000" anchor="ctr" anchorCtr="1" compatLnSpc="0"/>
          <a:lstStyle/>
          <a:p>
            <a:pPr defTabSz="1828434" eaLnBrk="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13" name="Freeform: Shape 7434">
            <a:extLst>
              <a:ext uri="{FF2B5EF4-FFF2-40B4-BE49-F238E27FC236}">
                <a16:creationId xmlns:a16="http://schemas.microsoft.com/office/drawing/2014/main" id="{83D91EAF-1DCE-46BF-B2EA-D3E993E5800E}"/>
              </a:ext>
            </a:extLst>
          </p:cNvPr>
          <p:cNvSpPr/>
          <p:nvPr/>
        </p:nvSpPr>
        <p:spPr>
          <a:xfrm>
            <a:off x="8095399" y="4795672"/>
            <a:ext cx="468056" cy="659147"/>
          </a:xfrm>
          <a:custGeom>
            <a:avLst/>
            <a:gdLst/>
            <a:ahLst/>
            <a:cxnLst>
              <a:cxn ang="3cd4">
                <a:pos x="hc" y="t"/>
              </a:cxn>
              <a:cxn ang="cd2">
                <a:pos x="l" y="vc"/>
              </a:cxn>
              <a:cxn ang="cd4">
                <a:pos x="hc" y="b"/>
              </a:cxn>
              <a:cxn ang="0">
                <a:pos x="r" y="vc"/>
              </a:cxn>
            </a:cxnLst>
            <a:rect l="l" t="t" r="r" b="b"/>
            <a:pathLst>
              <a:path w="177" h="249">
                <a:moveTo>
                  <a:pt x="53" y="0"/>
                </a:moveTo>
                <a:lnTo>
                  <a:pt x="0" y="0"/>
                </a:lnTo>
                <a:lnTo>
                  <a:pt x="124" y="124"/>
                </a:lnTo>
                <a:lnTo>
                  <a:pt x="0" y="249"/>
                </a:lnTo>
                <a:lnTo>
                  <a:pt x="53" y="249"/>
                </a:lnTo>
                <a:lnTo>
                  <a:pt x="177" y="124"/>
                </a:lnTo>
                <a:close/>
              </a:path>
            </a:pathLst>
          </a:custGeom>
          <a:solidFill>
            <a:schemeClr val="accent1"/>
          </a:solidFill>
          <a:ln cap="flat">
            <a:noFill/>
            <a:prstDash val="solid"/>
          </a:ln>
        </p:spPr>
        <p:txBody>
          <a:bodyPr wrap="none" lIns="90000" tIns="45000" rIns="90000" bIns="45000" anchor="ctr" anchorCtr="1" compatLnSpc="0"/>
          <a:lstStyle/>
          <a:p>
            <a:pPr defTabSz="1828434" eaLnBrk="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14" name="Freeform: Shape 7435">
            <a:extLst>
              <a:ext uri="{FF2B5EF4-FFF2-40B4-BE49-F238E27FC236}">
                <a16:creationId xmlns:a16="http://schemas.microsoft.com/office/drawing/2014/main" id="{DE934865-3D90-4A87-8545-42420C2D9948}"/>
              </a:ext>
            </a:extLst>
          </p:cNvPr>
          <p:cNvSpPr/>
          <p:nvPr/>
        </p:nvSpPr>
        <p:spPr>
          <a:xfrm>
            <a:off x="2941354" y="3243734"/>
            <a:ext cx="5660007" cy="1254083"/>
          </a:xfrm>
          <a:custGeom>
            <a:avLst/>
            <a:gdLst/>
            <a:ahLst/>
            <a:cxnLst>
              <a:cxn ang="3cd4">
                <a:pos x="hc" y="t"/>
              </a:cxn>
              <a:cxn ang="cd2">
                <a:pos x="l" y="vc"/>
              </a:cxn>
              <a:cxn ang="cd4">
                <a:pos x="hc" y="b"/>
              </a:cxn>
              <a:cxn ang="0">
                <a:pos x="r" y="vc"/>
              </a:cxn>
            </a:cxnLst>
            <a:rect l="l" t="t" r="r" b="b"/>
            <a:pathLst>
              <a:path w="2130" h="473">
                <a:moveTo>
                  <a:pt x="2130" y="0"/>
                </a:moveTo>
                <a:lnTo>
                  <a:pt x="1881" y="0"/>
                </a:lnTo>
                <a:cubicBezTo>
                  <a:pt x="1881" y="62"/>
                  <a:pt x="1832" y="112"/>
                  <a:pt x="1770" y="112"/>
                </a:cubicBezTo>
                <a:lnTo>
                  <a:pt x="1427" y="112"/>
                </a:lnTo>
                <a:lnTo>
                  <a:pt x="360" y="112"/>
                </a:lnTo>
                <a:lnTo>
                  <a:pt x="352" y="112"/>
                </a:lnTo>
                <a:lnTo>
                  <a:pt x="352" y="113"/>
                </a:lnTo>
                <a:cubicBezTo>
                  <a:pt x="157" y="117"/>
                  <a:pt x="0" y="277"/>
                  <a:pt x="0" y="473"/>
                </a:cubicBezTo>
                <a:lnTo>
                  <a:pt x="248" y="473"/>
                </a:lnTo>
                <a:cubicBezTo>
                  <a:pt x="248" y="411"/>
                  <a:pt x="298" y="361"/>
                  <a:pt x="360" y="361"/>
                </a:cubicBezTo>
                <a:lnTo>
                  <a:pt x="703" y="361"/>
                </a:lnTo>
                <a:lnTo>
                  <a:pt x="1770" y="361"/>
                </a:lnTo>
                <a:cubicBezTo>
                  <a:pt x="1969" y="361"/>
                  <a:pt x="2130" y="199"/>
                  <a:pt x="2130" y="0"/>
                </a:cubicBezTo>
                <a:close/>
              </a:path>
            </a:pathLst>
          </a:custGeom>
          <a:solidFill>
            <a:schemeClr val="bg2">
              <a:alpha val="55686"/>
            </a:schemeClr>
          </a:solidFill>
          <a:ln cap="flat">
            <a:noFill/>
            <a:prstDash val="solid"/>
          </a:ln>
        </p:spPr>
        <p:txBody>
          <a:bodyPr wrap="none" lIns="90000" tIns="45000" rIns="90000" bIns="45000" anchor="ctr" anchorCtr="1" compatLnSpc="0"/>
          <a:lstStyle/>
          <a:p>
            <a:pPr defTabSz="1828434" eaLnBrk="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15" name="Freeform: Shape 7436">
            <a:extLst>
              <a:ext uri="{FF2B5EF4-FFF2-40B4-BE49-F238E27FC236}">
                <a16:creationId xmlns:a16="http://schemas.microsoft.com/office/drawing/2014/main" id="{2A8F5714-E4D5-4865-ACC8-10BEADD88251}"/>
              </a:ext>
            </a:extLst>
          </p:cNvPr>
          <p:cNvSpPr/>
          <p:nvPr/>
        </p:nvSpPr>
        <p:spPr>
          <a:xfrm>
            <a:off x="2940267" y="4497817"/>
            <a:ext cx="5375305" cy="957002"/>
          </a:xfrm>
          <a:custGeom>
            <a:avLst/>
            <a:gdLst/>
            <a:ahLst/>
            <a:cxnLst>
              <a:cxn ang="3cd4">
                <a:pos x="hc" y="t"/>
              </a:cxn>
              <a:cxn ang="cd2">
                <a:pos x="l" y="vc"/>
              </a:cxn>
              <a:cxn ang="cd4">
                <a:pos x="hc" y="b"/>
              </a:cxn>
              <a:cxn ang="0">
                <a:pos x="r" y="vc"/>
              </a:cxn>
            </a:cxnLst>
            <a:rect l="l" t="t" r="r" b="b"/>
            <a:pathLst>
              <a:path w="2023" h="361">
                <a:moveTo>
                  <a:pt x="1899" y="112"/>
                </a:moveTo>
                <a:lnTo>
                  <a:pt x="703" y="112"/>
                </a:lnTo>
                <a:lnTo>
                  <a:pt x="365" y="112"/>
                </a:lnTo>
                <a:lnTo>
                  <a:pt x="360" y="112"/>
                </a:lnTo>
                <a:cubicBezTo>
                  <a:pt x="298" y="112"/>
                  <a:pt x="248" y="62"/>
                  <a:pt x="248" y="0"/>
                </a:cubicBezTo>
                <a:lnTo>
                  <a:pt x="0" y="0"/>
                </a:lnTo>
                <a:cubicBezTo>
                  <a:pt x="0" y="199"/>
                  <a:pt x="161" y="361"/>
                  <a:pt x="360" y="361"/>
                </a:cubicBezTo>
                <a:cubicBezTo>
                  <a:pt x="362" y="361"/>
                  <a:pt x="364" y="360"/>
                  <a:pt x="365" y="360"/>
                </a:cubicBezTo>
                <a:lnTo>
                  <a:pt x="365" y="361"/>
                </a:lnTo>
                <a:lnTo>
                  <a:pt x="1899" y="361"/>
                </a:lnTo>
                <a:lnTo>
                  <a:pt x="2023" y="236"/>
                </a:lnTo>
                <a:close/>
              </a:path>
            </a:pathLst>
          </a:custGeom>
          <a:solidFill>
            <a:schemeClr val="bg2">
              <a:alpha val="55686"/>
            </a:schemeClr>
          </a:solidFill>
          <a:ln cap="flat">
            <a:noFill/>
            <a:prstDash val="solid"/>
          </a:ln>
        </p:spPr>
        <p:txBody>
          <a:bodyPr wrap="none" lIns="90000" tIns="45000" rIns="90000" bIns="45000" anchor="ctr" anchorCtr="1" compatLnSpc="0"/>
          <a:lstStyle/>
          <a:p>
            <a:pPr defTabSz="1828434" eaLnBrk="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67F1A13-94A3-4965-BF53-47EA7D7DA0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63013" y="2286732"/>
            <a:ext cx="1000588" cy="658627"/>
          </a:xfrm>
          <a:prstGeom prst="rect">
            <a:avLst/>
          </a:prstGeom>
        </p:spPr>
        <p:txBody>
          <a:bodyPr lIns="0" tIns="72000" rIns="0" bIns="72000"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edit title</a:t>
            </a:r>
            <a:endParaRPr lang="da-DK" dirty="0"/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DF2C5D21-9E46-4D38-A03E-22CFCF181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01361" y="4768777"/>
            <a:ext cx="2208325" cy="18872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ts val="800"/>
              </a:lnSpc>
              <a:buNone/>
              <a:defRPr sz="1400">
                <a:latin typeface="+mn-lt"/>
              </a:defRPr>
            </a:lvl1pPr>
          </a:lstStyle>
          <a:p>
            <a:pPr lvl="0"/>
            <a:r>
              <a:rPr lang="en-US" dirty="0"/>
              <a:t>Click to edit title</a:t>
            </a:r>
            <a:endParaRPr lang="da-DK" dirty="0"/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3292DCBC-07FD-4465-94D4-ADF57C0A294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01361" y="4987896"/>
            <a:ext cx="2208325" cy="10455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ts val="800"/>
              </a:lnSpc>
              <a:buNone/>
              <a:defRPr sz="1400">
                <a:latin typeface="+mj-lt"/>
              </a:defRPr>
            </a:lvl1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F0630EBE-9039-4521-9E1F-C84C23ACC1D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73246" y="4300114"/>
            <a:ext cx="1438275" cy="6508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3600">
                <a:solidFill>
                  <a:schemeClr val="accent6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5pPr>
              <a:defRPr/>
            </a:lvl5pPr>
          </a:lstStyle>
          <a:p>
            <a:pPr lvl="0"/>
            <a:r>
              <a:rPr lang="da-DK" dirty="0"/>
              <a:t>35%</a:t>
            </a:r>
          </a:p>
        </p:txBody>
      </p:sp>
      <p:sp>
        <p:nvSpPr>
          <p:cNvPr id="32" name="Text Placeholder 16">
            <a:extLst>
              <a:ext uri="{FF2B5EF4-FFF2-40B4-BE49-F238E27FC236}">
                <a16:creationId xmlns:a16="http://schemas.microsoft.com/office/drawing/2014/main" id="{24F54025-0825-4A2D-BBF9-2B05CBE4111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095399" y="2953781"/>
            <a:ext cx="1438275" cy="6508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3600">
                <a:solidFill>
                  <a:schemeClr val="accent6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5pPr>
              <a:defRPr/>
            </a:lvl5pPr>
          </a:lstStyle>
          <a:p>
            <a:pPr lvl="0"/>
            <a:r>
              <a:rPr lang="da-DK" dirty="0"/>
              <a:t>35%</a:t>
            </a: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BAF8CE11-293C-42C9-97D0-D448CBF3EF1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59970" y="1803420"/>
            <a:ext cx="2137221" cy="36988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400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</a:lstStyle>
          <a:p>
            <a:pPr lvl="0"/>
            <a:r>
              <a:rPr lang="en-US" dirty="0"/>
              <a:t>Click to edit title</a:t>
            </a:r>
            <a:endParaRPr lang="da-DK" dirty="0"/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C987F7F5-68C3-4D38-AA24-8282756AB25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45387" y="3060982"/>
            <a:ext cx="2137221" cy="36988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400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</a:lstStyle>
          <a:p>
            <a:pPr lvl="0"/>
            <a:r>
              <a:rPr lang="en-US" dirty="0"/>
              <a:t>Click to edit title</a:t>
            </a:r>
            <a:endParaRPr lang="da-DK" dirty="0"/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5452DEAA-C428-4391-98C5-14016843BC6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59970" y="4313985"/>
            <a:ext cx="2137221" cy="36988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400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</a:lstStyle>
          <a:p>
            <a:pPr lvl="0"/>
            <a:r>
              <a:rPr lang="en-US" dirty="0"/>
              <a:t>Click to edit title</a:t>
            </a:r>
            <a:endParaRPr lang="da-DK" dirty="0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41F53822-CDD6-4063-8132-19DCE174090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42771" y="4794659"/>
            <a:ext cx="3771620" cy="657066"/>
          </a:xfrm>
          <a:prstGeom prst="rect">
            <a:avLst/>
          </a:prstGeom>
        </p:spPr>
        <p:txBody>
          <a:bodyPr lIns="0" tIns="108000" rIns="0" bIns="108000" anchor="t">
            <a:noAutofit/>
          </a:bodyPr>
          <a:lstStyle>
            <a:lvl1pPr marL="0" indent="0" algn="ctr">
              <a:lnSpc>
                <a:spcPts val="800"/>
              </a:lnSpc>
              <a:buNone/>
              <a:defRPr sz="1400">
                <a:latin typeface="+mj-lt"/>
              </a:defRPr>
            </a:lvl1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5D90B23A-71D3-4CD4-827D-65A236B0634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928189" y="2288293"/>
            <a:ext cx="3771619" cy="657066"/>
          </a:xfrm>
          <a:prstGeom prst="rect">
            <a:avLst/>
          </a:prstGeom>
        </p:spPr>
        <p:txBody>
          <a:bodyPr lIns="0" tIns="108000" rIns="0" bIns="108000" anchor="t">
            <a:noAutofit/>
          </a:bodyPr>
          <a:lstStyle>
            <a:lvl1pPr marL="0" indent="0" algn="ctr">
              <a:lnSpc>
                <a:spcPts val="800"/>
              </a:lnSpc>
              <a:buNone/>
              <a:defRPr sz="1400">
                <a:latin typeface="+mj-lt"/>
              </a:defRPr>
            </a:lvl1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9F6B2D7C-9DE2-4C43-9EB8-24E8FE97518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928189" y="3541262"/>
            <a:ext cx="3771620" cy="657066"/>
          </a:xfrm>
          <a:prstGeom prst="rect">
            <a:avLst/>
          </a:prstGeom>
        </p:spPr>
        <p:txBody>
          <a:bodyPr lIns="0" tIns="108000" rIns="0" bIns="108000" anchor="t">
            <a:noAutofit/>
          </a:bodyPr>
          <a:lstStyle>
            <a:lvl1pPr marL="0" indent="0" algn="ctr">
              <a:lnSpc>
                <a:spcPts val="800"/>
              </a:lnSpc>
              <a:buNone/>
              <a:defRPr sz="1400">
                <a:latin typeface="+mj-lt"/>
              </a:defRPr>
            </a:lvl1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8" name="Title Placeholder 1">
            <a:extLst>
              <a:ext uri="{FF2B5EF4-FFF2-40B4-BE49-F238E27FC236}">
                <a16:creationId xmlns:a16="http://schemas.microsoft.com/office/drawing/2014/main" id="{2BEFA90D-D6E4-4EDC-922E-B12E9CF6A80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400" y="371180"/>
            <a:ext cx="11473200" cy="619713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/>
          <a:p>
            <a:r>
              <a:rPr lang="en-US" dirty="0"/>
              <a:t>Click to edit headline</a:t>
            </a:r>
            <a:endParaRPr lang="da-DK" dirty="0"/>
          </a:p>
        </p:txBody>
      </p:sp>
      <p:sp>
        <p:nvSpPr>
          <p:cNvPr id="35" name="Footer Placeholder 4">
            <a:extLst>
              <a:ext uri="{FF2B5EF4-FFF2-40B4-BE49-F238E27FC236}">
                <a16:creationId xmlns:a16="http://schemas.microsoft.com/office/drawing/2014/main" id="{15C7A406-EEAE-45A0-B148-EFB6F249F59E}"/>
              </a:ext>
            </a:extLst>
          </p:cNvPr>
          <p:cNvSpPr txBox="1">
            <a:spLocks/>
          </p:cNvSpPr>
          <p:nvPr/>
        </p:nvSpPr>
        <p:spPr>
          <a:xfrm>
            <a:off x="10762637" y="6339507"/>
            <a:ext cx="1069963" cy="341053"/>
          </a:xfrm>
          <a:prstGeom prst="rect">
            <a:avLst/>
          </a:prstGeo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  <p:sp>
        <p:nvSpPr>
          <p:cNvPr id="29" name="Slide Number Placeholder 5">
            <a:extLst>
              <a:ext uri="{FF2B5EF4-FFF2-40B4-BE49-F238E27FC236}">
                <a16:creationId xmlns:a16="http://schemas.microsoft.com/office/drawing/2014/main" id="{02B2F7F1-05EF-4074-9D69-78BA224E381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0591871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FBE981E9-87B2-40BB-8449-60F93DCE7B08}"/>
              </a:ext>
            </a:extLst>
          </p:cNvPr>
          <p:cNvCxnSpPr/>
          <p:nvPr/>
        </p:nvCxnSpPr>
        <p:spPr>
          <a:xfrm>
            <a:off x="9796571" y="3279611"/>
            <a:ext cx="1573" cy="695248"/>
          </a:xfrm>
          <a:prstGeom prst="line">
            <a:avLst/>
          </a:prstGeom>
          <a:ln w="19050">
            <a:solidFill>
              <a:schemeClr val="accent5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D2C72E3A-91CF-4BD5-9AA5-E94DAAA667BA}"/>
              </a:ext>
            </a:extLst>
          </p:cNvPr>
          <p:cNvCxnSpPr/>
          <p:nvPr/>
        </p:nvCxnSpPr>
        <p:spPr>
          <a:xfrm>
            <a:off x="3596961" y="3276292"/>
            <a:ext cx="1573" cy="695248"/>
          </a:xfrm>
          <a:prstGeom prst="line">
            <a:avLst/>
          </a:prstGeom>
          <a:ln w="19050">
            <a:solidFill>
              <a:schemeClr val="accent5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514046B0-37D6-45D0-A3E3-271C678D5723}"/>
              </a:ext>
            </a:extLst>
          </p:cNvPr>
          <p:cNvCxnSpPr/>
          <p:nvPr/>
        </p:nvCxnSpPr>
        <p:spPr>
          <a:xfrm>
            <a:off x="5143253" y="3499708"/>
            <a:ext cx="1573" cy="695248"/>
          </a:xfrm>
          <a:prstGeom prst="line">
            <a:avLst/>
          </a:prstGeom>
          <a:ln w="19050">
            <a:solidFill>
              <a:schemeClr val="accent5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E604EA8B-078F-44DE-BACB-05D12AD13DBE}"/>
              </a:ext>
            </a:extLst>
          </p:cNvPr>
          <p:cNvCxnSpPr/>
          <p:nvPr/>
        </p:nvCxnSpPr>
        <p:spPr>
          <a:xfrm>
            <a:off x="6689545" y="3276292"/>
            <a:ext cx="1573" cy="695248"/>
          </a:xfrm>
          <a:prstGeom prst="line">
            <a:avLst/>
          </a:prstGeom>
          <a:ln w="19050">
            <a:solidFill>
              <a:schemeClr val="accent5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1CE11864-AD98-4C67-88BB-1802ED063728}"/>
              </a:ext>
            </a:extLst>
          </p:cNvPr>
          <p:cNvCxnSpPr/>
          <p:nvPr/>
        </p:nvCxnSpPr>
        <p:spPr>
          <a:xfrm>
            <a:off x="8258295" y="3512242"/>
            <a:ext cx="1573" cy="695248"/>
          </a:xfrm>
          <a:prstGeom prst="line">
            <a:avLst/>
          </a:prstGeom>
          <a:ln w="19050">
            <a:solidFill>
              <a:schemeClr val="accent5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FA7B4C17-FF4A-4A40-8D35-A5E54F42CC52}"/>
              </a:ext>
            </a:extLst>
          </p:cNvPr>
          <p:cNvCxnSpPr>
            <a:cxnSpLocks/>
            <a:stCxn id="41" idx="2"/>
            <a:endCxn id="42" idx="0"/>
          </p:cNvCxnSpPr>
          <p:nvPr/>
        </p:nvCxnSpPr>
        <p:spPr>
          <a:xfrm>
            <a:off x="2049741" y="3488395"/>
            <a:ext cx="1573" cy="695248"/>
          </a:xfrm>
          <a:prstGeom prst="line">
            <a:avLst/>
          </a:prstGeom>
          <a:ln w="19050">
            <a:solidFill>
              <a:schemeClr val="accent5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ubtitle 2">
            <a:extLst>
              <a:ext uri="{FF2B5EF4-FFF2-40B4-BE49-F238E27FC236}">
                <a16:creationId xmlns:a16="http://schemas.microsoft.com/office/drawing/2014/main" id="{23A00839-FB20-42CA-A14D-C7B380E18C9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8150" y="1001374"/>
            <a:ext cx="11394450" cy="369332"/>
          </a:xfrm>
          <a:prstGeom prst="rect">
            <a:avLst/>
          </a:prstGeom>
        </p:spPr>
        <p:txBody>
          <a:bodyPr wrap="square" lIns="72000" tIns="36000" rIns="72000" bIns="36000">
            <a:no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2pPr>
            <a:lvl3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5pPr>
            <a:lvl6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6pPr>
            <a:lvl7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7pPr>
            <a:lvl8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8pPr>
            <a:lvl9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9pPr>
          </a:lstStyle>
          <a:p>
            <a:r>
              <a:rPr lang="en-US" dirty="0"/>
              <a:t>Click to edit subtitle</a:t>
            </a:r>
          </a:p>
        </p:txBody>
      </p:sp>
      <p:sp>
        <p:nvSpPr>
          <p:cNvPr id="37" name="Shape 978">
            <a:extLst>
              <a:ext uri="{FF2B5EF4-FFF2-40B4-BE49-F238E27FC236}">
                <a16:creationId xmlns:a16="http://schemas.microsoft.com/office/drawing/2014/main" id="{11F35FA9-2F8A-42A5-96A9-784D2A81EBF3}"/>
              </a:ext>
            </a:extLst>
          </p:cNvPr>
          <p:cNvSpPr/>
          <p:nvPr/>
        </p:nvSpPr>
        <p:spPr>
          <a:xfrm>
            <a:off x="18263508" y="6680560"/>
            <a:ext cx="1840627" cy="1840627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lIns="182778" tIns="91364" rIns="182778" bIns="91364" anchor="ctr" anchorCtr="0">
            <a:noAutofit/>
          </a:bodyPr>
          <a:lstStyle/>
          <a:p>
            <a:pPr algn="ctr"/>
            <a:endParaRPr sz="7198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" name="Shape 985">
            <a:extLst>
              <a:ext uri="{FF2B5EF4-FFF2-40B4-BE49-F238E27FC236}">
                <a16:creationId xmlns:a16="http://schemas.microsoft.com/office/drawing/2014/main" id="{BE2C25E0-D6F4-4E65-8C4C-167BE5E48FB8}"/>
              </a:ext>
            </a:extLst>
          </p:cNvPr>
          <p:cNvSpPr txBox="1"/>
          <p:nvPr/>
        </p:nvSpPr>
        <p:spPr>
          <a:xfrm>
            <a:off x="18757036" y="6807059"/>
            <a:ext cx="1344848" cy="709025"/>
          </a:xfrm>
          <a:prstGeom prst="rect">
            <a:avLst/>
          </a:prstGeom>
          <a:noFill/>
          <a:ln>
            <a:noFill/>
          </a:ln>
        </p:spPr>
        <p:txBody>
          <a:bodyPr lIns="487510" tIns="243754" rIns="487510" bIns="243754" anchor="ctr" anchorCtr="0">
            <a:noAutofit/>
          </a:bodyPr>
          <a:lstStyle/>
          <a:p>
            <a:pPr algn="ctr">
              <a:buSzPct val="25000"/>
            </a:pPr>
            <a:r>
              <a:rPr lang="en-US" sz="5400" dirty="0">
                <a:latin typeface="Lato" charset="0"/>
                <a:ea typeface="Lato" charset="0"/>
                <a:cs typeface="Lato" charset="0"/>
                <a:sym typeface="Roboto"/>
              </a:rPr>
              <a:t>95%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C700444D-7C2B-4B25-A710-D9219F9139FC}"/>
              </a:ext>
            </a:extLst>
          </p:cNvPr>
          <p:cNvGrpSpPr/>
          <p:nvPr/>
        </p:nvGrpSpPr>
        <p:grpSpPr>
          <a:xfrm>
            <a:off x="2049741" y="3699702"/>
            <a:ext cx="7757982" cy="0"/>
            <a:chOff x="1429030" y="4482059"/>
            <a:chExt cx="7757982" cy="0"/>
          </a:xfrm>
        </p:grpSpPr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168635DB-6207-4C84-8660-5061659B259F}"/>
                </a:ext>
              </a:extLst>
            </p:cNvPr>
            <p:cNvCxnSpPr/>
            <p:nvPr/>
          </p:nvCxnSpPr>
          <p:spPr>
            <a:xfrm>
              <a:off x="7641506" y="4482059"/>
              <a:ext cx="1545506" cy="0"/>
            </a:xfrm>
            <a:prstGeom prst="line">
              <a:avLst/>
            </a:prstGeom>
            <a:ln w="47625">
              <a:solidFill>
                <a:schemeClr val="accent5"/>
              </a:solidFill>
              <a:headEnd type="none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6B739FF1-5712-4DB0-8430-BA8D0DC596BB}"/>
                </a:ext>
              </a:extLst>
            </p:cNvPr>
            <p:cNvCxnSpPr/>
            <p:nvPr/>
          </p:nvCxnSpPr>
          <p:spPr>
            <a:xfrm>
              <a:off x="6096000" y="4482059"/>
              <a:ext cx="1545506" cy="0"/>
            </a:xfrm>
            <a:prstGeom prst="line">
              <a:avLst/>
            </a:prstGeom>
            <a:ln w="47625">
              <a:solidFill>
                <a:schemeClr val="accent4"/>
              </a:solidFill>
              <a:headEnd type="none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8F8E77A8-BB88-4670-8248-0969F3FD3213}"/>
                </a:ext>
              </a:extLst>
            </p:cNvPr>
            <p:cNvCxnSpPr/>
            <p:nvPr/>
          </p:nvCxnSpPr>
          <p:spPr>
            <a:xfrm>
              <a:off x="4520042" y="4482059"/>
              <a:ext cx="1545506" cy="0"/>
            </a:xfrm>
            <a:prstGeom prst="line">
              <a:avLst/>
            </a:prstGeom>
            <a:ln w="47625">
              <a:solidFill>
                <a:schemeClr val="accent3"/>
              </a:solidFill>
              <a:headEnd type="none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EBA6C91D-9FE3-4788-8EE7-CCA555B1EEC4}"/>
                </a:ext>
              </a:extLst>
            </p:cNvPr>
            <p:cNvCxnSpPr/>
            <p:nvPr/>
          </p:nvCxnSpPr>
          <p:spPr>
            <a:xfrm>
              <a:off x="2974536" y="4482059"/>
              <a:ext cx="1545506" cy="0"/>
            </a:xfrm>
            <a:prstGeom prst="line">
              <a:avLst/>
            </a:prstGeom>
            <a:ln w="47625">
              <a:solidFill>
                <a:schemeClr val="accent2"/>
              </a:solidFill>
              <a:headEnd type="none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" name="Straight Connector 2">
              <a:extLst>
                <a:ext uri="{FF2B5EF4-FFF2-40B4-BE49-F238E27FC236}">
                  <a16:creationId xmlns:a16="http://schemas.microsoft.com/office/drawing/2014/main" id="{4DC9CA4D-D057-4476-B2A0-13C4821579CD}"/>
                </a:ext>
              </a:extLst>
            </p:cNvPr>
            <p:cNvCxnSpPr/>
            <p:nvPr/>
          </p:nvCxnSpPr>
          <p:spPr>
            <a:xfrm>
              <a:off x="1429030" y="4482059"/>
              <a:ext cx="1545506" cy="0"/>
            </a:xfrm>
            <a:prstGeom prst="line">
              <a:avLst/>
            </a:prstGeom>
            <a:ln w="47625"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1" name="Text Placeholder 11">
            <a:extLst>
              <a:ext uri="{FF2B5EF4-FFF2-40B4-BE49-F238E27FC236}">
                <a16:creationId xmlns:a16="http://schemas.microsoft.com/office/drawing/2014/main" id="{844CA913-F4C1-4DB5-B995-1E0A80463A9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456527" y="3158709"/>
            <a:ext cx="1186427" cy="32968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000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5pPr marL="1828800" indent="0">
              <a:buNone/>
              <a:defRPr sz="1600"/>
            </a:lvl5pPr>
          </a:lstStyle>
          <a:p>
            <a:pPr lvl="0"/>
            <a:r>
              <a:rPr lang="en-US" dirty="0"/>
              <a:t>YEAR</a:t>
            </a:r>
            <a:endParaRPr lang="da-DK" dirty="0"/>
          </a:p>
        </p:txBody>
      </p:sp>
      <p:sp>
        <p:nvSpPr>
          <p:cNvPr id="42" name="Text Placeholder 11">
            <a:extLst>
              <a:ext uri="{FF2B5EF4-FFF2-40B4-BE49-F238E27FC236}">
                <a16:creationId xmlns:a16="http://schemas.microsoft.com/office/drawing/2014/main" id="{5793D357-8EF8-4CAE-805D-47972E268ED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09673" y="4183643"/>
            <a:ext cx="1683281" cy="172939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latin typeface="+mj-lt"/>
              </a:defRPr>
            </a:lvl1pPr>
            <a:lvl5pPr marL="1828800" indent="0">
              <a:buNone/>
              <a:defRPr sz="1600"/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43" name="Text Placeholder 11">
            <a:extLst>
              <a:ext uri="{FF2B5EF4-FFF2-40B4-BE49-F238E27FC236}">
                <a16:creationId xmlns:a16="http://schemas.microsoft.com/office/drawing/2014/main" id="{78FDE029-30E8-47F4-BC7D-4257490F0AC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99112" y="4183642"/>
            <a:ext cx="1683281" cy="172939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latin typeface="+mj-lt"/>
              </a:defRPr>
            </a:lvl1pPr>
            <a:lvl5pPr marL="1828800" indent="0">
              <a:buNone/>
              <a:defRPr sz="1600"/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44" name="Text Placeholder 11">
            <a:extLst>
              <a:ext uri="{FF2B5EF4-FFF2-40B4-BE49-F238E27FC236}">
                <a16:creationId xmlns:a16="http://schemas.microsoft.com/office/drawing/2014/main" id="{DC029697-6EFE-456C-AC9E-EC23F4E8543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416654" y="4183642"/>
            <a:ext cx="1683281" cy="172939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latin typeface="+mj-lt"/>
              </a:defRPr>
            </a:lvl1pPr>
            <a:lvl5pPr marL="1828800" indent="0">
              <a:buNone/>
              <a:defRPr sz="1600"/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45" name="Text Placeholder 11">
            <a:extLst>
              <a:ext uri="{FF2B5EF4-FFF2-40B4-BE49-F238E27FC236}">
                <a16:creationId xmlns:a16="http://schemas.microsoft.com/office/drawing/2014/main" id="{F37A66BD-B3EF-4324-913C-694CCE35180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761348" y="1659517"/>
            <a:ext cx="1683281" cy="157741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latin typeface="+mj-lt"/>
              </a:defRPr>
            </a:lvl1pPr>
            <a:lvl5pPr marL="1828800" indent="0">
              <a:buNone/>
              <a:defRPr sz="1600"/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46" name="Text Placeholder 11">
            <a:extLst>
              <a:ext uri="{FF2B5EF4-FFF2-40B4-BE49-F238E27FC236}">
                <a16:creationId xmlns:a16="http://schemas.microsoft.com/office/drawing/2014/main" id="{089C68E1-FA14-4AD8-B642-29AF31BF561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844618" y="1659517"/>
            <a:ext cx="1683281" cy="157741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latin typeface="+mj-lt"/>
              </a:defRPr>
            </a:lvl1pPr>
            <a:lvl5pPr marL="1828800" indent="0">
              <a:buNone/>
              <a:defRPr sz="1600"/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47" name="Text Placeholder 11">
            <a:extLst>
              <a:ext uri="{FF2B5EF4-FFF2-40B4-BE49-F238E27FC236}">
                <a16:creationId xmlns:a16="http://schemas.microsoft.com/office/drawing/2014/main" id="{B4ED695E-B5CC-4269-9555-EECC483EAE2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966081" y="1658526"/>
            <a:ext cx="1683281" cy="157741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latin typeface="+mj-lt"/>
              </a:defRPr>
            </a:lvl1pPr>
            <a:lvl5pPr marL="1828800" indent="0">
              <a:buNone/>
              <a:defRPr sz="1600"/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48" name="Text Placeholder 11">
            <a:extLst>
              <a:ext uri="{FF2B5EF4-FFF2-40B4-BE49-F238E27FC236}">
                <a16:creationId xmlns:a16="http://schemas.microsoft.com/office/drawing/2014/main" id="{B6DEF11C-0D64-4853-8B03-D9D5BB02F69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002819" y="3987768"/>
            <a:ext cx="1186427" cy="35943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000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5pPr marL="1828800" indent="0">
              <a:buNone/>
              <a:defRPr sz="1600"/>
            </a:lvl5pPr>
          </a:lstStyle>
          <a:p>
            <a:pPr lvl="0"/>
            <a:r>
              <a:rPr lang="en-US" dirty="0"/>
              <a:t>YEAR</a:t>
            </a:r>
            <a:endParaRPr lang="da-DK" dirty="0"/>
          </a:p>
        </p:txBody>
      </p:sp>
      <p:sp>
        <p:nvSpPr>
          <p:cNvPr id="49" name="Text Placeholder 11">
            <a:extLst>
              <a:ext uri="{FF2B5EF4-FFF2-40B4-BE49-F238E27FC236}">
                <a16:creationId xmlns:a16="http://schemas.microsoft.com/office/drawing/2014/main" id="{37C069A4-DD10-453D-BF6A-5184E83C3C6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547540" y="3170023"/>
            <a:ext cx="1186427" cy="32968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Verdana Pro Cond Light" panose="020B0306030504040204" pitchFamily="34" charset="0"/>
              <a:buNone/>
              <a:tabLst/>
              <a:defRPr lang="da-DK" sz="2000" kern="1200" dirty="0" smtClean="0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+mn-cs"/>
              </a:defRPr>
            </a:lvl1pPr>
            <a:lvl5pPr marL="1828800" indent="0">
              <a:buNone/>
              <a:defRPr sz="1600"/>
            </a:lvl5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Verdana Pro Cond Light" panose="020B0306030504040204" pitchFamily="34" charset="0"/>
              <a:buNone/>
              <a:tabLst/>
              <a:defRPr/>
            </a:pPr>
            <a:r>
              <a:rPr lang="en-US" dirty="0"/>
              <a:t>YEAR</a:t>
            </a:r>
            <a:endParaRPr lang="da-DK" dirty="0"/>
          </a:p>
          <a:p>
            <a:pPr lvl="0"/>
            <a:endParaRPr lang="da-DK" dirty="0"/>
          </a:p>
        </p:txBody>
      </p:sp>
      <p:sp>
        <p:nvSpPr>
          <p:cNvPr id="50" name="Text Placeholder 11">
            <a:extLst>
              <a:ext uri="{FF2B5EF4-FFF2-40B4-BE49-F238E27FC236}">
                <a16:creationId xmlns:a16="http://schemas.microsoft.com/office/drawing/2014/main" id="{FE20E936-F3F5-45CE-82F2-35FC2F4EA01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098870" y="3987768"/>
            <a:ext cx="1186427" cy="359432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Verdana Pro Cond Light" panose="020B0306030504040204" pitchFamily="34" charset="0"/>
              <a:buNone/>
              <a:tabLst/>
              <a:defRPr sz="2000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5pPr marL="1828800" indent="0">
              <a:buNone/>
              <a:defRPr sz="1600"/>
            </a:lvl5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Verdana Pro Cond Light" panose="020B0306030504040204" pitchFamily="34" charset="0"/>
              <a:buNone/>
              <a:tabLst/>
              <a:defRPr/>
            </a:pPr>
            <a:r>
              <a:rPr lang="en-US" dirty="0"/>
              <a:t>YEAR</a:t>
            </a:r>
            <a:endParaRPr lang="da-DK" dirty="0"/>
          </a:p>
          <a:p>
            <a:pPr lvl="0"/>
            <a:endParaRPr lang="da-DK" dirty="0"/>
          </a:p>
        </p:txBody>
      </p:sp>
      <p:sp>
        <p:nvSpPr>
          <p:cNvPr id="51" name="Text Placeholder 11">
            <a:extLst>
              <a:ext uri="{FF2B5EF4-FFF2-40B4-BE49-F238E27FC236}">
                <a16:creationId xmlns:a16="http://schemas.microsoft.com/office/drawing/2014/main" id="{7625BD09-3203-4652-BD7F-CEF9F5F96F2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669003" y="3170022"/>
            <a:ext cx="1186427" cy="32968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Verdana Pro Cond Light" panose="020B0306030504040204" pitchFamily="34" charset="0"/>
              <a:buNone/>
              <a:tabLst/>
              <a:defRPr sz="2000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5pPr marL="1828800" indent="0">
              <a:buNone/>
              <a:defRPr sz="1600"/>
            </a:lvl5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Verdana Pro Cond Light" panose="020B0306030504040204" pitchFamily="34" charset="0"/>
              <a:buNone/>
              <a:tabLst/>
              <a:defRPr/>
            </a:pPr>
            <a:r>
              <a:rPr lang="en-US" dirty="0"/>
              <a:t>YEAR</a:t>
            </a:r>
            <a:endParaRPr lang="da-DK" dirty="0"/>
          </a:p>
          <a:p>
            <a:pPr lvl="0"/>
            <a:endParaRPr lang="da-DK" dirty="0"/>
          </a:p>
        </p:txBody>
      </p:sp>
      <p:sp>
        <p:nvSpPr>
          <p:cNvPr id="52" name="Text Placeholder 11">
            <a:extLst>
              <a:ext uri="{FF2B5EF4-FFF2-40B4-BE49-F238E27FC236}">
                <a16:creationId xmlns:a16="http://schemas.microsoft.com/office/drawing/2014/main" id="{A2E283F7-DC27-453F-AB66-46C8E65B9AB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14509" y="3987768"/>
            <a:ext cx="1186427" cy="359432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Verdana Pro Cond Light" panose="020B0306030504040204" pitchFamily="34" charset="0"/>
              <a:buNone/>
              <a:tabLst/>
              <a:defRPr sz="2000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5pPr marL="1828800" indent="0">
              <a:buNone/>
              <a:defRPr sz="1600"/>
            </a:lvl5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Verdana Pro Cond Light" panose="020B0306030504040204" pitchFamily="34" charset="0"/>
              <a:buNone/>
              <a:tabLst/>
              <a:defRPr/>
            </a:pPr>
            <a:r>
              <a:rPr lang="en-US" dirty="0"/>
              <a:t>YEAR</a:t>
            </a:r>
            <a:endParaRPr lang="da-DK" dirty="0"/>
          </a:p>
          <a:p>
            <a:pPr lvl="0"/>
            <a:endParaRPr lang="da-DK" dirty="0"/>
          </a:p>
        </p:txBody>
      </p:sp>
      <p:sp>
        <p:nvSpPr>
          <p:cNvPr id="36" name="Title Placeholder 1">
            <a:extLst>
              <a:ext uri="{FF2B5EF4-FFF2-40B4-BE49-F238E27FC236}">
                <a16:creationId xmlns:a16="http://schemas.microsoft.com/office/drawing/2014/main" id="{5CD14FE5-4515-42DB-BF78-8E40B70B18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400" y="371180"/>
            <a:ext cx="11473200" cy="619713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/>
          <a:p>
            <a:r>
              <a:rPr lang="en-US" dirty="0"/>
              <a:t>Click to edit headline</a:t>
            </a:r>
            <a:endParaRPr lang="da-DK" dirty="0"/>
          </a:p>
        </p:txBody>
      </p:sp>
      <p:sp>
        <p:nvSpPr>
          <p:cNvPr id="53" name="Footer Placeholder 4">
            <a:extLst>
              <a:ext uri="{FF2B5EF4-FFF2-40B4-BE49-F238E27FC236}">
                <a16:creationId xmlns:a16="http://schemas.microsoft.com/office/drawing/2014/main" id="{C873D042-86FC-4DD7-8659-3E8B16BC106C}"/>
              </a:ext>
            </a:extLst>
          </p:cNvPr>
          <p:cNvSpPr txBox="1">
            <a:spLocks/>
          </p:cNvSpPr>
          <p:nvPr/>
        </p:nvSpPr>
        <p:spPr>
          <a:xfrm>
            <a:off x="10762637" y="6339507"/>
            <a:ext cx="1069963" cy="341053"/>
          </a:xfrm>
          <a:prstGeom prst="rect">
            <a:avLst/>
          </a:prstGeo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  <p:sp>
        <p:nvSpPr>
          <p:cNvPr id="32" name="Slide Number Placeholder 5">
            <a:extLst>
              <a:ext uri="{FF2B5EF4-FFF2-40B4-BE49-F238E27FC236}">
                <a16:creationId xmlns:a16="http://schemas.microsoft.com/office/drawing/2014/main" id="{62D76354-693F-4135-9AFE-6BF70C26F8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0" name="Footer Placeholder 4">
            <a:extLst>
              <a:ext uri="{FF2B5EF4-FFF2-40B4-BE49-F238E27FC236}">
                <a16:creationId xmlns:a16="http://schemas.microsoft.com/office/drawing/2014/main" id="{9274C318-FA42-4D60-8A8B-2E7736984299}"/>
              </a:ext>
            </a:extLst>
          </p:cNvPr>
          <p:cNvSpPr txBox="1">
            <a:spLocks/>
          </p:cNvSpPr>
          <p:nvPr userDrawn="1"/>
        </p:nvSpPr>
        <p:spPr>
          <a:xfrm>
            <a:off x="10762637" y="6339507"/>
            <a:ext cx="1069963" cy="341053"/>
          </a:xfrm>
          <a:prstGeom prst="rect">
            <a:avLst/>
          </a:prstGeo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4971145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4/19/2023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689172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teps/Fas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>
            <a:extLst>
              <a:ext uri="{FF2B5EF4-FFF2-40B4-BE49-F238E27FC236}">
                <a16:creationId xmlns:a16="http://schemas.microsoft.com/office/drawing/2014/main" id="{23A00839-FB20-42CA-A14D-C7B380E18C9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8150" y="1001374"/>
            <a:ext cx="11394450" cy="369332"/>
          </a:xfrm>
          <a:prstGeom prst="rect">
            <a:avLst/>
          </a:prstGeom>
        </p:spPr>
        <p:txBody>
          <a:bodyPr wrap="square" lIns="72000" tIns="36000" rIns="72000" bIns="36000">
            <a:no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2pPr>
            <a:lvl3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5pPr>
            <a:lvl6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6pPr>
            <a:lvl7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7pPr>
            <a:lvl8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8pPr>
            <a:lvl9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9pPr>
          </a:lstStyle>
          <a:p>
            <a:r>
              <a:rPr lang="en-US" dirty="0"/>
              <a:t>Click to edit subtitle</a:t>
            </a:r>
          </a:p>
        </p:txBody>
      </p:sp>
      <p:sp>
        <p:nvSpPr>
          <p:cNvPr id="37" name="Rectangle 1">
            <a:extLst>
              <a:ext uri="{FF2B5EF4-FFF2-40B4-BE49-F238E27FC236}">
                <a16:creationId xmlns:a16="http://schemas.microsoft.com/office/drawing/2014/main" id="{454D4296-DE79-4E2A-BCC0-3ADDB1C861D0}"/>
              </a:ext>
            </a:extLst>
          </p:cNvPr>
          <p:cNvSpPr>
            <a:spLocks/>
          </p:cNvSpPr>
          <p:nvPr/>
        </p:nvSpPr>
        <p:spPr bwMode="auto">
          <a:xfrm>
            <a:off x="617937" y="4646778"/>
            <a:ext cx="2586723" cy="1559642"/>
          </a:xfrm>
          <a:prstGeom prst="rect">
            <a:avLst/>
          </a:prstGeom>
          <a:solidFill>
            <a:schemeClr val="accent1"/>
          </a:solidFill>
          <a:ln w="25400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endParaRPr lang="en-US" sz="2799" dirty="0">
              <a:latin typeface="Lato Regular" charset="0"/>
            </a:endParaRPr>
          </a:p>
        </p:txBody>
      </p:sp>
      <p:sp>
        <p:nvSpPr>
          <p:cNvPr id="38" name="Freeform 2">
            <a:extLst>
              <a:ext uri="{FF2B5EF4-FFF2-40B4-BE49-F238E27FC236}">
                <a16:creationId xmlns:a16="http://schemas.microsoft.com/office/drawing/2014/main" id="{DE85CC72-31D9-4FB4-A53F-2DB99D1230B4}"/>
              </a:ext>
            </a:extLst>
          </p:cNvPr>
          <p:cNvSpPr>
            <a:spLocks/>
          </p:cNvSpPr>
          <p:nvPr/>
        </p:nvSpPr>
        <p:spPr bwMode="auto">
          <a:xfrm>
            <a:off x="2498476" y="5496594"/>
            <a:ext cx="710081" cy="716421"/>
          </a:xfrm>
          <a:custGeom>
            <a:avLst/>
            <a:gdLst>
              <a:gd name="T0" fmla="*/ 0 w 21600"/>
              <a:gd name="T1" fmla="*/ 0 h 21600"/>
              <a:gd name="T2" fmla="*/ 1422400 w 21600"/>
              <a:gd name="T3" fmla="*/ 0 h 21600"/>
              <a:gd name="T4" fmla="*/ 1422400 w 21600"/>
              <a:gd name="T5" fmla="*/ 1435100 h 21600"/>
              <a:gd name="T6" fmla="*/ 0 w 21600"/>
              <a:gd name="T7" fmla="*/ 0 h 21600"/>
              <a:gd name="T8" fmla="*/ 0 w 21600"/>
              <a:gd name="T9" fmla="*/ 0 h 216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1600" h="21600">
                <a:moveTo>
                  <a:pt x="0" y="0"/>
                </a:moveTo>
                <a:lnTo>
                  <a:pt x="21600" y="0"/>
                </a:lnTo>
                <a:lnTo>
                  <a:pt x="21600" y="21600"/>
                </a:lnTo>
                <a:lnTo>
                  <a:pt x="0" y="0"/>
                </a:lnTo>
                <a:close/>
                <a:moveTo>
                  <a:pt x="0" y="0"/>
                </a:moveTo>
              </a:path>
            </a:pathLst>
          </a:custGeom>
          <a:solidFill>
            <a:schemeClr val="accent4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 sz="2799" dirty="0">
              <a:latin typeface="Lato Regular" charset="0"/>
            </a:endParaRPr>
          </a:p>
        </p:txBody>
      </p:sp>
      <p:sp>
        <p:nvSpPr>
          <p:cNvPr id="39" name="Isosceles Triangle 13">
            <a:extLst>
              <a:ext uri="{FF2B5EF4-FFF2-40B4-BE49-F238E27FC236}">
                <a16:creationId xmlns:a16="http://schemas.microsoft.com/office/drawing/2014/main" id="{50B33FB1-08C2-4A81-8E4C-371CC068BFB7}"/>
              </a:ext>
            </a:extLst>
          </p:cNvPr>
          <p:cNvSpPr/>
          <p:nvPr/>
        </p:nvSpPr>
        <p:spPr>
          <a:xfrm>
            <a:off x="2205672" y="4349975"/>
            <a:ext cx="254809" cy="254809"/>
          </a:xfrm>
          <a:prstGeom prst="triangle">
            <a:avLst>
              <a:gd name="adj" fmla="val 10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4">
              <a:hueOff val="651056"/>
              <a:satOff val="-5209"/>
              <a:lumOff val="-1814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40" name="Rectangle 4">
            <a:extLst>
              <a:ext uri="{FF2B5EF4-FFF2-40B4-BE49-F238E27FC236}">
                <a16:creationId xmlns:a16="http://schemas.microsoft.com/office/drawing/2014/main" id="{D77D49D3-317A-4DC3-B752-6897144AC6C1}"/>
              </a:ext>
            </a:extLst>
          </p:cNvPr>
          <p:cNvSpPr>
            <a:spLocks/>
          </p:cNvSpPr>
          <p:nvPr/>
        </p:nvSpPr>
        <p:spPr bwMode="auto">
          <a:xfrm>
            <a:off x="2498476" y="3937221"/>
            <a:ext cx="2586723" cy="1559642"/>
          </a:xfrm>
          <a:prstGeom prst="rect">
            <a:avLst/>
          </a:prstGeom>
          <a:solidFill>
            <a:schemeClr val="accent2"/>
          </a:solidFill>
          <a:ln w="25400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endParaRPr lang="en-US" sz="2799" dirty="0">
              <a:latin typeface="Lato Regular" charset="0"/>
            </a:endParaRPr>
          </a:p>
        </p:txBody>
      </p:sp>
      <p:sp>
        <p:nvSpPr>
          <p:cNvPr id="57" name="Freeform 2">
            <a:extLst>
              <a:ext uri="{FF2B5EF4-FFF2-40B4-BE49-F238E27FC236}">
                <a16:creationId xmlns:a16="http://schemas.microsoft.com/office/drawing/2014/main" id="{457386D2-97D5-4068-BBB2-8A17958BC3B2}"/>
              </a:ext>
            </a:extLst>
          </p:cNvPr>
          <p:cNvSpPr>
            <a:spLocks/>
          </p:cNvSpPr>
          <p:nvPr/>
        </p:nvSpPr>
        <p:spPr bwMode="auto">
          <a:xfrm>
            <a:off x="4375118" y="4777010"/>
            <a:ext cx="710081" cy="716421"/>
          </a:xfrm>
          <a:custGeom>
            <a:avLst/>
            <a:gdLst>
              <a:gd name="T0" fmla="*/ 0 w 21600"/>
              <a:gd name="T1" fmla="*/ 0 h 21600"/>
              <a:gd name="T2" fmla="*/ 1422400 w 21600"/>
              <a:gd name="T3" fmla="*/ 0 h 21600"/>
              <a:gd name="T4" fmla="*/ 1422400 w 21600"/>
              <a:gd name="T5" fmla="*/ 1435100 h 21600"/>
              <a:gd name="T6" fmla="*/ 0 w 21600"/>
              <a:gd name="T7" fmla="*/ 0 h 21600"/>
              <a:gd name="T8" fmla="*/ 0 w 21600"/>
              <a:gd name="T9" fmla="*/ 0 h 216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1600" h="21600">
                <a:moveTo>
                  <a:pt x="0" y="0"/>
                </a:moveTo>
                <a:lnTo>
                  <a:pt x="21600" y="0"/>
                </a:lnTo>
                <a:lnTo>
                  <a:pt x="21600" y="21600"/>
                </a:lnTo>
                <a:lnTo>
                  <a:pt x="0" y="0"/>
                </a:lnTo>
                <a:close/>
                <a:moveTo>
                  <a:pt x="0" y="0"/>
                </a:moveTo>
              </a:path>
            </a:pathLst>
          </a:custGeom>
          <a:solidFill>
            <a:schemeClr val="accent4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 sz="2799" dirty="0">
              <a:latin typeface="Lato Regular" charset="0"/>
            </a:endParaRPr>
          </a:p>
        </p:txBody>
      </p:sp>
      <p:sp>
        <p:nvSpPr>
          <p:cNvPr id="58" name="Isosceles Triangle 13">
            <a:extLst>
              <a:ext uri="{FF2B5EF4-FFF2-40B4-BE49-F238E27FC236}">
                <a16:creationId xmlns:a16="http://schemas.microsoft.com/office/drawing/2014/main" id="{FC1669B0-5A62-4DDF-8C43-1BFBA928F847}"/>
              </a:ext>
            </a:extLst>
          </p:cNvPr>
          <p:cNvSpPr/>
          <p:nvPr/>
        </p:nvSpPr>
        <p:spPr>
          <a:xfrm>
            <a:off x="4093482" y="3636558"/>
            <a:ext cx="254809" cy="254809"/>
          </a:xfrm>
          <a:prstGeom prst="triangle">
            <a:avLst>
              <a:gd name="adj" fmla="val 10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4">
              <a:hueOff val="651056"/>
              <a:satOff val="-5209"/>
              <a:lumOff val="-1814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59" name="Rectangle 4">
            <a:extLst>
              <a:ext uri="{FF2B5EF4-FFF2-40B4-BE49-F238E27FC236}">
                <a16:creationId xmlns:a16="http://schemas.microsoft.com/office/drawing/2014/main" id="{4A011F1A-0FA5-4E66-925B-AFB790D1F8A2}"/>
              </a:ext>
            </a:extLst>
          </p:cNvPr>
          <p:cNvSpPr>
            <a:spLocks/>
          </p:cNvSpPr>
          <p:nvPr/>
        </p:nvSpPr>
        <p:spPr bwMode="auto">
          <a:xfrm>
            <a:off x="4379015" y="3222989"/>
            <a:ext cx="2586723" cy="1559642"/>
          </a:xfrm>
          <a:prstGeom prst="rect">
            <a:avLst/>
          </a:prstGeom>
          <a:solidFill>
            <a:schemeClr val="accent3"/>
          </a:solidFill>
          <a:ln w="25400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endParaRPr lang="en-US" sz="2799" dirty="0">
              <a:latin typeface="Lato Regular" charset="0"/>
            </a:endParaRPr>
          </a:p>
        </p:txBody>
      </p:sp>
      <p:sp>
        <p:nvSpPr>
          <p:cNvPr id="60" name="Freeform 2">
            <a:extLst>
              <a:ext uri="{FF2B5EF4-FFF2-40B4-BE49-F238E27FC236}">
                <a16:creationId xmlns:a16="http://schemas.microsoft.com/office/drawing/2014/main" id="{E4E6E509-A2A3-45E5-AA73-C0C342C0530D}"/>
              </a:ext>
            </a:extLst>
          </p:cNvPr>
          <p:cNvSpPr>
            <a:spLocks/>
          </p:cNvSpPr>
          <p:nvPr/>
        </p:nvSpPr>
        <p:spPr bwMode="auto">
          <a:xfrm>
            <a:off x="6255657" y="4032477"/>
            <a:ext cx="710081" cy="716421"/>
          </a:xfrm>
          <a:custGeom>
            <a:avLst/>
            <a:gdLst>
              <a:gd name="T0" fmla="*/ 0 w 21600"/>
              <a:gd name="T1" fmla="*/ 0 h 21600"/>
              <a:gd name="T2" fmla="*/ 1422400 w 21600"/>
              <a:gd name="T3" fmla="*/ 0 h 21600"/>
              <a:gd name="T4" fmla="*/ 1422400 w 21600"/>
              <a:gd name="T5" fmla="*/ 1435100 h 21600"/>
              <a:gd name="T6" fmla="*/ 0 w 21600"/>
              <a:gd name="T7" fmla="*/ 0 h 21600"/>
              <a:gd name="T8" fmla="*/ 0 w 21600"/>
              <a:gd name="T9" fmla="*/ 0 h 216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1600" h="21600">
                <a:moveTo>
                  <a:pt x="0" y="0"/>
                </a:moveTo>
                <a:lnTo>
                  <a:pt x="21600" y="0"/>
                </a:lnTo>
                <a:lnTo>
                  <a:pt x="21600" y="21600"/>
                </a:lnTo>
                <a:lnTo>
                  <a:pt x="0" y="0"/>
                </a:lnTo>
                <a:close/>
                <a:moveTo>
                  <a:pt x="0" y="0"/>
                </a:moveTo>
              </a:path>
            </a:pathLst>
          </a:custGeom>
          <a:solidFill>
            <a:schemeClr val="accent4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 sz="2799" dirty="0">
              <a:latin typeface="Lato Regular" charset="0"/>
            </a:endParaRPr>
          </a:p>
        </p:txBody>
      </p:sp>
      <p:sp>
        <p:nvSpPr>
          <p:cNvPr id="61" name="Isosceles Triangle 13">
            <a:extLst>
              <a:ext uri="{FF2B5EF4-FFF2-40B4-BE49-F238E27FC236}">
                <a16:creationId xmlns:a16="http://schemas.microsoft.com/office/drawing/2014/main" id="{FA6BC49C-CE66-4EDE-B634-BAFD9BCD9C06}"/>
              </a:ext>
            </a:extLst>
          </p:cNvPr>
          <p:cNvSpPr/>
          <p:nvPr/>
        </p:nvSpPr>
        <p:spPr>
          <a:xfrm>
            <a:off x="5952244" y="2924297"/>
            <a:ext cx="254809" cy="254809"/>
          </a:xfrm>
          <a:prstGeom prst="triangle">
            <a:avLst>
              <a:gd name="adj" fmla="val 10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4">
              <a:hueOff val="651056"/>
              <a:satOff val="-5209"/>
              <a:lumOff val="-1814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62" name="Rectangle 4">
            <a:extLst>
              <a:ext uri="{FF2B5EF4-FFF2-40B4-BE49-F238E27FC236}">
                <a16:creationId xmlns:a16="http://schemas.microsoft.com/office/drawing/2014/main" id="{D5ED9D00-3D77-4343-BFE3-D2844651DD47}"/>
              </a:ext>
            </a:extLst>
          </p:cNvPr>
          <p:cNvSpPr>
            <a:spLocks/>
          </p:cNvSpPr>
          <p:nvPr/>
        </p:nvSpPr>
        <p:spPr bwMode="auto">
          <a:xfrm>
            <a:off x="6259554" y="2482419"/>
            <a:ext cx="2586723" cy="1559642"/>
          </a:xfrm>
          <a:prstGeom prst="rect">
            <a:avLst/>
          </a:prstGeom>
          <a:solidFill>
            <a:schemeClr val="accent3"/>
          </a:solidFill>
          <a:ln w="25400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endParaRPr lang="en-US" sz="2799" dirty="0">
              <a:latin typeface="Lato Regular" charset="0"/>
            </a:endParaRPr>
          </a:p>
        </p:txBody>
      </p:sp>
      <p:sp>
        <p:nvSpPr>
          <p:cNvPr id="63" name="AutoShape 13">
            <a:extLst>
              <a:ext uri="{FF2B5EF4-FFF2-40B4-BE49-F238E27FC236}">
                <a16:creationId xmlns:a16="http://schemas.microsoft.com/office/drawing/2014/main" id="{B3F45C16-B4A2-444F-86A8-C0446007E780}"/>
              </a:ext>
            </a:extLst>
          </p:cNvPr>
          <p:cNvSpPr>
            <a:spLocks/>
          </p:cNvSpPr>
          <p:nvPr/>
        </p:nvSpPr>
        <p:spPr bwMode="auto">
          <a:xfrm>
            <a:off x="8136196" y="1441691"/>
            <a:ext cx="3207731" cy="2233956"/>
          </a:xfrm>
          <a:prstGeom prst="rightArrow">
            <a:avLst>
              <a:gd name="adj1" fmla="val 69463"/>
              <a:gd name="adj2" fmla="val 28319"/>
            </a:avLst>
          </a:prstGeom>
          <a:solidFill>
            <a:schemeClr val="accent5"/>
          </a:solidFill>
          <a:ln w="25400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endParaRPr lang="en-US" sz="2799" dirty="0">
              <a:latin typeface="Lato Regular" charset="0"/>
            </a:endParaRPr>
          </a:p>
        </p:txBody>
      </p:sp>
      <p:sp>
        <p:nvSpPr>
          <p:cNvPr id="64" name="Freeform 2">
            <a:extLst>
              <a:ext uri="{FF2B5EF4-FFF2-40B4-BE49-F238E27FC236}">
                <a16:creationId xmlns:a16="http://schemas.microsoft.com/office/drawing/2014/main" id="{028F1D75-2FD6-494E-8261-197AC4C45522}"/>
              </a:ext>
            </a:extLst>
          </p:cNvPr>
          <p:cNvSpPr>
            <a:spLocks/>
          </p:cNvSpPr>
          <p:nvPr/>
        </p:nvSpPr>
        <p:spPr bwMode="auto">
          <a:xfrm>
            <a:off x="8136196" y="3325640"/>
            <a:ext cx="710081" cy="716421"/>
          </a:xfrm>
          <a:custGeom>
            <a:avLst/>
            <a:gdLst>
              <a:gd name="T0" fmla="*/ 0 w 21600"/>
              <a:gd name="T1" fmla="*/ 0 h 21600"/>
              <a:gd name="T2" fmla="*/ 1422400 w 21600"/>
              <a:gd name="T3" fmla="*/ 0 h 21600"/>
              <a:gd name="T4" fmla="*/ 1422400 w 21600"/>
              <a:gd name="T5" fmla="*/ 1435100 h 21600"/>
              <a:gd name="T6" fmla="*/ 0 w 21600"/>
              <a:gd name="T7" fmla="*/ 0 h 21600"/>
              <a:gd name="T8" fmla="*/ 0 w 21600"/>
              <a:gd name="T9" fmla="*/ 0 h 216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1600" h="21600">
                <a:moveTo>
                  <a:pt x="0" y="0"/>
                </a:moveTo>
                <a:lnTo>
                  <a:pt x="21600" y="0"/>
                </a:lnTo>
                <a:lnTo>
                  <a:pt x="21600" y="21600"/>
                </a:lnTo>
                <a:lnTo>
                  <a:pt x="0" y="0"/>
                </a:lnTo>
                <a:close/>
                <a:moveTo>
                  <a:pt x="0" y="0"/>
                </a:moveTo>
              </a:path>
            </a:pathLst>
          </a:custGeom>
          <a:solidFill>
            <a:schemeClr val="accent4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 sz="2799" dirty="0">
              <a:latin typeface="Lato Regular" charset="0"/>
            </a:endParaRPr>
          </a:p>
        </p:txBody>
      </p:sp>
      <p:sp>
        <p:nvSpPr>
          <p:cNvPr id="65" name="Isosceles Triangle 13">
            <a:extLst>
              <a:ext uri="{FF2B5EF4-FFF2-40B4-BE49-F238E27FC236}">
                <a16:creationId xmlns:a16="http://schemas.microsoft.com/office/drawing/2014/main" id="{FD130A91-BC11-43FC-AFFA-226E74139612}"/>
              </a:ext>
            </a:extLst>
          </p:cNvPr>
          <p:cNvSpPr/>
          <p:nvPr/>
        </p:nvSpPr>
        <p:spPr>
          <a:xfrm>
            <a:off x="7826972" y="2173969"/>
            <a:ext cx="254809" cy="254809"/>
          </a:xfrm>
          <a:prstGeom prst="triangle">
            <a:avLst>
              <a:gd name="adj" fmla="val 10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4">
              <a:hueOff val="651056"/>
              <a:satOff val="-5209"/>
              <a:lumOff val="-1814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49F6A3B-0977-44CF-8BDF-ED734B2D03B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9200" y="1638300"/>
            <a:ext cx="5171891" cy="1204876"/>
          </a:xfrm>
          <a:prstGeom prst="rect">
            <a:avLst/>
          </a:prstGeom>
          <a:ln w="19050">
            <a:solidFill>
              <a:schemeClr val="accent6"/>
            </a:solidFill>
          </a:ln>
        </p:spPr>
        <p:txBody>
          <a:bodyPr lIns="72000" tIns="36000" rIns="72000" bIns="36000"/>
          <a:lstStyle>
            <a:lvl1pPr marL="0" indent="0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DA1DB6C8-8A55-45FD-A084-53A0AAF06CD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477" y="4646778"/>
            <a:ext cx="1836000" cy="1548000"/>
          </a:xfrm>
          <a:prstGeom prst="rect">
            <a:avLst/>
          </a:prstGeom>
        </p:spPr>
        <p:txBody>
          <a:bodyPr lIns="72000" tIns="36000" rIns="72000" bIns="36000"/>
          <a:lstStyle>
            <a:lvl1pPr marL="0" indent="0" algn="l">
              <a:buNone/>
              <a:defRPr sz="1600"/>
            </a:lvl1pPr>
          </a:lstStyle>
          <a:p>
            <a:pPr algn="l"/>
            <a:r>
              <a:rPr lang="en-US" sz="1800" dirty="0">
                <a:solidFill>
                  <a:schemeClr val="accent5"/>
                </a:solidFill>
                <a:latin typeface="+mn-lt"/>
                <a:ea typeface="Lato Regular" charset="0"/>
                <a:cs typeface="Lato Regular" charset="0"/>
              </a:rPr>
              <a:t>Click to add  step one</a:t>
            </a:r>
          </a:p>
        </p:txBody>
      </p:sp>
      <p:sp>
        <p:nvSpPr>
          <p:cNvPr id="35" name="Text Placeholder 10">
            <a:extLst>
              <a:ext uri="{FF2B5EF4-FFF2-40B4-BE49-F238E27FC236}">
                <a16:creationId xmlns:a16="http://schemas.microsoft.com/office/drawing/2014/main" id="{ECB19207-FB81-4CC8-8729-7889B1BB716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06201" y="3950595"/>
            <a:ext cx="1836000" cy="1548000"/>
          </a:xfrm>
          <a:prstGeom prst="rect">
            <a:avLst/>
          </a:prstGeom>
        </p:spPr>
        <p:txBody>
          <a:bodyPr lIns="72000" tIns="36000" rIns="72000" bIns="36000"/>
          <a:lstStyle>
            <a:lvl1pPr marL="0" indent="0" algn="l">
              <a:buNone/>
              <a:defRPr sz="1600"/>
            </a:lvl1pPr>
          </a:lstStyle>
          <a:p>
            <a:pPr algn="l"/>
            <a:r>
              <a:rPr lang="en-US" sz="1800" dirty="0">
                <a:solidFill>
                  <a:schemeClr val="accent5"/>
                </a:solidFill>
                <a:latin typeface="+mn-lt"/>
                <a:ea typeface="Lato Regular" charset="0"/>
                <a:cs typeface="Lato Regular" charset="0"/>
              </a:rPr>
              <a:t>Click to add  step two</a:t>
            </a:r>
          </a:p>
        </p:txBody>
      </p:sp>
      <p:sp>
        <p:nvSpPr>
          <p:cNvPr id="36" name="Text Placeholder 10">
            <a:extLst>
              <a:ext uri="{FF2B5EF4-FFF2-40B4-BE49-F238E27FC236}">
                <a16:creationId xmlns:a16="http://schemas.microsoft.com/office/drawing/2014/main" id="{047B4116-81E0-4449-A611-A9C8B0FC07D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87883" y="3236347"/>
            <a:ext cx="1836000" cy="1548000"/>
          </a:xfrm>
          <a:prstGeom prst="rect">
            <a:avLst/>
          </a:prstGeom>
        </p:spPr>
        <p:txBody>
          <a:bodyPr lIns="72000" tIns="36000" rIns="72000" bIns="36000"/>
          <a:lstStyle>
            <a:lvl1pPr marL="0" indent="0" algn="l">
              <a:buNone/>
              <a:defRPr sz="1600">
                <a:solidFill>
                  <a:schemeClr val="accent5"/>
                </a:solidFill>
              </a:defRPr>
            </a:lvl1pPr>
          </a:lstStyle>
          <a:p>
            <a:pPr algn="l"/>
            <a:r>
              <a:rPr lang="en-US" sz="1800" dirty="0">
                <a:solidFill>
                  <a:schemeClr val="accent5"/>
                </a:solidFill>
                <a:latin typeface="+mn-lt"/>
                <a:ea typeface="Lato Regular" charset="0"/>
                <a:cs typeface="Lato Regular" charset="0"/>
              </a:rPr>
              <a:t>Click to add  step three</a:t>
            </a:r>
          </a:p>
        </p:txBody>
      </p:sp>
      <p:sp>
        <p:nvSpPr>
          <p:cNvPr id="41" name="Text Placeholder 10">
            <a:extLst>
              <a:ext uri="{FF2B5EF4-FFF2-40B4-BE49-F238E27FC236}">
                <a16:creationId xmlns:a16="http://schemas.microsoft.com/office/drawing/2014/main" id="{F00E0895-69B2-4098-B8AF-A87DB41372D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60604" y="2488240"/>
            <a:ext cx="1836000" cy="1548000"/>
          </a:xfrm>
          <a:prstGeom prst="rect">
            <a:avLst/>
          </a:prstGeom>
        </p:spPr>
        <p:txBody>
          <a:bodyPr lIns="72000" tIns="36000" rIns="72000" bIns="36000"/>
          <a:lstStyle>
            <a:lvl1pPr marL="0" indent="0" algn="l">
              <a:buNone/>
              <a:defRPr sz="1600">
                <a:solidFill>
                  <a:schemeClr val="accent5"/>
                </a:solidFill>
              </a:defRPr>
            </a:lvl1pPr>
          </a:lstStyle>
          <a:p>
            <a:pPr algn="l"/>
            <a:r>
              <a:rPr lang="en-US" sz="1800" dirty="0">
                <a:solidFill>
                  <a:schemeClr val="accent5"/>
                </a:solidFill>
                <a:latin typeface="+mn-lt"/>
                <a:ea typeface="Lato Regular" charset="0"/>
                <a:cs typeface="Lato Regular" charset="0"/>
              </a:rPr>
              <a:t>Click to add  step four</a:t>
            </a:r>
          </a:p>
        </p:txBody>
      </p:sp>
      <p:sp>
        <p:nvSpPr>
          <p:cNvPr id="42" name="Text Placeholder 10">
            <a:extLst>
              <a:ext uri="{FF2B5EF4-FFF2-40B4-BE49-F238E27FC236}">
                <a16:creationId xmlns:a16="http://schemas.microsoft.com/office/drawing/2014/main" id="{40D9E8E2-20C0-4A1A-BF6D-0B2788D96CA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136196" y="1784669"/>
            <a:ext cx="2406246" cy="1548000"/>
          </a:xfrm>
          <a:prstGeom prst="rect">
            <a:avLst/>
          </a:prstGeom>
        </p:spPr>
        <p:txBody>
          <a:bodyPr lIns="72000" tIns="36000" rIns="72000" bIns="36000"/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</a:lstStyle>
          <a:p>
            <a:pPr algn="l"/>
            <a:r>
              <a:rPr lang="en-US" sz="1800" dirty="0">
                <a:solidFill>
                  <a:schemeClr val="accent5"/>
                </a:solidFill>
                <a:latin typeface="+mn-lt"/>
                <a:ea typeface="Lato Regular" charset="0"/>
                <a:cs typeface="Lato Regular" charset="0"/>
              </a:rPr>
              <a:t>Click to add step five</a:t>
            </a:r>
          </a:p>
        </p:txBody>
      </p:sp>
      <p:sp>
        <p:nvSpPr>
          <p:cNvPr id="43" name="Title Placeholder 1">
            <a:extLst>
              <a:ext uri="{FF2B5EF4-FFF2-40B4-BE49-F238E27FC236}">
                <a16:creationId xmlns:a16="http://schemas.microsoft.com/office/drawing/2014/main" id="{6FA84DC4-0E76-4505-BB76-BDA71C8DC4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400" y="371180"/>
            <a:ext cx="11473200" cy="619713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/>
          <a:p>
            <a:r>
              <a:rPr lang="en-US" dirty="0"/>
              <a:t>Click to edit headline</a:t>
            </a:r>
            <a:endParaRPr lang="da-DK" dirty="0"/>
          </a:p>
        </p:txBody>
      </p:sp>
      <p:sp>
        <p:nvSpPr>
          <p:cNvPr id="44" name="Footer Placeholder 4">
            <a:extLst>
              <a:ext uri="{FF2B5EF4-FFF2-40B4-BE49-F238E27FC236}">
                <a16:creationId xmlns:a16="http://schemas.microsoft.com/office/drawing/2014/main" id="{AFECD0E4-1024-44AE-8E23-42280A9B65D5}"/>
              </a:ext>
            </a:extLst>
          </p:cNvPr>
          <p:cNvSpPr txBox="1">
            <a:spLocks/>
          </p:cNvSpPr>
          <p:nvPr/>
        </p:nvSpPr>
        <p:spPr>
          <a:xfrm>
            <a:off x="10762637" y="6339507"/>
            <a:ext cx="1069963" cy="341053"/>
          </a:xfrm>
          <a:prstGeom prst="rect">
            <a:avLst/>
          </a:prstGeo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  <p:sp>
        <p:nvSpPr>
          <p:cNvPr id="25" name="Slide Number Placeholder 5">
            <a:extLst>
              <a:ext uri="{FF2B5EF4-FFF2-40B4-BE49-F238E27FC236}">
                <a16:creationId xmlns:a16="http://schemas.microsoft.com/office/drawing/2014/main" id="{5CDA829A-ED52-43E9-BA64-55EFBD33D9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8452878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act one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Logo on top">
            <a:extLst>
              <a:ext uri="{FF2B5EF4-FFF2-40B4-BE49-F238E27FC236}">
                <a16:creationId xmlns:a16="http://schemas.microsoft.com/office/drawing/2014/main" id="{946C4B67-243B-42D4-B01A-C1E49052FDDD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10753200" y="6339600"/>
            <a:ext cx="1080000" cy="340069"/>
          </a:xfrm>
          <a:custGeom>
            <a:avLst/>
            <a:gdLst>
              <a:gd name="connsiteX0" fmla="*/ 968375 w 3876676"/>
              <a:gd name="connsiteY0" fmla="*/ 557213 h 1212806"/>
              <a:gd name="connsiteX1" fmla="*/ 1176338 w 3876676"/>
              <a:gd name="connsiteY1" fmla="*/ 557213 h 1212806"/>
              <a:gd name="connsiteX2" fmla="*/ 1176338 w 3876676"/>
              <a:gd name="connsiteY2" fmla="*/ 1193801 h 1212806"/>
              <a:gd name="connsiteX3" fmla="*/ 968375 w 3876676"/>
              <a:gd name="connsiteY3" fmla="*/ 1193801 h 1212806"/>
              <a:gd name="connsiteX4" fmla="*/ 0 w 3876676"/>
              <a:gd name="connsiteY4" fmla="*/ 557213 h 1212806"/>
              <a:gd name="connsiteX5" fmla="*/ 239712 w 3876676"/>
              <a:gd name="connsiteY5" fmla="*/ 557213 h 1212806"/>
              <a:gd name="connsiteX6" fmla="*/ 561975 w 3876676"/>
              <a:gd name="connsiteY6" fmla="*/ 893763 h 1212806"/>
              <a:gd name="connsiteX7" fmla="*/ 581025 w 3876676"/>
              <a:gd name="connsiteY7" fmla="*/ 560388 h 1212806"/>
              <a:gd name="connsiteX8" fmla="*/ 782638 w 3876676"/>
              <a:gd name="connsiteY8" fmla="*/ 560388 h 1212806"/>
              <a:gd name="connsiteX9" fmla="*/ 782638 w 3876676"/>
              <a:gd name="connsiteY9" fmla="*/ 1193801 h 1212806"/>
              <a:gd name="connsiteX10" fmla="*/ 590550 w 3876676"/>
              <a:gd name="connsiteY10" fmla="*/ 1193801 h 1212806"/>
              <a:gd name="connsiteX11" fmla="*/ 214312 w 3876676"/>
              <a:gd name="connsiteY11" fmla="*/ 811213 h 1212806"/>
              <a:gd name="connsiteX12" fmla="*/ 192087 w 3876676"/>
              <a:gd name="connsiteY12" fmla="*/ 1193801 h 1212806"/>
              <a:gd name="connsiteX13" fmla="*/ 0 w 3876676"/>
              <a:gd name="connsiteY13" fmla="*/ 1193801 h 1212806"/>
              <a:gd name="connsiteX14" fmla="*/ 1748787 w 3876676"/>
              <a:gd name="connsiteY14" fmla="*/ 547727 h 1212806"/>
              <a:gd name="connsiteX15" fmla="*/ 2081150 w 3876676"/>
              <a:gd name="connsiteY15" fmla="*/ 743800 h 1212806"/>
              <a:gd name="connsiteX16" fmla="*/ 1918165 w 3876676"/>
              <a:gd name="connsiteY16" fmla="*/ 962372 h 1212806"/>
              <a:gd name="connsiteX17" fmla="*/ 2081150 w 3876676"/>
              <a:gd name="connsiteY17" fmla="*/ 1193801 h 1212806"/>
              <a:gd name="connsiteX18" fmla="*/ 1860640 w 3876676"/>
              <a:gd name="connsiteY18" fmla="*/ 1193801 h 1212806"/>
              <a:gd name="connsiteX19" fmla="*/ 1656109 w 3876676"/>
              <a:gd name="connsiteY19" fmla="*/ 972015 h 1212806"/>
              <a:gd name="connsiteX20" fmla="*/ 1656109 w 3876676"/>
              <a:gd name="connsiteY20" fmla="*/ 872371 h 1212806"/>
              <a:gd name="connsiteX21" fmla="*/ 1854249 w 3876676"/>
              <a:gd name="connsiteY21" fmla="*/ 756657 h 1212806"/>
              <a:gd name="connsiteX22" fmla="*/ 1710438 w 3876676"/>
              <a:gd name="connsiteY22" fmla="*/ 676299 h 1212806"/>
              <a:gd name="connsiteX23" fmla="*/ 1582606 w 3876676"/>
              <a:gd name="connsiteY23" fmla="*/ 682728 h 1212806"/>
              <a:gd name="connsiteX24" fmla="*/ 1550648 w 3876676"/>
              <a:gd name="connsiteY24" fmla="*/ 1193801 h 1212806"/>
              <a:gd name="connsiteX25" fmla="*/ 1358900 w 3876676"/>
              <a:gd name="connsiteY25" fmla="*/ 1193801 h 1212806"/>
              <a:gd name="connsiteX26" fmla="*/ 1358900 w 3876676"/>
              <a:gd name="connsiteY26" fmla="*/ 557370 h 1212806"/>
              <a:gd name="connsiteX27" fmla="*/ 1748787 w 3876676"/>
              <a:gd name="connsiteY27" fmla="*/ 547727 h 1212806"/>
              <a:gd name="connsiteX28" fmla="*/ 3505842 w 3876676"/>
              <a:gd name="connsiteY28" fmla="*/ 533444 h 1212806"/>
              <a:gd name="connsiteX29" fmla="*/ 3831920 w 3876676"/>
              <a:gd name="connsiteY29" fmla="*/ 549540 h 1212806"/>
              <a:gd name="connsiteX30" fmla="*/ 3831920 w 3876676"/>
              <a:gd name="connsiteY30" fmla="*/ 697618 h 1212806"/>
              <a:gd name="connsiteX31" fmla="*/ 3579369 w 3876676"/>
              <a:gd name="connsiteY31" fmla="*/ 675085 h 1212806"/>
              <a:gd name="connsiteX32" fmla="*/ 3419527 w 3876676"/>
              <a:gd name="connsiteY32" fmla="*/ 729809 h 1212806"/>
              <a:gd name="connsiteX33" fmla="*/ 3521826 w 3876676"/>
              <a:gd name="connsiteY33" fmla="*/ 778096 h 1212806"/>
              <a:gd name="connsiteX34" fmla="*/ 3876676 w 3876676"/>
              <a:gd name="connsiteY34" fmla="*/ 996994 h 1212806"/>
              <a:gd name="connsiteX35" fmla="*/ 3505842 w 3876676"/>
              <a:gd name="connsiteY35" fmla="*/ 1212674 h 1212806"/>
              <a:gd name="connsiteX36" fmla="*/ 3208535 w 3876676"/>
              <a:gd name="connsiteY36" fmla="*/ 1193359 h 1212806"/>
              <a:gd name="connsiteX37" fmla="*/ 3208535 w 3876676"/>
              <a:gd name="connsiteY37" fmla="*/ 1032404 h 1212806"/>
              <a:gd name="connsiteX38" fmla="*/ 3451495 w 3876676"/>
              <a:gd name="connsiteY38" fmla="*/ 1064595 h 1212806"/>
              <a:gd name="connsiteX39" fmla="*/ 3649700 w 3876676"/>
              <a:gd name="connsiteY39" fmla="*/ 1006652 h 1212806"/>
              <a:gd name="connsiteX40" fmla="*/ 3560188 w 3876676"/>
              <a:gd name="connsiteY40" fmla="*/ 964803 h 1212806"/>
              <a:gd name="connsiteX41" fmla="*/ 3179763 w 3876676"/>
              <a:gd name="connsiteY41" fmla="*/ 749124 h 1212806"/>
              <a:gd name="connsiteX42" fmla="*/ 3505842 w 3876676"/>
              <a:gd name="connsiteY42" fmla="*/ 533444 h 1212806"/>
              <a:gd name="connsiteX43" fmla="*/ 2179638 w 3876676"/>
              <a:gd name="connsiteY43" fmla="*/ 476250 h 1212806"/>
              <a:gd name="connsiteX44" fmla="*/ 2182834 w 3876676"/>
              <a:gd name="connsiteY44" fmla="*/ 476250 h 1212806"/>
              <a:gd name="connsiteX45" fmla="*/ 2368233 w 3876676"/>
              <a:gd name="connsiteY45" fmla="*/ 810892 h 1212806"/>
              <a:gd name="connsiteX46" fmla="*/ 2499290 w 3876676"/>
              <a:gd name="connsiteY46" fmla="*/ 556693 h 1212806"/>
              <a:gd name="connsiteX47" fmla="*/ 2812550 w 3876676"/>
              <a:gd name="connsiteY47" fmla="*/ 556693 h 1212806"/>
              <a:gd name="connsiteX48" fmla="*/ 2962787 w 3876676"/>
              <a:gd name="connsiteY48" fmla="*/ 855940 h 1212806"/>
              <a:gd name="connsiteX49" fmla="*/ 3122613 w 3876676"/>
              <a:gd name="connsiteY49" fmla="*/ 1193800 h 1212806"/>
              <a:gd name="connsiteX50" fmla="*/ 2918035 w 3876676"/>
              <a:gd name="connsiteY50" fmla="*/ 1193800 h 1212806"/>
              <a:gd name="connsiteX51" fmla="*/ 2652724 w 3876676"/>
              <a:gd name="connsiteY51" fmla="*/ 720796 h 1212806"/>
              <a:gd name="connsiteX52" fmla="*/ 2550435 w 3876676"/>
              <a:gd name="connsiteY52" fmla="*/ 907424 h 1212806"/>
              <a:gd name="connsiteX53" fmla="*/ 2662313 w 3876676"/>
              <a:gd name="connsiteY53" fmla="*/ 926730 h 1212806"/>
              <a:gd name="connsiteX54" fmla="*/ 2662313 w 3876676"/>
              <a:gd name="connsiteY54" fmla="*/ 1103704 h 1212806"/>
              <a:gd name="connsiteX55" fmla="*/ 2460932 w 3876676"/>
              <a:gd name="connsiteY55" fmla="*/ 1068309 h 1212806"/>
              <a:gd name="connsiteX56" fmla="*/ 2393805 w 3876676"/>
              <a:gd name="connsiteY56" fmla="*/ 1193800 h 1212806"/>
              <a:gd name="connsiteX57" fmla="*/ 2189227 w 3876676"/>
              <a:gd name="connsiteY57" fmla="*/ 1193800 h 1212806"/>
              <a:gd name="connsiteX58" fmla="*/ 2294713 w 3876676"/>
              <a:gd name="connsiteY58" fmla="*/ 965343 h 1212806"/>
              <a:gd name="connsiteX59" fmla="*/ 2179638 w 3876676"/>
              <a:gd name="connsiteY59" fmla="*/ 749756 h 1212806"/>
              <a:gd name="connsiteX60" fmla="*/ 2179638 w 3876676"/>
              <a:gd name="connsiteY60" fmla="*/ 476250 h 1212806"/>
              <a:gd name="connsiteX61" fmla="*/ 2665413 w 3876676"/>
              <a:gd name="connsiteY61" fmla="*/ 0 h 1212806"/>
              <a:gd name="connsiteX62" fmla="*/ 2665413 w 3876676"/>
              <a:gd name="connsiteY62" fmla="*/ 199390 h 1212806"/>
              <a:gd name="connsiteX63" fmla="*/ 2313126 w 3876676"/>
              <a:gd name="connsiteY63" fmla="*/ 498475 h 1212806"/>
              <a:gd name="connsiteX64" fmla="*/ 2300315 w 3876676"/>
              <a:gd name="connsiteY64" fmla="*/ 395564 h 1212806"/>
              <a:gd name="connsiteX65" fmla="*/ 2665413 w 3876676"/>
              <a:gd name="connsiteY65" fmla="*/ 0 h 12128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</a:cxnLst>
            <a:rect l="l" t="t" r="r" b="b"/>
            <a:pathLst>
              <a:path w="3876676" h="1212806">
                <a:moveTo>
                  <a:pt x="968375" y="557213"/>
                </a:moveTo>
                <a:lnTo>
                  <a:pt x="1176338" y="557213"/>
                </a:lnTo>
                <a:lnTo>
                  <a:pt x="1176338" y="1193801"/>
                </a:lnTo>
                <a:lnTo>
                  <a:pt x="968375" y="1193801"/>
                </a:lnTo>
                <a:close/>
                <a:moveTo>
                  <a:pt x="0" y="557213"/>
                </a:moveTo>
                <a:lnTo>
                  <a:pt x="239712" y="557213"/>
                </a:lnTo>
                <a:lnTo>
                  <a:pt x="561975" y="893763"/>
                </a:lnTo>
                <a:lnTo>
                  <a:pt x="581025" y="560388"/>
                </a:lnTo>
                <a:lnTo>
                  <a:pt x="782638" y="560388"/>
                </a:lnTo>
                <a:lnTo>
                  <a:pt x="782638" y="1193801"/>
                </a:lnTo>
                <a:lnTo>
                  <a:pt x="590550" y="1193801"/>
                </a:lnTo>
                <a:lnTo>
                  <a:pt x="214312" y="811213"/>
                </a:lnTo>
                <a:lnTo>
                  <a:pt x="192087" y="1193801"/>
                </a:lnTo>
                <a:lnTo>
                  <a:pt x="0" y="1193801"/>
                </a:lnTo>
                <a:close/>
                <a:moveTo>
                  <a:pt x="1748787" y="547727"/>
                </a:moveTo>
                <a:cubicBezTo>
                  <a:pt x="1892598" y="547727"/>
                  <a:pt x="2068367" y="583085"/>
                  <a:pt x="2081150" y="743800"/>
                </a:cubicBezTo>
                <a:cubicBezTo>
                  <a:pt x="2090738" y="917372"/>
                  <a:pt x="1918165" y="962372"/>
                  <a:pt x="1918165" y="962372"/>
                </a:cubicBezTo>
                <a:cubicBezTo>
                  <a:pt x="1918165" y="962372"/>
                  <a:pt x="1918165" y="962372"/>
                  <a:pt x="2081150" y="1193801"/>
                </a:cubicBezTo>
                <a:cubicBezTo>
                  <a:pt x="2081150" y="1193801"/>
                  <a:pt x="2081150" y="1193801"/>
                  <a:pt x="1860640" y="1193801"/>
                </a:cubicBezTo>
                <a:cubicBezTo>
                  <a:pt x="1860640" y="1193801"/>
                  <a:pt x="1860640" y="1193801"/>
                  <a:pt x="1656109" y="972015"/>
                </a:cubicBezTo>
                <a:cubicBezTo>
                  <a:pt x="1656109" y="972015"/>
                  <a:pt x="1656109" y="972015"/>
                  <a:pt x="1656109" y="872371"/>
                </a:cubicBezTo>
                <a:cubicBezTo>
                  <a:pt x="1838270" y="872371"/>
                  <a:pt x="1857444" y="811300"/>
                  <a:pt x="1854249" y="756657"/>
                </a:cubicBezTo>
                <a:cubicBezTo>
                  <a:pt x="1851053" y="705228"/>
                  <a:pt x="1790333" y="676299"/>
                  <a:pt x="1710438" y="676299"/>
                </a:cubicBezTo>
                <a:cubicBezTo>
                  <a:pt x="1659305" y="676299"/>
                  <a:pt x="1582606" y="682728"/>
                  <a:pt x="1582606" y="682728"/>
                </a:cubicBezTo>
                <a:cubicBezTo>
                  <a:pt x="1582606" y="682728"/>
                  <a:pt x="1582606" y="682728"/>
                  <a:pt x="1550648" y="1193801"/>
                </a:cubicBezTo>
                <a:cubicBezTo>
                  <a:pt x="1550648" y="1193801"/>
                  <a:pt x="1550648" y="1193801"/>
                  <a:pt x="1358900" y="1193801"/>
                </a:cubicBezTo>
                <a:cubicBezTo>
                  <a:pt x="1358900" y="1193801"/>
                  <a:pt x="1358900" y="1193801"/>
                  <a:pt x="1358900" y="557370"/>
                </a:cubicBezTo>
                <a:cubicBezTo>
                  <a:pt x="1358900" y="557370"/>
                  <a:pt x="1633738" y="544513"/>
                  <a:pt x="1748787" y="547727"/>
                </a:cubicBezTo>
                <a:close/>
                <a:moveTo>
                  <a:pt x="3505842" y="533444"/>
                </a:moveTo>
                <a:cubicBezTo>
                  <a:pt x="3668881" y="530225"/>
                  <a:pt x="3831920" y="549540"/>
                  <a:pt x="3831920" y="549540"/>
                </a:cubicBezTo>
                <a:cubicBezTo>
                  <a:pt x="3831920" y="549540"/>
                  <a:pt x="3831920" y="549540"/>
                  <a:pt x="3831920" y="697618"/>
                </a:cubicBezTo>
                <a:cubicBezTo>
                  <a:pt x="3831920" y="697618"/>
                  <a:pt x="3688062" y="675085"/>
                  <a:pt x="3579369" y="675085"/>
                </a:cubicBezTo>
                <a:cubicBezTo>
                  <a:pt x="3470676" y="675085"/>
                  <a:pt x="3416330" y="687961"/>
                  <a:pt x="3419527" y="729809"/>
                </a:cubicBezTo>
                <a:cubicBezTo>
                  <a:pt x="3419527" y="758781"/>
                  <a:pt x="3454692" y="774877"/>
                  <a:pt x="3521826" y="778096"/>
                </a:cubicBezTo>
                <a:cubicBezTo>
                  <a:pt x="3617731" y="784534"/>
                  <a:pt x="3876676" y="762000"/>
                  <a:pt x="3876676" y="996994"/>
                </a:cubicBezTo>
                <a:cubicBezTo>
                  <a:pt x="3876676" y="1225550"/>
                  <a:pt x="3566582" y="1212674"/>
                  <a:pt x="3505842" y="1212674"/>
                </a:cubicBezTo>
                <a:cubicBezTo>
                  <a:pt x="3377968" y="1212674"/>
                  <a:pt x="3208535" y="1193359"/>
                  <a:pt x="3208535" y="1193359"/>
                </a:cubicBezTo>
                <a:cubicBezTo>
                  <a:pt x="3208535" y="1193359"/>
                  <a:pt x="3208535" y="1193359"/>
                  <a:pt x="3208535" y="1032404"/>
                </a:cubicBezTo>
                <a:cubicBezTo>
                  <a:pt x="3208535" y="1032404"/>
                  <a:pt x="3326818" y="1064595"/>
                  <a:pt x="3451495" y="1064595"/>
                </a:cubicBezTo>
                <a:cubicBezTo>
                  <a:pt x="3576172" y="1064595"/>
                  <a:pt x="3656094" y="1054938"/>
                  <a:pt x="3649700" y="1006652"/>
                </a:cubicBezTo>
                <a:cubicBezTo>
                  <a:pt x="3646503" y="974461"/>
                  <a:pt x="3604944" y="964803"/>
                  <a:pt x="3560188" y="964803"/>
                </a:cubicBezTo>
                <a:cubicBezTo>
                  <a:pt x="3448299" y="964803"/>
                  <a:pt x="3182960" y="958365"/>
                  <a:pt x="3179763" y="749124"/>
                </a:cubicBezTo>
                <a:cubicBezTo>
                  <a:pt x="3179763" y="533444"/>
                  <a:pt x="3448299" y="536663"/>
                  <a:pt x="3505842" y="533444"/>
                </a:cubicBezTo>
                <a:close/>
                <a:moveTo>
                  <a:pt x="2179638" y="476250"/>
                </a:moveTo>
                <a:cubicBezTo>
                  <a:pt x="2179638" y="476250"/>
                  <a:pt x="2179638" y="476250"/>
                  <a:pt x="2182834" y="476250"/>
                </a:cubicBezTo>
                <a:cubicBezTo>
                  <a:pt x="2192424" y="547040"/>
                  <a:pt x="2230782" y="695055"/>
                  <a:pt x="2368233" y="810892"/>
                </a:cubicBezTo>
                <a:cubicBezTo>
                  <a:pt x="2467325" y="604959"/>
                  <a:pt x="2499290" y="556693"/>
                  <a:pt x="2499290" y="556693"/>
                </a:cubicBezTo>
                <a:cubicBezTo>
                  <a:pt x="2499290" y="556693"/>
                  <a:pt x="2499290" y="556693"/>
                  <a:pt x="2812550" y="556693"/>
                </a:cubicBezTo>
                <a:cubicBezTo>
                  <a:pt x="2812550" y="556693"/>
                  <a:pt x="2841319" y="604959"/>
                  <a:pt x="2962787" y="855940"/>
                </a:cubicBezTo>
                <a:cubicBezTo>
                  <a:pt x="3097041" y="1132664"/>
                  <a:pt x="3122613" y="1193800"/>
                  <a:pt x="3122613" y="1193800"/>
                </a:cubicBezTo>
                <a:cubicBezTo>
                  <a:pt x="3122613" y="1193800"/>
                  <a:pt x="3122613" y="1193800"/>
                  <a:pt x="2918035" y="1193800"/>
                </a:cubicBezTo>
                <a:cubicBezTo>
                  <a:pt x="2918035" y="1193800"/>
                  <a:pt x="2918035" y="1193800"/>
                  <a:pt x="2652724" y="720796"/>
                </a:cubicBezTo>
                <a:cubicBezTo>
                  <a:pt x="2652724" y="720796"/>
                  <a:pt x="2652724" y="720796"/>
                  <a:pt x="2550435" y="907424"/>
                </a:cubicBezTo>
                <a:cubicBezTo>
                  <a:pt x="2617562" y="929948"/>
                  <a:pt x="2662313" y="926730"/>
                  <a:pt x="2662313" y="926730"/>
                </a:cubicBezTo>
                <a:cubicBezTo>
                  <a:pt x="2662313" y="926730"/>
                  <a:pt x="2662313" y="926730"/>
                  <a:pt x="2662313" y="1103704"/>
                </a:cubicBezTo>
                <a:cubicBezTo>
                  <a:pt x="2662313" y="1103704"/>
                  <a:pt x="2563221" y="1106922"/>
                  <a:pt x="2460932" y="1068309"/>
                </a:cubicBezTo>
                <a:cubicBezTo>
                  <a:pt x="2460932" y="1068309"/>
                  <a:pt x="2460932" y="1068309"/>
                  <a:pt x="2393805" y="1193800"/>
                </a:cubicBezTo>
                <a:cubicBezTo>
                  <a:pt x="2393805" y="1193800"/>
                  <a:pt x="2393805" y="1193800"/>
                  <a:pt x="2189227" y="1193800"/>
                </a:cubicBezTo>
                <a:cubicBezTo>
                  <a:pt x="2189227" y="1193800"/>
                  <a:pt x="2205210" y="1155188"/>
                  <a:pt x="2294713" y="965343"/>
                </a:cubicBezTo>
                <a:cubicBezTo>
                  <a:pt x="2202013" y="865593"/>
                  <a:pt x="2179638" y="749756"/>
                  <a:pt x="2179638" y="749756"/>
                </a:cubicBezTo>
                <a:cubicBezTo>
                  <a:pt x="2179638" y="749756"/>
                  <a:pt x="2179638" y="749756"/>
                  <a:pt x="2179638" y="476250"/>
                </a:cubicBezTo>
                <a:close/>
                <a:moveTo>
                  <a:pt x="2665413" y="0"/>
                </a:moveTo>
                <a:cubicBezTo>
                  <a:pt x="2665413" y="0"/>
                  <a:pt x="2665413" y="0"/>
                  <a:pt x="2665413" y="199390"/>
                </a:cubicBezTo>
                <a:cubicBezTo>
                  <a:pt x="2476459" y="205822"/>
                  <a:pt x="2341949" y="356972"/>
                  <a:pt x="2313126" y="498475"/>
                </a:cubicBezTo>
                <a:cubicBezTo>
                  <a:pt x="2303518" y="466315"/>
                  <a:pt x="2300315" y="430940"/>
                  <a:pt x="2300315" y="395564"/>
                </a:cubicBezTo>
                <a:cubicBezTo>
                  <a:pt x="2297113" y="260493"/>
                  <a:pt x="2399596" y="32160"/>
                  <a:pt x="2665413" y="0"/>
                </a:cubicBezTo>
                <a:close/>
              </a:path>
            </a:pathLst>
          </a:custGeom>
          <a:solidFill>
            <a:srgbClr val="FFFFFF"/>
          </a:solidFill>
        </p:spPr>
        <p:txBody>
          <a:bodyPr lIns="0" tIns="0" rIns="0" bIns="0">
            <a:norm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EC47C98D-4FAF-4675-81FB-E5A7BA12D888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771711" y="1612682"/>
            <a:ext cx="3432299" cy="3432299"/>
          </a:xfrm>
          <a:custGeom>
            <a:avLst/>
            <a:gdLst>
              <a:gd name="connsiteX0" fmla="*/ 1716150 w 3432299"/>
              <a:gd name="connsiteY0" fmla="*/ 0 h 3432299"/>
              <a:gd name="connsiteX1" fmla="*/ 3432299 w 3432299"/>
              <a:gd name="connsiteY1" fmla="*/ 1716150 h 3432299"/>
              <a:gd name="connsiteX2" fmla="*/ 1716150 w 3432299"/>
              <a:gd name="connsiteY2" fmla="*/ 3432299 h 3432299"/>
              <a:gd name="connsiteX3" fmla="*/ 0 w 3432299"/>
              <a:gd name="connsiteY3" fmla="*/ 1716150 h 3432299"/>
              <a:gd name="connsiteX4" fmla="*/ 1716150 w 3432299"/>
              <a:gd name="connsiteY4" fmla="*/ 0 h 3432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32299" h="3432299">
                <a:moveTo>
                  <a:pt x="1716150" y="0"/>
                </a:moveTo>
                <a:cubicBezTo>
                  <a:pt x="2663953" y="0"/>
                  <a:pt x="3432299" y="768346"/>
                  <a:pt x="3432299" y="1716150"/>
                </a:cubicBezTo>
                <a:cubicBezTo>
                  <a:pt x="3432299" y="2663953"/>
                  <a:pt x="2663953" y="3432299"/>
                  <a:pt x="1716150" y="3432299"/>
                </a:cubicBezTo>
                <a:cubicBezTo>
                  <a:pt x="768346" y="3432299"/>
                  <a:pt x="0" y="2663953"/>
                  <a:pt x="0" y="1716150"/>
                </a:cubicBezTo>
                <a:cubicBezTo>
                  <a:pt x="0" y="768346"/>
                  <a:pt x="768346" y="0"/>
                  <a:pt x="1716150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your</a:t>
            </a:r>
            <a:r>
              <a:rPr lang="da-DK" dirty="0"/>
              <a:t> </a:t>
            </a:r>
            <a:r>
              <a:rPr lang="da-DK" dirty="0" err="1"/>
              <a:t>profile</a:t>
            </a:r>
            <a:r>
              <a:rPr lang="da-DK" dirty="0"/>
              <a:t> </a:t>
            </a:r>
            <a:r>
              <a:rPr lang="da-DK" dirty="0" err="1"/>
              <a:t>photo</a:t>
            </a:r>
            <a:endParaRPr lang="da-DK" dirty="0"/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E74AD59E-A423-4B11-A9D8-860D9ED84A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400" y="360000"/>
            <a:ext cx="11473200" cy="619713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headline</a:t>
            </a:r>
            <a:endParaRPr lang="da-DK" dirty="0"/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1EE3518A-31DE-4BA4-B16D-9E6E3BD2219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628694" y="1455773"/>
            <a:ext cx="5273589" cy="6197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en-US" dirty="0"/>
              <a:t>Get in touch with us</a:t>
            </a:r>
          </a:p>
          <a:p>
            <a:pPr lvl="0"/>
            <a:endParaRPr lang="en-US" dirty="0"/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27196662-DAC2-4CA1-930C-3729480FED1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86616" y="2273621"/>
            <a:ext cx="4159909" cy="289931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en-US" dirty="0"/>
              <a:t>Name </a:t>
            </a:r>
            <a:r>
              <a:rPr lang="en-US" dirty="0" err="1"/>
              <a:t>name</a:t>
            </a:r>
            <a:br>
              <a:rPr lang="en-US" dirty="0"/>
            </a:br>
            <a:r>
              <a:rPr lang="en-US" dirty="0"/>
              <a:t>Title </a:t>
            </a:r>
            <a:br>
              <a:rPr lang="en-US" dirty="0"/>
            </a:br>
            <a:r>
              <a:rPr lang="en-US" dirty="0"/>
              <a:t>Area of expertise</a:t>
            </a:r>
            <a:br>
              <a:rPr lang="en-US" dirty="0"/>
            </a:br>
            <a:r>
              <a:rPr lang="en-US" dirty="0" err="1"/>
              <a:t>Email@dress</a:t>
            </a:r>
            <a:br>
              <a:rPr lang="en-US" dirty="0"/>
            </a:br>
            <a:r>
              <a:rPr lang="en-US" dirty="0"/>
              <a:t>Phone number</a:t>
            </a:r>
            <a:br>
              <a:rPr lang="en-US" dirty="0"/>
            </a:br>
            <a:br>
              <a:rPr lang="en-US" dirty="0"/>
            </a:br>
            <a:r>
              <a:rPr lang="en-US" dirty="0"/>
              <a:t>Country</a:t>
            </a:r>
            <a:br>
              <a:rPr lang="en-US" dirty="0"/>
            </a:br>
            <a:r>
              <a:rPr lang="en-US" dirty="0"/>
              <a:t>Office, </a:t>
            </a:r>
            <a:r>
              <a:rPr lang="en-US" dirty="0" err="1"/>
              <a:t>Adress</a:t>
            </a:r>
            <a:endParaRPr lang="en-US" dirty="0"/>
          </a:p>
        </p:txBody>
      </p:sp>
      <p:sp>
        <p:nvSpPr>
          <p:cNvPr id="9" name="Shape 2587">
            <a:extLst>
              <a:ext uri="{FF2B5EF4-FFF2-40B4-BE49-F238E27FC236}">
                <a16:creationId xmlns:a16="http://schemas.microsoft.com/office/drawing/2014/main" id="{432A4CED-5616-4E9A-B10E-D27920EBC843}"/>
              </a:ext>
            </a:extLst>
          </p:cNvPr>
          <p:cNvSpPr/>
          <p:nvPr/>
        </p:nvSpPr>
        <p:spPr>
          <a:xfrm>
            <a:off x="4887331" y="3146425"/>
            <a:ext cx="304875" cy="30487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281" y="19846"/>
                </a:moveTo>
                <a:lnTo>
                  <a:pt x="9413" y="12882"/>
                </a:lnTo>
                <a:lnTo>
                  <a:pt x="19655" y="2640"/>
                </a:lnTo>
                <a:cubicBezTo>
                  <a:pt x="19655" y="2640"/>
                  <a:pt x="12281" y="19846"/>
                  <a:pt x="12281" y="19846"/>
                </a:cubicBezTo>
                <a:close/>
                <a:moveTo>
                  <a:pt x="1755" y="9320"/>
                </a:moveTo>
                <a:lnTo>
                  <a:pt x="18960" y="1945"/>
                </a:lnTo>
                <a:lnTo>
                  <a:pt x="8719" y="12187"/>
                </a:lnTo>
                <a:cubicBezTo>
                  <a:pt x="8719" y="12187"/>
                  <a:pt x="1755" y="9320"/>
                  <a:pt x="1755" y="9320"/>
                </a:cubicBezTo>
                <a:close/>
                <a:moveTo>
                  <a:pt x="21600" y="491"/>
                </a:moveTo>
                <a:cubicBezTo>
                  <a:pt x="21600" y="220"/>
                  <a:pt x="21380" y="0"/>
                  <a:pt x="21109" y="0"/>
                </a:cubicBezTo>
                <a:cubicBezTo>
                  <a:pt x="21034" y="0"/>
                  <a:pt x="20964" y="20"/>
                  <a:pt x="20900" y="52"/>
                </a:cubicBezTo>
                <a:lnTo>
                  <a:pt x="20898" y="48"/>
                </a:lnTo>
                <a:lnTo>
                  <a:pt x="302" y="8875"/>
                </a:lnTo>
                <a:cubicBezTo>
                  <a:pt x="301" y="8875"/>
                  <a:pt x="299" y="8876"/>
                  <a:pt x="297" y="8877"/>
                </a:cubicBezTo>
                <a:lnTo>
                  <a:pt x="280" y="8885"/>
                </a:lnTo>
                <a:lnTo>
                  <a:pt x="281" y="8887"/>
                </a:lnTo>
                <a:cubicBezTo>
                  <a:pt x="116" y="8967"/>
                  <a:pt x="0" y="9132"/>
                  <a:pt x="0" y="9327"/>
                </a:cubicBezTo>
                <a:cubicBezTo>
                  <a:pt x="0" y="9550"/>
                  <a:pt x="151" y="9731"/>
                  <a:pt x="355" y="9791"/>
                </a:cubicBezTo>
                <a:lnTo>
                  <a:pt x="353" y="9799"/>
                </a:lnTo>
                <a:lnTo>
                  <a:pt x="8462" y="13138"/>
                </a:lnTo>
                <a:lnTo>
                  <a:pt x="11801" y="21248"/>
                </a:lnTo>
                <a:lnTo>
                  <a:pt x="11809" y="21245"/>
                </a:lnTo>
                <a:cubicBezTo>
                  <a:pt x="11869" y="21449"/>
                  <a:pt x="12050" y="21600"/>
                  <a:pt x="12273" y="21600"/>
                </a:cubicBezTo>
                <a:cubicBezTo>
                  <a:pt x="12468" y="21600"/>
                  <a:pt x="12634" y="21484"/>
                  <a:pt x="12713" y="21319"/>
                </a:cubicBezTo>
                <a:lnTo>
                  <a:pt x="12716" y="21320"/>
                </a:lnTo>
                <a:lnTo>
                  <a:pt x="12723" y="21303"/>
                </a:lnTo>
                <a:cubicBezTo>
                  <a:pt x="12724" y="21301"/>
                  <a:pt x="12725" y="21300"/>
                  <a:pt x="12725" y="21298"/>
                </a:cubicBezTo>
                <a:lnTo>
                  <a:pt x="21553" y="702"/>
                </a:lnTo>
                <a:lnTo>
                  <a:pt x="21547" y="699"/>
                </a:lnTo>
                <a:cubicBezTo>
                  <a:pt x="21578" y="636"/>
                  <a:pt x="21600" y="567"/>
                  <a:pt x="21600" y="491"/>
                </a:cubicBezTo>
                <a:moveTo>
                  <a:pt x="7855" y="16200"/>
                </a:moveTo>
                <a:cubicBezTo>
                  <a:pt x="7719" y="16200"/>
                  <a:pt x="7596" y="16255"/>
                  <a:pt x="7507" y="16344"/>
                </a:cubicBezTo>
                <a:lnTo>
                  <a:pt x="6035" y="17817"/>
                </a:lnTo>
                <a:cubicBezTo>
                  <a:pt x="5946" y="17905"/>
                  <a:pt x="5891" y="18029"/>
                  <a:pt x="5891" y="18164"/>
                </a:cubicBezTo>
                <a:cubicBezTo>
                  <a:pt x="5891" y="18435"/>
                  <a:pt x="6111" y="18655"/>
                  <a:pt x="6382" y="18655"/>
                </a:cubicBezTo>
                <a:cubicBezTo>
                  <a:pt x="6517" y="18655"/>
                  <a:pt x="6640" y="18600"/>
                  <a:pt x="6729" y="18511"/>
                </a:cubicBezTo>
                <a:lnTo>
                  <a:pt x="8202" y="17038"/>
                </a:lnTo>
                <a:cubicBezTo>
                  <a:pt x="8291" y="16950"/>
                  <a:pt x="8345" y="16827"/>
                  <a:pt x="8345" y="16691"/>
                </a:cubicBezTo>
                <a:cubicBezTo>
                  <a:pt x="8345" y="16420"/>
                  <a:pt x="8126" y="16200"/>
                  <a:pt x="7855" y="16200"/>
                </a:cubicBezTo>
                <a:moveTo>
                  <a:pt x="7855" y="14237"/>
                </a:moveTo>
                <a:cubicBezTo>
                  <a:pt x="7855" y="13966"/>
                  <a:pt x="7635" y="13745"/>
                  <a:pt x="7364" y="13745"/>
                </a:cubicBezTo>
                <a:cubicBezTo>
                  <a:pt x="7228" y="13745"/>
                  <a:pt x="7105" y="13801"/>
                  <a:pt x="7017" y="13889"/>
                </a:cubicBezTo>
                <a:lnTo>
                  <a:pt x="2107" y="18798"/>
                </a:lnTo>
                <a:cubicBezTo>
                  <a:pt x="2019" y="18888"/>
                  <a:pt x="1964" y="19011"/>
                  <a:pt x="1964" y="19145"/>
                </a:cubicBezTo>
                <a:cubicBezTo>
                  <a:pt x="1964" y="19417"/>
                  <a:pt x="2184" y="19636"/>
                  <a:pt x="2455" y="19636"/>
                </a:cubicBezTo>
                <a:cubicBezTo>
                  <a:pt x="2590" y="19636"/>
                  <a:pt x="2713" y="19582"/>
                  <a:pt x="2802" y="19493"/>
                </a:cubicBezTo>
                <a:lnTo>
                  <a:pt x="7711" y="14583"/>
                </a:lnTo>
                <a:cubicBezTo>
                  <a:pt x="7800" y="14495"/>
                  <a:pt x="7855" y="14372"/>
                  <a:pt x="7855" y="14237"/>
                </a:cubicBezTo>
                <a:moveTo>
                  <a:pt x="4765" y="14583"/>
                </a:moveTo>
                <a:lnTo>
                  <a:pt x="5256" y="14093"/>
                </a:lnTo>
                <a:cubicBezTo>
                  <a:pt x="5345" y="14004"/>
                  <a:pt x="5400" y="13881"/>
                  <a:pt x="5400" y="13745"/>
                </a:cubicBezTo>
                <a:cubicBezTo>
                  <a:pt x="5400" y="13475"/>
                  <a:pt x="5180" y="13255"/>
                  <a:pt x="4909" y="13255"/>
                </a:cubicBezTo>
                <a:cubicBezTo>
                  <a:pt x="4774" y="13255"/>
                  <a:pt x="4651" y="13310"/>
                  <a:pt x="4562" y="13398"/>
                </a:cubicBezTo>
                <a:lnTo>
                  <a:pt x="4071" y="13889"/>
                </a:lnTo>
                <a:cubicBezTo>
                  <a:pt x="3982" y="13979"/>
                  <a:pt x="3927" y="14101"/>
                  <a:pt x="3927" y="14237"/>
                </a:cubicBezTo>
                <a:cubicBezTo>
                  <a:pt x="3927" y="14507"/>
                  <a:pt x="4147" y="14727"/>
                  <a:pt x="4418" y="14727"/>
                </a:cubicBezTo>
                <a:cubicBezTo>
                  <a:pt x="4554" y="14727"/>
                  <a:pt x="4676" y="14673"/>
                  <a:pt x="4765" y="14583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10" name="Shape 2628">
            <a:extLst>
              <a:ext uri="{FF2B5EF4-FFF2-40B4-BE49-F238E27FC236}">
                <a16:creationId xmlns:a16="http://schemas.microsoft.com/office/drawing/2014/main" id="{A8FF3624-6D73-4863-97BD-8A36DBA409C3}"/>
              </a:ext>
            </a:extLst>
          </p:cNvPr>
          <p:cNvSpPr/>
          <p:nvPr/>
        </p:nvSpPr>
        <p:spPr>
          <a:xfrm>
            <a:off x="6904403" y="3753626"/>
            <a:ext cx="261569" cy="29267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445" y="20618"/>
                </a:moveTo>
                <a:cubicBezTo>
                  <a:pt x="15830" y="20618"/>
                  <a:pt x="15230" y="20482"/>
                  <a:pt x="14664" y="20214"/>
                </a:cubicBezTo>
                <a:cubicBezTo>
                  <a:pt x="14611" y="20189"/>
                  <a:pt x="14556" y="20170"/>
                  <a:pt x="14501" y="20155"/>
                </a:cubicBezTo>
                <a:cubicBezTo>
                  <a:pt x="8920" y="17308"/>
                  <a:pt x="4296" y="12685"/>
                  <a:pt x="1448" y="7105"/>
                </a:cubicBezTo>
                <a:cubicBezTo>
                  <a:pt x="1432" y="7048"/>
                  <a:pt x="1412" y="6991"/>
                  <a:pt x="1386" y="6936"/>
                </a:cubicBezTo>
                <a:cubicBezTo>
                  <a:pt x="1118" y="6369"/>
                  <a:pt x="982" y="5770"/>
                  <a:pt x="982" y="5155"/>
                </a:cubicBezTo>
                <a:cubicBezTo>
                  <a:pt x="982" y="2774"/>
                  <a:pt x="3067" y="982"/>
                  <a:pt x="4418" y="982"/>
                </a:cubicBezTo>
                <a:cubicBezTo>
                  <a:pt x="4595" y="982"/>
                  <a:pt x="4712" y="1072"/>
                  <a:pt x="4765" y="1126"/>
                </a:cubicBezTo>
                <a:cubicBezTo>
                  <a:pt x="4777" y="1139"/>
                  <a:pt x="4800" y="1164"/>
                  <a:pt x="4832" y="1216"/>
                </a:cubicBezTo>
                <a:cubicBezTo>
                  <a:pt x="4849" y="1244"/>
                  <a:pt x="4868" y="1271"/>
                  <a:pt x="4888" y="1297"/>
                </a:cubicBezTo>
                <a:lnTo>
                  <a:pt x="8121" y="5453"/>
                </a:lnTo>
                <a:cubicBezTo>
                  <a:pt x="8146" y="5485"/>
                  <a:pt x="8173" y="5515"/>
                  <a:pt x="8202" y="5544"/>
                </a:cubicBezTo>
                <a:cubicBezTo>
                  <a:pt x="8255" y="5598"/>
                  <a:pt x="8345" y="5715"/>
                  <a:pt x="8345" y="5891"/>
                </a:cubicBezTo>
                <a:cubicBezTo>
                  <a:pt x="8345" y="5978"/>
                  <a:pt x="8321" y="6060"/>
                  <a:pt x="8274" y="6135"/>
                </a:cubicBezTo>
                <a:lnTo>
                  <a:pt x="7180" y="7221"/>
                </a:lnTo>
                <a:cubicBezTo>
                  <a:pt x="7175" y="7226"/>
                  <a:pt x="7170" y="7231"/>
                  <a:pt x="7165" y="7236"/>
                </a:cubicBezTo>
                <a:cubicBezTo>
                  <a:pt x="6769" y="7609"/>
                  <a:pt x="6543" y="8126"/>
                  <a:pt x="6543" y="8668"/>
                </a:cubicBezTo>
                <a:cubicBezTo>
                  <a:pt x="6543" y="9175"/>
                  <a:pt x="6740" y="9658"/>
                  <a:pt x="7082" y="10020"/>
                </a:cubicBezTo>
                <a:cubicBezTo>
                  <a:pt x="7094" y="10040"/>
                  <a:pt x="7107" y="10059"/>
                  <a:pt x="7121" y="10078"/>
                </a:cubicBezTo>
                <a:cubicBezTo>
                  <a:pt x="8327" y="11745"/>
                  <a:pt x="9810" y="13222"/>
                  <a:pt x="11528" y="14469"/>
                </a:cubicBezTo>
                <a:cubicBezTo>
                  <a:pt x="11541" y="14478"/>
                  <a:pt x="11555" y="14487"/>
                  <a:pt x="11568" y="14496"/>
                </a:cubicBezTo>
                <a:cubicBezTo>
                  <a:pt x="11931" y="14844"/>
                  <a:pt x="12418" y="15045"/>
                  <a:pt x="12928" y="15045"/>
                </a:cubicBezTo>
                <a:cubicBezTo>
                  <a:pt x="13440" y="15045"/>
                  <a:pt x="13934" y="14840"/>
                  <a:pt x="14301" y="14479"/>
                </a:cubicBezTo>
                <a:cubicBezTo>
                  <a:pt x="14320" y="14463"/>
                  <a:pt x="14338" y="14446"/>
                  <a:pt x="14356" y="14427"/>
                </a:cubicBezTo>
                <a:lnTo>
                  <a:pt x="15456" y="13320"/>
                </a:lnTo>
                <a:cubicBezTo>
                  <a:pt x="15533" y="13271"/>
                  <a:pt x="15615" y="13247"/>
                  <a:pt x="15701" y="13247"/>
                </a:cubicBezTo>
                <a:cubicBezTo>
                  <a:pt x="15878" y="13247"/>
                  <a:pt x="15995" y="13337"/>
                  <a:pt x="16048" y="13391"/>
                </a:cubicBezTo>
                <a:cubicBezTo>
                  <a:pt x="16077" y="13420"/>
                  <a:pt x="16108" y="13447"/>
                  <a:pt x="16140" y="13472"/>
                </a:cubicBezTo>
                <a:lnTo>
                  <a:pt x="20296" y="16704"/>
                </a:lnTo>
                <a:cubicBezTo>
                  <a:pt x="20323" y="16725"/>
                  <a:pt x="20351" y="16744"/>
                  <a:pt x="20379" y="16762"/>
                </a:cubicBezTo>
                <a:cubicBezTo>
                  <a:pt x="20431" y="16795"/>
                  <a:pt x="20455" y="16816"/>
                  <a:pt x="20466" y="16827"/>
                </a:cubicBezTo>
                <a:cubicBezTo>
                  <a:pt x="20520" y="16881"/>
                  <a:pt x="20610" y="16997"/>
                  <a:pt x="20610" y="17174"/>
                </a:cubicBezTo>
                <a:cubicBezTo>
                  <a:pt x="20610" y="17207"/>
                  <a:pt x="20612" y="17240"/>
                  <a:pt x="20616" y="17273"/>
                </a:cubicBezTo>
                <a:cubicBezTo>
                  <a:pt x="20539" y="18625"/>
                  <a:pt x="18774" y="20618"/>
                  <a:pt x="16445" y="20618"/>
                </a:cubicBezTo>
                <a:moveTo>
                  <a:pt x="21600" y="17174"/>
                </a:moveTo>
                <a:lnTo>
                  <a:pt x="21592" y="17174"/>
                </a:lnTo>
                <a:cubicBezTo>
                  <a:pt x="21592" y="16768"/>
                  <a:pt x="21427" y="16399"/>
                  <a:pt x="21161" y="16133"/>
                </a:cubicBezTo>
                <a:cubicBezTo>
                  <a:pt x="21082" y="16054"/>
                  <a:pt x="20994" y="15988"/>
                  <a:pt x="20899" y="15929"/>
                </a:cubicBezTo>
                <a:lnTo>
                  <a:pt x="16743" y="12697"/>
                </a:lnTo>
                <a:cubicBezTo>
                  <a:pt x="16476" y="12430"/>
                  <a:pt x="16108" y="12265"/>
                  <a:pt x="15701" y="12265"/>
                </a:cubicBezTo>
                <a:cubicBezTo>
                  <a:pt x="15368" y="12265"/>
                  <a:pt x="15065" y="12380"/>
                  <a:pt x="14819" y="12567"/>
                </a:cubicBezTo>
                <a:lnTo>
                  <a:pt x="13659" y="13736"/>
                </a:lnTo>
                <a:lnTo>
                  <a:pt x="13656" y="13733"/>
                </a:lnTo>
                <a:cubicBezTo>
                  <a:pt x="13477" y="13934"/>
                  <a:pt x="13218" y="14063"/>
                  <a:pt x="12928" y="14063"/>
                </a:cubicBezTo>
                <a:cubicBezTo>
                  <a:pt x="12595" y="14063"/>
                  <a:pt x="12303" y="13897"/>
                  <a:pt x="12125" y="13645"/>
                </a:cubicBezTo>
                <a:cubicBezTo>
                  <a:pt x="12119" y="13654"/>
                  <a:pt x="12111" y="13663"/>
                  <a:pt x="12104" y="13674"/>
                </a:cubicBezTo>
                <a:cubicBezTo>
                  <a:pt x="10500" y="12510"/>
                  <a:pt x="9078" y="11108"/>
                  <a:pt x="7916" y="9502"/>
                </a:cubicBezTo>
                <a:cubicBezTo>
                  <a:pt x="7927" y="9495"/>
                  <a:pt x="7937" y="9486"/>
                  <a:pt x="7949" y="9479"/>
                </a:cubicBezTo>
                <a:cubicBezTo>
                  <a:pt x="7693" y="9299"/>
                  <a:pt x="7525" y="9004"/>
                  <a:pt x="7525" y="8668"/>
                </a:cubicBezTo>
                <a:cubicBezTo>
                  <a:pt x="7525" y="8367"/>
                  <a:pt x="7662" y="8101"/>
                  <a:pt x="7873" y="7920"/>
                </a:cubicBezTo>
                <a:lnTo>
                  <a:pt x="7872" y="7918"/>
                </a:lnTo>
                <a:lnTo>
                  <a:pt x="9026" y="6773"/>
                </a:lnTo>
                <a:cubicBezTo>
                  <a:pt x="9213" y="6528"/>
                  <a:pt x="9327" y="6224"/>
                  <a:pt x="9327" y="5891"/>
                </a:cubicBezTo>
                <a:cubicBezTo>
                  <a:pt x="9327" y="5485"/>
                  <a:pt x="9162" y="5116"/>
                  <a:pt x="8896" y="4850"/>
                </a:cubicBezTo>
                <a:lnTo>
                  <a:pt x="5663" y="693"/>
                </a:lnTo>
                <a:cubicBezTo>
                  <a:pt x="5604" y="599"/>
                  <a:pt x="5538" y="510"/>
                  <a:pt x="5459" y="432"/>
                </a:cubicBezTo>
                <a:cubicBezTo>
                  <a:pt x="5193" y="165"/>
                  <a:pt x="4825" y="0"/>
                  <a:pt x="4418" y="0"/>
                </a:cubicBezTo>
                <a:cubicBezTo>
                  <a:pt x="2455" y="0"/>
                  <a:pt x="0" y="2308"/>
                  <a:pt x="0" y="5155"/>
                </a:cubicBezTo>
                <a:cubicBezTo>
                  <a:pt x="0" y="5943"/>
                  <a:pt x="183" y="6688"/>
                  <a:pt x="499" y="7356"/>
                </a:cubicBezTo>
                <a:lnTo>
                  <a:pt x="483" y="7373"/>
                </a:lnTo>
                <a:cubicBezTo>
                  <a:pt x="3436" y="13255"/>
                  <a:pt x="8345" y="18164"/>
                  <a:pt x="14228" y="21117"/>
                </a:cubicBezTo>
                <a:lnTo>
                  <a:pt x="14244" y="21101"/>
                </a:lnTo>
                <a:cubicBezTo>
                  <a:pt x="14912" y="21418"/>
                  <a:pt x="15657" y="21600"/>
                  <a:pt x="16445" y="21600"/>
                </a:cubicBezTo>
                <a:cubicBezTo>
                  <a:pt x="19292" y="21600"/>
                  <a:pt x="21600" y="19145"/>
                  <a:pt x="21600" y="17182"/>
                </a:cubicBezTo>
                <a:cubicBezTo>
                  <a:pt x="21600" y="17179"/>
                  <a:pt x="21600" y="17177"/>
                  <a:pt x="21600" y="17174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11" name="Shape 2935">
            <a:extLst>
              <a:ext uri="{FF2B5EF4-FFF2-40B4-BE49-F238E27FC236}">
                <a16:creationId xmlns:a16="http://schemas.microsoft.com/office/drawing/2014/main" id="{A7BF6261-1B3F-437D-A95A-A9E1BD225D39}"/>
              </a:ext>
            </a:extLst>
          </p:cNvPr>
          <p:cNvSpPr/>
          <p:nvPr/>
        </p:nvSpPr>
        <p:spPr>
          <a:xfrm>
            <a:off x="4887331" y="4827116"/>
            <a:ext cx="345770" cy="34582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31" h="21600" extrusionOk="0">
                <a:moveTo>
                  <a:pt x="6365" y="15409"/>
                </a:moveTo>
                <a:cubicBezTo>
                  <a:pt x="5782" y="14888"/>
                  <a:pt x="4858" y="14006"/>
                  <a:pt x="3935" y="12895"/>
                </a:cubicBezTo>
                <a:cubicBezTo>
                  <a:pt x="2587" y="11273"/>
                  <a:pt x="979" y="8835"/>
                  <a:pt x="979" y="6430"/>
                </a:cubicBezTo>
                <a:cubicBezTo>
                  <a:pt x="979" y="3427"/>
                  <a:pt x="3396" y="982"/>
                  <a:pt x="6366" y="982"/>
                </a:cubicBezTo>
                <a:cubicBezTo>
                  <a:pt x="9336" y="982"/>
                  <a:pt x="11752" y="3427"/>
                  <a:pt x="11752" y="6430"/>
                </a:cubicBezTo>
                <a:cubicBezTo>
                  <a:pt x="11752" y="10208"/>
                  <a:pt x="7888" y="14044"/>
                  <a:pt x="6365" y="15409"/>
                </a:cubicBezTo>
                <a:moveTo>
                  <a:pt x="6366" y="0"/>
                </a:moveTo>
                <a:cubicBezTo>
                  <a:pt x="2850" y="0"/>
                  <a:pt x="0" y="2879"/>
                  <a:pt x="0" y="6430"/>
                </a:cubicBezTo>
                <a:cubicBezTo>
                  <a:pt x="0" y="11655"/>
                  <a:pt x="6366" y="16701"/>
                  <a:pt x="6366" y="16701"/>
                </a:cubicBezTo>
                <a:cubicBezTo>
                  <a:pt x="6366" y="16701"/>
                  <a:pt x="12732" y="11655"/>
                  <a:pt x="12732" y="6430"/>
                </a:cubicBezTo>
                <a:cubicBezTo>
                  <a:pt x="12732" y="2879"/>
                  <a:pt x="9882" y="0"/>
                  <a:pt x="6366" y="0"/>
                </a:cubicBezTo>
                <a:moveTo>
                  <a:pt x="17357" y="19604"/>
                </a:moveTo>
                <a:cubicBezTo>
                  <a:pt x="17127" y="19764"/>
                  <a:pt x="16856" y="19909"/>
                  <a:pt x="16554" y="20033"/>
                </a:cubicBezTo>
                <a:cubicBezTo>
                  <a:pt x="16304" y="20137"/>
                  <a:pt x="16185" y="20424"/>
                  <a:pt x="16288" y="20675"/>
                </a:cubicBezTo>
                <a:cubicBezTo>
                  <a:pt x="16365" y="20865"/>
                  <a:pt x="16548" y="20979"/>
                  <a:pt x="16740" y="20979"/>
                </a:cubicBezTo>
                <a:cubicBezTo>
                  <a:pt x="16802" y="20979"/>
                  <a:pt x="16866" y="20967"/>
                  <a:pt x="16926" y="20942"/>
                </a:cubicBezTo>
                <a:cubicBezTo>
                  <a:pt x="17294" y="20790"/>
                  <a:pt x="17627" y="20611"/>
                  <a:pt x="17915" y="20411"/>
                </a:cubicBezTo>
                <a:cubicBezTo>
                  <a:pt x="18138" y="20256"/>
                  <a:pt x="18193" y="19950"/>
                  <a:pt x="18039" y="19727"/>
                </a:cubicBezTo>
                <a:cubicBezTo>
                  <a:pt x="17885" y="19505"/>
                  <a:pt x="17579" y="19449"/>
                  <a:pt x="17357" y="19604"/>
                </a:cubicBezTo>
                <a:moveTo>
                  <a:pt x="16249" y="13042"/>
                </a:moveTo>
                <a:cubicBezTo>
                  <a:pt x="16109" y="12790"/>
                  <a:pt x="16024" y="12529"/>
                  <a:pt x="15995" y="12265"/>
                </a:cubicBezTo>
                <a:cubicBezTo>
                  <a:pt x="15966" y="11995"/>
                  <a:pt x="15731" y="11801"/>
                  <a:pt x="15456" y="11829"/>
                </a:cubicBezTo>
                <a:cubicBezTo>
                  <a:pt x="15187" y="11859"/>
                  <a:pt x="14992" y="12100"/>
                  <a:pt x="15022" y="12370"/>
                </a:cubicBezTo>
                <a:cubicBezTo>
                  <a:pt x="15064" y="12767"/>
                  <a:pt x="15190" y="13154"/>
                  <a:pt x="15395" y="13522"/>
                </a:cubicBezTo>
                <a:cubicBezTo>
                  <a:pt x="15484" y="13682"/>
                  <a:pt x="15651" y="13773"/>
                  <a:pt x="15822" y="13773"/>
                </a:cubicBezTo>
                <a:cubicBezTo>
                  <a:pt x="15904" y="13773"/>
                  <a:pt x="15985" y="13753"/>
                  <a:pt x="16061" y="13710"/>
                </a:cubicBezTo>
                <a:cubicBezTo>
                  <a:pt x="16297" y="13578"/>
                  <a:pt x="16382" y="13279"/>
                  <a:pt x="16249" y="13042"/>
                </a:cubicBezTo>
                <a:moveTo>
                  <a:pt x="18249" y="15254"/>
                </a:moveTo>
                <a:cubicBezTo>
                  <a:pt x="18041" y="14981"/>
                  <a:pt x="17803" y="14708"/>
                  <a:pt x="17538" y="14439"/>
                </a:cubicBezTo>
                <a:cubicBezTo>
                  <a:pt x="17349" y="14246"/>
                  <a:pt x="17039" y="14244"/>
                  <a:pt x="16845" y="14434"/>
                </a:cubicBezTo>
                <a:cubicBezTo>
                  <a:pt x="16653" y="14624"/>
                  <a:pt x="16651" y="14935"/>
                  <a:pt x="16841" y="15129"/>
                </a:cubicBezTo>
                <a:cubicBezTo>
                  <a:pt x="17076" y="15368"/>
                  <a:pt x="17288" y="15612"/>
                  <a:pt x="17471" y="15851"/>
                </a:cubicBezTo>
                <a:cubicBezTo>
                  <a:pt x="17568" y="15977"/>
                  <a:pt x="17713" y="16043"/>
                  <a:pt x="17860" y="16043"/>
                </a:cubicBezTo>
                <a:cubicBezTo>
                  <a:pt x="17964" y="16043"/>
                  <a:pt x="18068" y="16011"/>
                  <a:pt x="18157" y="15942"/>
                </a:cubicBezTo>
                <a:cubicBezTo>
                  <a:pt x="18373" y="15777"/>
                  <a:pt x="18413" y="15469"/>
                  <a:pt x="18249" y="15254"/>
                </a:cubicBezTo>
                <a:moveTo>
                  <a:pt x="21476" y="5928"/>
                </a:moveTo>
                <a:cubicBezTo>
                  <a:pt x="21352" y="5687"/>
                  <a:pt x="21057" y="5592"/>
                  <a:pt x="20817" y="5717"/>
                </a:cubicBezTo>
                <a:cubicBezTo>
                  <a:pt x="20817" y="5717"/>
                  <a:pt x="20650" y="5803"/>
                  <a:pt x="20371" y="5962"/>
                </a:cubicBezTo>
                <a:cubicBezTo>
                  <a:pt x="20136" y="6096"/>
                  <a:pt x="20054" y="6396"/>
                  <a:pt x="20188" y="6632"/>
                </a:cubicBezTo>
                <a:cubicBezTo>
                  <a:pt x="20278" y="6791"/>
                  <a:pt x="20444" y="6880"/>
                  <a:pt x="20614" y="6880"/>
                </a:cubicBezTo>
                <a:cubicBezTo>
                  <a:pt x="20697" y="6880"/>
                  <a:pt x="20780" y="6859"/>
                  <a:pt x="20856" y="6815"/>
                </a:cubicBezTo>
                <a:cubicBezTo>
                  <a:pt x="21108" y="6672"/>
                  <a:pt x="21261" y="6592"/>
                  <a:pt x="21265" y="6590"/>
                </a:cubicBezTo>
                <a:cubicBezTo>
                  <a:pt x="21506" y="6466"/>
                  <a:pt x="21600" y="6170"/>
                  <a:pt x="21476" y="5928"/>
                </a:cubicBezTo>
                <a:moveTo>
                  <a:pt x="18659" y="16886"/>
                </a:moveTo>
                <a:cubicBezTo>
                  <a:pt x="18395" y="16941"/>
                  <a:pt x="18225" y="17201"/>
                  <a:pt x="18280" y="17467"/>
                </a:cubicBezTo>
                <a:cubicBezTo>
                  <a:pt x="18312" y="17625"/>
                  <a:pt x="18330" y="17781"/>
                  <a:pt x="18330" y="17929"/>
                </a:cubicBezTo>
                <a:cubicBezTo>
                  <a:pt x="18330" y="18050"/>
                  <a:pt x="18318" y="18171"/>
                  <a:pt x="18296" y="18287"/>
                </a:cubicBezTo>
                <a:cubicBezTo>
                  <a:pt x="18244" y="18554"/>
                  <a:pt x="18418" y="18811"/>
                  <a:pt x="18683" y="18862"/>
                </a:cubicBezTo>
                <a:cubicBezTo>
                  <a:pt x="18715" y="18869"/>
                  <a:pt x="18746" y="18871"/>
                  <a:pt x="18777" y="18871"/>
                </a:cubicBezTo>
                <a:cubicBezTo>
                  <a:pt x="19007" y="18871"/>
                  <a:pt x="19212" y="18708"/>
                  <a:pt x="19257" y="18473"/>
                </a:cubicBezTo>
                <a:cubicBezTo>
                  <a:pt x="19292" y="18296"/>
                  <a:pt x="19309" y="18114"/>
                  <a:pt x="19309" y="17929"/>
                </a:cubicBezTo>
                <a:cubicBezTo>
                  <a:pt x="19309" y="17715"/>
                  <a:pt x="19285" y="17492"/>
                  <a:pt x="19239" y="17267"/>
                </a:cubicBezTo>
                <a:cubicBezTo>
                  <a:pt x="19183" y="17001"/>
                  <a:pt x="18923" y="16832"/>
                  <a:pt x="18659" y="16886"/>
                </a:cubicBezTo>
                <a:moveTo>
                  <a:pt x="18590" y="7106"/>
                </a:moveTo>
                <a:cubicBezTo>
                  <a:pt x="18317" y="7303"/>
                  <a:pt x="18035" y="7518"/>
                  <a:pt x="17756" y="7745"/>
                </a:cubicBezTo>
                <a:cubicBezTo>
                  <a:pt x="17546" y="7917"/>
                  <a:pt x="17515" y="8226"/>
                  <a:pt x="17686" y="8436"/>
                </a:cubicBezTo>
                <a:cubicBezTo>
                  <a:pt x="17783" y="8556"/>
                  <a:pt x="17924" y="8617"/>
                  <a:pt x="18066" y="8617"/>
                </a:cubicBezTo>
                <a:cubicBezTo>
                  <a:pt x="18174" y="8617"/>
                  <a:pt x="18284" y="8581"/>
                  <a:pt x="18374" y="8507"/>
                </a:cubicBezTo>
                <a:cubicBezTo>
                  <a:pt x="18637" y="8292"/>
                  <a:pt x="18903" y="8090"/>
                  <a:pt x="19161" y="7905"/>
                </a:cubicBezTo>
                <a:cubicBezTo>
                  <a:pt x="19380" y="7747"/>
                  <a:pt x="19431" y="7440"/>
                  <a:pt x="19273" y="7220"/>
                </a:cubicBezTo>
                <a:cubicBezTo>
                  <a:pt x="19116" y="6999"/>
                  <a:pt x="18810" y="6949"/>
                  <a:pt x="18590" y="7106"/>
                </a:cubicBezTo>
                <a:moveTo>
                  <a:pt x="14704" y="20512"/>
                </a:moveTo>
                <a:cubicBezTo>
                  <a:pt x="14393" y="20556"/>
                  <a:pt x="14065" y="20590"/>
                  <a:pt x="13729" y="20611"/>
                </a:cubicBezTo>
                <a:cubicBezTo>
                  <a:pt x="13459" y="20629"/>
                  <a:pt x="13254" y="20863"/>
                  <a:pt x="13272" y="21134"/>
                </a:cubicBezTo>
                <a:cubicBezTo>
                  <a:pt x="13289" y="21394"/>
                  <a:pt x="13504" y="21593"/>
                  <a:pt x="13760" y="21593"/>
                </a:cubicBezTo>
                <a:cubicBezTo>
                  <a:pt x="13771" y="21593"/>
                  <a:pt x="13781" y="21592"/>
                  <a:pt x="13792" y="21592"/>
                </a:cubicBezTo>
                <a:cubicBezTo>
                  <a:pt x="14152" y="21568"/>
                  <a:pt x="14506" y="21533"/>
                  <a:pt x="14842" y="21485"/>
                </a:cubicBezTo>
                <a:cubicBezTo>
                  <a:pt x="15110" y="21447"/>
                  <a:pt x="15296" y="21198"/>
                  <a:pt x="15258" y="20929"/>
                </a:cubicBezTo>
                <a:cubicBezTo>
                  <a:pt x="15220" y="20661"/>
                  <a:pt x="14973" y="20472"/>
                  <a:pt x="14704" y="20512"/>
                </a:cubicBezTo>
                <a:moveTo>
                  <a:pt x="8893" y="20109"/>
                </a:moveTo>
                <a:cubicBezTo>
                  <a:pt x="8582" y="19997"/>
                  <a:pt x="8299" y="19866"/>
                  <a:pt x="8052" y="19721"/>
                </a:cubicBezTo>
                <a:cubicBezTo>
                  <a:pt x="7818" y="19582"/>
                  <a:pt x="7519" y="19663"/>
                  <a:pt x="7382" y="19896"/>
                </a:cubicBezTo>
                <a:cubicBezTo>
                  <a:pt x="7244" y="20130"/>
                  <a:pt x="7323" y="20432"/>
                  <a:pt x="7556" y="20568"/>
                </a:cubicBezTo>
                <a:cubicBezTo>
                  <a:pt x="7856" y="20744"/>
                  <a:pt x="8194" y="20901"/>
                  <a:pt x="8562" y="21034"/>
                </a:cubicBezTo>
                <a:cubicBezTo>
                  <a:pt x="8617" y="21053"/>
                  <a:pt x="8672" y="21062"/>
                  <a:pt x="8728" y="21062"/>
                </a:cubicBezTo>
                <a:cubicBezTo>
                  <a:pt x="8928" y="21062"/>
                  <a:pt x="9117" y="20938"/>
                  <a:pt x="9189" y="20737"/>
                </a:cubicBezTo>
                <a:cubicBezTo>
                  <a:pt x="9280" y="20482"/>
                  <a:pt x="9148" y="20200"/>
                  <a:pt x="8893" y="20109"/>
                </a:cubicBezTo>
                <a:moveTo>
                  <a:pt x="11751" y="20618"/>
                </a:moveTo>
                <a:cubicBezTo>
                  <a:pt x="11412" y="20600"/>
                  <a:pt x="11082" y="20572"/>
                  <a:pt x="10771" y="20533"/>
                </a:cubicBezTo>
                <a:cubicBezTo>
                  <a:pt x="10502" y="20493"/>
                  <a:pt x="10258" y="20690"/>
                  <a:pt x="10225" y="20959"/>
                </a:cubicBezTo>
                <a:cubicBezTo>
                  <a:pt x="10191" y="21229"/>
                  <a:pt x="10382" y="21474"/>
                  <a:pt x="10650" y="21507"/>
                </a:cubicBezTo>
                <a:cubicBezTo>
                  <a:pt x="10984" y="21549"/>
                  <a:pt x="11337" y="21580"/>
                  <a:pt x="11699" y="21600"/>
                </a:cubicBezTo>
                <a:cubicBezTo>
                  <a:pt x="11708" y="21600"/>
                  <a:pt x="11716" y="21600"/>
                  <a:pt x="11725" y="21600"/>
                </a:cubicBezTo>
                <a:cubicBezTo>
                  <a:pt x="11984" y="21600"/>
                  <a:pt x="12200" y="21397"/>
                  <a:pt x="12214" y="21135"/>
                </a:cubicBezTo>
                <a:cubicBezTo>
                  <a:pt x="12228" y="20863"/>
                  <a:pt x="12021" y="20632"/>
                  <a:pt x="11751" y="20618"/>
                </a:cubicBezTo>
                <a:moveTo>
                  <a:pt x="6840" y="18180"/>
                </a:moveTo>
                <a:cubicBezTo>
                  <a:pt x="6836" y="17912"/>
                  <a:pt x="6619" y="17696"/>
                  <a:pt x="6351" y="17696"/>
                </a:cubicBezTo>
                <a:cubicBezTo>
                  <a:pt x="6080" y="17696"/>
                  <a:pt x="5861" y="17916"/>
                  <a:pt x="5861" y="18188"/>
                </a:cubicBezTo>
                <a:cubicBezTo>
                  <a:pt x="5861" y="18234"/>
                  <a:pt x="5867" y="18484"/>
                  <a:pt x="5997" y="18834"/>
                </a:cubicBezTo>
                <a:cubicBezTo>
                  <a:pt x="6070" y="19033"/>
                  <a:pt x="6257" y="19155"/>
                  <a:pt x="6456" y="19155"/>
                </a:cubicBezTo>
                <a:cubicBezTo>
                  <a:pt x="6512" y="19155"/>
                  <a:pt x="6570" y="19145"/>
                  <a:pt x="6626" y="19124"/>
                </a:cubicBezTo>
                <a:cubicBezTo>
                  <a:pt x="6880" y="19030"/>
                  <a:pt x="7009" y="18748"/>
                  <a:pt x="6915" y="18493"/>
                </a:cubicBezTo>
                <a:cubicBezTo>
                  <a:pt x="6849" y="18314"/>
                  <a:pt x="6841" y="18191"/>
                  <a:pt x="6840" y="18180"/>
                </a:cubicBezTo>
                <a:moveTo>
                  <a:pt x="15760" y="10798"/>
                </a:moveTo>
                <a:cubicBezTo>
                  <a:pt x="15838" y="10844"/>
                  <a:pt x="15924" y="10866"/>
                  <a:pt x="16008" y="10866"/>
                </a:cubicBezTo>
                <a:cubicBezTo>
                  <a:pt x="16176" y="10866"/>
                  <a:pt x="16339" y="10780"/>
                  <a:pt x="16431" y="10625"/>
                </a:cubicBezTo>
                <a:cubicBezTo>
                  <a:pt x="16577" y="10376"/>
                  <a:pt x="16761" y="10120"/>
                  <a:pt x="16977" y="9861"/>
                </a:cubicBezTo>
                <a:cubicBezTo>
                  <a:pt x="17151" y="9653"/>
                  <a:pt x="17124" y="9343"/>
                  <a:pt x="16917" y="9169"/>
                </a:cubicBezTo>
                <a:cubicBezTo>
                  <a:pt x="16709" y="8994"/>
                  <a:pt x="16400" y="9022"/>
                  <a:pt x="16227" y="9230"/>
                </a:cubicBezTo>
                <a:cubicBezTo>
                  <a:pt x="15976" y="9529"/>
                  <a:pt x="15761" y="9832"/>
                  <a:pt x="15587" y="10125"/>
                </a:cubicBezTo>
                <a:cubicBezTo>
                  <a:pt x="15450" y="10359"/>
                  <a:pt x="15527" y="10659"/>
                  <a:pt x="15760" y="10798"/>
                </a:cubicBezTo>
                <a:moveTo>
                  <a:pt x="6366" y="8841"/>
                </a:moveTo>
                <a:cubicBezTo>
                  <a:pt x="5014" y="8841"/>
                  <a:pt x="3917" y="7741"/>
                  <a:pt x="3917" y="6384"/>
                </a:cubicBezTo>
                <a:cubicBezTo>
                  <a:pt x="3917" y="5027"/>
                  <a:pt x="5014" y="3927"/>
                  <a:pt x="6366" y="3927"/>
                </a:cubicBezTo>
                <a:cubicBezTo>
                  <a:pt x="7719" y="3927"/>
                  <a:pt x="8814" y="5027"/>
                  <a:pt x="8814" y="6384"/>
                </a:cubicBezTo>
                <a:cubicBezTo>
                  <a:pt x="8814" y="7741"/>
                  <a:pt x="7719" y="8841"/>
                  <a:pt x="6366" y="8841"/>
                </a:cubicBezTo>
                <a:moveTo>
                  <a:pt x="6366" y="2955"/>
                </a:moveTo>
                <a:cubicBezTo>
                  <a:pt x="4473" y="2955"/>
                  <a:pt x="2938" y="4494"/>
                  <a:pt x="2938" y="6392"/>
                </a:cubicBezTo>
                <a:cubicBezTo>
                  <a:pt x="2938" y="8291"/>
                  <a:pt x="4473" y="9831"/>
                  <a:pt x="6366" y="9831"/>
                </a:cubicBezTo>
                <a:cubicBezTo>
                  <a:pt x="8259" y="9831"/>
                  <a:pt x="9794" y="8291"/>
                  <a:pt x="9794" y="6392"/>
                </a:cubicBezTo>
                <a:cubicBezTo>
                  <a:pt x="9794" y="4494"/>
                  <a:pt x="8259" y="2955"/>
                  <a:pt x="6366" y="2955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</p:spTree>
    <p:extLst>
      <p:ext uri="{BB962C8B-B14F-4D97-AF65-F5344CB8AC3E}">
        <p14:creationId xmlns:p14="http://schemas.microsoft.com/office/powerpoint/2010/main" val="12029092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3331">
          <p15:clr>
            <a:srgbClr val="A4A3A4"/>
          </p15:clr>
        </p15:guide>
        <p15:guide id="4" pos="5952">
          <p15:clr>
            <a:srgbClr val="A4A3A4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act more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Logo on top">
            <a:extLst>
              <a:ext uri="{FF2B5EF4-FFF2-40B4-BE49-F238E27FC236}">
                <a16:creationId xmlns:a16="http://schemas.microsoft.com/office/drawing/2014/main" id="{946C4B67-243B-42D4-B01A-C1E49052FDDD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10753200" y="6339600"/>
            <a:ext cx="1080000" cy="340069"/>
          </a:xfrm>
          <a:custGeom>
            <a:avLst/>
            <a:gdLst>
              <a:gd name="connsiteX0" fmla="*/ 968375 w 3876676"/>
              <a:gd name="connsiteY0" fmla="*/ 557213 h 1212806"/>
              <a:gd name="connsiteX1" fmla="*/ 1176338 w 3876676"/>
              <a:gd name="connsiteY1" fmla="*/ 557213 h 1212806"/>
              <a:gd name="connsiteX2" fmla="*/ 1176338 w 3876676"/>
              <a:gd name="connsiteY2" fmla="*/ 1193801 h 1212806"/>
              <a:gd name="connsiteX3" fmla="*/ 968375 w 3876676"/>
              <a:gd name="connsiteY3" fmla="*/ 1193801 h 1212806"/>
              <a:gd name="connsiteX4" fmla="*/ 0 w 3876676"/>
              <a:gd name="connsiteY4" fmla="*/ 557213 h 1212806"/>
              <a:gd name="connsiteX5" fmla="*/ 239712 w 3876676"/>
              <a:gd name="connsiteY5" fmla="*/ 557213 h 1212806"/>
              <a:gd name="connsiteX6" fmla="*/ 561975 w 3876676"/>
              <a:gd name="connsiteY6" fmla="*/ 893763 h 1212806"/>
              <a:gd name="connsiteX7" fmla="*/ 581025 w 3876676"/>
              <a:gd name="connsiteY7" fmla="*/ 560388 h 1212806"/>
              <a:gd name="connsiteX8" fmla="*/ 782638 w 3876676"/>
              <a:gd name="connsiteY8" fmla="*/ 560388 h 1212806"/>
              <a:gd name="connsiteX9" fmla="*/ 782638 w 3876676"/>
              <a:gd name="connsiteY9" fmla="*/ 1193801 h 1212806"/>
              <a:gd name="connsiteX10" fmla="*/ 590550 w 3876676"/>
              <a:gd name="connsiteY10" fmla="*/ 1193801 h 1212806"/>
              <a:gd name="connsiteX11" fmla="*/ 214312 w 3876676"/>
              <a:gd name="connsiteY11" fmla="*/ 811213 h 1212806"/>
              <a:gd name="connsiteX12" fmla="*/ 192087 w 3876676"/>
              <a:gd name="connsiteY12" fmla="*/ 1193801 h 1212806"/>
              <a:gd name="connsiteX13" fmla="*/ 0 w 3876676"/>
              <a:gd name="connsiteY13" fmla="*/ 1193801 h 1212806"/>
              <a:gd name="connsiteX14" fmla="*/ 1748787 w 3876676"/>
              <a:gd name="connsiteY14" fmla="*/ 547727 h 1212806"/>
              <a:gd name="connsiteX15" fmla="*/ 2081150 w 3876676"/>
              <a:gd name="connsiteY15" fmla="*/ 743800 h 1212806"/>
              <a:gd name="connsiteX16" fmla="*/ 1918165 w 3876676"/>
              <a:gd name="connsiteY16" fmla="*/ 962372 h 1212806"/>
              <a:gd name="connsiteX17" fmla="*/ 2081150 w 3876676"/>
              <a:gd name="connsiteY17" fmla="*/ 1193801 h 1212806"/>
              <a:gd name="connsiteX18" fmla="*/ 1860640 w 3876676"/>
              <a:gd name="connsiteY18" fmla="*/ 1193801 h 1212806"/>
              <a:gd name="connsiteX19" fmla="*/ 1656109 w 3876676"/>
              <a:gd name="connsiteY19" fmla="*/ 972015 h 1212806"/>
              <a:gd name="connsiteX20" fmla="*/ 1656109 w 3876676"/>
              <a:gd name="connsiteY20" fmla="*/ 872371 h 1212806"/>
              <a:gd name="connsiteX21" fmla="*/ 1854249 w 3876676"/>
              <a:gd name="connsiteY21" fmla="*/ 756657 h 1212806"/>
              <a:gd name="connsiteX22" fmla="*/ 1710438 w 3876676"/>
              <a:gd name="connsiteY22" fmla="*/ 676299 h 1212806"/>
              <a:gd name="connsiteX23" fmla="*/ 1582606 w 3876676"/>
              <a:gd name="connsiteY23" fmla="*/ 682728 h 1212806"/>
              <a:gd name="connsiteX24" fmla="*/ 1550648 w 3876676"/>
              <a:gd name="connsiteY24" fmla="*/ 1193801 h 1212806"/>
              <a:gd name="connsiteX25" fmla="*/ 1358900 w 3876676"/>
              <a:gd name="connsiteY25" fmla="*/ 1193801 h 1212806"/>
              <a:gd name="connsiteX26" fmla="*/ 1358900 w 3876676"/>
              <a:gd name="connsiteY26" fmla="*/ 557370 h 1212806"/>
              <a:gd name="connsiteX27" fmla="*/ 1748787 w 3876676"/>
              <a:gd name="connsiteY27" fmla="*/ 547727 h 1212806"/>
              <a:gd name="connsiteX28" fmla="*/ 3505842 w 3876676"/>
              <a:gd name="connsiteY28" fmla="*/ 533444 h 1212806"/>
              <a:gd name="connsiteX29" fmla="*/ 3831920 w 3876676"/>
              <a:gd name="connsiteY29" fmla="*/ 549540 h 1212806"/>
              <a:gd name="connsiteX30" fmla="*/ 3831920 w 3876676"/>
              <a:gd name="connsiteY30" fmla="*/ 697618 h 1212806"/>
              <a:gd name="connsiteX31" fmla="*/ 3579369 w 3876676"/>
              <a:gd name="connsiteY31" fmla="*/ 675085 h 1212806"/>
              <a:gd name="connsiteX32" fmla="*/ 3419527 w 3876676"/>
              <a:gd name="connsiteY32" fmla="*/ 729809 h 1212806"/>
              <a:gd name="connsiteX33" fmla="*/ 3521826 w 3876676"/>
              <a:gd name="connsiteY33" fmla="*/ 778096 h 1212806"/>
              <a:gd name="connsiteX34" fmla="*/ 3876676 w 3876676"/>
              <a:gd name="connsiteY34" fmla="*/ 996994 h 1212806"/>
              <a:gd name="connsiteX35" fmla="*/ 3505842 w 3876676"/>
              <a:gd name="connsiteY35" fmla="*/ 1212674 h 1212806"/>
              <a:gd name="connsiteX36" fmla="*/ 3208535 w 3876676"/>
              <a:gd name="connsiteY36" fmla="*/ 1193359 h 1212806"/>
              <a:gd name="connsiteX37" fmla="*/ 3208535 w 3876676"/>
              <a:gd name="connsiteY37" fmla="*/ 1032404 h 1212806"/>
              <a:gd name="connsiteX38" fmla="*/ 3451495 w 3876676"/>
              <a:gd name="connsiteY38" fmla="*/ 1064595 h 1212806"/>
              <a:gd name="connsiteX39" fmla="*/ 3649700 w 3876676"/>
              <a:gd name="connsiteY39" fmla="*/ 1006652 h 1212806"/>
              <a:gd name="connsiteX40" fmla="*/ 3560188 w 3876676"/>
              <a:gd name="connsiteY40" fmla="*/ 964803 h 1212806"/>
              <a:gd name="connsiteX41" fmla="*/ 3179763 w 3876676"/>
              <a:gd name="connsiteY41" fmla="*/ 749124 h 1212806"/>
              <a:gd name="connsiteX42" fmla="*/ 3505842 w 3876676"/>
              <a:gd name="connsiteY42" fmla="*/ 533444 h 1212806"/>
              <a:gd name="connsiteX43" fmla="*/ 2179638 w 3876676"/>
              <a:gd name="connsiteY43" fmla="*/ 476250 h 1212806"/>
              <a:gd name="connsiteX44" fmla="*/ 2182834 w 3876676"/>
              <a:gd name="connsiteY44" fmla="*/ 476250 h 1212806"/>
              <a:gd name="connsiteX45" fmla="*/ 2368233 w 3876676"/>
              <a:gd name="connsiteY45" fmla="*/ 810892 h 1212806"/>
              <a:gd name="connsiteX46" fmla="*/ 2499290 w 3876676"/>
              <a:gd name="connsiteY46" fmla="*/ 556693 h 1212806"/>
              <a:gd name="connsiteX47" fmla="*/ 2812550 w 3876676"/>
              <a:gd name="connsiteY47" fmla="*/ 556693 h 1212806"/>
              <a:gd name="connsiteX48" fmla="*/ 2962787 w 3876676"/>
              <a:gd name="connsiteY48" fmla="*/ 855940 h 1212806"/>
              <a:gd name="connsiteX49" fmla="*/ 3122613 w 3876676"/>
              <a:gd name="connsiteY49" fmla="*/ 1193800 h 1212806"/>
              <a:gd name="connsiteX50" fmla="*/ 2918035 w 3876676"/>
              <a:gd name="connsiteY50" fmla="*/ 1193800 h 1212806"/>
              <a:gd name="connsiteX51" fmla="*/ 2652724 w 3876676"/>
              <a:gd name="connsiteY51" fmla="*/ 720796 h 1212806"/>
              <a:gd name="connsiteX52" fmla="*/ 2550435 w 3876676"/>
              <a:gd name="connsiteY52" fmla="*/ 907424 h 1212806"/>
              <a:gd name="connsiteX53" fmla="*/ 2662313 w 3876676"/>
              <a:gd name="connsiteY53" fmla="*/ 926730 h 1212806"/>
              <a:gd name="connsiteX54" fmla="*/ 2662313 w 3876676"/>
              <a:gd name="connsiteY54" fmla="*/ 1103704 h 1212806"/>
              <a:gd name="connsiteX55" fmla="*/ 2460932 w 3876676"/>
              <a:gd name="connsiteY55" fmla="*/ 1068309 h 1212806"/>
              <a:gd name="connsiteX56" fmla="*/ 2393805 w 3876676"/>
              <a:gd name="connsiteY56" fmla="*/ 1193800 h 1212806"/>
              <a:gd name="connsiteX57" fmla="*/ 2189227 w 3876676"/>
              <a:gd name="connsiteY57" fmla="*/ 1193800 h 1212806"/>
              <a:gd name="connsiteX58" fmla="*/ 2294713 w 3876676"/>
              <a:gd name="connsiteY58" fmla="*/ 965343 h 1212806"/>
              <a:gd name="connsiteX59" fmla="*/ 2179638 w 3876676"/>
              <a:gd name="connsiteY59" fmla="*/ 749756 h 1212806"/>
              <a:gd name="connsiteX60" fmla="*/ 2179638 w 3876676"/>
              <a:gd name="connsiteY60" fmla="*/ 476250 h 1212806"/>
              <a:gd name="connsiteX61" fmla="*/ 2665413 w 3876676"/>
              <a:gd name="connsiteY61" fmla="*/ 0 h 1212806"/>
              <a:gd name="connsiteX62" fmla="*/ 2665413 w 3876676"/>
              <a:gd name="connsiteY62" fmla="*/ 199390 h 1212806"/>
              <a:gd name="connsiteX63" fmla="*/ 2313126 w 3876676"/>
              <a:gd name="connsiteY63" fmla="*/ 498475 h 1212806"/>
              <a:gd name="connsiteX64" fmla="*/ 2300315 w 3876676"/>
              <a:gd name="connsiteY64" fmla="*/ 395564 h 1212806"/>
              <a:gd name="connsiteX65" fmla="*/ 2665413 w 3876676"/>
              <a:gd name="connsiteY65" fmla="*/ 0 h 12128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</a:cxnLst>
            <a:rect l="l" t="t" r="r" b="b"/>
            <a:pathLst>
              <a:path w="3876676" h="1212806">
                <a:moveTo>
                  <a:pt x="968375" y="557213"/>
                </a:moveTo>
                <a:lnTo>
                  <a:pt x="1176338" y="557213"/>
                </a:lnTo>
                <a:lnTo>
                  <a:pt x="1176338" y="1193801"/>
                </a:lnTo>
                <a:lnTo>
                  <a:pt x="968375" y="1193801"/>
                </a:lnTo>
                <a:close/>
                <a:moveTo>
                  <a:pt x="0" y="557213"/>
                </a:moveTo>
                <a:lnTo>
                  <a:pt x="239712" y="557213"/>
                </a:lnTo>
                <a:lnTo>
                  <a:pt x="561975" y="893763"/>
                </a:lnTo>
                <a:lnTo>
                  <a:pt x="581025" y="560388"/>
                </a:lnTo>
                <a:lnTo>
                  <a:pt x="782638" y="560388"/>
                </a:lnTo>
                <a:lnTo>
                  <a:pt x="782638" y="1193801"/>
                </a:lnTo>
                <a:lnTo>
                  <a:pt x="590550" y="1193801"/>
                </a:lnTo>
                <a:lnTo>
                  <a:pt x="214312" y="811213"/>
                </a:lnTo>
                <a:lnTo>
                  <a:pt x="192087" y="1193801"/>
                </a:lnTo>
                <a:lnTo>
                  <a:pt x="0" y="1193801"/>
                </a:lnTo>
                <a:close/>
                <a:moveTo>
                  <a:pt x="1748787" y="547727"/>
                </a:moveTo>
                <a:cubicBezTo>
                  <a:pt x="1892598" y="547727"/>
                  <a:pt x="2068367" y="583085"/>
                  <a:pt x="2081150" y="743800"/>
                </a:cubicBezTo>
                <a:cubicBezTo>
                  <a:pt x="2090738" y="917372"/>
                  <a:pt x="1918165" y="962372"/>
                  <a:pt x="1918165" y="962372"/>
                </a:cubicBezTo>
                <a:cubicBezTo>
                  <a:pt x="1918165" y="962372"/>
                  <a:pt x="1918165" y="962372"/>
                  <a:pt x="2081150" y="1193801"/>
                </a:cubicBezTo>
                <a:cubicBezTo>
                  <a:pt x="2081150" y="1193801"/>
                  <a:pt x="2081150" y="1193801"/>
                  <a:pt x="1860640" y="1193801"/>
                </a:cubicBezTo>
                <a:cubicBezTo>
                  <a:pt x="1860640" y="1193801"/>
                  <a:pt x="1860640" y="1193801"/>
                  <a:pt x="1656109" y="972015"/>
                </a:cubicBezTo>
                <a:cubicBezTo>
                  <a:pt x="1656109" y="972015"/>
                  <a:pt x="1656109" y="972015"/>
                  <a:pt x="1656109" y="872371"/>
                </a:cubicBezTo>
                <a:cubicBezTo>
                  <a:pt x="1838270" y="872371"/>
                  <a:pt x="1857444" y="811300"/>
                  <a:pt x="1854249" y="756657"/>
                </a:cubicBezTo>
                <a:cubicBezTo>
                  <a:pt x="1851053" y="705228"/>
                  <a:pt x="1790333" y="676299"/>
                  <a:pt x="1710438" y="676299"/>
                </a:cubicBezTo>
                <a:cubicBezTo>
                  <a:pt x="1659305" y="676299"/>
                  <a:pt x="1582606" y="682728"/>
                  <a:pt x="1582606" y="682728"/>
                </a:cubicBezTo>
                <a:cubicBezTo>
                  <a:pt x="1582606" y="682728"/>
                  <a:pt x="1582606" y="682728"/>
                  <a:pt x="1550648" y="1193801"/>
                </a:cubicBezTo>
                <a:cubicBezTo>
                  <a:pt x="1550648" y="1193801"/>
                  <a:pt x="1550648" y="1193801"/>
                  <a:pt x="1358900" y="1193801"/>
                </a:cubicBezTo>
                <a:cubicBezTo>
                  <a:pt x="1358900" y="1193801"/>
                  <a:pt x="1358900" y="1193801"/>
                  <a:pt x="1358900" y="557370"/>
                </a:cubicBezTo>
                <a:cubicBezTo>
                  <a:pt x="1358900" y="557370"/>
                  <a:pt x="1633738" y="544513"/>
                  <a:pt x="1748787" y="547727"/>
                </a:cubicBezTo>
                <a:close/>
                <a:moveTo>
                  <a:pt x="3505842" y="533444"/>
                </a:moveTo>
                <a:cubicBezTo>
                  <a:pt x="3668881" y="530225"/>
                  <a:pt x="3831920" y="549540"/>
                  <a:pt x="3831920" y="549540"/>
                </a:cubicBezTo>
                <a:cubicBezTo>
                  <a:pt x="3831920" y="549540"/>
                  <a:pt x="3831920" y="549540"/>
                  <a:pt x="3831920" y="697618"/>
                </a:cubicBezTo>
                <a:cubicBezTo>
                  <a:pt x="3831920" y="697618"/>
                  <a:pt x="3688062" y="675085"/>
                  <a:pt x="3579369" y="675085"/>
                </a:cubicBezTo>
                <a:cubicBezTo>
                  <a:pt x="3470676" y="675085"/>
                  <a:pt x="3416330" y="687961"/>
                  <a:pt x="3419527" y="729809"/>
                </a:cubicBezTo>
                <a:cubicBezTo>
                  <a:pt x="3419527" y="758781"/>
                  <a:pt x="3454692" y="774877"/>
                  <a:pt x="3521826" y="778096"/>
                </a:cubicBezTo>
                <a:cubicBezTo>
                  <a:pt x="3617731" y="784534"/>
                  <a:pt x="3876676" y="762000"/>
                  <a:pt x="3876676" y="996994"/>
                </a:cubicBezTo>
                <a:cubicBezTo>
                  <a:pt x="3876676" y="1225550"/>
                  <a:pt x="3566582" y="1212674"/>
                  <a:pt x="3505842" y="1212674"/>
                </a:cubicBezTo>
                <a:cubicBezTo>
                  <a:pt x="3377968" y="1212674"/>
                  <a:pt x="3208535" y="1193359"/>
                  <a:pt x="3208535" y="1193359"/>
                </a:cubicBezTo>
                <a:cubicBezTo>
                  <a:pt x="3208535" y="1193359"/>
                  <a:pt x="3208535" y="1193359"/>
                  <a:pt x="3208535" y="1032404"/>
                </a:cubicBezTo>
                <a:cubicBezTo>
                  <a:pt x="3208535" y="1032404"/>
                  <a:pt x="3326818" y="1064595"/>
                  <a:pt x="3451495" y="1064595"/>
                </a:cubicBezTo>
                <a:cubicBezTo>
                  <a:pt x="3576172" y="1064595"/>
                  <a:pt x="3656094" y="1054938"/>
                  <a:pt x="3649700" y="1006652"/>
                </a:cubicBezTo>
                <a:cubicBezTo>
                  <a:pt x="3646503" y="974461"/>
                  <a:pt x="3604944" y="964803"/>
                  <a:pt x="3560188" y="964803"/>
                </a:cubicBezTo>
                <a:cubicBezTo>
                  <a:pt x="3448299" y="964803"/>
                  <a:pt x="3182960" y="958365"/>
                  <a:pt x="3179763" y="749124"/>
                </a:cubicBezTo>
                <a:cubicBezTo>
                  <a:pt x="3179763" y="533444"/>
                  <a:pt x="3448299" y="536663"/>
                  <a:pt x="3505842" y="533444"/>
                </a:cubicBezTo>
                <a:close/>
                <a:moveTo>
                  <a:pt x="2179638" y="476250"/>
                </a:moveTo>
                <a:cubicBezTo>
                  <a:pt x="2179638" y="476250"/>
                  <a:pt x="2179638" y="476250"/>
                  <a:pt x="2182834" y="476250"/>
                </a:cubicBezTo>
                <a:cubicBezTo>
                  <a:pt x="2192424" y="547040"/>
                  <a:pt x="2230782" y="695055"/>
                  <a:pt x="2368233" y="810892"/>
                </a:cubicBezTo>
                <a:cubicBezTo>
                  <a:pt x="2467325" y="604959"/>
                  <a:pt x="2499290" y="556693"/>
                  <a:pt x="2499290" y="556693"/>
                </a:cubicBezTo>
                <a:cubicBezTo>
                  <a:pt x="2499290" y="556693"/>
                  <a:pt x="2499290" y="556693"/>
                  <a:pt x="2812550" y="556693"/>
                </a:cubicBezTo>
                <a:cubicBezTo>
                  <a:pt x="2812550" y="556693"/>
                  <a:pt x="2841319" y="604959"/>
                  <a:pt x="2962787" y="855940"/>
                </a:cubicBezTo>
                <a:cubicBezTo>
                  <a:pt x="3097041" y="1132664"/>
                  <a:pt x="3122613" y="1193800"/>
                  <a:pt x="3122613" y="1193800"/>
                </a:cubicBezTo>
                <a:cubicBezTo>
                  <a:pt x="3122613" y="1193800"/>
                  <a:pt x="3122613" y="1193800"/>
                  <a:pt x="2918035" y="1193800"/>
                </a:cubicBezTo>
                <a:cubicBezTo>
                  <a:pt x="2918035" y="1193800"/>
                  <a:pt x="2918035" y="1193800"/>
                  <a:pt x="2652724" y="720796"/>
                </a:cubicBezTo>
                <a:cubicBezTo>
                  <a:pt x="2652724" y="720796"/>
                  <a:pt x="2652724" y="720796"/>
                  <a:pt x="2550435" y="907424"/>
                </a:cubicBezTo>
                <a:cubicBezTo>
                  <a:pt x="2617562" y="929948"/>
                  <a:pt x="2662313" y="926730"/>
                  <a:pt x="2662313" y="926730"/>
                </a:cubicBezTo>
                <a:cubicBezTo>
                  <a:pt x="2662313" y="926730"/>
                  <a:pt x="2662313" y="926730"/>
                  <a:pt x="2662313" y="1103704"/>
                </a:cubicBezTo>
                <a:cubicBezTo>
                  <a:pt x="2662313" y="1103704"/>
                  <a:pt x="2563221" y="1106922"/>
                  <a:pt x="2460932" y="1068309"/>
                </a:cubicBezTo>
                <a:cubicBezTo>
                  <a:pt x="2460932" y="1068309"/>
                  <a:pt x="2460932" y="1068309"/>
                  <a:pt x="2393805" y="1193800"/>
                </a:cubicBezTo>
                <a:cubicBezTo>
                  <a:pt x="2393805" y="1193800"/>
                  <a:pt x="2393805" y="1193800"/>
                  <a:pt x="2189227" y="1193800"/>
                </a:cubicBezTo>
                <a:cubicBezTo>
                  <a:pt x="2189227" y="1193800"/>
                  <a:pt x="2205210" y="1155188"/>
                  <a:pt x="2294713" y="965343"/>
                </a:cubicBezTo>
                <a:cubicBezTo>
                  <a:pt x="2202013" y="865593"/>
                  <a:pt x="2179638" y="749756"/>
                  <a:pt x="2179638" y="749756"/>
                </a:cubicBezTo>
                <a:cubicBezTo>
                  <a:pt x="2179638" y="749756"/>
                  <a:pt x="2179638" y="749756"/>
                  <a:pt x="2179638" y="476250"/>
                </a:cubicBezTo>
                <a:close/>
                <a:moveTo>
                  <a:pt x="2665413" y="0"/>
                </a:moveTo>
                <a:cubicBezTo>
                  <a:pt x="2665413" y="0"/>
                  <a:pt x="2665413" y="0"/>
                  <a:pt x="2665413" y="199390"/>
                </a:cubicBezTo>
                <a:cubicBezTo>
                  <a:pt x="2476459" y="205822"/>
                  <a:pt x="2341949" y="356972"/>
                  <a:pt x="2313126" y="498475"/>
                </a:cubicBezTo>
                <a:cubicBezTo>
                  <a:pt x="2303518" y="466315"/>
                  <a:pt x="2300315" y="430940"/>
                  <a:pt x="2300315" y="395564"/>
                </a:cubicBezTo>
                <a:cubicBezTo>
                  <a:pt x="2297113" y="260493"/>
                  <a:pt x="2399596" y="32160"/>
                  <a:pt x="2665413" y="0"/>
                </a:cubicBezTo>
                <a:close/>
              </a:path>
            </a:pathLst>
          </a:custGeom>
          <a:solidFill>
            <a:srgbClr val="FFFFFF"/>
          </a:solidFill>
        </p:spPr>
        <p:txBody>
          <a:bodyPr lIns="0" tIns="0" rIns="0" bIns="0">
            <a:norm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EC47C98D-4FAF-4675-81FB-E5A7BA12D888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508516" y="2009571"/>
            <a:ext cx="2438857" cy="2438857"/>
          </a:xfrm>
          <a:custGeom>
            <a:avLst/>
            <a:gdLst>
              <a:gd name="connsiteX0" fmla="*/ 1716150 w 3432299"/>
              <a:gd name="connsiteY0" fmla="*/ 0 h 3432299"/>
              <a:gd name="connsiteX1" fmla="*/ 3432299 w 3432299"/>
              <a:gd name="connsiteY1" fmla="*/ 1716150 h 3432299"/>
              <a:gd name="connsiteX2" fmla="*/ 1716150 w 3432299"/>
              <a:gd name="connsiteY2" fmla="*/ 3432299 h 3432299"/>
              <a:gd name="connsiteX3" fmla="*/ 0 w 3432299"/>
              <a:gd name="connsiteY3" fmla="*/ 1716150 h 3432299"/>
              <a:gd name="connsiteX4" fmla="*/ 1716150 w 3432299"/>
              <a:gd name="connsiteY4" fmla="*/ 0 h 3432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32299" h="3432299">
                <a:moveTo>
                  <a:pt x="1716150" y="0"/>
                </a:moveTo>
                <a:cubicBezTo>
                  <a:pt x="2663953" y="0"/>
                  <a:pt x="3432299" y="768346"/>
                  <a:pt x="3432299" y="1716150"/>
                </a:cubicBezTo>
                <a:cubicBezTo>
                  <a:pt x="3432299" y="2663953"/>
                  <a:pt x="2663953" y="3432299"/>
                  <a:pt x="1716150" y="3432299"/>
                </a:cubicBezTo>
                <a:cubicBezTo>
                  <a:pt x="768346" y="3432299"/>
                  <a:pt x="0" y="2663953"/>
                  <a:pt x="0" y="1716150"/>
                </a:cubicBezTo>
                <a:cubicBezTo>
                  <a:pt x="0" y="768346"/>
                  <a:pt x="768346" y="0"/>
                  <a:pt x="1716150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your</a:t>
            </a:r>
            <a:r>
              <a:rPr lang="da-DK" dirty="0"/>
              <a:t> </a:t>
            </a:r>
            <a:r>
              <a:rPr lang="da-DK" dirty="0" err="1"/>
              <a:t>profile</a:t>
            </a:r>
            <a:r>
              <a:rPr lang="da-DK" dirty="0"/>
              <a:t> </a:t>
            </a:r>
            <a:r>
              <a:rPr lang="da-DK" dirty="0" err="1"/>
              <a:t>photo</a:t>
            </a:r>
            <a:endParaRPr lang="da-DK" dirty="0"/>
          </a:p>
        </p:txBody>
      </p:sp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DB094E42-9A37-4B00-9234-25C4C4804530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441287" y="2014036"/>
            <a:ext cx="2438857" cy="2438857"/>
          </a:xfrm>
          <a:custGeom>
            <a:avLst/>
            <a:gdLst>
              <a:gd name="connsiteX0" fmla="*/ 1716150 w 3432299"/>
              <a:gd name="connsiteY0" fmla="*/ 0 h 3432299"/>
              <a:gd name="connsiteX1" fmla="*/ 3432299 w 3432299"/>
              <a:gd name="connsiteY1" fmla="*/ 1716150 h 3432299"/>
              <a:gd name="connsiteX2" fmla="*/ 1716150 w 3432299"/>
              <a:gd name="connsiteY2" fmla="*/ 3432299 h 3432299"/>
              <a:gd name="connsiteX3" fmla="*/ 0 w 3432299"/>
              <a:gd name="connsiteY3" fmla="*/ 1716150 h 3432299"/>
              <a:gd name="connsiteX4" fmla="*/ 1716150 w 3432299"/>
              <a:gd name="connsiteY4" fmla="*/ 0 h 3432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32299" h="3432299">
                <a:moveTo>
                  <a:pt x="1716150" y="0"/>
                </a:moveTo>
                <a:cubicBezTo>
                  <a:pt x="2663953" y="0"/>
                  <a:pt x="3432299" y="768346"/>
                  <a:pt x="3432299" y="1716150"/>
                </a:cubicBezTo>
                <a:cubicBezTo>
                  <a:pt x="3432299" y="2663953"/>
                  <a:pt x="2663953" y="3432299"/>
                  <a:pt x="1716150" y="3432299"/>
                </a:cubicBezTo>
                <a:cubicBezTo>
                  <a:pt x="768346" y="3432299"/>
                  <a:pt x="0" y="2663953"/>
                  <a:pt x="0" y="1716150"/>
                </a:cubicBezTo>
                <a:cubicBezTo>
                  <a:pt x="0" y="768346"/>
                  <a:pt x="768346" y="0"/>
                  <a:pt x="1716150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your</a:t>
            </a:r>
            <a:r>
              <a:rPr lang="da-DK" dirty="0"/>
              <a:t> </a:t>
            </a:r>
            <a:r>
              <a:rPr lang="da-DK" dirty="0" err="1"/>
              <a:t>profile</a:t>
            </a:r>
            <a:r>
              <a:rPr lang="da-DK" dirty="0"/>
              <a:t> </a:t>
            </a:r>
            <a:r>
              <a:rPr lang="da-DK" dirty="0" err="1"/>
              <a:t>photo</a:t>
            </a:r>
            <a:endParaRPr lang="da-DK" dirty="0"/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593CB2D3-EFC7-4338-AA06-899062406393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313486" y="2005106"/>
            <a:ext cx="2438857" cy="2438857"/>
          </a:xfrm>
          <a:custGeom>
            <a:avLst/>
            <a:gdLst>
              <a:gd name="connsiteX0" fmla="*/ 1716150 w 3432299"/>
              <a:gd name="connsiteY0" fmla="*/ 0 h 3432299"/>
              <a:gd name="connsiteX1" fmla="*/ 3432299 w 3432299"/>
              <a:gd name="connsiteY1" fmla="*/ 1716150 h 3432299"/>
              <a:gd name="connsiteX2" fmla="*/ 1716150 w 3432299"/>
              <a:gd name="connsiteY2" fmla="*/ 3432299 h 3432299"/>
              <a:gd name="connsiteX3" fmla="*/ 0 w 3432299"/>
              <a:gd name="connsiteY3" fmla="*/ 1716150 h 3432299"/>
              <a:gd name="connsiteX4" fmla="*/ 1716150 w 3432299"/>
              <a:gd name="connsiteY4" fmla="*/ 0 h 3432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32299" h="3432299">
                <a:moveTo>
                  <a:pt x="1716150" y="0"/>
                </a:moveTo>
                <a:cubicBezTo>
                  <a:pt x="2663953" y="0"/>
                  <a:pt x="3432299" y="768346"/>
                  <a:pt x="3432299" y="1716150"/>
                </a:cubicBezTo>
                <a:cubicBezTo>
                  <a:pt x="3432299" y="2663953"/>
                  <a:pt x="2663953" y="3432299"/>
                  <a:pt x="1716150" y="3432299"/>
                </a:cubicBezTo>
                <a:cubicBezTo>
                  <a:pt x="768346" y="3432299"/>
                  <a:pt x="0" y="2663953"/>
                  <a:pt x="0" y="1716150"/>
                </a:cubicBezTo>
                <a:cubicBezTo>
                  <a:pt x="0" y="768346"/>
                  <a:pt x="768346" y="0"/>
                  <a:pt x="1716150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your</a:t>
            </a:r>
            <a:r>
              <a:rPr lang="da-DK" dirty="0"/>
              <a:t> </a:t>
            </a:r>
            <a:r>
              <a:rPr lang="da-DK" dirty="0" err="1"/>
              <a:t>profile</a:t>
            </a:r>
            <a:r>
              <a:rPr lang="da-DK" dirty="0"/>
              <a:t> </a:t>
            </a:r>
            <a:r>
              <a:rPr lang="da-DK" dirty="0" err="1"/>
              <a:t>photo</a:t>
            </a:r>
            <a:endParaRPr lang="da-DK" dirty="0"/>
          </a:p>
        </p:txBody>
      </p:sp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C18D02F3-399A-493B-8D9C-01466A1940F7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9246257" y="2009571"/>
            <a:ext cx="2438857" cy="2438857"/>
          </a:xfrm>
          <a:custGeom>
            <a:avLst/>
            <a:gdLst>
              <a:gd name="connsiteX0" fmla="*/ 1716150 w 3432299"/>
              <a:gd name="connsiteY0" fmla="*/ 0 h 3432299"/>
              <a:gd name="connsiteX1" fmla="*/ 3432299 w 3432299"/>
              <a:gd name="connsiteY1" fmla="*/ 1716150 h 3432299"/>
              <a:gd name="connsiteX2" fmla="*/ 1716150 w 3432299"/>
              <a:gd name="connsiteY2" fmla="*/ 3432299 h 3432299"/>
              <a:gd name="connsiteX3" fmla="*/ 0 w 3432299"/>
              <a:gd name="connsiteY3" fmla="*/ 1716150 h 3432299"/>
              <a:gd name="connsiteX4" fmla="*/ 1716150 w 3432299"/>
              <a:gd name="connsiteY4" fmla="*/ 0 h 3432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32299" h="3432299">
                <a:moveTo>
                  <a:pt x="1716150" y="0"/>
                </a:moveTo>
                <a:cubicBezTo>
                  <a:pt x="2663953" y="0"/>
                  <a:pt x="3432299" y="768346"/>
                  <a:pt x="3432299" y="1716150"/>
                </a:cubicBezTo>
                <a:cubicBezTo>
                  <a:pt x="3432299" y="2663953"/>
                  <a:pt x="2663953" y="3432299"/>
                  <a:pt x="1716150" y="3432299"/>
                </a:cubicBezTo>
                <a:cubicBezTo>
                  <a:pt x="768346" y="3432299"/>
                  <a:pt x="0" y="2663953"/>
                  <a:pt x="0" y="1716150"/>
                </a:cubicBezTo>
                <a:cubicBezTo>
                  <a:pt x="0" y="768346"/>
                  <a:pt x="768346" y="0"/>
                  <a:pt x="1716150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your</a:t>
            </a:r>
            <a:r>
              <a:rPr lang="da-DK" dirty="0"/>
              <a:t> </a:t>
            </a:r>
            <a:r>
              <a:rPr lang="da-DK" dirty="0" err="1"/>
              <a:t>profile</a:t>
            </a:r>
            <a:r>
              <a:rPr lang="da-DK" dirty="0"/>
              <a:t> </a:t>
            </a:r>
            <a:r>
              <a:rPr lang="da-DK" dirty="0" err="1"/>
              <a:t>photo</a:t>
            </a:r>
            <a:endParaRPr lang="da-DK" dirty="0"/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E74AD59E-A423-4B11-A9D8-860D9ED84A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400" y="360000"/>
            <a:ext cx="11473200" cy="619713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a-DK" dirty="0"/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1EE3518A-31DE-4BA4-B16D-9E6E3BD2219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4224" y="1188143"/>
            <a:ext cx="5273589" cy="6197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en-US" dirty="0"/>
              <a:t>Get in touch with us</a:t>
            </a:r>
          </a:p>
          <a:p>
            <a:pPr lvl="0"/>
            <a:endParaRPr lang="en-US" dirty="0"/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27196662-DAC2-4CA1-930C-3729480FED1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61560" y="4575196"/>
            <a:ext cx="2932771" cy="1595197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en-US" dirty="0"/>
              <a:t>Name </a:t>
            </a:r>
            <a:r>
              <a:rPr lang="en-US" dirty="0" err="1"/>
              <a:t>name</a:t>
            </a:r>
            <a:r>
              <a:rPr lang="en-US" dirty="0"/>
              <a:t>, Title </a:t>
            </a:r>
            <a:br>
              <a:rPr lang="en-US" dirty="0"/>
            </a:br>
            <a:r>
              <a:rPr lang="en-US" dirty="0"/>
              <a:t>Area of expertise</a:t>
            </a:r>
            <a:br>
              <a:rPr lang="en-US" dirty="0"/>
            </a:br>
            <a:r>
              <a:rPr lang="en-US" dirty="0" err="1"/>
              <a:t>Email@dress</a:t>
            </a:r>
            <a:br>
              <a:rPr lang="en-US" dirty="0"/>
            </a:br>
            <a:r>
              <a:rPr lang="en-US" dirty="0"/>
              <a:t>Phone number</a:t>
            </a:r>
          </a:p>
          <a:p>
            <a:pPr lvl="0"/>
            <a:endParaRPr lang="en-US" dirty="0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488BFC77-7CFE-4B3B-946E-04A84656BC8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94331" y="4579661"/>
            <a:ext cx="2932771" cy="1595197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en-US" dirty="0"/>
              <a:t>Name </a:t>
            </a:r>
            <a:r>
              <a:rPr lang="en-US" dirty="0" err="1"/>
              <a:t>name</a:t>
            </a:r>
            <a:r>
              <a:rPr lang="en-US" dirty="0"/>
              <a:t>, Title </a:t>
            </a:r>
            <a:br>
              <a:rPr lang="en-US" dirty="0"/>
            </a:br>
            <a:r>
              <a:rPr lang="en-US" dirty="0"/>
              <a:t>Area of expertise</a:t>
            </a:r>
            <a:br>
              <a:rPr lang="en-US" dirty="0"/>
            </a:br>
            <a:r>
              <a:rPr lang="en-US" dirty="0" err="1"/>
              <a:t>Email@dress</a:t>
            </a:r>
            <a:br>
              <a:rPr lang="en-US" dirty="0"/>
            </a:br>
            <a:r>
              <a:rPr lang="en-US" dirty="0"/>
              <a:t>Phone number</a:t>
            </a:r>
          </a:p>
          <a:p>
            <a:pPr lvl="0"/>
            <a:endParaRPr lang="en-US" dirty="0"/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23E95A0A-5895-4DE1-9E81-3CB2EC1F7D2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66530" y="4570731"/>
            <a:ext cx="2932771" cy="1595197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en-US" dirty="0"/>
              <a:t>Name </a:t>
            </a:r>
            <a:r>
              <a:rPr lang="en-US" dirty="0" err="1"/>
              <a:t>name</a:t>
            </a:r>
            <a:r>
              <a:rPr lang="en-US" dirty="0"/>
              <a:t>, Title </a:t>
            </a:r>
            <a:br>
              <a:rPr lang="en-US" dirty="0"/>
            </a:br>
            <a:r>
              <a:rPr lang="en-US" dirty="0"/>
              <a:t>Area of expertise</a:t>
            </a:r>
            <a:br>
              <a:rPr lang="en-US" dirty="0"/>
            </a:br>
            <a:r>
              <a:rPr lang="en-US" dirty="0" err="1"/>
              <a:t>Email@dress</a:t>
            </a:r>
            <a:br>
              <a:rPr lang="en-US" dirty="0"/>
            </a:br>
            <a:r>
              <a:rPr lang="en-US" dirty="0"/>
              <a:t>Phone number</a:t>
            </a:r>
          </a:p>
          <a:p>
            <a:pPr lvl="0"/>
            <a:endParaRPr lang="en-US" dirty="0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D31E9205-4001-4C76-9474-A0F6D15DAD6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999301" y="4575196"/>
            <a:ext cx="2932771" cy="1595197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en-US" dirty="0"/>
              <a:t>Name </a:t>
            </a:r>
            <a:r>
              <a:rPr lang="en-US" dirty="0" err="1"/>
              <a:t>name</a:t>
            </a:r>
            <a:r>
              <a:rPr lang="en-US" dirty="0"/>
              <a:t>, Title </a:t>
            </a:r>
            <a:br>
              <a:rPr lang="en-US" dirty="0"/>
            </a:br>
            <a:r>
              <a:rPr lang="en-US" dirty="0"/>
              <a:t>Area of expertise</a:t>
            </a:r>
            <a:br>
              <a:rPr lang="en-US" dirty="0"/>
            </a:br>
            <a:r>
              <a:rPr lang="en-US" dirty="0" err="1"/>
              <a:t>Email@dress</a:t>
            </a:r>
            <a:br>
              <a:rPr lang="en-US" dirty="0"/>
            </a:br>
            <a:r>
              <a:rPr lang="en-US" dirty="0"/>
              <a:t>Phone number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987915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User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Text Box 2">
            <a:extLst>
              <a:ext uri="{FF2B5EF4-FFF2-40B4-BE49-F238E27FC236}">
                <a16:creationId xmlns:a16="http://schemas.microsoft.com/office/drawing/2014/main" id="{93D234E7-7A2E-4F41-A585-E962171C7F3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01200" y="1976400"/>
            <a:ext cx="3186224" cy="15388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Tx/>
              <a:buNone/>
              <a:tabLst>
                <a:tab pos="134938" algn="l"/>
              </a:tabLst>
              <a:defRPr/>
            </a:pPr>
            <a:r>
              <a:rPr lang="en-GB" sz="1200" b="1" kern="1200" noProof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DG graphics, icons and maps</a:t>
            </a:r>
          </a:p>
          <a:p>
            <a:r>
              <a:rPr lang="en-GB" sz="1000" dirty="0">
                <a:solidFill>
                  <a:schemeClr val="tx1"/>
                </a:solidFill>
                <a:latin typeface="+mn-lt"/>
              </a:rPr>
              <a:t>To insert NIRAS </a:t>
            </a:r>
            <a:r>
              <a:rPr lang="en-GB" sz="1000" b="1" dirty="0">
                <a:solidFill>
                  <a:schemeClr val="tx1"/>
                </a:solidFill>
                <a:latin typeface="+mn-lt"/>
              </a:rPr>
              <a:t>standard SDG Graphics, icons or maps</a:t>
            </a:r>
            <a:r>
              <a:rPr lang="en-GB" sz="1000" dirty="0">
                <a:solidFill>
                  <a:schemeClr val="tx1"/>
                </a:solidFill>
                <a:latin typeface="+mn-lt"/>
              </a:rPr>
              <a:t>, press CTRL and click on button below.</a:t>
            </a:r>
          </a:p>
          <a:p>
            <a:endParaRPr lang="en-GB" sz="1000" dirty="0">
              <a:solidFill>
                <a:schemeClr val="tx1"/>
              </a:solidFill>
              <a:latin typeface="+mn-lt"/>
            </a:endParaRPr>
          </a:p>
          <a:p>
            <a:r>
              <a:rPr lang="en-GB" sz="1000" dirty="0">
                <a:solidFill>
                  <a:schemeClr val="tx1"/>
                </a:solidFill>
                <a:latin typeface="+mn-lt"/>
              </a:rPr>
              <a:t>This will open a new </a:t>
            </a:r>
            <a:r>
              <a:rPr lang="en-GB" sz="1000" dirty="0" err="1">
                <a:solidFill>
                  <a:schemeClr val="tx1"/>
                </a:solidFill>
                <a:latin typeface="+mn-lt"/>
              </a:rPr>
              <a:t>Powerpoint</a:t>
            </a:r>
            <a:r>
              <a:rPr lang="en-GB" sz="1000" dirty="0">
                <a:solidFill>
                  <a:schemeClr val="tx1"/>
                </a:solidFill>
                <a:latin typeface="+mn-lt"/>
              </a:rPr>
              <a:t> presentation with graphics for copying (</a:t>
            </a:r>
            <a:r>
              <a:rPr lang="en-GB" sz="1000" dirty="0" err="1">
                <a:solidFill>
                  <a:schemeClr val="tx1"/>
                </a:solidFill>
                <a:latin typeface="+mn-lt"/>
              </a:rPr>
              <a:t>ctrl+c</a:t>
            </a:r>
            <a:r>
              <a:rPr lang="en-GB" sz="1000" dirty="0">
                <a:solidFill>
                  <a:schemeClr val="tx1"/>
                </a:solidFill>
                <a:latin typeface="+mn-lt"/>
              </a:rPr>
              <a:t>) and pasting (</a:t>
            </a:r>
            <a:r>
              <a:rPr lang="en-GB" sz="1000" dirty="0" err="1">
                <a:solidFill>
                  <a:schemeClr val="tx1"/>
                </a:solidFill>
                <a:latin typeface="+mn-lt"/>
              </a:rPr>
              <a:t>ctrl+v</a:t>
            </a:r>
            <a:r>
              <a:rPr lang="en-GB" sz="1000" dirty="0">
                <a:solidFill>
                  <a:schemeClr val="tx1"/>
                </a:solidFill>
                <a:latin typeface="+mn-lt"/>
              </a:rPr>
              <a:t>) into your presentation</a:t>
            </a:r>
          </a:p>
          <a:p>
            <a:pPr marL="228600" indent="-228600" algn="l" eaLnBrk="1" hangingPunct="1">
              <a:spcAft>
                <a:spcPts val="600"/>
              </a:spcAft>
              <a:buFont typeface="+mj-lt"/>
              <a:buAutoNum type="arabicPeriod"/>
              <a:tabLst>
                <a:tab pos="134938" algn="l"/>
              </a:tabLst>
            </a:pPr>
            <a:endParaRPr lang="en-GB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240"/>
              </a:spcAft>
              <a:defRPr/>
            </a:pPr>
            <a:endParaRPr lang="en-GB" sz="90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8" name="Picture 37">
            <a:extLst>
              <a:ext uri="{FF2B5EF4-FFF2-40B4-BE49-F238E27FC236}">
                <a16:creationId xmlns:a16="http://schemas.microsoft.com/office/drawing/2014/main" id="{A23AC2A0-6C36-4803-BD10-C11530A96CA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58170" y="574066"/>
            <a:ext cx="2455846" cy="1384819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39" name="Header">
            <a:extLst>
              <a:ext uri="{FF2B5EF4-FFF2-40B4-BE49-F238E27FC236}">
                <a16:creationId xmlns:a16="http://schemas.microsoft.com/office/drawing/2014/main" id="{CAB54473-748F-41CE-99F3-644350865D42}"/>
              </a:ext>
            </a:extLst>
          </p:cNvPr>
          <p:cNvSpPr txBox="1"/>
          <p:nvPr/>
        </p:nvSpPr>
        <p:spPr>
          <a:xfrm>
            <a:off x="438150" y="360000"/>
            <a:ext cx="11031175" cy="65017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r>
              <a:rPr kumimoji="0" lang="en-US" sz="3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Black" panose="020B0A02040204020203" pitchFamily="34" charset="0"/>
                <a:ea typeface="Segoe UI Black" panose="020B0A02040204020203" pitchFamily="34" charset="0"/>
                <a:cs typeface="Arial" panose="020B0604020202020204" pitchFamily="34" charset="0"/>
              </a:rPr>
              <a:t>User guide – delete before use</a:t>
            </a:r>
            <a:endParaRPr lang="en-US" sz="3000" dirty="0">
              <a:latin typeface="Segoe UI Black" panose="020B0A02040204020203" pitchFamily="34" charset="0"/>
              <a:ea typeface="Segoe UI Black" panose="020B0A02040204020203" pitchFamily="34" charset="0"/>
            </a:endParaRPr>
          </a:p>
        </p:txBody>
      </p:sp>
      <p:sp>
        <p:nvSpPr>
          <p:cNvPr id="40" name="TextBox 5">
            <a:extLst>
              <a:ext uri="{FF2B5EF4-FFF2-40B4-BE49-F238E27FC236}">
                <a16:creationId xmlns:a16="http://schemas.microsoft.com/office/drawing/2014/main" id="{35D70A1E-9DDF-45CA-8E9D-AAE80439A96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38151" y="2232711"/>
            <a:ext cx="3229052" cy="5386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228600" indent="-228600" algn="l" eaLnBrk="1" hangingPunct="1">
              <a:spcAft>
                <a:spcPts val="600"/>
              </a:spcAft>
              <a:buFont typeface="+mj-lt"/>
              <a:buAutoNum type="arabicPeriod"/>
              <a:tabLst>
                <a:tab pos="134938" algn="l"/>
              </a:tabLst>
            </a:pPr>
            <a:r>
              <a:rPr lang="en-GB" sz="1000" b="0" i="0" baseline="0" noProof="1">
                <a:solidFill>
                  <a:schemeClr val="tx1"/>
                </a:solidFill>
                <a:latin typeface="+mn-lt"/>
              </a:rPr>
              <a:t>Click on </a:t>
            </a:r>
            <a:r>
              <a:rPr lang="en-GB" sz="1000" b="1" baseline="0" noProof="1">
                <a:solidFill>
                  <a:schemeClr val="tx1"/>
                </a:solidFill>
                <a:latin typeface="+mn-lt"/>
              </a:rPr>
              <a:t>Design</a:t>
            </a:r>
            <a:r>
              <a:rPr lang="en-GB" sz="1000" b="0" baseline="0" noProof="1">
                <a:solidFill>
                  <a:schemeClr val="tx1"/>
                </a:solidFill>
                <a:latin typeface="+mn-lt"/>
              </a:rPr>
              <a:t>-TAB</a:t>
            </a:r>
          </a:p>
          <a:p>
            <a:pPr marL="228600" indent="-228600" algn="l" eaLnBrk="1" hangingPunct="1">
              <a:spcAft>
                <a:spcPts val="600"/>
              </a:spcAft>
              <a:buFont typeface="+mj-lt"/>
              <a:buAutoNum type="arabicPeriod"/>
              <a:tabLst>
                <a:tab pos="134938" algn="l"/>
              </a:tabLst>
            </a:pPr>
            <a:r>
              <a:rPr lang="en-GB" sz="1000" baseline="0" noProof="1">
                <a:solidFill>
                  <a:schemeClr val="tx1"/>
                </a:solidFill>
                <a:latin typeface="+mn-lt"/>
              </a:rPr>
              <a:t>In </a:t>
            </a:r>
            <a:r>
              <a:rPr lang="en-GB" sz="1000" b="1" baseline="0" noProof="1">
                <a:solidFill>
                  <a:schemeClr val="tx1"/>
                </a:solidFill>
                <a:latin typeface="+mn-lt"/>
              </a:rPr>
              <a:t>Themes-section</a:t>
            </a:r>
            <a:r>
              <a:rPr lang="en-GB" sz="1000" baseline="0" noProof="1">
                <a:solidFill>
                  <a:schemeClr val="tx1"/>
                </a:solidFill>
                <a:latin typeface="+mn-lt"/>
              </a:rPr>
              <a:t>, </a:t>
            </a:r>
            <a:br>
              <a:rPr lang="en-GB" sz="1000" baseline="0" noProof="1">
                <a:solidFill>
                  <a:schemeClr val="tx1"/>
                </a:solidFill>
                <a:latin typeface="+mn-lt"/>
              </a:rPr>
            </a:br>
            <a:r>
              <a:rPr lang="en-GB" sz="1000" baseline="0" noProof="1">
                <a:solidFill>
                  <a:schemeClr val="tx1"/>
                </a:solidFill>
                <a:latin typeface="+mn-lt"/>
              </a:rPr>
              <a:t>click on </a:t>
            </a:r>
            <a:r>
              <a:rPr lang="en-GB" sz="1000" b="1" baseline="0" noProof="1">
                <a:solidFill>
                  <a:schemeClr val="tx1"/>
                </a:solidFill>
                <a:latin typeface="+mn-lt"/>
              </a:rPr>
              <a:t>ROCK (grey), LIFE (green) or SPIRIT (blue)</a:t>
            </a:r>
          </a:p>
        </p:txBody>
      </p:sp>
      <p:pic>
        <p:nvPicPr>
          <p:cNvPr id="42" name="Picture 41">
            <a:extLst>
              <a:ext uri="{FF2B5EF4-FFF2-40B4-BE49-F238E27FC236}">
                <a16:creationId xmlns:a16="http://schemas.microsoft.com/office/drawing/2014/main" id="{4B9883ED-0987-4C8A-B0BC-B22EEB583E7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1599" y="3140237"/>
            <a:ext cx="2938756" cy="1038299"/>
          </a:xfrm>
          <a:prstGeom prst="rect">
            <a:avLst/>
          </a:prstGeom>
        </p:spPr>
      </p:pic>
      <p:sp>
        <p:nvSpPr>
          <p:cNvPr id="47" name="Oval 46">
            <a:extLst>
              <a:ext uri="{FF2B5EF4-FFF2-40B4-BE49-F238E27FC236}">
                <a16:creationId xmlns:a16="http://schemas.microsoft.com/office/drawing/2014/main" id="{F9A84817-8E92-46E6-8F17-FFC1E3498A0B}"/>
              </a:ext>
            </a:extLst>
          </p:cNvPr>
          <p:cNvSpPr/>
          <p:nvPr/>
        </p:nvSpPr>
        <p:spPr>
          <a:xfrm>
            <a:off x="414858" y="3001146"/>
            <a:ext cx="676286" cy="524917"/>
          </a:xfrm>
          <a:prstGeom prst="ellipse">
            <a:avLst/>
          </a:prstGeom>
          <a:noFill/>
          <a:ln w="2857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pic>
        <p:nvPicPr>
          <p:cNvPr id="48" name="Graphic 47" descr="Cursor">
            <a:extLst>
              <a:ext uri="{FF2B5EF4-FFF2-40B4-BE49-F238E27FC236}">
                <a16:creationId xmlns:a16="http://schemas.microsoft.com/office/drawing/2014/main" id="{2BB05322-BB1E-49A4-BA40-A050B1F79D91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127417" y="3645131"/>
            <a:ext cx="639649" cy="63964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928067C1-CA2A-4990-B085-307744B5BCDA}"/>
              </a:ext>
            </a:extLst>
          </p:cNvPr>
          <p:cNvCxnSpPr/>
          <p:nvPr/>
        </p:nvCxnSpPr>
        <p:spPr>
          <a:xfrm>
            <a:off x="340158" y="0"/>
            <a:ext cx="0" cy="6858000"/>
          </a:xfrm>
          <a:prstGeom prst="straightConnector1">
            <a:avLst/>
          </a:prstGeom>
          <a:ln w="41275">
            <a:solidFill>
              <a:schemeClr val="accent6"/>
            </a:solidFill>
            <a:prstDash val="sys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A928D4A2-FEE7-494F-BA6F-FB024556D815}"/>
              </a:ext>
            </a:extLst>
          </p:cNvPr>
          <p:cNvCxnSpPr/>
          <p:nvPr/>
        </p:nvCxnSpPr>
        <p:spPr>
          <a:xfrm>
            <a:off x="11848236" y="0"/>
            <a:ext cx="0" cy="6858000"/>
          </a:xfrm>
          <a:prstGeom prst="straightConnector1">
            <a:avLst/>
          </a:prstGeom>
          <a:ln w="41275">
            <a:solidFill>
              <a:schemeClr val="accent6"/>
            </a:solidFill>
            <a:prstDash val="sys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Arrow Connector 51">
            <a:extLst>
              <a:ext uri="{FF2B5EF4-FFF2-40B4-BE49-F238E27FC236}">
                <a16:creationId xmlns:a16="http://schemas.microsoft.com/office/drawing/2014/main" id="{F10DB115-BE5E-4988-89BC-FC010B280E5C}"/>
              </a:ext>
            </a:extLst>
          </p:cNvPr>
          <p:cNvCxnSpPr>
            <a:cxnSpLocks/>
          </p:cNvCxnSpPr>
          <p:nvPr/>
        </p:nvCxnSpPr>
        <p:spPr>
          <a:xfrm flipH="1">
            <a:off x="7544" y="6182044"/>
            <a:ext cx="12184456" cy="730"/>
          </a:xfrm>
          <a:prstGeom prst="straightConnector1">
            <a:avLst/>
          </a:prstGeom>
          <a:ln w="41275">
            <a:solidFill>
              <a:schemeClr val="accent6"/>
            </a:solidFill>
            <a:prstDash val="sys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Arrow Connector 52">
            <a:extLst>
              <a:ext uri="{FF2B5EF4-FFF2-40B4-BE49-F238E27FC236}">
                <a16:creationId xmlns:a16="http://schemas.microsoft.com/office/drawing/2014/main" id="{6F172674-037F-443F-B1A6-04A3BCDE782A}"/>
              </a:ext>
            </a:extLst>
          </p:cNvPr>
          <p:cNvCxnSpPr>
            <a:cxnSpLocks/>
          </p:cNvCxnSpPr>
          <p:nvPr/>
        </p:nvCxnSpPr>
        <p:spPr>
          <a:xfrm flipH="1">
            <a:off x="0" y="344415"/>
            <a:ext cx="12184456" cy="730"/>
          </a:xfrm>
          <a:prstGeom prst="straightConnector1">
            <a:avLst/>
          </a:prstGeom>
          <a:ln w="41275">
            <a:solidFill>
              <a:schemeClr val="accent6"/>
            </a:solidFill>
            <a:prstDash val="sys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TextBox 5">
            <a:extLst>
              <a:ext uri="{FF2B5EF4-FFF2-40B4-BE49-F238E27FC236}">
                <a16:creationId xmlns:a16="http://schemas.microsoft.com/office/drawing/2014/main" id="{99F145D3-E924-445E-BA16-0BA33FB668E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293079" y="838726"/>
            <a:ext cx="1320938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Aft>
                <a:spcPts val="600"/>
              </a:spcAft>
              <a:tabLst>
                <a:tab pos="134938" algn="l"/>
              </a:tabLst>
            </a:pPr>
            <a:r>
              <a:rPr lang="en-GB" sz="1200" b="1" noProof="1">
                <a:solidFill>
                  <a:schemeClr val="tx1"/>
                </a:solidFill>
                <a:latin typeface="+mn-lt"/>
              </a:rPr>
              <a:t>Workspace</a:t>
            </a:r>
          </a:p>
        </p:txBody>
      </p: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C92716A2-2267-4119-83DC-00A79C099A3C}"/>
              </a:ext>
            </a:extLst>
          </p:cNvPr>
          <p:cNvCxnSpPr/>
          <p:nvPr/>
        </p:nvCxnSpPr>
        <p:spPr>
          <a:xfrm>
            <a:off x="10941197" y="398366"/>
            <a:ext cx="0" cy="373787"/>
          </a:xfrm>
          <a:prstGeom prst="line">
            <a:avLst/>
          </a:prstGeom>
          <a:ln w="41275">
            <a:solidFill>
              <a:schemeClr val="accent6"/>
            </a:solidFill>
            <a:prstDash val="sys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Rectangle 55">
            <a:extLst>
              <a:ext uri="{FF2B5EF4-FFF2-40B4-BE49-F238E27FC236}">
                <a16:creationId xmlns:a16="http://schemas.microsoft.com/office/drawing/2014/main" id="{925CD37F-1D4A-40F9-9882-2FF63C2D6332}"/>
              </a:ext>
            </a:extLst>
          </p:cNvPr>
          <p:cNvSpPr/>
          <p:nvPr/>
        </p:nvSpPr>
        <p:spPr>
          <a:xfrm>
            <a:off x="358775" y="1976400"/>
            <a:ext cx="4688379" cy="184666"/>
          </a:xfrm>
          <a:prstGeom prst="rect">
            <a:avLst/>
          </a:prstGeom>
        </p:spPr>
        <p:txBody>
          <a:bodyPr wrap="square" tIns="0" bIns="0">
            <a:spAutoFit/>
          </a:bodyPr>
          <a:lstStyle/>
          <a:p>
            <a:pPr algn="l" eaLnBrk="1" hangingPunct="1">
              <a:spcBef>
                <a:spcPts val="1200"/>
              </a:spcBef>
              <a:spcAft>
                <a:spcPts val="600"/>
              </a:spcAft>
              <a:tabLst>
                <a:tab pos="134938" algn="l"/>
              </a:tabLst>
            </a:pPr>
            <a:r>
              <a:rPr lang="en-GB" sz="1200" b="1" noProof="1">
                <a:solidFill>
                  <a:schemeClr val="tx1"/>
                </a:solidFill>
                <a:latin typeface="+mn-lt"/>
              </a:rPr>
              <a:t>Choose the color design of your presentation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4B6B4491-6F69-4DAA-BDA4-5F3FA86BD7EE}"/>
              </a:ext>
            </a:extLst>
          </p:cNvPr>
          <p:cNvSpPr/>
          <p:nvPr/>
        </p:nvSpPr>
        <p:spPr>
          <a:xfrm>
            <a:off x="358775" y="4194155"/>
            <a:ext cx="2744849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eaLnBrk="1" hangingPunct="1">
              <a:spcAft>
                <a:spcPts val="600"/>
              </a:spcAft>
              <a:tabLst>
                <a:tab pos="134938" algn="l"/>
              </a:tabLst>
            </a:pPr>
            <a:r>
              <a:rPr lang="en-GB" sz="1200" b="1" noProof="1">
                <a:solidFill>
                  <a:schemeClr val="tx1"/>
                </a:solidFill>
                <a:latin typeface="+mn-lt"/>
              </a:rPr>
              <a:t>Add new slides</a:t>
            </a:r>
          </a:p>
        </p:txBody>
      </p:sp>
      <p:sp>
        <p:nvSpPr>
          <p:cNvPr id="58" name="Footer Placeholder 4">
            <a:extLst>
              <a:ext uri="{FF2B5EF4-FFF2-40B4-BE49-F238E27FC236}">
                <a16:creationId xmlns:a16="http://schemas.microsoft.com/office/drawing/2014/main" id="{E897D971-6F3B-45C3-94F1-674875A0CDA9}"/>
              </a:ext>
            </a:extLst>
          </p:cNvPr>
          <p:cNvSpPr txBox="1">
            <a:spLocks/>
          </p:cNvSpPr>
          <p:nvPr/>
        </p:nvSpPr>
        <p:spPr>
          <a:xfrm>
            <a:off x="10762637" y="6339507"/>
            <a:ext cx="1069963" cy="341053"/>
          </a:xfrm>
          <a:prstGeom prst="rect">
            <a:avLst/>
          </a:prstGeom>
          <a:blipFill dpi="0" rotWithShape="1"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/>
            <a:stretch>
              <a:fillRect/>
            </a:stretch>
          </a:blipFill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  <p:pic>
        <p:nvPicPr>
          <p:cNvPr id="59" name="Picture 58">
            <a:extLst>
              <a:ext uri="{FF2B5EF4-FFF2-40B4-BE49-F238E27FC236}">
                <a16:creationId xmlns:a16="http://schemas.microsoft.com/office/drawing/2014/main" id="{AC04294E-DFEF-4992-9251-141AB1512E1F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4731"/>
          <a:stretch/>
        </p:blipFill>
        <p:spPr>
          <a:xfrm>
            <a:off x="472801" y="5060872"/>
            <a:ext cx="2908448" cy="1040073"/>
          </a:xfrm>
          <a:prstGeom prst="rect">
            <a:avLst/>
          </a:prstGeom>
        </p:spPr>
      </p:pic>
      <p:sp>
        <p:nvSpPr>
          <p:cNvPr id="65" name="Oval 64">
            <a:extLst>
              <a:ext uri="{FF2B5EF4-FFF2-40B4-BE49-F238E27FC236}">
                <a16:creationId xmlns:a16="http://schemas.microsoft.com/office/drawing/2014/main" id="{A393DF48-6267-45C2-BECC-394F29EAE5E7}"/>
              </a:ext>
            </a:extLst>
          </p:cNvPr>
          <p:cNvSpPr/>
          <p:nvPr/>
        </p:nvSpPr>
        <p:spPr>
          <a:xfrm>
            <a:off x="412859" y="4916331"/>
            <a:ext cx="647460" cy="502543"/>
          </a:xfrm>
          <a:prstGeom prst="ellipse">
            <a:avLst/>
          </a:prstGeom>
          <a:noFill/>
          <a:ln w="2857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pic>
        <p:nvPicPr>
          <p:cNvPr id="66" name="Graphic 65" descr="Cursor">
            <a:extLst>
              <a:ext uri="{FF2B5EF4-FFF2-40B4-BE49-F238E27FC236}">
                <a16:creationId xmlns:a16="http://schemas.microsoft.com/office/drawing/2014/main" id="{60F7A790-6BA9-4D6F-A077-E99432C12F2E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520277" y="5742952"/>
            <a:ext cx="639649" cy="63964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9" name="Graphic 68" descr="Line arrow Counter clockwise curve">
            <a:extLst>
              <a:ext uri="{FF2B5EF4-FFF2-40B4-BE49-F238E27FC236}">
                <a16:creationId xmlns:a16="http://schemas.microsoft.com/office/drawing/2014/main" id="{DDC66FB6-65B0-4F80-92E5-E329FD174075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 rot="3844849">
            <a:off x="8970002" y="1399515"/>
            <a:ext cx="914400" cy="914400"/>
          </a:xfrm>
          <a:prstGeom prst="rect">
            <a:avLst/>
          </a:prstGeom>
        </p:spPr>
      </p:pic>
      <p:sp>
        <p:nvSpPr>
          <p:cNvPr id="70" name="Text Box 2">
            <a:extLst>
              <a:ext uri="{FF2B5EF4-FFF2-40B4-BE49-F238E27FC236}">
                <a16:creationId xmlns:a16="http://schemas.microsoft.com/office/drawing/2014/main" id="{7B4C950B-095A-4887-BD20-8478BD968C7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38408" y="1976400"/>
            <a:ext cx="3186224" cy="35855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Tx/>
              <a:buNone/>
              <a:tabLst>
                <a:tab pos="134938" algn="l"/>
              </a:tabLst>
              <a:defRPr/>
            </a:pPr>
            <a:r>
              <a:rPr lang="en-US" sz="1200" b="1" kern="1200" noProof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Workspac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1000" b="0" kern="1200" noProof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Use the full workspace in your slides. The spaces is defined on this slide by the dashed line.</a:t>
            </a:r>
            <a:endParaRPr lang="en-US" sz="1000" b="0" kern="1200" noProof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US" sz="1000" b="0" kern="1200" noProof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To view guide lines:</a:t>
            </a:r>
          </a:p>
          <a:p>
            <a:pPr marL="228600" indent="-228600" eaLnBrk="1" hangingPunct="1">
              <a:spcAft>
                <a:spcPts val="600"/>
              </a:spcAft>
              <a:buFont typeface="+mj-lt"/>
              <a:buAutoNum type="arabicPeriod"/>
              <a:defRPr/>
            </a:pPr>
            <a:r>
              <a:rPr lang="en-US" sz="1000" b="0" kern="1200" noProof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Click the </a:t>
            </a:r>
            <a:r>
              <a:rPr lang="en-US" sz="1000" b="1" kern="1200" noProof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View</a:t>
            </a:r>
            <a:r>
              <a:rPr lang="en-US" sz="1000" b="0" kern="1200" noProof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 tab, set tick mark next to Guides.</a:t>
            </a:r>
          </a:p>
          <a:p>
            <a:pPr marL="228600" indent="-228600" eaLnBrk="1" hangingPunct="1">
              <a:spcAft>
                <a:spcPts val="600"/>
              </a:spcAft>
              <a:buFont typeface="+mj-lt"/>
              <a:buAutoNum type="arabicPeriod"/>
              <a:defRPr/>
            </a:pPr>
            <a:endParaRPr lang="en-US" sz="1000" b="0" kern="1200" noProof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  <a:p>
            <a:pPr marL="228600" indent="-228600" eaLnBrk="1" hangingPunct="1">
              <a:spcAft>
                <a:spcPts val="600"/>
              </a:spcAft>
              <a:buFont typeface="+mj-lt"/>
              <a:buAutoNum type="arabicPeriod"/>
              <a:defRPr/>
            </a:pPr>
            <a:endParaRPr lang="en-US" sz="1000" b="0" kern="1200" noProof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  <a:p>
            <a:pPr marL="228600" indent="-228600" eaLnBrk="1" hangingPunct="1">
              <a:spcAft>
                <a:spcPts val="600"/>
              </a:spcAft>
              <a:buFont typeface="+mj-lt"/>
              <a:buAutoNum type="arabicPeriod"/>
              <a:defRPr/>
            </a:pPr>
            <a:endParaRPr lang="en-US" sz="1000" b="0" kern="1200" noProof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  <a:p>
            <a:pPr marL="228600" indent="-228600" eaLnBrk="1" hangingPunct="1">
              <a:spcAft>
                <a:spcPts val="600"/>
              </a:spcAft>
              <a:buFont typeface="+mj-lt"/>
              <a:buAutoNum type="arabicPeriod"/>
              <a:defRPr/>
            </a:pPr>
            <a:endParaRPr lang="en-US" sz="1000" b="0" kern="1200" noProof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  <a:p>
            <a:pPr marL="228600" indent="-228600" eaLnBrk="1" hangingPunct="1">
              <a:spcAft>
                <a:spcPts val="600"/>
              </a:spcAft>
              <a:buFont typeface="+mj-lt"/>
              <a:buAutoNum type="arabicPeriod"/>
              <a:defRPr/>
            </a:pPr>
            <a:endParaRPr lang="en-US" sz="1000" b="0" kern="1200" noProof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  <a:p>
            <a:pPr marL="0" indent="0" eaLnBrk="1" hangingPunct="1">
              <a:spcAft>
                <a:spcPts val="600"/>
              </a:spcAft>
              <a:buFont typeface="+mj-lt"/>
              <a:buNone/>
              <a:defRPr/>
            </a:pPr>
            <a:r>
              <a:rPr lang="en-US" sz="1000" b="0" kern="1200" noProof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Hint: Alt + F9 for quick viewing of guides</a:t>
            </a:r>
          </a:p>
          <a:p>
            <a:pPr marL="0" indent="0" eaLnBrk="1" hangingPunct="1">
              <a:spcAft>
                <a:spcPts val="600"/>
              </a:spcAft>
              <a:buFont typeface="+mj-lt"/>
              <a:buNone/>
              <a:defRPr/>
            </a:pPr>
            <a:endParaRPr lang="en-US" sz="1000" b="0" kern="1200" noProof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  <a:p>
            <a:pPr marL="0" indent="0" eaLnBrk="1" hangingPunct="1">
              <a:spcAft>
                <a:spcPts val="600"/>
              </a:spcAft>
              <a:buFont typeface="+mj-lt"/>
              <a:buNone/>
              <a:defRPr/>
            </a:pPr>
            <a:r>
              <a:rPr lang="en-US" sz="1200" b="1" kern="1200" noProof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Please delete</a:t>
            </a:r>
          </a:p>
          <a:p>
            <a:pPr marL="0" indent="0" eaLnBrk="1" hangingPunct="1">
              <a:spcAft>
                <a:spcPts val="600"/>
              </a:spcAft>
              <a:buFont typeface="+mj-lt"/>
              <a:buNone/>
              <a:defRPr/>
            </a:pPr>
            <a:r>
              <a:rPr lang="en-US" sz="1000" b="0" kern="1200" noProof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Delete unused slides, and this slide as well.</a:t>
            </a:r>
          </a:p>
          <a:p>
            <a:pPr marL="0" indent="0" eaLnBrk="1" hangingPunct="1">
              <a:spcAft>
                <a:spcPts val="600"/>
              </a:spcAft>
              <a:buFont typeface="+mj-lt"/>
              <a:buNone/>
              <a:defRPr/>
            </a:pPr>
            <a:r>
              <a:rPr lang="en-US" sz="1000" b="0" kern="1200" noProof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Have fun!</a:t>
            </a:r>
          </a:p>
          <a:p>
            <a:pPr eaLnBrk="1" hangingPunct="1">
              <a:spcAft>
                <a:spcPts val="600"/>
              </a:spcAft>
              <a:defRPr/>
            </a:pPr>
            <a:endParaRPr lang="en-US" sz="90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2" name="Picture 71">
            <a:extLst>
              <a:ext uri="{FF2B5EF4-FFF2-40B4-BE49-F238E27FC236}">
                <a16:creationId xmlns:a16="http://schemas.microsoft.com/office/drawing/2014/main" id="{4AA14CB3-145F-4ECB-AD82-6342A0310297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t="3479" b="5727"/>
          <a:stretch/>
        </p:blipFill>
        <p:spPr>
          <a:xfrm>
            <a:off x="8138410" y="3069764"/>
            <a:ext cx="3186222" cy="943339"/>
          </a:xfrm>
          <a:prstGeom prst="rect">
            <a:avLst/>
          </a:prstGeom>
        </p:spPr>
      </p:pic>
      <p:sp>
        <p:nvSpPr>
          <p:cNvPr id="73" name="Oval 72">
            <a:extLst>
              <a:ext uri="{FF2B5EF4-FFF2-40B4-BE49-F238E27FC236}">
                <a16:creationId xmlns:a16="http://schemas.microsoft.com/office/drawing/2014/main" id="{7ACAE650-2B78-4BEC-911A-302D0DF706E8}"/>
              </a:ext>
            </a:extLst>
          </p:cNvPr>
          <p:cNvSpPr/>
          <p:nvPr/>
        </p:nvSpPr>
        <p:spPr>
          <a:xfrm>
            <a:off x="10759163" y="3010573"/>
            <a:ext cx="708143" cy="549644"/>
          </a:xfrm>
          <a:prstGeom prst="ellipse">
            <a:avLst/>
          </a:prstGeom>
          <a:noFill/>
          <a:ln w="2857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pic>
        <p:nvPicPr>
          <p:cNvPr id="74" name="Graphic 73" descr="Cursor">
            <a:extLst>
              <a:ext uri="{FF2B5EF4-FFF2-40B4-BE49-F238E27FC236}">
                <a16:creationId xmlns:a16="http://schemas.microsoft.com/office/drawing/2014/main" id="{1C7B5C86-1E51-404F-A90F-0AC629BF07C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286986" y="3693278"/>
            <a:ext cx="639649" cy="63964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5" name="Graphic 74" descr="Line arrow Counter clockwise curve">
            <a:extLst>
              <a:ext uri="{FF2B5EF4-FFF2-40B4-BE49-F238E27FC236}">
                <a16:creationId xmlns:a16="http://schemas.microsoft.com/office/drawing/2014/main" id="{44088E6E-C177-470F-B38B-0503313A9B49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 rot="9434076">
            <a:off x="4085649" y="3249778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8270354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3200" cy="6861600"/>
          </a:xfrm>
        </p:spPr>
        <p:txBody>
          <a:bodyPr lIns="0" tIns="900000" anchor="ctr" anchorCtr="0"/>
          <a:lstStyle>
            <a:lvl1pPr marL="0" indent="0" algn="ctr">
              <a:buNone/>
              <a:defRPr sz="1600" baseline="0"/>
            </a:lvl1pPr>
          </a:lstStyle>
          <a:p>
            <a:r>
              <a:rPr lang="en-US" dirty="0"/>
              <a:t>Enter picture or leave as background color</a:t>
            </a:r>
          </a:p>
        </p:txBody>
      </p:sp>
      <p:sp>
        <p:nvSpPr>
          <p:cNvPr id="11" name="Logo on top"/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10526185" y="6270269"/>
            <a:ext cx="1040400" cy="327600"/>
          </a:xfrm>
          <a:custGeom>
            <a:avLst/>
            <a:gdLst>
              <a:gd name="connsiteX0" fmla="*/ 968375 w 3876676"/>
              <a:gd name="connsiteY0" fmla="*/ 557213 h 1212806"/>
              <a:gd name="connsiteX1" fmla="*/ 1176338 w 3876676"/>
              <a:gd name="connsiteY1" fmla="*/ 557213 h 1212806"/>
              <a:gd name="connsiteX2" fmla="*/ 1176338 w 3876676"/>
              <a:gd name="connsiteY2" fmla="*/ 1193801 h 1212806"/>
              <a:gd name="connsiteX3" fmla="*/ 968375 w 3876676"/>
              <a:gd name="connsiteY3" fmla="*/ 1193801 h 1212806"/>
              <a:gd name="connsiteX4" fmla="*/ 0 w 3876676"/>
              <a:gd name="connsiteY4" fmla="*/ 557213 h 1212806"/>
              <a:gd name="connsiteX5" fmla="*/ 239712 w 3876676"/>
              <a:gd name="connsiteY5" fmla="*/ 557213 h 1212806"/>
              <a:gd name="connsiteX6" fmla="*/ 561975 w 3876676"/>
              <a:gd name="connsiteY6" fmla="*/ 893763 h 1212806"/>
              <a:gd name="connsiteX7" fmla="*/ 581025 w 3876676"/>
              <a:gd name="connsiteY7" fmla="*/ 560388 h 1212806"/>
              <a:gd name="connsiteX8" fmla="*/ 782638 w 3876676"/>
              <a:gd name="connsiteY8" fmla="*/ 560388 h 1212806"/>
              <a:gd name="connsiteX9" fmla="*/ 782638 w 3876676"/>
              <a:gd name="connsiteY9" fmla="*/ 1193801 h 1212806"/>
              <a:gd name="connsiteX10" fmla="*/ 590550 w 3876676"/>
              <a:gd name="connsiteY10" fmla="*/ 1193801 h 1212806"/>
              <a:gd name="connsiteX11" fmla="*/ 214312 w 3876676"/>
              <a:gd name="connsiteY11" fmla="*/ 811213 h 1212806"/>
              <a:gd name="connsiteX12" fmla="*/ 192087 w 3876676"/>
              <a:gd name="connsiteY12" fmla="*/ 1193801 h 1212806"/>
              <a:gd name="connsiteX13" fmla="*/ 0 w 3876676"/>
              <a:gd name="connsiteY13" fmla="*/ 1193801 h 1212806"/>
              <a:gd name="connsiteX14" fmla="*/ 1748787 w 3876676"/>
              <a:gd name="connsiteY14" fmla="*/ 547727 h 1212806"/>
              <a:gd name="connsiteX15" fmla="*/ 2081150 w 3876676"/>
              <a:gd name="connsiteY15" fmla="*/ 743800 h 1212806"/>
              <a:gd name="connsiteX16" fmla="*/ 1918165 w 3876676"/>
              <a:gd name="connsiteY16" fmla="*/ 962372 h 1212806"/>
              <a:gd name="connsiteX17" fmla="*/ 2081150 w 3876676"/>
              <a:gd name="connsiteY17" fmla="*/ 1193801 h 1212806"/>
              <a:gd name="connsiteX18" fmla="*/ 1860640 w 3876676"/>
              <a:gd name="connsiteY18" fmla="*/ 1193801 h 1212806"/>
              <a:gd name="connsiteX19" fmla="*/ 1656109 w 3876676"/>
              <a:gd name="connsiteY19" fmla="*/ 972015 h 1212806"/>
              <a:gd name="connsiteX20" fmla="*/ 1656109 w 3876676"/>
              <a:gd name="connsiteY20" fmla="*/ 872371 h 1212806"/>
              <a:gd name="connsiteX21" fmla="*/ 1854249 w 3876676"/>
              <a:gd name="connsiteY21" fmla="*/ 756657 h 1212806"/>
              <a:gd name="connsiteX22" fmla="*/ 1710438 w 3876676"/>
              <a:gd name="connsiteY22" fmla="*/ 676299 h 1212806"/>
              <a:gd name="connsiteX23" fmla="*/ 1582606 w 3876676"/>
              <a:gd name="connsiteY23" fmla="*/ 682728 h 1212806"/>
              <a:gd name="connsiteX24" fmla="*/ 1550648 w 3876676"/>
              <a:gd name="connsiteY24" fmla="*/ 1193801 h 1212806"/>
              <a:gd name="connsiteX25" fmla="*/ 1358900 w 3876676"/>
              <a:gd name="connsiteY25" fmla="*/ 1193801 h 1212806"/>
              <a:gd name="connsiteX26" fmla="*/ 1358900 w 3876676"/>
              <a:gd name="connsiteY26" fmla="*/ 557370 h 1212806"/>
              <a:gd name="connsiteX27" fmla="*/ 1748787 w 3876676"/>
              <a:gd name="connsiteY27" fmla="*/ 547727 h 1212806"/>
              <a:gd name="connsiteX28" fmla="*/ 3505842 w 3876676"/>
              <a:gd name="connsiteY28" fmla="*/ 533444 h 1212806"/>
              <a:gd name="connsiteX29" fmla="*/ 3831920 w 3876676"/>
              <a:gd name="connsiteY29" fmla="*/ 549540 h 1212806"/>
              <a:gd name="connsiteX30" fmla="*/ 3831920 w 3876676"/>
              <a:gd name="connsiteY30" fmla="*/ 697618 h 1212806"/>
              <a:gd name="connsiteX31" fmla="*/ 3579369 w 3876676"/>
              <a:gd name="connsiteY31" fmla="*/ 675085 h 1212806"/>
              <a:gd name="connsiteX32" fmla="*/ 3419527 w 3876676"/>
              <a:gd name="connsiteY32" fmla="*/ 729809 h 1212806"/>
              <a:gd name="connsiteX33" fmla="*/ 3521826 w 3876676"/>
              <a:gd name="connsiteY33" fmla="*/ 778096 h 1212806"/>
              <a:gd name="connsiteX34" fmla="*/ 3876676 w 3876676"/>
              <a:gd name="connsiteY34" fmla="*/ 996994 h 1212806"/>
              <a:gd name="connsiteX35" fmla="*/ 3505842 w 3876676"/>
              <a:gd name="connsiteY35" fmla="*/ 1212674 h 1212806"/>
              <a:gd name="connsiteX36" fmla="*/ 3208535 w 3876676"/>
              <a:gd name="connsiteY36" fmla="*/ 1193359 h 1212806"/>
              <a:gd name="connsiteX37" fmla="*/ 3208535 w 3876676"/>
              <a:gd name="connsiteY37" fmla="*/ 1032404 h 1212806"/>
              <a:gd name="connsiteX38" fmla="*/ 3451495 w 3876676"/>
              <a:gd name="connsiteY38" fmla="*/ 1064595 h 1212806"/>
              <a:gd name="connsiteX39" fmla="*/ 3649700 w 3876676"/>
              <a:gd name="connsiteY39" fmla="*/ 1006652 h 1212806"/>
              <a:gd name="connsiteX40" fmla="*/ 3560188 w 3876676"/>
              <a:gd name="connsiteY40" fmla="*/ 964803 h 1212806"/>
              <a:gd name="connsiteX41" fmla="*/ 3179763 w 3876676"/>
              <a:gd name="connsiteY41" fmla="*/ 749124 h 1212806"/>
              <a:gd name="connsiteX42" fmla="*/ 3505842 w 3876676"/>
              <a:gd name="connsiteY42" fmla="*/ 533444 h 1212806"/>
              <a:gd name="connsiteX43" fmla="*/ 2179638 w 3876676"/>
              <a:gd name="connsiteY43" fmla="*/ 476250 h 1212806"/>
              <a:gd name="connsiteX44" fmla="*/ 2182834 w 3876676"/>
              <a:gd name="connsiteY44" fmla="*/ 476250 h 1212806"/>
              <a:gd name="connsiteX45" fmla="*/ 2368233 w 3876676"/>
              <a:gd name="connsiteY45" fmla="*/ 810892 h 1212806"/>
              <a:gd name="connsiteX46" fmla="*/ 2499290 w 3876676"/>
              <a:gd name="connsiteY46" fmla="*/ 556693 h 1212806"/>
              <a:gd name="connsiteX47" fmla="*/ 2812550 w 3876676"/>
              <a:gd name="connsiteY47" fmla="*/ 556693 h 1212806"/>
              <a:gd name="connsiteX48" fmla="*/ 2962787 w 3876676"/>
              <a:gd name="connsiteY48" fmla="*/ 855940 h 1212806"/>
              <a:gd name="connsiteX49" fmla="*/ 3122613 w 3876676"/>
              <a:gd name="connsiteY49" fmla="*/ 1193800 h 1212806"/>
              <a:gd name="connsiteX50" fmla="*/ 2918035 w 3876676"/>
              <a:gd name="connsiteY50" fmla="*/ 1193800 h 1212806"/>
              <a:gd name="connsiteX51" fmla="*/ 2652724 w 3876676"/>
              <a:gd name="connsiteY51" fmla="*/ 720796 h 1212806"/>
              <a:gd name="connsiteX52" fmla="*/ 2550435 w 3876676"/>
              <a:gd name="connsiteY52" fmla="*/ 907424 h 1212806"/>
              <a:gd name="connsiteX53" fmla="*/ 2662313 w 3876676"/>
              <a:gd name="connsiteY53" fmla="*/ 926730 h 1212806"/>
              <a:gd name="connsiteX54" fmla="*/ 2662313 w 3876676"/>
              <a:gd name="connsiteY54" fmla="*/ 1103704 h 1212806"/>
              <a:gd name="connsiteX55" fmla="*/ 2460932 w 3876676"/>
              <a:gd name="connsiteY55" fmla="*/ 1068309 h 1212806"/>
              <a:gd name="connsiteX56" fmla="*/ 2393805 w 3876676"/>
              <a:gd name="connsiteY56" fmla="*/ 1193800 h 1212806"/>
              <a:gd name="connsiteX57" fmla="*/ 2189227 w 3876676"/>
              <a:gd name="connsiteY57" fmla="*/ 1193800 h 1212806"/>
              <a:gd name="connsiteX58" fmla="*/ 2294713 w 3876676"/>
              <a:gd name="connsiteY58" fmla="*/ 965343 h 1212806"/>
              <a:gd name="connsiteX59" fmla="*/ 2179638 w 3876676"/>
              <a:gd name="connsiteY59" fmla="*/ 749756 h 1212806"/>
              <a:gd name="connsiteX60" fmla="*/ 2179638 w 3876676"/>
              <a:gd name="connsiteY60" fmla="*/ 476250 h 1212806"/>
              <a:gd name="connsiteX61" fmla="*/ 2665413 w 3876676"/>
              <a:gd name="connsiteY61" fmla="*/ 0 h 1212806"/>
              <a:gd name="connsiteX62" fmla="*/ 2665413 w 3876676"/>
              <a:gd name="connsiteY62" fmla="*/ 199390 h 1212806"/>
              <a:gd name="connsiteX63" fmla="*/ 2313126 w 3876676"/>
              <a:gd name="connsiteY63" fmla="*/ 498475 h 1212806"/>
              <a:gd name="connsiteX64" fmla="*/ 2300315 w 3876676"/>
              <a:gd name="connsiteY64" fmla="*/ 395564 h 1212806"/>
              <a:gd name="connsiteX65" fmla="*/ 2665413 w 3876676"/>
              <a:gd name="connsiteY65" fmla="*/ 0 h 12128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</a:cxnLst>
            <a:rect l="l" t="t" r="r" b="b"/>
            <a:pathLst>
              <a:path w="3876676" h="1212806">
                <a:moveTo>
                  <a:pt x="968375" y="557213"/>
                </a:moveTo>
                <a:lnTo>
                  <a:pt x="1176338" y="557213"/>
                </a:lnTo>
                <a:lnTo>
                  <a:pt x="1176338" y="1193801"/>
                </a:lnTo>
                <a:lnTo>
                  <a:pt x="968375" y="1193801"/>
                </a:lnTo>
                <a:close/>
                <a:moveTo>
                  <a:pt x="0" y="557213"/>
                </a:moveTo>
                <a:lnTo>
                  <a:pt x="239712" y="557213"/>
                </a:lnTo>
                <a:lnTo>
                  <a:pt x="561975" y="893763"/>
                </a:lnTo>
                <a:lnTo>
                  <a:pt x="581025" y="560388"/>
                </a:lnTo>
                <a:lnTo>
                  <a:pt x="782638" y="560388"/>
                </a:lnTo>
                <a:lnTo>
                  <a:pt x="782638" y="1193801"/>
                </a:lnTo>
                <a:lnTo>
                  <a:pt x="590550" y="1193801"/>
                </a:lnTo>
                <a:lnTo>
                  <a:pt x="214312" y="811213"/>
                </a:lnTo>
                <a:lnTo>
                  <a:pt x="192087" y="1193801"/>
                </a:lnTo>
                <a:lnTo>
                  <a:pt x="0" y="1193801"/>
                </a:lnTo>
                <a:close/>
                <a:moveTo>
                  <a:pt x="1748787" y="547727"/>
                </a:moveTo>
                <a:cubicBezTo>
                  <a:pt x="1892598" y="547727"/>
                  <a:pt x="2068367" y="583085"/>
                  <a:pt x="2081150" y="743800"/>
                </a:cubicBezTo>
                <a:cubicBezTo>
                  <a:pt x="2090738" y="917372"/>
                  <a:pt x="1918165" y="962372"/>
                  <a:pt x="1918165" y="962372"/>
                </a:cubicBezTo>
                <a:cubicBezTo>
                  <a:pt x="1918165" y="962372"/>
                  <a:pt x="1918165" y="962372"/>
                  <a:pt x="2081150" y="1193801"/>
                </a:cubicBezTo>
                <a:cubicBezTo>
                  <a:pt x="2081150" y="1193801"/>
                  <a:pt x="2081150" y="1193801"/>
                  <a:pt x="1860640" y="1193801"/>
                </a:cubicBezTo>
                <a:cubicBezTo>
                  <a:pt x="1860640" y="1193801"/>
                  <a:pt x="1860640" y="1193801"/>
                  <a:pt x="1656109" y="972015"/>
                </a:cubicBezTo>
                <a:cubicBezTo>
                  <a:pt x="1656109" y="972015"/>
                  <a:pt x="1656109" y="972015"/>
                  <a:pt x="1656109" y="872371"/>
                </a:cubicBezTo>
                <a:cubicBezTo>
                  <a:pt x="1838270" y="872371"/>
                  <a:pt x="1857444" y="811300"/>
                  <a:pt x="1854249" y="756657"/>
                </a:cubicBezTo>
                <a:cubicBezTo>
                  <a:pt x="1851053" y="705228"/>
                  <a:pt x="1790333" y="676299"/>
                  <a:pt x="1710438" y="676299"/>
                </a:cubicBezTo>
                <a:cubicBezTo>
                  <a:pt x="1659305" y="676299"/>
                  <a:pt x="1582606" y="682728"/>
                  <a:pt x="1582606" y="682728"/>
                </a:cubicBezTo>
                <a:cubicBezTo>
                  <a:pt x="1582606" y="682728"/>
                  <a:pt x="1582606" y="682728"/>
                  <a:pt x="1550648" y="1193801"/>
                </a:cubicBezTo>
                <a:cubicBezTo>
                  <a:pt x="1550648" y="1193801"/>
                  <a:pt x="1550648" y="1193801"/>
                  <a:pt x="1358900" y="1193801"/>
                </a:cubicBezTo>
                <a:cubicBezTo>
                  <a:pt x="1358900" y="1193801"/>
                  <a:pt x="1358900" y="1193801"/>
                  <a:pt x="1358900" y="557370"/>
                </a:cubicBezTo>
                <a:cubicBezTo>
                  <a:pt x="1358900" y="557370"/>
                  <a:pt x="1633738" y="544513"/>
                  <a:pt x="1748787" y="547727"/>
                </a:cubicBezTo>
                <a:close/>
                <a:moveTo>
                  <a:pt x="3505842" y="533444"/>
                </a:moveTo>
                <a:cubicBezTo>
                  <a:pt x="3668881" y="530225"/>
                  <a:pt x="3831920" y="549540"/>
                  <a:pt x="3831920" y="549540"/>
                </a:cubicBezTo>
                <a:cubicBezTo>
                  <a:pt x="3831920" y="549540"/>
                  <a:pt x="3831920" y="549540"/>
                  <a:pt x="3831920" y="697618"/>
                </a:cubicBezTo>
                <a:cubicBezTo>
                  <a:pt x="3831920" y="697618"/>
                  <a:pt x="3688062" y="675085"/>
                  <a:pt x="3579369" y="675085"/>
                </a:cubicBezTo>
                <a:cubicBezTo>
                  <a:pt x="3470676" y="675085"/>
                  <a:pt x="3416330" y="687961"/>
                  <a:pt x="3419527" y="729809"/>
                </a:cubicBezTo>
                <a:cubicBezTo>
                  <a:pt x="3419527" y="758781"/>
                  <a:pt x="3454692" y="774877"/>
                  <a:pt x="3521826" y="778096"/>
                </a:cubicBezTo>
                <a:cubicBezTo>
                  <a:pt x="3617731" y="784534"/>
                  <a:pt x="3876676" y="762000"/>
                  <a:pt x="3876676" y="996994"/>
                </a:cubicBezTo>
                <a:cubicBezTo>
                  <a:pt x="3876676" y="1225550"/>
                  <a:pt x="3566582" y="1212674"/>
                  <a:pt x="3505842" y="1212674"/>
                </a:cubicBezTo>
                <a:cubicBezTo>
                  <a:pt x="3377968" y="1212674"/>
                  <a:pt x="3208535" y="1193359"/>
                  <a:pt x="3208535" y="1193359"/>
                </a:cubicBezTo>
                <a:cubicBezTo>
                  <a:pt x="3208535" y="1193359"/>
                  <a:pt x="3208535" y="1193359"/>
                  <a:pt x="3208535" y="1032404"/>
                </a:cubicBezTo>
                <a:cubicBezTo>
                  <a:pt x="3208535" y="1032404"/>
                  <a:pt x="3326818" y="1064595"/>
                  <a:pt x="3451495" y="1064595"/>
                </a:cubicBezTo>
                <a:cubicBezTo>
                  <a:pt x="3576172" y="1064595"/>
                  <a:pt x="3656094" y="1054938"/>
                  <a:pt x="3649700" y="1006652"/>
                </a:cubicBezTo>
                <a:cubicBezTo>
                  <a:pt x="3646503" y="974461"/>
                  <a:pt x="3604944" y="964803"/>
                  <a:pt x="3560188" y="964803"/>
                </a:cubicBezTo>
                <a:cubicBezTo>
                  <a:pt x="3448299" y="964803"/>
                  <a:pt x="3182960" y="958365"/>
                  <a:pt x="3179763" y="749124"/>
                </a:cubicBezTo>
                <a:cubicBezTo>
                  <a:pt x="3179763" y="533444"/>
                  <a:pt x="3448299" y="536663"/>
                  <a:pt x="3505842" y="533444"/>
                </a:cubicBezTo>
                <a:close/>
                <a:moveTo>
                  <a:pt x="2179638" y="476250"/>
                </a:moveTo>
                <a:cubicBezTo>
                  <a:pt x="2179638" y="476250"/>
                  <a:pt x="2179638" y="476250"/>
                  <a:pt x="2182834" y="476250"/>
                </a:cubicBezTo>
                <a:cubicBezTo>
                  <a:pt x="2192424" y="547040"/>
                  <a:pt x="2230782" y="695055"/>
                  <a:pt x="2368233" y="810892"/>
                </a:cubicBezTo>
                <a:cubicBezTo>
                  <a:pt x="2467325" y="604959"/>
                  <a:pt x="2499290" y="556693"/>
                  <a:pt x="2499290" y="556693"/>
                </a:cubicBezTo>
                <a:cubicBezTo>
                  <a:pt x="2499290" y="556693"/>
                  <a:pt x="2499290" y="556693"/>
                  <a:pt x="2812550" y="556693"/>
                </a:cubicBezTo>
                <a:cubicBezTo>
                  <a:pt x="2812550" y="556693"/>
                  <a:pt x="2841319" y="604959"/>
                  <a:pt x="2962787" y="855940"/>
                </a:cubicBezTo>
                <a:cubicBezTo>
                  <a:pt x="3097041" y="1132664"/>
                  <a:pt x="3122613" y="1193800"/>
                  <a:pt x="3122613" y="1193800"/>
                </a:cubicBezTo>
                <a:cubicBezTo>
                  <a:pt x="3122613" y="1193800"/>
                  <a:pt x="3122613" y="1193800"/>
                  <a:pt x="2918035" y="1193800"/>
                </a:cubicBezTo>
                <a:cubicBezTo>
                  <a:pt x="2918035" y="1193800"/>
                  <a:pt x="2918035" y="1193800"/>
                  <a:pt x="2652724" y="720796"/>
                </a:cubicBezTo>
                <a:cubicBezTo>
                  <a:pt x="2652724" y="720796"/>
                  <a:pt x="2652724" y="720796"/>
                  <a:pt x="2550435" y="907424"/>
                </a:cubicBezTo>
                <a:cubicBezTo>
                  <a:pt x="2617562" y="929948"/>
                  <a:pt x="2662313" y="926730"/>
                  <a:pt x="2662313" y="926730"/>
                </a:cubicBezTo>
                <a:cubicBezTo>
                  <a:pt x="2662313" y="926730"/>
                  <a:pt x="2662313" y="926730"/>
                  <a:pt x="2662313" y="1103704"/>
                </a:cubicBezTo>
                <a:cubicBezTo>
                  <a:pt x="2662313" y="1103704"/>
                  <a:pt x="2563221" y="1106922"/>
                  <a:pt x="2460932" y="1068309"/>
                </a:cubicBezTo>
                <a:cubicBezTo>
                  <a:pt x="2460932" y="1068309"/>
                  <a:pt x="2460932" y="1068309"/>
                  <a:pt x="2393805" y="1193800"/>
                </a:cubicBezTo>
                <a:cubicBezTo>
                  <a:pt x="2393805" y="1193800"/>
                  <a:pt x="2393805" y="1193800"/>
                  <a:pt x="2189227" y="1193800"/>
                </a:cubicBezTo>
                <a:cubicBezTo>
                  <a:pt x="2189227" y="1193800"/>
                  <a:pt x="2205210" y="1155188"/>
                  <a:pt x="2294713" y="965343"/>
                </a:cubicBezTo>
                <a:cubicBezTo>
                  <a:pt x="2202013" y="865593"/>
                  <a:pt x="2179638" y="749756"/>
                  <a:pt x="2179638" y="749756"/>
                </a:cubicBezTo>
                <a:cubicBezTo>
                  <a:pt x="2179638" y="749756"/>
                  <a:pt x="2179638" y="749756"/>
                  <a:pt x="2179638" y="476250"/>
                </a:cubicBezTo>
                <a:close/>
                <a:moveTo>
                  <a:pt x="2665413" y="0"/>
                </a:moveTo>
                <a:cubicBezTo>
                  <a:pt x="2665413" y="0"/>
                  <a:pt x="2665413" y="0"/>
                  <a:pt x="2665413" y="199390"/>
                </a:cubicBezTo>
                <a:cubicBezTo>
                  <a:pt x="2476459" y="205822"/>
                  <a:pt x="2341949" y="356972"/>
                  <a:pt x="2313126" y="498475"/>
                </a:cubicBezTo>
                <a:cubicBezTo>
                  <a:pt x="2303518" y="466315"/>
                  <a:pt x="2300315" y="430940"/>
                  <a:pt x="2300315" y="395564"/>
                </a:cubicBezTo>
                <a:cubicBezTo>
                  <a:pt x="2297113" y="260493"/>
                  <a:pt x="2399596" y="32160"/>
                  <a:pt x="2665413" y="0"/>
                </a:cubicBezTo>
                <a:close/>
              </a:path>
            </a:pathLst>
          </a:custGeom>
          <a:solidFill>
            <a:srgbClr val="595959"/>
          </a:solidFill>
        </p:spPr>
        <p:txBody>
          <a:bodyPr lIns="0" tIns="0" rIns="0" bIns="0">
            <a:norm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US"/>
              <a:t>02-05-2017</a:t>
            </a:r>
            <a:endParaRPr lang="en-US" dirty="0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80985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Reference (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Logo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26185" y="6270269"/>
            <a:ext cx="1041149" cy="326626"/>
          </a:xfrm>
          <a:prstGeom prst="rect">
            <a:avLst/>
          </a:prstGeom>
        </p:spPr>
      </p:pic>
      <p:sp>
        <p:nvSpPr>
          <p:cNvPr id="7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7086600" cy="6858000"/>
          </a:xfrm>
          <a:solidFill>
            <a:schemeClr val="bg2"/>
          </a:solidFill>
        </p:spPr>
        <p:txBody>
          <a:bodyPr lIns="0" tIns="900000" anchor="ctr" anchorCtr="0"/>
          <a:lstStyle>
            <a:lvl1pPr marL="0" indent="0" algn="ctr">
              <a:buNone/>
              <a:defRPr sz="1600" baseline="0"/>
            </a:lvl1pPr>
          </a:lstStyle>
          <a:p>
            <a:r>
              <a:rPr lang="en-US" dirty="0"/>
              <a:t>Enter picture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883E6258-55B8-47FA-A361-24487583308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908250" y="617861"/>
            <a:ext cx="4732887" cy="2225927"/>
          </a:xfrm>
          <a:solidFill>
            <a:schemeClr val="bg2"/>
          </a:solidFill>
        </p:spPr>
        <p:txBody>
          <a:bodyPr wrap="square" lIns="158400" tIns="115200" rIns="158400" bIns="115200">
            <a:spAutoFit/>
          </a:bodyPr>
          <a:lstStyle>
            <a:lvl1pPr marL="0" indent="0">
              <a:spcBef>
                <a:spcPts val="900"/>
              </a:spcBef>
              <a:buFont typeface="Arial" panose="020B0604020202020204" pitchFamily="34" charset="0"/>
              <a:buChar char="​"/>
              <a:defRPr/>
            </a:lvl1pPr>
            <a:lvl2pPr marL="341313" indent="-341313">
              <a:spcBef>
                <a:spcPts val="900"/>
              </a:spcBef>
              <a:defRPr/>
            </a:lvl2pPr>
            <a:lvl3pPr>
              <a:spcBef>
                <a:spcPts val="900"/>
              </a:spcBef>
              <a:defRPr/>
            </a:lvl3pPr>
            <a:lvl4pPr>
              <a:spcBef>
                <a:spcPts val="900"/>
              </a:spcBef>
              <a:defRPr/>
            </a:lvl4pPr>
            <a:lvl5pPr>
              <a:spcBef>
                <a:spcPts val="900"/>
              </a:spcBef>
              <a:defRPr/>
            </a:lvl5pPr>
          </a:lstStyle>
          <a:p>
            <a:pPr lvl="0"/>
            <a:r>
              <a:rPr lang="en-US" dirty="0"/>
              <a:t>Format header in bold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02-05-2017</a:t>
            </a:r>
            <a:endParaRPr lang="en-US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noFill/>
            </a:endParaRPr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defRPr sz="100"/>
            </a:lvl1pPr>
          </a:lstStyle>
          <a:p>
            <a:fld id="{24C8C45C-947F-4981-8B3F-4F32E973C90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2962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Click="0" advTm="4000">
        <p:fade/>
      </p:transition>
    </mc:Choice>
    <mc:Fallback xmlns="">
      <p:transition spd="slow" advClick="0" advTm="4000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4/19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913504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4/19/2023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117687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4/19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392869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4/19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60373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slideLayout" Target="../slideLayouts/slideLayout35.xml"/><Relationship Id="rId18" Type="http://schemas.openxmlformats.org/officeDocument/2006/relationships/slideLayout" Target="../slideLayouts/slideLayout40.xml"/><Relationship Id="rId26" Type="http://schemas.openxmlformats.org/officeDocument/2006/relationships/slideLayout" Target="../slideLayouts/slideLayout48.xml"/><Relationship Id="rId3" Type="http://schemas.openxmlformats.org/officeDocument/2006/relationships/slideLayout" Target="../slideLayouts/slideLayout25.xml"/><Relationship Id="rId21" Type="http://schemas.openxmlformats.org/officeDocument/2006/relationships/slideLayout" Target="../slideLayouts/slideLayout43.xml"/><Relationship Id="rId34" Type="http://schemas.openxmlformats.org/officeDocument/2006/relationships/theme" Target="../theme/theme2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17" Type="http://schemas.openxmlformats.org/officeDocument/2006/relationships/slideLayout" Target="../slideLayouts/slideLayout39.xml"/><Relationship Id="rId25" Type="http://schemas.openxmlformats.org/officeDocument/2006/relationships/slideLayout" Target="../slideLayouts/slideLayout47.xml"/><Relationship Id="rId33" Type="http://schemas.openxmlformats.org/officeDocument/2006/relationships/slideLayout" Target="../slideLayouts/slideLayout55.xml"/><Relationship Id="rId2" Type="http://schemas.openxmlformats.org/officeDocument/2006/relationships/slideLayout" Target="../slideLayouts/slideLayout24.xml"/><Relationship Id="rId16" Type="http://schemas.openxmlformats.org/officeDocument/2006/relationships/slideLayout" Target="../slideLayouts/slideLayout38.xml"/><Relationship Id="rId20" Type="http://schemas.openxmlformats.org/officeDocument/2006/relationships/slideLayout" Target="../slideLayouts/slideLayout42.xml"/><Relationship Id="rId29" Type="http://schemas.openxmlformats.org/officeDocument/2006/relationships/slideLayout" Target="../slideLayouts/slideLayout51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24" Type="http://schemas.openxmlformats.org/officeDocument/2006/relationships/slideLayout" Target="../slideLayouts/slideLayout46.xml"/><Relationship Id="rId32" Type="http://schemas.openxmlformats.org/officeDocument/2006/relationships/slideLayout" Target="../slideLayouts/slideLayout54.xml"/><Relationship Id="rId5" Type="http://schemas.openxmlformats.org/officeDocument/2006/relationships/slideLayout" Target="../slideLayouts/slideLayout27.xml"/><Relationship Id="rId15" Type="http://schemas.openxmlformats.org/officeDocument/2006/relationships/slideLayout" Target="../slideLayouts/slideLayout37.xml"/><Relationship Id="rId23" Type="http://schemas.openxmlformats.org/officeDocument/2006/relationships/slideLayout" Target="../slideLayouts/slideLayout45.xml"/><Relationship Id="rId28" Type="http://schemas.openxmlformats.org/officeDocument/2006/relationships/slideLayout" Target="../slideLayouts/slideLayout50.xml"/><Relationship Id="rId10" Type="http://schemas.openxmlformats.org/officeDocument/2006/relationships/slideLayout" Target="../slideLayouts/slideLayout32.xml"/><Relationship Id="rId19" Type="http://schemas.openxmlformats.org/officeDocument/2006/relationships/slideLayout" Target="../slideLayouts/slideLayout41.xml"/><Relationship Id="rId31" Type="http://schemas.openxmlformats.org/officeDocument/2006/relationships/slideLayout" Target="../slideLayouts/slideLayout53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slideLayout" Target="../slideLayouts/slideLayout36.xml"/><Relationship Id="rId22" Type="http://schemas.openxmlformats.org/officeDocument/2006/relationships/slideLayout" Target="../slideLayouts/slideLayout44.xml"/><Relationship Id="rId27" Type="http://schemas.openxmlformats.org/officeDocument/2006/relationships/slideLayout" Target="../slideLayouts/slideLayout49.xml"/><Relationship Id="rId30" Type="http://schemas.openxmlformats.org/officeDocument/2006/relationships/slideLayout" Target="../slideLayouts/slideLayout5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dirty="0"/>
              <a:t>4/19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90430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25" r:id="rId1"/>
    <p:sldLayoutId id="2147484526" r:id="rId2"/>
    <p:sldLayoutId id="2147484527" r:id="rId3"/>
    <p:sldLayoutId id="2147484528" r:id="rId4"/>
    <p:sldLayoutId id="2147484529" r:id="rId5"/>
    <p:sldLayoutId id="2147484530" r:id="rId6"/>
    <p:sldLayoutId id="2147484531" r:id="rId7"/>
    <p:sldLayoutId id="2147484532" r:id="rId8"/>
    <p:sldLayoutId id="2147484533" r:id="rId9"/>
    <p:sldLayoutId id="2147484534" r:id="rId10"/>
    <p:sldLayoutId id="2147484535" r:id="rId11"/>
    <p:sldLayoutId id="2147484536" r:id="rId12"/>
    <p:sldLayoutId id="2147484537" r:id="rId13"/>
    <p:sldLayoutId id="2147484538" r:id="rId14"/>
    <p:sldLayoutId id="2147484539" r:id="rId15"/>
    <p:sldLayoutId id="2147484541" r:id="rId16"/>
    <p:sldLayoutId id="2147484542" r:id="rId17"/>
    <p:sldLayoutId id="2147484543" r:id="rId18"/>
    <p:sldLayoutId id="2147484544" r:id="rId19"/>
    <p:sldLayoutId id="2147484545" r:id="rId20"/>
    <p:sldLayoutId id="2147484546" r:id="rId21"/>
    <p:sldLayoutId id="2147484548" r:id="rId2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9C2A3EC6-870A-493B-88F3-272F24566F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400" y="360000"/>
            <a:ext cx="11473200" cy="619713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/>
          <a:p>
            <a:r>
              <a:rPr lang="en-US" dirty="0"/>
              <a:t>Click to edit headline</a:t>
            </a:r>
            <a:endParaRPr lang="da-DK" dirty="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A1FA59B7-C940-4163-9565-C30FF23A125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8B34B12-4528-4532-A8B2-B4BE1137B7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59400" y="1512000"/>
            <a:ext cx="11472238" cy="46475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836181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53" r:id="rId1"/>
    <p:sldLayoutId id="2147484554" r:id="rId2"/>
    <p:sldLayoutId id="2147484555" r:id="rId3"/>
    <p:sldLayoutId id="2147484556" r:id="rId4"/>
    <p:sldLayoutId id="2147484557" r:id="rId5"/>
    <p:sldLayoutId id="2147484558" r:id="rId6"/>
    <p:sldLayoutId id="2147484559" r:id="rId7"/>
    <p:sldLayoutId id="2147484560" r:id="rId8"/>
    <p:sldLayoutId id="2147484561" r:id="rId9"/>
    <p:sldLayoutId id="2147484562" r:id="rId10"/>
    <p:sldLayoutId id="2147484563" r:id="rId11"/>
    <p:sldLayoutId id="2147484564" r:id="rId12"/>
    <p:sldLayoutId id="2147484565" r:id="rId13"/>
    <p:sldLayoutId id="2147484566" r:id="rId14"/>
    <p:sldLayoutId id="2147484567" r:id="rId15"/>
    <p:sldLayoutId id="2147484568" r:id="rId16"/>
    <p:sldLayoutId id="2147484569" r:id="rId17"/>
    <p:sldLayoutId id="2147484570" r:id="rId18"/>
    <p:sldLayoutId id="2147484571" r:id="rId19"/>
    <p:sldLayoutId id="2147484572" r:id="rId20"/>
    <p:sldLayoutId id="2147484573" r:id="rId21"/>
    <p:sldLayoutId id="2147484574" r:id="rId22"/>
    <p:sldLayoutId id="2147484575" r:id="rId23"/>
    <p:sldLayoutId id="2147484576" r:id="rId24"/>
    <p:sldLayoutId id="2147484577" r:id="rId25"/>
    <p:sldLayoutId id="2147484578" r:id="rId26"/>
    <p:sldLayoutId id="2147484579" r:id="rId27"/>
    <p:sldLayoutId id="2147484580" r:id="rId28"/>
    <p:sldLayoutId id="2147484581" r:id="rId29"/>
    <p:sldLayoutId id="2147484582" r:id="rId30"/>
    <p:sldLayoutId id="2147484583" r:id="rId31"/>
    <p:sldLayoutId id="2147484586" r:id="rId32"/>
    <p:sldLayoutId id="2147484633" r:id="rId33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85750" indent="-28575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568800" indent="-2857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53200" indent="-2857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​"/>
        <a:defRPr sz="1600" kern="1200">
          <a:solidFill>
            <a:schemeClr val="tx1"/>
          </a:solidFill>
          <a:latin typeface="Segoe UI Black" panose="020B0A02040204020203" pitchFamily="34" charset="0"/>
          <a:ea typeface="Segoe UI Black" panose="020B0A02040204020203" pitchFamily="34" charset="0"/>
          <a:cs typeface="+mn-cs"/>
        </a:defRPr>
      </a:lvl4pPr>
      <a:lvl5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6" pos="226">
          <p15:clr>
            <a:srgbClr val="A4A3A4"/>
          </p15:clr>
        </p15:guide>
        <p15:guide id="7" pos="7453">
          <p15:clr>
            <a:srgbClr val="A4A3A4"/>
          </p15:clr>
        </p15:guide>
        <p15:guide id="8" orient="horz" pos="226">
          <p15:clr>
            <a:srgbClr val="A4A3A4"/>
          </p15:clr>
        </p15:guide>
        <p15:guide id="9" orient="horz" pos="3880">
          <p15:clr>
            <a:srgbClr val="A4A3A4"/>
          </p15:clr>
        </p15:guide>
        <p15:guide id="10" pos="276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jpeg"/><Relationship Id="rId13" Type="http://schemas.openxmlformats.org/officeDocument/2006/relationships/image" Target="../media/image31.jpeg"/><Relationship Id="rId18" Type="http://schemas.openxmlformats.org/officeDocument/2006/relationships/image" Target="../media/image36.jpg"/><Relationship Id="rId3" Type="http://schemas.openxmlformats.org/officeDocument/2006/relationships/image" Target="../media/image21.jpeg"/><Relationship Id="rId7" Type="http://schemas.openxmlformats.org/officeDocument/2006/relationships/image" Target="../media/image25.jpeg"/><Relationship Id="rId12" Type="http://schemas.openxmlformats.org/officeDocument/2006/relationships/image" Target="../media/image30.jpeg"/><Relationship Id="rId17" Type="http://schemas.openxmlformats.org/officeDocument/2006/relationships/image" Target="../media/image35.jp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34.jpe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4.jpeg"/><Relationship Id="rId11" Type="http://schemas.openxmlformats.org/officeDocument/2006/relationships/image" Target="../media/image29.jpeg"/><Relationship Id="rId5" Type="http://schemas.openxmlformats.org/officeDocument/2006/relationships/image" Target="../media/image23.jpeg"/><Relationship Id="rId15" Type="http://schemas.openxmlformats.org/officeDocument/2006/relationships/image" Target="../media/image33.jpg"/><Relationship Id="rId10" Type="http://schemas.openxmlformats.org/officeDocument/2006/relationships/image" Target="../media/image28.jpg"/><Relationship Id="rId4" Type="http://schemas.openxmlformats.org/officeDocument/2006/relationships/image" Target="../media/image22.jpeg"/><Relationship Id="rId9" Type="http://schemas.openxmlformats.org/officeDocument/2006/relationships/image" Target="../media/image27.jpeg"/><Relationship Id="rId14" Type="http://schemas.openxmlformats.org/officeDocument/2006/relationships/image" Target="../media/image32.jp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51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6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4.xml"/><Relationship Id="rId4" Type="http://schemas.openxmlformats.org/officeDocument/2006/relationships/image" Target="../media/image53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3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jpeg"/><Relationship Id="rId3" Type="http://schemas.openxmlformats.org/officeDocument/2006/relationships/image" Target="../media/image39.jpeg"/><Relationship Id="rId7" Type="http://schemas.openxmlformats.org/officeDocument/2006/relationships/image" Target="../media/image43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42.jpeg"/><Relationship Id="rId5" Type="http://schemas.openxmlformats.org/officeDocument/2006/relationships/image" Target="../media/image41.jpeg"/><Relationship Id="rId4" Type="http://schemas.openxmlformats.org/officeDocument/2006/relationships/image" Target="../media/image40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4.xml"/><Relationship Id="rId4" Type="http://schemas.openxmlformats.org/officeDocument/2006/relationships/image" Target="../media/image45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4.xml"/><Relationship Id="rId4" Type="http://schemas.openxmlformats.org/officeDocument/2006/relationships/image" Target="../media/image47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4.xml"/><Relationship Id="rId4" Type="http://schemas.openxmlformats.org/officeDocument/2006/relationships/image" Target="../media/image4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Picture Placeholder 5" descr="A picture containing grass, outdoor, sky, field&#10;&#10;Description automatically generated">
            <a:extLst>
              <a:ext uri="{FF2B5EF4-FFF2-40B4-BE49-F238E27FC236}">
                <a16:creationId xmlns:a16="http://schemas.microsoft.com/office/drawing/2014/main" id="{F77B525A-69C5-4F22-906C-B142FFFFC445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024" r="8024"/>
          <a:stretch/>
        </p:blipFill>
        <p:spPr>
          <a:prstGeom prst="rect">
            <a:avLst/>
          </a:prstGeom>
          <a:solidFill>
            <a:schemeClr val="tx2"/>
          </a:solidFill>
        </p:spPr>
      </p:pic>
      <p:pic>
        <p:nvPicPr>
          <p:cNvPr id="33" name="Picture Placeholder 7">
            <a:extLst>
              <a:ext uri="{FF2B5EF4-FFF2-40B4-BE49-F238E27FC236}">
                <a16:creationId xmlns:a16="http://schemas.microsoft.com/office/drawing/2014/main" id="{47969062-E53C-49A2-8BA1-0CF96EAEED5B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024" r="8024"/>
          <a:stretch/>
        </p:blipFill>
        <p:spPr>
          <a:xfrm>
            <a:off x="3044273" y="2128855"/>
            <a:ext cx="2899611" cy="1922826"/>
          </a:xfrm>
          <a:prstGeom prst="rect">
            <a:avLst/>
          </a:prstGeom>
          <a:solidFill>
            <a:schemeClr val="tx2"/>
          </a:solidFill>
        </p:spPr>
      </p:pic>
      <p:pic>
        <p:nvPicPr>
          <p:cNvPr id="35" name="Picture Placeholder 23" descr="A picture containing indoor, several&#10;&#10;Description automatically generated">
            <a:extLst>
              <a:ext uri="{FF2B5EF4-FFF2-40B4-BE49-F238E27FC236}">
                <a16:creationId xmlns:a16="http://schemas.microsoft.com/office/drawing/2014/main" id="{DBF19177-E25D-4FE9-8CB2-05617D040548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69" r="7869"/>
          <a:stretch/>
        </p:blipFill>
        <p:spPr>
          <a:prstGeom prst="rect">
            <a:avLst/>
          </a:prstGeom>
          <a:solidFill>
            <a:schemeClr val="bg2"/>
          </a:solidFill>
        </p:spPr>
      </p:pic>
      <p:pic>
        <p:nvPicPr>
          <p:cNvPr id="34" name="Picture Placeholder 21" descr="A picture containing grass, sky, outdoor, nature&#10;&#10;Description automatically generated">
            <a:extLst>
              <a:ext uri="{FF2B5EF4-FFF2-40B4-BE49-F238E27FC236}">
                <a16:creationId xmlns:a16="http://schemas.microsoft.com/office/drawing/2014/main" id="{99F615B4-C2BE-4F5C-BF31-180D1D6E341C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69" r="7869"/>
          <a:stretch/>
        </p:blipFill>
        <p:spPr>
          <a:xfrm>
            <a:off x="-3222" y="2112868"/>
            <a:ext cx="2899611" cy="1922826"/>
          </a:xfrm>
          <a:prstGeom prst="rect">
            <a:avLst/>
          </a:prstGeom>
          <a:solidFill>
            <a:schemeClr val="bg2"/>
          </a:solidFill>
        </p:spPr>
      </p:pic>
      <p:pic>
        <p:nvPicPr>
          <p:cNvPr id="41" name="Picture Placeholder 27" descr="A picture containing floor, indoor&#10;&#10;Description automatically generated">
            <a:extLst>
              <a:ext uri="{FF2B5EF4-FFF2-40B4-BE49-F238E27FC236}">
                <a16:creationId xmlns:a16="http://schemas.microsoft.com/office/drawing/2014/main" id="{6C53600E-FDC8-44D1-9068-0EB6B9AEA1A9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69" r="7869"/>
          <a:stretch/>
        </p:blipFill>
        <p:spPr>
          <a:prstGeom prst="rect">
            <a:avLst/>
          </a:prstGeom>
          <a:solidFill>
            <a:schemeClr val="tx2"/>
          </a:solidFill>
        </p:spPr>
      </p:pic>
      <p:pic>
        <p:nvPicPr>
          <p:cNvPr id="37" name="Picture Placeholder 31" descr="A picture containing fan, device, engine&#10;&#10;Description automatically generated">
            <a:extLst>
              <a:ext uri="{FF2B5EF4-FFF2-40B4-BE49-F238E27FC236}">
                <a16:creationId xmlns:a16="http://schemas.microsoft.com/office/drawing/2014/main" id="{29BBB956-F1C6-4BC6-93BB-26CB961575A3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69" r="7869"/>
          <a:stretch/>
        </p:blipFill>
        <p:spPr>
          <a:prstGeom prst="rect">
            <a:avLst/>
          </a:prstGeom>
          <a:solidFill>
            <a:schemeClr val="tx2"/>
          </a:solidFill>
        </p:spPr>
      </p:pic>
      <p:pic>
        <p:nvPicPr>
          <p:cNvPr id="9" name="Picture 8" descr="A picture containing sky, outdoor, pulling&#10;&#10;Description automatically generated">
            <a:extLst>
              <a:ext uri="{FF2B5EF4-FFF2-40B4-BE49-F238E27FC236}">
                <a16:creationId xmlns:a16="http://schemas.microsoft.com/office/drawing/2014/main" id="{8BD87397-E925-48CF-AC83-C87601FDD70B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02931" y="-4082"/>
            <a:ext cx="2883600" cy="1922400"/>
          </a:xfrm>
          <a:prstGeom prst="rect">
            <a:avLst/>
          </a:prstGeom>
        </p:spPr>
      </p:pic>
      <p:pic>
        <p:nvPicPr>
          <p:cNvPr id="11" name="Picture 10" descr="A group of wind turbines&#10;&#10;Description automatically generated with low confidence">
            <a:extLst>
              <a:ext uri="{FF2B5EF4-FFF2-40B4-BE49-F238E27FC236}">
                <a16:creationId xmlns:a16="http://schemas.microsoft.com/office/drawing/2014/main" id="{FD039FC5-0F8A-42C8-8034-3BD2AC007A5C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678" b="6737"/>
          <a:stretch/>
        </p:blipFill>
        <p:spPr>
          <a:xfrm>
            <a:off x="9294000" y="0"/>
            <a:ext cx="2898000" cy="1922826"/>
          </a:xfrm>
          <a:prstGeom prst="rect">
            <a:avLst/>
          </a:prstGeom>
        </p:spPr>
      </p:pic>
      <p:pic>
        <p:nvPicPr>
          <p:cNvPr id="13" name="Picture 12" descr="A picture containing grass, outdoor, blue&#10;&#10;Description automatically generated">
            <a:extLst>
              <a:ext uri="{FF2B5EF4-FFF2-40B4-BE49-F238E27FC236}">
                <a16:creationId xmlns:a16="http://schemas.microsoft.com/office/drawing/2014/main" id="{DE9FF798-6D82-41B6-A377-24E4215C37D8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32"/>
          <a:stretch/>
        </p:blipFill>
        <p:spPr>
          <a:xfrm>
            <a:off x="6196537" y="2128855"/>
            <a:ext cx="2898000" cy="1922826"/>
          </a:xfrm>
          <a:prstGeom prst="rect">
            <a:avLst/>
          </a:prstGeom>
        </p:spPr>
      </p:pic>
      <p:pic>
        <p:nvPicPr>
          <p:cNvPr id="15" name="Picture 14" descr="A picture containing sky, outdoor, nature, day&#10;&#10;Description automatically generated">
            <a:extLst>
              <a:ext uri="{FF2B5EF4-FFF2-40B4-BE49-F238E27FC236}">
                <a16:creationId xmlns:a16="http://schemas.microsoft.com/office/drawing/2014/main" id="{6EA2EA9A-56C4-41BB-84F1-F79B7370BCC1}"/>
              </a:ext>
            </a:extLst>
          </p:cNvPr>
          <p:cNvPicPr>
            <a:picLocks noChangeAspect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1533"/>
          <a:stretch/>
        </p:blipFill>
        <p:spPr>
          <a:xfrm>
            <a:off x="6196537" y="4241025"/>
            <a:ext cx="2898000" cy="1922826"/>
          </a:xfrm>
          <a:prstGeom prst="rect">
            <a:avLst/>
          </a:prstGeom>
        </p:spPr>
      </p:pic>
      <p:pic>
        <p:nvPicPr>
          <p:cNvPr id="17" name="Picture 16" descr="A picture containing outdoor, sky, ground, day&#10;&#10;Description automatically generated">
            <a:extLst>
              <a:ext uri="{FF2B5EF4-FFF2-40B4-BE49-F238E27FC236}">
                <a16:creationId xmlns:a16="http://schemas.microsoft.com/office/drawing/2014/main" id="{9A949DE1-A39D-4930-B1EF-FEB9CDABA215}"/>
              </a:ext>
            </a:extLst>
          </p:cNvPr>
          <p:cNvPicPr>
            <a:picLocks noChangeAspect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272" r="2466" b="2469"/>
          <a:stretch/>
        </p:blipFill>
        <p:spPr>
          <a:xfrm>
            <a:off x="3037992" y="-4509"/>
            <a:ext cx="2898000" cy="1922827"/>
          </a:xfrm>
          <a:prstGeom prst="rect">
            <a:avLst/>
          </a:prstGeom>
        </p:spPr>
      </p:pic>
      <p:pic>
        <p:nvPicPr>
          <p:cNvPr id="30" name="Picture Placeholder 29" descr="Cows grazing in a field&#10;&#10;Description automatically generated with medium confidence">
            <a:extLst>
              <a:ext uri="{FF2B5EF4-FFF2-40B4-BE49-F238E27FC236}">
                <a16:creationId xmlns:a16="http://schemas.microsoft.com/office/drawing/2014/main" id="{7AB7F553-493F-46CE-99F6-CEF9FE474BE3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316" b="25316"/>
          <a:stretch>
            <a:fillRect/>
          </a:stretch>
        </p:blipFill>
        <p:spPr/>
      </p:pic>
      <p:pic>
        <p:nvPicPr>
          <p:cNvPr id="48" name="Picture Placeholder 47">
            <a:extLst>
              <a:ext uri="{FF2B5EF4-FFF2-40B4-BE49-F238E27FC236}">
                <a16:creationId xmlns:a16="http://schemas.microsoft.com/office/drawing/2014/main" id="{DF723907-3EEB-4808-833C-CE37F28C8153}"/>
              </a:ext>
            </a:extLst>
          </p:cNvPr>
          <p:cNvPicPr>
            <a:picLocks noGrp="1" noChangeAspect="1"/>
          </p:cNvPicPr>
          <p:nvPr>
            <p:ph type="pic" sz="quarter" idx="20"/>
          </p:nvPr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2" b="222"/>
          <a:stretch>
            <a:fillRect/>
          </a:stretch>
        </p:blipFill>
        <p:spPr>
          <a:xfrm>
            <a:off x="-9617" y="4719"/>
            <a:ext cx="2899611" cy="1922826"/>
          </a:xfrm>
        </p:spPr>
      </p:pic>
      <p:pic>
        <p:nvPicPr>
          <p:cNvPr id="46" name="Picture Placeholder 45" descr="A picture containing grass&#10;&#10;Description automatically generated">
            <a:extLst>
              <a:ext uri="{FF2B5EF4-FFF2-40B4-BE49-F238E27FC236}">
                <a16:creationId xmlns:a16="http://schemas.microsoft.com/office/drawing/2014/main" id="{77388BDB-280A-483D-81B3-54DCC4E775E9}"/>
              </a:ext>
            </a:extLst>
          </p:cNvPr>
          <p:cNvPicPr>
            <a:picLocks noGrp="1" noChangeAspect="1"/>
          </p:cNvPicPr>
          <p:nvPr>
            <p:ph type="pic" sz="quarter" idx="21"/>
          </p:nvPr>
        </p:nvPicPr>
        <p:blipFill rotWithShape="1"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58" t="9084" r="2831" b="326"/>
          <a:stretch/>
        </p:blipFill>
        <p:spPr>
          <a:xfrm>
            <a:off x="-62960" y="4241025"/>
            <a:ext cx="3019086" cy="1927545"/>
          </a:xfrm>
        </p:spPr>
      </p:pic>
      <p:pic>
        <p:nvPicPr>
          <p:cNvPr id="39" name="Picture Placeholder 38" descr="A picture containing grass, outdoor, ground, telescope&#10;&#10;Description automatically generated">
            <a:extLst>
              <a:ext uri="{FF2B5EF4-FFF2-40B4-BE49-F238E27FC236}">
                <a16:creationId xmlns:a16="http://schemas.microsoft.com/office/drawing/2014/main" id="{6B6FC9D7-1B99-46F4-9F76-F40CBAEC854A}"/>
              </a:ext>
            </a:extLst>
          </p:cNvPr>
          <p:cNvPicPr>
            <a:picLocks noGrp="1" noChangeAspect="1"/>
          </p:cNvPicPr>
          <p:nvPr>
            <p:ph type="pic" sz="quarter" idx="19"/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819" b="27819"/>
          <a:stretch>
            <a:fillRect/>
          </a:stretch>
        </p:blipFill>
        <p:spPr/>
      </p:pic>
      <p:pic>
        <p:nvPicPr>
          <p:cNvPr id="52" name="Picture 51" descr="A ladybug on a fence&#10;&#10;Description automatically generated with low confidence">
            <a:extLst>
              <a:ext uri="{FF2B5EF4-FFF2-40B4-BE49-F238E27FC236}">
                <a16:creationId xmlns:a16="http://schemas.microsoft.com/office/drawing/2014/main" id="{2AE77321-BF2E-4B3D-B9A1-E4A71A18514A}"/>
              </a:ext>
            </a:extLst>
          </p:cNvPr>
          <p:cNvPicPr>
            <a:picLocks noChangeAspect="1"/>
          </p:cNvPicPr>
          <p:nvPr/>
        </p:nvPicPr>
        <p:blipFill rotWithShape="1"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265"/>
          <a:stretch/>
        </p:blipFill>
        <p:spPr>
          <a:xfrm>
            <a:off x="9294000" y="4241025"/>
            <a:ext cx="2898000" cy="1905046"/>
          </a:xfrm>
          <a:prstGeom prst="rect">
            <a:avLst/>
          </a:prstGeom>
        </p:spPr>
      </p:pic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1F755A64-8CAC-47AC-93DB-FDE781CDF04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05412072"/>
              </p:ext>
            </p:extLst>
          </p:nvPr>
        </p:nvGraphicFramePr>
        <p:xfrm>
          <a:off x="548492" y="928613"/>
          <a:ext cx="6472794" cy="4738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4346">
                  <a:extLst>
                    <a:ext uri="{9D8B030D-6E8A-4147-A177-3AD203B41FA5}">
                      <a16:colId xmlns:a16="http://schemas.microsoft.com/office/drawing/2014/main" val="3060352896"/>
                    </a:ext>
                  </a:extLst>
                </a:gridCol>
                <a:gridCol w="310866">
                  <a:extLst>
                    <a:ext uri="{9D8B030D-6E8A-4147-A177-3AD203B41FA5}">
                      <a16:colId xmlns:a16="http://schemas.microsoft.com/office/drawing/2014/main" val="3852382277"/>
                    </a:ext>
                  </a:extLst>
                </a:gridCol>
                <a:gridCol w="5534026">
                  <a:extLst>
                    <a:ext uri="{9D8B030D-6E8A-4147-A177-3AD203B41FA5}">
                      <a16:colId xmlns:a16="http://schemas.microsoft.com/office/drawing/2014/main" val="3318055102"/>
                    </a:ext>
                  </a:extLst>
                </a:gridCol>
                <a:gridCol w="310866">
                  <a:extLst>
                    <a:ext uri="{9D8B030D-6E8A-4147-A177-3AD203B41FA5}">
                      <a16:colId xmlns:a16="http://schemas.microsoft.com/office/drawing/2014/main" val="2962095205"/>
                    </a:ext>
                  </a:extLst>
                </a:gridCol>
                <a:gridCol w="162690">
                  <a:extLst>
                    <a:ext uri="{9D8B030D-6E8A-4147-A177-3AD203B41FA5}">
                      <a16:colId xmlns:a16="http://schemas.microsoft.com/office/drawing/2014/main" val="33740466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r"/>
                      <a:endParaRPr lang="en-US" sz="100" b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00" b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" b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" b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71972822"/>
                  </a:ext>
                </a:extLst>
              </a:tr>
              <a:tr h="671941">
                <a:tc>
                  <a:txBody>
                    <a:bodyPr/>
                    <a:lstStyle/>
                    <a:p>
                      <a:pPr algn="r"/>
                      <a:endParaRPr lang="en-US" sz="100" b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3000" b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marT="72000" marB="72000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30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marT="122400" marB="1404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72000" marB="72000">
                    <a:lnL w="12700" cmpd="sng"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" b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9338731"/>
                  </a:ext>
                </a:extLst>
              </a:tr>
              <a:tr h="1299309">
                <a:tc>
                  <a:txBody>
                    <a:bodyPr/>
                    <a:lstStyle/>
                    <a:p>
                      <a:pPr algn="r"/>
                      <a:endParaRPr lang="en-US" sz="100">
                        <a:solidFill>
                          <a:schemeClr val="tx1"/>
                        </a:solidFill>
                        <a:latin typeface="Segoe UI Semibold" panose="020B0702040204020203" pitchFamily="34" charset="0"/>
                        <a:cs typeface="Segoe UI Semibold" panose="020B0702040204020203" pitchFamily="34" charset="0"/>
                      </a:endParaRPr>
                    </a:p>
                  </a:txBody>
                  <a:tcPr marL="0" marR="0" marT="0" marB="0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00" dirty="0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  <a:cs typeface="Segoe UI Semibold" panose="020B0702040204020203" pitchFamily="34" charset="0"/>
                        </a:rPr>
                        <a:t>D</a:t>
                      </a:r>
                    </a:p>
                  </a:txBody>
                  <a:tcPr marL="0" marR="0" marT="0" marB="0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3600" b="1" dirty="0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  <a:cs typeface="Segoe UI Semibold" panose="020B0702040204020203" pitchFamily="34" charset="0"/>
                        </a:rPr>
                        <a:t>Integration of the heat pump technologies in the district heating sector in Serbia</a:t>
                      </a:r>
                      <a:br>
                        <a:rPr lang="en-GB" sz="2000" dirty="0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  <a:cs typeface="Segoe UI Semibold" panose="020B0702040204020203" pitchFamily="34" charset="0"/>
                        </a:rPr>
                      </a:br>
                      <a:br>
                        <a:rPr lang="en-GB" sz="2000" dirty="0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  <a:cs typeface="Segoe UI Semibold" panose="020B0702040204020203" pitchFamily="34" charset="0"/>
                        </a:rPr>
                      </a:br>
                      <a:r>
                        <a:rPr lang="en-GB" sz="2800" b="1" dirty="0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  <a:cs typeface="Segoe UI Semibold" panose="020B0702040204020203" pitchFamily="34" charset="0"/>
                        </a:rPr>
                        <a:t>Opportunities and challenges</a:t>
                      </a:r>
                      <a:br>
                        <a:rPr lang="en-GB" sz="2000" dirty="0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  <a:cs typeface="Segoe UI Semibold" panose="020B0702040204020203" pitchFamily="34" charset="0"/>
                        </a:rPr>
                      </a:br>
                      <a:endParaRPr lang="en-US" sz="1600" dirty="0">
                        <a:solidFill>
                          <a:schemeClr val="tx1"/>
                        </a:solidFill>
                        <a:latin typeface="Segoe UI Semibold" panose="020B0702040204020203" pitchFamily="34" charset="0"/>
                        <a:cs typeface="Segoe UI Semibold" panose="020B0702040204020203" pitchFamily="34" charset="0"/>
                      </a:endParaRPr>
                    </a:p>
                  </a:txBody>
                  <a:tcPr marL="0" marR="0" marT="126000" marB="10800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5232503"/>
                  </a:ext>
                </a:extLst>
              </a:tr>
              <a:tr h="441017">
                <a:tc>
                  <a:txBody>
                    <a:bodyPr/>
                    <a:lstStyle/>
                    <a:p>
                      <a:pPr algn="r"/>
                      <a:endParaRPr lang="en-US" sz="10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0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2000" kern="1200" dirty="0" err="1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  <a:ea typeface="+mn-ea"/>
                          <a:cs typeface="Segoe UI Semibold" panose="020B0702040204020203" pitchFamily="34" charset="0"/>
                        </a:rPr>
                        <a:t>Vrnjacka</a:t>
                      </a:r>
                      <a:r>
                        <a:rPr lang="en-US" sz="2000" kern="1200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en-US" sz="2000" kern="1200" dirty="0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  <a:ea typeface="+mn-ea"/>
                          <a:cs typeface="Segoe UI Semibold" panose="020B0702040204020203" pitchFamily="34" charset="0"/>
                        </a:rPr>
                        <a:t>B</a:t>
                      </a:r>
                      <a:r>
                        <a:rPr lang="en-US" sz="2000" kern="1200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  <a:ea typeface="+mn-ea"/>
                          <a:cs typeface="Segoe UI Semibold" panose="020B0702040204020203" pitchFamily="34" charset="0"/>
                        </a:rPr>
                        <a:t>anja</a:t>
                      </a:r>
                      <a:r>
                        <a:rPr lang="en-US" sz="2000" kern="1200" dirty="0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  <a:ea typeface="+mn-ea"/>
                          <a:cs typeface="Segoe UI Semibold" panose="020B0702040204020203" pitchFamily="34" charset="0"/>
                        </a:rPr>
                        <a:t>, Serbia, April 2023</a:t>
                      </a:r>
                    </a:p>
                  </a:txBody>
                  <a:tcPr marL="0" marR="0" marT="72000" marB="18720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3350775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endParaRPr lang="en-US" sz="10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0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00" cap="all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965308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9712865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D5CF6AC9-DFF7-4B1E-A59B-5D839F8BFC15}"/>
              </a:ext>
            </a:extLst>
          </p:cNvPr>
          <p:cNvSpPr txBox="1">
            <a:spLocks/>
          </p:cNvSpPr>
          <p:nvPr/>
        </p:nvSpPr>
        <p:spPr>
          <a:xfrm>
            <a:off x="359400" y="241191"/>
            <a:ext cx="11473200" cy="619713"/>
          </a:xfrm>
          <a:prstGeom prst="rect">
            <a:avLst/>
          </a:prstGeom>
        </p:spPr>
        <p:txBody>
          <a:bodyPr vert="horz" lIns="72000" tIns="36000" rIns="72000" bIns="36000" rtlCol="0" anchor="t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Char char="​"/>
              <a:defRPr sz="3200" kern="120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542925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99060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j-lt"/>
                <a:ea typeface="Segoe UI Black" panose="020B0A02040204020203" pitchFamily="34" charset="0"/>
                <a:cs typeface="+mn-cs"/>
              </a:defRPr>
            </a:lvl4pPr>
            <a:lvl5pPr marL="1438275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ts val="600"/>
              </a:spcAft>
              <a:buNone/>
            </a:pPr>
            <a:r>
              <a:rPr lang="en-GB" sz="3700" b="1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Identified opportunities in Serbia</a:t>
            </a:r>
            <a:endParaRPr lang="da-DK" sz="3700" b="1" dirty="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06D0DC8-E754-41F9-B8ED-06169F62DD9A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0" y="6912000"/>
            <a:ext cx="0" cy="0"/>
          </a:xfrm>
        </p:spPr>
        <p:txBody>
          <a:bodyPr/>
          <a:lstStyle/>
          <a:p>
            <a:pPr>
              <a:spcAft>
                <a:spcPts val="600"/>
              </a:spcAft>
            </a:pPr>
            <a:fld id="{24C8C45C-947F-4981-8B3F-4F32E973C901}" type="slidenum">
              <a:rPr lang="en-GB" smtClean="0"/>
              <a:pPr>
                <a:spcAft>
                  <a:spcPts val="600"/>
                </a:spcAft>
              </a:pPr>
              <a:t>10</a:t>
            </a:fld>
            <a:endParaRPr lang="en-GB"/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249D42E8-1602-FCCA-6AF4-C606ECB6239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88272055"/>
              </p:ext>
            </p:extLst>
          </p:nvPr>
        </p:nvGraphicFramePr>
        <p:xfrm>
          <a:off x="1230767" y="1262743"/>
          <a:ext cx="7499576" cy="4990793"/>
        </p:xfrm>
        <a:graphic>
          <a:graphicData uri="http://schemas.openxmlformats.org/drawingml/2006/table">
            <a:tbl>
              <a:tblPr firstRow="1" firstCol="1" bandRow="1"/>
              <a:tblGrid>
                <a:gridCol w="4214967">
                  <a:extLst>
                    <a:ext uri="{9D8B030D-6E8A-4147-A177-3AD203B41FA5}">
                      <a16:colId xmlns:a16="http://schemas.microsoft.com/office/drawing/2014/main" val="1191395895"/>
                    </a:ext>
                  </a:extLst>
                </a:gridCol>
                <a:gridCol w="1663306">
                  <a:extLst>
                    <a:ext uri="{9D8B030D-6E8A-4147-A177-3AD203B41FA5}">
                      <a16:colId xmlns:a16="http://schemas.microsoft.com/office/drawing/2014/main" val="1871615032"/>
                    </a:ext>
                  </a:extLst>
                </a:gridCol>
                <a:gridCol w="1621303">
                  <a:extLst>
                    <a:ext uri="{9D8B030D-6E8A-4147-A177-3AD203B41FA5}">
                      <a16:colId xmlns:a16="http://schemas.microsoft.com/office/drawing/2014/main" val="2290420038"/>
                    </a:ext>
                  </a:extLst>
                </a:gridCol>
              </a:tblGrid>
              <a:tr h="242556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1300"/>
                        </a:spcAft>
                      </a:pPr>
                      <a:r>
                        <a:rPr lang="en-GB" sz="1400" b="1" i="0" u="none" strike="noStrike" dirty="0">
                          <a:solidFill>
                            <a:srgbClr val="DCD5CF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Parameters</a:t>
                      </a:r>
                      <a:endParaRPr lang="en-GB" sz="14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008" marR="68008" marT="944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1300"/>
                        </a:spcAft>
                      </a:pPr>
                      <a:r>
                        <a:rPr lang="en-GB" sz="1400" b="1" i="0" u="none" strike="noStrike">
                          <a:solidFill>
                            <a:srgbClr val="DCD5CF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Unit</a:t>
                      </a:r>
                      <a:endParaRPr lang="en-GB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008" marR="68008" marT="9446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1300"/>
                        </a:spcAft>
                      </a:pPr>
                      <a:r>
                        <a:rPr lang="en-GB" sz="1400" b="1" i="0" u="none" strike="noStrike">
                          <a:solidFill>
                            <a:srgbClr val="DCD5CF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Value</a:t>
                      </a:r>
                      <a:endParaRPr lang="en-GB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008" marR="68008" marT="944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3378836"/>
                  </a:ext>
                </a:extLst>
              </a:tr>
              <a:tr h="342649">
                <a:tc gridSpan="3">
                  <a:txBody>
                    <a:bodyPr/>
                    <a:lstStyle/>
                    <a:p>
                      <a:pPr algn="ctr" fontAlgn="b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1300"/>
                        </a:spcAft>
                      </a:pPr>
                      <a:r>
                        <a:rPr lang="en-GB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Baseline scenario</a:t>
                      </a:r>
                      <a:endParaRPr lang="en-GB" sz="14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678" marR="90678" marT="45339" marB="4533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55168860"/>
                  </a:ext>
                </a:extLst>
              </a:tr>
              <a:tr h="242556"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300"/>
                        </a:spcAft>
                      </a:pPr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Heat production at BH </a:t>
                      </a:r>
                      <a:r>
                        <a:rPr lang="en-GB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Krivi</a:t>
                      </a:r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GB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Vir</a:t>
                      </a:r>
                      <a:endParaRPr lang="en-GB" sz="14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008" marR="68008" marT="94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300"/>
                        </a:spcAft>
                      </a:pPr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[MWh/year]</a:t>
                      </a:r>
                      <a:endParaRPr lang="en-GB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008" marR="68008" marT="9446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300"/>
                        </a:spcAft>
                      </a:pPr>
                      <a:r>
                        <a:rPr lang="en-GB" sz="1400" b="0" i="0" u="none" strike="noStrike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134,000</a:t>
                      </a:r>
                      <a:endParaRPr lang="en-GB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008" marR="68008" marT="9446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13950293"/>
                  </a:ext>
                </a:extLst>
              </a:tr>
              <a:tr h="242556"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300"/>
                        </a:spcAft>
                      </a:pPr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Specific heat production costs </a:t>
                      </a:r>
                      <a:endParaRPr lang="en-GB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008" marR="68008" marT="94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300"/>
                        </a:spcAft>
                      </a:pPr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[EUR/MWh]</a:t>
                      </a:r>
                      <a:endParaRPr lang="en-GB" sz="14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008" marR="68008" marT="9446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300"/>
                        </a:spcAft>
                      </a:pPr>
                      <a:r>
                        <a:rPr lang="en-GB" sz="1400" b="0" i="0" u="none" strike="noStrike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56.0</a:t>
                      </a:r>
                      <a:endParaRPr lang="en-GB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008" marR="68008" marT="9446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76325986"/>
                  </a:ext>
                </a:extLst>
              </a:tr>
              <a:tr h="242556"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300"/>
                        </a:spcAft>
                      </a:pPr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Annual energy cost </a:t>
                      </a:r>
                      <a:endParaRPr lang="en-GB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008" marR="68008" marT="94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300"/>
                        </a:spcAft>
                      </a:pPr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[EUR]</a:t>
                      </a:r>
                      <a:endParaRPr lang="en-GB" sz="14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008" marR="68008" marT="9446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300"/>
                        </a:spcAft>
                      </a:pPr>
                      <a:r>
                        <a:rPr lang="en-GB" sz="1400" b="0" i="0" u="none" strike="noStrike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7,503,701</a:t>
                      </a:r>
                      <a:endParaRPr lang="en-GB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008" marR="68008" marT="944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9021338"/>
                  </a:ext>
                </a:extLst>
              </a:tr>
              <a:tr h="342649">
                <a:tc gridSpan="3"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300"/>
                        </a:spcAft>
                      </a:pPr>
                      <a:r>
                        <a:rPr lang="en-GB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Project scenario</a:t>
                      </a:r>
                      <a:endParaRPr lang="en-GB" sz="14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678" marR="90678" marT="45339" marB="4533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44030076"/>
                  </a:ext>
                </a:extLst>
              </a:tr>
              <a:tr h="199427"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300"/>
                        </a:spcAft>
                      </a:pPr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Heat pump installed capacity </a:t>
                      </a:r>
                      <a:endParaRPr lang="en-GB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008" marR="68008" marT="94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300"/>
                        </a:spcAft>
                      </a:pPr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[MW]</a:t>
                      </a:r>
                      <a:endParaRPr lang="en-GB" sz="14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008" marR="68008" marT="9446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300"/>
                        </a:spcAft>
                      </a:pPr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15</a:t>
                      </a:r>
                      <a:endParaRPr lang="en-GB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008" marR="68008" marT="9446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07472601"/>
                  </a:ext>
                </a:extLst>
              </a:tr>
              <a:tr h="242556"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300"/>
                        </a:spcAft>
                      </a:pPr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COP</a:t>
                      </a:r>
                      <a:endParaRPr lang="en-GB" sz="14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008" marR="68008" marT="94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300"/>
                        </a:spcAft>
                      </a:pPr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 </a:t>
                      </a:r>
                      <a:endParaRPr lang="en-GB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008" marR="68008" marT="9446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300"/>
                        </a:spcAft>
                      </a:pPr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3.50</a:t>
                      </a:r>
                      <a:endParaRPr lang="en-GB" sz="14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008" marR="68008" marT="9446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24920347"/>
                  </a:ext>
                </a:extLst>
              </a:tr>
              <a:tr h="242556"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300"/>
                        </a:spcAft>
                      </a:pPr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Heat production from heat pump </a:t>
                      </a:r>
                      <a:endParaRPr lang="en-GB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008" marR="68008" marT="94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300"/>
                        </a:spcAft>
                      </a:pPr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[MWh/year]</a:t>
                      </a:r>
                      <a:endParaRPr lang="en-GB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008" marR="68008" marT="9446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300"/>
                        </a:spcAft>
                      </a:pPr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66,960</a:t>
                      </a:r>
                      <a:endParaRPr lang="en-GB" sz="14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008" marR="68008" marT="9446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72182368"/>
                  </a:ext>
                </a:extLst>
              </a:tr>
              <a:tr h="250739"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300"/>
                        </a:spcAft>
                      </a:pPr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Electricity consumption for HP and pumping </a:t>
                      </a:r>
                      <a:endParaRPr lang="en-GB" sz="14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008" marR="68008" marT="94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300"/>
                        </a:spcAft>
                      </a:pPr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[MWh/year]</a:t>
                      </a:r>
                      <a:endParaRPr lang="en-GB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008" marR="68008" marT="9446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300"/>
                        </a:spcAft>
                      </a:pPr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20,727</a:t>
                      </a:r>
                      <a:endParaRPr lang="en-GB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008" marR="68008" marT="9446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99066087"/>
                  </a:ext>
                </a:extLst>
              </a:tr>
              <a:tr h="428777"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300"/>
                        </a:spcAft>
                      </a:pPr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The percentage of energy that will be provided by the heat pump</a:t>
                      </a:r>
                      <a:endParaRPr lang="en-GB" sz="14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008" marR="68008" marT="94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300"/>
                        </a:spcAft>
                      </a:pPr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[%]</a:t>
                      </a:r>
                      <a:endParaRPr lang="en-GB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008" marR="68008" marT="9446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300"/>
                        </a:spcAft>
                      </a:pPr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49.97%</a:t>
                      </a:r>
                      <a:endParaRPr lang="en-GB" sz="14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008" marR="68008" marT="9446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85236135"/>
                  </a:ext>
                </a:extLst>
              </a:tr>
              <a:tr h="242556"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300"/>
                        </a:spcAft>
                      </a:pPr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Total annual cost savings </a:t>
                      </a:r>
                      <a:endParaRPr lang="en-GB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008" marR="68008" marT="94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300"/>
                        </a:spcAft>
                      </a:pPr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[EUR]</a:t>
                      </a:r>
                      <a:endParaRPr lang="en-GB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008" marR="68008" marT="9446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300"/>
                        </a:spcAft>
                      </a:pPr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1,780,516</a:t>
                      </a:r>
                      <a:endParaRPr lang="en-GB" sz="14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008" marR="68008" marT="9446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6458656"/>
                  </a:ext>
                </a:extLst>
              </a:tr>
              <a:tr h="242556"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300"/>
                        </a:spcAft>
                      </a:pPr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Annual CO2 emissions reduction</a:t>
                      </a:r>
                      <a:endParaRPr lang="en-GB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008" marR="68008" marT="94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300"/>
                        </a:spcAft>
                      </a:pPr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[tCO2]</a:t>
                      </a:r>
                      <a:endParaRPr lang="en-GB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008" marR="68008" marT="9446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300"/>
                        </a:spcAft>
                      </a:pPr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727</a:t>
                      </a:r>
                      <a:endParaRPr lang="en-GB" sz="14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008" marR="68008" marT="9446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99657109"/>
                  </a:ext>
                </a:extLst>
              </a:tr>
              <a:tr h="242556"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300"/>
                        </a:spcAft>
                      </a:pPr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Cumulative cost savings for 20 years </a:t>
                      </a:r>
                      <a:endParaRPr lang="en-GB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008" marR="68008" marT="94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300"/>
                        </a:spcAft>
                      </a:pPr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[EUR]</a:t>
                      </a:r>
                      <a:endParaRPr lang="en-GB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008" marR="68008" marT="9446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300"/>
                        </a:spcAft>
                      </a:pPr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35,610,320</a:t>
                      </a:r>
                      <a:endParaRPr lang="en-GB" sz="14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008" marR="68008" marT="9446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25775180"/>
                  </a:ext>
                </a:extLst>
              </a:tr>
              <a:tr h="242556"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300"/>
                        </a:spcAft>
                      </a:pPr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Estimated value of investment </a:t>
                      </a:r>
                      <a:endParaRPr lang="en-GB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008" marR="68008" marT="94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300"/>
                        </a:spcAft>
                      </a:pPr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[EUR]</a:t>
                      </a:r>
                      <a:endParaRPr lang="en-GB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008" marR="68008" marT="9446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300"/>
                        </a:spcAft>
                      </a:pPr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13,888,600</a:t>
                      </a:r>
                      <a:endParaRPr lang="en-GB" sz="14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008" marR="68008" marT="9446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91562452"/>
                  </a:ext>
                </a:extLst>
              </a:tr>
              <a:tr h="242556"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300"/>
                        </a:spcAft>
                      </a:pPr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Verdana" panose="020B0604030504040204" pitchFamily="34" charset="0"/>
                        </a:rPr>
                        <a:t>LCOH – Baseline scenario</a:t>
                      </a:r>
                      <a:endParaRPr lang="en-GB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008" marR="68008" marT="94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300"/>
                        </a:spcAft>
                      </a:pPr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Verdana" panose="020B0604030504040204" pitchFamily="34" charset="0"/>
                        </a:rPr>
                        <a:t>[EUR/MWh]</a:t>
                      </a:r>
                      <a:endParaRPr lang="en-GB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008" marR="68008" marT="9446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300"/>
                        </a:spcAft>
                      </a:pPr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Verdana" panose="020B0604030504040204" pitchFamily="34" charset="0"/>
                        </a:rPr>
                        <a:t>56</a:t>
                      </a:r>
                      <a:endParaRPr lang="en-GB" sz="14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008" marR="68008" marT="9446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4090695"/>
                  </a:ext>
                </a:extLst>
              </a:tr>
              <a:tr h="242556"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300"/>
                        </a:spcAft>
                      </a:pPr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Verdana" panose="020B0604030504040204" pitchFamily="34" charset="0"/>
                        </a:rPr>
                        <a:t>LCOH – Project scenario</a:t>
                      </a:r>
                      <a:endParaRPr lang="en-GB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008" marR="68008" marT="94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300"/>
                        </a:spcAft>
                      </a:pPr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Verdana" panose="020B0604030504040204" pitchFamily="34" charset="0"/>
                        </a:rPr>
                        <a:t>[EUR/MWh]</a:t>
                      </a:r>
                      <a:endParaRPr lang="en-GB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008" marR="68008" marT="9446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300"/>
                        </a:spcAft>
                      </a:pPr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40</a:t>
                      </a:r>
                      <a:endParaRPr lang="en-GB" sz="14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008" marR="68008" marT="9446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77053562"/>
                  </a:ext>
                </a:extLst>
              </a:tr>
              <a:tr h="242556"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300"/>
                        </a:spcAft>
                      </a:pPr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Simple payback period </a:t>
                      </a:r>
                      <a:endParaRPr lang="en-GB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008" marR="68008" marT="94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300"/>
                        </a:spcAft>
                      </a:pPr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[years]</a:t>
                      </a:r>
                      <a:endParaRPr lang="en-GB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008" marR="68008" marT="9446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300"/>
                        </a:spcAft>
                      </a:pPr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7.8</a:t>
                      </a:r>
                      <a:endParaRPr lang="en-GB" sz="14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008" marR="68008" marT="9446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4353731"/>
                  </a:ext>
                </a:extLst>
              </a:tr>
              <a:tr h="242556"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300"/>
                        </a:spcAft>
                      </a:pPr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Simple payback period – 20% grant</a:t>
                      </a:r>
                      <a:endParaRPr lang="en-GB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008" marR="68008" marT="94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300"/>
                        </a:spcAft>
                      </a:pPr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[years]</a:t>
                      </a:r>
                      <a:endParaRPr lang="en-GB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008" marR="68008" marT="9446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300"/>
                        </a:spcAft>
                      </a:pPr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6.2</a:t>
                      </a:r>
                      <a:endParaRPr lang="en-GB" sz="14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008" marR="68008" marT="9446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45053354"/>
                  </a:ext>
                </a:extLst>
              </a:tr>
            </a:tbl>
          </a:graphicData>
        </a:graphic>
      </p:graphicFrame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45F812D6-B253-AFA2-AB7C-FFB8B253D1E5}"/>
              </a:ext>
            </a:extLst>
          </p:cNvPr>
          <p:cNvCxnSpPr/>
          <p:nvPr/>
        </p:nvCxnSpPr>
        <p:spPr>
          <a:xfrm flipH="1">
            <a:off x="719318" y="1112058"/>
            <a:ext cx="0" cy="4968000"/>
          </a:xfrm>
          <a:prstGeom prst="line">
            <a:avLst/>
          </a:prstGeom>
          <a:ln w="28575"/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2D4254F9-509A-8D51-3AC9-0E353B15BAEF}"/>
              </a:ext>
            </a:extLst>
          </p:cNvPr>
          <p:cNvSpPr txBox="1"/>
          <p:nvPr/>
        </p:nvSpPr>
        <p:spPr>
          <a:xfrm>
            <a:off x="1230767" y="860904"/>
            <a:ext cx="5459951" cy="4648200"/>
          </a:xfrm>
          <a:prstGeom prst="rect">
            <a:avLst/>
          </a:prstGeom>
        </p:spPr>
        <p:txBody>
          <a:bodyPr vert="horz" lIns="72000" tIns="36000" rIns="72000" bIns="36000" rtlCol="0">
            <a:normAutofit/>
          </a:bodyPr>
          <a:lstStyle/>
          <a:p>
            <a:pPr>
              <a:lnSpc>
                <a:spcPct val="90000"/>
              </a:lnSpc>
              <a:spcBef>
                <a:spcPts val="1200"/>
              </a:spcBef>
              <a:buFont typeface="Arial" panose="020B0604020202020204" pitchFamily="34" charset="0"/>
            </a:pPr>
            <a:r>
              <a:rPr lang="en-GB" b="1" i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</a:rPr>
              <a:t>Key parameters</a:t>
            </a:r>
          </a:p>
        </p:txBody>
      </p:sp>
    </p:spTree>
    <p:extLst>
      <p:ext uri="{BB962C8B-B14F-4D97-AF65-F5344CB8AC3E}">
        <p14:creationId xmlns:p14="http://schemas.microsoft.com/office/powerpoint/2010/main" val="230393709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D5CF6AC9-DFF7-4B1E-A59B-5D839F8BFC15}"/>
              </a:ext>
            </a:extLst>
          </p:cNvPr>
          <p:cNvSpPr txBox="1">
            <a:spLocks/>
          </p:cNvSpPr>
          <p:nvPr/>
        </p:nvSpPr>
        <p:spPr>
          <a:xfrm>
            <a:off x="360000" y="360001"/>
            <a:ext cx="11473200" cy="619713"/>
          </a:xfrm>
          <a:prstGeom prst="rect">
            <a:avLst/>
          </a:prstGeom>
        </p:spPr>
        <p:txBody>
          <a:bodyPr vert="horz" lIns="72000" tIns="36000" rIns="72000" bIns="36000" rtlCol="0" anchor="t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Char char="​"/>
              <a:defRPr sz="3200" kern="120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542925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99060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j-lt"/>
                <a:ea typeface="Segoe UI Black" panose="020B0A02040204020203" pitchFamily="34" charset="0"/>
                <a:cs typeface="+mn-cs"/>
              </a:defRPr>
            </a:lvl4pPr>
            <a:lvl5pPr marL="1438275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ts val="600"/>
              </a:spcAft>
              <a:buNone/>
            </a:pPr>
            <a:r>
              <a:rPr lang="en-GB" sz="3700" b="1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Identified opportunities in Serbia</a:t>
            </a:r>
            <a:endParaRPr lang="da-DK" sz="3700" b="1" dirty="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8" name="Subtitle 2">
            <a:extLst>
              <a:ext uri="{FF2B5EF4-FFF2-40B4-BE49-F238E27FC236}">
                <a16:creationId xmlns:a16="http://schemas.microsoft.com/office/drawing/2014/main" id="{24B50F80-5746-14B1-6F85-185AA8B7D7E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38150" y="1001374"/>
            <a:ext cx="11394450" cy="369332"/>
          </a:xfrm>
        </p:spPr>
        <p:txBody>
          <a:bodyPr/>
          <a:lstStyle/>
          <a:p>
            <a:r>
              <a:rPr lang="en-GB" b="1" dirty="0">
                <a:solidFill>
                  <a:schemeClr val="tx1">
                    <a:lumMod val="95000"/>
                    <a:lumOff val="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OVI PAZAR - </a:t>
            </a:r>
            <a:r>
              <a:rPr lang="en-US" b="1" i="0" u="none" strike="noStrike" dirty="0">
                <a:solidFill>
                  <a:srgbClr val="C00000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Heat pump utilizing the drinking water at </a:t>
            </a:r>
            <a:r>
              <a:rPr lang="en-US" b="1" dirty="0">
                <a:solidFill>
                  <a:srgbClr val="C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boiler house</a:t>
            </a:r>
            <a:r>
              <a:rPr lang="en-US" b="1" i="0" u="none" strike="noStrike" dirty="0">
                <a:solidFill>
                  <a:srgbClr val="C00000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 Lug</a:t>
            </a:r>
            <a:r>
              <a:rPr lang="en-US" b="1" dirty="0">
                <a:solidFill>
                  <a:srgbClr val="C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</a:p>
          <a:p>
            <a:endParaRPr lang="en-US" b="1" dirty="0">
              <a:solidFill>
                <a:schemeClr val="tx1">
                  <a:lumMod val="95000"/>
                  <a:lumOff val="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0" name="Slide Number Placeholder 3">
            <a:extLst>
              <a:ext uri="{FF2B5EF4-FFF2-40B4-BE49-F238E27FC236}">
                <a16:creationId xmlns:a16="http://schemas.microsoft.com/office/drawing/2014/main" id="{E105B43C-F3C0-D20F-B90E-066B359D40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29600" y="6375818"/>
            <a:ext cx="511868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fld id="{24C8C45C-947F-4981-8B3F-4F32E973C901}" type="slidenum">
              <a:rPr lang="en-GB" smtClean="0"/>
              <a:pPr>
                <a:spcAft>
                  <a:spcPts val="600"/>
                </a:spcAft>
              </a:pPr>
              <a:t>11</a:t>
            </a:fld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06D0DC8-E754-41F9-B8ED-06169F62DD9A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0" y="6912000"/>
            <a:ext cx="0" cy="0"/>
          </a:xfrm>
        </p:spPr>
        <p:txBody>
          <a:bodyPr/>
          <a:lstStyle/>
          <a:p>
            <a:pPr>
              <a:spcAft>
                <a:spcPts val="600"/>
              </a:spcAft>
            </a:pPr>
            <a:fld id="{24C8C45C-947F-4981-8B3F-4F32E973C901}" type="slidenum">
              <a:rPr lang="en-GB" smtClean="0"/>
              <a:pPr>
                <a:spcAft>
                  <a:spcPts val="600"/>
                </a:spcAft>
              </a:pPr>
              <a:t>11</a:t>
            </a:fld>
            <a:endParaRPr lang="en-GB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1BDEDCA-54AD-20DB-2883-A0893C5173B3}"/>
              </a:ext>
            </a:extLst>
          </p:cNvPr>
          <p:cNvCxnSpPr/>
          <p:nvPr/>
        </p:nvCxnSpPr>
        <p:spPr>
          <a:xfrm flipH="1">
            <a:off x="328203" y="1240087"/>
            <a:ext cx="0" cy="4968000"/>
          </a:xfrm>
          <a:prstGeom prst="line">
            <a:avLst/>
          </a:prstGeom>
          <a:ln w="28575"/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pic>
        <p:nvPicPr>
          <p:cNvPr id="16" name="Picture 15">
            <a:extLst>
              <a:ext uri="{FF2B5EF4-FFF2-40B4-BE49-F238E27FC236}">
                <a16:creationId xmlns:a16="http://schemas.microsoft.com/office/drawing/2014/main" id="{C2F373E1-9181-3782-D36A-2055597DD4D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41985"/>
          <a:stretch/>
        </p:blipFill>
        <p:spPr bwMode="auto">
          <a:xfrm>
            <a:off x="641468" y="1596616"/>
            <a:ext cx="5589394" cy="4063955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5B1F650F-B90A-C629-31D4-0B43D928F5D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555" t="21203" r="62329" b="8798"/>
          <a:stretch/>
        </p:blipFill>
        <p:spPr bwMode="auto">
          <a:xfrm>
            <a:off x="6283118" y="1965948"/>
            <a:ext cx="5754248" cy="3225755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340472353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D5CF6AC9-DFF7-4B1E-A59B-5D839F8BFC15}"/>
              </a:ext>
            </a:extLst>
          </p:cNvPr>
          <p:cNvSpPr txBox="1">
            <a:spLocks/>
          </p:cNvSpPr>
          <p:nvPr/>
        </p:nvSpPr>
        <p:spPr>
          <a:xfrm>
            <a:off x="360000" y="360001"/>
            <a:ext cx="11473200" cy="619713"/>
          </a:xfrm>
          <a:prstGeom prst="rect">
            <a:avLst/>
          </a:prstGeom>
        </p:spPr>
        <p:txBody>
          <a:bodyPr vert="horz" lIns="72000" tIns="36000" rIns="72000" bIns="36000" rtlCol="0" anchor="t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Char char="​"/>
              <a:defRPr sz="3200" kern="120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542925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99060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j-lt"/>
                <a:ea typeface="Segoe UI Black" panose="020B0A02040204020203" pitchFamily="34" charset="0"/>
                <a:cs typeface="+mn-cs"/>
              </a:defRPr>
            </a:lvl4pPr>
            <a:lvl5pPr marL="1438275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ts val="600"/>
              </a:spcAft>
              <a:buNone/>
            </a:pPr>
            <a:r>
              <a:rPr lang="en-GB" sz="3700" b="1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Identified opportunities in Serbia</a:t>
            </a:r>
            <a:endParaRPr lang="da-DK" sz="3700" b="1" dirty="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5" name="Slide Number Placeholder 3">
            <a:extLst>
              <a:ext uri="{FF2B5EF4-FFF2-40B4-BE49-F238E27FC236}">
                <a16:creationId xmlns:a16="http://schemas.microsoft.com/office/drawing/2014/main" id="{EF76279C-D844-6738-07B3-F867C78EC9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29600" y="6375818"/>
            <a:ext cx="511868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fld id="{24C8C45C-947F-4981-8B3F-4F32E973C901}" type="slidenum">
              <a:rPr lang="en-GB" smtClean="0"/>
              <a:pPr>
                <a:spcAft>
                  <a:spcPts val="600"/>
                </a:spcAft>
              </a:pPr>
              <a:t>12</a:t>
            </a:fld>
            <a:endParaRPr lang="en-GB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5F6D552-19E5-C0C6-D725-DBF840BC6A85}"/>
              </a:ext>
            </a:extLst>
          </p:cNvPr>
          <p:cNvSpPr txBox="1"/>
          <p:nvPr/>
        </p:nvSpPr>
        <p:spPr>
          <a:xfrm>
            <a:off x="1030146" y="979714"/>
            <a:ext cx="5459951" cy="4648200"/>
          </a:xfrm>
          <a:prstGeom prst="rect">
            <a:avLst/>
          </a:prstGeom>
        </p:spPr>
        <p:txBody>
          <a:bodyPr vert="horz" lIns="72000" tIns="36000" rIns="72000" bIns="36000" rtlCol="0">
            <a:normAutofit/>
          </a:bodyPr>
          <a:lstStyle/>
          <a:p>
            <a:pPr>
              <a:lnSpc>
                <a:spcPct val="90000"/>
              </a:lnSpc>
              <a:spcBef>
                <a:spcPts val="1200"/>
              </a:spcBef>
              <a:buFont typeface="Arial" panose="020B0604020202020204" pitchFamily="34" charset="0"/>
            </a:pPr>
            <a:r>
              <a:rPr lang="en-GB" b="1" i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</a:rPr>
              <a:t>Key parameter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06D0DC8-E754-41F9-B8ED-06169F62DD9A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0" y="6912000"/>
            <a:ext cx="0" cy="0"/>
          </a:xfrm>
        </p:spPr>
        <p:txBody>
          <a:bodyPr/>
          <a:lstStyle/>
          <a:p>
            <a:pPr>
              <a:spcAft>
                <a:spcPts val="600"/>
              </a:spcAft>
            </a:pPr>
            <a:fld id="{24C8C45C-947F-4981-8B3F-4F32E973C901}" type="slidenum">
              <a:rPr lang="en-GB" smtClean="0"/>
              <a:pPr>
                <a:spcAft>
                  <a:spcPts val="600"/>
                </a:spcAft>
              </a:pPr>
              <a:t>12</a:t>
            </a:fld>
            <a:endParaRPr lang="en-GB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10DF3B0-BC81-CE38-7CEF-6E2BF7BB19A4}"/>
              </a:ext>
            </a:extLst>
          </p:cNvPr>
          <p:cNvCxnSpPr/>
          <p:nvPr/>
        </p:nvCxnSpPr>
        <p:spPr>
          <a:xfrm flipH="1">
            <a:off x="839060" y="1112058"/>
            <a:ext cx="0" cy="4968000"/>
          </a:xfrm>
          <a:prstGeom prst="line">
            <a:avLst/>
          </a:prstGeom>
          <a:ln w="28575"/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76FAD775-595D-B403-5137-22E1F983C790}"/>
              </a:ext>
            </a:extLst>
          </p:cNvPr>
          <p:cNvGraphicFramePr>
            <a:graphicFrameLocks noGrp="1"/>
          </p:cNvGraphicFramePr>
          <p:nvPr/>
        </p:nvGraphicFramePr>
        <p:xfrm>
          <a:off x="1367450" y="1422310"/>
          <a:ext cx="7493521" cy="4510911"/>
        </p:xfrm>
        <a:graphic>
          <a:graphicData uri="http://schemas.openxmlformats.org/drawingml/2006/table">
            <a:tbl>
              <a:tblPr firstRow="1" firstCol="1" bandRow="1"/>
              <a:tblGrid>
                <a:gridCol w="4798599">
                  <a:extLst>
                    <a:ext uri="{9D8B030D-6E8A-4147-A177-3AD203B41FA5}">
                      <a16:colId xmlns:a16="http://schemas.microsoft.com/office/drawing/2014/main" val="1516075500"/>
                    </a:ext>
                  </a:extLst>
                </a:gridCol>
                <a:gridCol w="1256914">
                  <a:extLst>
                    <a:ext uri="{9D8B030D-6E8A-4147-A177-3AD203B41FA5}">
                      <a16:colId xmlns:a16="http://schemas.microsoft.com/office/drawing/2014/main" val="3477454941"/>
                    </a:ext>
                  </a:extLst>
                </a:gridCol>
                <a:gridCol w="1438008">
                  <a:extLst>
                    <a:ext uri="{9D8B030D-6E8A-4147-A177-3AD203B41FA5}">
                      <a16:colId xmlns:a16="http://schemas.microsoft.com/office/drawing/2014/main" val="1621739109"/>
                    </a:ext>
                  </a:extLst>
                </a:gridCol>
              </a:tblGrid>
              <a:tr h="215077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1300"/>
                        </a:spcAft>
                      </a:pPr>
                      <a:r>
                        <a:rPr lang="en-GB" sz="1400" b="1" dirty="0">
                          <a:solidFill>
                            <a:srgbClr val="DCD5CF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Parameters</a:t>
                      </a:r>
                      <a:endParaRPr lang="en-US" sz="1400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1300"/>
                        </a:spcAft>
                      </a:pPr>
                      <a:r>
                        <a:rPr lang="en-GB" sz="1400" b="1">
                          <a:solidFill>
                            <a:srgbClr val="DCD5CF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Unit</a:t>
                      </a:r>
                      <a:endParaRPr lang="en-US" sz="140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1300"/>
                        </a:spcAft>
                      </a:pPr>
                      <a:r>
                        <a:rPr lang="en-GB" sz="1400" b="1">
                          <a:solidFill>
                            <a:srgbClr val="DCD5CF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Value</a:t>
                      </a:r>
                      <a:endParaRPr lang="en-US" sz="140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1941858"/>
                  </a:ext>
                </a:extLst>
              </a:tr>
              <a:tr h="215077">
                <a:tc gridSpan="3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1300"/>
                        </a:spcAft>
                      </a:pPr>
                      <a:r>
                        <a:rPr lang="en-GB" sz="1400" b="1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Baseline scenario</a:t>
                      </a:r>
                      <a:endParaRPr lang="en-US" sz="1400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48728805"/>
                  </a:ext>
                </a:extLst>
              </a:tr>
              <a:tr h="215077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1300"/>
                        </a:spcAft>
                      </a:pPr>
                      <a:r>
                        <a:rPr lang="en-GB" sz="1400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Heat production at BH Lug</a:t>
                      </a:r>
                      <a:endParaRPr lang="en-US" sz="1400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1300"/>
                        </a:spcAft>
                      </a:pPr>
                      <a:r>
                        <a:rPr lang="en-GB" sz="1400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[MWh/year]</a:t>
                      </a:r>
                      <a:endParaRPr lang="en-US" sz="1400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spcAft>
                          <a:spcPts val="1300"/>
                        </a:spcAft>
                      </a:pPr>
                      <a:r>
                        <a:rPr lang="en-GB" sz="1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1,687</a:t>
                      </a:r>
                      <a:endParaRPr lang="en-US" sz="140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56404480"/>
                  </a:ext>
                </a:extLst>
              </a:tr>
              <a:tr h="215077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1300"/>
                        </a:spcAft>
                      </a:pPr>
                      <a:r>
                        <a:rPr lang="en-GB" sz="140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Specific heat production costs </a:t>
                      </a:r>
                      <a:r>
                        <a:rPr lang="en-GB" sz="1400" b="1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Coal/Fuel oil</a:t>
                      </a:r>
                      <a:endParaRPr lang="en-US" sz="140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1300"/>
                        </a:spcAft>
                      </a:pPr>
                      <a:r>
                        <a:rPr lang="en-GB" sz="1400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[EUR/MWh]</a:t>
                      </a:r>
                      <a:endParaRPr lang="en-US" sz="1400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spcAft>
                          <a:spcPts val="1300"/>
                        </a:spcAft>
                      </a:pPr>
                      <a:r>
                        <a:rPr lang="en-GB" sz="1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96.6</a:t>
                      </a:r>
                      <a:endParaRPr lang="en-US" sz="140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4433279"/>
                  </a:ext>
                </a:extLst>
              </a:tr>
              <a:tr h="215077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1300"/>
                        </a:spcAft>
                      </a:pPr>
                      <a:r>
                        <a:rPr lang="en-GB" sz="140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Annual energy cost </a:t>
                      </a:r>
                      <a:endParaRPr lang="en-US" sz="140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1300"/>
                        </a:spcAft>
                      </a:pPr>
                      <a:r>
                        <a:rPr lang="en-GB" sz="1400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[EUR]</a:t>
                      </a:r>
                      <a:endParaRPr lang="en-US" sz="1400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spcAft>
                          <a:spcPts val="1300"/>
                        </a:spcAft>
                      </a:pPr>
                      <a:r>
                        <a:rPr lang="en-GB" sz="1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162,922</a:t>
                      </a:r>
                      <a:endParaRPr lang="en-US" sz="140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94073295"/>
                  </a:ext>
                </a:extLst>
              </a:tr>
              <a:tr h="215077">
                <a:tc gridSpan="3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1300"/>
                        </a:spcAft>
                      </a:pPr>
                      <a:r>
                        <a:rPr lang="en-GB" sz="1400" b="1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Project scenario</a:t>
                      </a:r>
                      <a:endParaRPr lang="en-US" sz="140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36815978"/>
                  </a:ext>
                </a:extLst>
              </a:tr>
              <a:tr h="215077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1300"/>
                        </a:spcAft>
                      </a:pPr>
                      <a:r>
                        <a:rPr lang="en-GB" sz="140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Heat pump installed capacity </a:t>
                      </a:r>
                      <a:endParaRPr lang="en-US" sz="140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1300"/>
                        </a:spcAft>
                      </a:pPr>
                      <a:r>
                        <a:rPr lang="en-GB" sz="1400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[MW]</a:t>
                      </a:r>
                      <a:endParaRPr lang="en-US" sz="1400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spcAft>
                          <a:spcPts val="1300"/>
                        </a:spcAft>
                      </a:pPr>
                      <a:r>
                        <a:rPr lang="en-GB" sz="140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0.71</a:t>
                      </a:r>
                      <a:endParaRPr lang="en-US" sz="140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05580887"/>
                  </a:ext>
                </a:extLst>
              </a:tr>
              <a:tr h="215077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1300"/>
                        </a:spcAft>
                      </a:pPr>
                      <a:r>
                        <a:rPr lang="en-GB" sz="140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COP</a:t>
                      </a:r>
                      <a:endParaRPr lang="en-US" sz="140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1300"/>
                        </a:spcAft>
                      </a:pPr>
                      <a:r>
                        <a:rPr lang="en-GB" sz="1400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 </a:t>
                      </a:r>
                      <a:endParaRPr lang="en-US" sz="1400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spcAft>
                          <a:spcPts val="1300"/>
                        </a:spcAft>
                      </a:pPr>
                      <a:r>
                        <a:rPr lang="en-GB" sz="140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3.4</a:t>
                      </a:r>
                      <a:endParaRPr lang="en-US" sz="140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94274119"/>
                  </a:ext>
                </a:extLst>
              </a:tr>
              <a:tr h="215077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1300"/>
                        </a:spcAft>
                      </a:pPr>
                      <a:r>
                        <a:rPr lang="en-GB" sz="140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Heat production from heat pump </a:t>
                      </a:r>
                      <a:endParaRPr lang="en-US" sz="140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1300"/>
                        </a:spcAft>
                      </a:pPr>
                      <a:r>
                        <a:rPr lang="en-GB" sz="1400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[MWh/year]</a:t>
                      </a:r>
                      <a:endParaRPr lang="en-US" sz="1400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spcAft>
                          <a:spcPts val="1300"/>
                        </a:spcAft>
                      </a:pPr>
                      <a:r>
                        <a:rPr lang="en-GB" sz="140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1,243</a:t>
                      </a:r>
                      <a:endParaRPr lang="en-US" sz="140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72467501"/>
                  </a:ext>
                </a:extLst>
              </a:tr>
              <a:tr h="363511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1300"/>
                        </a:spcAft>
                      </a:pPr>
                      <a:r>
                        <a:rPr lang="en-GB" sz="140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Electricity consumption for HP and pumping [MWh/year]</a:t>
                      </a:r>
                      <a:endParaRPr lang="en-US" sz="140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1300"/>
                        </a:spcAft>
                      </a:pPr>
                      <a:r>
                        <a:rPr lang="en-GB" sz="1400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[MWh/year]</a:t>
                      </a:r>
                      <a:endParaRPr lang="en-US" sz="1400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spcAft>
                          <a:spcPts val="1300"/>
                        </a:spcAft>
                      </a:pPr>
                      <a:r>
                        <a:rPr lang="en-GB" sz="140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438</a:t>
                      </a:r>
                      <a:endParaRPr lang="en-US" sz="140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2634815"/>
                  </a:ext>
                </a:extLst>
              </a:tr>
              <a:tr h="427882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1300"/>
                        </a:spcAft>
                      </a:pPr>
                      <a:r>
                        <a:rPr lang="en-GB" sz="1400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The percentage of energy that will be provided by the heat pump</a:t>
                      </a:r>
                      <a:endParaRPr lang="en-US" sz="1400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1300"/>
                        </a:spcAft>
                      </a:pPr>
                      <a:r>
                        <a:rPr lang="en-GB" sz="1400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[%]</a:t>
                      </a:r>
                      <a:endParaRPr lang="en-US" sz="1400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spcAft>
                          <a:spcPts val="1300"/>
                        </a:spcAft>
                      </a:pPr>
                      <a:r>
                        <a:rPr lang="en-GB" sz="140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73.67%</a:t>
                      </a:r>
                      <a:endParaRPr lang="en-US" sz="140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4287212"/>
                  </a:ext>
                </a:extLst>
              </a:tr>
              <a:tr h="215077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1300"/>
                        </a:spcAft>
                      </a:pPr>
                      <a:r>
                        <a:rPr lang="en-GB" sz="140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Total annual cost savings </a:t>
                      </a:r>
                      <a:endParaRPr lang="en-US" sz="140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1300"/>
                        </a:spcAft>
                      </a:pPr>
                      <a:r>
                        <a:rPr lang="en-GB" sz="140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[EUR]</a:t>
                      </a:r>
                      <a:endParaRPr lang="en-US" sz="140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spcAft>
                          <a:spcPts val="1300"/>
                        </a:spcAft>
                      </a:pPr>
                      <a:r>
                        <a:rPr lang="en-GB" sz="1400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78,404</a:t>
                      </a:r>
                      <a:endParaRPr lang="en-US" sz="1400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52661027"/>
                  </a:ext>
                </a:extLst>
              </a:tr>
              <a:tr h="215077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1300"/>
                        </a:spcAft>
                      </a:pPr>
                      <a:r>
                        <a:rPr lang="en-GB" sz="140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Annual CO2 emissions reduction</a:t>
                      </a:r>
                      <a:endParaRPr lang="en-US" sz="140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1300"/>
                        </a:spcAft>
                      </a:pPr>
                      <a:r>
                        <a:rPr lang="en-GB" sz="140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[tCO2]</a:t>
                      </a:r>
                      <a:endParaRPr lang="en-US" sz="140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spcAft>
                          <a:spcPts val="1300"/>
                        </a:spcAft>
                      </a:pPr>
                      <a:r>
                        <a:rPr lang="en-GB" sz="1400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452</a:t>
                      </a:r>
                      <a:endParaRPr lang="en-US" sz="1400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70600682"/>
                  </a:ext>
                </a:extLst>
              </a:tr>
              <a:tr h="215077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1300"/>
                        </a:spcAft>
                      </a:pPr>
                      <a:r>
                        <a:rPr lang="en-GB" sz="140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Cumulative cost savings for 15 years </a:t>
                      </a:r>
                      <a:endParaRPr lang="en-US" sz="140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1300"/>
                        </a:spcAft>
                      </a:pPr>
                      <a:r>
                        <a:rPr lang="en-GB" sz="140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[EUR]</a:t>
                      </a:r>
                      <a:endParaRPr lang="en-US" sz="140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spcAft>
                          <a:spcPts val="1300"/>
                        </a:spcAft>
                      </a:pPr>
                      <a:r>
                        <a:rPr lang="en-GB" sz="1400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1,176,066</a:t>
                      </a:r>
                      <a:endParaRPr lang="en-US" sz="1400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76128183"/>
                  </a:ext>
                </a:extLst>
              </a:tr>
              <a:tr h="215077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1300"/>
                        </a:spcAft>
                      </a:pPr>
                      <a:r>
                        <a:rPr lang="en-GB" sz="140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Estimated value of investment </a:t>
                      </a:r>
                      <a:endParaRPr lang="en-US" sz="140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1300"/>
                        </a:spcAft>
                      </a:pPr>
                      <a:r>
                        <a:rPr lang="en-GB" sz="140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[EUR]</a:t>
                      </a:r>
                      <a:endParaRPr lang="en-US" sz="140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spcAft>
                          <a:spcPts val="1300"/>
                        </a:spcAft>
                      </a:pPr>
                      <a:r>
                        <a:rPr lang="en-GB" sz="1400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769,651</a:t>
                      </a:r>
                      <a:endParaRPr lang="en-US" sz="1400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58486605"/>
                  </a:ext>
                </a:extLst>
              </a:tr>
              <a:tr h="215077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1300"/>
                        </a:spcAft>
                      </a:pPr>
                      <a:r>
                        <a:rPr lang="en-GB" sz="140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Verdana" panose="020B0604030504040204" pitchFamily="34" charset="0"/>
                        </a:rPr>
                        <a:t>LCOH – Baseline scenario</a:t>
                      </a:r>
                      <a:endParaRPr lang="en-US" sz="140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1300"/>
                        </a:spcAft>
                      </a:pPr>
                      <a:r>
                        <a:rPr lang="en-GB" sz="140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Verdana" panose="020B0604030504040204" pitchFamily="34" charset="0"/>
                        </a:rPr>
                        <a:t>[EUR/MWh]</a:t>
                      </a:r>
                      <a:endParaRPr lang="en-US" sz="140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spcAft>
                          <a:spcPts val="1300"/>
                        </a:spcAft>
                      </a:pPr>
                      <a:r>
                        <a:rPr lang="en-GB" sz="1400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96.6</a:t>
                      </a:r>
                      <a:endParaRPr lang="en-US" sz="1400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10366937"/>
                  </a:ext>
                </a:extLst>
              </a:tr>
              <a:tr h="215077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1300"/>
                        </a:spcAft>
                      </a:pPr>
                      <a:r>
                        <a:rPr lang="en-GB" sz="140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Verdana" panose="020B0604030504040204" pitchFamily="34" charset="0"/>
                        </a:rPr>
                        <a:t>LCOH – Project scenario</a:t>
                      </a:r>
                      <a:endParaRPr lang="en-US" sz="140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1300"/>
                        </a:spcAft>
                      </a:pPr>
                      <a:r>
                        <a:rPr lang="en-GB" sz="140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Verdana" panose="020B0604030504040204" pitchFamily="34" charset="0"/>
                        </a:rPr>
                        <a:t>[EUR/MWh]</a:t>
                      </a:r>
                      <a:endParaRPr lang="en-US" sz="140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spcAft>
                          <a:spcPts val="1300"/>
                        </a:spcAft>
                      </a:pPr>
                      <a:r>
                        <a:rPr lang="en-GB" sz="1400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64</a:t>
                      </a:r>
                      <a:endParaRPr lang="en-US" sz="1400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52748371"/>
                  </a:ext>
                </a:extLst>
              </a:tr>
              <a:tr h="215077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1300"/>
                        </a:spcAft>
                      </a:pPr>
                      <a:r>
                        <a:rPr lang="en-GB" sz="140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Simple payback period </a:t>
                      </a:r>
                      <a:endParaRPr lang="en-US" sz="140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1300"/>
                        </a:spcAft>
                      </a:pPr>
                      <a:r>
                        <a:rPr lang="en-GB" sz="140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[years]</a:t>
                      </a:r>
                      <a:endParaRPr lang="en-US" sz="140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spcAft>
                          <a:spcPts val="1300"/>
                        </a:spcAft>
                      </a:pPr>
                      <a:r>
                        <a:rPr lang="en-GB" sz="1400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9.8</a:t>
                      </a:r>
                      <a:endParaRPr lang="en-US" sz="1400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36838543"/>
                  </a:ext>
                </a:extLst>
              </a:tr>
              <a:tr h="215077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1300"/>
                        </a:spcAft>
                      </a:pPr>
                      <a:r>
                        <a:rPr lang="en-GB" sz="140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Simple payback period– 20% grant</a:t>
                      </a:r>
                      <a:endParaRPr lang="en-US" sz="140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1300"/>
                        </a:spcAft>
                      </a:pPr>
                      <a:r>
                        <a:rPr lang="en-GB" sz="140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[years]</a:t>
                      </a:r>
                      <a:endParaRPr lang="en-US" sz="140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spcAft>
                          <a:spcPts val="1300"/>
                        </a:spcAft>
                      </a:pPr>
                      <a:r>
                        <a:rPr lang="en-GB" sz="1400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8.6</a:t>
                      </a:r>
                      <a:endParaRPr lang="en-US" sz="1400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7289995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5725199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D5CF6AC9-DFF7-4B1E-A59B-5D839F8BFC15}"/>
              </a:ext>
            </a:extLst>
          </p:cNvPr>
          <p:cNvSpPr txBox="1">
            <a:spLocks/>
          </p:cNvSpPr>
          <p:nvPr/>
        </p:nvSpPr>
        <p:spPr>
          <a:xfrm>
            <a:off x="360000" y="360001"/>
            <a:ext cx="11473200" cy="619713"/>
          </a:xfrm>
          <a:prstGeom prst="rect">
            <a:avLst/>
          </a:prstGeom>
        </p:spPr>
        <p:txBody>
          <a:bodyPr vert="horz" lIns="72000" tIns="36000" rIns="72000" bIns="36000" rtlCol="0" anchor="t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Char char="​"/>
              <a:defRPr sz="3200" kern="120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542925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99060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j-lt"/>
                <a:ea typeface="Segoe UI Black" panose="020B0A02040204020203" pitchFamily="34" charset="0"/>
                <a:cs typeface="+mn-cs"/>
              </a:defRPr>
            </a:lvl4pPr>
            <a:lvl5pPr marL="1438275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ts val="600"/>
              </a:spcAft>
              <a:buNone/>
            </a:pPr>
            <a:r>
              <a:rPr lang="en-GB" sz="3700" b="1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Challenges</a:t>
            </a:r>
            <a:endParaRPr lang="da-DK" sz="3700" b="1" dirty="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06D0DC8-E754-41F9-B8ED-06169F62DD9A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0" y="6912000"/>
            <a:ext cx="0" cy="0"/>
          </a:xfrm>
        </p:spPr>
        <p:txBody>
          <a:bodyPr/>
          <a:lstStyle/>
          <a:p>
            <a:pPr>
              <a:spcAft>
                <a:spcPts val="600"/>
              </a:spcAft>
            </a:pPr>
            <a:fld id="{24C8C45C-947F-4981-8B3F-4F32E973C901}" type="slidenum">
              <a:rPr lang="en-GB" smtClean="0"/>
              <a:pPr>
                <a:spcAft>
                  <a:spcPts val="600"/>
                </a:spcAft>
              </a:pPr>
              <a:t>13</a:t>
            </a:fld>
            <a:endParaRPr lang="en-GB"/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498A6C4F-6D2A-A873-20EF-75A053905E0B}"/>
              </a:ext>
            </a:extLst>
          </p:cNvPr>
          <p:cNvSpPr txBox="1">
            <a:spLocks/>
          </p:cNvSpPr>
          <p:nvPr/>
        </p:nvSpPr>
        <p:spPr>
          <a:xfrm>
            <a:off x="951414" y="1218436"/>
            <a:ext cx="10173786" cy="4755243"/>
          </a:xfrm>
          <a:prstGeom prst="rect">
            <a:avLst/>
          </a:prstGeom>
        </p:spPr>
        <p:txBody>
          <a:bodyPr vert="horz" lIns="72000" tIns="36000" rIns="72000" bIns="3600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Char char="​"/>
              <a:defRPr lang="da-DK" sz="1800" kern="1200" smtClean="0">
                <a:solidFill>
                  <a:schemeClr val="accent5"/>
                </a:solidFill>
                <a:effectLst/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542925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99060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j-lt"/>
                <a:ea typeface="Segoe UI Black" panose="020B0A02040204020203" pitchFamily="34" charset="0"/>
                <a:cs typeface="+mn-cs"/>
              </a:defRPr>
            </a:lvl4pPr>
            <a:lvl5pPr marL="1438275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 algn="just">
              <a:lnSpc>
                <a:spcPct val="100000"/>
              </a:lnSpc>
              <a:spcAft>
                <a:spcPts val="1300"/>
              </a:spcAft>
              <a:buFont typeface="Symbol" panose="05050102010706020507" pitchFamily="18" charset="2"/>
              <a:buChar char=""/>
            </a:pPr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Gas boilers are currently one of the most common heating technologies</a:t>
            </a:r>
          </a:p>
          <a:p>
            <a:pPr marL="342900" indent="-342900" algn="just">
              <a:lnSpc>
                <a:spcPct val="100000"/>
              </a:lnSpc>
              <a:spcAft>
                <a:spcPts val="1300"/>
              </a:spcAft>
              <a:buFont typeface="Symbol" panose="05050102010706020507" pitchFamily="18" charset="2"/>
              <a:buChar char=""/>
            </a:pPr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Old fashion non-condensing gas boilers do not recover heat from the flue gases</a:t>
            </a:r>
            <a:endParaRPr lang="sr-Latn-RS" dirty="0">
              <a:latin typeface="Verdana" panose="020B0604030504040204" pitchFamily="34" charset="0"/>
              <a:ea typeface="Verdana" panose="020B0604030504040204" pitchFamily="34" charset="0"/>
              <a:cs typeface="Times New Roman" panose="02020603050405020304" pitchFamily="18" charset="0"/>
            </a:endParaRPr>
          </a:p>
          <a:p>
            <a:pPr marL="342900" indent="-342900" algn="just">
              <a:lnSpc>
                <a:spcPct val="100000"/>
              </a:lnSpc>
              <a:spcAft>
                <a:spcPts val="1300"/>
              </a:spcAft>
              <a:buFont typeface="Symbol" panose="05050102010706020507" pitchFamily="18" charset="2"/>
              <a:buChar char=""/>
            </a:pPr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Current possibilities of </a:t>
            </a:r>
            <a:r>
              <a:rPr lang="sr-Latn-RS" dirty="0"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DH</a:t>
            </a:r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 companies (in knowledge and finance)</a:t>
            </a:r>
            <a:endParaRPr lang="sr-Latn-RS" dirty="0">
              <a:latin typeface="Verdana" panose="020B0604030504040204" pitchFamily="34" charset="0"/>
              <a:ea typeface="Verdana" panose="020B0604030504040204" pitchFamily="34" charset="0"/>
              <a:cs typeface="Times New Roman" panose="02020603050405020304" pitchFamily="18" charset="0"/>
            </a:endParaRPr>
          </a:p>
          <a:p>
            <a:pPr marL="342900" indent="-342900" algn="just">
              <a:lnSpc>
                <a:spcPct val="100000"/>
              </a:lnSpc>
              <a:spcAft>
                <a:spcPts val="600"/>
              </a:spcAft>
              <a:buFont typeface="Symbol" panose="05050102010706020507" pitchFamily="18" charset="2"/>
              <a:buChar char=""/>
            </a:pPr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Insufficient hydraulic regulation of </a:t>
            </a:r>
            <a:r>
              <a:rPr lang="sr-Latn-RS" dirty="0"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DHS</a:t>
            </a:r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sr-Latn-RS" dirty="0"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(</a:t>
            </a:r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excessive flows </a:t>
            </a:r>
            <a:r>
              <a:rPr lang="sr-Latn-RS" dirty="0"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and</a:t>
            </a:r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 insufficient cooling of thermal substations</a:t>
            </a:r>
            <a:r>
              <a:rPr lang="sr-Latn-RS" dirty="0"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)</a:t>
            </a:r>
            <a:endParaRPr lang="en-GB" dirty="0">
              <a:latin typeface="Verdana" panose="020B0604030504040204" pitchFamily="34" charset="0"/>
              <a:ea typeface="Verdana" panose="020B0604030504040204" pitchFamily="34" charset="0"/>
              <a:cs typeface="Times New Roman" panose="02020603050405020304" pitchFamily="18" charset="0"/>
            </a:endParaRPr>
          </a:p>
          <a:p>
            <a:pPr marL="342900" indent="-342900" algn="just">
              <a:lnSpc>
                <a:spcPct val="100000"/>
              </a:lnSpc>
              <a:spcAft>
                <a:spcPts val="1300"/>
              </a:spcAft>
              <a:buFont typeface="Symbol" panose="05050102010706020507" pitchFamily="18" charset="2"/>
              <a:buChar char=""/>
            </a:pPr>
            <a:r>
              <a:rPr lang="en-GB" sz="180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No single solution </a:t>
            </a:r>
          </a:p>
          <a:p>
            <a:pPr marL="342900" lvl="0" indent="-342900" algn="just">
              <a:lnSpc>
                <a:spcPts val="1200"/>
              </a:lnSpc>
              <a:spcAft>
                <a:spcPts val="1300"/>
              </a:spcAft>
              <a:buFont typeface="Symbol" panose="05050102010706020507" pitchFamily="18" charset="2"/>
              <a:buChar char=""/>
            </a:pPr>
            <a:r>
              <a:rPr lang="en-GB" sz="180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Increase the electricity price </a:t>
            </a:r>
          </a:p>
          <a:p>
            <a:pPr marL="342900" lvl="0" indent="-342900" algn="just">
              <a:lnSpc>
                <a:spcPts val="1200"/>
              </a:lnSpc>
              <a:spcAft>
                <a:spcPts val="1300"/>
              </a:spcAft>
              <a:buFont typeface="Symbol" panose="05050102010706020507" pitchFamily="18" charset="2"/>
              <a:buChar char=""/>
            </a:pPr>
            <a:r>
              <a:rPr lang="en-GB" sz="180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Lack of the heat pumps in the market</a:t>
            </a:r>
          </a:p>
          <a:p>
            <a:pPr marL="342900" indent="-342900" algn="just">
              <a:lnSpc>
                <a:spcPct val="100000"/>
              </a:lnSpc>
              <a:spcAft>
                <a:spcPts val="1300"/>
              </a:spcAft>
              <a:buFont typeface="Symbol" panose="05050102010706020507" pitchFamily="18" charset="2"/>
              <a:buChar char=""/>
            </a:pPr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Availability of sufficient numbers of trained installers</a:t>
            </a:r>
          </a:p>
          <a:p>
            <a:pPr marL="342900" indent="-342900" algn="just">
              <a:lnSpc>
                <a:spcPct val="100000"/>
              </a:lnSpc>
              <a:spcAft>
                <a:spcPts val="1300"/>
              </a:spcAft>
              <a:buFont typeface="Symbol" panose="05050102010706020507" pitchFamily="18" charset="2"/>
              <a:buChar char=""/>
            </a:pPr>
            <a:endParaRPr lang="en-GB" dirty="0">
              <a:latin typeface="Verdana" panose="020B0604030504040204" pitchFamily="34" charset="0"/>
              <a:ea typeface="Verdana" panose="020B060403050404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ts val="1200"/>
              </a:lnSpc>
              <a:spcAft>
                <a:spcPts val="1300"/>
              </a:spcAft>
              <a:buFont typeface="Symbol" panose="05050102010706020507" pitchFamily="18" charset="2"/>
              <a:buChar char=""/>
            </a:pPr>
            <a:endParaRPr lang="en-GB" sz="1500" dirty="0">
              <a:solidFill>
                <a:schemeClr val="tx1"/>
              </a:solidFill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05B9A7A-F8CE-A047-BCF0-32C5F66068BC}"/>
              </a:ext>
            </a:extLst>
          </p:cNvPr>
          <p:cNvCxnSpPr/>
          <p:nvPr/>
        </p:nvCxnSpPr>
        <p:spPr>
          <a:xfrm flipH="1">
            <a:off x="719318" y="1112058"/>
            <a:ext cx="0" cy="4968000"/>
          </a:xfrm>
          <a:prstGeom prst="line">
            <a:avLst/>
          </a:prstGeom>
          <a:ln w="28575"/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1419316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D5CF6AC9-DFF7-4B1E-A59B-5D839F8BFC15}"/>
              </a:ext>
            </a:extLst>
          </p:cNvPr>
          <p:cNvSpPr txBox="1">
            <a:spLocks/>
          </p:cNvSpPr>
          <p:nvPr/>
        </p:nvSpPr>
        <p:spPr>
          <a:xfrm>
            <a:off x="360000" y="360001"/>
            <a:ext cx="11473200" cy="619713"/>
          </a:xfrm>
          <a:prstGeom prst="rect">
            <a:avLst/>
          </a:prstGeom>
        </p:spPr>
        <p:txBody>
          <a:bodyPr vert="horz" lIns="72000" tIns="36000" rIns="72000" bIns="36000" rtlCol="0" anchor="t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Char char="​"/>
              <a:defRPr sz="3200" kern="120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542925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99060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j-lt"/>
                <a:ea typeface="Segoe UI Black" panose="020B0A02040204020203" pitchFamily="34" charset="0"/>
                <a:cs typeface="+mn-cs"/>
              </a:defRPr>
            </a:lvl4pPr>
            <a:lvl5pPr marL="1438275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ts val="600"/>
              </a:spcAft>
              <a:buNone/>
            </a:pPr>
            <a:r>
              <a:rPr lang="en-GB" sz="3700" b="1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Solutions– as conclusion</a:t>
            </a:r>
            <a:endParaRPr lang="da-DK" sz="3700" b="1" dirty="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4" name="Slide Number Placeholder 3">
            <a:extLst>
              <a:ext uri="{FF2B5EF4-FFF2-40B4-BE49-F238E27FC236}">
                <a16:creationId xmlns:a16="http://schemas.microsoft.com/office/drawing/2014/main" id="{0F66127A-4540-4C05-28E9-2A325702DF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29600" y="6375818"/>
            <a:ext cx="511868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fld id="{24C8C45C-947F-4981-8B3F-4F32E973C901}" type="slidenum">
              <a:rPr lang="en-GB" smtClean="0"/>
              <a:pPr>
                <a:spcAft>
                  <a:spcPts val="600"/>
                </a:spcAft>
              </a:pPr>
              <a:t>14</a:t>
            </a:fld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06D0DC8-E754-41F9-B8ED-06169F62DD9A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0" y="6912000"/>
            <a:ext cx="0" cy="0"/>
          </a:xfrm>
        </p:spPr>
        <p:txBody>
          <a:bodyPr/>
          <a:lstStyle/>
          <a:p>
            <a:pPr>
              <a:spcAft>
                <a:spcPts val="600"/>
              </a:spcAft>
            </a:pPr>
            <a:fld id="{24C8C45C-947F-4981-8B3F-4F32E973C901}" type="slidenum">
              <a:rPr lang="en-GB" smtClean="0"/>
              <a:pPr>
                <a:spcAft>
                  <a:spcPts val="600"/>
                </a:spcAft>
              </a:pPr>
              <a:t>14</a:t>
            </a:fld>
            <a:endParaRPr lang="en-GB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BDC86C0F-5857-E5C5-CD71-8660A36EDD58}"/>
              </a:ext>
            </a:extLst>
          </p:cNvPr>
          <p:cNvSpPr txBox="1">
            <a:spLocks/>
          </p:cNvSpPr>
          <p:nvPr/>
        </p:nvSpPr>
        <p:spPr>
          <a:xfrm>
            <a:off x="5020230" y="979714"/>
            <a:ext cx="6811770" cy="3306704"/>
          </a:xfrm>
          <a:prstGeom prst="rect">
            <a:avLst/>
          </a:prstGeom>
        </p:spPr>
        <p:txBody>
          <a:bodyPr/>
          <a:lstStyle>
            <a:lvl1pPr marL="285750" indent="-2857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880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320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b="1" dirty="0">
                <a:solidFill>
                  <a:schemeClr val="accent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ost barriers solutions</a:t>
            </a:r>
          </a:p>
          <a:p>
            <a:r>
              <a:rPr lang="en-US" b="1" dirty="0">
                <a:solidFill>
                  <a:srgbClr val="C00000"/>
                </a:solidFill>
                <a:latin typeface="Graphik"/>
              </a:rPr>
              <a:t>Upfront costs: </a:t>
            </a:r>
            <a:r>
              <a:rPr lang="en-US" dirty="0">
                <a:solidFill>
                  <a:srgbClr val="000000"/>
                </a:solidFill>
                <a:latin typeface="Graphik"/>
              </a:rPr>
              <a:t>Grants, Low‐interest loans, Tax rebates, Risk mitigation schemes for medium‐ to large‐scale projects</a:t>
            </a:r>
          </a:p>
          <a:p>
            <a:r>
              <a:rPr lang="en-US" b="1" dirty="0">
                <a:solidFill>
                  <a:srgbClr val="C00000"/>
                </a:solidFill>
                <a:latin typeface="Graphik"/>
              </a:rPr>
              <a:t>Operating costs: </a:t>
            </a:r>
            <a:r>
              <a:rPr lang="en-US" dirty="0">
                <a:solidFill>
                  <a:srgbClr val="000000"/>
                </a:solidFill>
                <a:latin typeface="Graphik"/>
              </a:rPr>
              <a:t>Rebalancing electricity and fossil fuel taxes, Electricity and heat tariff reforms, Support for building insulation and heat distribution system upgrades, Quality and settings control after installation, DH staff training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b="1" dirty="0">
                <a:solidFill>
                  <a:schemeClr val="accent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on-cost barriers solutions</a:t>
            </a:r>
          </a:p>
          <a:p>
            <a:r>
              <a:rPr lang="en-US" b="0" i="0" dirty="0">
                <a:solidFill>
                  <a:srgbClr val="000000"/>
                </a:solidFill>
                <a:effectLst/>
                <a:latin typeface="Graphik"/>
              </a:rPr>
              <a:t>One‐stop‐shop platforms</a:t>
            </a:r>
          </a:p>
          <a:p>
            <a:r>
              <a:rPr lang="en-US" b="0" i="0" dirty="0">
                <a:solidFill>
                  <a:srgbClr val="000000"/>
                </a:solidFill>
                <a:effectLst/>
                <a:latin typeface="Graphik"/>
              </a:rPr>
              <a:t>Regulation changes for optics, noise and building permissions</a:t>
            </a:r>
            <a:endParaRPr lang="en-US" dirty="0">
              <a:solidFill>
                <a:srgbClr val="000000"/>
              </a:solidFill>
              <a:latin typeface="Graphik"/>
            </a:endParaRPr>
          </a:p>
          <a:p>
            <a:r>
              <a:rPr lang="en-US" b="0" i="0" dirty="0">
                <a:solidFill>
                  <a:srgbClr val="000000"/>
                </a:solidFill>
                <a:effectLst/>
                <a:latin typeface="Graphik"/>
              </a:rPr>
              <a:t>Revision of decision‐making rules</a:t>
            </a:r>
          </a:p>
          <a:p>
            <a:r>
              <a:rPr lang="en-US" b="0" i="0" dirty="0">
                <a:solidFill>
                  <a:srgbClr val="000000"/>
                </a:solidFill>
                <a:effectLst/>
                <a:latin typeface="Graphik"/>
              </a:rPr>
              <a:t>Minimum energy efficiency requirements for </a:t>
            </a:r>
            <a:r>
              <a:rPr lang="en-US" dirty="0">
                <a:solidFill>
                  <a:srgbClr val="000000"/>
                </a:solidFill>
                <a:latin typeface="Graphik"/>
              </a:rPr>
              <a:t>buildings connected to DH</a:t>
            </a:r>
          </a:p>
          <a:p>
            <a:r>
              <a:rPr lang="en-US" b="0" i="0" dirty="0">
                <a:solidFill>
                  <a:srgbClr val="000000"/>
                </a:solidFill>
                <a:effectLst/>
                <a:latin typeface="Graphik"/>
              </a:rPr>
              <a:t>Information campaigns towards consumers</a:t>
            </a:r>
          </a:p>
          <a:p>
            <a:pPr marL="0" indent="0">
              <a:buNone/>
            </a:pPr>
            <a:r>
              <a:rPr lang="en-US" b="1" dirty="0">
                <a:solidFill>
                  <a:schemeClr val="accent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upply side solutions</a:t>
            </a:r>
          </a:p>
          <a:p>
            <a:r>
              <a:rPr lang="en-US" b="0" i="0" dirty="0">
                <a:solidFill>
                  <a:srgbClr val="000000"/>
                </a:solidFill>
                <a:effectLst/>
                <a:latin typeface="Graphik"/>
              </a:rPr>
              <a:t>Long‐term certainty in policy support and regulations, as well as visibility into forthcoming regulation changes</a:t>
            </a:r>
          </a:p>
          <a:p>
            <a:r>
              <a:rPr lang="en-US" b="0" i="0" dirty="0">
                <a:solidFill>
                  <a:srgbClr val="000000"/>
                </a:solidFill>
                <a:effectLst/>
                <a:latin typeface="Graphik"/>
              </a:rPr>
              <a:t>National heat pump deployment targets and roadmaps</a:t>
            </a:r>
            <a:endParaRPr lang="en-US" dirty="0">
              <a:solidFill>
                <a:srgbClr val="000000"/>
              </a:solidFill>
              <a:latin typeface="Graphik"/>
            </a:endParaRPr>
          </a:p>
          <a:p>
            <a:r>
              <a:rPr lang="en-US" b="0" i="0" dirty="0">
                <a:solidFill>
                  <a:srgbClr val="000000"/>
                </a:solidFill>
                <a:effectLst/>
                <a:latin typeface="Graphik"/>
              </a:rPr>
              <a:t>Securing of heat pump component supply chains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aphicFrame>
        <p:nvGraphicFramePr>
          <p:cNvPr id="9" name="Text Placeholder 7">
            <a:extLst>
              <a:ext uri="{FF2B5EF4-FFF2-40B4-BE49-F238E27FC236}">
                <a16:creationId xmlns:a16="http://schemas.microsoft.com/office/drawing/2014/main" id="{E0BE62FD-0C19-E802-9F9A-7262E3C0C93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09874513"/>
              </p:ext>
            </p:extLst>
          </p:nvPr>
        </p:nvGraphicFramePr>
        <p:xfrm>
          <a:off x="-1864495" y="1364188"/>
          <a:ext cx="9109220" cy="60228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67004023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EE8F6A5B-11BB-4D9E-8A15-7D54B30590C5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488" b="12488"/>
          <a:stretch>
            <a:fillRect/>
          </a:stretch>
        </p:blipFill>
        <p:spPr>
          <a:xfrm>
            <a:off x="-1588" y="-3175"/>
            <a:ext cx="12193588" cy="6861175"/>
          </a:xfrm>
        </p:spPr>
      </p:pic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solidFill>
            <a:srgbClr val="FFFFFF"/>
          </a:solidFill>
        </p:spPr>
        <p:txBody>
          <a:bodyPr/>
          <a:lstStyle/>
          <a:p>
            <a:endParaRPr lang="en-US" dirty="0">
              <a:solidFill>
                <a:schemeClr val="bg2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US" smtClean="0"/>
              <a:pPr/>
              <a:t>15</a:t>
            </a:fld>
            <a:endParaRPr lang="en-US" dirty="0"/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46903203"/>
              </p:ext>
            </p:extLst>
          </p:nvPr>
        </p:nvGraphicFramePr>
        <p:xfrm>
          <a:off x="7629158" y="3813963"/>
          <a:ext cx="3937427" cy="2330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0374">
                  <a:extLst>
                    <a:ext uri="{9D8B030D-6E8A-4147-A177-3AD203B41FA5}">
                      <a16:colId xmlns:a16="http://schemas.microsoft.com/office/drawing/2014/main" val="3060352896"/>
                    </a:ext>
                  </a:extLst>
                </a:gridCol>
                <a:gridCol w="173905">
                  <a:extLst>
                    <a:ext uri="{9D8B030D-6E8A-4147-A177-3AD203B41FA5}">
                      <a16:colId xmlns:a16="http://schemas.microsoft.com/office/drawing/2014/main" val="3852382277"/>
                    </a:ext>
                  </a:extLst>
                </a:gridCol>
                <a:gridCol w="3436549">
                  <a:extLst>
                    <a:ext uri="{9D8B030D-6E8A-4147-A177-3AD203B41FA5}">
                      <a16:colId xmlns:a16="http://schemas.microsoft.com/office/drawing/2014/main" val="3318055102"/>
                    </a:ext>
                  </a:extLst>
                </a:gridCol>
                <a:gridCol w="161880">
                  <a:extLst>
                    <a:ext uri="{9D8B030D-6E8A-4147-A177-3AD203B41FA5}">
                      <a16:colId xmlns:a16="http://schemas.microsoft.com/office/drawing/2014/main" val="2962095205"/>
                    </a:ext>
                  </a:extLst>
                </a:gridCol>
                <a:gridCol w="84719">
                  <a:extLst>
                    <a:ext uri="{9D8B030D-6E8A-4147-A177-3AD203B41FA5}">
                      <a16:colId xmlns:a16="http://schemas.microsoft.com/office/drawing/2014/main" val="33740466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r"/>
                      <a:endParaRPr lang="en-US" sz="100" b="0" dirty="0"/>
                    </a:p>
                  </a:txBody>
                  <a:tcPr marL="0" marR="0" marT="0" marB="0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00" b="0" dirty="0"/>
                    </a:p>
                  </a:txBody>
                  <a:tcPr marL="0" marR="0" marT="0" marB="0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" b="0" dirty="0"/>
                    </a:p>
                  </a:txBody>
                  <a:tcPr marL="0" marR="0" marT="0" marB="0">
                    <a:lnL w="12700" cmpd="sng"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" b="0" dirty="0"/>
                    </a:p>
                  </a:txBody>
                  <a:tcPr marL="0" marR="0" marT="0" marB="0">
                    <a:lnL w="12700" cmpd="sng"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5098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71972822"/>
                  </a:ext>
                </a:extLst>
              </a:tr>
              <a:tr h="758147">
                <a:tc>
                  <a:txBody>
                    <a:bodyPr/>
                    <a:lstStyle/>
                    <a:p>
                      <a:pPr algn="r"/>
                      <a:endParaRPr lang="en-US" sz="100" b="0" dirty="0"/>
                    </a:p>
                  </a:txBody>
                  <a:tcPr marL="0" marR="0" marT="0" marB="0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00" b="0" dirty="0"/>
                    </a:p>
                  </a:txBody>
                  <a:tcPr marL="0" marR="0" marT="72000" marB="72000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3600" b="0" dirty="0">
                          <a:solidFill>
                            <a:schemeClr val="tx1"/>
                          </a:solidFill>
                        </a:rPr>
                        <a:t>NIRAS Energy</a:t>
                      </a:r>
                      <a:endParaRPr lang="en-US" sz="36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22400" marB="1404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5959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" b="0" dirty="0"/>
                    </a:p>
                  </a:txBody>
                  <a:tcPr marL="0" marR="0" marT="72000" marB="72000">
                    <a:lnL w="12700" cmpd="sng"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" b="0" dirty="0"/>
                    </a:p>
                  </a:txBody>
                  <a:tcPr marL="0" marR="0" marT="0" marB="0">
                    <a:lnL w="12700" cmpd="sng"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5098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9338731"/>
                  </a:ext>
                </a:extLst>
              </a:tr>
              <a:tr h="877249">
                <a:tc>
                  <a:txBody>
                    <a:bodyPr/>
                    <a:lstStyle/>
                    <a:p>
                      <a:pPr algn="r"/>
                      <a:endParaRPr lang="en-US" sz="100" dirty="0"/>
                    </a:p>
                  </a:txBody>
                  <a:tcPr marL="0" marR="0" marT="0" marB="0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00" dirty="0"/>
                    </a:p>
                  </a:txBody>
                  <a:tcPr marL="0" marR="0" marT="0" marB="0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2400" dirty="0">
                          <a:latin typeface="Palatino Linotype" panose="02040502050505030304" pitchFamily="18" charset="0"/>
                        </a:rPr>
                        <a:t>Thank you for your attention!</a:t>
                      </a:r>
                    </a:p>
                  </a:txBody>
                  <a:tcPr marL="0" marR="0" marT="126000" marB="108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5959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5959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" dirty="0"/>
                    </a:p>
                  </a:txBody>
                  <a:tcPr marL="0" marR="0" marT="0" marB="0">
                    <a:lnL w="12700" cmpd="sng"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" dirty="0"/>
                    </a:p>
                  </a:txBody>
                  <a:tcPr marL="0" marR="0" marT="0" marB="0">
                    <a:lnL w="12700" cmpd="sng"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5098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5232503"/>
                  </a:ext>
                </a:extLst>
              </a:tr>
              <a:tr h="457050">
                <a:tc>
                  <a:txBody>
                    <a:bodyPr/>
                    <a:lstStyle/>
                    <a:p>
                      <a:pPr algn="r"/>
                      <a:endParaRPr lang="en-US" sz="100" dirty="0"/>
                    </a:p>
                  </a:txBody>
                  <a:tcPr marL="0" marR="0" marT="0" marB="0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00" dirty="0"/>
                    </a:p>
                  </a:txBody>
                  <a:tcPr marL="0" marR="0" marT="0" marB="0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600" cap="all" dirty="0"/>
                    </a:p>
                  </a:txBody>
                  <a:tcPr marL="0" marR="0" marT="72000" marB="1872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5959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" dirty="0"/>
                    </a:p>
                  </a:txBody>
                  <a:tcPr marL="0" marR="0" marT="0" marB="0">
                    <a:lnL w="12700" cmpd="sng"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" dirty="0"/>
                    </a:p>
                  </a:txBody>
                  <a:tcPr marL="0" marR="0" marT="0" marB="0">
                    <a:lnL w="12700" cmpd="sng"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5098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3350775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endParaRPr lang="en-US" sz="100" dirty="0"/>
                    </a:p>
                  </a:txBody>
                  <a:tcPr marL="0" marR="0" marT="0" marB="0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00" dirty="0"/>
                    </a:p>
                  </a:txBody>
                  <a:tcPr marL="0" marR="0" marT="0" marB="0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00" cap="all" dirty="0"/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" dirty="0"/>
                    </a:p>
                  </a:txBody>
                  <a:tcPr marL="0" marR="0" marT="0" marB="0">
                    <a:lnL w="12700" cmpd="sng"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" dirty="0"/>
                    </a:p>
                  </a:txBody>
                  <a:tcPr marL="0" marR="0" marT="0" marB="0">
                    <a:lnL w="12700" cmpd="sng"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5098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9653087"/>
                  </a:ext>
                </a:extLst>
              </a:tr>
            </a:tbl>
          </a:graphicData>
        </a:graphic>
      </p:graphicFrame>
      <p:pic>
        <p:nvPicPr>
          <p:cNvPr id="3082" name="Picture 10">
            <a:extLst>
              <a:ext uri="{FF2B5EF4-FFF2-40B4-BE49-F238E27FC236}">
                <a16:creationId xmlns:a16="http://schemas.microsoft.com/office/drawing/2014/main" id="{D1D16087-27D1-4481-8D54-EC984E211B2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3524" y="396021"/>
            <a:ext cx="5400675" cy="7905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069631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Placeholder 14">
            <a:extLst>
              <a:ext uri="{FF2B5EF4-FFF2-40B4-BE49-F238E27FC236}">
                <a16:creationId xmlns:a16="http://schemas.microsoft.com/office/drawing/2014/main" id="{301BE2B1-58D8-45C4-9E83-D723167E7D7A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/>
          <a:srcRect t="11811" b="11811"/>
          <a:stretch>
            <a:fillRect/>
          </a:stretch>
        </p:blipFill>
        <p:spPr>
          <a:xfrm>
            <a:off x="-1201" y="1"/>
            <a:ext cx="12193200" cy="6857999"/>
          </a:xfrm>
          <a:prstGeom prst="rect">
            <a:avLst/>
          </a:prstGeom>
        </p:spPr>
      </p:pic>
      <p:sp>
        <p:nvSpPr>
          <p:cNvPr id="8" name="Title 7">
            <a:extLst>
              <a:ext uri="{FF2B5EF4-FFF2-40B4-BE49-F238E27FC236}">
                <a16:creationId xmlns:a16="http://schemas.microsoft.com/office/drawing/2014/main" id="{5EF30CFD-96AD-4C1D-AB18-D98041C25DD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14557" y="1076113"/>
            <a:ext cx="10333037" cy="914151"/>
          </a:xfrm>
        </p:spPr>
        <p:txBody>
          <a:bodyPr/>
          <a:lstStyle/>
          <a:p>
            <a:r>
              <a:rPr lang="da-DK" dirty="0">
                <a:solidFill>
                  <a:schemeClr val="accent5"/>
                </a:solidFill>
              </a:rPr>
              <a:t>AGENDA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7343AC22-8ABD-4A97-9C76-FDFD89BAD14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CC6571A-708C-4397-8E68-D07C5C6FA0A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45F3C80-2BE4-4959-C590-70033625ED4F}"/>
              </a:ext>
            </a:extLst>
          </p:cNvPr>
          <p:cNvSpPr txBox="1"/>
          <p:nvPr/>
        </p:nvSpPr>
        <p:spPr>
          <a:xfrm>
            <a:off x="1004207" y="2086098"/>
            <a:ext cx="9390194" cy="393954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571500" indent="-571500">
              <a:spcBef>
                <a:spcPct val="0"/>
              </a:spcBef>
              <a:spcAft>
                <a:spcPts val="600"/>
              </a:spcAft>
              <a:buClr>
                <a:schemeClr val="accent6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da-DK" sz="3600" b="1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Heat pump Technologies</a:t>
            </a:r>
          </a:p>
          <a:p>
            <a:pPr marL="571500" indent="-571500">
              <a:spcBef>
                <a:spcPct val="0"/>
              </a:spcBef>
              <a:spcAft>
                <a:spcPts val="600"/>
              </a:spcAft>
              <a:buClr>
                <a:schemeClr val="accent6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da-DK" sz="3600" b="1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Integration of heat pumps - </a:t>
            </a:r>
            <a:r>
              <a:rPr lang="da-DK" sz="3600" b="1" dirty="0" err="1">
                <a:solidFill>
                  <a:schemeClr val="tx1"/>
                </a:solidFill>
                <a:latin typeface="+mj-lt"/>
                <a:ea typeface="+mj-ea"/>
                <a:cs typeface="+mj-cs"/>
              </a:rPr>
              <a:t>Opportunities</a:t>
            </a:r>
            <a:endParaRPr lang="da-DK" sz="3600" b="1" dirty="0">
              <a:latin typeface="+mj-lt"/>
              <a:ea typeface="+mj-ea"/>
              <a:cs typeface="+mj-cs"/>
            </a:endParaRPr>
          </a:p>
          <a:p>
            <a:pPr marL="571500" indent="-571500">
              <a:spcBef>
                <a:spcPct val="0"/>
              </a:spcBef>
              <a:spcAft>
                <a:spcPts val="600"/>
              </a:spcAft>
              <a:buClr>
                <a:schemeClr val="accent6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en-GB" sz="3600" b="1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Identified opportunities in Serbia</a:t>
            </a:r>
          </a:p>
          <a:p>
            <a:pPr marL="571500" indent="-571500">
              <a:spcBef>
                <a:spcPct val="0"/>
              </a:spcBef>
              <a:spcAft>
                <a:spcPts val="600"/>
              </a:spcAft>
              <a:buClr>
                <a:schemeClr val="accent6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en-GB" sz="3600" b="1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Challenges</a:t>
            </a:r>
            <a:endParaRPr lang="da-DK" sz="3600" b="1" dirty="0">
              <a:solidFill>
                <a:schemeClr val="tx1"/>
              </a:solidFill>
              <a:latin typeface="+mj-lt"/>
              <a:ea typeface="+mj-ea"/>
              <a:cs typeface="+mj-cs"/>
            </a:endParaRPr>
          </a:p>
          <a:p>
            <a:pPr marL="571500" indent="-571500">
              <a:spcBef>
                <a:spcPct val="0"/>
              </a:spcBef>
              <a:spcAft>
                <a:spcPts val="600"/>
              </a:spcAft>
              <a:buClr>
                <a:schemeClr val="accent6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en-GB" sz="3600" b="1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Solutions – as conclusion</a:t>
            </a:r>
            <a:endParaRPr lang="da-DK" sz="3600" b="1" dirty="0">
              <a:solidFill>
                <a:schemeClr val="tx1"/>
              </a:solidFill>
              <a:latin typeface="+mj-lt"/>
              <a:ea typeface="+mj-ea"/>
              <a:cs typeface="+mj-cs"/>
            </a:endParaRPr>
          </a:p>
          <a:p>
            <a:pPr>
              <a:spcBef>
                <a:spcPct val="0"/>
              </a:spcBef>
              <a:spcAft>
                <a:spcPts val="600"/>
              </a:spcAft>
            </a:pPr>
            <a:endParaRPr lang="da-DK" sz="2000" dirty="0">
              <a:solidFill>
                <a:schemeClr val="tx1"/>
              </a:solidFill>
              <a:latin typeface="+mj-lt"/>
              <a:ea typeface="+mj-ea"/>
              <a:cs typeface="+mj-cs"/>
            </a:endParaRPr>
          </a:p>
          <a:p>
            <a:pPr>
              <a:spcBef>
                <a:spcPct val="0"/>
              </a:spcBef>
              <a:spcAft>
                <a:spcPts val="600"/>
              </a:spcAft>
              <a:buNone/>
            </a:pPr>
            <a:endParaRPr lang="da-DK" sz="2000" dirty="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4567954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FBDB62BD-DA25-44E7-BEFE-BBD600D04B9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58802" y="979714"/>
            <a:ext cx="5540398" cy="619713"/>
          </a:xfrm>
        </p:spPr>
        <p:txBody>
          <a:bodyPr vert="horz" lIns="72000" tIns="36000" rIns="72000" bIns="36000" rtlCol="0" anchor="ctr">
            <a:normAutofit/>
          </a:bodyPr>
          <a:lstStyle/>
          <a:p>
            <a:r>
              <a:rPr lang="en-US" sz="2000" b="1" kern="1200" dirty="0">
                <a:latin typeface="Segoe UI Black" panose="020B0A02040204020203" pitchFamily="34" charset="0"/>
                <a:ea typeface="Segoe UI Black" panose="020B0A02040204020203" pitchFamily="34" charset="0"/>
                <a:cs typeface="+mn-cs"/>
              </a:rPr>
              <a:t>Why heat pumps?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0E38F6E-BCCB-4556-A651-76D7D7BEBED3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229500" y="1805093"/>
            <a:ext cx="5669693" cy="4204800"/>
          </a:xfrm>
          <a:ln>
            <a:solidFill>
              <a:schemeClr val="bg1"/>
            </a:solidFill>
          </a:ln>
        </p:spPr>
        <p:txBody>
          <a:bodyPr vert="horz" lIns="72000" tIns="36000" rIns="72000" bIns="36000" rtlCol="0">
            <a:normAutofit/>
          </a:bodyPr>
          <a:lstStyle/>
          <a:p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</a:rPr>
              <a:t>Unlock potential for the new </a:t>
            </a:r>
            <a:r>
              <a:rPr lang="sr-Latn-RS" b="1" dirty="0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LOW TEMPERATURE </a:t>
            </a:r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</a:rPr>
              <a:t>heat sources</a:t>
            </a:r>
          </a:p>
          <a:p>
            <a:pPr algn="l" fontAlgn="base">
              <a:buFont typeface="Arial" panose="020B0604020202020204" pitchFamily="34" charset="0"/>
              <a:buChar char="•"/>
            </a:pPr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</a:rPr>
              <a:t>Contributes to the phase-out of fossil fuels in the energy system</a:t>
            </a:r>
          </a:p>
          <a:p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</a:rPr>
              <a:t>Reduce the heat production and CO2-emission</a:t>
            </a:r>
          </a:p>
          <a:p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</a:rPr>
              <a:t>To create a greener energy sector by using more different fuels and enable sector integration</a:t>
            </a:r>
          </a:p>
          <a:p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</a:rPr>
              <a:t>Relevant for both small, medio-sized and bigger energy DH companies</a:t>
            </a:r>
          </a:p>
          <a:p>
            <a:r>
              <a:rPr lang="en-US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n</a:t>
            </a:r>
            <a:r>
              <a:rPr lang="en-US" b="0" i="0" dirty="0">
                <a:solidFill>
                  <a:srgbClr val="000000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 economically viable option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5BD15C55-6697-419E-9CBC-3C1D256995EF}"/>
              </a:ext>
            </a:extLst>
          </p:cNvPr>
          <p:cNvSpPr txBox="1">
            <a:spLocks/>
          </p:cNvSpPr>
          <p:nvPr/>
        </p:nvSpPr>
        <p:spPr>
          <a:xfrm>
            <a:off x="6292202" y="979715"/>
            <a:ext cx="5540398" cy="619713"/>
          </a:xfrm>
          <a:prstGeom prst="rect">
            <a:avLst/>
          </a:prstGeom>
        </p:spPr>
        <p:txBody>
          <a:bodyPr vert="horz" lIns="72000" tIns="36000" rIns="72000" bIns="3600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Char char="​"/>
              <a:defRPr lang="da-DK" sz="1800" kern="1200" smtClean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542925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99060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j-lt"/>
                <a:ea typeface="Segoe UI Black" panose="020B0A02040204020203" pitchFamily="34" charset="0"/>
                <a:cs typeface="+mn-cs"/>
              </a:defRPr>
            </a:lvl4pPr>
            <a:lvl5pPr marL="1438275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1000"/>
              </a:spcBef>
              <a:buNone/>
            </a:pPr>
            <a:r>
              <a:rPr lang="en-US" sz="2000" b="1" kern="1200" dirty="0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+mn-cs"/>
              </a:rPr>
              <a:t>State-of-art in the distric</a:t>
            </a:r>
            <a:r>
              <a:rPr lang="en-US" sz="2000" b="1" dirty="0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t heating sector in EU countries</a:t>
            </a:r>
            <a:endParaRPr lang="en-US" sz="2000" b="1" kern="1200" dirty="0">
              <a:solidFill>
                <a:schemeClr val="accent5"/>
              </a:solidFill>
              <a:latin typeface="Segoe UI Black" panose="020B0A02040204020203" pitchFamily="34" charset="0"/>
              <a:ea typeface="Segoe UI Black" panose="020B0A02040204020203" pitchFamily="34" charset="0"/>
              <a:cs typeface="+mn-cs"/>
            </a:endParaRP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D5CF6AC9-DFF7-4B1E-A59B-5D839F8BFC15}"/>
              </a:ext>
            </a:extLst>
          </p:cNvPr>
          <p:cNvSpPr txBox="1">
            <a:spLocks/>
          </p:cNvSpPr>
          <p:nvPr/>
        </p:nvSpPr>
        <p:spPr>
          <a:xfrm>
            <a:off x="360000" y="360001"/>
            <a:ext cx="11473200" cy="619713"/>
          </a:xfrm>
          <a:prstGeom prst="rect">
            <a:avLst/>
          </a:prstGeom>
        </p:spPr>
        <p:txBody>
          <a:bodyPr vert="horz" lIns="72000" tIns="36000" rIns="72000" bIns="36000" rtlCol="0" anchor="t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Char char="​"/>
              <a:defRPr sz="3200" kern="120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542925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99060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j-lt"/>
                <a:ea typeface="Segoe UI Black" panose="020B0A02040204020203" pitchFamily="34" charset="0"/>
                <a:cs typeface="+mn-cs"/>
              </a:defRPr>
            </a:lvl4pPr>
            <a:lvl5pPr marL="1438275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ts val="600"/>
              </a:spcAft>
              <a:buNone/>
            </a:pPr>
            <a:r>
              <a:rPr lang="da-DK" sz="3700" b="1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Heat pump Technologie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06D0DC8-E754-41F9-B8ED-06169F62DD9A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0" y="6912000"/>
            <a:ext cx="0" cy="0"/>
          </a:xfrm>
        </p:spPr>
        <p:txBody>
          <a:bodyPr/>
          <a:lstStyle/>
          <a:p>
            <a:pPr>
              <a:spcAft>
                <a:spcPts val="600"/>
              </a:spcAft>
            </a:pPr>
            <a:fld id="{24C8C45C-947F-4981-8B3F-4F32E973C901}" type="slidenum">
              <a:rPr lang="en-GB" smtClean="0"/>
              <a:pPr>
                <a:spcAft>
                  <a:spcPts val="600"/>
                </a:spcAft>
              </a:pPr>
              <a:t>3</a:t>
            </a:fld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4577571-9020-4775-AE4C-B8F7816C501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292202" y="1846632"/>
            <a:ext cx="5540400" cy="1106158"/>
          </a:xfrm>
          <a:solidFill>
            <a:schemeClr val="accent4"/>
          </a:solidFill>
          <a:ln>
            <a:solidFill>
              <a:schemeClr val="bg1"/>
            </a:solidFill>
          </a:ln>
        </p:spPr>
        <p:txBody>
          <a:bodyPr>
            <a:normAutofit fontScale="775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b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</a:br>
            <a:r>
              <a:rPr lang="en-US" sz="2000" b="1" dirty="0">
                <a:solidFill>
                  <a:schemeClr val="bg1"/>
                </a:solidFill>
                <a:latin typeface="Segoe UI"/>
              </a:rPr>
              <a:t>2.5 </a:t>
            </a:r>
            <a:r>
              <a:rPr lang="en-US" sz="2000" b="1" dirty="0" err="1">
                <a:solidFill>
                  <a:schemeClr val="bg1"/>
                </a:solidFill>
                <a:latin typeface="Segoe UI"/>
              </a:rPr>
              <a:t>GWth</a:t>
            </a:r>
            <a:r>
              <a:rPr lang="en-US" sz="2000" b="1" dirty="0">
                <a:solidFill>
                  <a:schemeClr val="bg1"/>
                </a:solidFill>
                <a:latin typeface="Segoe UI"/>
              </a:rPr>
              <a:t> (2021) of</a:t>
            </a:r>
          </a:p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US" sz="2000" b="1" dirty="0">
                <a:solidFill>
                  <a:schemeClr val="bg1"/>
                </a:solidFill>
                <a:latin typeface="Segoe UI"/>
              </a:rPr>
              <a:t>installed capacity of large heat pumps in DHC systems*</a:t>
            </a:r>
            <a:endParaRPr lang="da-DK" sz="2000" b="1" dirty="0">
              <a:solidFill>
                <a:schemeClr val="bg1"/>
              </a:solidFill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E9CA488E-EDD4-407B-8E0C-9DB2FD98F740}"/>
              </a:ext>
            </a:extLst>
          </p:cNvPr>
          <p:cNvCxnSpPr/>
          <p:nvPr/>
        </p:nvCxnSpPr>
        <p:spPr>
          <a:xfrm flipH="1">
            <a:off x="5944001" y="1423493"/>
            <a:ext cx="0" cy="4968000"/>
          </a:xfrm>
          <a:prstGeom prst="line">
            <a:avLst/>
          </a:prstGeom>
          <a:ln w="28575"/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7924323C-53AD-4533-95E8-6993207B858E}"/>
              </a:ext>
            </a:extLst>
          </p:cNvPr>
          <p:cNvSpPr txBox="1"/>
          <p:nvPr/>
        </p:nvSpPr>
        <p:spPr>
          <a:xfrm>
            <a:off x="313999" y="4921556"/>
            <a:ext cx="5540396" cy="6740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(Heat Roadmap Europe project estimates a potential 50% market share for District Heating by 2050 in Europe, with approximately 25-30% of installed capacity based on large electric heat pumps.)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0EA9194-4E7D-6770-A7A8-A9E0C5E5EE4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44343" y="3208564"/>
            <a:ext cx="5301343" cy="3151354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A94AEDE8-F692-074C-363C-AFE8891BDF63}"/>
              </a:ext>
            </a:extLst>
          </p:cNvPr>
          <p:cNvSpPr txBox="1"/>
          <p:nvPr/>
        </p:nvSpPr>
        <p:spPr>
          <a:xfrm>
            <a:off x="229501" y="6022902"/>
            <a:ext cx="5540396" cy="2862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GB" sz="1400" dirty="0">
                <a:solidFill>
                  <a:srgbClr val="000000"/>
                </a:solidFill>
                <a:latin typeface="Segoe UI"/>
              </a:rPr>
              <a:t>*</a:t>
            </a:r>
            <a:r>
              <a:rPr lang="en-US" sz="1400" dirty="0" err="1">
                <a:solidFill>
                  <a:srgbClr val="000000"/>
                </a:solidFill>
                <a:latin typeface="Segoe UI"/>
              </a:rPr>
              <a:t>Euroheat&amp;Power</a:t>
            </a:r>
            <a:r>
              <a:rPr lang="en-US" sz="1400" dirty="0">
                <a:solidFill>
                  <a:srgbClr val="000000"/>
                </a:solidFill>
                <a:latin typeface="Segoe UI"/>
              </a:rPr>
              <a:t> survey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5565307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FBDB62BD-DA25-44E7-BEFE-BBD600D04B9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58802" y="890974"/>
            <a:ext cx="5540398" cy="619713"/>
          </a:xfrm>
        </p:spPr>
        <p:txBody>
          <a:bodyPr vert="horz" lIns="72000" tIns="36000" rIns="72000" bIns="36000" rtlCol="0" anchor="ctr">
            <a:normAutofit/>
          </a:bodyPr>
          <a:lstStyle/>
          <a:p>
            <a:r>
              <a:rPr lang="en-US" sz="2000" dirty="0"/>
              <a:t>Drivers opening </a:t>
            </a:r>
            <a:r>
              <a:rPr lang="en-US" sz="2000" b="1" kern="1200" dirty="0">
                <a:latin typeface="Segoe UI Black" panose="020B0A02040204020203" pitchFamily="34" charset="0"/>
                <a:ea typeface="Segoe UI Black" panose="020B0A02040204020203" pitchFamily="34" charset="0"/>
                <a:cs typeface="+mn-cs"/>
              </a:rPr>
              <a:t>the market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0E38F6E-BCCB-4556-A651-76D7D7BEBED3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251603" y="1673692"/>
            <a:ext cx="5540400" cy="4824307"/>
          </a:xfrm>
          <a:ln>
            <a:solidFill>
              <a:schemeClr val="bg1"/>
            </a:solidFill>
          </a:ln>
        </p:spPr>
        <p:txBody>
          <a:bodyPr vert="horz" lIns="72000" tIns="36000" rIns="72000" bIns="36000" rtlCol="0">
            <a:normAutofit fontScale="92500"/>
          </a:bodyPr>
          <a:lstStyle/>
          <a:p>
            <a:pPr algn="just"/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</a:rPr>
              <a:t>EBRD Renewable District Energy Program in </a:t>
            </a:r>
            <a:r>
              <a:rPr lang="sr-Latn-RS" dirty="0">
                <a:latin typeface="Verdana" panose="020B0604030504040204" pitchFamily="34" charset="0"/>
                <a:ea typeface="Verdana" panose="020B0604030504040204" pitchFamily="34" charset="0"/>
              </a:rPr>
              <a:t>Serbia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algn="just">
              <a:lnSpc>
                <a:spcPct val="100000"/>
              </a:lnSpc>
            </a:pPr>
            <a:r>
              <a:rPr lang="en-US" dirty="0" err="1">
                <a:latin typeface="Verdana" panose="020B0604030504040204" pitchFamily="34" charset="0"/>
                <a:ea typeface="Verdana" panose="020B0604030504040204" pitchFamily="34" charset="0"/>
              </a:rPr>
              <a:t>KfW</a:t>
            </a:r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</a:rPr>
              <a:t> program for rehabilitation of district heating systems in RS</a:t>
            </a:r>
          </a:p>
          <a:p>
            <a:pPr algn="just" fontAlgn="base">
              <a:buFont typeface="Arial" panose="020B0604020202020204" pitchFamily="34" charset="0"/>
              <a:buChar char="•"/>
            </a:pPr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</a:rPr>
              <a:t>Energy crisis</a:t>
            </a:r>
            <a:r>
              <a:rPr lang="sr-Latn-RS" dirty="0">
                <a:latin typeface="Verdana" panose="020B0604030504040204" pitchFamily="34" charset="0"/>
                <a:ea typeface="Verdana" panose="020B0604030504040204" pitchFamily="34" charset="0"/>
              </a:rPr>
              <a:t> caused by the war in Ukraine</a:t>
            </a:r>
          </a:p>
          <a:p>
            <a:pPr algn="just" fontAlgn="base">
              <a:buFont typeface="Arial" panose="020B0604020202020204" pitchFamily="34" charset="0"/>
              <a:buChar char="•"/>
            </a:pPr>
            <a:r>
              <a:rPr lang="sr-Latn-RS" dirty="0">
                <a:latin typeface="Verdana" panose="020B0604030504040204" pitchFamily="34" charset="0"/>
                <a:ea typeface="Verdana" panose="020B0604030504040204" pitchFamily="34" charset="0"/>
              </a:rPr>
              <a:t>National </a:t>
            </a:r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</a:rPr>
              <a:t>legal framework - LEERUE also envisages the development of a potential analysis for highly efficient cogeneration and the possibility of using efficient district heating/cooling in accordance with Article 14 of the EED</a:t>
            </a:r>
          </a:p>
          <a:p>
            <a:pPr algn="just" fontAlgn="base">
              <a:buFont typeface="Arial" panose="020B0604020202020204" pitchFamily="34" charset="0"/>
              <a:buChar char="•"/>
            </a:pPr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</a:rPr>
              <a:t>NREAP underlines the introduction of district heating systems based on the use of RES and combined heat and power production;.</a:t>
            </a:r>
          </a:p>
          <a:p>
            <a:pPr algn="just" fontAlgn="base">
              <a:buFont typeface="Arial" panose="020B0604020202020204" pitchFamily="34" charset="0"/>
              <a:buChar char="•"/>
            </a:pPr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</a:rPr>
              <a:t>Energy security of Republic of Serbia underlines intensification of use of RES in district heating systems in Serbia</a:t>
            </a:r>
          </a:p>
          <a:p>
            <a:pPr algn="just" fontAlgn="base">
              <a:lnSpc>
                <a:spcPct val="100000"/>
              </a:lnSpc>
            </a:pPr>
            <a:r>
              <a:rPr lang="en-GB" dirty="0">
                <a:latin typeface="Verdana" panose="020B0604030504040204" pitchFamily="34" charset="0"/>
                <a:ea typeface="Verdana" panose="020B0604030504040204" pitchFamily="34" charset="0"/>
              </a:rPr>
              <a:t>DH companies need to reduce the GHG emissions in the process of the decarbonization of the DH sector in Serbia </a:t>
            </a:r>
          </a:p>
          <a:p>
            <a:pPr algn="just" fontAlgn="base">
              <a:buFont typeface="Arial" panose="020B0604020202020204" pitchFamily="34" charset="0"/>
              <a:buChar char="•"/>
            </a:pPr>
            <a:endParaRPr lang="en-US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5BD15C55-6697-419E-9CBC-3C1D256995EF}"/>
              </a:ext>
            </a:extLst>
          </p:cNvPr>
          <p:cNvSpPr txBox="1">
            <a:spLocks/>
          </p:cNvSpPr>
          <p:nvPr/>
        </p:nvSpPr>
        <p:spPr>
          <a:xfrm>
            <a:off x="6292802" y="890974"/>
            <a:ext cx="5540398" cy="619713"/>
          </a:xfrm>
          <a:prstGeom prst="rect">
            <a:avLst/>
          </a:prstGeom>
        </p:spPr>
        <p:txBody>
          <a:bodyPr vert="horz" lIns="72000" tIns="36000" rIns="72000" bIns="36000" rtlCol="0" anchor="ctr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Char char="​"/>
              <a:defRPr lang="da-DK" sz="1800" kern="1200" smtClean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542925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99060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j-lt"/>
                <a:ea typeface="Segoe UI Black" panose="020B0A02040204020203" pitchFamily="34" charset="0"/>
                <a:cs typeface="+mn-cs"/>
              </a:defRPr>
            </a:lvl4pPr>
            <a:lvl5pPr marL="1438275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1000"/>
              </a:spcBef>
              <a:buNone/>
            </a:pPr>
            <a:r>
              <a:rPr lang="en-US" sz="2000" b="1" kern="1200" dirty="0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+mn-cs"/>
              </a:rPr>
              <a:t>Benefits for the DH Companies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D5CF6AC9-DFF7-4B1E-A59B-5D839F8BFC15}"/>
              </a:ext>
            </a:extLst>
          </p:cNvPr>
          <p:cNvSpPr txBox="1">
            <a:spLocks/>
          </p:cNvSpPr>
          <p:nvPr/>
        </p:nvSpPr>
        <p:spPr>
          <a:xfrm>
            <a:off x="360000" y="360001"/>
            <a:ext cx="11473200" cy="619713"/>
          </a:xfrm>
          <a:prstGeom prst="rect">
            <a:avLst/>
          </a:prstGeom>
        </p:spPr>
        <p:txBody>
          <a:bodyPr vert="horz" lIns="72000" tIns="36000" rIns="72000" bIns="36000" rtlCol="0" anchor="t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Char char="​"/>
              <a:defRPr sz="3200" kern="120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542925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99060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j-lt"/>
                <a:ea typeface="Segoe UI Black" panose="020B0A02040204020203" pitchFamily="34" charset="0"/>
                <a:cs typeface="+mn-cs"/>
              </a:defRPr>
            </a:lvl4pPr>
            <a:lvl5pPr marL="1438275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ts val="600"/>
              </a:spcAft>
              <a:buNone/>
            </a:pPr>
            <a:r>
              <a:rPr lang="da-DK" sz="3700" b="1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Integration of heat pumps - </a:t>
            </a:r>
            <a:r>
              <a:rPr lang="da-DK" sz="3700" b="1" dirty="0" err="1">
                <a:solidFill>
                  <a:schemeClr val="tx1"/>
                </a:solidFill>
                <a:latin typeface="+mj-lt"/>
                <a:ea typeface="+mj-ea"/>
                <a:cs typeface="+mj-cs"/>
              </a:rPr>
              <a:t>Opportunities</a:t>
            </a:r>
            <a:endParaRPr lang="da-DK" sz="3700" b="1" dirty="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06D0DC8-E754-41F9-B8ED-06169F62DD9A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0" y="6912000"/>
            <a:ext cx="0" cy="0"/>
          </a:xfrm>
        </p:spPr>
        <p:txBody>
          <a:bodyPr/>
          <a:lstStyle/>
          <a:p>
            <a:pPr>
              <a:spcAft>
                <a:spcPts val="600"/>
              </a:spcAft>
            </a:pPr>
            <a:fld id="{24C8C45C-947F-4981-8B3F-4F32E973C901}" type="slidenum">
              <a:rPr lang="en-GB" smtClean="0"/>
              <a:pPr>
                <a:spcAft>
                  <a:spcPts val="600"/>
                </a:spcAft>
              </a:pPr>
              <a:t>4</a:t>
            </a:fld>
            <a:endParaRPr lang="en-GB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E9CA488E-EDD4-407B-8E0C-9DB2FD98F740}"/>
              </a:ext>
            </a:extLst>
          </p:cNvPr>
          <p:cNvCxnSpPr/>
          <p:nvPr/>
        </p:nvCxnSpPr>
        <p:spPr>
          <a:xfrm flipH="1">
            <a:off x="5944001" y="1423493"/>
            <a:ext cx="0" cy="4968000"/>
          </a:xfrm>
          <a:prstGeom prst="line">
            <a:avLst/>
          </a:prstGeom>
          <a:ln w="28575"/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06CD1C9E-0F0A-99C6-68E3-26C65CD7926C}"/>
              </a:ext>
            </a:extLst>
          </p:cNvPr>
          <p:cNvSpPr txBox="1"/>
          <p:nvPr/>
        </p:nvSpPr>
        <p:spPr>
          <a:xfrm>
            <a:off x="6018574" y="1673692"/>
            <a:ext cx="5921823" cy="55092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600" dirty="0">
                <a:latin typeface="Verdana" panose="020B0604030504040204" pitchFamily="34" charset="0"/>
                <a:ea typeface="Verdana" panose="020B0604030504040204" pitchFamily="34" charset="0"/>
              </a:rPr>
              <a:t>The combination of district heating and heat pumps </a:t>
            </a:r>
            <a:r>
              <a:rPr lang="en-US" sz="1600" b="1" dirty="0">
                <a:solidFill>
                  <a:srgbClr val="C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re foreseen to have a key </a:t>
            </a:r>
            <a:r>
              <a:rPr lang="en-US" sz="1600" dirty="0">
                <a:latin typeface="Verdana" panose="020B0604030504040204" pitchFamily="34" charset="0"/>
                <a:ea typeface="Verdana" panose="020B0604030504040204" pitchFamily="34" charset="0"/>
              </a:rPr>
              <a:t>role in the future district heating systems 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GB" sz="16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GB" sz="1600" dirty="0">
                <a:latin typeface="Verdana" panose="020B0604030504040204" pitchFamily="34" charset="0"/>
                <a:ea typeface="Verdana" panose="020B0604030504040204" pitchFamily="34" charset="0"/>
              </a:rPr>
              <a:t>Could </a:t>
            </a:r>
            <a:r>
              <a:rPr lang="en-GB" sz="1600" b="1" dirty="0">
                <a:solidFill>
                  <a:srgbClr val="C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over the base heat load </a:t>
            </a:r>
            <a:r>
              <a:rPr lang="en-GB" sz="1600" dirty="0">
                <a:latin typeface="Verdana" panose="020B0604030504040204" pitchFamily="34" charset="0"/>
                <a:ea typeface="Verdana" panose="020B0604030504040204" pitchFamily="34" charset="0"/>
              </a:rPr>
              <a:t>reducing the current dependence on the natural gas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US" sz="16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rgbClr val="C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Various technical solutions are available </a:t>
            </a:r>
            <a:r>
              <a:rPr lang="en-US" sz="1600" dirty="0">
                <a:latin typeface="Verdana" panose="020B0604030504040204" pitchFamily="34" charset="0"/>
                <a:ea typeface="Verdana" panose="020B0604030504040204" pitchFamily="34" charset="0"/>
              </a:rPr>
              <a:t>and </a:t>
            </a:r>
            <a:r>
              <a:rPr lang="en-GB" sz="1600" dirty="0">
                <a:latin typeface="Verdana" panose="020B0604030504040204" pitchFamily="34" charset="0"/>
                <a:ea typeface="Verdana" panose="020B0604030504040204" pitchFamily="34" charset="0"/>
              </a:rPr>
              <a:t>commercially</a:t>
            </a:r>
            <a:r>
              <a:rPr lang="en-US" sz="1600" dirty="0">
                <a:latin typeface="Verdana" panose="020B0604030504040204" pitchFamily="34" charset="0"/>
                <a:ea typeface="Verdana" panose="020B0604030504040204" pitchFamily="34" charset="0"/>
              </a:rPr>
              <a:t> proved 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US" sz="16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GB" sz="1600" b="1" dirty="0">
                <a:solidFill>
                  <a:srgbClr val="C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Heat pumps are modular </a:t>
            </a:r>
            <a:r>
              <a:rPr lang="en-GB" sz="1600" dirty="0">
                <a:latin typeface="Verdana" panose="020B0604030504040204" pitchFamily="34" charset="0"/>
                <a:ea typeface="Verdana" panose="020B0604030504040204" pitchFamily="34" charset="0"/>
              </a:rPr>
              <a:t>so district heating schemes can be designed to heat any number of properties of all sizes, from flats to detached houses.</a:t>
            </a:r>
          </a:p>
          <a:p>
            <a:pPr algn="just"/>
            <a:endParaRPr lang="en-GB" sz="16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GB" sz="1600" b="1" dirty="0">
                <a:solidFill>
                  <a:srgbClr val="C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Highly beneficial from an environmental perspective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GB" sz="1600" b="1" dirty="0">
              <a:solidFill>
                <a:srgbClr val="C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GB" sz="1600" b="1" dirty="0">
                <a:solidFill>
                  <a:srgbClr val="C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Maintenance</a:t>
            </a:r>
            <a:r>
              <a:rPr lang="en-GB" sz="1600" dirty="0">
                <a:latin typeface="Verdana" panose="020B0604030504040204" pitchFamily="34" charset="0"/>
                <a:ea typeface="Verdana" panose="020B0604030504040204" pitchFamily="34" charset="0"/>
              </a:rPr>
              <a:t> of the heat pumps is also </a:t>
            </a:r>
            <a:r>
              <a:rPr lang="en-GB" sz="1600" b="1" dirty="0">
                <a:solidFill>
                  <a:srgbClr val="C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very straightforward 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GB" sz="1600" b="1" dirty="0">
              <a:solidFill>
                <a:srgbClr val="C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GB" sz="1600" b="1" dirty="0">
                <a:solidFill>
                  <a:srgbClr val="C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ncreased employment</a:t>
            </a:r>
          </a:p>
          <a:p>
            <a:pPr algn="just"/>
            <a:endParaRPr lang="sr-Latn-RS" sz="16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5744701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5BD15C55-6697-419E-9CBC-3C1D256995EF}"/>
              </a:ext>
            </a:extLst>
          </p:cNvPr>
          <p:cNvSpPr txBox="1">
            <a:spLocks/>
          </p:cNvSpPr>
          <p:nvPr/>
        </p:nvSpPr>
        <p:spPr>
          <a:xfrm>
            <a:off x="839060" y="845374"/>
            <a:ext cx="5540398" cy="619713"/>
          </a:xfrm>
          <a:prstGeom prst="rect">
            <a:avLst/>
          </a:prstGeom>
        </p:spPr>
        <p:txBody>
          <a:bodyPr vert="horz" lIns="72000" tIns="36000" rIns="72000" bIns="36000" rtlCol="0" anchor="ctr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Char char="​"/>
              <a:defRPr lang="da-DK" sz="1800" kern="1200" smtClean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542925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99060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j-lt"/>
                <a:ea typeface="Segoe UI Black" panose="020B0A02040204020203" pitchFamily="34" charset="0"/>
                <a:cs typeface="+mn-cs"/>
              </a:defRPr>
            </a:lvl4pPr>
            <a:lvl5pPr marL="1438275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1000"/>
              </a:spcBef>
              <a:buNone/>
            </a:pPr>
            <a:r>
              <a:rPr lang="en-US" sz="2200" b="1" kern="1200" dirty="0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+mn-cs"/>
              </a:rPr>
              <a:t>Identified projects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D5CF6AC9-DFF7-4B1E-A59B-5D839F8BFC15}"/>
              </a:ext>
            </a:extLst>
          </p:cNvPr>
          <p:cNvSpPr txBox="1">
            <a:spLocks/>
          </p:cNvSpPr>
          <p:nvPr/>
        </p:nvSpPr>
        <p:spPr>
          <a:xfrm>
            <a:off x="360000" y="360001"/>
            <a:ext cx="11473200" cy="619713"/>
          </a:xfrm>
          <a:prstGeom prst="rect">
            <a:avLst/>
          </a:prstGeom>
        </p:spPr>
        <p:txBody>
          <a:bodyPr vert="horz" lIns="72000" tIns="36000" rIns="72000" bIns="36000" rtlCol="0" anchor="t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Char char="​"/>
              <a:defRPr sz="3200" kern="120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542925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99060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j-lt"/>
                <a:ea typeface="Segoe UI Black" panose="020B0A02040204020203" pitchFamily="34" charset="0"/>
                <a:cs typeface="+mn-cs"/>
              </a:defRPr>
            </a:lvl4pPr>
            <a:lvl5pPr marL="1438275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ts val="600"/>
              </a:spcAft>
              <a:buNone/>
            </a:pPr>
            <a:r>
              <a:rPr lang="da-DK" sz="3700" b="1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Integration of heat pumps - </a:t>
            </a:r>
            <a:r>
              <a:rPr lang="da-DK" sz="3700" b="1" dirty="0" err="1">
                <a:solidFill>
                  <a:schemeClr val="tx1"/>
                </a:solidFill>
                <a:latin typeface="+mj-lt"/>
                <a:ea typeface="+mj-ea"/>
                <a:cs typeface="+mj-cs"/>
              </a:rPr>
              <a:t>Opportunities</a:t>
            </a:r>
            <a:endParaRPr lang="da-DK" sz="3700" b="1" dirty="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06D0DC8-E754-41F9-B8ED-06169F62DD9A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0" y="6912000"/>
            <a:ext cx="0" cy="0"/>
          </a:xfrm>
        </p:spPr>
        <p:txBody>
          <a:bodyPr/>
          <a:lstStyle/>
          <a:p>
            <a:pPr>
              <a:spcAft>
                <a:spcPts val="600"/>
              </a:spcAft>
            </a:pPr>
            <a:fld id="{24C8C45C-947F-4981-8B3F-4F32E973C901}" type="slidenum">
              <a:rPr lang="en-GB" smtClean="0"/>
              <a:pPr>
                <a:spcAft>
                  <a:spcPts val="600"/>
                </a:spcAft>
              </a:pPr>
              <a:t>5</a:t>
            </a:fld>
            <a:endParaRPr lang="en-GB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E9CA488E-EDD4-407B-8E0C-9DB2FD98F740}"/>
              </a:ext>
            </a:extLst>
          </p:cNvPr>
          <p:cNvCxnSpPr/>
          <p:nvPr/>
        </p:nvCxnSpPr>
        <p:spPr>
          <a:xfrm flipH="1">
            <a:off x="839060" y="979714"/>
            <a:ext cx="0" cy="4968000"/>
          </a:xfrm>
          <a:prstGeom prst="line">
            <a:avLst/>
          </a:prstGeom>
          <a:ln w="28575"/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06CD1C9E-0F0A-99C6-68E3-26C65CD7926C}"/>
              </a:ext>
            </a:extLst>
          </p:cNvPr>
          <p:cNvSpPr txBox="1"/>
          <p:nvPr/>
        </p:nvSpPr>
        <p:spPr>
          <a:xfrm>
            <a:off x="1219494" y="1542463"/>
            <a:ext cx="7044549" cy="493981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sr-Latn-RS" b="1" dirty="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KRAGUJEVAC</a:t>
            </a:r>
          </a:p>
          <a:p>
            <a:r>
              <a:rPr lang="en-US" b="0" i="0" u="none" strike="noStrike" dirty="0">
                <a:solidFill>
                  <a:srgbClr val="000000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Utilization of waste heat from data center for the heat pump</a:t>
            </a:r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</a:p>
          <a:p>
            <a:r>
              <a:rPr lang="sr-Latn-RS" b="1" dirty="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KRALJEVO</a:t>
            </a:r>
          </a:p>
          <a:p>
            <a:r>
              <a:rPr lang="en-US" b="0" i="0" u="none" strike="noStrike" dirty="0">
                <a:solidFill>
                  <a:srgbClr val="000000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Heat pumps for flue gas condensation Central boiler house and Nova </a:t>
            </a:r>
            <a:r>
              <a:rPr lang="en-US" b="0" i="0" u="none" strike="noStrike" dirty="0" err="1">
                <a:solidFill>
                  <a:srgbClr val="000000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Kolonija</a:t>
            </a:r>
            <a:r>
              <a:rPr lang="en-US" b="0" i="0" u="none" strike="noStrike" dirty="0">
                <a:solidFill>
                  <a:srgbClr val="000000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 boiler house</a:t>
            </a:r>
          </a:p>
          <a:p>
            <a:r>
              <a:rPr lang="sr-Latn-RS" b="1" dirty="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KRUŠEVAC</a:t>
            </a:r>
          </a:p>
          <a:p>
            <a:r>
              <a:rPr lang="en-US" b="0" i="0" u="none" strike="noStrike" dirty="0">
                <a:solidFill>
                  <a:srgbClr val="000000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Heat pump utilizing treated water from Wastewater treatment plant</a:t>
            </a:r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</a:p>
          <a:p>
            <a:r>
              <a:rPr lang="sr-Latn-RS" b="1" dirty="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IŠ</a:t>
            </a:r>
          </a:p>
          <a:p>
            <a:pPr algn="just"/>
            <a:r>
              <a:rPr lang="en-US" b="0" i="0" u="none" strike="noStrike" dirty="0">
                <a:solidFill>
                  <a:srgbClr val="000000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Large capacity heat pump using water from </a:t>
            </a:r>
            <a:r>
              <a:rPr lang="en-US" b="0" i="0" u="none" strike="noStrike" dirty="0" err="1">
                <a:solidFill>
                  <a:srgbClr val="000000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Nisava</a:t>
            </a:r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</a:rPr>
              <a:t> river</a:t>
            </a:r>
          </a:p>
          <a:p>
            <a:pPr algn="just"/>
            <a:r>
              <a:rPr lang="sr-Latn-RS" b="1" dirty="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OVI PAZAR</a:t>
            </a:r>
          </a:p>
          <a:p>
            <a:pPr algn="just"/>
            <a:r>
              <a:rPr lang="en-US" b="0" i="0" u="none" strike="noStrike" dirty="0">
                <a:solidFill>
                  <a:srgbClr val="000000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Heat pump utilizing the drinking water at </a:t>
            </a:r>
            <a:r>
              <a:rPr lang="en-US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boiler house</a:t>
            </a:r>
            <a:r>
              <a:rPr lang="en-US" b="0" i="0" u="none" strike="noStrike" dirty="0">
                <a:solidFill>
                  <a:srgbClr val="000000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 Lug</a:t>
            </a:r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</a:p>
          <a:p>
            <a:pPr algn="just"/>
            <a:r>
              <a:rPr lang="sr-Latn-RS" b="1" dirty="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ARAĆIN</a:t>
            </a:r>
          </a:p>
          <a:p>
            <a:pPr algn="just"/>
            <a:r>
              <a:rPr lang="en-US" b="0" i="0" u="none" strike="noStrike" dirty="0">
                <a:solidFill>
                  <a:srgbClr val="000000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Heat pump using geothermal water from well at the zone of textile factory including construction of new DH network and heating substations </a:t>
            </a:r>
            <a:endParaRPr lang="sr-Latn-RS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6146" name="Picture 2" descr="Rezultat slika za clip aret data center">
            <a:extLst>
              <a:ext uri="{FF2B5EF4-FFF2-40B4-BE49-F238E27FC236}">
                <a16:creationId xmlns:a16="http://schemas.microsoft.com/office/drawing/2014/main" id="{68D4836F-7000-6F8B-9D07-BB4FA4286CB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64047" y="1043914"/>
            <a:ext cx="1112818" cy="1012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50" name="Picture 6" descr="Flue Gas Condensation - Dall Energy - Denmark">
            <a:extLst>
              <a:ext uri="{FF2B5EF4-FFF2-40B4-BE49-F238E27FC236}">
                <a16:creationId xmlns:a16="http://schemas.microsoft.com/office/drawing/2014/main" id="{63649F7C-7FD6-F81D-1A02-9D72A5B22A5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00126" y="1926092"/>
            <a:ext cx="1128881" cy="9491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52" name="Picture 8" descr="Free Waste Water Cliparts, Download Free Waste Water Cliparts png images,  Free ClipArts on Clipart Library">
            <a:extLst>
              <a:ext uri="{FF2B5EF4-FFF2-40B4-BE49-F238E27FC236}">
                <a16:creationId xmlns:a16="http://schemas.microsoft.com/office/drawing/2014/main" id="{8E5663A7-5E6D-7527-BB47-35023CF82B4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24055" y="2979115"/>
            <a:ext cx="1148450" cy="8997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54" name="Picture 10" descr="110+ River Levee Illustrations, Royalty-Free Vector Graphics &amp; Clip Art -  iStock">
            <a:extLst>
              <a:ext uri="{FF2B5EF4-FFF2-40B4-BE49-F238E27FC236}">
                <a16:creationId xmlns:a16="http://schemas.microsoft.com/office/drawing/2014/main" id="{CA79B49B-608E-26E3-0187-A897AD43D47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9769" y="3992601"/>
            <a:ext cx="982736" cy="8189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58" name="Picture 14" descr="Water Tower Water Tank PNG - Free Download | Water tower, Water tank, Tower">
            <a:extLst>
              <a:ext uri="{FF2B5EF4-FFF2-40B4-BE49-F238E27FC236}">
                <a16:creationId xmlns:a16="http://schemas.microsoft.com/office/drawing/2014/main" id="{870EA7E6-5C1D-1E21-B7B0-1EE29183497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42051" y="4925264"/>
            <a:ext cx="627182" cy="7362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60" name="Picture 16" descr="Geothermal Plant Stock Illustration - Download Image Now - Geothermal Power  Station, Diagram, Isometric Projection - iStock">
            <a:extLst>
              <a:ext uri="{FF2B5EF4-FFF2-40B4-BE49-F238E27FC236}">
                <a16:creationId xmlns:a16="http://schemas.microsoft.com/office/drawing/2014/main" id="{433FDB92-F911-E2DC-F428-99055A2DC87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64047" y="5470650"/>
            <a:ext cx="1180124" cy="11801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5705232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5BD15C55-6697-419E-9CBC-3C1D256995EF}"/>
              </a:ext>
            </a:extLst>
          </p:cNvPr>
          <p:cNvSpPr txBox="1">
            <a:spLocks/>
          </p:cNvSpPr>
          <p:nvPr/>
        </p:nvSpPr>
        <p:spPr>
          <a:xfrm>
            <a:off x="555602" y="979714"/>
            <a:ext cx="5540398" cy="619713"/>
          </a:xfrm>
          <a:prstGeom prst="rect">
            <a:avLst/>
          </a:prstGeom>
        </p:spPr>
        <p:txBody>
          <a:bodyPr vert="horz" lIns="72000" tIns="36000" rIns="72000" bIns="36000" rtlCol="0" anchor="ctr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Char char="​"/>
              <a:defRPr lang="da-DK" sz="1800" kern="1200" smtClean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542925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99060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j-lt"/>
                <a:ea typeface="Segoe UI Black" panose="020B0A02040204020203" pitchFamily="34" charset="0"/>
                <a:cs typeface="+mn-cs"/>
              </a:defRPr>
            </a:lvl4pPr>
            <a:lvl5pPr marL="1438275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1000"/>
              </a:spcBef>
              <a:buNone/>
            </a:pPr>
            <a:r>
              <a:rPr lang="en-US" sz="2200" b="1" kern="1200" dirty="0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+mn-cs"/>
              </a:rPr>
              <a:t>Heat sources harvested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D5CF6AC9-DFF7-4B1E-A59B-5D839F8BFC15}"/>
              </a:ext>
            </a:extLst>
          </p:cNvPr>
          <p:cNvSpPr txBox="1">
            <a:spLocks/>
          </p:cNvSpPr>
          <p:nvPr/>
        </p:nvSpPr>
        <p:spPr>
          <a:xfrm>
            <a:off x="360000" y="360001"/>
            <a:ext cx="11473200" cy="619713"/>
          </a:xfrm>
          <a:prstGeom prst="rect">
            <a:avLst/>
          </a:prstGeom>
        </p:spPr>
        <p:txBody>
          <a:bodyPr vert="horz" lIns="72000" tIns="36000" rIns="72000" bIns="36000" rtlCol="0" anchor="t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Char char="​"/>
              <a:defRPr sz="3200" kern="120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542925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99060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j-lt"/>
                <a:ea typeface="Segoe UI Black" panose="020B0A02040204020203" pitchFamily="34" charset="0"/>
                <a:cs typeface="+mn-cs"/>
              </a:defRPr>
            </a:lvl4pPr>
            <a:lvl5pPr marL="1438275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ts val="600"/>
              </a:spcAft>
              <a:buNone/>
            </a:pPr>
            <a:r>
              <a:rPr lang="da-DK" sz="3700" b="1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Integration of heat pumps - </a:t>
            </a:r>
            <a:r>
              <a:rPr lang="da-DK" sz="3700" b="1" dirty="0" err="1">
                <a:solidFill>
                  <a:schemeClr val="tx1"/>
                </a:solidFill>
                <a:latin typeface="+mj-lt"/>
                <a:ea typeface="+mj-ea"/>
                <a:cs typeface="+mj-cs"/>
              </a:rPr>
              <a:t>Opportunities</a:t>
            </a:r>
            <a:endParaRPr lang="da-DK" sz="3700" b="1" dirty="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06D0DC8-E754-41F9-B8ED-06169F62DD9A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0" y="6912000"/>
            <a:ext cx="0" cy="0"/>
          </a:xfrm>
        </p:spPr>
        <p:txBody>
          <a:bodyPr/>
          <a:lstStyle/>
          <a:p>
            <a:pPr>
              <a:spcAft>
                <a:spcPts val="600"/>
              </a:spcAft>
            </a:pPr>
            <a:fld id="{24C8C45C-947F-4981-8B3F-4F32E973C901}" type="slidenum">
              <a:rPr lang="en-GB" smtClean="0"/>
              <a:pPr>
                <a:spcAft>
                  <a:spcPts val="600"/>
                </a:spcAft>
              </a:pPr>
              <a:t>6</a:t>
            </a:fld>
            <a:endParaRPr lang="en-GB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9132862C-BC7C-1ACB-9106-43A4DFB102A4}"/>
              </a:ext>
            </a:extLst>
          </p:cNvPr>
          <p:cNvCxnSpPr/>
          <p:nvPr/>
        </p:nvCxnSpPr>
        <p:spPr>
          <a:xfrm flipH="1">
            <a:off x="523805" y="1219200"/>
            <a:ext cx="0" cy="4968000"/>
          </a:xfrm>
          <a:prstGeom prst="line">
            <a:avLst/>
          </a:prstGeom>
          <a:ln w="28575"/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graphicFrame>
        <p:nvGraphicFramePr>
          <p:cNvPr id="4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199511351"/>
              </p:ext>
            </p:extLst>
          </p:nvPr>
        </p:nvGraphicFramePr>
        <p:xfrm>
          <a:off x="2305636" y="1512199"/>
          <a:ext cx="7803564" cy="46750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3" imgW="4165482" imgH="2495530" progId="Excel.Sheet.12">
                  <p:embed/>
                </p:oleObj>
              </mc:Choice>
              <mc:Fallback>
                <p:oleObj name="Worksheet" r:id="rId3" imgW="4165482" imgH="249553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05636" y="1512199"/>
                        <a:ext cx="7803564" cy="46750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372104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D5CF6AC9-DFF7-4B1E-A59B-5D839F8BFC15}"/>
              </a:ext>
            </a:extLst>
          </p:cNvPr>
          <p:cNvSpPr txBox="1">
            <a:spLocks/>
          </p:cNvSpPr>
          <p:nvPr/>
        </p:nvSpPr>
        <p:spPr>
          <a:xfrm>
            <a:off x="360000" y="360001"/>
            <a:ext cx="11473200" cy="619713"/>
          </a:xfrm>
          <a:prstGeom prst="rect">
            <a:avLst/>
          </a:prstGeom>
        </p:spPr>
        <p:txBody>
          <a:bodyPr vert="horz" lIns="72000" tIns="36000" rIns="72000" bIns="36000" rtlCol="0" anchor="t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Char char="​"/>
              <a:defRPr sz="3200" kern="120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542925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99060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j-lt"/>
                <a:ea typeface="Segoe UI Black" panose="020B0A02040204020203" pitchFamily="34" charset="0"/>
                <a:cs typeface="+mn-cs"/>
              </a:defRPr>
            </a:lvl4pPr>
            <a:lvl5pPr marL="1438275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ts val="600"/>
              </a:spcAft>
              <a:buNone/>
            </a:pPr>
            <a:r>
              <a:rPr lang="en-GB" sz="3700" b="1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Identified opportunities in Serbia</a:t>
            </a:r>
            <a:endParaRPr lang="da-DK" sz="3700" b="1" dirty="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06D0DC8-E754-41F9-B8ED-06169F62DD9A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0" y="6912000"/>
            <a:ext cx="0" cy="0"/>
          </a:xfrm>
        </p:spPr>
        <p:txBody>
          <a:bodyPr/>
          <a:lstStyle/>
          <a:p>
            <a:pPr>
              <a:spcAft>
                <a:spcPts val="600"/>
              </a:spcAft>
            </a:pPr>
            <a:fld id="{24C8C45C-947F-4981-8B3F-4F32E973C901}" type="slidenum">
              <a:rPr lang="en-GB" smtClean="0"/>
              <a:pPr>
                <a:spcAft>
                  <a:spcPts val="600"/>
                </a:spcAft>
              </a:pPr>
              <a:t>7</a:t>
            </a:fld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E4405F5-6512-C4F9-EAB8-E021A417040D}"/>
              </a:ext>
            </a:extLst>
          </p:cNvPr>
          <p:cNvPicPr/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50" t="21952" r="64990" b="10304"/>
          <a:stretch/>
        </p:blipFill>
        <p:spPr bwMode="auto">
          <a:xfrm>
            <a:off x="6343760" y="1814512"/>
            <a:ext cx="5780121" cy="4039086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97E5F454-A708-69B7-220D-6383A90B0CA7}"/>
              </a:ext>
            </a:extLst>
          </p:cNvPr>
          <p:cNvPicPr/>
          <p:nvPr/>
        </p:nvPicPr>
        <p:blipFill rotWithShape="1">
          <a:blip r:embed="rId4"/>
          <a:srcRect l="11283" t="27256" r="71162" b="15234"/>
          <a:stretch/>
        </p:blipFill>
        <p:spPr bwMode="auto">
          <a:xfrm>
            <a:off x="908368" y="1814512"/>
            <a:ext cx="5366084" cy="4039086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9" name="Subtitle 2">
            <a:extLst>
              <a:ext uri="{FF2B5EF4-FFF2-40B4-BE49-F238E27FC236}">
                <a16:creationId xmlns:a16="http://schemas.microsoft.com/office/drawing/2014/main" id="{4750AD19-803F-7BCE-A8D4-8FB9D1643097}"/>
              </a:ext>
            </a:extLst>
          </p:cNvPr>
          <p:cNvSpPr txBox="1">
            <a:spLocks/>
          </p:cNvSpPr>
          <p:nvPr/>
        </p:nvSpPr>
        <p:spPr>
          <a:xfrm>
            <a:off x="797550" y="1310810"/>
            <a:ext cx="11394450" cy="369332"/>
          </a:xfrm>
          <a:prstGeom prst="rect">
            <a:avLst/>
          </a:prstGeom>
        </p:spPr>
        <p:txBody>
          <a:bodyPr vert="horz" lIns="72000" tIns="36000" rIns="72000" bIns="3600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200" b="1" kern="1200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000" dirty="0">
                <a:solidFill>
                  <a:schemeClr val="tx1">
                    <a:lumMod val="95000"/>
                    <a:lumOff val="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KRUSEVAC - </a:t>
            </a:r>
            <a:r>
              <a:rPr lang="en-US" sz="2000" i="0" u="none" strike="noStrike" dirty="0">
                <a:solidFill>
                  <a:srgbClr val="C00000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Heat pump utilizing treated water from Wastewater treatment plant</a:t>
            </a:r>
            <a:r>
              <a:rPr lang="en-US" sz="2000" dirty="0">
                <a:solidFill>
                  <a:srgbClr val="C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</a:p>
          <a:p>
            <a:endParaRPr lang="en-US" dirty="0">
              <a:solidFill>
                <a:schemeClr val="tx1">
                  <a:lumMod val="95000"/>
                  <a:lumOff val="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0EDB735-1C79-B20B-6439-60226FAD1563}"/>
              </a:ext>
            </a:extLst>
          </p:cNvPr>
          <p:cNvCxnSpPr/>
          <p:nvPr/>
        </p:nvCxnSpPr>
        <p:spPr>
          <a:xfrm flipH="1">
            <a:off x="719318" y="1112058"/>
            <a:ext cx="0" cy="4968000"/>
          </a:xfrm>
          <a:prstGeom prst="line">
            <a:avLst/>
          </a:prstGeom>
          <a:ln w="28575"/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7391079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D5CF6AC9-DFF7-4B1E-A59B-5D839F8BFC15}"/>
              </a:ext>
            </a:extLst>
          </p:cNvPr>
          <p:cNvSpPr txBox="1">
            <a:spLocks/>
          </p:cNvSpPr>
          <p:nvPr/>
        </p:nvSpPr>
        <p:spPr>
          <a:xfrm>
            <a:off x="360000" y="360001"/>
            <a:ext cx="11473200" cy="619713"/>
          </a:xfrm>
          <a:prstGeom prst="rect">
            <a:avLst/>
          </a:prstGeom>
        </p:spPr>
        <p:txBody>
          <a:bodyPr vert="horz" lIns="72000" tIns="36000" rIns="72000" bIns="36000" rtlCol="0" anchor="t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Char char="​"/>
              <a:defRPr sz="3200" kern="120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542925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99060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j-lt"/>
                <a:ea typeface="Segoe UI Black" panose="020B0A02040204020203" pitchFamily="34" charset="0"/>
                <a:cs typeface="+mn-cs"/>
              </a:defRPr>
            </a:lvl4pPr>
            <a:lvl5pPr marL="1438275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ts val="600"/>
              </a:spcAft>
              <a:buNone/>
            </a:pPr>
            <a:r>
              <a:rPr lang="en-GB" sz="3700" b="1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Identified opportunities in Serbia</a:t>
            </a:r>
            <a:endParaRPr lang="da-DK" sz="3700" b="1" dirty="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06D0DC8-E754-41F9-B8ED-06169F62DD9A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0" y="6912000"/>
            <a:ext cx="0" cy="0"/>
          </a:xfrm>
        </p:spPr>
        <p:txBody>
          <a:bodyPr/>
          <a:lstStyle/>
          <a:p>
            <a:pPr>
              <a:spcAft>
                <a:spcPts val="600"/>
              </a:spcAft>
            </a:pPr>
            <a:fld id="{24C8C45C-947F-4981-8B3F-4F32E973C901}" type="slidenum">
              <a:rPr lang="en-GB" smtClean="0"/>
              <a:pPr>
                <a:spcAft>
                  <a:spcPts val="600"/>
                </a:spcAft>
              </a:pPr>
              <a:t>8</a:t>
            </a:fld>
            <a:endParaRPr lang="en-GB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8993F4E-D805-5233-25BF-B48FCD0EF8F2}"/>
              </a:ext>
            </a:extLst>
          </p:cNvPr>
          <p:cNvCxnSpPr/>
          <p:nvPr/>
        </p:nvCxnSpPr>
        <p:spPr>
          <a:xfrm flipH="1">
            <a:off x="719318" y="1112058"/>
            <a:ext cx="0" cy="4968000"/>
          </a:xfrm>
          <a:prstGeom prst="line">
            <a:avLst/>
          </a:prstGeom>
          <a:ln w="28575"/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9814A844-E0EF-8E36-33A4-57C774CD87CC}"/>
              </a:ext>
            </a:extLst>
          </p:cNvPr>
          <p:cNvSpPr txBox="1"/>
          <p:nvPr/>
        </p:nvSpPr>
        <p:spPr>
          <a:xfrm>
            <a:off x="910403" y="979714"/>
            <a:ext cx="5459951" cy="4648200"/>
          </a:xfrm>
          <a:prstGeom prst="rect">
            <a:avLst/>
          </a:prstGeom>
        </p:spPr>
        <p:txBody>
          <a:bodyPr vert="horz" lIns="72000" tIns="36000" rIns="72000" bIns="36000" rtlCol="0">
            <a:normAutofit/>
          </a:bodyPr>
          <a:lstStyle/>
          <a:p>
            <a:pPr>
              <a:lnSpc>
                <a:spcPct val="90000"/>
              </a:lnSpc>
              <a:spcBef>
                <a:spcPts val="1200"/>
              </a:spcBef>
              <a:buFont typeface="Arial" panose="020B0604020202020204" pitchFamily="34" charset="0"/>
            </a:pPr>
            <a:r>
              <a:rPr lang="en-GB" b="1" i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</a:rPr>
              <a:t>Key parameters</a:t>
            </a: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C61A8BF6-B130-D980-B7DF-D776250C3DB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613041"/>
              </p:ext>
            </p:extLst>
          </p:nvPr>
        </p:nvGraphicFramePr>
        <p:xfrm>
          <a:off x="1084665" y="1391379"/>
          <a:ext cx="7732764" cy="5097620"/>
        </p:xfrm>
        <a:graphic>
          <a:graphicData uri="http://schemas.openxmlformats.org/drawingml/2006/table">
            <a:tbl>
              <a:tblPr firstRow="1" firstCol="1" bandRow="1"/>
              <a:tblGrid>
                <a:gridCol w="5341381">
                  <a:extLst>
                    <a:ext uri="{9D8B030D-6E8A-4147-A177-3AD203B41FA5}">
                      <a16:colId xmlns:a16="http://schemas.microsoft.com/office/drawing/2014/main" val="2928042196"/>
                    </a:ext>
                  </a:extLst>
                </a:gridCol>
                <a:gridCol w="1215307">
                  <a:extLst>
                    <a:ext uri="{9D8B030D-6E8A-4147-A177-3AD203B41FA5}">
                      <a16:colId xmlns:a16="http://schemas.microsoft.com/office/drawing/2014/main" val="56721799"/>
                    </a:ext>
                  </a:extLst>
                </a:gridCol>
                <a:gridCol w="1176076">
                  <a:extLst>
                    <a:ext uri="{9D8B030D-6E8A-4147-A177-3AD203B41FA5}">
                      <a16:colId xmlns:a16="http://schemas.microsoft.com/office/drawing/2014/main" val="4021625376"/>
                    </a:ext>
                  </a:extLst>
                </a:gridCol>
              </a:tblGrid>
              <a:tr h="230585"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1300"/>
                        </a:spcAft>
                      </a:pPr>
                      <a:r>
                        <a:rPr lang="en-GB" sz="1400" b="1" dirty="0">
                          <a:solidFill>
                            <a:srgbClr val="DCD5CF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Parameters</a:t>
                      </a:r>
                      <a:endParaRPr lang="en-US" sz="1400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1300"/>
                        </a:spcAft>
                      </a:pPr>
                      <a:r>
                        <a:rPr lang="en-GB" sz="1400" b="1">
                          <a:solidFill>
                            <a:srgbClr val="DCD5CF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Unit</a:t>
                      </a:r>
                      <a:endParaRPr lang="en-US" sz="140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1300"/>
                        </a:spcAft>
                      </a:pPr>
                      <a:r>
                        <a:rPr lang="en-GB" sz="1400" b="1">
                          <a:solidFill>
                            <a:srgbClr val="DCD5CF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Value</a:t>
                      </a:r>
                      <a:endParaRPr lang="en-US" sz="140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27866892"/>
                  </a:ext>
                </a:extLst>
              </a:tr>
              <a:tr h="230585">
                <a:tc gridSpan="3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1300"/>
                        </a:spcAft>
                      </a:pPr>
                      <a:r>
                        <a:rPr lang="en-GB" sz="1400" b="1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Baseline scenario </a:t>
                      </a:r>
                      <a:endParaRPr lang="en-US" sz="1400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6607402"/>
                  </a:ext>
                </a:extLst>
              </a:tr>
              <a:tr h="230585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1300"/>
                        </a:spcAft>
                      </a:pPr>
                      <a:r>
                        <a:rPr lang="en-GB" sz="1400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Heat production "</a:t>
                      </a:r>
                      <a:r>
                        <a:rPr lang="en-GB" sz="1400" dirty="0" err="1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Centralni</a:t>
                      </a:r>
                      <a:r>
                        <a:rPr lang="en-GB" sz="1400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GB" sz="1400" dirty="0" err="1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toplotni</a:t>
                      </a:r>
                      <a:r>
                        <a:rPr lang="en-GB" sz="1400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GB" sz="1400" dirty="0" err="1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izvor</a:t>
                      </a:r>
                      <a:r>
                        <a:rPr lang="en-GB" sz="1400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"</a:t>
                      </a:r>
                      <a:endParaRPr lang="en-US" sz="1400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1300"/>
                        </a:spcAft>
                      </a:pPr>
                      <a:r>
                        <a:rPr lang="en-GB" sz="140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[MWh/year]</a:t>
                      </a:r>
                      <a:endParaRPr lang="en-US" sz="140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spcAft>
                          <a:spcPts val="1300"/>
                        </a:spcAft>
                      </a:pPr>
                      <a:r>
                        <a:rPr lang="en-GB" sz="1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98,000</a:t>
                      </a:r>
                      <a:endParaRPr lang="en-US" sz="140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02501228"/>
                  </a:ext>
                </a:extLst>
              </a:tr>
              <a:tr h="230585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1300"/>
                        </a:spcAft>
                      </a:pPr>
                      <a:r>
                        <a:rPr lang="en-GB" sz="1400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Specific heat production costs </a:t>
                      </a:r>
                      <a:endParaRPr lang="en-US" sz="1400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1300"/>
                        </a:spcAft>
                      </a:pPr>
                      <a:r>
                        <a:rPr lang="en-GB" sz="140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[EUR/MWh]</a:t>
                      </a:r>
                      <a:endParaRPr lang="en-US" sz="140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spcAft>
                          <a:spcPts val="1300"/>
                        </a:spcAft>
                      </a:pPr>
                      <a:r>
                        <a:rPr lang="en-GB" sz="1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56.0</a:t>
                      </a:r>
                      <a:endParaRPr lang="en-US" sz="140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48298221"/>
                  </a:ext>
                </a:extLst>
              </a:tr>
              <a:tr h="230585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1300"/>
                        </a:spcAft>
                      </a:pPr>
                      <a:r>
                        <a:rPr lang="en-GB" sz="1400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Annual energy cost </a:t>
                      </a:r>
                      <a:endParaRPr lang="en-US" sz="1400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1300"/>
                        </a:spcAft>
                      </a:pPr>
                      <a:r>
                        <a:rPr lang="en-GB" sz="140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[EUR]</a:t>
                      </a:r>
                      <a:endParaRPr lang="en-US" sz="140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spcAft>
                          <a:spcPts val="1300"/>
                        </a:spcAft>
                      </a:pPr>
                      <a:r>
                        <a:rPr lang="en-GB" sz="1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5,487,781</a:t>
                      </a:r>
                      <a:endParaRPr lang="en-US" sz="140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44481721"/>
                  </a:ext>
                </a:extLst>
              </a:tr>
              <a:tr h="230585">
                <a:tc gridSpan="3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1300"/>
                        </a:spcAft>
                      </a:pPr>
                      <a:r>
                        <a:rPr lang="en-GB" sz="1400" b="1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Project scenario</a:t>
                      </a:r>
                      <a:endParaRPr lang="en-US" sz="1400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86086515"/>
                  </a:ext>
                </a:extLst>
              </a:tr>
              <a:tr h="230585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1300"/>
                        </a:spcAft>
                      </a:pPr>
                      <a:r>
                        <a:rPr lang="en-GB" sz="140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Heat pump installed capacity </a:t>
                      </a:r>
                      <a:endParaRPr lang="en-US" sz="140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1300"/>
                        </a:spcAft>
                      </a:pPr>
                      <a:r>
                        <a:rPr lang="en-GB" sz="140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[MW]</a:t>
                      </a:r>
                      <a:endParaRPr lang="en-US" sz="140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spcAft>
                          <a:spcPts val="1300"/>
                        </a:spcAft>
                      </a:pPr>
                      <a:r>
                        <a:rPr lang="en-GB" sz="140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5.8</a:t>
                      </a:r>
                      <a:endParaRPr lang="en-US" sz="140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14370393"/>
                  </a:ext>
                </a:extLst>
              </a:tr>
              <a:tr h="230585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1300"/>
                        </a:spcAft>
                      </a:pPr>
                      <a:r>
                        <a:rPr lang="en-GB" sz="1400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COP</a:t>
                      </a:r>
                      <a:endParaRPr lang="en-US" sz="1400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1300"/>
                        </a:spcAft>
                      </a:pPr>
                      <a:r>
                        <a:rPr lang="en-GB" sz="140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 </a:t>
                      </a:r>
                      <a:endParaRPr lang="en-US" sz="140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spcAft>
                          <a:spcPts val="1300"/>
                        </a:spcAft>
                      </a:pPr>
                      <a:r>
                        <a:rPr lang="en-GB" sz="140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3.60</a:t>
                      </a:r>
                      <a:endParaRPr lang="en-US" sz="140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18083561"/>
                  </a:ext>
                </a:extLst>
              </a:tr>
              <a:tr h="230585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1300"/>
                        </a:spcAft>
                      </a:pPr>
                      <a:r>
                        <a:rPr lang="en-GB" sz="1400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Heat production from heat pump </a:t>
                      </a:r>
                      <a:endParaRPr lang="en-US" sz="1400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1300"/>
                        </a:spcAft>
                      </a:pPr>
                      <a:r>
                        <a:rPr lang="en-GB" sz="140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[MWh/year]</a:t>
                      </a:r>
                      <a:endParaRPr lang="en-US" sz="140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spcAft>
                          <a:spcPts val="1300"/>
                        </a:spcAft>
                      </a:pPr>
                      <a:r>
                        <a:rPr lang="en-GB" sz="140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25,891</a:t>
                      </a:r>
                      <a:endParaRPr lang="en-US" sz="140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44843000"/>
                  </a:ext>
                </a:extLst>
              </a:tr>
              <a:tr h="230585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1300"/>
                        </a:spcAft>
                      </a:pPr>
                      <a:r>
                        <a:rPr lang="en-GB" sz="1400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Electricity consumption for HP and pumping </a:t>
                      </a:r>
                      <a:endParaRPr lang="en-US" sz="1400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1300"/>
                        </a:spcAft>
                      </a:pPr>
                      <a:r>
                        <a:rPr lang="en-GB" sz="140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[MWh/year]</a:t>
                      </a:r>
                      <a:endParaRPr lang="en-US" sz="140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spcAft>
                          <a:spcPts val="1300"/>
                        </a:spcAft>
                      </a:pPr>
                      <a:r>
                        <a:rPr lang="en-GB" sz="140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7,987</a:t>
                      </a:r>
                      <a:endParaRPr lang="en-US" sz="140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31186832"/>
                  </a:ext>
                </a:extLst>
              </a:tr>
              <a:tr h="389720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1300"/>
                        </a:spcAft>
                      </a:pPr>
                      <a:r>
                        <a:rPr lang="en-GB" sz="140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The percentage of energy that will be provided by the heat pump</a:t>
                      </a:r>
                      <a:endParaRPr lang="en-US" sz="140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1300"/>
                        </a:spcAft>
                      </a:pPr>
                      <a:r>
                        <a:rPr lang="en-GB" sz="140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[%]</a:t>
                      </a:r>
                      <a:endParaRPr lang="en-US" sz="140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spcAft>
                          <a:spcPts val="1300"/>
                        </a:spcAft>
                      </a:pPr>
                      <a:r>
                        <a:rPr lang="en-GB" sz="140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26.42%</a:t>
                      </a:r>
                      <a:endParaRPr lang="en-US" sz="140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53081903"/>
                  </a:ext>
                </a:extLst>
              </a:tr>
              <a:tr h="230585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1300"/>
                        </a:spcAft>
                      </a:pPr>
                      <a:r>
                        <a:rPr lang="en-GB" sz="1400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Total annual cost savings </a:t>
                      </a:r>
                      <a:endParaRPr lang="en-US" sz="1400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1300"/>
                        </a:spcAft>
                      </a:pPr>
                      <a:r>
                        <a:rPr lang="en-GB" sz="140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[EUR]</a:t>
                      </a:r>
                      <a:endParaRPr lang="en-US" sz="140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spcAft>
                          <a:spcPts val="1300"/>
                        </a:spcAft>
                      </a:pPr>
                      <a:r>
                        <a:rPr lang="en-GB" sz="140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691,123</a:t>
                      </a:r>
                      <a:endParaRPr lang="en-US" sz="140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27482772"/>
                  </a:ext>
                </a:extLst>
              </a:tr>
              <a:tr h="230585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1300"/>
                        </a:spcAft>
                      </a:pPr>
                      <a:r>
                        <a:rPr lang="en-GB" sz="1400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Annual CO2 emissions reduction</a:t>
                      </a:r>
                      <a:endParaRPr lang="en-US" sz="1400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1300"/>
                        </a:spcAft>
                      </a:pPr>
                      <a:r>
                        <a:rPr lang="en-GB" sz="140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[tCO2]</a:t>
                      </a:r>
                      <a:endParaRPr lang="en-US" sz="140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spcAft>
                          <a:spcPts val="1300"/>
                        </a:spcAft>
                      </a:pPr>
                      <a:r>
                        <a:rPr lang="en-GB" sz="140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300</a:t>
                      </a:r>
                      <a:endParaRPr lang="en-US" sz="140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52360240"/>
                  </a:ext>
                </a:extLst>
              </a:tr>
              <a:tr h="389720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1300"/>
                        </a:spcAft>
                      </a:pPr>
                      <a:r>
                        <a:rPr lang="en-GB" sz="1400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Cumulative cost savings for 20 years </a:t>
                      </a:r>
                      <a:endParaRPr lang="en-US" sz="1400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1300"/>
                        </a:spcAft>
                      </a:pPr>
                      <a:r>
                        <a:rPr lang="en-GB" sz="140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[EUR]</a:t>
                      </a:r>
                      <a:endParaRPr lang="en-US" sz="140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spcAft>
                          <a:spcPts val="1300"/>
                        </a:spcAft>
                      </a:pPr>
                      <a:r>
                        <a:rPr lang="en-GB" sz="1400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13,822,460</a:t>
                      </a:r>
                      <a:endParaRPr lang="en-US" sz="1400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11586410"/>
                  </a:ext>
                </a:extLst>
              </a:tr>
              <a:tr h="230585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1300"/>
                        </a:spcAft>
                      </a:pPr>
                      <a:r>
                        <a:rPr lang="en-GB" sz="1400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Estimated value of investment </a:t>
                      </a:r>
                      <a:endParaRPr lang="en-US" sz="1400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1300"/>
                        </a:spcAft>
                      </a:pPr>
                      <a:r>
                        <a:rPr lang="en-GB" sz="140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[EUR]</a:t>
                      </a:r>
                      <a:endParaRPr lang="en-US" sz="140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spcAft>
                          <a:spcPts val="1300"/>
                        </a:spcAft>
                      </a:pPr>
                      <a:r>
                        <a:rPr lang="en-GB" sz="140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6,113,445</a:t>
                      </a:r>
                      <a:endParaRPr lang="en-US" sz="140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27075778"/>
                  </a:ext>
                </a:extLst>
              </a:tr>
              <a:tr h="230585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1300"/>
                        </a:spcAft>
                      </a:pPr>
                      <a:r>
                        <a:rPr lang="en-GB" sz="1400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LCOH – Baseline scenario</a:t>
                      </a:r>
                      <a:endParaRPr lang="en-US" sz="1400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1300"/>
                        </a:spcAft>
                      </a:pPr>
                      <a:r>
                        <a:rPr lang="nl-NL" sz="140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[EUR/MWh]</a:t>
                      </a:r>
                      <a:endParaRPr lang="en-US" sz="140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spcAft>
                          <a:spcPts val="1300"/>
                        </a:spcAft>
                      </a:pPr>
                      <a:r>
                        <a:rPr lang="en-GB" sz="140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56</a:t>
                      </a:r>
                      <a:endParaRPr lang="en-US" sz="140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91571307"/>
                  </a:ext>
                </a:extLst>
              </a:tr>
              <a:tr h="230585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1300"/>
                        </a:spcAft>
                      </a:pPr>
                      <a:r>
                        <a:rPr lang="nl-NL" sz="1400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LCOH – Project scenario</a:t>
                      </a:r>
                      <a:endParaRPr lang="en-US" sz="1400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1300"/>
                        </a:spcAft>
                      </a:pPr>
                      <a:r>
                        <a:rPr lang="nl-NL" sz="140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[EUR/MWh]</a:t>
                      </a:r>
                      <a:endParaRPr lang="en-US" sz="140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spcAft>
                          <a:spcPts val="1300"/>
                        </a:spcAft>
                      </a:pPr>
                      <a:r>
                        <a:rPr lang="nl-NL" sz="140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41</a:t>
                      </a:r>
                      <a:endParaRPr lang="en-US" sz="140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49285306"/>
                  </a:ext>
                </a:extLst>
              </a:tr>
              <a:tr h="230585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1300"/>
                        </a:spcAft>
                      </a:pPr>
                      <a:r>
                        <a:rPr lang="en-GB" sz="140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Simple payback period </a:t>
                      </a:r>
                      <a:endParaRPr lang="en-US" sz="140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1300"/>
                        </a:spcAft>
                      </a:pPr>
                      <a:r>
                        <a:rPr lang="en-GB" sz="1400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[years]</a:t>
                      </a:r>
                      <a:endParaRPr lang="en-US" sz="1400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spcAft>
                          <a:spcPts val="1300"/>
                        </a:spcAft>
                      </a:pPr>
                      <a:r>
                        <a:rPr lang="en-GB" sz="140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8.8</a:t>
                      </a:r>
                      <a:endParaRPr lang="en-US" sz="140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3008819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Simple payback period with 20% of grant</a:t>
                      </a:r>
                      <a:endParaRPr lang="en-US" sz="1400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en-US" sz="1400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1300"/>
                        </a:spcAft>
                      </a:pPr>
                      <a:r>
                        <a:rPr lang="en-GB" sz="1400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[years]</a:t>
                      </a:r>
                      <a:endParaRPr lang="en-US" sz="1400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spcAft>
                          <a:spcPts val="1300"/>
                        </a:spcAft>
                      </a:pPr>
                      <a:r>
                        <a:rPr lang="en-GB" sz="1400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7.1</a:t>
                      </a:r>
                      <a:endParaRPr lang="en-US" sz="1400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r">
                        <a:lnSpc>
                          <a:spcPct val="100000"/>
                        </a:lnSpc>
                        <a:spcAft>
                          <a:spcPts val="1300"/>
                        </a:spcAft>
                      </a:pPr>
                      <a:r>
                        <a:rPr lang="en-GB" sz="1400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 </a:t>
                      </a:r>
                      <a:endParaRPr lang="en-US" sz="1400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5873443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2787248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D5CF6AC9-DFF7-4B1E-A59B-5D839F8BFC15}"/>
              </a:ext>
            </a:extLst>
          </p:cNvPr>
          <p:cNvSpPr txBox="1">
            <a:spLocks/>
          </p:cNvSpPr>
          <p:nvPr/>
        </p:nvSpPr>
        <p:spPr>
          <a:xfrm>
            <a:off x="360000" y="360001"/>
            <a:ext cx="11473200" cy="619713"/>
          </a:xfrm>
          <a:prstGeom prst="rect">
            <a:avLst/>
          </a:prstGeom>
        </p:spPr>
        <p:txBody>
          <a:bodyPr vert="horz" lIns="72000" tIns="36000" rIns="72000" bIns="36000" rtlCol="0" anchor="t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Char char="​"/>
              <a:defRPr sz="3200" kern="120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542925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99060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j-lt"/>
                <a:ea typeface="Segoe UI Black" panose="020B0A02040204020203" pitchFamily="34" charset="0"/>
                <a:cs typeface="+mn-cs"/>
              </a:defRPr>
            </a:lvl4pPr>
            <a:lvl5pPr marL="1438275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ts val="600"/>
              </a:spcAft>
              <a:buNone/>
            </a:pPr>
            <a:r>
              <a:rPr lang="en-GB" sz="3700" b="1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Identified opportunities in Serbia</a:t>
            </a:r>
            <a:endParaRPr lang="da-DK" sz="3700" b="1" dirty="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06D0DC8-E754-41F9-B8ED-06169F62DD9A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0" y="6912000"/>
            <a:ext cx="0" cy="0"/>
          </a:xfrm>
        </p:spPr>
        <p:txBody>
          <a:bodyPr/>
          <a:lstStyle/>
          <a:p>
            <a:pPr>
              <a:spcAft>
                <a:spcPts val="600"/>
              </a:spcAft>
            </a:pPr>
            <a:fld id="{24C8C45C-947F-4981-8B3F-4F32E973C901}" type="slidenum">
              <a:rPr lang="en-GB" smtClean="0"/>
              <a:pPr>
                <a:spcAft>
                  <a:spcPts val="600"/>
                </a:spcAft>
              </a:pPr>
              <a:t>9</a:t>
            </a:fld>
            <a:endParaRPr lang="en-GB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DFB53D66-958C-F2C2-5A8A-691E9C268285}"/>
              </a:ext>
            </a:extLst>
          </p:cNvPr>
          <p:cNvPicPr/>
          <p:nvPr/>
        </p:nvPicPr>
        <p:blipFill rotWithShape="1">
          <a:blip r:embed="rId3"/>
          <a:srcRect l="9261" t="24612" r="68820" b="14433"/>
          <a:stretch/>
        </p:blipFill>
        <p:spPr bwMode="auto">
          <a:xfrm>
            <a:off x="973272" y="1799166"/>
            <a:ext cx="4768398" cy="3593783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4FE514EB-09CC-2DE2-0521-80932E07C184}"/>
              </a:ext>
            </a:extLst>
          </p:cNvPr>
          <p:cNvPicPr/>
          <p:nvPr/>
        </p:nvPicPr>
        <p:blipFill rotWithShape="1">
          <a:blip r:embed="rId4"/>
          <a:srcRect l="6279" t="30667" r="59244" b="8038"/>
          <a:stretch/>
        </p:blipFill>
        <p:spPr bwMode="auto">
          <a:xfrm>
            <a:off x="5741670" y="1804827"/>
            <a:ext cx="6450330" cy="3403601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5" name="Subtitle 2">
            <a:extLst>
              <a:ext uri="{FF2B5EF4-FFF2-40B4-BE49-F238E27FC236}">
                <a16:creationId xmlns:a16="http://schemas.microsoft.com/office/drawing/2014/main" id="{6A53A2F5-8AB5-9188-A853-0C6B51934A4B}"/>
              </a:ext>
            </a:extLst>
          </p:cNvPr>
          <p:cNvSpPr txBox="1">
            <a:spLocks/>
          </p:cNvSpPr>
          <p:nvPr/>
        </p:nvSpPr>
        <p:spPr>
          <a:xfrm>
            <a:off x="973272" y="1161966"/>
            <a:ext cx="11394450" cy="369332"/>
          </a:xfrm>
          <a:prstGeom prst="rect">
            <a:avLst/>
          </a:prstGeom>
        </p:spPr>
        <p:txBody>
          <a:bodyPr vert="horz" lIns="72000" tIns="36000" rIns="72000" bIns="3600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200" b="1" kern="1200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tx1">
                    <a:lumMod val="95000"/>
                    <a:lumOff val="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IS - </a:t>
            </a:r>
            <a:r>
              <a:rPr lang="en-US" sz="2000" i="0" u="none" strike="noStrike" dirty="0">
                <a:solidFill>
                  <a:srgbClr val="C00000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Large capacity heat pump using water from </a:t>
            </a:r>
            <a:r>
              <a:rPr lang="en-US" sz="2000" i="0" u="none" strike="noStrike" dirty="0" err="1">
                <a:solidFill>
                  <a:srgbClr val="C00000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Nisava</a:t>
            </a:r>
            <a:r>
              <a:rPr lang="en-US" sz="2000" dirty="0">
                <a:solidFill>
                  <a:srgbClr val="C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river</a:t>
            </a:r>
          </a:p>
          <a:p>
            <a:endParaRPr lang="en-US" dirty="0">
              <a:solidFill>
                <a:schemeClr val="tx1">
                  <a:lumMod val="95000"/>
                  <a:lumOff val="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67C8EDF-3A5B-3149-109D-2328DAE8E3CA}"/>
              </a:ext>
            </a:extLst>
          </p:cNvPr>
          <p:cNvCxnSpPr/>
          <p:nvPr/>
        </p:nvCxnSpPr>
        <p:spPr>
          <a:xfrm flipH="1">
            <a:off x="719318" y="1112058"/>
            <a:ext cx="0" cy="4968000"/>
          </a:xfrm>
          <a:prstGeom prst="line">
            <a:avLst/>
          </a:prstGeom>
          <a:ln w="28575"/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7565134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LIFE">
  <a:themeElements>
    <a:clrScheme name="LIFE">
      <a:dk1>
        <a:srgbClr val="000000"/>
      </a:dk1>
      <a:lt1>
        <a:srgbClr val="FFFFFF"/>
      </a:lt1>
      <a:dk2>
        <a:srgbClr val="1F4843"/>
      </a:dk2>
      <a:lt2>
        <a:srgbClr val="EBEFE4"/>
      </a:lt2>
      <a:accent1>
        <a:srgbClr val="EBEFE4"/>
      </a:accent1>
      <a:accent2>
        <a:srgbClr val="DBE4B5"/>
      </a:accent2>
      <a:accent3>
        <a:srgbClr val="B8CD96"/>
      </a:accent3>
      <a:accent4>
        <a:srgbClr val="36706B"/>
      </a:accent4>
      <a:accent5>
        <a:srgbClr val="1F4843"/>
      </a:accent5>
      <a:accent6>
        <a:srgbClr val="84C55E"/>
      </a:accent6>
      <a:hlink>
        <a:srgbClr val="008EBB"/>
      </a:hlink>
      <a:folHlink>
        <a:srgbClr val="008EBB"/>
      </a:folHlink>
    </a:clrScheme>
    <a:fontScheme name="NIRAS Theme Fonts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LIFE" id="{0D7308D8-5D05-4635-81C1-CC8087C4BEA0}" vid="{AA0ED056-42B9-4A9E-A1FD-0D74E96B2063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02FED64CCAE9E45A5327713A23FE9AD" ma:contentTypeVersion="" ma:contentTypeDescription="Create a new document." ma:contentTypeScope="" ma:versionID="e291a873e7357cd35727f476d0793f5c">
  <xsd:schema xmlns:xsd="http://www.w3.org/2001/XMLSchema" xmlns:xs="http://www.w3.org/2001/XMLSchema" xmlns:p="http://schemas.microsoft.com/office/2006/metadata/properties" xmlns:ns2="b00f693a-d229-4692-8947-e7c7028602b5" xmlns:ns3="baa76f3a-de4c-4ed9-94a3-21bece57cf18" xmlns:ns4="a98ba0a5-16ed-4b7e-bd40-2c2f8c7118b4" targetNamespace="http://schemas.microsoft.com/office/2006/metadata/properties" ma:root="true" ma:fieldsID="26ca8f9103b975459a44409d1ab8f1fa" ns2:_="" ns3:_="" ns4:_="">
    <xsd:import namespace="b00f693a-d229-4692-8947-e7c7028602b5"/>
    <xsd:import namespace="baa76f3a-de4c-4ed9-94a3-21bece57cf18"/>
    <xsd:import namespace="a98ba0a5-16ed-4b7e-bd40-2c2f8c7118b4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LastSharedByUser" minOccurs="0"/>
                <xsd:element ref="ns3:LastSharedByTime" minOccurs="0"/>
                <xsd:element ref="ns4:MediaServiceMetadata" minOccurs="0"/>
                <xsd:element ref="ns4:MediaServiceFastMetadata" minOccurs="0"/>
                <xsd:element ref="ns4:MediaServiceDateTaken" minOccurs="0"/>
                <xsd:element ref="ns4:MediaServiceAutoTags" minOccurs="0"/>
                <xsd:element ref="ns4:MediaServiceLocation" minOccurs="0"/>
                <xsd:element ref="ns4:MediaServiceOCR" minOccurs="0"/>
                <xsd:element ref="ns4:MediaServiceEventHashCode" minOccurs="0"/>
                <xsd:element ref="ns4:MediaServiceGenerationTime" minOccurs="0"/>
                <xsd:element ref="ns4:MediaServiceAutoKeyPoints" minOccurs="0"/>
                <xsd:element ref="ns4:MediaServiceKeyPoints" minOccurs="0"/>
                <xsd:element ref="ns4:MediaLengthInSeconds" minOccurs="0"/>
                <xsd:element ref="ns4:lcf76f155ced4ddcb4097134ff3c332f" minOccurs="0"/>
                <xsd:element ref="ns2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00f693a-d229-4692-8947-e7c7028602b5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Delt med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Delt med detaljer" ma:description="" ma:internalName="SharedWithDetails" ma:readOnly="true">
      <xsd:simpleType>
        <xsd:restriction base="dms:Note">
          <xsd:maxLength value="255"/>
        </xsd:restriction>
      </xsd:simpleType>
    </xsd:element>
    <xsd:element name="TaxCatchAll" ma:index="25" nillable="true" ma:displayName="Taxonomy Catch All Column" ma:hidden="true" ma:list="{a6db8463-fa12-4a25-9f52-256a0efd236f}" ma:internalName="TaxCatchAll" ma:showField="CatchAllData" ma:web="b00f693a-d229-4692-8947-e7c7028602b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aa76f3a-de4c-4ed9-94a3-21bece57cf18" elementFormDefault="qualified">
    <xsd:import namespace="http://schemas.microsoft.com/office/2006/documentManagement/types"/>
    <xsd:import namespace="http://schemas.microsoft.com/office/infopath/2007/PartnerControls"/>
    <xsd:element name="LastSharedByUser" ma:index="10" nillable="true" ma:displayName="Sidst delt efter bruger" ma:description="" ma:internalName="LastSharedByUser" ma:readOnly="true">
      <xsd:simpleType>
        <xsd:restriction base="dms:Note">
          <xsd:maxLength value="255"/>
        </xsd:restriction>
      </xsd:simpleType>
    </xsd:element>
    <xsd:element name="LastSharedByTime" ma:index="11" nillable="true" ma:displayName="Sidst delt efter tid" ma:description="" ma:internalName="LastSharedByTime" ma:readOnly="tru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98ba0a5-16ed-4b7e-bd40-2c2f8c7118b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2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3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4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5" nillable="true" ma:displayName="MediaServiceAutoTags" ma:description="" ma:internalName="MediaServiceAutoTags" ma:readOnly="true">
      <xsd:simpleType>
        <xsd:restriction base="dms:Text"/>
      </xsd:simpleType>
    </xsd:element>
    <xsd:element name="MediaServiceLocation" ma:index="16" nillable="true" ma:displayName="MediaServiceLocation" ma:description="" ma:internalName="MediaServiceLocation" ma:readOnly="true">
      <xsd:simpleType>
        <xsd:restriction base="dms:Text"/>
      </xsd:simpleType>
    </xsd:element>
    <xsd:element name="MediaServiceOCR" ma:index="17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2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2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4" nillable="true" ma:taxonomy="true" ma:internalName="lcf76f155ced4ddcb4097134ff3c332f" ma:taxonomyFieldName="MediaServiceImageTags" ma:displayName="Billedmærker" ma:readOnly="false" ma:fieldId="{5cf76f15-5ced-4ddc-b409-7134ff3c332f}" ma:taxonomyMulti="true" ma:sspId="f7229231-3c6d-4648-bd25-6cc8a4879afc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b00f693a-d229-4692-8947-e7c7028602b5">
      <Value>7</Value>
    </TaxCatchAll>
    <SharedWithUsers xmlns="b00f693a-d229-4692-8947-e7c7028602b5">
      <UserInfo>
        <DisplayName>Michael Lassen Schmidt (MLS)</DisplayName>
        <AccountId>13</AccountId>
        <AccountType/>
      </UserInfo>
    </SharedWithUsers>
    <lcf76f155ced4ddcb4097134ff3c332f xmlns="a98ba0a5-16ed-4b7e-bd40-2c2f8c7118b4">
      <Terms xmlns="http://schemas.microsoft.com/office/infopath/2007/PartnerControls"/>
    </lcf76f155ced4ddcb4097134ff3c332f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ACDBE0DC-6623-4C08-986F-3E08A5CEA51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00f693a-d229-4692-8947-e7c7028602b5"/>
    <ds:schemaRef ds:uri="baa76f3a-de4c-4ed9-94a3-21bece57cf18"/>
    <ds:schemaRef ds:uri="a98ba0a5-16ed-4b7e-bd40-2c2f8c7118b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EF2D9010-5B9A-42E9-82DA-7047A8B26637}">
  <ds:schemaRefs>
    <ds:schemaRef ds:uri="http://www.w3.org/XML/1998/namespace"/>
    <ds:schemaRef ds:uri="http://schemas.microsoft.com/office/infopath/2007/PartnerControls"/>
    <ds:schemaRef ds:uri="b00f693a-d229-4692-8947-e7c7028602b5"/>
    <ds:schemaRef ds:uri="http://purl.org/dc/terms/"/>
    <ds:schemaRef ds:uri="http://schemas.microsoft.com/office/2006/metadata/properties"/>
    <ds:schemaRef ds:uri="http://schemas.microsoft.com/office/2006/documentManagement/types"/>
    <ds:schemaRef ds:uri="a98ba0a5-16ed-4b7e-bd40-2c2f8c7118b4"/>
    <ds:schemaRef ds:uri="http://purl.org/dc/elements/1.1/"/>
    <ds:schemaRef ds:uri="http://schemas.openxmlformats.org/package/2006/metadata/core-properties"/>
    <ds:schemaRef ds:uri="baa76f3a-de4c-4ed9-94a3-21bece57cf18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CC8B92E9-4A0C-4A0E-99CF-605E3C9D882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362</Words>
  <Application>Microsoft Office PowerPoint</Application>
  <PresentationFormat>Widescreen</PresentationFormat>
  <Paragraphs>301</Paragraphs>
  <Slides>15</Slides>
  <Notes>14</Notes>
  <HiddenSlides>0</HiddenSlides>
  <MMClips>0</MMClips>
  <ScaleCrop>false</ScaleCrop>
  <HeadingPairs>
    <vt:vector size="8" baseType="variant">
      <vt:variant>
        <vt:lpstr>Fonts Used</vt:lpstr>
      </vt:variant>
      <vt:variant>
        <vt:i4>1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5</vt:i4>
      </vt:variant>
    </vt:vector>
  </HeadingPairs>
  <TitlesOfParts>
    <vt:vector size="35" baseType="lpstr">
      <vt:lpstr>Arial</vt:lpstr>
      <vt:lpstr>Calibri</vt:lpstr>
      <vt:lpstr>Calibri Light</vt:lpstr>
      <vt:lpstr>Gill Sans</vt:lpstr>
      <vt:lpstr>Graphik</vt:lpstr>
      <vt:lpstr>Lato</vt:lpstr>
      <vt:lpstr>Lato Regular</vt:lpstr>
      <vt:lpstr>Palatino Linotype</vt:lpstr>
      <vt:lpstr>Segoe UI</vt:lpstr>
      <vt:lpstr>Segoe UI Black</vt:lpstr>
      <vt:lpstr>Segoe UI Light</vt:lpstr>
      <vt:lpstr>Segoe UI Semibold</vt:lpstr>
      <vt:lpstr>Soho Gothic Pro Light</vt:lpstr>
      <vt:lpstr>Symbol</vt:lpstr>
      <vt:lpstr>Verdana</vt:lpstr>
      <vt:lpstr>Verdana Pro Cond Light</vt:lpstr>
      <vt:lpstr>Office Theme</vt:lpstr>
      <vt:lpstr>LIFE</vt:lpstr>
      <vt:lpstr>Worksheet</vt:lpstr>
      <vt:lpstr>think-cell Slide</vt:lpstr>
      <vt:lpstr>PowerPoint Presentation</vt:lpstr>
      <vt:lpstr>AGENDA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va Lange Rasmussen (ELRA)</dc:creator>
  <cp:lastModifiedBy>Dileme Kontroverze</cp:lastModifiedBy>
  <cp:revision>189</cp:revision>
  <dcterms:created xsi:type="dcterms:W3CDTF">2022-03-28T19:35:12Z</dcterms:created>
  <dcterms:modified xsi:type="dcterms:W3CDTF">2023-04-19T06:48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02FED64CCAE9E45A5327713A23FE9AD</vt:lpwstr>
  </property>
  <property fmtid="{D5CDD505-2E9C-101B-9397-08002B2CF9AE}" pid="3" name="_dlc_DocIdItemGuid">
    <vt:lpwstr>56ebbda1-e452-44a4-8259-9d8f81c2849e</vt:lpwstr>
  </property>
  <property fmtid="{D5CDD505-2E9C-101B-9397-08002B2CF9AE}" pid="4" name="NIRASScale">
    <vt:lpwstr/>
  </property>
  <property fmtid="{D5CDD505-2E9C-101B-9397-08002B2CF9AE}" pid="5" name="NIRASQAStatus">
    <vt:lpwstr/>
  </property>
  <property fmtid="{D5CDD505-2E9C-101B-9397-08002B2CF9AE}" pid="6" name="NIRASDocumentKind">
    <vt:lpwstr>7;#Presentation|6971b158-feba-49ed-a316-35dbbf67cee1</vt:lpwstr>
  </property>
  <property fmtid="{D5CDD505-2E9C-101B-9397-08002B2CF9AE}" pid="7" name="ApplyLanguageRun">
    <vt:lpwstr>true</vt:lpwstr>
  </property>
  <property fmtid="{D5CDD505-2E9C-101B-9397-08002B2CF9AE}" pid="8" name="NIRASQAGroup">
    <vt:lpwstr/>
  </property>
  <property fmtid="{D5CDD505-2E9C-101B-9397-08002B2CF9AE}" pid="9" name="Order">
    <vt:r8>40300</vt:r8>
  </property>
  <property fmtid="{D5CDD505-2E9C-101B-9397-08002B2CF9AE}" pid="10" name="xd_ProgID">
    <vt:lpwstr/>
  </property>
  <property fmtid="{D5CDD505-2E9C-101B-9397-08002B2CF9AE}" pid="11" name="ComplianceAssetId">
    <vt:lpwstr/>
  </property>
  <property fmtid="{D5CDD505-2E9C-101B-9397-08002B2CF9AE}" pid="12" name="TemplateUrl">
    <vt:lpwstr/>
  </property>
  <property fmtid="{D5CDD505-2E9C-101B-9397-08002B2CF9AE}" pid="13" name="_ExtendedDescription">
    <vt:lpwstr/>
  </property>
  <property fmtid="{D5CDD505-2E9C-101B-9397-08002B2CF9AE}" pid="14" name="TriggerFlowInfo">
    <vt:lpwstr/>
  </property>
  <property fmtid="{D5CDD505-2E9C-101B-9397-08002B2CF9AE}" pid="15" name="xd_Signature">
    <vt:bool>false</vt:bool>
  </property>
</Properties>
</file>